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8" r:id="rId4"/>
  </p:sldMasterIdLst>
  <p:notesMasterIdLst>
    <p:notesMasterId r:id="rId70"/>
  </p:notesMasterIdLst>
  <p:handoutMasterIdLst>
    <p:handoutMasterId r:id="rId71"/>
  </p:handoutMasterIdLst>
  <p:sldIdLst>
    <p:sldId id="4064" r:id="rId5"/>
    <p:sldId id="1286" r:id="rId6"/>
    <p:sldId id="1152" r:id="rId7"/>
    <p:sldId id="1153" r:id="rId8"/>
    <p:sldId id="1196" r:id="rId9"/>
    <p:sldId id="1287" r:id="rId10"/>
    <p:sldId id="1022" r:id="rId11"/>
    <p:sldId id="1155" r:id="rId12"/>
    <p:sldId id="1221" r:id="rId13"/>
    <p:sldId id="965" r:id="rId14"/>
    <p:sldId id="1128" r:id="rId15"/>
    <p:sldId id="1165" r:id="rId16"/>
    <p:sldId id="1195" r:id="rId17"/>
    <p:sldId id="1285" r:id="rId18"/>
    <p:sldId id="1255" r:id="rId19"/>
    <p:sldId id="974" r:id="rId20"/>
    <p:sldId id="973" r:id="rId21"/>
    <p:sldId id="1192" r:id="rId22"/>
    <p:sldId id="960" r:id="rId23"/>
    <p:sldId id="1208" r:id="rId24"/>
    <p:sldId id="976" r:id="rId25"/>
    <p:sldId id="1143" r:id="rId26"/>
    <p:sldId id="1182" r:id="rId27"/>
    <p:sldId id="1149" r:id="rId28"/>
    <p:sldId id="1062" r:id="rId29"/>
    <p:sldId id="1054" r:id="rId30"/>
    <p:sldId id="1281" r:id="rId31"/>
    <p:sldId id="1282" r:id="rId32"/>
    <p:sldId id="956" r:id="rId33"/>
    <p:sldId id="958" r:id="rId34"/>
    <p:sldId id="954" r:id="rId35"/>
    <p:sldId id="957" r:id="rId36"/>
    <p:sldId id="1026" r:id="rId37"/>
    <p:sldId id="1086" r:id="rId38"/>
    <p:sldId id="1227" r:id="rId39"/>
    <p:sldId id="1228" r:id="rId40"/>
    <p:sldId id="1223" r:id="rId41"/>
    <p:sldId id="1106" r:id="rId42"/>
    <p:sldId id="1197" r:id="rId43"/>
    <p:sldId id="951" r:id="rId44"/>
    <p:sldId id="952" r:id="rId45"/>
    <p:sldId id="1006" r:id="rId46"/>
    <p:sldId id="1007" r:id="rId47"/>
    <p:sldId id="953" r:id="rId48"/>
    <p:sldId id="1005" r:id="rId49"/>
    <p:sldId id="1263" r:id="rId50"/>
    <p:sldId id="343" r:id="rId51"/>
    <p:sldId id="899" r:id="rId52"/>
    <p:sldId id="1028" r:id="rId53"/>
    <p:sldId id="1231" r:id="rId54"/>
    <p:sldId id="1213" r:id="rId55"/>
    <p:sldId id="1219" r:id="rId56"/>
    <p:sldId id="1191" r:id="rId57"/>
    <p:sldId id="1018" r:id="rId58"/>
    <p:sldId id="649" r:id="rId59"/>
    <p:sldId id="650" r:id="rId60"/>
    <p:sldId id="651" r:id="rId61"/>
    <p:sldId id="652" r:id="rId62"/>
    <p:sldId id="4060" r:id="rId63"/>
    <p:sldId id="4053" r:id="rId64"/>
    <p:sldId id="4057" r:id="rId65"/>
    <p:sldId id="4059" r:id="rId66"/>
    <p:sldId id="4062" r:id="rId67"/>
    <p:sldId id="4063" r:id="rId68"/>
    <p:sldId id="4056" r:id="rId69"/>
  </p:sldIdLst>
  <p:sldSz cx="9144000" cy="5143500" type="screen16x9"/>
  <p:notesSz cx="6985000" cy="9283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olKit" id="{F7ECC599-F0F9-48B0-A7A8-BF9F0A801523}">
          <p14:sldIdLst>
            <p14:sldId id="4064"/>
            <p14:sldId id="1286"/>
            <p14:sldId id="1152"/>
            <p14:sldId id="1153"/>
            <p14:sldId id="1196"/>
            <p14:sldId id="1287"/>
            <p14:sldId id="1022"/>
            <p14:sldId id="1155"/>
            <p14:sldId id="1221"/>
            <p14:sldId id="965"/>
            <p14:sldId id="1128"/>
            <p14:sldId id="1165"/>
            <p14:sldId id="1195"/>
            <p14:sldId id="1285"/>
            <p14:sldId id="1255"/>
            <p14:sldId id="974"/>
            <p14:sldId id="973"/>
            <p14:sldId id="1192"/>
            <p14:sldId id="960"/>
            <p14:sldId id="1208"/>
            <p14:sldId id="976"/>
            <p14:sldId id="1143"/>
            <p14:sldId id="1182"/>
            <p14:sldId id="1149"/>
            <p14:sldId id="1062"/>
            <p14:sldId id="1054"/>
            <p14:sldId id="1281"/>
            <p14:sldId id="1282"/>
            <p14:sldId id="956"/>
            <p14:sldId id="958"/>
            <p14:sldId id="954"/>
            <p14:sldId id="957"/>
            <p14:sldId id="1026"/>
            <p14:sldId id="1086"/>
            <p14:sldId id="1227"/>
            <p14:sldId id="1228"/>
            <p14:sldId id="1223"/>
            <p14:sldId id="1106"/>
            <p14:sldId id="1197"/>
            <p14:sldId id="951"/>
            <p14:sldId id="952"/>
            <p14:sldId id="1006"/>
            <p14:sldId id="1007"/>
            <p14:sldId id="953"/>
            <p14:sldId id="1005"/>
            <p14:sldId id="1263"/>
            <p14:sldId id="343"/>
            <p14:sldId id="899"/>
            <p14:sldId id="1028"/>
          </p14:sldIdLst>
        </p14:section>
        <p14:section name="Brand" id="{69730486-2E07-42B5-9530-17CA46286592}">
          <p14:sldIdLst>
            <p14:sldId id="1231"/>
            <p14:sldId id="1213"/>
            <p14:sldId id="1219"/>
            <p14:sldId id="1191"/>
          </p14:sldIdLst>
        </p14:section>
        <p14:section name="Icons" id="{C616A5A7-4E9F-49AB-BC87-6E1382E07680}">
          <p14:sldIdLst>
            <p14:sldId id="1018"/>
            <p14:sldId id="649"/>
            <p14:sldId id="650"/>
            <p14:sldId id="651"/>
            <p14:sldId id="652"/>
          </p14:sldIdLst>
        </p14:section>
        <p14:section name="Maps" id="{6FEFED9F-E0D9-8848-AF76-A5D31F8B4F91}">
          <p14:sldIdLst>
            <p14:sldId id="4060"/>
            <p14:sldId id="4053"/>
            <p14:sldId id="4057"/>
            <p14:sldId id="4059"/>
            <p14:sldId id="4062"/>
            <p14:sldId id="4063"/>
            <p14:sldId id="4056"/>
          </p14:sldIdLst>
        </p14:section>
      </p14:sectionLst>
    </p:ext>
    <p:ext uri="{EFAFB233-063F-42B5-8137-9DF3F51BA10A}">
      <p15:sldGuideLst xmlns:p15="http://schemas.microsoft.com/office/powerpoint/2012/main">
        <p15:guide id="8" pos="2880" userDrawn="1">
          <p15:clr>
            <a:srgbClr val="A4A3A4"/>
          </p15:clr>
        </p15:guide>
        <p15:guide id="9" orient="horz" pos="1476" userDrawn="1">
          <p15:clr>
            <a:srgbClr val="A4A3A4"/>
          </p15:clr>
        </p15:guide>
        <p15:guide id="10" pos="4224" userDrawn="1">
          <p15:clr>
            <a:srgbClr val="A4A3A4"/>
          </p15:clr>
        </p15:guide>
        <p15:guide id="11" pos="1536" userDrawn="1">
          <p15:clr>
            <a:srgbClr val="A4A3A4"/>
          </p15:clr>
        </p15:guide>
        <p15:guide id="12" orient="horz" pos="1764" userDrawn="1">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6FAB"/>
    <a:srgbClr val="427F64"/>
    <a:srgbClr val="A5A5A5"/>
    <a:srgbClr val="48457E"/>
    <a:srgbClr val="B0BBB9"/>
    <a:srgbClr val="62A1D7"/>
    <a:srgbClr val="767676"/>
    <a:srgbClr val="3B3B3B"/>
    <a:srgbClr val="969696"/>
    <a:srgbClr val="E400FF"/>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23F689-4F49-F214-5421-81957EBB8FC5}" v="1" dt="2025-06-11T16:21:04.7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875" autoAdjust="0"/>
    <p:restoredTop sz="86581" autoAdjust="0"/>
  </p:normalViewPr>
  <p:slideViewPr>
    <p:cSldViewPr snapToGrid="0" snapToObjects="1">
      <p:cViewPr varScale="1">
        <p:scale>
          <a:sx n="90" d="100"/>
          <a:sy n="90" d="100"/>
        </p:scale>
        <p:origin x="62" y="302"/>
      </p:cViewPr>
      <p:guideLst>
        <p:guide pos="2880"/>
        <p:guide orient="horz" pos="1476"/>
        <p:guide pos="4224"/>
        <p:guide pos="1536"/>
        <p:guide orient="horz" pos="1764"/>
      </p:guideLst>
    </p:cSldViewPr>
  </p:slideViewPr>
  <p:outlineViewPr>
    <p:cViewPr>
      <p:scale>
        <a:sx n="33" d="100"/>
        <a:sy n="33" d="100"/>
      </p:scale>
      <p:origin x="0" y="-41238"/>
    </p:cViewPr>
  </p:outlineViewPr>
  <p:notesTextViewPr>
    <p:cViewPr>
      <p:scale>
        <a:sx n="3" d="2"/>
        <a:sy n="3" d="2"/>
      </p:scale>
      <p:origin x="0" y="0"/>
    </p:cViewPr>
  </p:notesTextViewPr>
  <p:sorterViewPr>
    <p:cViewPr>
      <p:scale>
        <a:sx n="1" d="1"/>
        <a:sy n="1" d="1"/>
      </p:scale>
      <p:origin x="0" y="-32982"/>
    </p:cViewPr>
  </p:sorterViewPr>
  <p:notesViewPr>
    <p:cSldViewPr snapToGrid="0" snapToObjects="1">
      <p:cViewPr varScale="1">
        <p:scale>
          <a:sx n="119" d="100"/>
          <a:sy n="119" d="100"/>
        </p:scale>
        <p:origin x="4464" y="192"/>
      </p:cViewPr>
      <p:guideLst>
        <p:guide orient="horz" pos="2924"/>
        <p:guide pos="2201"/>
      </p:guideLst>
    </p:cSldViewPr>
  </p:notesViewPr>
  <p:gridSpacing cx="91439" cy="91439"/>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barChart>
        <c:barDir val="bar"/>
        <c:grouping val="percentStack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0A46-408B-9C03-A62323156C29}"/>
            </c:ext>
          </c:extLst>
        </c:ser>
        <c:ser>
          <c:idx val="1"/>
          <c:order val="1"/>
          <c:tx>
            <c:strRef>
              <c:f>Sheet1!$C$1</c:f>
              <c:strCache>
                <c:ptCount val="1"/>
                <c:pt idx="0">
                  <c:v>Series 2</c:v>
                </c:pt>
              </c:strCache>
            </c:strRef>
          </c:tx>
          <c:spPr>
            <a:solidFill>
              <a:schemeClr val="accent3"/>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0A46-408B-9C03-A62323156C29}"/>
            </c:ext>
          </c:extLst>
        </c:ser>
        <c:ser>
          <c:idx val="2"/>
          <c:order val="2"/>
          <c:tx>
            <c:strRef>
              <c:f>Sheet1!$D$1</c:f>
              <c:strCache>
                <c:ptCount val="1"/>
                <c:pt idx="0">
                  <c:v>Series 3</c:v>
                </c:pt>
              </c:strCache>
            </c:strRef>
          </c:tx>
          <c:spPr>
            <a:solidFill>
              <a:schemeClr val="accent5"/>
            </a:solidFill>
            <a:ln>
              <a:noFill/>
            </a:ln>
            <a:effectLst/>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0A46-408B-9C03-A62323156C29}"/>
            </c:ext>
          </c:extLst>
        </c:ser>
        <c:ser>
          <c:idx val="3"/>
          <c:order val="3"/>
          <c:tx>
            <c:strRef>
              <c:f>Sheet1!$E$1</c:f>
              <c:strCache>
                <c:ptCount val="1"/>
                <c:pt idx="0">
                  <c:v>Series 4</c:v>
                </c:pt>
              </c:strCache>
            </c:strRef>
          </c:tx>
          <c:spPr>
            <a:solidFill>
              <a:schemeClr val="accent2"/>
            </a:solidFill>
            <a:ln>
              <a:noFill/>
            </a:ln>
            <a:effectLst/>
          </c:spPr>
          <c:invertIfNegative val="0"/>
          <c:dLbls>
            <c:spPr>
              <a:noFill/>
              <a:ln>
                <a:noFill/>
              </a:ln>
              <a:effectLst/>
            </c:spPr>
            <c:txPr>
              <a:bodyPr wrap="square" lIns="38100" tIns="19050" rIns="38100" bIns="19050" anchor="ctr">
                <a:spAutoFit/>
              </a:bodyPr>
              <a:lstStyle/>
              <a:p>
                <a:pPr>
                  <a:defRPr>
                    <a:solidFill>
                      <a:schemeClr val="accent4"/>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5</c:f>
              <c:strCache>
                <c:ptCount val="4"/>
                <c:pt idx="0">
                  <c:v>Category 1</c:v>
                </c:pt>
                <c:pt idx="1">
                  <c:v>Category 2</c:v>
                </c:pt>
                <c:pt idx="2">
                  <c:v>Category 3</c:v>
                </c:pt>
                <c:pt idx="3">
                  <c:v>Category 4</c:v>
                </c:pt>
              </c:strCache>
            </c:strRef>
          </c:cat>
          <c:val>
            <c:numRef>
              <c:f>Sheet1!$E$2:$E$5</c:f>
              <c:numCache>
                <c:formatCode>General</c:formatCode>
                <c:ptCount val="4"/>
                <c:pt idx="0">
                  <c:v>1</c:v>
                </c:pt>
                <c:pt idx="1">
                  <c:v>3</c:v>
                </c:pt>
                <c:pt idx="2">
                  <c:v>2</c:v>
                </c:pt>
                <c:pt idx="3">
                  <c:v>1.5</c:v>
                </c:pt>
              </c:numCache>
            </c:numRef>
          </c:val>
          <c:extLst>
            <c:ext xmlns:c16="http://schemas.microsoft.com/office/drawing/2014/chart" uri="{C3380CC4-5D6E-409C-BE32-E72D297353CC}">
              <c16:uniqueId val="{00000003-0A46-408B-9C03-A62323156C29}"/>
            </c:ext>
          </c:extLst>
        </c:ser>
        <c:dLbls>
          <c:showLegendKey val="0"/>
          <c:showVal val="1"/>
          <c:showCatName val="0"/>
          <c:showSerName val="0"/>
          <c:showPercent val="0"/>
          <c:showBubbleSize val="0"/>
        </c:dLbls>
        <c:gapWidth val="95"/>
        <c:overlap val="100"/>
        <c:axId val="2144677936"/>
        <c:axId val="2145704048"/>
      </c:barChart>
      <c:catAx>
        <c:axId val="21446779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2145704048"/>
        <c:crosses val="autoZero"/>
        <c:auto val="1"/>
        <c:lblAlgn val="ctr"/>
        <c:lblOffset val="100"/>
        <c:noMultiLvlLbl val="0"/>
      </c:catAx>
      <c:valAx>
        <c:axId val="2145704048"/>
        <c:scaling>
          <c:orientation val="minMax"/>
        </c:scaling>
        <c:delete val="1"/>
        <c:axPos val="b"/>
        <c:numFmt formatCode="0%" sourceLinked="1"/>
        <c:majorTickMark val="none"/>
        <c:minorTickMark val="none"/>
        <c:tickLblPos val="nextTo"/>
        <c:crossAx val="2144677936"/>
        <c:crosses val="autoZero"/>
        <c:crossBetween val="between"/>
      </c:valAx>
      <c:spPr>
        <a:noFill/>
        <a:ln>
          <a:noFill/>
        </a:ln>
        <a:effectLst/>
      </c:spPr>
    </c:plotArea>
    <c:legend>
      <c:legendPos val="t"/>
      <c:overlay val="0"/>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C</c:v>
                </c:pt>
              </c:strCache>
            </c:strRef>
          </c:tx>
          <c:spPr>
            <a:solidFill>
              <a:schemeClr val="accent1"/>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B$2:$B$6</c:f>
              <c:numCache>
                <c:formatCode>General</c:formatCode>
                <c:ptCount val="5"/>
                <c:pt idx="0">
                  <c:v>4.3</c:v>
                </c:pt>
                <c:pt idx="1">
                  <c:v>2.5</c:v>
                </c:pt>
                <c:pt idx="2">
                  <c:v>3.5</c:v>
                </c:pt>
                <c:pt idx="3">
                  <c:v>4.5</c:v>
                </c:pt>
                <c:pt idx="4">
                  <c:v>3.7</c:v>
                </c:pt>
              </c:numCache>
            </c:numRef>
          </c:val>
          <c:extLst>
            <c:ext xmlns:c16="http://schemas.microsoft.com/office/drawing/2014/chart" uri="{C3380CC4-5D6E-409C-BE32-E72D297353CC}">
              <c16:uniqueId val="{00000000-B3CA-466F-8326-007F7764E687}"/>
            </c:ext>
          </c:extLst>
        </c:ser>
        <c:ser>
          <c:idx val="1"/>
          <c:order val="1"/>
          <c:tx>
            <c:strRef>
              <c:f>Sheet1!$C$1</c:f>
              <c:strCache>
                <c:ptCount val="1"/>
                <c:pt idx="0">
                  <c:v>Notebook</c:v>
                </c:pt>
              </c:strCache>
            </c:strRef>
          </c:tx>
          <c:spPr>
            <a:solidFill>
              <a:schemeClr val="accent3"/>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C$2:$C$6</c:f>
              <c:numCache>
                <c:formatCode>General</c:formatCode>
                <c:ptCount val="5"/>
                <c:pt idx="0">
                  <c:v>2.4</c:v>
                </c:pt>
                <c:pt idx="1">
                  <c:v>4.4000000000000004</c:v>
                </c:pt>
                <c:pt idx="2">
                  <c:v>1.8</c:v>
                </c:pt>
                <c:pt idx="3">
                  <c:v>2.8</c:v>
                </c:pt>
                <c:pt idx="4">
                  <c:v>2.5</c:v>
                </c:pt>
              </c:numCache>
            </c:numRef>
          </c:val>
          <c:extLst>
            <c:ext xmlns:c16="http://schemas.microsoft.com/office/drawing/2014/chart" uri="{C3380CC4-5D6E-409C-BE32-E72D297353CC}">
              <c16:uniqueId val="{00000001-B3CA-466F-8326-007F7764E687}"/>
            </c:ext>
          </c:extLst>
        </c:ser>
        <c:ser>
          <c:idx val="2"/>
          <c:order val="2"/>
          <c:tx>
            <c:strRef>
              <c:f>Sheet1!$D$1</c:f>
              <c:strCache>
                <c:ptCount val="1"/>
                <c:pt idx="0">
                  <c:v>Tablet</c:v>
                </c:pt>
              </c:strCache>
            </c:strRef>
          </c:tx>
          <c:spPr>
            <a:solidFill>
              <a:schemeClr val="accent5"/>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D$2:$D$6</c:f>
              <c:numCache>
                <c:formatCode>General</c:formatCode>
                <c:ptCount val="5"/>
                <c:pt idx="0">
                  <c:v>2</c:v>
                </c:pt>
                <c:pt idx="1">
                  <c:v>2</c:v>
                </c:pt>
                <c:pt idx="2">
                  <c:v>3</c:v>
                </c:pt>
                <c:pt idx="3">
                  <c:v>5</c:v>
                </c:pt>
                <c:pt idx="4">
                  <c:v>1.2</c:v>
                </c:pt>
              </c:numCache>
            </c:numRef>
          </c:val>
          <c:extLst>
            <c:ext xmlns:c16="http://schemas.microsoft.com/office/drawing/2014/chart" uri="{C3380CC4-5D6E-409C-BE32-E72D297353CC}">
              <c16:uniqueId val="{00000002-B3CA-466F-8326-007F7764E687}"/>
            </c:ext>
          </c:extLst>
        </c:ser>
        <c:ser>
          <c:idx val="3"/>
          <c:order val="3"/>
          <c:tx>
            <c:strRef>
              <c:f>Sheet1!$E$1</c:f>
              <c:strCache>
                <c:ptCount val="1"/>
                <c:pt idx="0">
                  <c:v>Other</c:v>
                </c:pt>
              </c:strCache>
            </c:strRef>
          </c:tx>
          <c:spPr>
            <a:solidFill>
              <a:schemeClr val="accent2"/>
            </a:solidFill>
            <a:ln>
              <a:noFill/>
            </a:ln>
            <a:effectLst/>
          </c:spPr>
          <c:invertIfNegative val="0"/>
          <c:cat>
            <c:numRef>
              <c:f>Sheet1!$A$2:$A$6</c:f>
              <c:numCache>
                <c:formatCode>General</c:formatCode>
                <c:ptCount val="5"/>
                <c:pt idx="0">
                  <c:v>2017</c:v>
                </c:pt>
                <c:pt idx="1">
                  <c:v>2018</c:v>
                </c:pt>
                <c:pt idx="2">
                  <c:v>2019</c:v>
                </c:pt>
                <c:pt idx="3">
                  <c:v>2021</c:v>
                </c:pt>
                <c:pt idx="4">
                  <c:v>2022</c:v>
                </c:pt>
              </c:numCache>
            </c:numRef>
          </c:cat>
          <c:val>
            <c:numRef>
              <c:f>Sheet1!$E$2:$E$6</c:f>
              <c:numCache>
                <c:formatCode>General</c:formatCode>
                <c:ptCount val="5"/>
                <c:pt idx="0">
                  <c:v>3.7</c:v>
                </c:pt>
                <c:pt idx="1">
                  <c:v>2.5</c:v>
                </c:pt>
                <c:pt idx="2">
                  <c:v>1.1000000000000001</c:v>
                </c:pt>
                <c:pt idx="3">
                  <c:v>1.4</c:v>
                </c:pt>
                <c:pt idx="4">
                  <c:v>4.4000000000000004</c:v>
                </c:pt>
              </c:numCache>
            </c:numRef>
          </c:val>
          <c:extLst>
            <c:ext xmlns:c16="http://schemas.microsoft.com/office/drawing/2014/chart" uri="{C3380CC4-5D6E-409C-BE32-E72D297353CC}">
              <c16:uniqueId val="{00000003-B3CA-466F-8326-007F7764E687}"/>
            </c:ext>
          </c:extLst>
        </c:ser>
        <c:dLbls>
          <c:showLegendKey val="0"/>
          <c:showVal val="0"/>
          <c:showCatName val="0"/>
          <c:showSerName val="0"/>
          <c:showPercent val="0"/>
          <c:showBubbleSize val="0"/>
        </c:dLbls>
        <c:gapWidth val="126"/>
        <c:axId val="2145690064"/>
        <c:axId val="2133704544"/>
      </c:barChart>
      <c:catAx>
        <c:axId val="2145690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US"/>
          </a:p>
        </c:txPr>
        <c:crossAx val="2133704544"/>
        <c:crosses val="autoZero"/>
        <c:auto val="1"/>
        <c:lblAlgn val="ctr"/>
        <c:lblOffset val="100"/>
        <c:noMultiLvlLbl val="0"/>
      </c:catAx>
      <c:valAx>
        <c:axId val="21337045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US"/>
          </a:p>
        </c:txPr>
        <c:crossAx val="2145690064"/>
        <c:crosses val="autoZero"/>
        <c:crossBetween val="between"/>
      </c:valAx>
      <c:spPr>
        <a:noFill/>
        <a:ln>
          <a:noFill/>
        </a:ln>
        <a:effectLst/>
      </c:spPr>
    </c:plotArea>
    <c:legend>
      <c:legendPos val="b"/>
      <c:layout>
        <c:manualLayout>
          <c:xMode val="edge"/>
          <c:yMode val="edge"/>
          <c:x val="0.27939504479685101"/>
          <c:y val="0.94001079147736499"/>
          <c:w val="0.44282297723436798"/>
          <c:h val="5.99892399007418E-2"/>
        </c:manualLayout>
      </c:layout>
      <c:overlay val="0"/>
      <c:spPr>
        <a:noFill/>
        <a:ln>
          <a:noFill/>
        </a:ln>
        <a:effectLst/>
      </c:spPr>
      <c:txPr>
        <a:bodyPr rot="0" spcFirstLastPara="1" vertOverflow="ellipsis" vert="horz" wrap="square" anchor="ctr" anchorCtr="1"/>
        <a:lstStyle/>
        <a:p>
          <a:pPr algn="ctr">
            <a:defRPr lang="en-US" sz="900" b="0" i="0" u="none" strike="noStrike" kern="1200" baseline="0">
              <a:solidFill>
                <a:schemeClr val="accent5"/>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chemeClr val="tx2"/>
              </a:solidFill>
              <a:round/>
            </a:ln>
            <a:effectLst/>
          </c:spPr>
          <c:marker>
            <c:symbol val="circle"/>
            <c:size val="8"/>
            <c:spPr>
              <a:solidFill>
                <a:schemeClr val="bg1"/>
              </a:solidFill>
              <a:ln w="50800">
                <a:solidFill>
                  <a:schemeClr val="tx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gradFill>
                      <a:gsLst>
                        <a:gs pos="24583">
                          <a:schemeClr val="tx1"/>
                        </a:gs>
                        <a:gs pos="41000">
                          <a:schemeClr val="tx1"/>
                        </a:gs>
                      </a:gsLst>
                      <a:lin ang="5400000" scaled="0"/>
                    </a:gra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One</c:v>
                </c:pt>
                <c:pt idx="1">
                  <c:v>Two</c:v>
                </c:pt>
                <c:pt idx="2">
                  <c:v>Three</c:v>
                </c:pt>
                <c:pt idx="3">
                  <c:v>Four</c:v>
                </c:pt>
                <c:pt idx="4">
                  <c:v>Five</c:v>
                </c:pt>
                <c:pt idx="5">
                  <c:v>Six</c:v>
                </c:pt>
                <c:pt idx="6">
                  <c:v>Seven</c:v>
                </c:pt>
                <c:pt idx="7">
                  <c:v>Eight</c:v>
                </c:pt>
                <c:pt idx="8">
                  <c:v>Nine</c:v>
                </c:pt>
                <c:pt idx="9">
                  <c:v>Ten</c:v>
                </c:pt>
              </c:strCache>
            </c:strRef>
          </c:cat>
          <c:val>
            <c:numRef>
              <c:f>Sheet1!$B$2:$B$11</c:f>
              <c:numCache>
                <c:formatCode>General</c:formatCode>
                <c:ptCount val="10"/>
                <c:pt idx="0">
                  <c:v>8</c:v>
                </c:pt>
                <c:pt idx="1">
                  <c:v>9</c:v>
                </c:pt>
                <c:pt idx="2">
                  <c:v>25</c:v>
                </c:pt>
                <c:pt idx="3">
                  <c:v>20</c:v>
                </c:pt>
                <c:pt idx="4">
                  <c:v>39</c:v>
                </c:pt>
                <c:pt idx="5">
                  <c:v>45</c:v>
                </c:pt>
                <c:pt idx="6">
                  <c:v>31</c:v>
                </c:pt>
                <c:pt idx="7">
                  <c:v>35</c:v>
                </c:pt>
                <c:pt idx="8">
                  <c:v>53</c:v>
                </c:pt>
                <c:pt idx="9">
                  <c:v>55</c:v>
                </c:pt>
              </c:numCache>
            </c:numRef>
          </c:val>
          <c:smooth val="0"/>
          <c:extLst>
            <c:ext xmlns:c16="http://schemas.microsoft.com/office/drawing/2014/chart" uri="{C3380CC4-5D6E-409C-BE32-E72D297353CC}">
              <c16:uniqueId val="{00000000-8CCD-4FD8-A8B9-21086146AF4F}"/>
            </c:ext>
          </c:extLst>
        </c:ser>
        <c:dLbls>
          <c:showLegendKey val="0"/>
          <c:showVal val="0"/>
          <c:showCatName val="0"/>
          <c:showSerName val="0"/>
          <c:showPercent val="0"/>
          <c:showBubbleSize val="0"/>
        </c:dLbls>
        <c:marker val="1"/>
        <c:smooth val="0"/>
        <c:axId val="2131641696"/>
        <c:axId val="2131644016"/>
      </c:lineChart>
      <c:catAx>
        <c:axId val="21316416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2131644016"/>
        <c:crosses val="autoZero"/>
        <c:auto val="1"/>
        <c:lblAlgn val="ctr"/>
        <c:lblOffset val="100"/>
        <c:noMultiLvlLbl val="0"/>
      </c:catAx>
      <c:valAx>
        <c:axId val="213164401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2131641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138325475405198E-2"/>
          <c:y val="3.5645820878346703E-2"/>
          <c:w val="0.95450634426848302"/>
          <c:h val="0.69441376148123302"/>
        </c:manualLayout>
      </c:layout>
      <c:lineChart>
        <c:grouping val="standard"/>
        <c:varyColors val="0"/>
        <c:ser>
          <c:idx val="0"/>
          <c:order val="0"/>
          <c:tx>
            <c:strRef>
              <c:f>Sheet1!$B$1</c:f>
              <c:strCache>
                <c:ptCount val="1"/>
                <c:pt idx="0">
                  <c:v>Series 1</c:v>
                </c:pt>
              </c:strCache>
            </c:strRef>
          </c:tx>
          <c:spPr>
            <a:ln w="38100" cap="rnd">
              <a:solidFill>
                <a:schemeClr val="accent2"/>
              </a:solidFill>
              <a:round/>
            </a:ln>
            <a:effectLst/>
          </c:spPr>
          <c:marker>
            <c:symbol val="circle"/>
            <c:size val="8"/>
            <c:spPr>
              <a:solidFill>
                <a:schemeClr val="bg1"/>
              </a:solidFill>
              <a:ln w="38100">
                <a:solidFill>
                  <a:schemeClr val="accent2"/>
                </a:solidFill>
              </a:ln>
              <a:effectLst/>
            </c:spPr>
          </c:marker>
          <c:cat>
            <c:strRef>
              <c:f>Sheet1!$A$2:$A$6</c:f>
              <c:strCache>
                <c:ptCount val="5"/>
                <c:pt idx="0">
                  <c:v> One</c:v>
                </c:pt>
                <c:pt idx="1">
                  <c:v>Product Two</c:v>
                </c:pt>
                <c:pt idx="2">
                  <c:v>Product Three</c:v>
                </c:pt>
                <c:pt idx="3">
                  <c:v>Product Four</c:v>
                </c:pt>
                <c:pt idx="4">
                  <c:v>Product Five</c:v>
                </c:pt>
              </c:strCache>
            </c:strRef>
          </c:cat>
          <c:val>
            <c:numRef>
              <c:f>Sheet1!$B$2:$B$6</c:f>
              <c:numCache>
                <c:formatCode>General</c:formatCode>
                <c:ptCount val="5"/>
                <c:pt idx="0">
                  <c:v>200</c:v>
                </c:pt>
                <c:pt idx="1">
                  <c:v>250</c:v>
                </c:pt>
                <c:pt idx="2">
                  <c:v>270</c:v>
                </c:pt>
                <c:pt idx="3">
                  <c:v>350</c:v>
                </c:pt>
                <c:pt idx="4">
                  <c:v>390</c:v>
                </c:pt>
              </c:numCache>
            </c:numRef>
          </c:val>
          <c:smooth val="0"/>
          <c:extLst>
            <c:ext xmlns:c16="http://schemas.microsoft.com/office/drawing/2014/chart" uri="{C3380CC4-5D6E-409C-BE32-E72D297353CC}">
              <c16:uniqueId val="{00000000-F475-437E-AA72-706BE6B19CD2}"/>
            </c:ext>
          </c:extLst>
        </c:ser>
        <c:ser>
          <c:idx val="1"/>
          <c:order val="1"/>
          <c:tx>
            <c:strRef>
              <c:f>Sheet1!$C$1</c:f>
              <c:strCache>
                <c:ptCount val="1"/>
                <c:pt idx="0">
                  <c:v>Series 2</c:v>
                </c:pt>
              </c:strCache>
            </c:strRef>
          </c:tx>
          <c:spPr>
            <a:ln w="38100" cap="rnd">
              <a:solidFill>
                <a:schemeClr val="accent5"/>
              </a:solidFill>
              <a:round/>
            </a:ln>
            <a:effectLst/>
          </c:spPr>
          <c:marker>
            <c:symbol val="circle"/>
            <c:size val="8"/>
            <c:spPr>
              <a:solidFill>
                <a:schemeClr val="bg1"/>
              </a:solidFill>
              <a:ln w="38100">
                <a:solidFill>
                  <a:schemeClr val="accent5"/>
                </a:solidFill>
              </a:ln>
              <a:effectLst/>
            </c:spPr>
          </c:marker>
          <c:cat>
            <c:strRef>
              <c:f>Sheet1!$A$2:$A$6</c:f>
              <c:strCache>
                <c:ptCount val="5"/>
                <c:pt idx="0">
                  <c:v> One</c:v>
                </c:pt>
                <c:pt idx="1">
                  <c:v>Product Two</c:v>
                </c:pt>
                <c:pt idx="2">
                  <c:v>Product Three</c:v>
                </c:pt>
                <c:pt idx="3">
                  <c:v>Product Four</c:v>
                </c:pt>
                <c:pt idx="4">
                  <c:v>Product Five</c:v>
                </c:pt>
              </c:strCache>
            </c:strRef>
          </c:cat>
          <c:val>
            <c:numRef>
              <c:f>Sheet1!$C$2:$C$6</c:f>
              <c:numCache>
                <c:formatCode>General</c:formatCode>
                <c:ptCount val="5"/>
                <c:pt idx="0">
                  <c:v>125</c:v>
                </c:pt>
                <c:pt idx="1">
                  <c:v>360</c:v>
                </c:pt>
                <c:pt idx="2">
                  <c:v>180</c:v>
                </c:pt>
                <c:pt idx="3">
                  <c:v>280</c:v>
                </c:pt>
                <c:pt idx="4">
                  <c:v>530</c:v>
                </c:pt>
              </c:numCache>
            </c:numRef>
          </c:val>
          <c:smooth val="0"/>
          <c:extLst>
            <c:ext xmlns:c16="http://schemas.microsoft.com/office/drawing/2014/chart" uri="{C3380CC4-5D6E-409C-BE32-E72D297353CC}">
              <c16:uniqueId val="{00000001-F475-437E-AA72-706BE6B19CD2}"/>
            </c:ext>
          </c:extLst>
        </c:ser>
        <c:ser>
          <c:idx val="2"/>
          <c:order val="2"/>
          <c:tx>
            <c:strRef>
              <c:f>Sheet1!$D$1</c:f>
              <c:strCache>
                <c:ptCount val="1"/>
                <c:pt idx="0">
                  <c:v>Series 3</c:v>
                </c:pt>
              </c:strCache>
            </c:strRef>
          </c:tx>
          <c:spPr>
            <a:ln w="38100" cap="rnd">
              <a:solidFill>
                <a:schemeClr val="accent3"/>
              </a:solidFill>
              <a:round/>
            </a:ln>
            <a:effectLst/>
          </c:spPr>
          <c:marker>
            <c:symbol val="circle"/>
            <c:size val="8"/>
            <c:spPr>
              <a:solidFill>
                <a:schemeClr val="bg1"/>
              </a:solidFill>
              <a:ln w="38100">
                <a:solidFill>
                  <a:schemeClr val="accent3"/>
                </a:solidFill>
              </a:ln>
              <a:effectLst/>
            </c:spPr>
          </c:marker>
          <c:cat>
            <c:strRef>
              <c:f>Sheet1!$A$2:$A$6</c:f>
              <c:strCache>
                <c:ptCount val="5"/>
                <c:pt idx="0">
                  <c:v> One</c:v>
                </c:pt>
                <c:pt idx="1">
                  <c:v>Product Two</c:v>
                </c:pt>
                <c:pt idx="2">
                  <c:v>Product Three</c:v>
                </c:pt>
                <c:pt idx="3">
                  <c:v>Product Four</c:v>
                </c:pt>
                <c:pt idx="4">
                  <c:v>Product Five</c:v>
                </c:pt>
              </c:strCache>
            </c:strRef>
          </c:cat>
          <c:val>
            <c:numRef>
              <c:f>Sheet1!$D$2:$D$6</c:f>
              <c:numCache>
                <c:formatCode>General</c:formatCode>
                <c:ptCount val="5"/>
                <c:pt idx="0">
                  <c:v>72</c:v>
                </c:pt>
                <c:pt idx="1">
                  <c:v>80</c:v>
                </c:pt>
                <c:pt idx="2">
                  <c:v>360</c:v>
                </c:pt>
                <c:pt idx="3">
                  <c:v>500</c:v>
                </c:pt>
                <c:pt idx="4">
                  <c:v>450</c:v>
                </c:pt>
              </c:numCache>
            </c:numRef>
          </c:val>
          <c:smooth val="0"/>
          <c:extLst>
            <c:ext xmlns:c16="http://schemas.microsoft.com/office/drawing/2014/chart" uri="{C3380CC4-5D6E-409C-BE32-E72D297353CC}">
              <c16:uniqueId val="{00000002-F475-437E-AA72-706BE6B19CD2}"/>
            </c:ext>
          </c:extLst>
        </c:ser>
        <c:dLbls>
          <c:showLegendKey val="0"/>
          <c:showVal val="0"/>
          <c:showCatName val="0"/>
          <c:showSerName val="0"/>
          <c:showPercent val="0"/>
          <c:showBubbleSize val="0"/>
        </c:dLbls>
        <c:marker val="1"/>
        <c:smooth val="0"/>
        <c:axId val="2041681536"/>
        <c:axId val="2041682896"/>
      </c:lineChart>
      <c:catAx>
        <c:axId val="204168153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2041682896"/>
        <c:crosses val="autoZero"/>
        <c:auto val="1"/>
        <c:lblAlgn val="ctr"/>
        <c:lblOffset val="100"/>
        <c:noMultiLvlLbl val="0"/>
      </c:catAx>
      <c:valAx>
        <c:axId val="204168289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5"/>
                </a:solidFill>
                <a:latin typeface="+mn-lt"/>
                <a:ea typeface="+mn-ea"/>
                <a:cs typeface="+mn-cs"/>
              </a:defRPr>
            </a:pPr>
            <a:endParaRPr lang="en-US"/>
          </a:p>
        </c:txPr>
        <c:crossAx val="2041681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pieChart>
        <c:varyColors val="1"/>
        <c:ser>
          <c:idx val="0"/>
          <c:order val="0"/>
          <c:tx>
            <c:strRef>
              <c:f>Sheet1!$B$1</c:f>
              <c:strCache>
                <c:ptCount val="1"/>
                <c:pt idx="0">
                  <c:v>Sales</c:v>
                </c:pt>
              </c:strCache>
            </c:strRef>
          </c:tx>
          <c:dPt>
            <c:idx val="0"/>
            <c:bubble3D val="0"/>
            <c:spPr>
              <a:solidFill>
                <a:schemeClr val="accent1"/>
              </a:solidFill>
            </c:spPr>
            <c:extLst>
              <c:ext xmlns:c16="http://schemas.microsoft.com/office/drawing/2014/chart" uri="{C3380CC4-5D6E-409C-BE32-E72D297353CC}">
                <c16:uniqueId val="{00000001-B044-404D-AECA-19FA49BF7A68}"/>
              </c:ext>
            </c:extLst>
          </c:dPt>
          <c:dPt>
            <c:idx val="1"/>
            <c:bubble3D val="0"/>
            <c:spPr>
              <a:solidFill>
                <a:schemeClr val="accent2"/>
              </a:solidFill>
            </c:spPr>
            <c:extLst>
              <c:ext xmlns:c16="http://schemas.microsoft.com/office/drawing/2014/chart" uri="{C3380CC4-5D6E-409C-BE32-E72D297353CC}">
                <c16:uniqueId val="{00000003-B044-404D-AECA-19FA49BF7A68}"/>
              </c:ext>
            </c:extLst>
          </c:dPt>
          <c:dPt>
            <c:idx val="2"/>
            <c:bubble3D val="0"/>
            <c:spPr>
              <a:solidFill>
                <a:schemeClr val="accent3"/>
              </a:solidFill>
            </c:spPr>
            <c:extLst>
              <c:ext xmlns:c16="http://schemas.microsoft.com/office/drawing/2014/chart" uri="{C3380CC4-5D6E-409C-BE32-E72D297353CC}">
                <c16:uniqueId val="{00000005-B044-404D-AECA-19FA49BF7A68}"/>
              </c:ext>
            </c:extLst>
          </c:dPt>
          <c:dPt>
            <c:idx val="3"/>
            <c:bubble3D val="0"/>
            <c:spPr>
              <a:solidFill>
                <a:schemeClr val="accent5"/>
              </a:solidFill>
            </c:spPr>
            <c:extLst>
              <c:ext xmlns:c16="http://schemas.microsoft.com/office/drawing/2014/chart" uri="{C3380CC4-5D6E-409C-BE32-E72D297353CC}">
                <c16:uniqueId val="{00000007-B044-404D-AECA-19FA49BF7A68}"/>
              </c:ext>
            </c:extLst>
          </c:dPt>
          <c:dLbls>
            <c:dLbl>
              <c:idx val="0"/>
              <c:layout>
                <c:manualLayout>
                  <c:x val="-0.23658742801451799"/>
                  <c:y val="-4.89088180967331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44-404D-AECA-19FA49BF7A68}"/>
                </c:ext>
              </c:extLst>
            </c:dLbl>
            <c:dLbl>
              <c:idx val="1"/>
              <c:layout>
                <c:manualLayout>
                  <c:x val="0.12934644002081599"/>
                  <c:y val="-7.825666750851349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44-404D-AECA-19FA49BF7A68}"/>
                </c:ext>
              </c:extLst>
            </c:dLbl>
            <c:dLbl>
              <c:idx val="2"/>
              <c:layout>
                <c:manualLayout>
                  <c:x val="0.11642116455924199"/>
                  <c:y val="0.12129195409129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044-404D-AECA-19FA49BF7A68}"/>
                </c:ext>
              </c:extLst>
            </c:dLbl>
            <c:dLbl>
              <c:idx val="3"/>
              <c:layout>
                <c:manualLayout>
                  <c:x val="6.1499337250244E-2"/>
                  <c:y val="0.18067103436550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044-404D-AECA-19FA49BF7A68}"/>
                </c:ext>
              </c:extLst>
            </c:dLbl>
            <c:spPr>
              <a:noFill/>
              <a:ln>
                <a:noFill/>
              </a:ln>
              <a:effectLst/>
            </c:spPr>
            <c:txPr>
              <a:bodyPr/>
              <a:lstStyle/>
              <a:p>
                <a:pPr>
                  <a:defRPr sz="1200" b="1">
                    <a:solidFill>
                      <a:schemeClr val="bg1"/>
                    </a:solidFill>
                    <a:latin typeface="Arial" panose="020B0604020202020204" pitchFamily="34" charset="0"/>
                    <a:cs typeface="Arial" panose="020B0604020202020204" pitchFamily="34" charset="0"/>
                  </a:defRPr>
                </a:pPr>
                <a:endParaRPr lang="en-US"/>
              </a:p>
            </c:txPr>
            <c:dLblPos val="ct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Data A</c:v>
                </c:pt>
                <c:pt idx="1">
                  <c:v>Data B</c:v>
                </c:pt>
                <c:pt idx="2">
                  <c:v>Data C</c:v>
                </c:pt>
                <c:pt idx="3">
                  <c:v>Data D</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B044-404D-AECA-19FA49BF7A68}"/>
            </c:ext>
          </c:extLst>
        </c:ser>
        <c:dLbls>
          <c:showLegendKey val="0"/>
          <c:showVal val="0"/>
          <c:showCatName val="0"/>
          <c:showSerName val="0"/>
          <c:showPercent val="0"/>
          <c:showBubbleSize val="0"/>
          <c:showLeaderLines val="1"/>
        </c:dLbls>
        <c:firstSliceAng val="0"/>
      </c:pieChart>
    </c:plotArea>
    <c:legend>
      <c:legendPos val="r"/>
      <c:layout>
        <c:manualLayout>
          <c:xMode val="edge"/>
          <c:yMode val="edge"/>
          <c:x val="0.75493368139079298"/>
          <c:y val="0.32458297818701298"/>
          <c:w val="0.19537965157939499"/>
          <c:h val="0.38418528433714699"/>
        </c:manualLayout>
      </c:layout>
      <c:overlay val="1"/>
      <c:txPr>
        <a:bodyPr/>
        <a:lstStyle/>
        <a:p>
          <a:pPr>
            <a:defRPr sz="1000">
              <a:solidFill>
                <a:schemeClr val="tx2">
                  <a:lumMod val="75000"/>
                </a:schemeClr>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0364079013967E-2"/>
          <c:y val="0.14843094677598301"/>
          <c:w val="0.69241293181921904"/>
          <c:h val="0.80355351038594403"/>
        </c:manualLayout>
      </c:layout>
      <c:doughnutChart>
        <c:varyColors val="1"/>
        <c:ser>
          <c:idx val="0"/>
          <c:order val="0"/>
          <c:tx>
            <c:strRef>
              <c:f>Sheet1!$B$1</c:f>
              <c:strCache>
                <c:ptCount val="1"/>
                <c:pt idx="0">
                  <c:v>Sales</c:v>
                </c:pt>
              </c:strCache>
            </c:strRef>
          </c:tx>
          <c:spPr>
            <a:solidFill>
              <a:schemeClr val="bg1">
                <a:lumMod val="95000"/>
              </a:schemeClr>
            </a:solidFill>
          </c:spPr>
          <c:dPt>
            <c:idx val="0"/>
            <c:bubble3D val="0"/>
            <c:spPr>
              <a:solidFill>
                <a:schemeClr val="bg1">
                  <a:lumMod val="85000"/>
                </a:schemeClr>
              </a:solidFill>
              <a:ln>
                <a:solidFill>
                  <a:schemeClr val="lt1">
                    <a:hueOff val="0"/>
                    <a:satOff val="0"/>
                    <a:lumOff val="0"/>
                  </a:schemeClr>
                </a:solidFill>
              </a:ln>
            </c:spPr>
            <c:extLst>
              <c:ext xmlns:c16="http://schemas.microsoft.com/office/drawing/2014/chart" uri="{C3380CC4-5D6E-409C-BE32-E72D297353CC}">
                <c16:uniqueId val="{00000001-F052-476B-8BA7-15E55642B28F}"/>
              </c:ext>
            </c:extLst>
          </c:dPt>
          <c:dPt>
            <c:idx val="1"/>
            <c:bubble3D val="0"/>
            <c:spPr>
              <a:solidFill>
                <a:schemeClr val="accent1"/>
              </a:solidFill>
            </c:spPr>
            <c:extLst>
              <c:ext xmlns:c16="http://schemas.microsoft.com/office/drawing/2014/chart" uri="{C3380CC4-5D6E-409C-BE32-E72D297353CC}">
                <c16:uniqueId val="{00000003-F052-476B-8BA7-15E55642B28F}"/>
              </c:ext>
            </c:extLst>
          </c:dPt>
          <c:dPt>
            <c:idx val="2"/>
            <c:bubble3D val="0"/>
            <c:extLst>
              <c:ext xmlns:c16="http://schemas.microsoft.com/office/drawing/2014/chart" uri="{C3380CC4-5D6E-409C-BE32-E72D297353CC}">
                <c16:uniqueId val="{00000005-F052-476B-8BA7-15E55642B28F}"/>
              </c:ext>
            </c:extLst>
          </c:dPt>
          <c:dPt>
            <c:idx val="3"/>
            <c:bubble3D val="0"/>
            <c:extLst>
              <c:ext xmlns:c16="http://schemas.microsoft.com/office/drawing/2014/chart" uri="{C3380CC4-5D6E-409C-BE32-E72D297353CC}">
                <c16:uniqueId val="{00000007-F052-476B-8BA7-15E55642B28F}"/>
              </c:ext>
            </c:extLst>
          </c:dPt>
          <c:cat>
            <c:strRef>
              <c:f>Sheet1!$A$2:$A$3</c:f>
              <c:strCache>
                <c:ptCount val="2"/>
                <c:pt idx="0">
                  <c:v>Data A</c:v>
                </c:pt>
                <c:pt idx="1">
                  <c:v>Data B</c:v>
                </c:pt>
              </c:strCache>
            </c:strRef>
          </c:cat>
          <c:val>
            <c:numRef>
              <c:f>Sheet1!$B$2:$B$3</c:f>
              <c:numCache>
                <c:formatCode>General</c:formatCode>
                <c:ptCount val="2"/>
                <c:pt idx="0">
                  <c:v>8.2000000000000011</c:v>
                </c:pt>
                <c:pt idx="1">
                  <c:v>3.2</c:v>
                </c:pt>
              </c:numCache>
            </c:numRef>
          </c:val>
          <c:extLst>
            <c:ext xmlns:c16="http://schemas.microsoft.com/office/drawing/2014/chart" uri="{C3380CC4-5D6E-409C-BE32-E72D297353CC}">
              <c16:uniqueId val="{00000008-F052-476B-8BA7-15E55642B28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accent3"/>
              </a:solidFill>
              <a:ln w="6350">
                <a:noFill/>
              </a:ln>
              <a:effectLst/>
            </c:spPr>
            <c:extLst>
              <c:ext xmlns:c16="http://schemas.microsoft.com/office/drawing/2014/chart" uri="{C3380CC4-5D6E-409C-BE32-E72D297353CC}">
                <c16:uniqueId val="{00000001-8262-480B-9D60-E2AB564EC34E}"/>
              </c:ext>
            </c:extLst>
          </c:dPt>
          <c:dPt>
            <c:idx val="1"/>
            <c:bubble3D val="0"/>
            <c:spPr>
              <a:solidFill>
                <a:schemeClr val="accent3">
                  <a:lumMod val="75000"/>
                  <a:lumOff val="25000"/>
                </a:schemeClr>
              </a:solidFill>
              <a:ln w="19050">
                <a:noFill/>
              </a:ln>
              <a:effectLst/>
            </c:spPr>
            <c:extLst>
              <c:ext xmlns:c16="http://schemas.microsoft.com/office/drawing/2014/chart" uri="{C3380CC4-5D6E-409C-BE32-E72D297353CC}">
                <c16:uniqueId val="{00000003-8262-480B-9D60-E2AB564EC34E}"/>
              </c:ext>
            </c:extLst>
          </c:dPt>
          <c:dPt>
            <c:idx val="2"/>
            <c:bubble3D val="0"/>
            <c:spPr>
              <a:solidFill>
                <a:srgbClr val="767676"/>
              </a:solidFill>
              <a:ln w="19050">
                <a:noFill/>
              </a:ln>
              <a:effectLst/>
            </c:spPr>
            <c:extLst>
              <c:ext xmlns:c16="http://schemas.microsoft.com/office/drawing/2014/chart" uri="{C3380CC4-5D6E-409C-BE32-E72D297353CC}">
                <c16:uniqueId val="{00000005-8262-480B-9D60-E2AB564EC34E}"/>
              </c:ext>
            </c:extLst>
          </c:dPt>
          <c:dPt>
            <c:idx val="3"/>
            <c:bubble3D val="0"/>
            <c:spPr>
              <a:solidFill>
                <a:schemeClr val="accent2"/>
              </a:solidFill>
              <a:ln w="19050">
                <a:noFill/>
              </a:ln>
              <a:effectLst/>
            </c:spPr>
            <c:extLst>
              <c:ext xmlns:c16="http://schemas.microsoft.com/office/drawing/2014/chart" uri="{C3380CC4-5D6E-409C-BE32-E72D297353CC}">
                <c16:uniqueId val="{00000007-8262-480B-9D60-E2AB564EC34E}"/>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5</c:v>
                </c:pt>
                <c:pt idx="1">
                  <c:v>25</c:v>
                </c:pt>
                <c:pt idx="2">
                  <c:v>25</c:v>
                </c:pt>
                <c:pt idx="3">
                  <c:v>25</c:v>
                </c:pt>
              </c:numCache>
            </c:numRef>
          </c:val>
          <c:extLst>
            <c:ext xmlns:c16="http://schemas.microsoft.com/office/drawing/2014/chart" uri="{C3380CC4-5D6E-409C-BE32-E72D297353CC}">
              <c16:uniqueId val="{00000008-8262-480B-9D60-E2AB564EC34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7363" cy="463550"/>
          </a:xfrm>
          <a:prstGeom prst="rect">
            <a:avLst/>
          </a:prstGeom>
        </p:spPr>
        <p:txBody>
          <a:bodyPr vert="horz" lIns="91029" tIns="45514" rIns="91029" bIns="45514" rtlCol="0"/>
          <a:lstStyle>
            <a:lvl1pPr algn="l">
              <a:defRPr sz="1200"/>
            </a:lvl1pPr>
          </a:lstStyle>
          <a:p>
            <a:endParaRPr lang="en-US"/>
          </a:p>
        </p:txBody>
      </p:sp>
      <p:sp>
        <p:nvSpPr>
          <p:cNvPr id="3" name="Date Placeholder 2"/>
          <p:cNvSpPr>
            <a:spLocks noGrp="1"/>
          </p:cNvSpPr>
          <p:nvPr>
            <p:ph type="dt" sz="quarter" idx="1"/>
          </p:nvPr>
        </p:nvSpPr>
        <p:spPr>
          <a:xfrm>
            <a:off x="3956052" y="0"/>
            <a:ext cx="3027363" cy="463550"/>
          </a:xfrm>
          <a:prstGeom prst="rect">
            <a:avLst/>
          </a:prstGeom>
        </p:spPr>
        <p:txBody>
          <a:bodyPr vert="horz" lIns="91029" tIns="45514" rIns="91029" bIns="45514" rtlCol="0"/>
          <a:lstStyle>
            <a:lvl1pPr algn="r">
              <a:defRPr sz="1200"/>
            </a:lvl1pPr>
          </a:lstStyle>
          <a:p>
            <a:fld id="{148E5A2D-7A34-412F-8E9B-EF8BA45F9F34}" type="datetime1">
              <a:rPr lang="en-US" smtClean="0"/>
              <a:t>6/11/2025</a:t>
            </a:fld>
            <a:endParaRPr lang="en-US"/>
          </a:p>
        </p:txBody>
      </p:sp>
      <p:sp>
        <p:nvSpPr>
          <p:cNvPr id="4" name="Footer Placeholder 3"/>
          <p:cNvSpPr>
            <a:spLocks noGrp="1"/>
          </p:cNvSpPr>
          <p:nvPr>
            <p:ph type="ftr" sz="quarter" idx="2"/>
          </p:nvPr>
        </p:nvSpPr>
        <p:spPr>
          <a:xfrm>
            <a:off x="2" y="8818563"/>
            <a:ext cx="3027363" cy="463550"/>
          </a:xfrm>
          <a:prstGeom prst="rect">
            <a:avLst/>
          </a:prstGeom>
        </p:spPr>
        <p:txBody>
          <a:bodyPr vert="horz" lIns="91029" tIns="45514" rIns="91029" bIns="45514" rtlCol="0" anchor="b"/>
          <a:lstStyle>
            <a:lvl1pPr algn="l">
              <a:defRPr sz="1200"/>
            </a:lvl1pPr>
          </a:lstStyle>
          <a:p>
            <a:r>
              <a:rPr lang="en-US" dirty="0" err="1"/>
              <a:t>INCOSE.org</a:t>
            </a:r>
            <a:endParaRPr lang="en-US" dirty="0"/>
          </a:p>
        </p:txBody>
      </p:sp>
      <p:sp>
        <p:nvSpPr>
          <p:cNvPr id="5" name="Slide Number Placeholder 4"/>
          <p:cNvSpPr>
            <a:spLocks noGrp="1"/>
          </p:cNvSpPr>
          <p:nvPr>
            <p:ph type="sldNum" sz="quarter" idx="3"/>
          </p:nvPr>
        </p:nvSpPr>
        <p:spPr>
          <a:xfrm>
            <a:off x="3956052" y="8818563"/>
            <a:ext cx="3027363" cy="463550"/>
          </a:xfrm>
          <a:prstGeom prst="rect">
            <a:avLst/>
          </a:prstGeom>
        </p:spPr>
        <p:txBody>
          <a:bodyPr vert="horz" lIns="91029" tIns="45514" rIns="91029" bIns="45514" rtlCol="0" anchor="b"/>
          <a:lstStyle>
            <a:lvl1pPr algn="r">
              <a:defRPr sz="1200"/>
            </a:lvl1pPr>
          </a:lstStyle>
          <a:p>
            <a:fld id="{5C665FA2-C151-4662-A2E4-7CE245007D67}" type="slidenum">
              <a:rPr lang="en-US" smtClean="0"/>
              <a:t>‹#›</a:t>
            </a:fld>
            <a:endParaRPr lang="en-US"/>
          </a:p>
        </p:txBody>
      </p:sp>
    </p:spTree>
    <p:extLst>
      <p:ext uri="{BB962C8B-B14F-4D97-AF65-F5344CB8AC3E}">
        <p14:creationId xmlns:p14="http://schemas.microsoft.com/office/powerpoint/2010/main" val="2579845493"/>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26833" cy="464185"/>
          </a:xfrm>
          <a:prstGeom prst="rect">
            <a:avLst/>
          </a:prstGeom>
        </p:spPr>
        <p:txBody>
          <a:bodyPr vert="horz" lIns="92540" tIns="46270" rIns="92540" bIns="46270" rtlCol="0"/>
          <a:lstStyle>
            <a:lvl1pPr algn="l">
              <a:defRPr sz="1200"/>
            </a:lvl1pPr>
          </a:lstStyle>
          <a:p>
            <a:endParaRPr lang="en-US"/>
          </a:p>
        </p:txBody>
      </p:sp>
      <p:sp>
        <p:nvSpPr>
          <p:cNvPr id="3" name="Date Placeholder 2"/>
          <p:cNvSpPr>
            <a:spLocks noGrp="1"/>
          </p:cNvSpPr>
          <p:nvPr>
            <p:ph type="dt" idx="1"/>
          </p:nvPr>
        </p:nvSpPr>
        <p:spPr>
          <a:xfrm>
            <a:off x="3956552" y="0"/>
            <a:ext cx="3026833" cy="464185"/>
          </a:xfrm>
          <a:prstGeom prst="rect">
            <a:avLst/>
          </a:prstGeom>
        </p:spPr>
        <p:txBody>
          <a:bodyPr vert="horz" lIns="92540" tIns="46270" rIns="92540" bIns="46270" rtlCol="0"/>
          <a:lstStyle>
            <a:lvl1pPr algn="r">
              <a:defRPr sz="1200"/>
            </a:lvl1pPr>
          </a:lstStyle>
          <a:p>
            <a:fld id="{5F334CC7-3019-4315-A940-28CE5A6B4904}" type="datetime1">
              <a:rPr lang="en-US" smtClean="0"/>
              <a:t>6/11/2025</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2540" tIns="46270" rIns="92540" bIns="46270" rtlCol="0" anchor="ctr"/>
          <a:lstStyle/>
          <a:p>
            <a:endParaRPr lang="en-US"/>
          </a:p>
        </p:txBody>
      </p:sp>
      <p:sp>
        <p:nvSpPr>
          <p:cNvPr id="5" name="Notes Placeholder 4"/>
          <p:cNvSpPr>
            <a:spLocks noGrp="1"/>
          </p:cNvSpPr>
          <p:nvPr>
            <p:ph type="body" sz="quarter" idx="3"/>
          </p:nvPr>
        </p:nvSpPr>
        <p:spPr>
          <a:xfrm>
            <a:off x="698500" y="4409759"/>
            <a:ext cx="5588000" cy="4177665"/>
          </a:xfrm>
          <a:prstGeom prst="rect">
            <a:avLst/>
          </a:prstGeom>
        </p:spPr>
        <p:txBody>
          <a:bodyPr vert="horz" lIns="92540" tIns="46270" rIns="92540" bIns="4627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17904"/>
            <a:ext cx="3026833" cy="464185"/>
          </a:xfrm>
          <a:prstGeom prst="rect">
            <a:avLst/>
          </a:prstGeom>
        </p:spPr>
        <p:txBody>
          <a:bodyPr vert="horz" lIns="92540" tIns="46270" rIns="92540" bIns="46270" rtlCol="0" anchor="b"/>
          <a:lstStyle>
            <a:lvl1pPr algn="l">
              <a:defRPr sz="1200"/>
            </a:lvl1pPr>
          </a:lstStyle>
          <a:p>
            <a:r>
              <a:rPr lang="en-US" dirty="0" err="1"/>
              <a:t>INCOSE.org</a:t>
            </a:r>
            <a:endParaRPr lang="en-US" dirty="0"/>
          </a:p>
        </p:txBody>
      </p:sp>
      <p:sp>
        <p:nvSpPr>
          <p:cNvPr id="7" name="Slide Number Placeholder 6"/>
          <p:cNvSpPr>
            <a:spLocks noGrp="1"/>
          </p:cNvSpPr>
          <p:nvPr>
            <p:ph type="sldNum" sz="quarter" idx="5"/>
          </p:nvPr>
        </p:nvSpPr>
        <p:spPr>
          <a:xfrm>
            <a:off x="3956552" y="8817904"/>
            <a:ext cx="3026833" cy="464185"/>
          </a:xfrm>
          <a:prstGeom prst="rect">
            <a:avLst/>
          </a:prstGeom>
        </p:spPr>
        <p:txBody>
          <a:bodyPr vert="horz" lIns="92540" tIns="46270" rIns="92540" bIns="46270" rtlCol="0" anchor="b"/>
          <a:lstStyle>
            <a:lvl1pPr algn="r">
              <a:defRPr sz="1200"/>
            </a:lvl1pPr>
          </a:lstStyle>
          <a:p>
            <a:fld id="{F55EC67E-402D-4FA6-937E-816E25842894}" type="slidenum">
              <a:rPr lang="en-US" smtClean="0"/>
              <a:t>‹#›</a:t>
            </a:fld>
            <a:endParaRPr lang="en-US"/>
          </a:p>
        </p:txBody>
      </p:sp>
    </p:spTree>
    <p:extLst>
      <p:ext uri="{BB962C8B-B14F-4D97-AF65-F5344CB8AC3E}">
        <p14:creationId xmlns:p14="http://schemas.microsoft.com/office/powerpoint/2010/main" val="2677741102"/>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D148C-6C53-4EB0-0451-D8C2B5AF613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255B81-B319-FE1E-443D-1DE4E0998FE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3CAD76E-C49B-B810-B437-6C92CC891F84}"/>
              </a:ext>
            </a:extLst>
          </p:cNvPr>
          <p:cNvSpPr>
            <a:spLocks noGrp="1"/>
          </p:cNvSpPr>
          <p:nvPr>
            <p:ph type="body" idx="1"/>
          </p:nvPr>
        </p:nvSpPr>
        <p:spPr/>
        <p:txBody>
          <a:bodyPr/>
          <a:lstStyle/>
          <a:p>
            <a:endParaRPr lang="en-US" dirty="0"/>
          </a:p>
        </p:txBody>
      </p:sp>
      <p:sp>
        <p:nvSpPr>
          <p:cNvPr id="4" name="Footer Placeholder 3">
            <a:extLst>
              <a:ext uri="{FF2B5EF4-FFF2-40B4-BE49-F238E27FC236}">
                <a16:creationId xmlns:a16="http://schemas.microsoft.com/office/drawing/2014/main" id="{77D2E571-9661-5D7F-7BE7-BF17CC43206A}"/>
              </a:ext>
            </a:extLst>
          </p:cNvPr>
          <p:cNvSpPr>
            <a:spLocks noGrp="1"/>
          </p:cNvSpPr>
          <p:nvPr>
            <p:ph type="ftr" sz="quarter" idx="4"/>
          </p:nvPr>
        </p:nvSpPr>
        <p:spPr/>
        <p:txBody>
          <a:bodyPr/>
          <a:lstStyle/>
          <a:p>
            <a:r>
              <a:rPr lang="en-US"/>
              <a:t>INCOSE.org</a:t>
            </a:r>
            <a:endParaRPr lang="en-US" dirty="0"/>
          </a:p>
        </p:txBody>
      </p:sp>
    </p:spTree>
    <p:extLst>
      <p:ext uri="{BB962C8B-B14F-4D97-AF65-F5344CB8AC3E}">
        <p14:creationId xmlns:p14="http://schemas.microsoft.com/office/powerpoint/2010/main" val="30247306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endParaRPr lang="en-US"/>
          </a:p>
        </p:txBody>
      </p:sp>
      <p:sp>
        <p:nvSpPr>
          <p:cNvPr id="5" name="Date Placeholder 4"/>
          <p:cNvSpPr>
            <a:spLocks noGrp="1"/>
          </p:cNvSpPr>
          <p:nvPr>
            <p:ph type="dt" idx="1"/>
          </p:nvPr>
        </p:nvSpPr>
        <p:spPr/>
        <p:txBody>
          <a:bodyPr/>
          <a:lstStyle/>
          <a:p>
            <a:fld id="{5F334CC7-3019-4315-A940-28CE5A6B4904}" type="datetime1">
              <a:rPr lang="en-US" smtClean="0"/>
              <a:t>6/11/2025</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F55EC67E-402D-4FA6-937E-816E25842894}" type="slidenum">
              <a:rPr lang="en-US" smtClean="0"/>
              <a:t>27</a:t>
            </a:fld>
            <a:endParaRPr lang="en-US"/>
          </a:p>
        </p:txBody>
      </p:sp>
    </p:spTree>
    <p:extLst>
      <p:ext uri="{BB962C8B-B14F-4D97-AF65-F5344CB8AC3E}">
        <p14:creationId xmlns:p14="http://schemas.microsoft.com/office/powerpoint/2010/main" val="2282886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oter Placeholder 3"/>
          <p:cNvSpPr>
            <a:spLocks noGrp="1"/>
          </p:cNvSpPr>
          <p:nvPr>
            <p:ph type="ftr" sz="quarter" idx="10"/>
          </p:nvPr>
        </p:nvSpPr>
        <p:spPr/>
        <p:txBody>
          <a:bodyPr/>
          <a:lstStyle/>
          <a:p>
            <a:r>
              <a:rPr lang="en-US"/>
              <a:t>Slalom</a:t>
            </a:r>
          </a:p>
        </p:txBody>
      </p:sp>
    </p:spTree>
    <p:extLst>
      <p:ext uri="{BB962C8B-B14F-4D97-AF65-F5344CB8AC3E}">
        <p14:creationId xmlns:p14="http://schemas.microsoft.com/office/powerpoint/2010/main" val="6222999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8322732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lalom</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65000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10747876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1778501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6500486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9213" y="885825"/>
            <a:ext cx="4249737" cy="2390775"/>
          </a:xfrm>
        </p:spPr>
      </p:sp>
      <p:sp>
        <p:nvSpPr>
          <p:cNvPr id="3" name="Notes Placeholder 2"/>
          <p:cNvSpPr>
            <a:spLocks noGrp="1"/>
          </p:cNvSpPr>
          <p:nvPr>
            <p:ph type="body" idx="1"/>
          </p:nvPr>
        </p:nvSpPr>
        <p:spPr/>
        <p:txBody>
          <a:bodyPr/>
          <a:lstStyle/>
          <a:p>
            <a:endParaRPr lang="id-ID"/>
          </a:p>
        </p:txBody>
      </p:sp>
    </p:spTree>
    <p:extLst>
      <p:ext uri="{BB962C8B-B14F-4D97-AF65-F5344CB8AC3E}">
        <p14:creationId xmlns:p14="http://schemas.microsoft.com/office/powerpoint/2010/main" val="37606237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9213" y="885825"/>
            <a:ext cx="4249737" cy="2390775"/>
          </a:xfrm>
        </p:spPr>
      </p:sp>
      <p:sp>
        <p:nvSpPr>
          <p:cNvPr id="3" name="Notes Placeholder 2"/>
          <p:cNvSpPr>
            <a:spLocks noGrp="1"/>
          </p:cNvSpPr>
          <p:nvPr>
            <p:ph type="body" idx="1"/>
          </p:nvPr>
        </p:nvSpPr>
        <p:spPr/>
        <p:txBody>
          <a:bodyPr/>
          <a:lstStyle/>
          <a:p>
            <a:endParaRPr lang="id-ID"/>
          </a:p>
        </p:txBody>
      </p:sp>
    </p:spTree>
    <p:extLst>
      <p:ext uri="{BB962C8B-B14F-4D97-AF65-F5344CB8AC3E}">
        <p14:creationId xmlns:p14="http://schemas.microsoft.com/office/powerpoint/2010/main" val="2693337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Slalom</a:t>
            </a:r>
          </a:p>
        </p:txBody>
      </p:sp>
    </p:spTree>
    <p:extLst>
      <p:ext uri="{BB962C8B-B14F-4D97-AF65-F5344CB8AC3E}">
        <p14:creationId xmlns:p14="http://schemas.microsoft.com/office/powerpoint/2010/main" val="9609596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3632878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946933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INCOSE.org</a:t>
            </a:r>
            <a:endParaRPr lang="en-US" dirty="0"/>
          </a:p>
        </p:txBody>
      </p:sp>
    </p:spTree>
    <p:extLst>
      <p:ext uri="{BB962C8B-B14F-4D97-AF65-F5344CB8AC3E}">
        <p14:creationId xmlns:p14="http://schemas.microsoft.com/office/powerpoint/2010/main" val="19549571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6045524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6" name="Footer Placeholder 5"/>
          <p:cNvSpPr>
            <a:spLocks noGrp="1"/>
          </p:cNvSpPr>
          <p:nvPr>
            <p:ph type="ftr" sz="quarter" idx="12"/>
          </p:nvPr>
        </p:nvSpPr>
        <p:spPr/>
        <p:txBody>
          <a:bodyPr/>
          <a:lstStyle/>
          <a:p>
            <a:r>
              <a:rPr lang="en-US">
                <a:solidFill>
                  <a:prstClr val="black"/>
                </a:solidFill>
              </a:rPr>
              <a:t>Slalom</a:t>
            </a:r>
          </a:p>
        </p:txBody>
      </p:sp>
    </p:spTree>
    <p:extLst>
      <p:ext uri="{BB962C8B-B14F-4D97-AF65-F5344CB8AC3E}">
        <p14:creationId xmlns:p14="http://schemas.microsoft.com/office/powerpoint/2010/main" val="27350431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29055697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pPr marL="0" indent="0">
              <a:buNone/>
            </a:pPr>
            <a:endParaRPr lang="en-US" baseline="0" dirty="0"/>
          </a:p>
        </p:txBody>
      </p:sp>
      <p:sp>
        <p:nvSpPr>
          <p:cNvPr id="6" name="Footer Placeholder 5"/>
          <p:cNvSpPr>
            <a:spLocks noGrp="1"/>
          </p:cNvSpPr>
          <p:nvPr>
            <p:ph type="ftr" sz="quarter" idx="12"/>
          </p:nvPr>
        </p:nvSpPr>
        <p:spPr/>
        <p:txBody>
          <a:bodyPr/>
          <a:lstStyle/>
          <a:p>
            <a:r>
              <a:rPr lang="en-US"/>
              <a:t>Slalom</a:t>
            </a:r>
          </a:p>
        </p:txBody>
      </p:sp>
    </p:spTree>
    <p:extLst>
      <p:ext uri="{BB962C8B-B14F-4D97-AF65-F5344CB8AC3E}">
        <p14:creationId xmlns:p14="http://schemas.microsoft.com/office/powerpoint/2010/main" val="10752036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COSE 2022 Base Template">
    <p:bg>
      <p:bgPr>
        <a:solidFill>
          <a:schemeClr val="accent1"/>
        </a:solidFill>
        <a:effectLst/>
      </p:bgPr>
    </p:bg>
    <p:spTree>
      <p:nvGrpSpPr>
        <p:cNvPr id="1" name=""/>
        <p:cNvGrpSpPr/>
        <p:nvPr/>
      </p:nvGrpSpPr>
      <p:grpSpPr>
        <a:xfrm>
          <a:off x="0" y="0"/>
          <a:ext cx="0" cy="0"/>
          <a:chOff x="0" y="0"/>
          <a:chExt cx="0" cy="0"/>
        </a:xfrm>
      </p:grpSpPr>
      <p:sp>
        <p:nvSpPr>
          <p:cNvPr id="4" name="TextBox 3"/>
          <p:cNvSpPr txBox="1"/>
          <p:nvPr userDrawn="1"/>
        </p:nvSpPr>
        <p:spPr>
          <a:xfrm>
            <a:off x="476657" y="546221"/>
            <a:ext cx="4044543" cy="1095685"/>
          </a:xfrm>
          <a:prstGeom prst="rect">
            <a:avLst/>
          </a:prstGeom>
          <a:noFill/>
        </p:spPr>
        <p:txBody>
          <a:bodyPr wrap="square" lIns="0" tIns="0" rIns="0" bIns="0" rtlCol="0">
            <a:spAutoFit/>
          </a:bodyPr>
          <a:lstStyle/>
          <a:p>
            <a:pPr>
              <a:lnSpc>
                <a:spcPct val="90000"/>
              </a:lnSpc>
              <a:spcBef>
                <a:spcPts val="600"/>
              </a:spcBef>
              <a:buClr>
                <a:srgbClr val="CC0000"/>
              </a:buClr>
              <a:buSzPct val="110000"/>
            </a:pPr>
            <a:r>
              <a:rPr lang="en-US" sz="2000" b="0" dirty="0">
                <a:gradFill>
                  <a:gsLst>
                    <a:gs pos="0">
                      <a:schemeClr val="bg1"/>
                    </a:gs>
                    <a:gs pos="99000">
                      <a:schemeClr val="bg1"/>
                    </a:gs>
                  </a:gsLst>
                  <a:lin ang="5400000" scaled="0"/>
                </a:gradFill>
                <a:latin typeface="Arial" panose="020B0604020202020204" pitchFamily="34" charset="0"/>
                <a:cs typeface="Arial" panose="020B0604020202020204" pitchFamily="34" charset="0"/>
              </a:rPr>
              <a:t>INCOSE 2022</a:t>
            </a:r>
            <a:r>
              <a:rPr lang="en-US" sz="20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rPr>
              <a:t> Template and Toolkit</a:t>
            </a:r>
            <a:endParaRPr lang="en-US" sz="12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endParaRPr lang="en-US" sz="12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endParaRPr>
          </a:p>
          <a:p>
            <a:pPr>
              <a:lnSpc>
                <a:spcPct val="90000"/>
              </a:lnSpc>
              <a:spcBef>
                <a:spcPts val="600"/>
              </a:spcBef>
              <a:buClr>
                <a:srgbClr val="CC0000"/>
              </a:buClr>
              <a:buSzPct val="110000"/>
            </a:pPr>
            <a:r>
              <a:rPr lang="en-US" sz="1200" b="0" baseline="0" dirty="0">
                <a:gradFill>
                  <a:gsLst>
                    <a:gs pos="0">
                      <a:schemeClr val="bg1"/>
                    </a:gs>
                    <a:gs pos="99000">
                      <a:schemeClr val="bg1"/>
                    </a:gs>
                  </a:gsLst>
                  <a:lin ang="5400000" scaled="0"/>
                </a:gradFill>
                <a:latin typeface="Arial" panose="020B0604020202020204" pitchFamily="34" charset="0"/>
                <a:cs typeface="Arial" panose="020B0604020202020204" pitchFamily="34" charset="0"/>
              </a:rPr>
              <a:t>The following slides are intended as a template for adding content. Use this deck as a resource, while crafting your presentation or document.</a:t>
            </a:r>
          </a:p>
        </p:txBody>
      </p:sp>
      <p:sp>
        <p:nvSpPr>
          <p:cNvPr id="2" name="TextBox 1">
            <a:extLst>
              <a:ext uri="{FF2B5EF4-FFF2-40B4-BE49-F238E27FC236}">
                <a16:creationId xmlns:a16="http://schemas.microsoft.com/office/drawing/2014/main" id="{03F64753-4885-6A66-C349-79B72ABC274E}"/>
              </a:ext>
            </a:extLst>
          </p:cNvPr>
          <p:cNvSpPr txBox="1"/>
          <p:nvPr userDrawn="1"/>
        </p:nvSpPr>
        <p:spPr>
          <a:xfrm>
            <a:off x="422564" y="2051911"/>
            <a:ext cx="1530927" cy="1431161"/>
          </a:xfrm>
          <a:prstGeom prst="rect">
            <a:avLst/>
          </a:prstGeom>
          <a:noFill/>
        </p:spPr>
        <p:txBody>
          <a:bodyPr wrap="square">
            <a:spAutoFit/>
          </a:bodyPr>
          <a:lstStyle/>
          <a:p>
            <a:pPr marL="0" marR="0">
              <a:spcBef>
                <a:spcPts val="0"/>
              </a:spcBef>
              <a:spcAft>
                <a:spcPts val="0"/>
              </a:spcAft>
            </a:pPr>
            <a:r>
              <a:rPr lang="en-US" sz="1200" b="0" i="0" dirty="0">
                <a:solidFill>
                  <a:schemeClr val="bg1"/>
                </a:solidFill>
                <a:effectLst/>
                <a:latin typeface="Arial" panose="020B0604020202020204" pitchFamily="34" charset="0"/>
                <a:cs typeface="Arial" panose="020B0604020202020204" pitchFamily="34" charset="0"/>
              </a:rPr>
              <a:t>Table of Contents</a:t>
            </a:r>
          </a:p>
          <a:p>
            <a:pPr marL="0" marR="0">
              <a:spcBef>
                <a:spcPts val="0"/>
              </a:spcBef>
              <a:spcAft>
                <a:spcPts val="0"/>
              </a:spcAft>
            </a:pPr>
            <a:endParaRPr lang="en-US" sz="1200" b="1" i="0" dirty="0">
              <a:solidFill>
                <a:schemeClr val="bg1"/>
              </a:solidFill>
              <a:effectLst/>
              <a:latin typeface="Arial" panose="020B0604020202020204" pitchFamily="34" charset="0"/>
              <a:cs typeface="Arial" panose="020B0604020202020204" pitchFamily="34" charset="0"/>
            </a:endParaRPr>
          </a:p>
          <a:p>
            <a:pPr marL="0" marR="0" indent="0">
              <a:spcBef>
                <a:spcPts val="0"/>
              </a:spcBef>
              <a:spcAft>
                <a:spcPts val="600"/>
              </a:spcAft>
              <a:buFont typeface="Arial" panose="020B0604020202020204" pitchFamily="34" charset="0"/>
              <a:buNone/>
            </a:pPr>
            <a:r>
              <a:rPr lang="en-US" sz="1200" b="0" i="0" dirty="0">
                <a:solidFill>
                  <a:schemeClr val="bg1"/>
                </a:solidFill>
                <a:effectLst/>
                <a:latin typeface="Arial" panose="020B0604020202020204" pitchFamily="34" charset="0"/>
                <a:cs typeface="Arial" panose="020B0604020202020204" pitchFamily="34" charset="0"/>
              </a:rPr>
              <a:t>Toolkit . . . 2 – 29</a:t>
            </a:r>
          </a:p>
          <a:p>
            <a:pPr marL="0" marR="0" indent="0">
              <a:spcBef>
                <a:spcPts val="0"/>
              </a:spcBef>
              <a:spcAft>
                <a:spcPts val="600"/>
              </a:spcAft>
              <a:buFont typeface="Arial" panose="020B0604020202020204" pitchFamily="34" charset="0"/>
              <a:buNone/>
            </a:pPr>
            <a:r>
              <a:rPr lang="en-US" sz="1200" b="0" i="0" dirty="0">
                <a:solidFill>
                  <a:schemeClr val="bg1"/>
                </a:solidFill>
                <a:effectLst/>
                <a:latin typeface="Arial" panose="020B0604020202020204" pitchFamily="34" charset="0"/>
                <a:cs typeface="Arial" panose="020B0604020202020204" pitchFamily="34" charset="0"/>
              </a:rPr>
              <a:t>Brand . . . 50 – 53</a:t>
            </a:r>
          </a:p>
          <a:p>
            <a:pPr marL="0" marR="0" indent="0">
              <a:spcBef>
                <a:spcPts val="0"/>
              </a:spcBef>
              <a:spcAft>
                <a:spcPts val="600"/>
              </a:spcAft>
              <a:buFont typeface="Arial" panose="020B0604020202020204" pitchFamily="34" charset="0"/>
              <a:buNone/>
            </a:pPr>
            <a:r>
              <a:rPr lang="en-US" sz="1200" b="0" i="0" dirty="0">
                <a:solidFill>
                  <a:schemeClr val="bg1"/>
                </a:solidFill>
                <a:effectLst/>
                <a:latin typeface="Arial" panose="020B0604020202020204" pitchFamily="34" charset="0"/>
                <a:cs typeface="Arial" panose="020B0604020202020204" pitchFamily="34" charset="0"/>
              </a:rPr>
              <a:t>Icons . . . 54 – 58 </a:t>
            </a:r>
          </a:p>
          <a:p>
            <a:pPr marL="0" marR="0" indent="0">
              <a:spcBef>
                <a:spcPts val="0"/>
              </a:spcBef>
              <a:spcAft>
                <a:spcPts val="600"/>
              </a:spcAft>
              <a:buFont typeface="Arial" panose="020B0604020202020204" pitchFamily="34" charset="0"/>
              <a:buNone/>
            </a:pPr>
            <a:r>
              <a:rPr lang="en-US" sz="1200" b="0" i="0" dirty="0">
                <a:solidFill>
                  <a:schemeClr val="bg1"/>
                </a:solidFill>
                <a:effectLst/>
                <a:latin typeface="Arial" panose="020B0604020202020204" pitchFamily="34" charset="0"/>
                <a:cs typeface="Arial" panose="020B0604020202020204" pitchFamily="34" charset="0"/>
              </a:rPr>
              <a:t>Maps . . . 59 – 65</a:t>
            </a:r>
          </a:p>
        </p:txBody>
      </p:sp>
    </p:spTree>
    <p:extLst>
      <p:ext uri="{BB962C8B-B14F-4D97-AF65-F5344CB8AC3E}">
        <p14:creationId xmlns:p14="http://schemas.microsoft.com/office/powerpoint/2010/main" val="37858015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_Photo">
    <p:bg>
      <p:bgPr>
        <a:solidFill>
          <a:srgbClr val="FFFFFF"/>
        </a:solid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21"/>
          </p:nvPr>
        </p:nvSpPr>
        <p:spPr>
          <a:xfrm>
            <a:off x="0" y="0"/>
            <a:ext cx="9144000" cy="5143500"/>
          </a:xfrm>
          <a:prstGeom prst="rect">
            <a:avLst/>
          </a:prstGeom>
          <a:solidFill>
            <a:schemeClr val="accent5"/>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sp>
        <p:nvSpPr>
          <p:cNvPr id="3" name="Title Placeholder 1"/>
          <p:cNvSpPr>
            <a:spLocks noGrp="1"/>
          </p:cNvSpPr>
          <p:nvPr>
            <p:ph type="title" hasCustomPrompt="1"/>
          </p:nvPr>
        </p:nvSpPr>
        <p:spPr>
          <a:xfrm>
            <a:off x="466852" y="438150"/>
            <a:ext cx="3293618" cy="2312253"/>
          </a:xfrm>
          <a:prstGeom prst="rect">
            <a:avLst/>
          </a:prstGeom>
        </p:spPr>
        <p:txBody>
          <a:bodyPr vert="horz" lIns="0" tIns="0" rIns="91440" bIns="45720" rtlCol="0" anchor="t">
            <a:noAutofit/>
          </a:bodyPr>
          <a:lstStyle>
            <a:lvl1pPr marL="0" algn="l" defTabSz="914400" rtl="0" eaLnBrk="1" latinLnBrk="0" hangingPunct="1">
              <a:lnSpc>
                <a:spcPct val="80000"/>
              </a:lnSpc>
              <a:spcBef>
                <a:spcPct val="0"/>
              </a:spcBef>
              <a:buNone/>
              <a:defRPr lang="en-US" sz="4000" b="1" kern="0" spc="-150" baseline="0" dirty="0">
                <a:solidFill>
                  <a:schemeClr val="bg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pic>
        <p:nvPicPr>
          <p:cNvPr id="2" name="Picture 1" descr="A picture containing logo&#10;&#10;Description automatically generated">
            <a:extLst>
              <a:ext uri="{FF2B5EF4-FFF2-40B4-BE49-F238E27FC236}">
                <a16:creationId xmlns:a16="http://schemas.microsoft.com/office/drawing/2014/main" id="{53194470-EBBE-42DA-EAEF-AF95C99E9F2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8339215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_dark">
    <p:bg>
      <p:bgPr>
        <a:solidFill>
          <a:srgbClr val="2B6FAB"/>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438150"/>
            <a:ext cx="329361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bg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3" name="Text Placeholder 2"/>
          <p:cNvSpPr>
            <a:spLocks noGrp="1"/>
          </p:cNvSpPr>
          <p:nvPr>
            <p:ph type="body" sz="quarter" idx="10" hasCustomPrompt="1"/>
          </p:nvPr>
        </p:nvSpPr>
        <p:spPr>
          <a:xfrm>
            <a:off x="4571999" y="518433"/>
            <a:ext cx="3308555" cy="2212971"/>
          </a:xfrm>
        </p:spPr>
        <p:txBody>
          <a:bodyPr tIns="0" bIns="0"/>
          <a:lstStyle>
            <a:lvl1pPr marL="0" indent="0">
              <a:buNone/>
              <a:defRPr sz="1600" baseline="0">
                <a:solidFill>
                  <a:schemeClr val="bg1"/>
                </a:solidFill>
              </a:defRPr>
            </a:lvl1pPr>
            <a:lvl2pPr marL="173037" indent="0">
              <a:buNone/>
              <a:defRPr>
                <a:solidFill>
                  <a:schemeClr val="accent6"/>
                </a:solidFill>
              </a:defRPr>
            </a:lvl2pPr>
            <a:lvl3pPr marL="323850" indent="0">
              <a:buNone/>
              <a:defRPr>
                <a:solidFill>
                  <a:schemeClr val="accent6"/>
                </a:solidFill>
              </a:defRPr>
            </a:lvl3pPr>
            <a:lvl4pPr marL="457200" indent="0">
              <a:buNone/>
              <a:defRPr>
                <a:solidFill>
                  <a:schemeClr val="accent6"/>
                </a:solidFill>
              </a:defRPr>
            </a:lvl4pPr>
            <a:lvl5pPr marL="593725" indent="0">
              <a:buNone/>
              <a:defRPr>
                <a:solidFill>
                  <a:schemeClr val="accent6"/>
                </a:solidFill>
              </a:defRPr>
            </a:lvl5pPr>
          </a:lstStyle>
          <a:p>
            <a:pPr lvl="0"/>
            <a:r>
              <a:rPr lang="en-US" dirty="0"/>
              <a:t>Enter text here</a:t>
            </a:r>
            <a:endParaRPr lang="en-GB" dirty="0"/>
          </a:p>
        </p:txBody>
      </p:sp>
      <p:sp>
        <p:nvSpPr>
          <p:cNvPr id="5" name="TextBox 4"/>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sp>
        <p:nvSpPr>
          <p:cNvPr id="7"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A4B0395F-8DB5-172B-8487-4B3343CA171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68423628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2" y="438150"/>
            <a:ext cx="3225038" cy="2312253"/>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36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7" name="Text Placeholder 2"/>
          <p:cNvSpPr>
            <a:spLocks noGrp="1"/>
          </p:cNvSpPr>
          <p:nvPr>
            <p:ph type="body" sz="quarter" idx="13" hasCustomPrompt="1"/>
          </p:nvPr>
        </p:nvSpPr>
        <p:spPr>
          <a:xfrm>
            <a:off x="4586748" y="518433"/>
            <a:ext cx="3267634" cy="2506435"/>
          </a:xfrm>
        </p:spPr>
        <p:txBody>
          <a:bodyPr tIns="0" bIns="0" anchor="t"/>
          <a:lstStyle>
            <a:lvl1pPr marL="0" indent="0" algn="l" defTabSz="914400" rtl="0" eaLnBrk="1" latinLnBrk="0" hangingPunct="1">
              <a:lnSpc>
                <a:spcPct val="100000"/>
              </a:lnSpc>
              <a:spcBef>
                <a:spcPts val="75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2pPr>
            <a:lvl3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3pPr>
            <a:lvl4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US" sz="1600" kern="1200" spc="80" baseline="0" dirty="0" smtClean="0">
                <a:solidFill>
                  <a:schemeClr val="accent6"/>
                </a:solidFill>
                <a:latin typeface="+mj-lt"/>
                <a:ea typeface="+mn-ea"/>
                <a:cs typeface="Segoe UI" panose="020B0502040204020203" pitchFamily="34" charset="0"/>
              </a:defRPr>
            </a:lvl4pPr>
            <a:lvl5pPr marL="0" indent="0" algn="l" defTabSz="914400" rtl="0" eaLnBrk="1" latinLnBrk="0" hangingPunct="1">
              <a:lnSpc>
                <a:spcPct val="150000"/>
              </a:lnSpc>
              <a:spcBef>
                <a:spcPts val="0"/>
              </a:spcBef>
              <a:buClr>
                <a:schemeClr val="accent2"/>
              </a:buClr>
              <a:buSzPct val="110000"/>
              <a:buFont typeface="Wingdings" panose="05000000000000000000" pitchFamily="2" charset="2"/>
              <a:buNone/>
              <a:defRPr lang="en-GB" sz="1600" kern="1200" spc="80" baseline="0" dirty="0" smtClean="0">
                <a:solidFill>
                  <a:schemeClr val="accent6"/>
                </a:solidFill>
                <a:latin typeface="+mj-lt"/>
                <a:ea typeface="+mn-ea"/>
                <a:cs typeface="Segoe UI" panose="020B0502040204020203" pitchFamily="34" charset="0"/>
              </a:defRPr>
            </a:lvl5pPr>
          </a:lstStyle>
          <a:p>
            <a:pPr lvl="0"/>
            <a:r>
              <a:rPr lang="en-US" dirty="0"/>
              <a:t>Enter text here</a:t>
            </a:r>
            <a:endParaRPr lang="en-GB" dirty="0"/>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022380AE-2738-9168-DCD2-BA92646BEA6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8" name="TextBox 7">
            <a:extLst>
              <a:ext uri="{FF2B5EF4-FFF2-40B4-BE49-F238E27FC236}">
                <a16:creationId xmlns:a16="http://schemas.microsoft.com/office/drawing/2014/main" id="{B2B6D04A-DBF1-1DAF-B1A8-C532E532223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97638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_divider_gray">
    <p:bg>
      <p:bgPr>
        <a:solidFill>
          <a:schemeClr val="bg2"/>
        </a:solidFill>
        <a:effectLst/>
      </p:bgPr>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1" y="1938770"/>
            <a:ext cx="6396343" cy="1265959"/>
          </a:xfrm>
          <a:prstGeom prst="rect">
            <a:avLst/>
          </a:prstGeom>
        </p:spPr>
        <p:txBody>
          <a:bodyPr vert="horz" lIns="0" tIns="0" rIns="0" bIns="0" rtlCol="0" anchor="t">
            <a:noAutofit/>
          </a:bodyPr>
          <a:lstStyle>
            <a:lvl1pPr marL="0" algn="l" defTabSz="914400" rtl="0" eaLnBrk="1" latinLnBrk="0" hangingPunct="1">
              <a:lnSpc>
                <a:spcPct val="90000"/>
              </a:lnSpc>
              <a:spcBef>
                <a:spcPct val="0"/>
              </a:spcBef>
              <a:buNone/>
              <a:defRPr lang="en-US" sz="4400" b="1" kern="0" spc="-150" baseline="0" dirty="0">
                <a:solidFill>
                  <a:schemeClr val="accent3"/>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8" name="Text Placeholder 7"/>
          <p:cNvSpPr>
            <a:spLocks noGrp="1"/>
          </p:cNvSpPr>
          <p:nvPr>
            <p:ph type="body" sz="quarter" idx="10" hasCustomPrompt="1"/>
          </p:nvPr>
        </p:nvSpPr>
        <p:spPr>
          <a:xfrm>
            <a:off x="466725" y="3282950"/>
            <a:ext cx="6396038" cy="987425"/>
          </a:xfrm>
        </p:spPr>
        <p:txBody>
          <a:bodyPr/>
          <a:lstStyle>
            <a:lvl1pPr marL="228600" indent="-228600">
              <a:lnSpc>
                <a:spcPct val="100000"/>
              </a:lnSpc>
              <a:spcBef>
                <a:spcPts val="750"/>
              </a:spcBef>
              <a:buClr>
                <a:schemeClr val="accent1"/>
              </a:buClr>
              <a:buAutoNum type="arabicParenR"/>
              <a:defRPr>
                <a:solidFill>
                  <a:schemeClr val="accent1"/>
                </a:solidFill>
              </a:defRPr>
            </a:lvl1pPr>
          </a:lstStyle>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p:txBody>
      </p:sp>
      <p:sp>
        <p:nvSpPr>
          <p:cNvPr id="5" name="Text Placeholder 3"/>
          <p:cNvSpPr>
            <a:spLocks noGrp="1"/>
          </p:cNvSpPr>
          <p:nvPr>
            <p:ph type="body" sz="quarter" idx="17" hasCustomPrompt="1"/>
          </p:nvPr>
        </p:nvSpPr>
        <p:spPr>
          <a:xfrm>
            <a:off x="466725" y="4603376"/>
            <a:ext cx="1823085" cy="10645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04798E1B-ADCA-D1E3-4F8D-CF64011DD29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7" name="TextBox 6">
            <a:extLst>
              <a:ext uri="{FF2B5EF4-FFF2-40B4-BE49-F238E27FC236}">
                <a16:creationId xmlns:a16="http://schemas.microsoft.com/office/drawing/2014/main" id="{24166E5E-98C9-26D5-CB5F-5C31DA01193A}"/>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53108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Agenda_divider_gray">
    <p:bg>
      <p:bgRef idx="1001">
        <a:schemeClr val="bg1"/>
      </p:bgRef>
    </p:bg>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66851" y="1938770"/>
            <a:ext cx="6396343" cy="1265959"/>
          </a:xfrm>
          <a:prstGeom prst="rect">
            <a:avLst/>
          </a:prstGeom>
        </p:spPr>
        <p:txBody>
          <a:bodyPr vert="horz" lIns="0" tIns="0" rIns="0" bIns="0" rtlCol="0" anchor="b">
            <a:noAutofit/>
          </a:bodyPr>
          <a:lstStyle>
            <a:lvl1pPr marL="0" algn="l" defTabSz="914400" rtl="0" eaLnBrk="1" latinLnBrk="0" hangingPunct="1">
              <a:lnSpc>
                <a:spcPct val="90000"/>
              </a:lnSpc>
              <a:spcBef>
                <a:spcPct val="0"/>
              </a:spcBef>
              <a:buNone/>
              <a:defRPr lang="en-US" sz="4400" b="1" kern="0" spc="-150" baseline="0" dirty="0">
                <a:solidFill>
                  <a:schemeClr val="tx1"/>
                </a:solidFill>
                <a:latin typeface="+mj-lt"/>
                <a:ea typeface="Roboto Medium" panose="02000000000000000000" pitchFamily="2" charset="0"/>
                <a:cs typeface="Arial" panose="020B0604020202020204" pitchFamily="34" charset="0"/>
              </a:defRPr>
            </a:lvl1pPr>
          </a:lstStyle>
          <a:p>
            <a:r>
              <a:rPr lang="en-US" dirty="0"/>
              <a:t>Enter text to edit master style </a:t>
            </a:r>
          </a:p>
        </p:txBody>
      </p:sp>
      <p:sp>
        <p:nvSpPr>
          <p:cNvPr id="8" name="Text Placeholder 7"/>
          <p:cNvSpPr>
            <a:spLocks noGrp="1"/>
          </p:cNvSpPr>
          <p:nvPr>
            <p:ph type="body" sz="quarter" idx="10" hasCustomPrompt="1"/>
          </p:nvPr>
        </p:nvSpPr>
        <p:spPr>
          <a:xfrm>
            <a:off x="466725" y="3282950"/>
            <a:ext cx="6396038" cy="987425"/>
          </a:xfrm>
        </p:spPr>
        <p:txBody>
          <a:bodyPr/>
          <a:lstStyle>
            <a:lvl1pPr marL="228600" indent="-228600">
              <a:lnSpc>
                <a:spcPct val="100000"/>
              </a:lnSpc>
              <a:spcBef>
                <a:spcPts val="750"/>
              </a:spcBef>
              <a:buClr>
                <a:schemeClr val="accent4"/>
              </a:buClr>
              <a:buAutoNum type="arabicParenR"/>
              <a:defRPr>
                <a:solidFill>
                  <a:schemeClr val="tx1"/>
                </a:solidFill>
              </a:defRPr>
            </a:lvl1pPr>
          </a:lstStyle>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a:p>
            <a:pPr marL="342900" indent="-342900">
              <a:lnSpc>
                <a:spcPct val="100000"/>
              </a:lnSpc>
              <a:spcBef>
                <a:spcPts val="750"/>
              </a:spcBef>
              <a:buAutoNum type="arabicParenR"/>
            </a:pPr>
            <a:r>
              <a:rPr lang="en-US" sz="1200" b="0" spc="0" baseline="0" dirty="0">
                <a:solidFill>
                  <a:schemeClr val="accent4"/>
                </a:solidFill>
              </a:rPr>
              <a:t>Agenda item</a:t>
            </a:r>
          </a:p>
        </p:txBody>
      </p:sp>
      <p:sp>
        <p:nvSpPr>
          <p:cNvPr id="5" name="Text Placeholder 3"/>
          <p:cNvSpPr>
            <a:spLocks noGrp="1"/>
          </p:cNvSpPr>
          <p:nvPr>
            <p:ph type="body" sz="quarter" idx="17"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7096A39F-F5A3-BFD9-2595-954328C7A60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7" name="TextBox 6">
            <a:extLst>
              <a:ext uri="{FF2B5EF4-FFF2-40B4-BE49-F238E27FC236}">
                <a16:creationId xmlns:a16="http://schemas.microsoft.com/office/drawing/2014/main" id="{5E419937-7B67-A338-7364-EFEA1F010BA9}"/>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tx1"/>
                </a:solidFill>
                <a:latin typeface="Arial" panose="020B0604020202020204" pitchFamily="34" charset="0"/>
                <a:cs typeface="Arial" panose="020B0604020202020204" pitchFamily="34" charset="0"/>
              </a:rPr>
              <a:t>incose.org</a:t>
            </a:r>
            <a:r>
              <a:rPr lang="en-GB" sz="800" spc="0" baseline="0" dirty="0">
                <a:solidFill>
                  <a:schemeClr val="tx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tx1"/>
                </a:solidFill>
                <a:latin typeface="Arial" panose="020B0604020202020204" pitchFamily="34" charset="0"/>
                <a:cs typeface="Arial" panose="020B0604020202020204" pitchFamily="34" charset="0"/>
              </a:rPr>
              <a:t>‹#›</a:t>
            </a:fld>
            <a:endParaRPr lang="en-GB" sz="800" spc="0" baseline="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57939130"/>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Subtitle_light">
    <p:bg>
      <p:bgPr>
        <a:solidFill>
          <a:srgbClr val="FFFFFF"/>
        </a:solidFill>
        <a:effectLst/>
      </p:bgPr>
    </p:bg>
    <p:spTree>
      <p:nvGrpSpPr>
        <p:cNvPr id="1" name=""/>
        <p:cNvGrpSpPr/>
        <p:nvPr/>
      </p:nvGrpSpPr>
      <p:grpSpPr>
        <a:xfrm>
          <a:off x="0" y="0"/>
          <a:ext cx="0" cy="0"/>
          <a:chOff x="0" y="0"/>
          <a:chExt cx="0" cy="0"/>
        </a:xfrm>
      </p:grpSpPr>
      <p:sp>
        <p:nvSpPr>
          <p:cNvPr id="9" name="Text Placeholder 4"/>
          <p:cNvSpPr>
            <a:spLocks noGrp="1"/>
          </p:cNvSpPr>
          <p:nvPr>
            <p:ph type="body" sz="quarter" idx="16"/>
          </p:nvPr>
        </p:nvSpPr>
        <p:spPr>
          <a:xfrm>
            <a:off x="465187" y="894740"/>
            <a:ext cx="8219717" cy="170816"/>
          </a:xfrm>
        </p:spPr>
        <p:txBody>
          <a:bodyPr tIns="0"/>
          <a:lstStyle>
            <a:lvl1pPr marL="0" indent="0">
              <a:buNone/>
              <a:defRPr lang="en-US" sz="1100" kern="1200" spc="0" baseline="0" dirty="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3" name="Text Placeholder 2"/>
          <p:cNvSpPr>
            <a:spLocks noGrp="1"/>
          </p:cNvSpPr>
          <p:nvPr>
            <p:ph type="body" sz="quarter" idx="17" hasCustomPrompt="1"/>
          </p:nvPr>
        </p:nvSpPr>
        <p:spPr>
          <a:xfrm>
            <a:off x="465138" y="438150"/>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4" name="Text Placeholder 3"/>
          <p:cNvSpPr>
            <a:spLocks noGrp="1"/>
          </p:cNvSpPr>
          <p:nvPr>
            <p:ph type="body" sz="quarter" idx="18" hasCustomPrompt="1"/>
          </p:nvPr>
        </p:nvSpPr>
        <p:spPr>
          <a:xfrm>
            <a:off x="466725" y="4616824"/>
            <a:ext cx="1823085" cy="9300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sp>
        <p:nvSpPr>
          <p:cNvPr id="5" name="Text Placeholder 4"/>
          <p:cNvSpPr>
            <a:spLocks noGrp="1"/>
          </p:cNvSpPr>
          <p:nvPr>
            <p:ph type="body" sz="quarter" idx="19"/>
          </p:nvPr>
        </p:nvSpPr>
        <p:spPr>
          <a:xfrm>
            <a:off x="466725" y="1206500"/>
            <a:ext cx="8220075" cy="2820988"/>
          </a:xfrm>
        </p:spPr>
        <p:txBody>
          <a:bodyPr/>
          <a:lstStyle>
            <a:lvl1pPr>
              <a:defRPr sz="1050">
                <a:solidFill>
                  <a:schemeClr val="accent5"/>
                </a:solidFill>
              </a:defRPr>
            </a:lvl1pPr>
            <a:lvl2pPr>
              <a:defRPr sz="1000">
                <a:solidFill>
                  <a:schemeClr val="accent5"/>
                </a:solidFill>
              </a:defRPr>
            </a:lvl2pPr>
            <a:lvl3pPr>
              <a:defRPr sz="900">
                <a:solidFill>
                  <a:schemeClr val="accent5"/>
                </a:solidFill>
              </a:defRPr>
            </a:lvl3pPr>
            <a:lvl4pPr>
              <a:defRPr sz="800">
                <a:solidFill>
                  <a:schemeClr val="accent5"/>
                </a:solidFill>
              </a:defRPr>
            </a:lvl4pPr>
            <a:lvl5pPr>
              <a:defRPr sz="800">
                <a:solidFill>
                  <a:schemeClr val="accent5"/>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A picture containing logo&#10;&#10;Description automatically generated">
            <a:extLst>
              <a:ext uri="{FF2B5EF4-FFF2-40B4-BE49-F238E27FC236}">
                <a16:creationId xmlns:a16="http://schemas.microsoft.com/office/drawing/2014/main" id="{41427D40-BA53-6267-DC92-FBAA953C8E7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6669522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_Subtitle_gray">
    <p:bg>
      <p:bgPr>
        <a:solidFill>
          <a:schemeClr val="bg2"/>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438150"/>
            <a:ext cx="8221662" cy="368300"/>
          </a:xfrm>
        </p:spPr>
        <p:txBody>
          <a:bodyPr tIns="0" bIns="0"/>
          <a:lstStyle>
            <a:lvl1pPr marL="0" indent="0">
              <a:spcBef>
                <a:spcPts val="0"/>
              </a:spcBef>
              <a:buNone/>
              <a:defRPr sz="2400" b="1" spc="-70" baseline="0">
                <a:solidFill>
                  <a:schemeClr val="accent3"/>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8" name="Text Placeholder 4"/>
          <p:cNvSpPr>
            <a:spLocks noGrp="1"/>
          </p:cNvSpPr>
          <p:nvPr>
            <p:ph type="body" sz="quarter" idx="16"/>
          </p:nvPr>
        </p:nvSpPr>
        <p:spPr>
          <a:xfrm>
            <a:off x="465187" y="894740"/>
            <a:ext cx="8219717" cy="170816"/>
          </a:xfrm>
        </p:spPr>
        <p:txBody>
          <a:bodyPr tIns="0"/>
          <a:lstStyle>
            <a:lvl1pPr marL="0" indent="0">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6" name="Text Placeholder 4"/>
          <p:cNvSpPr>
            <a:spLocks noGrp="1"/>
          </p:cNvSpPr>
          <p:nvPr>
            <p:ph type="body" sz="quarter" idx="19"/>
          </p:nvPr>
        </p:nvSpPr>
        <p:spPr>
          <a:xfrm>
            <a:off x="466725" y="1206500"/>
            <a:ext cx="8220075" cy="2820988"/>
          </a:xfrm>
        </p:spPr>
        <p:txBody>
          <a:bodyPr/>
          <a:lstStyle>
            <a:lvl1pPr>
              <a:defRPr sz="1050">
                <a:solidFill>
                  <a:schemeClr val="tx1"/>
                </a:solidFill>
              </a:defRPr>
            </a:lvl1pPr>
            <a:lvl2pPr>
              <a:defRPr sz="1000">
                <a:solidFill>
                  <a:schemeClr val="tx1"/>
                </a:solidFill>
              </a:defRPr>
            </a:lvl2pPr>
            <a:lvl3pPr>
              <a:defRPr sz="900">
                <a:solidFill>
                  <a:schemeClr val="tx1"/>
                </a:solidFill>
              </a:defRPr>
            </a:lvl3pPr>
            <a:lvl4pPr>
              <a:defRPr sz="800">
                <a:solidFill>
                  <a:schemeClr val="tx1"/>
                </a:solidFill>
              </a:defRPr>
            </a:lvl4pPr>
            <a:lvl5pPr>
              <a:defRPr sz="8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descr="A picture containing logo&#10;&#10;Description automatically generated">
            <a:extLst>
              <a:ext uri="{FF2B5EF4-FFF2-40B4-BE49-F238E27FC236}">
                <a16:creationId xmlns:a16="http://schemas.microsoft.com/office/drawing/2014/main" id="{E3F4E2A5-4A9C-FF2D-7132-7293CB3F9A0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6680696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_Subtitle_dark">
    <p:bg>
      <p:bgPr>
        <a:solidFill>
          <a:srgbClr val="2B6FAB"/>
        </a:solidFill>
        <a:effectLst/>
      </p:bgPr>
    </p:bg>
    <p:spTree>
      <p:nvGrpSpPr>
        <p:cNvPr id="1" name=""/>
        <p:cNvGrpSpPr/>
        <p:nvPr/>
      </p:nvGrpSpPr>
      <p:grpSpPr>
        <a:xfrm>
          <a:off x="0" y="0"/>
          <a:ext cx="0" cy="0"/>
          <a:chOff x="0" y="0"/>
          <a:chExt cx="0" cy="0"/>
        </a:xfrm>
      </p:grpSpPr>
      <p:sp>
        <p:nvSpPr>
          <p:cNvPr id="4" name="Text Placeholder 2"/>
          <p:cNvSpPr>
            <a:spLocks noGrp="1"/>
          </p:cNvSpPr>
          <p:nvPr>
            <p:ph type="body" sz="quarter" idx="17" hasCustomPrompt="1"/>
          </p:nvPr>
        </p:nvSpPr>
        <p:spPr>
          <a:xfrm>
            <a:off x="465138" y="438150"/>
            <a:ext cx="8221662" cy="368300"/>
          </a:xfrm>
        </p:spPr>
        <p:txBody>
          <a:bodyPr tIns="0" bIns="0"/>
          <a:lstStyle>
            <a:lvl1pPr marL="0" indent="0">
              <a:spcBef>
                <a:spcPts val="0"/>
              </a:spcBef>
              <a:buNone/>
              <a:defRPr sz="2400" b="1" spc="-70" baseline="0">
                <a:solidFill>
                  <a:schemeClr val="tx1"/>
                </a:solidFill>
              </a:defRPr>
            </a:lvl1pPr>
            <a:lvl2pPr>
              <a:defRPr b="1"/>
            </a:lvl2pPr>
            <a:lvl3pPr>
              <a:defRPr b="1"/>
            </a:lvl3pPr>
            <a:lvl4pPr>
              <a:defRPr b="1"/>
            </a:lvl4pPr>
            <a:lvl5pPr>
              <a:defRPr b="1"/>
            </a:lvl5pPr>
          </a:lstStyle>
          <a:p>
            <a:pPr lvl="0"/>
            <a:r>
              <a:rPr lang="en-US" dirty="0"/>
              <a:t>Insert slide title here</a:t>
            </a:r>
            <a:endParaRPr lang="en-GB" dirty="0"/>
          </a:p>
        </p:txBody>
      </p:sp>
      <p:sp>
        <p:nvSpPr>
          <p:cNvPr id="8" name="Text Placeholder 4"/>
          <p:cNvSpPr>
            <a:spLocks noGrp="1"/>
          </p:cNvSpPr>
          <p:nvPr>
            <p:ph type="body" sz="quarter" idx="16"/>
          </p:nvPr>
        </p:nvSpPr>
        <p:spPr>
          <a:xfrm>
            <a:off x="465187" y="894740"/>
            <a:ext cx="8219717" cy="170816"/>
          </a:xfrm>
        </p:spPr>
        <p:txBody>
          <a:bodyPr tIns="0"/>
          <a:lstStyle>
            <a:lvl1pPr marL="0" indent="0">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5" name="Text Placeholder 3"/>
          <p:cNvSpPr>
            <a:spLocks noGrp="1"/>
          </p:cNvSpPr>
          <p:nvPr>
            <p:ph type="body" sz="quarter" idx="18" hasCustomPrompt="1"/>
          </p:nvPr>
        </p:nvSpPr>
        <p:spPr>
          <a:xfrm>
            <a:off x="466725" y="4612340"/>
            <a:ext cx="1823085" cy="97491"/>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sp>
        <p:nvSpPr>
          <p:cNvPr id="6" name="Text Placeholder 4"/>
          <p:cNvSpPr>
            <a:spLocks noGrp="1"/>
          </p:cNvSpPr>
          <p:nvPr>
            <p:ph type="body" sz="quarter" idx="19"/>
          </p:nvPr>
        </p:nvSpPr>
        <p:spPr>
          <a:xfrm>
            <a:off x="466725" y="1206500"/>
            <a:ext cx="8220075" cy="2820988"/>
          </a:xfrm>
        </p:spPr>
        <p:txBody>
          <a:bodyPr/>
          <a:lstStyle>
            <a:lvl1pPr>
              <a:defRPr sz="1050">
                <a:solidFill>
                  <a:schemeClr val="tx1"/>
                </a:solidFill>
              </a:defRPr>
            </a:lvl1pPr>
            <a:lvl2pPr>
              <a:defRPr sz="1000">
                <a:solidFill>
                  <a:schemeClr val="tx1"/>
                </a:solidFill>
              </a:defRPr>
            </a:lvl2pPr>
            <a:lvl3pPr>
              <a:defRPr sz="900">
                <a:solidFill>
                  <a:schemeClr val="tx1"/>
                </a:solidFill>
              </a:defRPr>
            </a:lvl3pPr>
            <a:lvl4pPr>
              <a:defRPr sz="800">
                <a:solidFill>
                  <a:schemeClr val="tx1"/>
                </a:solidFill>
              </a:defRPr>
            </a:lvl4pPr>
            <a:lvl5pPr>
              <a:defRPr sz="800">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59506138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_subtitle_bold_light">
    <p:bg>
      <p:bgPr>
        <a:solidFill>
          <a:srgbClr val="FFFFFF"/>
        </a:solidFill>
        <a:effectLst/>
      </p:bgPr>
    </p:bg>
    <p:spTree>
      <p:nvGrpSpPr>
        <p:cNvPr id="1" name=""/>
        <p:cNvGrpSpPr/>
        <p:nvPr/>
      </p:nvGrpSpPr>
      <p:grpSpPr>
        <a:xfrm>
          <a:off x="0" y="0"/>
          <a:ext cx="0" cy="0"/>
          <a:chOff x="0" y="0"/>
          <a:chExt cx="0" cy="0"/>
        </a:xfrm>
      </p:grpSpPr>
      <p:sp>
        <p:nvSpPr>
          <p:cNvPr id="10" name="Text Placeholder 4"/>
          <p:cNvSpPr>
            <a:spLocks noGrp="1"/>
          </p:cNvSpPr>
          <p:nvPr>
            <p:ph type="body" sz="quarter" idx="16"/>
          </p:nvPr>
        </p:nvSpPr>
        <p:spPr>
          <a:xfrm>
            <a:off x="464494" y="1488137"/>
            <a:ext cx="2274660" cy="3062171"/>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441223"/>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4" name="Text Placeholder 3"/>
          <p:cNvSpPr>
            <a:spLocks noGrp="1"/>
          </p:cNvSpPr>
          <p:nvPr>
            <p:ph type="body" sz="quarter" idx="17" hasCustomPrompt="1"/>
          </p:nvPr>
        </p:nvSpPr>
        <p:spPr>
          <a:xfrm>
            <a:off x="466725" y="4621306"/>
            <a:ext cx="1823085" cy="88526"/>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7A744CAA-2D0F-071C-F666-B4CE39FACF4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8154014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_subtitle_bold_gray">
    <p:bg>
      <p:bgPr>
        <a:solidFill>
          <a:schemeClr val="bg2"/>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441223"/>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6" name="Text Placeholder 4"/>
          <p:cNvSpPr>
            <a:spLocks noGrp="1"/>
          </p:cNvSpPr>
          <p:nvPr>
            <p:ph type="body" sz="quarter" idx="16"/>
          </p:nvPr>
        </p:nvSpPr>
        <p:spPr>
          <a:xfrm>
            <a:off x="464494" y="1488137"/>
            <a:ext cx="2274660" cy="3062171"/>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A10CA0DC-A0FC-36C9-65E1-1BE3BFB45BB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6932139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Main Title white">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1"/>
            <a:ext cx="4114800" cy="2413299"/>
          </a:xfrm>
          <a:prstGeom prst="rect">
            <a:avLst/>
          </a:prstGeom>
        </p:spPr>
        <p:txBody>
          <a:bodyPr vert="horz" lIns="0" tIns="45720" rIns="91440" bIns="45720" rtlCol="0" anchor="b">
            <a:noAutofit/>
          </a:bodyPr>
          <a:lstStyle>
            <a:lvl1pPr algn="l" defTabSz="685749" rtl="0" eaLnBrk="1" latinLnBrk="0" hangingPunct="1">
              <a:lnSpc>
                <a:spcPct val="80000"/>
              </a:lnSpc>
              <a:spcBef>
                <a:spcPct val="0"/>
              </a:spcBef>
              <a:buNone/>
              <a:defRPr lang="en-US" sz="72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2"/>
            <a:ext cx="4105994" cy="1132629"/>
          </a:xfrm>
        </p:spPr>
        <p:txBody>
          <a:bodyPr lIns="0" tIns="0" rIns="0" bIns="0">
            <a:noAutofit/>
          </a:bodyPr>
          <a:lstStyle>
            <a:lvl1pPr mar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378"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6" y="4447236"/>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2B32E02D-29DC-15CF-1587-28CDCA13D89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EC8F67DE-7F29-7652-E4EE-002C300632A0}"/>
              </a:ext>
            </a:extLst>
          </p:cNvPr>
          <p:cNvSpPr txBox="1"/>
          <p:nvPr userDrawn="1"/>
        </p:nvSpPr>
        <p:spPr>
          <a:xfrm>
            <a:off x="8247888" y="4687824"/>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849312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subtitle_bold_dark">
    <p:bg>
      <p:bgPr>
        <a:solidFill>
          <a:schemeClr val="accent1"/>
        </a:solidFill>
        <a:effectLst/>
      </p:bgPr>
    </p:bg>
    <p:spTree>
      <p:nvGrpSpPr>
        <p:cNvPr id="1" name=""/>
        <p:cNvGrpSpPr/>
        <p:nvPr/>
      </p:nvGrpSpPr>
      <p:grpSpPr>
        <a:xfrm>
          <a:off x="0" y="0"/>
          <a:ext cx="0" cy="0"/>
          <a:chOff x="0" y="0"/>
          <a:chExt cx="0" cy="0"/>
        </a:xfrm>
      </p:grpSpPr>
      <p:sp>
        <p:nvSpPr>
          <p:cNvPr id="5" name="Text Placeholder 7"/>
          <p:cNvSpPr>
            <a:spLocks noGrp="1"/>
          </p:cNvSpPr>
          <p:nvPr>
            <p:ph type="body" sz="quarter" idx="11" hasCustomPrompt="1"/>
          </p:nvPr>
        </p:nvSpPr>
        <p:spPr>
          <a:xfrm>
            <a:off x="464493" y="438150"/>
            <a:ext cx="3273117" cy="949858"/>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tx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 style</a:t>
            </a:r>
            <a:endParaRPr lang="en-GB" dirty="0"/>
          </a:p>
        </p:txBody>
      </p:sp>
      <p:sp>
        <p:nvSpPr>
          <p:cNvPr id="6" name="Text Placeholder 4"/>
          <p:cNvSpPr>
            <a:spLocks noGrp="1"/>
          </p:cNvSpPr>
          <p:nvPr>
            <p:ph type="body" sz="quarter" idx="16"/>
          </p:nvPr>
        </p:nvSpPr>
        <p:spPr>
          <a:xfrm>
            <a:off x="464494" y="1488137"/>
            <a:ext cx="2274660" cy="3062171"/>
          </a:xfrm>
        </p:spPr>
        <p:txBody>
          <a:bodyPr tIns="0"/>
          <a:lstStyle>
            <a:lvl1pPr marL="0" indent="0">
              <a:lnSpc>
                <a:spcPct val="150000"/>
              </a:lnSpc>
              <a:buNone/>
              <a:defRPr lang="en-US" sz="1100" kern="1200" spc="0" baseline="0" dirty="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10A029A1-738F-4424-8190-22CEFD3D63D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789519231"/>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layout_dark">
    <p:bg>
      <p:bgPr>
        <a:solidFill>
          <a:schemeClr val="accent1"/>
        </a:solidFill>
        <a:effectLst/>
      </p:bgPr>
    </p:bg>
    <p:spTree>
      <p:nvGrpSpPr>
        <p:cNvPr id="1" name=""/>
        <p:cNvGrpSpPr/>
        <p:nvPr/>
      </p:nvGrpSpPr>
      <p:grpSpPr>
        <a:xfrm>
          <a:off x="0" y="0"/>
          <a:ext cx="0" cy="0"/>
          <a:chOff x="0" y="0"/>
          <a:chExt cx="0" cy="0"/>
        </a:xfrm>
      </p:grpSpPr>
      <p:sp>
        <p:nvSpPr>
          <p:cNvPr id="10" name="Text Placeholder 9"/>
          <p:cNvSpPr>
            <a:spLocks noGrp="1"/>
          </p:cNvSpPr>
          <p:nvPr>
            <p:ph type="body" sz="quarter" idx="12"/>
          </p:nvPr>
        </p:nvSpPr>
        <p:spPr>
          <a:xfrm>
            <a:off x="4582478" y="438150"/>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8" name="Text Placeholder 7"/>
          <p:cNvSpPr>
            <a:spLocks noGrp="1"/>
          </p:cNvSpPr>
          <p:nvPr>
            <p:ph type="body" sz="quarter" idx="11" hasCustomPrompt="1"/>
          </p:nvPr>
        </p:nvSpPr>
        <p:spPr>
          <a:xfrm>
            <a:off x="464856" y="438150"/>
            <a:ext cx="3055584" cy="2231970"/>
          </a:xfrm>
        </p:spPr>
        <p:txBody>
          <a:bodyPr tIns="0" bIns="0"/>
          <a:lstStyle>
            <a:lvl1pPr marL="0" indent="0" algn="l" defTabSz="914400" rtl="0" eaLnBrk="1" latinLnBrk="0" hangingPunct="1">
              <a:lnSpc>
                <a:spcPct val="90000"/>
              </a:lnSpc>
              <a:spcBef>
                <a:spcPct val="0"/>
              </a:spcBef>
              <a:buNone/>
              <a:defRPr lang="en-GB" sz="3200" b="1" kern="0" spc="-150" baseline="0" dirty="0">
                <a:solidFill>
                  <a:schemeClr val="tx1"/>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marL="0" lvl="0" indent="0" algn="l" defTabSz="914400" rtl="0" eaLnBrk="1" latinLnBrk="0" hangingPunct="1">
              <a:lnSpc>
                <a:spcPct val="90000"/>
              </a:lnSpc>
              <a:spcBef>
                <a:spcPct val="0"/>
              </a:spcBef>
              <a:buClr>
                <a:schemeClr val="accent2"/>
              </a:buClr>
              <a:buSzPct val="110000"/>
              <a:buFont typeface="Arial" panose="020B0604020202020204" pitchFamily="34" charset="0"/>
              <a:buNone/>
            </a:pPr>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DD8F1930-8F7D-53B7-D243-5F86C7257EE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545414721"/>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layout_gray">
    <p:bg>
      <p:bgPr>
        <a:solidFill>
          <a:schemeClr val="tx2"/>
        </a:solidFill>
        <a:effectLst/>
      </p:bgPr>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438150"/>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bg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hasCustomPrompt="1"/>
          </p:nvPr>
        </p:nvSpPr>
        <p:spPr>
          <a:xfrm>
            <a:off x="464856" y="438150"/>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67877606-F0F0-8E27-8329-619F1380278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70417933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layout_light">
    <p:bg>
      <p:bgRef idx="1001">
        <a:schemeClr val="bg1"/>
      </p:bgRef>
    </p:bg>
    <p:spTree>
      <p:nvGrpSpPr>
        <p:cNvPr id="1" name=""/>
        <p:cNvGrpSpPr/>
        <p:nvPr/>
      </p:nvGrpSpPr>
      <p:grpSpPr>
        <a:xfrm>
          <a:off x="0" y="0"/>
          <a:ext cx="0" cy="0"/>
          <a:chOff x="0" y="0"/>
          <a:chExt cx="0" cy="0"/>
        </a:xfrm>
      </p:grpSpPr>
      <p:sp>
        <p:nvSpPr>
          <p:cNvPr id="5" name="Text Placeholder 9"/>
          <p:cNvSpPr>
            <a:spLocks noGrp="1"/>
          </p:cNvSpPr>
          <p:nvPr>
            <p:ph type="body" sz="quarter" idx="12"/>
          </p:nvPr>
        </p:nvSpPr>
        <p:spPr>
          <a:xfrm>
            <a:off x="4582478" y="438150"/>
            <a:ext cx="3196272" cy="3503613"/>
          </a:xfrm>
        </p:spPr>
        <p:txBody>
          <a:bodyPr tIns="0" bIns="0"/>
          <a:lstStyle>
            <a:lvl1pPr marL="0" indent="0" algn="l" defTabSz="914400" rtl="0" eaLnBrk="1" latinLnBrk="0" hangingPunct="1">
              <a:lnSpc>
                <a:spcPct val="100000"/>
              </a:lnSpc>
              <a:spcBef>
                <a:spcPts val="1200"/>
              </a:spcBef>
              <a:buClr>
                <a:schemeClr val="accent2"/>
              </a:buClr>
              <a:buSzPct val="110000"/>
              <a:buFont typeface="Wingdings" panose="05000000000000000000" pitchFamily="2" charset="2"/>
              <a:buNone/>
              <a:defRPr lang="en-US" sz="1600" kern="1200" spc="0" baseline="0" dirty="0" smtClean="0">
                <a:solidFill>
                  <a:schemeClr val="tx1"/>
                </a:solidFill>
                <a:latin typeface="+mj-lt"/>
                <a:ea typeface="+mn-ea"/>
                <a:cs typeface="Segoe UI" panose="020B0502040204020203" pitchFamily="34" charset="0"/>
              </a:defRPr>
            </a:lvl1pPr>
            <a:lvl2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2pPr>
            <a:lvl3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3pPr>
            <a:lvl4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US" sz="1800" kern="1200" spc="0" baseline="0" dirty="0" smtClean="0">
                <a:solidFill>
                  <a:schemeClr val="tx1"/>
                </a:solidFill>
                <a:latin typeface="+mj-lt"/>
                <a:ea typeface="+mn-ea"/>
                <a:cs typeface="Segoe UI" panose="020B0502040204020203" pitchFamily="34" charset="0"/>
              </a:defRPr>
            </a:lvl4pPr>
            <a:lvl5pPr marL="0" indent="0" algn="l" defTabSz="914400" rtl="0" eaLnBrk="1" latinLnBrk="0" hangingPunct="1">
              <a:lnSpc>
                <a:spcPts val="2160"/>
              </a:lnSpc>
              <a:spcBef>
                <a:spcPts val="1200"/>
              </a:spcBef>
              <a:buClr>
                <a:schemeClr val="accent2"/>
              </a:buClr>
              <a:buSzPct val="110000"/>
              <a:buFont typeface="Wingdings" panose="05000000000000000000" pitchFamily="2" charset="2"/>
              <a:buNone/>
              <a:defRPr lang="en-GB" sz="1800" kern="1200" spc="0" baseline="0" dirty="0" smtClean="0">
                <a:solidFill>
                  <a:schemeClr val="tx1"/>
                </a:solidFill>
                <a:latin typeface="+mj-lt"/>
                <a:ea typeface="+mn-ea"/>
                <a:cs typeface="Segoe UI" panose="020B0502040204020203" pitchFamily="34" charset="0"/>
              </a:defRPr>
            </a:lvl5pPr>
          </a:lstStyle>
          <a:p>
            <a:pPr lvl="0"/>
            <a:r>
              <a:rPr lang="en-US" dirty="0"/>
              <a:t>Edit Master text styles</a:t>
            </a:r>
          </a:p>
        </p:txBody>
      </p:sp>
      <p:sp>
        <p:nvSpPr>
          <p:cNvPr id="6" name="Text Placeholder 7"/>
          <p:cNvSpPr>
            <a:spLocks noGrp="1"/>
          </p:cNvSpPr>
          <p:nvPr>
            <p:ph type="body" sz="quarter" idx="11" hasCustomPrompt="1"/>
          </p:nvPr>
        </p:nvSpPr>
        <p:spPr>
          <a:xfrm>
            <a:off x="464856" y="438150"/>
            <a:ext cx="3055584" cy="2231970"/>
          </a:xfrm>
        </p:spPr>
        <p:txBody>
          <a:bodyPr tIns="0" bIns="0"/>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DC4BB853-1870-1DB8-C749-322915B35F6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662280095"/>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hotographic background">
    <p:bg>
      <p:bgPr>
        <a:solidFill>
          <a:srgbClr val="2B6FAB"/>
        </a:solidFill>
        <a:effectLst/>
      </p:bgPr>
    </p:bg>
    <p:spTree>
      <p:nvGrpSpPr>
        <p:cNvPr id="1" name=""/>
        <p:cNvGrpSpPr/>
        <p:nvPr/>
      </p:nvGrpSpPr>
      <p:grpSpPr>
        <a:xfrm>
          <a:off x="0" y="0"/>
          <a:ext cx="0" cy="0"/>
          <a:chOff x="0" y="0"/>
          <a:chExt cx="0" cy="0"/>
        </a:xfrm>
      </p:grpSpPr>
      <p:sp>
        <p:nvSpPr>
          <p:cNvPr id="9" name="Picture Placeholder 4"/>
          <p:cNvSpPr>
            <a:spLocks noGrp="1"/>
          </p:cNvSpPr>
          <p:nvPr>
            <p:ph type="pic" sz="quarter" idx="21"/>
          </p:nvPr>
        </p:nvSpPr>
        <p:spPr>
          <a:xfrm>
            <a:off x="0" y="0"/>
            <a:ext cx="9144000" cy="5143500"/>
          </a:xfrm>
          <a:prstGeom prst="rect">
            <a:avLst/>
          </a:prstGeom>
          <a:solidFill>
            <a:schemeClr val="accent1"/>
          </a:solidFill>
        </p:spPr>
        <p:txBody>
          <a:bodyPr vert="horz" wrap="square" lIns="0" tIns="914400" rIns="0" bIns="45720" rtlCol="0" anchor="ctr">
            <a:noAutofit/>
          </a:bodyPr>
          <a:lstStyle>
            <a:lvl1pPr marL="0" indent="0" algn="ctr">
              <a:buNone/>
              <a:defRPr lang="en-US">
                <a:solidFill>
                  <a:schemeClr val="bg1"/>
                </a:solidFill>
              </a:defRPr>
            </a:lvl1pPr>
          </a:lstStyle>
          <a:p>
            <a:pPr marL="173038" lvl="0" indent="-173038" algn="ctr"/>
            <a:r>
              <a:rPr lang="en-US"/>
              <a:t>Click icon to add picture</a:t>
            </a:r>
          </a:p>
        </p:txBody>
      </p:sp>
    </p:spTree>
    <p:extLst>
      <p:ext uri="{BB962C8B-B14F-4D97-AF65-F5344CB8AC3E}">
        <p14:creationId xmlns:p14="http://schemas.microsoft.com/office/powerpoint/2010/main" val="38051400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_subhead_photo">
    <p:bg>
      <p:bgPr>
        <a:solidFill>
          <a:srgbClr val="FFFFFF"/>
        </a:solidFill>
        <a:effectLst/>
      </p:bgPr>
    </p:bg>
    <p:spTree>
      <p:nvGrpSpPr>
        <p:cNvPr id="1" name=""/>
        <p:cNvGrpSpPr/>
        <p:nvPr/>
      </p:nvGrpSpPr>
      <p:grpSpPr>
        <a:xfrm>
          <a:off x="0" y="0"/>
          <a:ext cx="0" cy="0"/>
          <a:chOff x="0" y="0"/>
          <a:chExt cx="0" cy="0"/>
        </a:xfrm>
      </p:grpSpPr>
      <p:sp>
        <p:nvSpPr>
          <p:cNvPr id="8" name="Picture Placeholder 4"/>
          <p:cNvSpPr>
            <a:spLocks noGrp="1"/>
          </p:cNvSpPr>
          <p:nvPr>
            <p:ph type="pic" sz="quarter" idx="21"/>
          </p:nvPr>
        </p:nvSpPr>
        <p:spPr>
          <a:xfrm>
            <a:off x="4572000" y="0"/>
            <a:ext cx="4572000" cy="5143500"/>
          </a:xfrm>
          <a:prstGeom prst="rect">
            <a:avLst/>
          </a:prstGeom>
          <a:solidFill>
            <a:srgbClr val="2B6FAB"/>
          </a:solidFill>
        </p:spPr>
        <p:txBody>
          <a:bodyPr vert="horz" wrap="square" lIns="0" tIns="1005840" rIns="0" bIns="45720" rtlCol="0" anchor="ctr">
            <a:noAutofit/>
          </a:bodyPr>
          <a:lstStyle>
            <a:lvl1pPr marL="0" indent="0" algn="ctr">
              <a:buNone/>
              <a:defRPr lang="en-US">
                <a:solidFill>
                  <a:schemeClr val="bg1"/>
                </a:solidFill>
              </a:defRPr>
            </a:lvl1pPr>
          </a:lstStyle>
          <a:p>
            <a:pPr marL="173038" lvl="0" indent="-173038" algn="ctr"/>
            <a:r>
              <a:rPr lang="en-US" dirty="0"/>
              <a:t>Click icon to add picture</a:t>
            </a:r>
          </a:p>
        </p:txBody>
      </p:sp>
      <p:sp>
        <p:nvSpPr>
          <p:cNvPr id="10" name="Text Placeholder 4"/>
          <p:cNvSpPr>
            <a:spLocks noGrp="1"/>
          </p:cNvSpPr>
          <p:nvPr>
            <p:ph type="body" sz="quarter" idx="16"/>
          </p:nvPr>
        </p:nvSpPr>
        <p:spPr>
          <a:xfrm>
            <a:off x="464494" y="1477280"/>
            <a:ext cx="3273116" cy="847455"/>
          </a:xfrm>
        </p:spPr>
        <p:txBody>
          <a:bodyPr tIns="0"/>
          <a:lstStyle>
            <a:lvl1pPr marL="0" indent="0">
              <a:lnSpc>
                <a:spcPct val="15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438150"/>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5EF3DE71-F3FD-DAF8-2251-67DEE0C6B40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9F6D98FC-A04F-F001-C845-DA1647943D51}"/>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83454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_floating photo layout">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5073358" y="1987267"/>
            <a:ext cx="2309339" cy="1514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7" name="Picture Placeholder 4"/>
          <p:cNvSpPr>
            <a:spLocks noGrp="1"/>
          </p:cNvSpPr>
          <p:nvPr>
            <p:ph type="pic" sz="quarter" idx="21"/>
          </p:nvPr>
        </p:nvSpPr>
        <p:spPr>
          <a:xfrm>
            <a:off x="5537466" y="1066800"/>
            <a:ext cx="3150178" cy="1990918"/>
          </a:xfrm>
          <a:prstGeom prst="rect">
            <a:avLst/>
          </a:prstGeom>
          <a:solidFill>
            <a:schemeClr val="accent1"/>
          </a:solidFill>
        </p:spPr>
        <p:txBody>
          <a:bodyPr vert="horz" wrap="square" lIns="0" tIns="1005840" rIns="0" bIns="45720" rtlCol="0" anchor="ctr">
            <a:noAutofit/>
          </a:bodyPr>
          <a:lstStyle>
            <a:lvl1pPr marL="0" indent="0" algn="ctr">
              <a:buNone/>
              <a:defRPr lang="en-US" dirty="0">
                <a:solidFill>
                  <a:schemeClr val="bg1"/>
                </a:solidFill>
              </a:defRPr>
            </a:lvl1pPr>
          </a:lstStyle>
          <a:p>
            <a:pPr marL="173038" lvl="0" indent="-173038" algn="ctr"/>
            <a:r>
              <a:rPr lang="en-US" dirty="0"/>
              <a:t>Click icon to add picture</a:t>
            </a:r>
          </a:p>
        </p:txBody>
      </p:sp>
      <p:sp>
        <p:nvSpPr>
          <p:cNvPr id="11" name="Text Placeholder 7"/>
          <p:cNvSpPr>
            <a:spLocks noGrp="1"/>
          </p:cNvSpPr>
          <p:nvPr>
            <p:ph type="body" sz="quarter" idx="11" hasCustomPrompt="1"/>
          </p:nvPr>
        </p:nvSpPr>
        <p:spPr>
          <a:xfrm>
            <a:off x="464493" y="438151"/>
            <a:ext cx="3273117" cy="4066614"/>
          </a:xfrm>
        </p:spPr>
        <p:txBody>
          <a:bodyPr tIns="0" bIns="0" anchor="t"/>
          <a:lstStyle>
            <a:lvl1pPr marL="0" indent="0" algn="l" defTabSz="914400" rtl="0" eaLnBrk="1" latinLnBrk="0" hangingPunct="1">
              <a:lnSpc>
                <a:spcPct val="90000"/>
              </a:lnSpc>
              <a:spcBef>
                <a:spcPct val="0"/>
              </a:spcBef>
              <a:buNone/>
              <a:defRPr lang="en-US" sz="28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90AF9485-0EA5-707D-7D9F-E99DFB8F4E5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2685940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lumn layout_light">
    <p:bg>
      <p:bgRef idx="1001">
        <a:schemeClr val="bg1"/>
      </p:bgRef>
    </p:bg>
    <p:spTree>
      <p:nvGrpSpPr>
        <p:cNvPr id="1" name=""/>
        <p:cNvGrpSpPr/>
        <p:nvPr/>
      </p:nvGrpSpPr>
      <p:grpSpPr>
        <a:xfrm>
          <a:off x="0" y="0"/>
          <a:ext cx="0" cy="0"/>
          <a:chOff x="0" y="0"/>
          <a:chExt cx="0" cy="0"/>
        </a:xfrm>
      </p:grpSpPr>
      <p:sp>
        <p:nvSpPr>
          <p:cNvPr id="3" name="Picture Placeholder 2"/>
          <p:cNvSpPr>
            <a:spLocks noGrp="1"/>
          </p:cNvSpPr>
          <p:nvPr>
            <p:ph type="pic" sz="quarter" idx="12"/>
          </p:nvPr>
        </p:nvSpPr>
        <p:spPr>
          <a:xfrm>
            <a:off x="4978400" y="1066800"/>
            <a:ext cx="4165600" cy="2184400"/>
          </a:xfrm>
          <a:solidFill>
            <a:schemeClr val="accent1"/>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dirty="0"/>
              <a:t>Click icon to add picture</a:t>
            </a:r>
          </a:p>
        </p:txBody>
      </p:sp>
      <p:sp>
        <p:nvSpPr>
          <p:cNvPr id="7" name="Text Placeholder 4"/>
          <p:cNvSpPr>
            <a:spLocks noGrp="1"/>
          </p:cNvSpPr>
          <p:nvPr>
            <p:ph type="body" sz="quarter" idx="16"/>
          </p:nvPr>
        </p:nvSpPr>
        <p:spPr>
          <a:xfrm>
            <a:off x="464494" y="1559195"/>
            <a:ext cx="3273116" cy="695055"/>
          </a:xfrm>
        </p:spPr>
        <p:txBody>
          <a:bodyPr tIns="0"/>
          <a:lstStyle>
            <a:lvl1pPr marL="0" indent="0">
              <a:buNone/>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8" name="Text Placeholder 7"/>
          <p:cNvSpPr>
            <a:spLocks noGrp="1"/>
          </p:cNvSpPr>
          <p:nvPr>
            <p:ph type="body" sz="quarter" idx="11" hasCustomPrompt="1"/>
          </p:nvPr>
        </p:nvSpPr>
        <p:spPr>
          <a:xfrm>
            <a:off x="464493" y="520065"/>
            <a:ext cx="3273117" cy="908685"/>
          </a:xfrm>
        </p:spPr>
        <p:txBody>
          <a:bodyPr tIns="0" bIns="0" anchor="t"/>
          <a:lstStyle>
            <a:lvl1pPr marL="0" indent="0" algn="l" defTabSz="914400" rtl="0" eaLnBrk="1" latinLnBrk="0" hangingPunct="1">
              <a:lnSpc>
                <a:spcPct val="90000"/>
              </a:lnSpc>
              <a:spcBef>
                <a:spcPct val="0"/>
              </a:spcBef>
              <a:buNone/>
              <a:defRPr lang="en-US" sz="32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a:t>
            </a:r>
            <a:endParaRPr lang="en-GB" dirty="0"/>
          </a:p>
        </p:txBody>
      </p:sp>
      <p:sp>
        <p:nvSpPr>
          <p:cNvPr id="9" name="Text Placeholder 4"/>
          <p:cNvSpPr>
            <a:spLocks noGrp="1"/>
          </p:cNvSpPr>
          <p:nvPr>
            <p:ph type="body" sz="quarter" idx="17"/>
          </p:nvPr>
        </p:nvSpPr>
        <p:spPr>
          <a:xfrm>
            <a:off x="464494" y="2473596"/>
            <a:ext cx="3273116" cy="2013240"/>
          </a:xfrm>
        </p:spPr>
        <p:txBody>
          <a:bodyPr tIns="0"/>
          <a:lstStyle>
            <a:lvl1pPr marL="285750" indent="-285750">
              <a:lnSpc>
                <a:spcPct val="150000"/>
              </a:lnSpc>
              <a:spcBef>
                <a:spcPts val="750"/>
              </a:spcBef>
              <a:buFont typeface="Arial" panose="020B0604020202020204" pitchFamily="34" charset="0"/>
              <a:buChar char="•"/>
              <a:defRPr lang="en-US" sz="14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285750" lvl="0" indent="-285750" algn="l" defTabSz="914400" rtl="0" eaLnBrk="1" latinLnBrk="0" hangingPunct="1">
              <a:lnSpc>
                <a:spcPct val="90000"/>
              </a:lnSpc>
              <a:spcBef>
                <a:spcPts val="1200"/>
              </a:spcBef>
              <a:buClr>
                <a:srgbClr val="0072C8"/>
              </a:buClr>
              <a:buSzPct val="110000"/>
            </a:pPr>
            <a:r>
              <a:rPr lang="en-US" dirty="0"/>
              <a:t>Click to edit Master text styles</a:t>
            </a:r>
          </a:p>
        </p:txBody>
      </p:sp>
      <p:sp>
        <p:nvSpPr>
          <p:cNvPr id="6" name="Text Placeholder 3"/>
          <p:cNvSpPr>
            <a:spLocks noGrp="1"/>
          </p:cNvSpPr>
          <p:nvPr>
            <p:ph type="body" sz="quarter" idx="18"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731B5923-4F5C-85A7-D484-69877BF48EA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416698228"/>
      </p:ext>
    </p:extLst>
  </p:cSld>
  <p:clrMapOvr>
    <a:overrideClrMapping bg1="lt1" tx1="dk1" bg2="lt2" tx2="dk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layout">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5195888" y="3752850"/>
            <a:ext cx="3948111" cy="138952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spc="100" dirty="0" err="1">
              <a:solidFill>
                <a:schemeClr val="bg1"/>
              </a:soli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5929313" y="2613025"/>
            <a:ext cx="3214687" cy="2530475"/>
          </a:xfrm>
          <a:solidFill>
            <a:schemeClr val="accent1"/>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dirty="0">
                <a:solidFill>
                  <a:schemeClr val="bg1"/>
                </a:solidFill>
              </a:defRPr>
            </a:lvl1pPr>
          </a:lstStyle>
          <a:p>
            <a:pPr marL="171450" marR="0" lvl="0" indent="-171450" algn="ctr" defTabSz="914400" rtl="0" eaLnBrk="1" fontAlgn="auto" latinLnBrk="0" hangingPunct="1">
              <a:lnSpc>
                <a:spcPct val="100000"/>
              </a:lnSpc>
              <a:spcBef>
                <a:spcPts val="750"/>
              </a:spcBef>
              <a:spcAft>
                <a:spcPts val="0"/>
              </a:spcAft>
              <a:buClr>
                <a:schemeClr val="accent2"/>
              </a:buClr>
              <a:buSzPct val="110000"/>
              <a:tabLst/>
              <a:defRPr/>
            </a:pPr>
            <a:r>
              <a:rPr lang="en-US" dirty="0"/>
              <a:t>Click icon to add picture</a:t>
            </a:r>
          </a:p>
          <a:p>
            <a:pPr marL="171450" lvl="0" indent="-171450" algn="ctr"/>
            <a:endParaRPr lang="en-GB" dirty="0"/>
          </a:p>
        </p:txBody>
      </p:sp>
      <p:sp>
        <p:nvSpPr>
          <p:cNvPr id="10" name="Picture Placeholder 9"/>
          <p:cNvSpPr>
            <a:spLocks noGrp="1"/>
          </p:cNvSpPr>
          <p:nvPr>
            <p:ph type="pic" sz="quarter" idx="14"/>
          </p:nvPr>
        </p:nvSpPr>
        <p:spPr>
          <a:xfrm>
            <a:off x="3986090" y="536215"/>
            <a:ext cx="2743200" cy="2743200"/>
          </a:xfrm>
          <a:prstGeom prst="ellipse">
            <a:avLst/>
          </a:prstGeom>
          <a:solidFill>
            <a:schemeClr val="accent1"/>
          </a:solidFill>
        </p:spPr>
        <p:txBody>
          <a:bodyPr vert="horz" wrap="square" lIns="0" tIns="1005840" rIns="0" bIns="45720" rtlCol="0" anchor="ctr">
            <a:noAutofit/>
          </a:bodyPr>
          <a:lstStyle>
            <a:lvl1pPr marL="0" indent="0" algn="ctr">
              <a:buNone/>
              <a:defRPr lang="en-GB">
                <a:solidFill>
                  <a:schemeClr val="bg1"/>
                </a:solidFill>
              </a:defRPr>
            </a:lvl1pPr>
          </a:lstStyle>
          <a:p>
            <a:pPr marL="173038" lvl="0" indent="-173038" algn="ctr"/>
            <a:r>
              <a:rPr lang="en-US" dirty="0"/>
              <a:t>Click icon to add picture</a:t>
            </a:r>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10314AF3-8494-FCAF-37A3-7AE7C2C250C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1DAF7FCA-7728-365A-AB5C-E07378312926}"/>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35859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layout_title subtitle">
    <p:bg>
      <p:bgPr>
        <a:solidFill>
          <a:srgbClr val="FFFFFF"/>
        </a:solidFill>
        <a:effectLst/>
      </p:bgPr>
    </p:bg>
    <p:spTree>
      <p:nvGrpSpPr>
        <p:cNvPr id="1" name=""/>
        <p:cNvGrpSpPr/>
        <p:nvPr/>
      </p:nvGrpSpPr>
      <p:grpSpPr>
        <a:xfrm>
          <a:off x="0" y="0"/>
          <a:ext cx="0" cy="0"/>
          <a:chOff x="0" y="0"/>
          <a:chExt cx="0" cy="0"/>
        </a:xfrm>
      </p:grpSpPr>
      <p:sp>
        <p:nvSpPr>
          <p:cNvPr id="5" name="Rectangle 4"/>
          <p:cNvSpPr/>
          <p:nvPr userDrawn="1"/>
        </p:nvSpPr>
        <p:spPr>
          <a:xfrm>
            <a:off x="2000250" y="514350"/>
            <a:ext cx="4751057" cy="2886757"/>
          </a:xfrm>
          <a:prstGeom prst="rect">
            <a:avLst/>
          </a:prstGeom>
          <a:solidFill>
            <a:schemeClr val="tx1">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2686050" y="1066799"/>
            <a:ext cx="6471201" cy="3001619"/>
          </a:xfrm>
          <a:solidFill>
            <a:schemeClr val="accent1"/>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dirty="0"/>
              <a:t>Click icon to add picture</a:t>
            </a:r>
          </a:p>
        </p:txBody>
      </p:sp>
      <p:sp>
        <p:nvSpPr>
          <p:cNvPr id="13" name="Text Placeholder 7"/>
          <p:cNvSpPr>
            <a:spLocks noGrp="1"/>
          </p:cNvSpPr>
          <p:nvPr>
            <p:ph type="body" sz="quarter" idx="11" hasCustomPrompt="1"/>
          </p:nvPr>
        </p:nvSpPr>
        <p:spPr>
          <a:xfrm>
            <a:off x="464493" y="2004666"/>
            <a:ext cx="4107507" cy="2063751"/>
          </a:xfrm>
          <a:solidFill>
            <a:schemeClr val="bg1"/>
          </a:solidFill>
        </p:spPr>
        <p:txBody>
          <a:bodyPr tIns="0" bIns="0" anchor="ctr"/>
          <a:lstStyle>
            <a:lvl1pPr marL="0" indent="0" algn="l" defTabSz="914400" rtl="0" eaLnBrk="1" latinLnBrk="0" hangingPunct="1">
              <a:lnSpc>
                <a:spcPct val="80000"/>
              </a:lnSpc>
              <a:spcBef>
                <a:spcPts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master</a:t>
            </a:r>
            <a:endParaRPr lang="en-GB" dirty="0"/>
          </a:p>
        </p:txBody>
      </p:sp>
      <p:sp>
        <p:nvSpPr>
          <p:cNvPr id="12" name="Text Placeholder 11"/>
          <p:cNvSpPr>
            <a:spLocks noGrp="1"/>
          </p:cNvSpPr>
          <p:nvPr>
            <p:ph type="body" sz="quarter" idx="15" hasCustomPrompt="1"/>
          </p:nvPr>
        </p:nvSpPr>
        <p:spPr>
          <a:xfrm>
            <a:off x="457200" y="3735042"/>
            <a:ext cx="3816350" cy="504825"/>
          </a:xfrm>
        </p:spPr>
        <p:txBody>
          <a:bodyPr/>
          <a:lstStyle>
            <a:lvl1pPr marL="0" indent="0">
              <a:lnSpc>
                <a:spcPct val="100000"/>
              </a:lnSpc>
              <a:buNone/>
              <a:defRPr>
                <a:solidFill>
                  <a:schemeClr val="tx1"/>
                </a:solidFill>
              </a:defRPr>
            </a:lvl1pPr>
            <a:lvl2pPr marL="173037" indent="0">
              <a:buNone/>
              <a:defRPr>
                <a:solidFill>
                  <a:schemeClr val="accent5"/>
                </a:solidFill>
              </a:defRPr>
            </a:lvl2pPr>
            <a:lvl3pPr marL="323850" indent="0">
              <a:buNone/>
              <a:defRPr>
                <a:solidFill>
                  <a:schemeClr val="accent5"/>
                </a:solidFill>
              </a:defRPr>
            </a:lvl3pPr>
            <a:lvl4pPr marL="457200" indent="0">
              <a:buNone/>
              <a:defRPr>
                <a:solidFill>
                  <a:schemeClr val="accent5"/>
                </a:solidFill>
              </a:defRPr>
            </a:lvl4pPr>
            <a:lvl5pPr marL="593725" indent="0">
              <a:buNone/>
              <a:defRPr>
                <a:solidFill>
                  <a:schemeClr val="accent5"/>
                </a:solidFill>
              </a:defRPr>
            </a:lvl5pPr>
          </a:lstStyle>
          <a:p>
            <a:pPr lvl="0"/>
            <a:r>
              <a:rPr lang="en-US" dirty="0"/>
              <a:t>Enter text here</a:t>
            </a:r>
            <a:endParaRPr lang="en-GB" dirty="0"/>
          </a:p>
        </p:txBody>
      </p:sp>
      <p:sp>
        <p:nvSpPr>
          <p:cNvPr id="6"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9AD0001E-19C8-EA6F-69A2-F3605F0C65A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8073218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Main Title Slide_white">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EED10D10-20F1-B691-1E01-01FB9782EB1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110338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layout_title">
    <p:bg>
      <p:bgPr>
        <a:solidFill>
          <a:srgbClr val="FFFFFF"/>
        </a:solidFill>
        <a:effectLst/>
      </p:bgPr>
    </p:bg>
    <p:spTree>
      <p:nvGrpSpPr>
        <p:cNvPr id="1" name=""/>
        <p:cNvGrpSpPr/>
        <p:nvPr/>
      </p:nvGrpSpPr>
      <p:grpSpPr>
        <a:xfrm>
          <a:off x="0" y="0"/>
          <a:ext cx="0" cy="0"/>
          <a:chOff x="0" y="0"/>
          <a:chExt cx="0" cy="0"/>
        </a:xfrm>
      </p:grpSpPr>
      <p:sp>
        <p:nvSpPr>
          <p:cNvPr id="4" name="Rectangle 3"/>
          <p:cNvSpPr/>
          <p:nvPr userDrawn="1"/>
        </p:nvSpPr>
        <p:spPr>
          <a:xfrm>
            <a:off x="2880711" y="645617"/>
            <a:ext cx="4363050" cy="1990358"/>
          </a:xfrm>
          <a:prstGeom prst="rect">
            <a:avLst/>
          </a:prstGeom>
          <a:solidFill>
            <a:schemeClr val="tx1">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8" name="Picture Placeholder 7"/>
          <p:cNvSpPr>
            <a:spLocks noGrp="1"/>
          </p:cNvSpPr>
          <p:nvPr>
            <p:ph type="pic" sz="quarter" idx="13"/>
          </p:nvPr>
        </p:nvSpPr>
        <p:spPr>
          <a:xfrm>
            <a:off x="1136650" y="1066799"/>
            <a:ext cx="5676900" cy="2678998"/>
          </a:xfrm>
          <a:solidFill>
            <a:schemeClr val="accent1"/>
          </a:solidFill>
        </p:spPr>
        <p:txBody>
          <a:bodyPr vert="horz" wrap="square" lIns="0" tIns="1005840" rIns="0" bIns="45720" rtlCol="0" anchor="ctr">
            <a:noAutofit/>
          </a:bodyPr>
          <a:lstStyle>
            <a:lvl1pPr marL="0" indent="0" algn="ctr">
              <a:buFont typeface="Arial" panose="020B0604020202020204" pitchFamily="34" charset="0"/>
              <a:buNone/>
              <a:defRPr lang="en-GB" dirty="0">
                <a:solidFill>
                  <a:schemeClr val="bg1"/>
                </a:solidFill>
              </a:defRPr>
            </a:lvl1pPr>
          </a:lstStyle>
          <a:p>
            <a:pPr marL="173038" lvl="0" indent="-173038" algn="ctr"/>
            <a:r>
              <a:rPr lang="en-US" dirty="0"/>
              <a:t>Click icon to add picture</a:t>
            </a:r>
          </a:p>
        </p:txBody>
      </p:sp>
      <p:sp>
        <p:nvSpPr>
          <p:cNvPr id="13" name="Text Placeholder 7"/>
          <p:cNvSpPr>
            <a:spLocks noGrp="1"/>
          </p:cNvSpPr>
          <p:nvPr>
            <p:ph type="body" sz="quarter" idx="11" hasCustomPrompt="1"/>
          </p:nvPr>
        </p:nvSpPr>
        <p:spPr>
          <a:xfrm>
            <a:off x="2429191" y="3246283"/>
            <a:ext cx="5959159" cy="1380784"/>
          </a:xfrm>
          <a:solidFill>
            <a:schemeClr val="bg1"/>
          </a:solidFill>
        </p:spPr>
        <p:txBody>
          <a:bodyPr lIns="274320" tIns="228600"/>
          <a:lstStyle>
            <a:lvl1pPr marL="0" indent="0">
              <a:buNone/>
              <a:defRPr lang="en-GB" sz="2400" b="1" kern="0" spc="-10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Click to edit</a:t>
            </a:r>
            <a:endParaRPr lang="en-GB" dirty="0"/>
          </a:p>
        </p:txBody>
      </p:sp>
      <p:sp>
        <p:nvSpPr>
          <p:cNvPr id="5"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00C899AD-D752-B4FE-8C7C-2B537B3DEFE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5241330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tro_two photo">
    <p:bg>
      <p:bgPr>
        <a:solidFill>
          <a:srgbClr val="FFFFFF"/>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4572000" y="641350"/>
            <a:ext cx="1409700" cy="1409700"/>
          </a:xfrm>
          <a:prstGeom prst="ellipse">
            <a:avLst/>
          </a:prstGeom>
          <a:solidFill>
            <a:schemeClr val="accent1"/>
          </a:solidFill>
        </p:spPr>
        <p:txBody>
          <a:bodyPr vert="horz" wrap="square" lIns="0" tIns="1005840" rIns="0" bIns="45720" rtlCol="0" anchor="ctr">
            <a:noAutofit/>
          </a:bodyPr>
          <a:lstStyle>
            <a:lvl1pPr>
              <a:defRPr lang="en-GB">
                <a:solidFill>
                  <a:schemeClr val="bg1"/>
                </a:solidFill>
              </a:defRPr>
            </a:lvl1pPr>
          </a:lstStyle>
          <a:p>
            <a:pPr marL="0" lvl="0" indent="0" algn="ctr">
              <a:buNone/>
            </a:pPr>
            <a:r>
              <a:rPr lang="en-US" dirty="0"/>
              <a:t>Click icon to add picture</a:t>
            </a:r>
          </a:p>
          <a:p>
            <a:pPr marL="0" lvl="0" indent="0" algn="ctr">
              <a:buNone/>
            </a:pPr>
            <a:endParaRPr lang="en-US" dirty="0"/>
          </a:p>
        </p:txBody>
      </p:sp>
      <p:sp>
        <p:nvSpPr>
          <p:cNvPr id="10" name="Text Placeholder 4"/>
          <p:cNvSpPr>
            <a:spLocks noGrp="1"/>
          </p:cNvSpPr>
          <p:nvPr>
            <p:ph type="body" sz="quarter" idx="16"/>
          </p:nvPr>
        </p:nvSpPr>
        <p:spPr>
          <a:xfrm>
            <a:off x="464494" y="1485064"/>
            <a:ext cx="3273116" cy="847455"/>
          </a:xfrm>
        </p:spPr>
        <p:txBody>
          <a:bodyPr tIns="0"/>
          <a:lstStyle>
            <a:lvl1pPr marL="0" indent="0">
              <a:buNone/>
              <a:defRPr lang="en-US" sz="1100" kern="1200" spc="0" baseline="0" dirty="0" smtClean="0">
                <a:solidFill>
                  <a:schemeClr val="tx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11" name="Text Placeholder 7"/>
          <p:cNvSpPr>
            <a:spLocks noGrp="1"/>
          </p:cNvSpPr>
          <p:nvPr>
            <p:ph type="body" sz="quarter" idx="11" hasCustomPrompt="1"/>
          </p:nvPr>
        </p:nvSpPr>
        <p:spPr>
          <a:xfrm>
            <a:off x="464493" y="438150"/>
            <a:ext cx="3273117" cy="949858"/>
          </a:xfrm>
        </p:spPr>
        <p:txBody>
          <a:bodyPr tIns="0" bIns="0" anchor="t"/>
          <a:lstStyle>
            <a:lvl1pPr marL="0" indent="0" algn="l" defTabSz="914400" rtl="0" eaLnBrk="1" latinLnBrk="0" hangingPunct="1">
              <a:lnSpc>
                <a:spcPct val="90000"/>
              </a:lnSpc>
              <a:spcBef>
                <a:spcPct val="0"/>
              </a:spcBef>
              <a:buNone/>
              <a:defRPr lang="en-US" sz="4400" b="1" kern="0" spc="-15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a:t>
            </a:r>
            <a:endParaRPr lang="en-GB" dirty="0"/>
          </a:p>
        </p:txBody>
      </p:sp>
      <p:sp>
        <p:nvSpPr>
          <p:cNvPr id="7" name="Picture Placeholder 2"/>
          <p:cNvSpPr>
            <a:spLocks noGrp="1"/>
          </p:cNvSpPr>
          <p:nvPr>
            <p:ph type="pic" sz="quarter" idx="18"/>
          </p:nvPr>
        </p:nvSpPr>
        <p:spPr>
          <a:xfrm>
            <a:off x="4572000" y="2757472"/>
            <a:ext cx="1409700" cy="1409700"/>
          </a:xfrm>
          <a:prstGeom prst="ellipse">
            <a:avLst/>
          </a:prstGeom>
          <a:solidFill>
            <a:schemeClr val="accent1"/>
          </a:solidFill>
        </p:spPr>
        <p:txBody>
          <a:bodyPr vert="horz" wrap="square" lIns="0" tIns="1005840" rIns="0" bIns="45720" rtlCol="0" anchor="ctr">
            <a:noAutofit/>
          </a:bodyPr>
          <a:lstStyle>
            <a:lvl1pPr marL="0" marR="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lang="en-GB">
                <a:solidFill>
                  <a:schemeClr val="bg1"/>
                </a:solidFill>
              </a:defRPr>
            </a:lvl1pPr>
          </a:lstStyle>
          <a:p>
            <a:pPr marL="0" marR="0" lvl="0" indent="0" algn="ctr" defTabSz="914400" rtl="0" eaLnBrk="1" fontAlgn="auto" latinLnBrk="0" hangingPunct="1">
              <a:lnSpc>
                <a:spcPct val="100000"/>
              </a:lnSpc>
              <a:spcBef>
                <a:spcPts val="750"/>
              </a:spcBef>
              <a:spcAft>
                <a:spcPts val="0"/>
              </a:spcAft>
              <a:buClr>
                <a:schemeClr val="accent2"/>
              </a:buClr>
              <a:buSzPct val="110000"/>
              <a:buFont typeface="Arial" panose="020B0604020202020204" pitchFamily="34" charset="0"/>
              <a:buNone/>
              <a:tabLst/>
              <a:defRPr/>
            </a:pPr>
            <a:r>
              <a:rPr lang="en-US" dirty="0"/>
              <a:t>Click icon to add picture</a:t>
            </a:r>
          </a:p>
          <a:p>
            <a:pPr marL="0" lvl="0" indent="0" algn="ctr">
              <a:buNone/>
            </a:pPr>
            <a:endParaRPr lang="en-GB" dirty="0"/>
          </a:p>
        </p:txBody>
      </p:sp>
      <p:sp>
        <p:nvSpPr>
          <p:cNvPr id="6" name="Text Placeholder 5"/>
          <p:cNvSpPr>
            <a:spLocks noGrp="1"/>
          </p:cNvSpPr>
          <p:nvPr>
            <p:ph type="body" sz="quarter" idx="19" hasCustomPrompt="1"/>
          </p:nvPr>
        </p:nvSpPr>
        <p:spPr>
          <a:xfrm>
            <a:off x="6248400" y="641350"/>
            <a:ext cx="2438400" cy="339725"/>
          </a:xfrm>
        </p:spPr>
        <p:txBody>
          <a:bodyPr/>
          <a:lstStyle>
            <a:lvl1pPr marL="0" indent="0">
              <a:buNone/>
              <a:defRPr sz="1400" b="1" spc="0" baseline="0">
                <a:solidFill>
                  <a:schemeClr val="tx1"/>
                </a:solidFill>
              </a:defRPr>
            </a:lvl1pPr>
          </a:lstStyle>
          <a:p>
            <a:pPr lvl="0"/>
            <a:r>
              <a:rPr lang="en-US" dirty="0" err="1"/>
              <a:t>Firstname</a:t>
            </a:r>
            <a:r>
              <a:rPr lang="en-US" dirty="0"/>
              <a:t> </a:t>
            </a:r>
            <a:r>
              <a:rPr lang="en-US" dirty="0" err="1"/>
              <a:t>Lastname</a:t>
            </a:r>
            <a:endParaRPr lang="en-GB" dirty="0"/>
          </a:p>
        </p:txBody>
      </p:sp>
      <p:sp>
        <p:nvSpPr>
          <p:cNvPr id="12" name="Text Placeholder 5"/>
          <p:cNvSpPr>
            <a:spLocks noGrp="1"/>
          </p:cNvSpPr>
          <p:nvPr>
            <p:ph type="body" sz="quarter" idx="20" hasCustomPrompt="1"/>
          </p:nvPr>
        </p:nvSpPr>
        <p:spPr>
          <a:xfrm>
            <a:off x="6248400" y="981076"/>
            <a:ext cx="2438400" cy="266700"/>
          </a:xfrm>
        </p:spPr>
        <p:txBody>
          <a:bodyPr/>
          <a:lstStyle>
            <a:lvl1pPr marL="0" indent="0">
              <a:buNone/>
              <a:defRPr sz="900" b="0" spc="0" baseline="0">
                <a:solidFill>
                  <a:schemeClr val="tx1"/>
                </a:solidFill>
              </a:defRPr>
            </a:lvl1pPr>
          </a:lstStyle>
          <a:p>
            <a:pPr lvl="0"/>
            <a:r>
              <a:rPr lang="en-US" dirty="0"/>
              <a:t>Title</a:t>
            </a:r>
            <a:endParaRPr lang="en-GB" dirty="0"/>
          </a:p>
        </p:txBody>
      </p:sp>
      <p:sp>
        <p:nvSpPr>
          <p:cNvPr id="13" name="Text Placeholder 5"/>
          <p:cNvSpPr>
            <a:spLocks noGrp="1"/>
          </p:cNvSpPr>
          <p:nvPr>
            <p:ph type="body" sz="quarter" idx="21" hasCustomPrompt="1"/>
          </p:nvPr>
        </p:nvSpPr>
        <p:spPr>
          <a:xfrm>
            <a:off x="6248400" y="1247776"/>
            <a:ext cx="2438400" cy="803273"/>
          </a:xfrm>
        </p:spPr>
        <p:txBody>
          <a:bodyPr tIns="0" bIns="0"/>
          <a:lstStyle>
            <a:lvl1pPr marL="0" indent="0">
              <a:lnSpc>
                <a:spcPct val="150000"/>
              </a:lnSpc>
              <a:buNone/>
              <a:defRPr sz="900" b="0" spc="0" baseline="0">
                <a:solidFill>
                  <a:schemeClr val="tx1"/>
                </a:solidFill>
              </a:defRPr>
            </a:lvl1pPr>
          </a:lstStyle>
          <a:p>
            <a:pPr lvl="0"/>
            <a:r>
              <a:rPr lang="en-US" dirty="0"/>
              <a:t>Enter text here</a:t>
            </a:r>
            <a:endParaRPr lang="en-GB" dirty="0"/>
          </a:p>
        </p:txBody>
      </p:sp>
      <p:sp>
        <p:nvSpPr>
          <p:cNvPr id="14" name="Text Placeholder 5"/>
          <p:cNvSpPr>
            <a:spLocks noGrp="1"/>
          </p:cNvSpPr>
          <p:nvPr>
            <p:ph type="body" sz="quarter" idx="22" hasCustomPrompt="1"/>
          </p:nvPr>
        </p:nvSpPr>
        <p:spPr>
          <a:xfrm>
            <a:off x="6248400" y="2757473"/>
            <a:ext cx="2438400" cy="339725"/>
          </a:xfrm>
        </p:spPr>
        <p:txBody>
          <a:bodyPr/>
          <a:lstStyle>
            <a:lvl1pPr marL="0" indent="0">
              <a:buNone/>
              <a:defRPr sz="1400" b="1" spc="0" baseline="0">
                <a:solidFill>
                  <a:schemeClr val="tx1"/>
                </a:solidFill>
              </a:defRPr>
            </a:lvl1pPr>
          </a:lstStyle>
          <a:p>
            <a:pPr lvl="0"/>
            <a:r>
              <a:rPr lang="en-US" dirty="0" err="1"/>
              <a:t>Firstname</a:t>
            </a:r>
            <a:r>
              <a:rPr lang="en-US" dirty="0"/>
              <a:t> </a:t>
            </a:r>
            <a:r>
              <a:rPr lang="en-US" dirty="0" err="1"/>
              <a:t>Lastname</a:t>
            </a:r>
            <a:endParaRPr lang="en-GB" dirty="0"/>
          </a:p>
        </p:txBody>
      </p:sp>
      <p:sp>
        <p:nvSpPr>
          <p:cNvPr id="15" name="Text Placeholder 5"/>
          <p:cNvSpPr>
            <a:spLocks noGrp="1"/>
          </p:cNvSpPr>
          <p:nvPr>
            <p:ph type="body" sz="quarter" idx="23" hasCustomPrompt="1"/>
          </p:nvPr>
        </p:nvSpPr>
        <p:spPr>
          <a:xfrm>
            <a:off x="6248400" y="3097199"/>
            <a:ext cx="2438400" cy="266700"/>
          </a:xfrm>
        </p:spPr>
        <p:txBody>
          <a:bodyPr/>
          <a:lstStyle>
            <a:lvl1pPr marL="0" indent="0">
              <a:buNone/>
              <a:defRPr sz="900" b="0" spc="0" baseline="0">
                <a:solidFill>
                  <a:schemeClr val="tx1"/>
                </a:solidFill>
              </a:defRPr>
            </a:lvl1pPr>
          </a:lstStyle>
          <a:p>
            <a:pPr lvl="0"/>
            <a:r>
              <a:rPr lang="en-US" dirty="0"/>
              <a:t>Title</a:t>
            </a:r>
            <a:endParaRPr lang="en-GB" dirty="0"/>
          </a:p>
        </p:txBody>
      </p:sp>
      <p:sp>
        <p:nvSpPr>
          <p:cNvPr id="16" name="Text Placeholder 5"/>
          <p:cNvSpPr>
            <a:spLocks noGrp="1"/>
          </p:cNvSpPr>
          <p:nvPr>
            <p:ph type="body" sz="quarter" idx="24" hasCustomPrompt="1"/>
          </p:nvPr>
        </p:nvSpPr>
        <p:spPr>
          <a:xfrm>
            <a:off x="6248400" y="3363899"/>
            <a:ext cx="2438400" cy="803273"/>
          </a:xfrm>
        </p:spPr>
        <p:txBody>
          <a:bodyPr tIns="0" bIns="0"/>
          <a:lstStyle>
            <a:lvl1pPr marL="0" indent="0">
              <a:lnSpc>
                <a:spcPct val="150000"/>
              </a:lnSpc>
              <a:buNone/>
              <a:defRPr sz="900" b="0" spc="0" baseline="0">
                <a:solidFill>
                  <a:schemeClr val="tx1"/>
                </a:solidFill>
              </a:defRPr>
            </a:lvl1pPr>
          </a:lstStyle>
          <a:p>
            <a:pPr lvl="0"/>
            <a:r>
              <a:rPr lang="en-US" dirty="0"/>
              <a:t>Enter text here</a:t>
            </a:r>
            <a:endParaRPr lang="en-GB" dirty="0"/>
          </a:p>
        </p:txBody>
      </p:sp>
      <p:sp>
        <p:nvSpPr>
          <p:cNvPr id="17" name="Text Placeholder 3"/>
          <p:cNvSpPr>
            <a:spLocks noGrp="1"/>
          </p:cNvSpPr>
          <p:nvPr>
            <p:ph type="body" sz="quarter" idx="25"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CD499B4D-93D3-AD3E-565C-238A910C1F8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8316435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_4">
    <p:bg>
      <p:bgPr>
        <a:solidFill>
          <a:srgbClr val="FFFFFF"/>
        </a:solidFill>
        <a:effectLst/>
      </p:bgPr>
    </p:bg>
    <p:spTree>
      <p:nvGrpSpPr>
        <p:cNvPr id="1" name=""/>
        <p:cNvGrpSpPr/>
        <p:nvPr/>
      </p:nvGrpSpPr>
      <p:grpSpPr>
        <a:xfrm>
          <a:off x="0" y="0"/>
          <a:ext cx="0" cy="0"/>
          <a:chOff x="0" y="0"/>
          <a:chExt cx="0" cy="0"/>
        </a:xfrm>
      </p:grpSpPr>
      <p:sp>
        <p:nvSpPr>
          <p:cNvPr id="8" name="Picture Placeholder 2"/>
          <p:cNvSpPr>
            <a:spLocks noGrp="1"/>
          </p:cNvSpPr>
          <p:nvPr>
            <p:ph type="pic" sz="quarter" idx="17"/>
          </p:nvPr>
        </p:nvSpPr>
        <p:spPr>
          <a:xfrm>
            <a:off x="478382" y="1350140"/>
            <a:ext cx="1146068" cy="1146068"/>
          </a:xfrm>
          <a:prstGeom prst="ellipse">
            <a:avLst/>
          </a:prstGeom>
          <a:solidFill>
            <a:schemeClr val="accent1"/>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dirty="0"/>
              <a:t>Click icon to add picture</a:t>
            </a:r>
            <a:endParaRPr lang="id-ID" dirty="0"/>
          </a:p>
        </p:txBody>
      </p:sp>
      <p:sp>
        <p:nvSpPr>
          <p:cNvPr id="9" name="Picture Placeholder 2"/>
          <p:cNvSpPr>
            <a:spLocks noGrp="1"/>
          </p:cNvSpPr>
          <p:nvPr>
            <p:ph type="pic" sz="quarter" idx="18"/>
          </p:nvPr>
        </p:nvSpPr>
        <p:spPr>
          <a:xfrm>
            <a:off x="2549739" y="1350140"/>
            <a:ext cx="1146068" cy="1146068"/>
          </a:xfrm>
          <a:prstGeom prst="ellipse">
            <a:avLst/>
          </a:prstGeom>
          <a:solidFill>
            <a:schemeClr val="accent1"/>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1" name="Picture Placeholder 2"/>
          <p:cNvSpPr>
            <a:spLocks noGrp="1"/>
          </p:cNvSpPr>
          <p:nvPr>
            <p:ph type="pic" sz="quarter" idx="19"/>
          </p:nvPr>
        </p:nvSpPr>
        <p:spPr>
          <a:xfrm>
            <a:off x="4576131" y="1350140"/>
            <a:ext cx="1146068" cy="1146068"/>
          </a:xfrm>
          <a:prstGeom prst="ellipse">
            <a:avLst/>
          </a:prstGeom>
          <a:solidFill>
            <a:schemeClr val="accent1"/>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3" name="Picture Placeholder 2"/>
          <p:cNvSpPr>
            <a:spLocks noGrp="1"/>
          </p:cNvSpPr>
          <p:nvPr>
            <p:ph type="pic" sz="quarter" idx="20"/>
          </p:nvPr>
        </p:nvSpPr>
        <p:spPr>
          <a:xfrm>
            <a:off x="6602520" y="1350140"/>
            <a:ext cx="1146068" cy="1146068"/>
          </a:xfrm>
          <a:prstGeom prst="ellipse">
            <a:avLst/>
          </a:prstGeom>
          <a:solidFill>
            <a:schemeClr val="accent1"/>
          </a:solidFill>
        </p:spPr>
        <p:txBody>
          <a:bodyPr anchor="ctr">
            <a:normAutofit/>
          </a:bodyPr>
          <a:lstStyle>
            <a:lvl1pPr marL="0" indent="0" algn="ctr">
              <a:buNone/>
              <a:defRPr sz="1350">
                <a:gradFill>
                  <a:gsLst>
                    <a:gs pos="2419">
                      <a:schemeClr val="bg1"/>
                    </a:gs>
                    <a:gs pos="8000">
                      <a:schemeClr val="bg1"/>
                    </a:gs>
                  </a:gsLst>
                  <a:lin ang="5400000" scaled="0"/>
                </a:gradFill>
              </a:defRPr>
            </a:lvl1pPr>
          </a:lstStyle>
          <a:p>
            <a:r>
              <a:rPr lang="en-US"/>
              <a:t>Click icon to add picture</a:t>
            </a:r>
            <a:endParaRPr lang="id-ID"/>
          </a:p>
        </p:txBody>
      </p:sp>
      <p:sp>
        <p:nvSpPr>
          <p:cNvPr id="14" name="Text Placeholder 10"/>
          <p:cNvSpPr>
            <a:spLocks noGrp="1"/>
          </p:cNvSpPr>
          <p:nvPr>
            <p:ph type="body" sz="quarter" idx="21" hasCustomPrompt="1"/>
          </p:nvPr>
        </p:nvSpPr>
        <p:spPr>
          <a:xfrm>
            <a:off x="478382"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5" name="Text Placeholder 10"/>
          <p:cNvSpPr>
            <a:spLocks noGrp="1"/>
          </p:cNvSpPr>
          <p:nvPr>
            <p:ph type="body" sz="quarter" idx="22"/>
          </p:nvPr>
        </p:nvSpPr>
        <p:spPr>
          <a:xfrm>
            <a:off x="478382"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 Master text styles</a:t>
            </a:r>
          </a:p>
        </p:txBody>
      </p:sp>
      <p:sp>
        <p:nvSpPr>
          <p:cNvPr id="18" name="Text Placeholder 10"/>
          <p:cNvSpPr>
            <a:spLocks noGrp="1"/>
          </p:cNvSpPr>
          <p:nvPr>
            <p:ph type="body" sz="quarter" idx="23" hasCustomPrompt="1"/>
          </p:nvPr>
        </p:nvSpPr>
        <p:spPr>
          <a:xfrm>
            <a:off x="2549739"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19" name="Text Placeholder 10"/>
          <p:cNvSpPr>
            <a:spLocks noGrp="1"/>
          </p:cNvSpPr>
          <p:nvPr>
            <p:ph type="body" sz="quarter" idx="24"/>
          </p:nvPr>
        </p:nvSpPr>
        <p:spPr>
          <a:xfrm>
            <a:off x="2549739"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0" name="Text Placeholder 10"/>
          <p:cNvSpPr>
            <a:spLocks noGrp="1"/>
          </p:cNvSpPr>
          <p:nvPr>
            <p:ph type="body" sz="quarter" idx="25" hasCustomPrompt="1"/>
          </p:nvPr>
        </p:nvSpPr>
        <p:spPr>
          <a:xfrm>
            <a:off x="4576131"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1" name="Text Placeholder 10"/>
          <p:cNvSpPr>
            <a:spLocks noGrp="1"/>
          </p:cNvSpPr>
          <p:nvPr>
            <p:ph type="body" sz="quarter" idx="26"/>
          </p:nvPr>
        </p:nvSpPr>
        <p:spPr>
          <a:xfrm>
            <a:off x="4576131"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2" name="Text Placeholder 10"/>
          <p:cNvSpPr>
            <a:spLocks noGrp="1"/>
          </p:cNvSpPr>
          <p:nvPr>
            <p:ph type="body" sz="quarter" idx="27" hasCustomPrompt="1"/>
          </p:nvPr>
        </p:nvSpPr>
        <p:spPr>
          <a:xfrm>
            <a:off x="6602520" y="2712043"/>
            <a:ext cx="1575711" cy="215359"/>
          </a:xfrm>
          <a:prstGeom prst="rect">
            <a:avLst/>
          </a:prstGeom>
        </p:spPr>
        <p:txBody>
          <a:bodyPr lIns="0" tIns="0" rIns="0" bIns="0">
            <a:noAutofit/>
          </a:bodyPr>
          <a:lstStyle>
            <a:lvl1pPr marL="0" indent="0" algn="l">
              <a:buNone/>
              <a:defRPr sz="1200" b="1" spc="0" baseline="0">
                <a:solidFill>
                  <a:schemeClr val="tx1"/>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dirty="0"/>
              <a:t>Click to edit</a:t>
            </a:r>
          </a:p>
        </p:txBody>
      </p:sp>
      <p:sp>
        <p:nvSpPr>
          <p:cNvPr id="23" name="Text Placeholder 10"/>
          <p:cNvSpPr>
            <a:spLocks noGrp="1"/>
          </p:cNvSpPr>
          <p:nvPr>
            <p:ph type="body" sz="quarter" idx="28"/>
          </p:nvPr>
        </p:nvSpPr>
        <p:spPr>
          <a:xfrm>
            <a:off x="6602520" y="2945323"/>
            <a:ext cx="1575714" cy="1207577"/>
          </a:xfrm>
          <a:prstGeom prst="rect">
            <a:avLst/>
          </a:prstGeom>
        </p:spPr>
        <p:txBody>
          <a:bodyPr lIns="0" tIns="0" rIns="0" bIns="0">
            <a:noAutofit/>
          </a:bodyPr>
          <a:lstStyle>
            <a:lvl1pPr marL="0" indent="0" algn="l">
              <a:lnSpc>
                <a:spcPct val="150000"/>
              </a:lnSpc>
              <a:buNone/>
              <a:defRPr sz="900" i="0" spc="0" baseline="0">
                <a:solidFill>
                  <a:schemeClr val="accent5"/>
                </a:solidFill>
                <a:latin typeface="Arial" panose="020B0604020202020204" pitchFamily="34" charset="0"/>
                <a:cs typeface="Arial" panose="020B0604020202020204" pitchFamily="34" charset="0"/>
              </a:defRPr>
            </a:lvl1pPr>
            <a:lvl2pPr marL="257168" indent="0">
              <a:buNone/>
              <a:defRPr sz="675"/>
            </a:lvl2pPr>
            <a:lvl3pPr marL="514337" indent="0">
              <a:buNone/>
              <a:defRPr sz="675"/>
            </a:lvl3pPr>
            <a:lvl4pPr marL="771506" indent="0">
              <a:buNone/>
              <a:defRPr sz="675"/>
            </a:lvl4pPr>
            <a:lvl5pPr marL="1028675" indent="0">
              <a:buNone/>
              <a:defRPr sz="675"/>
            </a:lvl5pPr>
          </a:lstStyle>
          <a:p>
            <a:pPr lvl="0"/>
            <a:r>
              <a:rPr lang="en-US"/>
              <a:t>Click to edit Master text styles</a:t>
            </a:r>
          </a:p>
        </p:txBody>
      </p:sp>
      <p:sp>
        <p:nvSpPr>
          <p:cNvPr id="24" name="Text Placeholder 10"/>
          <p:cNvSpPr>
            <a:spLocks noGrp="1"/>
          </p:cNvSpPr>
          <p:nvPr>
            <p:ph type="body" sz="quarter" idx="14" hasCustomPrompt="1"/>
          </p:nvPr>
        </p:nvSpPr>
        <p:spPr>
          <a:xfrm>
            <a:off x="457200" y="444732"/>
            <a:ext cx="8229600" cy="337614"/>
          </a:xfrm>
        </p:spPr>
        <p:txBody>
          <a:bodyPr vert="horz" wrap="square" lIns="0" tIns="0" rIns="0" bIns="0" rtlCol="0">
            <a:noAutofit/>
          </a:bodyPr>
          <a:lstStyle>
            <a:lvl1pPr marL="285750" indent="-285750">
              <a:buFont typeface="Arial" panose="020B0604020202020204" pitchFamily="34" charset="0"/>
              <a:buNone/>
              <a:defRPr lang="en-US" sz="2400" b="1" kern="0" spc="-7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pPr marL="0" lvl="0" indent="0" algn="l" defTabSz="914400" rtl="0" eaLnBrk="1" latinLnBrk="0" hangingPunct="1">
              <a:lnSpc>
                <a:spcPct val="90000"/>
              </a:lnSpc>
              <a:spcBef>
                <a:spcPts val="1200"/>
              </a:spcBef>
              <a:buClr>
                <a:srgbClr val="0072C8"/>
              </a:buClr>
              <a:buSzPct val="110000"/>
              <a:buFont typeface="Arial" panose="020B0604020202020204" pitchFamily="34" charset="0"/>
              <a:buNone/>
            </a:pPr>
            <a:r>
              <a:rPr lang="en-US" dirty="0"/>
              <a:t>Insert slide title here</a:t>
            </a:r>
          </a:p>
        </p:txBody>
      </p:sp>
      <p:sp>
        <p:nvSpPr>
          <p:cNvPr id="16" name="Text Placeholder 3"/>
          <p:cNvSpPr>
            <a:spLocks noGrp="1"/>
          </p:cNvSpPr>
          <p:nvPr>
            <p:ph type="body" sz="quarter" idx="29"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5F71E103-34FC-C973-CEED-818CAED70B2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7948833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tro_bio">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57200" y="438150"/>
            <a:ext cx="1900238" cy="1866900"/>
          </a:xfrm>
          <a:solidFill>
            <a:schemeClr val="accent1"/>
          </a:solidFill>
        </p:spPr>
        <p:txBody>
          <a:bodyPr vert="horz" wrap="square" lIns="0" tIns="1005840" rIns="0" bIns="45720" rtlCol="0" anchor="ctr">
            <a:noAutofit/>
          </a:bodyPr>
          <a:lstStyle>
            <a:lvl1pPr marL="0" indent="0" algn="ctr">
              <a:buNone/>
              <a:defRPr lang="en-GB" dirty="0">
                <a:solidFill>
                  <a:schemeClr val="bg1"/>
                </a:solidFill>
              </a:defRPr>
            </a:lvl1pPr>
          </a:lstStyle>
          <a:p>
            <a:pPr marL="173038" lvl="0" indent="-173038" algn="ctr"/>
            <a:r>
              <a:rPr lang="en-US" dirty="0"/>
              <a:t>Click icon to add picture</a:t>
            </a:r>
          </a:p>
          <a:p>
            <a:pPr marL="173038" lvl="0" indent="-173038" algn="ctr"/>
            <a:endParaRPr lang="en-GB" dirty="0"/>
          </a:p>
        </p:txBody>
      </p:sp>
      <p:sp>
        <p:nvSpPr>
          <p:cNvPr id="4"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E135E4BC-F737-F898-56CB-B286DF63667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8011360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lank">
    <p:bg>
      <p:bgPr>
        <a:solidFill>
          <a:srgbClr val="FFFFFF"/>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accent5"/>
                </a:solidFill>
              </a:defRPr>
            </a:lvl1pPr>
          </a:lstStyle>
          <a:p>
            <a:pPr lvl="0"/>
            <a:r>
              <a:rPr lang="en-US" dirty="0"/>
              <a:t>Optional small text </a:t>
            </a:r>
            <a:endParaRPr lang="en-GB" dirty="0"/>
          </a:p>
        </p:txBody>
      </p:sp>
      <p:pic>
        <p:nvPicPr>
          <p:cNvPr id="3" name="Picture 2" descr="A picture containing logo&#10;&#10;Description automatically generated">
            <a:extLst>
              <a:ext uri="{FF2B5EF4-FFF2-40B4-BE49-F238E27FC236}">
                <a16:creationId xmlns:a16="http://schemas.microsoft.com/office/drawing/2014/main" id="{5BEA37DA-0617-58C8-7F8B-CBE35C6D5C0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1885109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_gray">
    <p:bg>
      <p:bgPr>
        <a:solidFill>
          <a:schemeClr val="bg2"/>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picture containing logo&#10;&#10;Description automatically generated">
            <a:extLst>
              <a:ext uri="{FF2B5EF4-FFF2-40B4-BE49-F238E27FC236}">
                <a16:creationId xmlns:a16="http://schemas.microsoft.com/office/drawing/2014/main" id="{8529DE0E-848E-2426-0676-117DB2B261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8912388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_dark">
    <p:bg>
      <p:bgPr>
        <a:solidFill>
          <a:srgbClr val="2B6FAB"/>
        </a:solidFill>
        <a:effectLst/>
      </p:bgPr>
    </p:bg>
    <p:spTree>
      <p:nvGrpSpPr>
        <p:cNvPr id="1" name=""/>
        <p:cNvGrpSpPr/>
        <p:nvPr/>
      </p:nvGrpSpPr>
      <p:grpSpPr>
        <a:xfrm>
          <a:off x="0" y="0"/>
          <a:ext cx="0" cy="0"/>
          <a:chOff x="0" y="0"/>
          <a:chExt cx="0" cy="0"/>
        </a:xfrm>
      </p:grpSpPr>
      <p:sp>
        <p:nvSpPr>
          <p:cNvPr id="2" name="Text Placeholder 3"/>
          <p:cNvSpPr>
            <a:spLocks noGrp="1"/>
          </p:cNvSpPr>
          <p:nvPr>
            <p:ph type="body" sz="quarter" idx="17" hasCustomPrompt="1"/>
          </p:nvPr>
        </p:nvSpPr>
        <p:spPr>
          <a:xfrm>
            <a:off x="466725" y="4598894"/>
            <a:ext cx="1823085" cy="110938"/>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3" name="Picture 2" descr="A picture containing logo&#10;&#10;Description automatically generated">
            <a:extLst>
              <a:ext uri="{FF2B5EF4-FFF2-40B4-BE49-F238E27FC236}">
                <a16:creationId xmlns:a16="http://schemas.microsoft.com/office/drawing/2014/main" id="{65F7ABFF-241B-CE08-0E0F-2AA3E115BC1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7605275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roject Snapshot">
    <p:bg>
      <p:bgPr>
        <a:solidFill>
          <a:srgbClr val="FFFFFF"/>
        </a:solidFill>
        <a:effectLst/>
      </p:bgPr>
    </p:bg>
    <p:spTree>
      <p:nvGrpSpPr>
        <p:cNvPr id="1" name=""/>
        <p:cNvGrpSpPr/>
        <p:nvPr/>
      </p:nvGrpSpPr>
      <p:grpSpPr>
        <a:xfrm>
          <a:off x="0" y="0"/>
          <a:ext cx="0" cy="0"/>
          <a:chOff x="0" y="0"/>
          <a:chExt cx="0" cy="0"/>
        </a:xfrm>
      </p:grpSpPr>
      <p:sp>
        <p:nvSpPr>
          <p:cNvPr id="4" name="Text Placeholder 7"/>
          <p:cNvSpPr>
            <a:spLocks noGrp="1"/>
          </p:cNvSpPr>
          <p:nvPr>
            <p:ph type="body" sz="quarter" idx="11" hasCustomPrompt="1"/>
          </p:nvPr>
        </p:nvSpPr>
        <p:spPr>
          <a:xfrm>
            <a:off x="464493" y="1066800"/>
            <a:ext cx="6336357" cy="730250"/>
          </a:xfrm>
        </p:spPr>
        <p:txBody>
          <a:bodyPr tIns="0" bIns="0" anchor="t"/>
          <a:lstStyle>
            <a:lvl1pPr marL="0" indent="0" algn="l" defTabSz="914400" rtl="0" eaLnBrk="1" latinLnBrk="0" hangingPunct="1">
              <a:lnSpc>
                <a:spcPct val="90000"/>
              </a:lnSpc>
              <a:spcBef>
                <a:spcPct val="0"/>
              </a:spcBef>
              <a:buNone/>
              <a:defRPr lang="en-US" sz="24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wo lines of text</a:t>
            </a:r>
          </a:p>
        </p:txBody>
      </p:sp>
      <p:sp>
        <p:nvSpPr>
          <p:cNvPr id="6" name="Text Placeholder 4"/>
          <p:cNvSpPr>
            <a:spLocks noGrp="1"/>
          </p:cNvSpPr>
          <p:nvPr>
            <p:ph type="body" sz="quarter" idx="33" hasCustomPrompt="1"/>
          </p:nvPr>
        </p:nvSpPr>
        <p:spPr>
          <a:xfrm>
            <a:off x="464494" y="1819247"/>
            <a:ext cx="6336356" cy="223556"/>
          </a:xfrm>
        </p:spPr>
        <p:txBody>
          <a:bodyPr tIns="0"/>
          <a:lstStyle>
            <a:lvl1pPr marL="0" indent="0">
              <a:lnSpc>
                <a:spcPct val="120000"/>
              </a:lnSpc>
              <a:buNone/>
              <a:defRPr lang="en-US" sz="1100" kern="1200" spc="0" baseline="0" dirty="0" smtClean="0">
                <a:solidFill>
                  <a:schemeClr val="accent1"/>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Enter text here</a:t>
            </a:r>
          </a:p>
        </p:txBody>
      </p:sp>
      <p:sp>
        <p:nvSpPr>
          <p:cNvPr id="13" name="Text Placeholder 12"/>
          <p:cNvSpPr>
            <a:spLocks noGrp="1"/>
          </p:cNvSpPr>
          <p:nvPr>
            <p:ph type="body" sz="quarter" idx="34" hasCustomPrompt="1"/>
          </p:nvPr>
        </p:nvSpPr>
        <p:spPr>
          <a:xfrm>
            <a:off x="4651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hy</a:t>
            </a:r>
            <a:endParaRPr lang="en-GB" dirty="0"/>
          </a:p>
        </p:txBody>
      </p:sp>
      <p:sp>
        <p:nvSpPr>
          <p:cNvPr id="14" name="Text Placeholder 12"/>
          <p:cNvSpPr>
            <a:spLocks noGrp="1"/>
          </p:cNvSpPr>
          <p:nvPr>
            <p:ph type="body" sz="quarter" idx="35" hasCustomPrompt="1"/>
          </p:nvPr>
        </p:nvSpPr>
        <p:spPr>
          <a:xfrm>
            <a:off x="339883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hat</a:t>
            </a:r>
            <a:endParaRPr lang="en-GB" dirty="0"/>
          </a:p>
        </p:txBody>
      </p:sp>
      <p:sp>
        <p:nvSpPr>
          <p:cNvPr id="15" name="Text Placeholder 12"/>
          <p:cNvSpPr>
            <a:spLocks noGrp="1"/>
          </p:cNvSpPr>
          <p:nvPr>
            <p:ph type="body" sz="quarter" idx="36" hasCustomPrompt="1"/>
          </p:nvPr>
        </p:nvSpPr>
        <p:spPr>
          <a:xfrm>
            <a:off x="6231818" y="2387600"/>
            <a:ext cx="2058987" cy="203200"/>
          </a:xfrm>
        </p:spPr>
        <p:txBody>
          <a:bodyPr/>
          <a:lstStyle>
            <a:lvl1pPr marL="0" indent="0" algn="l" defTabSz="914400" rtl="0" eaLnBrk="1" latinLnBrk="0" hangingPunct="1">
              <a:lnSpc>
                <a:spcPct val="90000"/>
              </a:lnSpc>
              <a:spcBef>
                <a:spcPts val="1200"/>
              </a:spcBef>
              <a:buClr>
                <a:schemeClr val="accent2"/>
              </a:buClr>
              <a:buSzPct val="110000"/>
              <a:buNone/>
              <a:defRPr lang="en-GB" sz="1400" b="1" kern="1200" dirty="0">
                <a:solidFill>
                  <a:schemeClr val="accent3"/>
                </a:solidFill>
                <a:latin typeface="Arial" panose="020B0604020202020204" pitchFamily="34" charset="0"/>
                <a:ea typeface="+mn-ea"/>
                <a:cs typeface="Arial" panose="020B0604020202020204" pitchFamily="34" charset="0"/>
              </a:defRPr>
            </a:lvl1pPr>
          </a:lstStyle>
          <a:p>
            <a:pPr lvl="0"/>
            <a:r>
              <a:rPr lang="en-US" dirty="0"/>
              <a:t>Wow</a:t>
            </a:r>
            <a:endParaRPr lang="en-GB" dirty="0"/>
          </a:p>
        </p:txBody>
      </p:sp>
      <p:sp>
        <p:nvSpPr>
          <p:cNvPr id="16" name="Text Placeholder 12"/>
          <p:cNvSpPr>
            <a:spLocks noGrp="1"/>
          </p:cNvSpPr>
          <p:nvPr>
            <p:ph type="body" sz="quarter" idx="37" hasCustomPrompt="1"/>
          </p:nvPr>
        </p:nvSpPr>
        <p:spPr>
          <a:xfrm>
            <a:off x="4651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sp>
        <p:nvSpPr>
          <p:cNvPr id="17" name="Text Placeholder 12"/>
          <p:cNvSpPr>
            <a:spLocks noGrp="1"/>
          </p:cNvSpPr>
          <p:nvPr>
            <p:ph type="body" sz="quarter" idx="38" hasCustomPrompt="1"/>
          </p:nvPr>
        </p:nvSpPr>
        <p:spPr>
          <a:xfrm>
            <a:off x="339883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sp>
        <p:nvSpPr>
          <p:cNvPr id="18" name="Text Placeholder 12"/>
          <p:cNvSpPr>
            <a:spLocks noGrp="1"/>
          </p:cNvSpPr>
          <p:nvPr>
            <p:ph type="body" sz="quarter" idx="39" hasCustomPrompt="1"/>
          </p:nvPr>
        </p:nvSpPr>
        <p:spPr>
          <a:xfrm>
            <a:off x="6231818" y="2675246"/>
            <a:ext cx="2454982" cy="1630054"/>
          </a:xfrm>
        </p:spPr>
        <p:txBody>
          <a:bodyPr/>
          <a:lstStyle>
            <a:lvl1pPr marL="0" indent="0" algn="l" defTabSz="914400" rtl="0" eaLnBrk="1" latinLnBrk="0" hangingPunct="1">
              <a:lnSpc>
                <a:spcPct val="120000"/>
              </a:lnSpc>
              <a:spcBef>
                <a:spcPts val="0"/>
              </a:spcBef>
              <a:spcAft>
                <a:spcPts val="600"/>
              </a:spcAft>
              <a:buClr>
                <a:schemeClr val="accent2"/>
              </a:buClr>
              <a:buSzPct val="110000"/>
              <a:buNone/>
              <a:defRPr lang="en-GB" sz="900" kern="1200" dirty="0">
                <a:solidFill>
                  <a:schemeClr val="accent1"/>
                </a:solidFill>
                <a:latin typeface="+mn-lt"/>
                <a:ea typeface="+mn-ea"/>
                <a:cs typeface="+mn-cs"/>
              </a:defRPr>
            </a:lvl1pPr>
          </a:lstStyle>
          <a:p>
            <a:pPr lvl="0"/>
            <a:r>
              <a:rPr lang="en-US" dirty="0"/>
              <a:t>Enter text here</a:t>
            </a:r>
            <a:endParaRPr lang="en-GB" dirty="0"/>
          </a:p>
        </p:txBody>
      </p:sp>
      <p:pic>
        <p:nvPicPr>
          <p:cNvPr id="2" name="Picture 1" descr="A picture containing logo&#10;&#10;Description automatically generated">
            <a:extLst>
              <a:ext uri="{FF2B5EF4-FFF2-40B4-BE49-F238E27FC236}">
                <a16:creationId xmlns:a16="http://schemas.microsoft.com/office/drawing/2014/main" id="{CE648D30-2A3F-9735-8580-771BAC548F3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9282642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ory_metrics">
    <p:bg>
      <p:bgPr>
        <a:solidFill>
          <a:srgbClr val="FFFFFF"/>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28" hasCustomPrompt="1"/>
          </p:nvPr>
        </p:nvSpPr>
        <p:spPr>
          <a:xfrm>
            <a:off x="4572001" y="1108301"/>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25" name="Text Placeholder 6"/>
          <p:cNvSpPr>
            <a:spLocks noGrp="1"/>
          </p:cNvSpPr>
          <p:nvPr>
            <p:ph type="body" sz="quarter" idx="29" hasCustomPrompt="1"/>
          </p:nvPr>
        </p:nvSpPr>
        <p:spPr>
          <a:xfrm>
            <a:off x="5961059" y="676937"/>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B</a:t>
            </a:r>
          </a:p>
        </p:txBody>
      </p:sp>
      <p:sp>
        <p:nvSpPr>
          <p:cNvPr id="26" name="Text Placeholder 10"/>
          <p:cNvSpPr>
            <a:spLocks noGrp="1"/>
          </p:cNvSpPr>
          <p:nvPr>
            <p:ph type="body" sz="quarter" idx="30" hasCustomPrompt="1"/>
          </p:nvPr>
        </p:nvSpPr>
        <p:spPr>
          <a:xfrm>
            <a:off x="5961059" y="1108301"/>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27" name="Text Placeholder 6"/>
          <p:cNvSpPr>
            <a:spLocks noGrp="1"/>
          </p:cNvSpPr>
          <p:nvPr>
            <p:ph type="body" sz="quarter" idx="31" hasCustomPrompt="1"/>
          </p:nvPr>
        </p:nvSpPr>
        <p:spPr>
          <a:xfrm>
            <a:off x="7350117" y="676937"/>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00</a:t>
            </a:r>
          </a:p>
        </p:txBody>
      </p:sp>
      <p:sp>
        <p:nvSpPr>
          <p:cNvPr id="28" name="Text Placeholder 10"/>
          <p:cNvSpPr>
            <a:spLocks noGrp="1"/>
          </p:cNvSpPr>
          <p:nvPr>
            <p:ph type="body" sz="quarter" idx="32" hasCustomPrompt="1"/>
          </p:nvPr>
        </p:nvSpPr>
        <p:spPr>
          <a:xfrm>
            <a:off x="7350117" y="1108301"/>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7" name="Text Placeholder 6"/>
          <p:cNvSpPr>
            <a:spLocks noGrp="1"/>
          </p:cNvSpPr>
          <p:nvPr>
            <p:ph type="body" sz="quarter" idx="27" hasCustomPrompt="1"/>
          </p:nvPr>
        </p:nvSpPr>
        <p:spPr>
          <a:xfrm>
            <a:off x="4572001" y="676937"/>
            <a:ext cx="1118877" cy="376238"/>
          </a:xfrm>
        </p:spPr>
        <p:txBody>
          <a:bodyPr vert="horz" wrap="square" lIns="0" tIns="0" rIns="0" bIns="0" rtlCol="0" anchor="t">
            <a:noAutofit/>
          </a:bodyPr>
          <a:lstStyle>
            <a:lvl1pPr marL="0" indent="0">
              <a:buNone/>
              <a:defRPr lang="en-US" sz="2800" b="1" kern="0" spc="-150" dirty="0">
                <a:solidFill>
                  <a:schemeClr val="accent3"/>
                </a:solidFill>
                <a:latin typeface="+mj-lt"/>
                <a:ea typeface="Roboto Medium" panose="02000000000000000000" pitchFamily="2" charset="0"/>
              </a:defRPr>
            </a:lvl1pPr>
          </a:lstStyle>
          <a:p>
            <a:pPr marL="173038" lvl="0" indent="-173038">
              <a:lnSpc>
                <a:spcPct val="90000"/>
              </a:lnSpc>
              <a:spcBef>
                <a:spcPct val="0"/>
              </a:spcBef>
            </a:pPr>
            <a:r>
              <a:rPr lang="en-US" dirty="0"/>
              <a:t>1,000</a:t>
            </a:r>
          </a:p>
        </p:txBody>
      </p:sp>
      <p:sp>
        <p:nvSpPr>
          <p:cNvPr id="29" name="Text Placeholder 3"/>
          <p:cNvSpPr>
            <a:spLocks noGrp="1"/>
          </p:cNvSpPr>
          <p:nvPr>
            <p:ph type="body" sz="quarter" idx="26" hasCustomPrompt="1"/>
          </p:nvPr>
        </p:nvSpPr>
        <p:spPr>
          <a:xfrm>
            <a:off x="4572000"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Contact: Enter name</a:t>
            </a:r>
          </a:p>
        </p:txBody>
      </p:sp>
      <p:sp>
        <p:nvSpPr>
          <p:cNvPr id="39" name="Text Placeholder 10"/>
          <p:cNvSpPr>
            <a:spLocks noGrp="1"/>
          </p:cNvSpPr>
          <p:nvPr>
            <p:ph type="body" sz="quarter" idx="34" hasCustomPrompt="1"/>
          </p:nvPr>
        </p:nvSpPr>
        <p:spPr>
          <a:xfrm>
            <a:off x="4572000" y="2064881"/>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0" name="Text Placeholder 6"/>
          <p:cNvSpPr>
            <a:spLocks noGrp="1"/>
          </p:cNvSpPr>
          <p:nvPr>
            <p:ph type="body" sz="quarter" idx="35" hasCustomPrompt="1"/>
          </p:nvPr>
        </p:nvSpPr>
        <p:spPr>
          <a:xfrm>
            <a:off x="4572000" y="1855310"/>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1" name="Text Placeholder 10"/>
          <p:cNvSpPr>
            <a:spLocks noGrp="1"/>
          </p:cNvSpPr>
          <p:nvPr>
            <p:ph type="body" sz="quarter" idx="36" hasCustomPrompt="1"/>
          </p:nvPr>
        </p:nvSpPr>
        <p:spPr>
          <a:xfrm>
            <a:off x="7350117" y="205808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2" name="Text Placeholder 6"/>
          <p:cNvSpPr>
            <a:spLocks noGrp="1"/>
          </p:cNvSpPr>
          <p:nvPr>
            <p:ph type="body" sz="quarter" idx="37" hasCustomPrompt="1"/>
          </p:nvPr>
        </p:nvSpPr>
        <p:spPr>
          <a:xfrm>
            <a:off x="7350117" y="1848513"/>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3" name="Text Placeholder 10"/>
          <p:cNvSpPr>
            <a:spLocks noGrp="1"/>
          </p:cNvSpPr>
          <p:nvPr>
            <p:ph type="body" sz="quarter" idx="38" hasCustomPrompt="1"/>
          </p:nvPr>
        </p:nvSpPr>
        <p:spPr>
          <a:xfrm>
            <a:off x="4572000" y="3184216"/>
            <a:ext cx="2349182" cy="812189"/>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4" name="Text Placeholder 6"/>
          <p:cNvSpPr>
            <a:spLocks noGrp="1"/>
          </p:cNvSpPr>
          <p:nvPr>
            <p:ph type="body" sz="quarter" idx="39" hasCustomPrompt="1"/>
          </p:nvPr>
        </p:nvSpPr>
        <p:spPr>
          <a:xfrm>
            <a:off x="4572000" y="2974645"/>
            <a:ext cx="2349182"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5" name="Text Placeholder 10"/>
          <p:cNvSpPr>
            <a:spLocks noGrp="1"/>
          </p:cNvSpPr>
          <p:nvPr>
            <p:ph type="body" sz="quarter" idx="40" hasCustomPrompt="1"/>
          </p:nvPr>
        </p:nvSpPr>
        <p:spPr>
          <a:xfrm>
            <a:off x="7350117" y="2669876"/>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6" name="Text Placeholder 6"/>
          <p:cNvSpPr>
            <a:spLocks noGrp="1"/>
          </p:cNvSpPr>
          <p:nvPr>
            <p:ph type="body" sz="quarter" idx="41" hasCustomPrompt="1"/>
          </p:nvPr>
        </p:nvSpPr>
        <p:spPr>
          <a:xfrm>
            <a:off x="7350117" y="2460304"/>
            <a:ext cx="1118877" cy="202076"/>
          </a:xfrm>
        </p:spPr>
        <p:txBody>
          <a:bodyPr vert="horz" wrap="square" lIns="0" tIns="0" rIns="0" bIns="0" rtlCol="0" anchor="t">
            <a:noAutofit/>
          </a:bodyPr>
          <a:lstStyle>
            <a:lvl1pPr marL="0" indent="0">
              <a:buNone/>
              <a:defRPr lang="en-US" sz="1200" b="1" kern="0" spc="-50" baseline="0" dirty="0">
                <a:solidFill>
                  <a:schemeClr val="accent1"/>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19" name="Text Placeholder 4"/>
          <p:cNvSpPr>
            <a:spLocks noGrp="1"/>
          </p:cNvSpPr>
          <p:nvPr>
            <p:ph type="body" sz="quarter" idx="33"/>
          </p:nvPr>
        </p:nvSpPr>
        <p:spPr>
          <a:xfrm>
            <a:off x="464494" y="1738594"/>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sp>
        <p:nvSpPr>
          <p:cNvPr id="20" name="Text Placeholder 7"/>
          <p:cNvSpPr>
            <a:spLocks noGrp="1"/>
          </p:cNvSpPr>
          <p:nvPr>
            <p:ph type="body" sz="quarter" idx="11" hasCustomPrompt="1"/>
          </p:nvPr>
        </p:nvSpPr>
        <p:spPr>
          <a:xfrm>
            <a:off x="464493" y="438150"/>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hree lines of text</a:t>
            </a:r>
          </a:p>
        </p:txBody>
      </p:sp>
      <p:pic>
        <p:nvPicPr>
          <p:cNvPr id="2" name="Picture 1" descr="A picture containing logo&#10;&#10;Description automatically generated">
            <a:extLst>
              <a:ext uri="{FF2B5EF4-FFF2-40B4-BE49-F238E27FC236}">
                <a16:creationId xmlns:a16="http://schemas.microsoft.com/office/drawing/2014/main" id="{9477E3BF-541F-CB70-04E9-9340599A840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1921839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tory_quote">
    <p:bg>
      <p:bgPr>
        <a:solidFill>
          <a:srgbClr val="FFFFFF"/>
        </a:solidFill>
        <a:effectLst/>
      </p:bgPr>
    </p:bg>
    <p:spTree>
      <p:nvGrpSpPr>
        <p:cNvPr id="1" name=""/>
        <p:cNvGrpSpPr/>
        <p:nvPr/>
      </p:nvGrpSpPr>
      <p:grpSpPr>
        <a:xfrm>
          <a:off x="0" y="0"/>
          <a:ext cx="0" cy="0"/>
          <a:chOff x="0" y="0"/>
          <a:chExt cx="0" cy="0"/>
        </a:xfrm>
      </p:grpSpPr>
      <p:sp>
        <p:nvSpPr>
          <p:cNvPr id="29" name="Text Placeholder 3"/>
          <p:cNvSpPr>
            <a:spLocks noGrp="1"/>
          </p:cNvSpPr>
          <p:nvPr>
            <p:ph type="body" sz="quarter" idx="26" hasCustomPrompt="1"/>
          </p:nvPr>
        </p:nvSpPr>
        <p:spPr>
          <a:xfrm>
            <a:off x="4700906" y="4596644"/>
            <a:ext cx="2076456" cy="193899"/>
          </a:xfrm>
        </p:spPr>
        <p:txBody>
          <a:bodyPr/>
          <a:lstStyle>
            <a:lvl1pPr marL="0" indent="0" algn="l" defTabSz="914400" rtl="0" eaLnBrk="1" latinLnBrk="0" hangingPunct="1">
              <a:buNone/>
              <a:defRPr lang="en-US" sz="1100" kern="1200" baseline="30000" dirty="0" smtClean="0">
                <a:solidFill>
                  <a:schemeClr val="accent5"/>
                </a:solidFill>
                <a:latin typeface="+mn-lt"/>
                <a:ea typeface="+mn-ea"/>
                <a:cs typeface="+mn-cs"/>
              </a:defRPr>
            </a:lvl1pPr>
            <a:lvl2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2pPr>
            <a:lvl3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3pPr>
            <a:lvl4pPr marL="0" algn="r" defTabSz="914400" rtl="0" eaLnBrk="1" latinLnBrk="0" hangingPunct="1">
              <a:defRPr lang="en-US" sz="1100" kern="1200" baseline="30000" dirty="0" smtClean="0">
                <a:solidFill>
                  <a:schemeClr val="accent1">
                    <a:lumMod val="60000"/>
                    <a:lumOff val="40000"/>
                  </a:schemeClr>
                </a:solidFill>
                <a:latin typeface="+mn-lt"/>
                <a:ea typeface="+mn-ea"/>
                <a:cs typeface="+mn-cs"/>
              </a:defRPr>
            </a:lvl4pPr>
            <a:lvl5pPr marL="0" algn="r" defTabSz="914400" rtl="0" eaLnBrk="1" latinLnBrk="0" hangingPunct="1">
              <a:defRPr lang="en-US" sz="1100" kern="1200" baseline="30000" dirty="0">
                <a:solidFill>
                  <a:schemeClr val="accent1">
                    <a:lumMod val="60000"/>
                    <a:lumOff val="40000"/>
                  </a:schemeClr>
                </a:solidFill>
                <a:latin typeface="+mn-lt"/>
                <a:ea typeface="+mn-ea"/>
                <a:cs typeface="+mn-cs"/>
              </a:defRPr>
            </a:lvl5pPr>
          </a:lstStyle>
          <a:p>
            <a:pPr lvl="0"/>
            <a:r>
              <a:rPr lang="en-US" dirty="0"/>
              <a:t>Contact: Enter name</a:t>
            </a:r>
          </a:p>
        </p:txBody>
      </p:sp>
      <p:sp>
        <p:nvSpPr>
          <p:cNvPr id="38" name="Text Placeholder 7"/>
          <p:cNvSpPr>
            <a:spLocks noGrp="1"/>
          </p:cNvSpPr>
          <p:nvPr>
            <p:ph type="body" sz="quarter" idx="11" hasCustomPrompt="1"/>
          </p:nvPr>
        </p:nvSpPr>
        <p:spPr>
          <a:xfrm>
            <a:off x="464493" y="438150"/>
            <a:ext cx="3770957" cy="1257300"/>
          </a:xfrm>
        </p:spPr>
        <p:txBody>
          <a:bodyPr tIns="0" bIns="0" anchor="t"/>
          <a:lstStyle>
            <a:lvl1pPr marL="0" indent="0" algn="l" defTabSz="914400" rtl="0" eaLnBrk="1" latinLnBrk="0" hangingPunct="1">
              <a:lnSpc>
                <a:spcPct val="90000"/>
              </a:lnSpc>
              <a:spcBef>
                <a:spcPct val="0"/>
              </a:spcBef>
              <a:buNone/>
              <a:defRPr lang="en-US" sz="2800" b="1" kern="0" spc="-100" baseline="0" dirty="0" smtClean="0">
                <a:solidFill>
                  <a:schemeClr val="accent3"/>
                </a:solidFill>
                <a:latin typeface="+mj-lt"/>
                <a:ea typeface="Roboto Medium" panose="02000000000000000000" pitchFamily="2" charset="0"/>
                <a:cs typeface="Arial" panose="020B0604020202020204" pitchFamily="34" charset="0"/>
              </a:defRPr>
            </a:lvl1pPr>
            <a:lvl2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2pPr>
            <a:lvl3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3pPr>
            <a:lvl4pPr marL="0" indent="0" algn="l" defTabSz="914400" rtl="0" eaLnBrk="1" latinLnBrk="0" hangingPunct="1">
              <a:lnSpc>
                <a:spcPct val="90000"/>
              </a:lnSpc>
              <a:spcBef>
                <a:spcPct val="0"/>
              </a:spcBef>
              <a:buNone/>
              <a:defRPr lang="en-US" sz="4000" b="1" kern="0" spc="-150" baseline="0" dirty="0" smtClean="0">
                <a:solidFill>
                  <a:schemeClr val="tx1"/>
                </a:solidFill>
                <a:latin typeface="+mj-lt"/>
                <a:ea typeface="Roboto Medium" panose="02000000000000000000" pitchFamily="2" charset="0"/>
                <a:cs typeface="Arial" panose="020B0604020202020204" pitchFamily="34" charset="0"/>
              </a:defRPr>
            </a:lvl4pPr>
            <a:lvl5pPr marL="0" indent="0" algn="l" defTabSz="914400" rtl="0" eaLnBrk="1" latinLnBrk="0" hangingPunct="1">
              <a:lnSpc>
                <a:spcPct val="90000"/>
              </a:lnSpc>
              <a:spcBef>
                <a:spcPct val="0"/>
              </a:spcBef>
              <a:buNone/>
              <a:defRPr lang="en-GB" sz="4000" b="1" kern="0" spc="-150" baseline="0" dirty="0">
                <a:solidFill>
                  <a:schemeClr val="tx1"/>
                </a:solidFill>
                <a:latin typeface="+mj-lt"/>
                <a:ea typeface="Roboto Medium" panose="02000000000000000000" pitchFamily="2" charset="0"/>
                <a:cs typeface="Arial" panose="020B0604020202020204" pitchFamily="34" charset="0"/>
              </a:defRPr>
            </a:lvl5pPr>
          </a:lstStyle>
          <a:p>
            <a:pPr lvl="0"/>
            <a:r>
              <a:rPr lang="en-US" dirty="0"/>
              <a:t>Click to edit this text box. Try to keep to three lines of text</a:t>
            </a:r>
          </a:p>
        </p:txBody>
      </p:sp>
      <p:sp>
        <p:nvSpPr>
          <p:cNvPr id="39" name="Text Placeholder 10"/>
          <p:cNvSpPr>
            <a:spLocks noGrp="1"/>
          </p:cNvSpPr>
          <p:nvPr>
            <p:ph type="body" sz="quarter" idx="34" hasCustomPrompt="1"/>
          </p:nvPr>
        </p:nvSpPr>
        <p:spPr>
          <a:xfrm>
            <a:off x="4700906" y="2253251"/>
            <a:ext cx="2349182" cy="75518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0" name="Text Placeholder 6"/>
          <p:cNvSpPr>
            <a:spLocks noGrp="1"/>
          </p:cNvSpPr>
          <p:nvPr>
            <p:ph type="body" sz="quarter" idx="35" hasCustomPrompt="1"/>
          </p:nvPr>
        </p:nvSpPr>
        <p:spPr>
          <a:xfrm>
            <a:off x="4700906" y="2043680"/>
            <a:ext cx="2349182" cy="202076"/>
          </a:xfrm>
        </p:spPr>
        <p:txBody>
          <a:bodyPr vert="horz" wrap="square" lIns="0" tIns="0" rIns="0" bIns="0" rtlCol="0" anchor="t">
            <a:noAutofit/>
          </a:bodyPr>
          <a:lstStyle>
            <a:lvl1pPr marL="0" indent="0">
              <a:buNone/>
              <a:defRPr lang="en-US" sz="1200" b="1" kern="0" spc="-50" baseline="0" dirty="0">
                <a:solidFill>
                  <a:schemeClr val="accent2"/>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1" name="Text Placeholder 10"/>
          <p:cNvSpPr>
            <a:spLocks noGrp="1"/>
          </p:cNvSpPr>
          <p:nvPr>
            <p:ph type="body" sz="quarter" idx="36" hasCustomPrompt="1"/>
          </p:nvPr>
        </p:nvSpPr>
        <p:spPr>
          <a:xfrm>
            <a:off x="7479023" y="2246455"/>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2" name="Text Placeholder 6"/>
          <p:cNvSpPr>
            <a:spLocks noGrp="1"/>
          </p:cNvSpPr>
          <p:nvPr>
            <p:ph type="body" sz="quarter" idx="37" hasCustomPrompt="1"/>
          </p:nvPr>
        </p:nvSpPr>
        <p:spPr>
          <a:xfrm>
            <a:off x="7479023" y="2036883"/>
            <a:ext cx="1118877" cy="202076"/>
          </a:xfrm>
        </p:spPr>
        <p:txBody>
          <a:bodyPr vert="horz" wrap="square" lIns="0" tIns="0" rIns="0" bIns="0" rtlCol="0" anchor="t">
            <a:noAutofit/>
          </a:bodyPr>
          <a:lstStyle>
            <a:lvl1pPr marL="0" indent="0">
              <a:buNone/>
              <a:defRPr lang="en-US" sz="1200" b="1" kern="0" spc="-50" baseline="0" dirty="0">
                <a:solidFill>
                  <a:schemeClr val="accent2"/>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3" name="Text Placeholder 10"/>
          <p:cNvSpPr>
            <a:spLocks noGrp="1"/>
          </p:cNvSpPr>
          <p:nvPr>
            <p:ph type="body" sz="quarter" idx="38" hasCustomPrompt="1"/>
          </p:nvPr>
        </p:nvSpPr>
        <p:spPr>
          <a:xfrm>
            <a:off x="4700906" y="3372586"/>
            <a:ext cx="2349182" cy="409271"/>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4" name="Text Placeholder 6"/>
          <p:cNvSpPr>
            <a:spLocks noGrp="1"/>
          </p:cNvSpPr>
          <p:nvPr>
            <p:ph type="body" sz="quarter" idx="39" hasCustomPrompt="1"/>
          </p:nvPr>
        </p:nvSpPr>
        <p:spPr>
          <a:xfrm>
            <a:off x="4700906" y="3163015"/>
            <a:ext cx="2349182" cy="202076"/>
          </a:xfrm>
        </p:spPr>
        <p:txBody>
          <a:bodyPr vert="horz" wrap="square" lIns="0" tIns="0" rIns="0" bIns="0" rtlCol="0" anchor="t">
            <a:noAutofit/>
          </a:bodyPr>
          <a:lstStyle>
            <a:lvl1pPr marL="0" indent="0">
              <a:buNone/>
              <a:defRPr lang="en-US" sz="1200" b="1" kern="0" spc="-50" baseline="0" dirty="0">
                <a:solidFill>
                  <a:schemeClr val="accent2"/>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45" name="Text Placeholder 10"/>
          <p:cNvSpPr>
            <a:spLocks noGrp="1"/>
          </p:cNvSpPr>
          <p:nvPr>
            <p:ph type="body" sz="quarter" idx="40" hasCustomPrompt="1"/>
          </p:nvPr>
        </p:nvSpPr>
        <p:spPr>
          <a:xfrm>
            <a:off x="7479023" y="2858246"/>
            <a:ext cx="1118877" cy="258532"/>
          </a:xfrm>
        </p:spPr>
        <p:txBody>
          <a:bodyPr/>
          <a:lstStyle>
            <a:lvl1pPr marL="0" indent="0">
              <a:buFont typeface="Arial" panose="020B0604020202020204" pitchFamily="34" charset="0"/>
              <a:buNone/>
              <a:defRPr lang="en-US" sz="1400" kern="1200" baseline="30000" dirty="0">
                <a:solidFill>
                  <a:schemeClr val="accent5"/>
                </a:solidFill>
                <a:latin typeface="+mn-lt"/>
                <a:ea typeface="+mn-ea"/>
                <a:cs typeface="+mn-cs"/>
              </a:defRPr>
            </a:lvl1pPr>
          </a:lstStyle>
          <a:p>
            <a:pPr lvl="0"/>
            <a:r>
              <a:rPr lang="en-US" dirty="0"/>
              <a:t>Enter subtitle</a:t>
            </a:r>
          </a:p>
        </p:txBody>
      </p:sp>
      <p:sp>
        <p:nvSpPr>
          <p:cNvPr id="46" name="Text Placeholder 6"/>
          <p:cNvSpPr>
            <a:spLocks noGrp="1"/>
          </p:cNvSpPr>
          <p:nvPr>
            <p:ph type="body" sz="quarter" idx="41" hasCustomPrompt="1"/>
          </p:nvPr>
        </p:nvSpPr>
        <p:spPr>
          <a:xfrm>
            <a:off x="7479023" y="2648674"/>
            <a:ext cx="1118877" cy="202076"/>
          </a:xfrm>
        </p:spPr>
        <p:txBody>
          <a:bodyPr vert="horz" wrap="square" lIns="0" tIns="0" rIns="0" bIns="0" rtlCol="0" anchor="t">
            <a:noAutofit/>
          </a:bodyPr>
          <a:lstStyle>
            <a:lvl1pPr marL="0" indent="0">
              <a:buNone/>
              <a:defRPr lang="en-US" sz="1200" b="1" kern="0" spc="-50" baseline="0" dirty="0">
                <a:solidFill>
                  <a:schemeClr val="accent2"/>
                </a:solidFill>
                <a:latin typeface="+mj-lt"/>
                <a:ea typeface="Roboto Medium" panose="02000000000000000000" pitchFamily="2" charset="0"/>
              </a:defRPr>
            </a:lvl1pPr>
          </a:lstStyle>
          <a:p>
            <a:pPr marL="173038" lvl="0" indent="-173038">
              <a:lnSpc>
                <a:spcPct val="90000"/>
              </a:lnSpc>
              <a:spcBef>
                <a:spcPct val="0"/>
              </a:spcBef>
            </a:pPr>
            <a:r>
              <a:rPr lang="en-US" dirty="0"/>
              <a:t>Subhead</a:t>
            </a:r>
          </a:p>
        </p:txBody>
      </p:sp>
      <p:sp>
        <p:nvSpPr>
          <p:cNvPr id="3" name="Text Placeholder 2"/>
          <p:cNvSpPr>
            <a:spLocks noGrp="1"/>
          </p:cNvSpPr>
          <p:nvPr>
            <p:ph type="body" sz="quarter" idx="42" hasCustomPrompt="1"/>
          </p:nvPr>
        </p:nvSpPr>
        <p:spPr>
          <a:xfrm>
            <a:off x="4699000" y="670091"/>
            <a:ext cx="3898900" cy="1114259"/>
          </a:xfrm>
        </p:spPr>
        <p:txBody>
          <a:bodyPr/>
          <a:lstStyle>
            <a:lvl1pPr marL="0" indent="0">
              <a:buNone/>
              <a:defRPr sz="2000" baseline="0">
                <a:solidFill>
                  <a:schemeClr val="accent5"/>
                </a:solidFill>
              </a:defRPr>
            </a:lvl1pPr>
          </a:lstStyle>
          <a:p>
            <a:pPr lvl="0"/>
            <a:r>
              <a:rPr lang="en-US" dirty="0"/>
              <a:t>Here’s a place for your quote. We recommend to keep it short. Maybe about this long.”</a:t>
            </a:r>
            <a:endParaRPr lang="en-GB" dirty="0"/>
          </a:p>
        </p:txBody>
      </p:sp>
      <p:sp>
        <p:nvSpPr>
          <p:cNvPr id="4" name="TextBox 3"/>
          <p:cNvSpPr txBox="1"/>
          <p:nvPr userDrawn="1"/>
        </p:nvSpPr>
        <p:spPr>
          <a:xfrm>
            <a:off x="4483100" y="670091"/>
            <a:ext cx="431800" cy="406400"/>
          </a:xfrm>
          <a:prstGeom prst="rect">
            <a:avLst/>
          </a:prstGeom>
          <a:noFill/>
        </p:spPr>
        <p:txBody>
          <a:bodyPr wrap="square" rtlCol="0">
            <a:noAutofit/>
          </a:bodyPr>
          <a:lstStyle/>
          <a:p>
            <a:pPr>
              <a:spcBef>
                <a:spcPts val="750"/>
              </a:spcBef>
              <a:buClr>
                <a:schemeClr val="accent2"/>
              </a:buClr>
              <a:buSzPct val="100000"/>
            </a:pPr>
            <a:r>
              <a:rPr lang="en-US" sz="2000" dirty="0">
                <a:solidFill>
                  <a:schemeClr val="accent4"/>
                </a:solidFill>
                <a:latin typeface="Arial" panose="020B0604020202020204" pitchFamily="34" charset="0"/>
                <a:cs typeface="Arial" panose="020B0604020202020204" pitchFamily="34" charset="0"/>
              </a:rPr>
              <a:t>“</a:t>
            </a:r>
            <a:endParaRPr lang="en-GB" sz="2000" dirty="0" err="1">
              <a:solidFill>
                <a:schemeClr val="accent4"/>
              </a:solidFill>
              <a:latin typeface="Arial" panose="020B0604020202020204" pitchFamily="34" charset="0"/>
              <a:cs typeface="Arial" panose="020B0604020202020204" pitchFamily="34" charset="0"/>
            </a:endParaRPr>
          </a:p>
        </p:txBody>
      </p:sp>
      <p:sp>
        <p:nvSpPr>
          <p:cNvPr id="22" name="Text Placeholder 4"/>
          <p:cNvSpPr>
            <a:spLocks noGrp="1"/>
          </p:cNvSpPr>
          <p:nvPr>
            <p:ph type="body" sz="quarter" idx="33"/>
          </p:nvPr>
        </p:nvSpPr>
        <p:spPr>
          <a:xfrm>
            <a:off x="464494" y="1738594"/>
            <a:ext cx="3770956" cy="1704412"/>
          </a:xfrm>
        </p:spPr>
        <p:txBody>
          <a:bodyPr tIns="0"/>
          <a:lstStyle>
            <a:lvl1pPr marL="0" indent="0">
              <a:lnSpc>
                <a:spcPct val="120000"/>
              </a:lnSpc>
              <a:buNone/>
              <a:defRPr lang="en-US" sz="1100" kern="1200" spc="0" baseline="0" dirty="0" smtClean="0">
                <a:solidFill>
                  <a:schemeClr val="accent5"/>
                </a:solidFill>
                <a:latin typeface="Arial" panose="020B0604020202020204" pitchFamily="34" charset="0"/>
                <a:ea typeface="+mn-ea"/>
                <a:cs typeface="Arial" panose="020B0604020202020204" pitchFamily="34" charset="0"/>
              </a:defRPr>
            </a:lvl1pPr>
            <a:lvl2pPr marL="173037" indent="0">
              <a:buNone/>
              <a:defRPr/>
            </a:lvl2pPr>
            <a:lvl3pPr marL="323850" indent="0">
              <a:buNone/>
              <a:defRPr/>
            </a:lvl3pPr>
            <a:lvl4pPr marL="457200" indent="0">
              <a:buNone/>
              <a:defRPr/>
            </a:lvl4pPr>
            <a:lvl5pPr marL="593725" indent="0">
              <a:buNone/>
              <a:defRPr/>
            </a:lvl5pPr>
          </a:lstStyle>
          <a:p>
            <a:pPr marL="0" lvl="0" indent="0" algn="l" defTabSz="914400" rtl="0" eaLnBrk="1" latinLnBrk="0" hangingPunct="1">
              <a:lnSpc>
                <a:spcPct val="90000"/>
              </a:lnSpc>
              <a:spcBef>
                <a:spcPts val="1200"/>
              </a:spcBef>
              <a:buClr>
                <a:srgbClr val="0072C8"/>
              </a:buClr>
              <a:buSzPct val="110000"/>
              <a:buFont typeface="Wingdings" panose="05000000000000000000" pitchFamily="2" charset="2"/>
              <a:buNone/>
            </a:pPr>
            <a:r>
              <a:rPr lang="en-US" dirty="0"/>
              <a:t>Click to edit Master text styles</a:t>
            </a:r>
          </a:p>
        </p:txBody>
      </p:sp>
      <p:pic>
        <p:nvPicPr>
          <p:cNvPr id="2" name="Picture 1" descr="A picture containing logo&#10;&#10;Description automatically generated">
            <a:extLst>
              <a:ext uri="{FF2B5EF4-FFF2-40B4-BE49-F238E27FC236}">
                <a16:creationId xmlns:a16="http://schemas.microsoft.com/office/drawing/2014/main" id="{663B4777-9C11-B7AE-60E4-19C4D4B7C61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3163226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itle Slide_white blank">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66006" y="2963121"/>
            <a:ext cx="4105994"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accent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 </a:t>
            </a:r>
          </a:p>
        </p:txBody>
      </p:sp>
      <p:sp>
        <p:nvSpPr>
          <p:cNvPr id="19"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2" name="Picture 1" descr="A picture containing logo&#10;&#10;Description automatically generated">
            <a:extLst>
              <a:ext uri="{FF2B5EF4-FFF2-40B4-BE49-F238E27FC236}">
                <a16:creationId xmlns:a16="http://schemas.microsoft.com/office/drawing/2014/main" id="{A7DBA26D-B73E-7F0A-3221-C414C5C258C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15423798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ogo Slide 1">
    <p:bg>
      <p:bgPr>
        <a:solidFill>
          <a:schemeClr val="bg2"/>
        </a:solidFill>
        <a:effectLst/>
      </p:bgPr>
    </p:bg>
    <p:spTree>
      <p:nvGrpSpPr>
        <p:cNvPr id="1" name=""/>
        <p:cNvGrpSpPr/>
        <p:nvPr/>
      </p:nvGrpSpPr>
      <p:grpSpPr>
        <a:xfrm>
          <a:off x="0" y="0"/>
          <a:ext cx="0" cy="0"/>
          <a:chOff x="0" y="0"/>
          <a:chExt cx="0" cy="0"/>
        </a:xfrm>
      </p:grpSpPr>
      <p:sp>
        <p:nvSpPr>
          <p:cNvPr id="7" name="Text Box 3"/>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22 INCOSE, LLC. All rights reserved. </a:t>
            </a:r>
          </a:p>
        </p:txBody>
      </p:sp>
      <p:pic>
        <p:nvPicPr>
          <p:cNvPr id="3" name="Picture 2" descr="A picture containing logo&#10;&#10;Description automatically generated">
            <a:extLst>
              <a:ext uri="{FF2B5EF4-FFF2-40B4-BE49-F238E27FC236}">
                <a16:creationId xmlns:a16="http://schemas.microsoft.com/office/drawing/2014/main" id="{347B22BB-9E4A-C6FB-0F89-02F71481374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288793" y="1734033"/>
            <a:ext cx="2566414" cy="1675433"/>
          </a:xfrm>
          <a:prstGeom prst="rect">
            <a:avLst/>
          </a:prstGeom>
        </p:spPr>
      </p:pic>
    </p:spTree>
    <p:extLst>
      <p:ext uri="{BB962C8B-B14F-4D97-AF65-F5344CB8AC3E}">
        <p14:creationId xmlns:p14="http://schemas.microsoft.com/office/powerpoint/2010/main" val="997395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ogo Slide 2">
    <p:bg>
      <p:bgRef idx="1001">
        <a:schemeClr val="bg1"/>
      </p:bgRef>
    </p:bg>
    <p:spTree>
      <p:nvGrpSpPr>
        <p:cNvPr id="1" name=""/>
        <p:cNvGrpSpPr/>
        <p:nvPr/>
      </p:nvGrpSpPr>
      <p:grpSpPr>
        <a:xfrm>
          <a:off x="0" y="0"/>
          <a:ext cx="0" cy="0"/>
          <a:chOff x="0" y="0"/>
          <a:chExt cx="0" cy="0"/>
        </a:xfrm>
      </p:grpSpPr>
      <p:sp>
        <p:nvSpPr>
          <p:cNvPr id="3" name="Text Box 3">
            <a:extLst>
              <a:ext uri="{FF2B5EF4-FFF2-40B4-BE49-F238E27FC236}">
                <a16:creationId xmlns:a16="http://schemas.microsoft.com/office/drawing/2014/main" id="{78F6BFEB-A9CC-5711-9FA1-A3C2014BA4F3}"/>
              </a:ext>
            </a:extLst>
          </p:cNvPr>
          <p:cNvSpPr txBox="1">
            <a:spLocks noChangeArrowheads="1"/>
          </p:cNvSpPr>
          <p:nvPr userDrawn="1"/>
        </p:nvSpPr>
        <p:spPr bwMode="blackWhite">
          <a:xfrm>
            <a:off x="1831837" y="4525456"/>
            <a:ext cx="5480327"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lnSpc>
                <a:spcPts val="675"/>
              </a:lnSpc>
              <a:defRPr/>
            </a:pPr>
            <a:r>
              <a:rPr lang="en-US" sz="525" dirty="0">
                <a:solidFill>
                  <a:schemeClr val="tx1"/>
                </a:solidFill>
                <a:latin typeface="Arial" panose="020B0604020202020204" pitchFamily="34" charset="0"/>
                <a:cs typeface="Arial" panose="020B0604020202020204" pitchFamily="34" charset="0"/>
              </a:rPr>
              <a:t>© 2022 INCOSE, LLC. All rights reserved. </a:t>
            </a:r>
          </a:p>
        </p:txBody>
      </p:sp>
      <p:pic>
        <p:nvPicPr>
          <p:cNvPr id="4" name="Picture 3" descr="A picture containing logo&#10;&#10;Description automatically generated">
            <a:extLst>
              <a:ext uri="{FF2B5EF4-FFF2-40B4-BE49-F238E27FC236}">
                <a16:creationId xmlns:a16="http://schemas.microsoft.com/office/drawing/2014/main" id="{6DAAAD15-9988-46F1-806D-7E54577097B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288793" y="1734033"/>
            <a:ext cx="2566414" cy="1675433"/>
          </a:xfrm>
          <a:prstGeom prst="rect">
            <a:avLst/>
          </a:prstGeom>
        </p:spPr>
      </p:pic>
    </p:spTree>
    <p:extLst>
      <p:ext uri="{BB962C8B-B14F-4D97-AF65-F5344CB8AC3E}">
        <p14:creationId xmlns:p14="http://schemas.microsoft.com/office/powerpoint/2010/main" val="1613856448"/>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Logo slide 3">
    <p:bg>
      <p:bgPr>
        <a:solidFill>
          <a:schemeClr val="accent5"/>
        </a:solidFill>
        <a:effectLst/>
      </p:bgPr>
    </p:bg>
    <p:spTree>
      <p:nvGrpSpPr>
        <p:cNvPr id="1" name=""/>
        <p:cNvGrpSpPr/>
        <p:nvPr/>
      </p:nvGrpSpPr>
      <p:grpSpPr>
        <a:xfrm>
          <a:off x="0" y="0"/>
          <a:ext cx="0" cy="0"/>
          <a:chOff x="0" y="0"/>
          <a:chExt cx="0" cy="0"/>
        </a:xfrm>
      </p:grpSpPr>
      <p:sp>
        <p:nvSpPr>
          <p:cNvPr id="4" name="Text Box 3"/>
          <p:cNvSpPr txBox="1">
            <a:spLocks noChangeArrowheads="1"/>
          </p:cNvSpPr>
          <p:nvPr userDrawn="1"/>
        </p:nvSpPr>
        <p:spPr bwMode="blackWhite">
          <a:xfrm>
            <a:off x="466894" y="1642997"/>
            <a:ext cx="2566929" cy="255771"/>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defTabSz="685574" eaLnBrk="0" hangingPunct="0">
              <a:lnSpc>
                <a:spcPts val="675"/>
              </a:lnSpc>
              <a:defRPr/>
            </a:pPr>
            <a:r>
              <a:rPr lang="en-US" sz="525" dirty="0">
                <a:gradFill>
                  <a:gsLst>
                    <a:gs pos="5417">
                      <a:srgbClr val="FFFFFF"/>
                    </a:gs>
                    <a:gs pos="13333">
                      <a:srgbClr val="FFFFFF"/>
                    </a:gs>
                  </a:gsLst>
                  <a:lin ang="5400000" scaled="0"/>
                </a:gradFill>
                <a:latin typeface="Arial" panose="020B0604020202020204" pitchFamily="34" charset="0"/>
                <a:cs typeface="Arial" panose="020B0604020202020204" pitchFamily="34" charset="0"/>
              </a:rPr>
              <a:t>© 2022 INCOSE. All rights reserved. </a:t>
            </a:r>
          </a:p>
        </p:txBody>
      </p:sp>
      <p:sp>
        <p:nvSpPr>
          <p:cNvPr id="6" name="TextBox 5"/>
          <p:cNvSpPr txBox="1"/>
          <p:nvPr userDrawn="1"/>
        </p:nvSpPr>
        <p:spPr>
          <a:xfrm>
            <a:off x="463269" y="1926053"/>
            <a:ext cx="812082" cy="207749"/>
          </a:xfrm>
          <a:prstGeom prst="rect">
            <a:avLst/>
          </a:prstGeom>
          <a:noFill/>
        </p:spPr>
        <p:txBody>
          <a:bodyPr wrap="none" lIns="0" bIns="0" rtlCol="0" anchor="b" anchorCtr="0">
            <a:spAutoFit/>
          </a:bodyPr>
          <a:lstStyle/>
          <a:p>
            <a:pPr defTabSz="685755"/>
            <a:r>
              <a:rPr lang="en-AU" sz="1050" spc="75" dirty="0" err="1">
                <a:solidFill>
                  <a:schemeClr val="tx1"/>
                </a:solidFill>
                <a:latin typeface="Arial" panose="020B0604020202020204" pitchFamily="34" charset="0"/>
                <a:ea typeface="Roboto Light" panose="02000000000000000000" pitchFamily="2" charset="0"/>
                <a:cs typeface="Arial" panose="020B0604020202020204" pitchFamily="34" charset="0"/>
              </a:rPr>
              <a:t>incose.org</a:t>
            </a:r>
            <a:endParaRPr lang="en-AU" sz="1050" spc="75" dirty="0">
              <a:solidFill>
                <a:schemeClr val="tx1"/>
              </a:solidFill>
              <a:latin typeface="Arial" panose="020B0604020202020204" pitchFamily="34" charset="0"/>
              <a:ea typeface="Roboto Light" panose="02000000000000000000" pitchFamily="2" charset="0"/>
              <a:cs typeface="Arial" panose="020B0604020202020204" pitchFamily="34" charset="0"/>
            </a:endParaRPr>
          </a:p>
        </p:txBody>
      </p:sp>
      <p:pic>
        <p:nvPicPr>
          <p:cNvPr id="2" name="Picture 1" descr="A picture containing logo&#10;&#10;Description automatically generated">
            <a:extLst>
              <a:ext uri="{FF2B5EF4-FFF2-40B4-BE49-F238E27FC236}">
                <a16:creationId xmlns:a16="http://schemas.microsoft.com/office/drawing/2014/main" id="{064446F0-B8FF-600B-3876-7E8BAB58E37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363581" y="331600"/>
            <a:ext cx="1549743" cy="1011719"/>
          </a:xfrm>
          <a:prstGeom prst="rect">
            <a:avLst/>
          </a:prstGeom>
        </p:spPr>
      </p:pic>
    </p:spTree>
    <p:extLst>
      <p:ext uri="{BB962C8B-B14F-4D97-AF65-F5344CB8AC3E}">
        <p14:creationId xmlns:p14="http://schemas.microsoft.com/office/powerpoint/2010/main" val="23388134"/>
      </p:ext>
    </p:extLst>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4717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8_Full Image without Header &amp; Footer">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anchor="ctr">
            <a:normAutofit/>
          </a:bodyPr>
          <a:lstStyle>
            <a:lvl1pPr marL="0" indent="0" algn="ctr">
              <a:buNone/>
              <a:defRPr sz="900"/>
            </a:lvl1pPr>
          </a:lstStyle>
          <a:p>
            <a:endParaRPr lang="en-US" dirty="0"/>
          </a:p>
        </p:txBody>
      </p:sp>
    </p:spTree>
    <p:extLst>
      <p:ext uri="{BB962C8B-B14F-4D97-AF65-F5344CB8AC3E}">
        <p14:creationId xmlns:p14="http://schemas.microsoft.com/office/powerpoint/2010/main" val="242210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Full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D9DD6903-31DD-5348-931E-827644FF87FE}"/>
              </a:ext>
            </a:extLst>
          </p:cNvPr>
          <p:cNvSpPr>
            <a:spLocks noGrp="1"/>
          </p:cNvSpPr>
          <p:nvPr>
            <p:ph type="pic" sz="quarter" idx="14"/>
          </p:nvPr>
        </p:nvSpPr>
        <p:spPr>
          <a:xfrm>
            <a:off x="-134764" y="-145473"/>
            <a:ext cx="9413527" cy="5434445"/>
          </a:xfrm>
          <a:prstGeom prst="rect">
            <a:avLst/>
          </a:prstGeom>
          <a:solidFill>
            <a:schemeClr val="bg1">
              <a:lumMod val="95000"/>
            </a:schemeClr>
          </a:solidFill>
        </p:spPr>
        <p:txBody>
          <a:bodyPr>
            <a:normAutofit/>
          </a:bodyPr>
          <a:lstStyle>
            <a:lvl1pPr>
              <a:defRPr sz="788"/>
            </a:lvl1pPr>
          </a:lstStyle>
          <a:p>
            <a:endParaRPr lang="en-US" dirty="0"/>
          </a:p>
        </p:txBody>
      </p:sp>
      <p:sp>
        <p:nvSpPr>
          <p:cNvPr id="3" name="TextBox 2">
            <a:extLst>
              <a:ext uri="{FF2B5EF4-FFF2-40B4-BE49-F238E27FC236}">
                <a16:creationId xmlns:a16="http://schemas.microsoft.com/office/drawing/2014/main" id="{D2664582-F807-9F45-5B95-3797C247152E}"/>
              </a:ext>
            </a:extLst>
          </p:cNvPr>
          <p:cNvSpPr txBox="1"/>
          <p:nvPr userDrawn="1"/>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019757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97576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Title Slide_light">
    <p:bg>
      <p:bgPr>
        <a:solidFill>
          <a:schemeClr val="bg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tx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4114800"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tx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tx1"/>
                </a:solidFill>
              </a:defRPr>
            </a:lvl1pPr>
          </a:lstStyle>
          <a:p>
            <a:pPr lvl="0"/>
            <a:r>
              <a:rPr lang="en-US" dirty="0"/>
              <a:t>Optional small text </a:t>
            </a:r>
            <a:endParaRPr lang="en-GB" dirty="0"/>
          </a:p>
        </p:txBody>
      </p:sp>
      <p:pic>
        <p:nvPicPr>
          <p:cNvPr id="3" name="Picture 2" descr="A picture containing logo&#10;&#10;Description automatically generated">
            <a:extLst>
              <a:ext uri="{FF2B5EF4-FFF2-40B4-BE49-F238E27FC236}">
                <a16:creationId xmlns:a16="http://schemas.microsoft.com/office/drawing/2014/main" id="{D2D195B7-999E-1E35-2F68-384F54A0E8C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1223152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ain Title Slide_dark blank">
    <p:bg>
      <p:bgPr>
        <a:solidFill>
          <a:srgbClr val="2B6FAB"/>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457200" y="438150"/>
            <a:ext cx="4114800" cy="2413299"/>
          </a:xfrm>
          <a:prstGeom prst="rect">
            <a:avLst/>
          </a:prstGeom>
        </p:spPr>
        <p:txBody>
          <a:bodyPr vert="horz" lIns="0" tIns="45720" rIns="91440" bIns="45720" rtlCol="0" anchor="b">
            <a:noAutofit/>
          </a:bodyPr>
          <a:lstStyle>
            <a:lvl1pPr algn="l" defTabSz="685766" rtl="0" eaLnBrk="1" latinLnBrk="0" hangingPunct="1">
              <a:lnSpc>
                <a:spcPct val="80000"/>
              </a:lnSpc>
              <a:spcBef>
                <a:spcPct val="0"/>
              </a:spcBef>
              <a:buNone/>
              <a:defRPr lang="en-US" sz="4800" b="1" kern="1200" spc="-200" baseline="0" dirty="0">
                <a:solidFill>
                  <a:schemeClr val="bg1"/>
                </a:solidFill>
                <a:latin typeface="Arial" panose="020B0604020202020204" pitchFamily="34" charset="0"/>
                <a:ea typeface="Roboto Medium" panose="02000000000000000000" pitchFamily="2" charset="0"/>
                <a:cs typeface="Arial" panose="020B0604020202020204" pitchFamily="34" charset="0"/>
              </a:defRPr>
            </a:lvl1pPr>
          </a:lstStyle>
          <a:p>
            <a:r>
              <a:rPr lang="en-US" dirty="0"/>
              <a:t>Insert title here. </a:t>
            </a:r>
          </a:p>
        </p:txBody>
      </p:sp>
      <p:sp>
        <p:nvSpPr>
          <p:cNvPr id="6" name="Text Placeholder 10"/>
          <p:cNvSpPr>
            <a:spLocks noGrp="1"/>
          </p:cNvSpPr>
          <p:nvPr>
            <p:ph type="body" sz="quarter" idx="15" hasCustomPrompt="1"/>
          </p:nvPr>
        </p:nvSpPr>
        <p:spPr>
          <a:xfrm>
            <a:off x="457200" y="2963121"/>
            <a:ext cx="4114800" cy="1132629"/>
          </a:xfrm>
        </p:spPr>
        <p:txBody>
          <a:bodyPr lIns="0" tIns="0" rIns="0" bIns="0">
            <a:noAutofit/>
          </a:bodyPr>
          <a:lstStyle>
            <a:lvl1pPr mar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defRPr lang="en-US" sz="1100" b="0" kern="1200" spc="0" baseline="0" dirty="0">
                <a:solidFill>
                  <a:schemeClr val="bg1"/>
                </a:solidFill>
                <a:latin typeface="Arial" panose="020B0604020202020204" pitchFamily="34" charset="0"/>
                <a:ea typeface="+mn-ea"/>
                <a:cs typeface="Arial" panose="020B0604020202020204" pitchFamily="34" charset="0"/>
              </a:defRPr>
            </a:lvl1pPr>
          </a:lstStyle>
          <a:p>
            <a:pPr marL="0" lvl="0" indent="0" algn="l" defTabSz="914400" rtl="0" eaLnBrk="1" latinLnBrk="0" hangingPunct="1">
              <a:lnSpc>
                <a:spcPct val="130000"/>
              </a:lnSpc>
              <a:spcBef>
                <a:spcPts val="0"/>
              </a:spcBef>
              <a:spcAft>
                <a:spcPts val="75"/>
              </a:spcAft>
              <a:buClr>
                <a:srgbClr val="0072C8"/>
              </a:buClr>
              <a:buSzPct val="110000"/>
              <a:buFont typeface="Arial" panose="020B0604020202020204" pitchFamily="34" charset="0"/>
              <a:buNone/>
            </a:pPr>
            <a:r>
              <a:rPr lang="en-US" dirty="0"/>
              <a:t>Enter a subtitle here.</a:t>
            </a:r>
          </a:p>
        </p:txBody>
      </p:sp>
      <p:sp>
        <p:nvSpPr>
          <p:cNvPr id="13" name="Text Placeholder 3"/>
          <p:cNvSpPr>
            <a:spLocks noGrp="1"/>
          </p:cNvSpPr>
          <p:nvPr>
            <p:ph type="body" sz="quarter" idx="16" hasCustomPrompt="1"/>
          </p:nvPr>
        </p:nvSpPr>
        <p:spPr>
          <a:xfrm>
            <a:off x="466725" y="4447235"/>
            <a:ext cx="1823085" cy="180634"/>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pic>
        <p:nvPicPr>
          <p:cNvPr id="7" name="Picture 6" descr="A picture containing logo&#10;&#10;Description automatically generated">
            <a:extLst>
              <a:ext uri="{FF2B5EF4-FFF2-40B4-BE49-F238E27FC236}">
                <a16:creationId xmlns:a16="http://schemas.microsoft.com/office/drawing/2014/main" id="{D516102F-0ED5-D974-2554-2006EA911A0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3411096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_light">
    <p:bg>
      <p:bgRef idx="1001">
        <a:schemeClr val="bg1"/>
      </p:bgRef>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438150"/>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496844"/>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4" name="Picture 3" descr="A picture containing logo&#10;&#10;Description automatically generated">
            <a:extLst>
              <a:ext uri="{FF2B5EF4-FFF2-40B4-BE49-F238E27FC236}">
                <a16:creationId xmlns:a16="http://schemas.microsoft.com/office/drawing/2014/main" id="{A1C8C370-A457-DE56-248F-D66B51708E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3763461979"/>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_gray">
    <p:bg>
      <p:bgPr>
        <a:solidFill>
          <a:schemeClr val="bg2"/>
        </a:solidFill>
        <a:effectLst/>
      </p:bgPr>
    </p:bg>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457917" y="438150"/>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tx1"/>
                </a:solidFill>
                <a:latin typeface="+mj-lt"/>
                <a:ea typeface="Roboto Medium" panose="02000000000000000000" pitchFamily="2" charset="0"/>
                <a:cs typeface="Segoe UI" panose="020B0502040204020203" pitchFamily="34" charset="0"/>
              </a:defRPr>
            </a:lvl1pPr>
          </a:lstStyle>
          <a:p>
            <a:r>
              <a:rPr lang="en-US" dirty="0"/>
              <a:t>Insert title here. In this</a:t>
            </a:r>
          </a:p>
        </p:txBody>
      </p:sp>
      <p:sp>
        <p:nvSpPr>
          <p:cNvPr id="3" name="Text Placeholder 2"/>
          <p:cNvSpPr>
            <a:spLocks noGrp="1"/>
          </p:cNvSpPr>
          <p:nvPr>
            <p:ph type="body" sz="quarter" idx="16" hasCustomPrompt="1"/>
          </p:nvPr>
        </p:nvSpPr>
        <p:spPr>
          <a:xfrm>
            <a:off x="461010" y="1496844"/>
            <a:ext cx="3657600" cy="671512"/>
          </a:xfrm>
        </p:spPr>
        <p:txBody>
          <a:bodyPr anchor="t"/>
          <a:lstStyle>
            <a:lvl1pPr marL="0" indent="0">
              <a:buNone/>
              <a:defRPr sz="1100">
                <a:solidFill>
                  <a:schemeClr val="accent1"/>
                </a:solidFill>
              </a:defRPr>
            </a:lvl1pPr>
            <a:lvl2pPr>
              <a:defRPr sz="1200"/>
            </a:lvl2pPr>
            <a:lvl3pPr>
              <a:defRPr sz="1200"/>
            </a:lvl3pPr>
            <a:lvl4pPr>
              <a:defRPr sz="1200"/>
            </a:lvl4pPr>
            <a:lvl5pPr>
              <a:defRPr sz="1200"/>
            </a:lvl5pPr>
          </a:lstStyle>
          <a:p>
            <a:pPr lvl="0"/>
            <a:r>
              <a:rPr lang="en-US" dirty="0"/>
              <a:t>Enter text here</a:t>
            </a:r>
            <a:endParaRPr lang="en-GB" dirty="0"/>
          </a:p>
        </p:txBody>
      </p:sp>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accent1"/>
                </a:solidFill>
              </a:defRPr>
            </a:lvl1pPr>
          </a:lstStyle>
          <a:p>
            <a:pPr lvl="0"/>
            <a:r>
              <a:rPr lang="en-US" dirty="0"/>
              <a:t>Optional small text </a:t>
            </a:r>
            <a:endParaRPr lang="en-GB" dirty="0"/>
          </a:p>
        </p:txBody>
      </p:sp>
      <p:pic>
        <p:nvPicPr>
          <p:cNvPr id="4" name="Picture 3" descr="A picture containing logo&#10;&#10;Description automatically generated">
            <a:extLst>
              <a:ext uri="{FF2B5EF4-FFF2-40B4-BE49-F238E27FC236}">
                <a16:creationId xmlns:a16="http://schemas.microsoft.com/office/drawing/2014/main" id="{03E49E74-D8E3-F95C-F88E-48BD7FE832B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20936669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_dark">
    <p:bg>
      <p:bgPr>
        <a:solidFill>
          <a:schemeClr val="tx2"/>
        </a:solidFill>
        <a:effectLst/>
      </p:bgPr>
    </p:bg>
    <p:spTree>
      <p:nvGrpSpPr>
        <p:cNvPr id="1" name=""/>
        <p:cNvGrpSpPr/>
        <p:nvPr/>
      </p:nvGrpSpPr>
      <p:grpSpPr>
        <a:xfrm>
          <a:off x="0" y="0"/>
          <a:ext cx="0" cy="0"/>
          <a:chOff x="0" y="0"/>
          <a:chExt cx="0" cy="0"/>
        </a:xfrm>
      </p:grpSpPr>
      <p:sp>
        <p:nvSpPr>
          <p:cNvPr id="26" name="Text Placeholder 3"/>
          <p:cNvSpPr>
            <a:spLocks noGrp="1"/>
          </p:cNvSpPr>
          <p:nvPr>
            <p:ph type="body" sz="quarter" idx="17" hasCustomPrompt="1"/>
          </p:nvPr>
        </p:nvSpPr>
        <p:spPr>
          <a:xfrm>
            <a:off x="466725" y="4447235"/>
            <a:ext cx="1823085" cy="180634"/>
          </a:xfrm>
        </p:spPr>
        <p:txBody>
          <a:bodyPr tIns="0" bIns="0" anchor="b"/>
          <a:lstStyle>
            <a:lvl1pPr marL="0" indent="0">
              <a:buNone/>
              <a:defRPr sz="800">
                <a:solidFill>
                  <a:schemeClr val="bg1"/>
                </a:solidFill>
              </a:defRPr>
            </a:lvl1pPr>
          </a:lstStyle>
          <a:p>
            <a:pPr lvl="0"/>
            <a:r>
              <a:rPr lang="en-US" dirty="0"/>
              <a:t>Optional small text </a:t>
            </a:r>
            <a:endParaRPr lang="en-GB" dirty="0"/>
          </a:p>
        </p:txBody>
      </p:sp>
      <p:sp>
        <p:nvSpPr>
          <p:cNvPr id="13" name="Title Placeholder 1"/>
          <p:cNvSpPr>
            <a:spLocks noGrp="1"/>
          </p:cNvSpPr>
          <p:nvPr>
            <p:ph type="title" hasCustomPrompt="1"/>
          </p:nvPr>
        </p:nvSpPr>
        <p:spPr>
          <a:xfrm>
            <a:off x="457917" y="438150"/>
            <a:ext cx="3656884" cy="889000"/>
          </a:xfrm>
          <a:prstGeom prst="rect">
            <a:avLst/>
          </a:prstGeom>
        </p:spPr>
        <p:txBody>
          <a:bodyPr vert="horz" lIns="0" tIns="0" rIns="0" bIns="0" rtlCol="0" anchor="t">
            <a:noAutofit/>
          </a:bodyPr>
          <a:lstStyle>
            <a:lvl1pPr marL="0" algn="l" defTabSz="914400" rtl="0" eaLnBrk="1" latinLnBrk="0" hangingPunct="1">
              <a:lnSpc>
                <a:spcPct val="80000"/>
              </a:lnSpc>
              <a:spcBef>
                <a:spcPct val="0"/>
              </a:spcBef>
              <a:buNone/>
              <a:defRPr lang="en-US" sz="4000" b="1" kern="0" spc="-200" baseline="0" dirty="0">
                <a:solidFill>
                  <a:schemeClr val="bg1"/>
                </a:solidFill>
                <a:latin typeface="+mj-lt"/>
                <a:ea typeface="Roboto Medium" panose="02000000000000000000" pitchFamily="2" charset="0"/>
                <a:cs typeface="Segoe UI" panose="020B0502040204020203" pitchFamily="34" charset="0"/>
              </a:defRPr>
            </a:lvl1pPr>
          </a:lstStyle>
          <a:p>
            <a:r>
              <a:rPr lang="en-US" dirty="0"/>
              <a:t>Insert title here. </a:t>
            </a:r>
          </a:p>
        </p:txBody>
      </p:sp>
      <p:sp>
        <p:nvSpPr>
          <p:cNvPr id="15" name="Text Placeholder 2"/>
          <p:cNvSpPr>
            <a:spLocks noGrp="1"/>
          </p:cNvSpPr>
          <p:nvPr>
            <p:ph type="body" sz="quarter" idx="16" hasCustomPrompt="1"/>
          </p:nvPr>
        </p:nvSpPr>
        <p:spPr>
          <a:xfrm>
            <a:off x="461010" y="1496844"/>
            <a:ext cx="3657600" cy="671512"/>
          </a:xfrm>
        </p:spPr>
        <p:txBody>
          <a:bodyPr anchor="t"/>
          <a:lstStyle>
            <a:lvl1pPr marL="0" indent="0">
              <a:buNone/>
              <a:defRPr sz="1100">
                <a:solidFill>
                  <a:schemeClr val="bg1"/>
                </a:solidFill>
              </a:defRPr>
            </a:lvl1pPr>
            <a:lvl2pPr>
              <a:defRPr sz="1200"/>
            </a:lvl2pPr>
            <a:lvl3pPr>
              <a:defRPr sz="1200"/>
            </a:lvl3pPr>
            <a:lvl4pPr>
              <a:defRPr sz="1200"/>
            </a:lvl4pPr>
            <a:lvl5pPr>
              <a:defRPr sz="1200"/>
            </a:lvl5pPr>
          </a:lstStyle>
          <a:p>
            <a:pPr lvl="0"/>
            <a:r>
              <a:rPr lang="en-US" dirty="0"/>
              <a:t>Enter text here</a:t>
            </a:r>
            <a:endParaRPr lang="en-GB" dirty="0"/>
          </a:p>
        </p:txBody>
      </p:sp>
      <p:pic>
        <p:nvPicPr>
          <p:cNvPr id="3" name="Picture 2" descr="A picture containing logo&#10;&#10;Description automatically generated">
            <a:extLst>
              <a:ext uri="{FF2B5EF4-FFF2-40B4-BE49-F238E27FC236}">
                <a16:creationId xmlns:a16="http://schemas.microsoft.com/office/drawing/2014/main" id="{ECD3B49D-0739-03BD-D3B7-35883C889AA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Tree>
    <p:extLst>
      <p:ext uri="{BB962C8B-B14F-4D97-AF65-F5344CB8AC3E}">
        <p14:creationId xmlns:p14="http://schemas.microsoft.com/office/powerpoint/2010/main" val="254453877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57200" y="435081"/>
            <a:ext cx="8069136" cy="264785"/>
          </a:xfrm>
          <a:prstGeom prst="rect">
            <a:avLst/>
          </a:prstGeom>
        </p:spPr>
        <p:txBody>
          <a:bodyPr vert="horz" wrap="square" lIns="0" tIns="0" rIns="0" bIns="0" rtlCol="0">
            <a:normAutofit/>
          </a:bodyPr>
          <a:lstStyle/>
          <a:p>
            <a:pPr marL="0" lvl="0" indent="0">
              <a:spcBef>
                <a:spcPts val="1200"/>
              </a:spcBef>
              <a:buClr>
                <a:srgbClr val="0072C8"/>
              </a:buClr>
              <a:buSzPct val="110000"/>
              <a:buFont typeface="Wingdings" panose="05000000000000000000" pitchFamily="2" charset="2"/>
            </a:pPr>
            <a:endParaRPr lang="en-US" dirty="0"/>
          </a:p>
        </p:txBody>
      </p:sp>
      <p:sp>
        <p:nvSpPr>
          <p:cNvPr id="7" name="Text Placeholder 6"/>
          <p:cNvSpPr>
            <a:spLocks noGrp="1"/>
          </p:cNvSpPr>
          <p:nvPr>
            <p:ph type="body" idx="1"/>
          </p:nvPr>
        </p:nvSpPr>
        <p:spPr>
          <a:xfrm>
            <a:off x="457200" y="1072134"/>
            <a:ext cx="8236324" cy="1059264"/>
          </a:xfrm>
          <a:prstGeom prst="rect">
            <a:avLst/>
          </a:prstGeom>
        </p:spPr>
        <p:txBody>
          <a:bodyPr vert="horz" wrap="square" lIns="0" tIns="45720" rIns="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Box 15"/>
          <p:cNvSpPr txBox="1"/>
          <p:nvPr userDrawn="1"/>
        </p:nvSpPr>
        <p:spPr>
          <a:xfrm>
            <a:off x="7662673" y="4560148"/>
            <a:ext cx="1030852"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a:solidFill>
                  <a:schemeClr val="accent3"/>
                </a:solidFill>
                <a:latin typeface="Arial" panose="020B0604020202020204" pitchFamily="34" charset="0"/>
                <a:cs typeface="Arial" panose="020B0604020202020204" pitchFamily="34" charset="0"/>
              </a:rPr>
              <a:t> </a:t>
            </a: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a:t>
            </a:fld>
            <a:r>
              <a:rPr lang="en-GB" sz="800" spc="0" baseline="0" dirty="0">
                <a:solidFill>
                  <a:schemeClr val="accent3"/>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93987413"/>
      </p:ext>
    </p:extLst>
  </p:cSld>
  <p:clrMap bg1="lt1" tx1="dk1" bg2="lt2" tx2="dk2" accent1="accent1" accent2="accent2" accent3="accent3" accent4="accent4" accent5="accent5" accent6="accent6" hlink="hlink" folHlink="folHlink"/>
  <p:sldLayoutIdLst>
    <p:sldLayoutId id="2147483994" r:id="rId1"/>
    <p:sldLayoutId id="2147484071" r:id="rId2"/>
    <p:sldLayoutId id="2147484001" r:id="rId3"/>
    <p:sldLayoutId id="2147484067" r:id="rId4"/>
    <p:sldLayoutId id="2147484044" r:id="rId5"/>
    <p:sldLayoutId id="2147484068" r:id="rId6"/>
    <p:sldLayoutId id="2147484069" r:id="rId7"/>
    <p:sldLayoutId id="2147484016" r:id="rId8"/>
    <p:sldLayoutId id="2147484045" r:id="rId9"/>
    <p:sldLayoutId id="2147484054" r:id="rId10"/>
    <p:sldLayoutId id="2147484000" r:id="rId11"/>
    <p:sldLayoutId id="2147484038" r:id="rId12"/>
    <p:sldLayoutId id="2147484062" r:id="rId13"/>
    <p:sldLayoutId id="2147484063" r:id="rId14"/>
    <p:sldLayoutId id="2147483965" r:id="rId15"/>
    <p:sldLayoutId id="2147484035" r:id="rId16"/>
    <p:sldLayoutId id="2147484070" r:id="rId17"/>
    <p:sldLayoutId id="2147484051" r:id="rId18"/>
    <p:sldLayoutId id="2147484053" r:id="rId19"/>
    <p:sldLayoutId id="2147484052" r:id="rId20"/>
    <p:sldLayoutId id="2147484042" r:id="rId21"/>
    <p:sldLayoutId id="2147484043" r:id="rId22"/>
    <p:sldLayoutId id="2147484050" r:id="rId23"/>
    <p:sldLayoutId id="2147483967" r:id="rId24"/>
    <p:sldLayoutId id="2147483990" r:id="rId25"/>
    <p:sldLayoutId id="2147484058" r:id="rId26"/>
    <p:sldLayoutId id="2147484060" r:id="rId27"/>
    <p:sldLayoutId id="2147484046" r:id="rId28"/>
    <p:sldLayoutId id="2147484048" r:id="rId29"/>
    <p:sldLayoutId id="2147484064" r:id="rId30"/>
    <p:sldLayoutId id="2147484056" r:id="rId31"/>
    <p:sldLayoutId id="2147483986" r:id="rId32"/>
    <p:sldLayoutId id="2147484010" r:id="rId33"/>
    <p:sldLayoutId id="2147484004" r:id="rId34"/>
    <p:sldLayoutId id="2147484059" r:id="rId35"/>
    <p:sldLayoutId id="2147484018" r:id="rId36"/>
    <p:sldLayoutId id="2147484030" r:id="rId37"/>
    <p:sldLayoutId id="2147484061" r:id="rId38"/>
    <p:sldLayoutId id="2147484065" r:id="rId39"/>
    <p:sldLayoutId id="2147484003" r:id="rId40"/>
    <p:sldLayoutId id="2147484023" r:id="rId41"/>
    <p:sldLayoutId id="2147484047" r:id="rId42"/>
    <p:sldLayoutId id="2147484072" r:id="rId43"/>
    <p:sldLayoutId id="2147484073" r:id="rId44"/>
    <p:sldLayoutId id="2147484074" r:id="rId45"/>
    <p:sldLayoutId id="2147484075" r:id="rId46"/>
  </p:sldLayoutIdLst>
  <p:hf sldNum="0" hdr="0" dt="0"/>
  <p:txStyles>
    <p:titleStyle>
      <a:lvl1pPr algn="l" defTabSz="914400" rtl="0" eaLnBrk="1" latinLnBrk="0" hangingPunct="1">
        <a:lnSpc>
          <a:spcPct val="90000"/>
        </a:lnSpc>
        <a:spcBef>
          <a:spcPct val="0"/>
        </a:spcBef>
        <a:buNone/>
        <a:defRPr lang="en-US" sz="1800" b="1" kern="0" spc="-100" baseline="0" dirty="0">
          <a:solidFill>
            <a:schemeClr val="accent3"/>
          </a:solidFill>
          <a:latin typeface="Arial" panose="020B0604020202020204" pitchFamily="34" charset="0"/>
          <a:ea typeface="Roboto Medium" panose="02000000000000000000" pitchFamily="2" charset="0"/>
          <a:cs typeface="Arial" panose="020B0604020202020204" pitchFamily="34" charset="0"/>
        </a:defRPr>
      </a:lvl1pPr>
    </p:titleStyle>
    <p:body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20">
          <p15:clr>
            <a:srgbClr val="F26B43"/>
          </p15:clr>
        </p15:guide>
        <p15:guide id="2" pos="2880">
          <p15:clr>
            <a:srgbClr val="F26B43"/>
          </p15:clr>
        </p15:guide>
        <p15:guide id="3" pos="144">
          <p15:clr>
            <a:srgbClr val="F26B43"/>
          </p15:clr>
        </p15:guide>
        <p15:guide id="4" pos="288">
          <p15:clr>
            <a:srgbClr val="F26B43"/>
          </p15:clr>
        </p15:guide>
        <p15:guide id="5" pos="5472">
          <p15:clr>
            <a:srgbClr val="F26B43"/>
          </p15:clr>
        </p15:guide>
        <p15:guide id="6" pos="5616">
          <p15:clr>
            <a:srgbClr val="F26B43"/>
          </p15:clr>
        </p15:guide>
        <p15:guide id="7" orient="horz" pos="3084">
          <p15:clr>
            <a:srgbClr val="F26B43"/>
          </p15:clr>
        </p15:guide>
        <p15:guide id="8" orient="horz" pos="672">
          <p15:clr>
            <a:srgbClr val="F26B43"/>
          </p15:clr>
        </p15:guide>
        <p15:guide id="9" orient="horz" pos="276">
          <p15:clr>
            <a:srgbClr val="F26B43"/>
          </p15:clr>
        </p15:guide>
        <p15:guide id="10" orient="horz" pos="2964">
          <p15:clr>
            <a:srgbClr val="F26B43"/>
          </p15:clr>
        </p15:guide>
        <p15:guide id="11" orient="horz" pos="15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hyperlink" Target="https://www.incose.org/"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32.xml"/><Relationship Id="rId5" Type="http://schemas.openxmlformats.org/officeDocument/2006/relationships/image" Target="../media/image15.jpeg"/><Relationship Id="rId4" Type="http://schemas.openxmlformats.org/officeDocument/2006/relationships/image" Target="../media/image14.jpeg"/></Relationships>
</file>

<file path=ppt/slides/_rels/slide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3" Type="http://schemas.openxmlformats.org/officeDocument/2006/relationships/hyperlink" Target="https://sp.slalom.com/ourfirm/studio/SitePages/templates.aspx"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3.xml"/><Relationship Id="rId1" Type="http://schemas.openxmlformats.org/officeDocument/2006/relationships/slideLayout" Target="../slideLayouts/slideLayout15.xml"/></Relationships>
</file>

<file path=ppt/slides/_rels/slide3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3.xml"/><Relationship Id="rId5" Type="http://schemas.openxmlformats.org/officeDocument/2006/relationships/slideLayout" Target="../slideLayouts/slideLayout15.xml"/><Relationship Id="rId4" Type="http://schemas.openxmlformats.org/officeDocument/2006/relationships/tags" Target="../tags/tag4.xml"/></Relationships>
</file>

<file path=ppt/slides/_rels/slide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chart" Target="../charts/chart7.xml"/><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hyperlink" Target="https://sp.slalom.com/ourfirm/studio/SitePages/templates.aspx"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4.png"/><Relationship Id="rId7" Type="http://schemas.openxmlformats.org/officeDocument/2006/relationships/image" Target="../media/image20.png"/><Relationship Id="rId2" Type="http://schemas.openxmlformats.org/officeDocument/2006/relationships/image" Target="../media/image18.jpeg"/><Relationship Id="rId1" Type="http://schemas.openxmlformats.org/officeDocument/2006/relationships/slideLayout" Target="../slideLayouts/slideLayout44.xml"/><Relationship Id="rId6" Type="http://schemas.openxmlformats.org/officeDocument/2006/relationships/image" Target="../media/image19.png"/><Relationship Id="rId5" Type="http://schemas.openxmlformats.org/officeDocument/2006/relationships/hyperlink" Target="http://www.incose.org/" TargetMode="External"/><Relationship Id="rId4" Type="http://schemas.openxmlformats.org/officeDocument/2006/relationships/hyperlink" Target="mailto:marcom@incose.net" TargetMode="External"/><Relationship Id="rId9" Type="http://schemas.openxmlformats.org/officeDocument/2006/relationships/image" Target="../media/image22.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3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15.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7FCC4C-3BAE-CEB8-F120-7B51066D15DC}"/>
            </a:ext>
          </a:extLst>
        </p:cNvPr>
        <p:cNvGrpSpPr/>
        <p:nvPr/>
      </p:nvGrpSpPr>
      <p:grpSpPr>
        <a:xfrm>
          <a:off x="0" y="0"/>
          <a:ext cx="0" cy="0"/>
          <a:chOff x="0" y="0"/>
          <a:chExt cx="0" cy="0"/>
        </a:xfrm>
      </p:grpSpPr>
      <p:sp>
        <p:nvSpPr>
          <p:cNvPr id="16" name="Rectangle 15">
            <a:extLst>
              <a:ext uri="{FF2B5EF4-FFF2-40B4-BE49-F238E27FC236}">
                <a16:creationId xmlns:a16="http://schemas.microsoft.com/office/drawing/2014/main" id="{16EA35DF-18EF-0E2D-9B3D-74A163F440ED}"/>
              </a:ext>
            </a:extLst>
          </p:cNvPr>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3" name="Straight Connector 2">
            <a:extLst>
              <a:ext uri="{FF2B5EF4-FFF2-40B4-BE49-F238E27FC236}">
                <a16:creationId xmlns:a16="http://schemas.microsoft.com/office/drawing/2014/main" id="{740FC553-AD0D-0D40-292C-307F0B0567E8}"/>
              </a:ext>
            </a:extLst>
          </p:cNvPr>
          <p:cNvCxnSpPr>
            <a:cxnSpLocks/>
          </p:cNvCxnSpPr>
          <p:nvPr/>
        </p:nvCxnSpPr>
        <p:spPr>
          <a:xfrm>
            <a:off x="4569229" y="569881"/>
            <a:ext cx="2771" cy="3600675"/>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ADE856B9-B1A2-D9B6-65BA-A538BAD6E0D6}"/>
              </a:ext>
            </a:extLst>
          </p:cNvPr>
          <p:cNvSpPr>
            <a:spLocks noGrp="1"/>
          </p:cNvSpPr>
          <p:nvPr>
            <p:ph type="title"/>
          </p:nvPr>
        </p:nvSpPr>
        <p:spPr>
          <a:xfrm>
            <a:off x="466851" y="438150"/>
            <a:ext cx="3827316" cy="1338611"/>
          </a:xfrm>
        </p:spPr>
        <p:txBody>
          <a:bodyPr/>
          <a:lstStyle/>
          <a:p>
            <a:r>
              <a:rPr lang="en-US" sz="3200" spc="0" dirty="0"/>
              <a:t>INCOSE PPT Template and Toolkit</a:t>
            </a:r>
          </a:p>
        </p:txBody>
      </p:sp>
      <p:sp>
        <p:nvSpPr>
          <p:cNvPr id="33" name="Text Placeholder 32">
            <a:extLst>
              <a:ext uri="{FF2B5EF4-FFF2-40B4-BE49-F238E27FC236}">
                <a16:creationId xmlns:a16="http://schemas.microsoft.com/office/drawing/2014/main" id="{446028DD-1E83-A4CB-9AC3-567C05B6EC4C}"/>
              </a:ext>
            </a:extLst>
          </p:cNvPr>
          <p:cNvSpPr>
            <a:spLocks noGrp="1"/>
          </p:cNvSpPr>
          <p:nvPr>
            <p:ph type="body" sz="quarter" idx="10"/>
          </p:nvPr>
        </p:nvSpPr>
        <p:spPr>
          <a:xfrm>
            <a:off x="5176250" y="956215"/>
            <a:ext cx="2698965" cy="2381521"/>
          </a:xfrm>
        </p:spPr>
        <p:txBody>
          <a:bodyPr/>
          <a:lstStyle/>
          <a:p>
            <a:r>
              <a:rPr lang="en-US" b="1" dirty="0"/>
              <a:t>Table of Contents</a:t>
            </a:r>
          </a:p>
          <a:p>
            <a:endParaRPr lang="en-US" dirty="0"/>
          </a:p>
          <a:p>
            <a:r>
              <a:rPr lang="en-US" dirty="0"/>
              <a:t>Toolkit….2 – 29</a:t>
            </a:r>
          </a:p>
          <a:p>
            <a:r>
              <a:rPr lang="en-US" dirty="0"/>
              <a:t>Brand…50 – 53</a:t>
            </a:r>
          </a:p>
          <a:p>
            <a:r>
              <a:rPr lang="en-US" dirty="0"/>
              <a:t>Icons…54 – 58</a:t>
            </a:r>
          </a:p>
          <a:p>
            <a:r>
              <a:rPr lang="en-US" dirty="0"/>
              <a:t>Maps…59 - 65</a:t>
            </a:r>
            <a:endParaRPr lang="en-GB" dirty="0"/>
          </a:p>
        </p:txBody>
      </p:sp>
      <p:sp>
        <p:nvSpPr>
          <p:cNvPr id="6" name="TextBox 5">
            <a:extLst>
              <a:ext uri="{FF2B5EF4-FFF2-40B4-BE49-F238E27FC236}">
                <a16:creationId xmlns:a16="http://schemas.microsoft.com/office/drawing/2014/main" id="{57BFCA43-2A38-A1D0-7BEC-45CA340FAA3E}"/>
              </a:ext>
            </a:extLst>
          </p:cNvPr>
          <p:cNvSpPr txBox="1"/>
          <p:nvPr/>
        </p:nvSpPr>
        <p:spPr>
          <a:xfrm>
            <a:off x="381006" y="2330605"/>
            <a:ext cx="2278487" cy="914400"/>
          </a:xfrm>
          <a:prstGeom prst="rect">
            <a:avLst/>
          </a:prstGeom>
          <a:noFill/>
        </p:spPr>
        <p:txBody>
          <a:bodyPr wrap="none" rtlCol="0">
            <a:noAutofit/>
          </a:bodyPr>
          <a:lstStyle/>
          <a:p>
            <a:pPr>
              <a:spcBef>
                <a:spcPts val="750"/>
              </a:spcBef>
              <a:buClr>
                <a:schemeClr val="accent2"/>
              </a:buClr>
              <a:buSzPct val="100000"/>
            </a:pPr>
            <a:endParaRPr lang="en-US" sz="140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FAEB24D5-29F2-38D2-10E8-ADC9D9869B28}"/>
              </a:ext>
            </a:extLst>
          </p:cNvPr>
          <p:cNvSpPr txBox="1"/>
          <p:nvPr/>
        </p:nvSpPr>
        <p:spPr>
          <a:xfrm>
            <a:off x="381006" y="2321675"/>
            <a:ext cx="4057178" cy="1200329"/>
          </a:xfrm>
          <a:prstGeom prst="rect">
            <a:avLst/>
          </a:prstGeom>
          <a:noFill/>
        </p:spPr>
        <p:txBody>
          <a:bodyPr wrap="square">
            <a:spAutoFit/>
          </a:bodyPr>
          <a:lstStyle/>
          <a:p>
            <a:pPr>
              <a:spcBef>
                <a:spcPts val="750"/>
              </a:spcBef>
              <a:buClr>
                <a:schemeClr val="accent2"/>
              </a:buClr>
              <a:buSzPct val="100000"/>
            </a:pPr>
            <a:r>
              <a:rPr lang="en-US" sz="1800" dirty="0">
                <a:solidFill>
                  <a:schemeClr val="bg1"/>
                </a:solidFill>
                <a:latin typeface="Arial" panose="020B0604020202020204" pitchFamily="34" charset="0"/>
                <a:cs typeface="Arial" panose="020B0604020202020204" pitchFamily="34" charset="0"/>
              </a:rPr>
              <a:t>The following slides are intended as a template for adding content.  Use this deck as a resource, while crafting your presentation or document. </a:t>
            </a:r>
          </a:p>
        </p:txBody>
      </p:sp>
    </p:spTree>
    <p:extLst>
      <p:ext uri="{BB962C8B-B14F-4D97-AF65-F5344CB8AC3E}">
        <p14:creationId xmlns:p14="http://schemas.microsoft.com/office/powerpoint/2010/main" val="9187925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p:txBody>
          <a:bodyPr/>
          <a:lstStyle/>
          <a:p>
            <a:r>
              <a:rPr lang="en-US" dirty="0"/>
              <a:t>Add a subtitle here</a:t>
            </a:r>
          </a:p>
          <a:p>
            <a:r>
              <a:rPr lang="en-US" dirty="0"/>
              <a:t>You can keep writing more text here if you need. You can copy and paste this box for more text to the right. Or you can insert a photo or graphic on the right. </a:t>
            </a:r>
          </a:p>
          <a:p>
            <a:endParaRPr lang="en-US" dirty="0"/>
          </a:p>
          <a:p>
            <a:endParaRPr lang="en-US" dirty="0"/>
          </a:p>
        </p:txBody>
      </p:sp>
      <p:sp>
        <p:nvSpPr>
          <p:cNvPr id="2" name="Text Placeholder 1"/>
          <p:cNvSpPr>
            <a:spLocks noGrp="1"/>
          </p:cNvSpPr>
          <p:nvPr>
            <p:ph type="body" sz="quarter" idx="11"/>
          </p:nvPr>
        </p:nvSpPr>
        <p:spPr>
          <a:xfrm>
            <a:off x="464493" y="520065"/>
            <a:ext cx="2716857" cy="949858"/>
          </a:xfrm>
        </p:spPr>
        <p:txBody>
          <a:bodyPr/>
          <a:lstStyle/>
          <a:p>
            <a:r>
              <a:rPr lang="en-US" dirty="0">
                <a:solidFill>
                  <a:schemeClr val="accent1"/>
                </a:solidFill>
              </a:rPr>
              <a:t>Left aligned titles</a:t>
            </a:r>
          </a:p>
        </p:txBody>
      </p:sp>
    </p:spTree>
    <p:extLst>
      <p:ext uri="{BB962C8B-B14F-4D97-AF65-F5344CB8AC3E}">
        <p14:creationId xmlns:p14="http://schemas.microsoft.com/office/powerpoint/2010/main" val="697294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2"/>
          </p:nvPr>
        </p:nvSpPr>
        <p:spPr>
          <a:xfrm>
            <a:off x="4582480" y="523875"/>
            <a:ext cx="2452501" cy="3503613"/>
          </a:xfrm>
        </p:spPr>
        <p:txBody>
          <a:bodyPr/>
          <a:lstStyle/>
          <a:p>
            <a:r>
              <a:rPr lang="en-US"/>
              <a:t>This space is for your text, story, or point of this slide. It’s ok to keep it short.</a:t>
            </a:r>
          </a:p>
          <a:p>
            <a:r>
              <a:rPr lang="en-US"/>
              <a:t>Breaking up text into paragraphs makes it faster and easier to read.</a:t>
            </a:r>
          </a:p>
          <a:p>
            <a:r>
              <a:rPr lang="en-US"/>
              <a:t>In this example there are three short paragraphs. It’s nice and easy to read. See you’re already done.</a:t>
            </a:r>
            <a:endParaRPr lang="en-US" dirty="0"/>
          </a:p>
        </p:txBody>
      </p:sp>
      <p:sp>
        <p:nvSpPr>
          <p:cNvPr id="9" name="Text Placeholder 8"/>
          <p:cNvSpPr>
            <a:spLocks noGrp="1"/>
          </p:cNvSpPr>
          <p:nvPr>
            <p:ph type="body" sz="quarter" idx="11"/>
          </p:nvPr>
        </p:nvSpPr>
        <p:spPr/>
        <p:txBody>
          <a:bodyPr/>
          <a:lstStyle/>
          <a:p>
            <a:r>
              <a:rPr lang="en-US" dirty="0"/>
              <a:t>To the point </a:t>
            </a:r>
            <a:br>
              <a:rPr lang="en-US" dirty="0"/>
            </a:br>
            <a:r>
              <a:rPr lang="en-US" dirty="0"/>
              <a:t>text layout</a:t>
            </a:r>
          </a:p>
          <a:p>
            <a:endParaRPr lang="en-GB" dirty="0"/>
          </a:p>
        </p:txBody>
      </p:sp>
    </p:spTree>
    <p:extLst>
      <p:ext uri="{BB962C8B-B14F-4D97-AF65-F5344CB8AC3E}">
        <p14:creationId xmlns:p14="http://schemas.microsoft.com/office/powerpoint/2010/main" val="30334564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9" name="Text Placeholder 8"/>
          <p:cNvSpPr>
            <a:spLocks noGrp="1"/>
          </p:cNvSpPr>
          <p:nvPr>
            <p:ph type="body" sz="quarter" idx="12"/>
          </p:nvPr>
        </p:nvSpPr>
        <p:spPr>
          <a:xfrm>
            <a:off x="4582478" y="438150"/>
            <a:ext cx="2961322" cy="3503613"/>
          </a:xfrm>
        </p:spPr>
        <p:txBody>
          <a:bodyPr/>
          <a:lstStyle/>
          <a:p>
            <a:r>
              <a:rPr lang="en-US" dirty="0"/>
              <a:t>Changing between light and dark background slides creates a dynamic presentation.</a:t>
            </a:r>
          </a:p>
          <a:p>
            <a:r>
              <a:rPr lang="en-US" dirty="0"/>
              <a:t>Look under the Layout drop down menu in the Home Ribbon tab to find other color options.</a:t>
            </a:r>
          </a:p>
          <a:p>
            <a:r>
              <a:rPr lang="en-US" dirty="0"/>
              <a:t>If you’re really fancy you can change the background color yourself under the Design tab far left “format background” button.</a:t>
            </a:r>
          </a:p>
        </p:txBody>
      </p:sp>
      <p:sp>
        <p:nvSpPr>
          <p:cNvPr id="12" name="Text Placeholder 11"/>
          <p:cNvSpPr>
            <a:spLocks noGrp="1"/>
          </p:cNvSpPr>
          <p:nvPr>
            <p:ph type="body" sz="quarter" idx="11"/>
          </p:nvPr>
        </p:nvSpPr>
        <p:spPr/>
        <p:txBody>
          <a:bodyPr/>
          <a:lstStyle/>
          <a:p>
            <a:r>
              <a:rPr lang="en-US" dirty="0">
                <a:solidFill>
                  <a:schemeClr val="accent1"/>
                </a:solidFill>
              </a:rPr>
              <a:t>Here’s another color for this text layout</a:t>
            </a:r>
          </a:p>
        </p:txBody>
      </p:sp>
    </p:spTree>
    <p:extLst>
      <p:ext uri="{BB962C8B-B14F-4D97-AF65-F5344CB8AC3E}">
        <p14:creationId xmlns:p14="http://schemas.microsoft.com/office/powerpoint/2010/main" val="12463860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GB">
              <a:solidFill>
                <a:schemeClr val="tx1"/>
              </a:solidFill>
            </a:endParaRPr>
          </a:p>
        </p:txBody>
      </p:sp>
      <p:sp>
        <p:nvSpPr>
          <p:cNvPr id="6" name="Text Placeholder 5"/>
          <p:cNvSpPr>
            <a:spLocks noGrp="1"/>
          </p:cNvSpPr>
          <p:nvPr>
            <p:ph type="body" sz="quarter" idx="17"/>
          </p:nvPr>
        </p:nvSpPr>
        <p:spPr/>
        <p:txBody>
          <a:bodyPr/>
          <a:lstStyle/>
          <a:p>
            <a:r>
              <a:rPr lang="en-US" dirty="0">
                <a:solidFill>
                  <a:schemeClr val="accent1"/>
                </a:solidFill>
              </a:rPr>
              <a:t>Content slide with bullet points</a:t>
            </a:r>
            <a:endParaRPr lang="en-GB" dirty="0">
              <a:solidFill>
                <a:schemeClr val="accent1"/>
              </a:solidFill>
            </a:endParaRPr>
          </a:p>
        </p:txBody>
      </p:sp>
      <p:sp>
        <p:nvSpPr>
          <p:cNvPr id="7" name="Text Placeholder 6"/>
          <p:cNvSpPr>
            <a:spLocks noGrp="1"/>
          </p:cNvSpPr>
          <p:nvPr>
            <p:ph type="body" sz="quarter" idx="18"/>
          </p:nvPr>
        </p:nvSpPr>
        <p:spPr/>
        <p:txBody>
          <a:bodyPr/>
          <a:lstStyle/>
          <a:p>
            <a:endParaRPr lang="en-GB"/>
          </a:p>
        </p:txBody>
      </p:sp>
      <p:sp>
        <p:nvSpPr>
          <p:cNvPr id="8" name="Text Placeholder 7"/>
          <p:cNvSpPr>
            <a:spLocks noGrp="1"/>
          </p:cNvSpPr>
          <p:nvPr>
            <p:ph type="body" sz="quarter" idx="19"/>
          </p:nvPr>
        </p:nvSpPr>
        <p:spPr/>
        <p:txBody>
          <a:bodyPr/>
          <a:lstStyle/>
          <a:p>
            <a:r>
              <a:rPr lang="en-US" dirty="0">
                <a:solidFill>
                  <a:schemeClr val="tx1"/>
                </a:solidFill>
              </a:rPr>
              <a:t>Click to add text</a:t>
            </a:r>
            <a:endParaRPr lang="en-GB" dirty="0">
              <a:solidFill>
                <a:schemeClr val="tx1"/>
              </a:solidFill>
            </a:endParaRPr>
          </a:p>
        </p:txBody>
      </p:sp>
    </p:spTree>
    <p:extLst>
      <p:ext uri="{BB962C8B-B14F-4D97-AF65-F5344CB8AC3E}">
        <p14:creationId xmlns:p14="http://schemas.microsoft.com/office/powerpoint/2010/main" val="4353080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p:txBody>
          <a:bodyPr/>
          <a:lstStyle/>
          <a:p>
            <a:endParaRPr lang="en-GB" dirty="0">
              <a:solidFill>
                <a:schemeClr val="tx1"/>
              </a:solidFill>
            </a:endParaRPr>
          </a:p>
        </p:txBody>
      </p:sp>
      <p:sp>
        <p:nvSpPr>
          <p:cNvPr id="6" name="Text Placeholder 5"/>
          <p:cNvSpPr>
            <a:spLocks noGrp="1"/>
          </p:cNvSpPr>
          <p:nvPr>
            <p:ph type="body" sz="quarter" idx="17"/>
          </p:nvPr>
        </p:nvSpPr>
        <p:spPr/>
        <p:txBody>
          <a:bodyPr/>
          <a:lstStyle/>
          <a:p>
            <a:r>
              <a:rPr lang="en-US" dirty="0">
                <a:solidFill>
                  <a:schemeClr val="accent1"/>
                </a:solidFill>
              </a:rPr>
              <a:t>Content slide with three column</a:t>
            </a:r>
            <a:endParaRPr lang="en-GB" dirty="0">
              <a:solidFill>
                <a:schemeClr val="accent1"/>
              </a:solidFill>
            </a:endParaRPr>
          </a:p>
        </p:txBody>
      </p:sp>
      <p:sp>
        <p:nvSpPr>
          <p:cNvPr id="3" name="TextBox 2"/>
          <p:cNvSpPr txBox="1"/>
          <p:nvPr/>
        </p:nvSpPr>
        <p:spPr>
          <a:xfrm>
            <a:off x="373747" y="2241233"/>
            <a:ext cx="2630710"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This is a three</a:t>
            </a:r>
            <a:r>
              <a:rPr lang="en-GB" sz="1100" dirty="0">
                <a:latin typeface="Arial" panose="020B0604020202020204" pitchFamily="34" charset="0"/>
                <a:cs typeface="Arial" panose="020B0604020202020204" pitchFamily="34" charset="0"/>
              </a:rPr>
              <a:t>-column text layou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Use it for bullet points</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Or three short paragraphs</a:t>
            </a:r>
          </a:p>
        </p:txBody>
      </p:sp>
      <p:sp>
        <p:nvSpPr>
          <p:cNvPr id="9" name="TextBox 8"/>
          <p:cNvSpPr txBox="1"/>
          <p:nvPr/>
        </p:nvSpPr>
        <p:spPr>
          <a:xfrm>
            <a:off x="3275714"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Click to edit tex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Hit enter for next line</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ike so</a:t>
            </a:r>
          </a:p>
        </p:txBody>
      </p:sp>
      <p:sp>
        <p:nvSpPr>
          <p:cNvPr id="10" name="TextBox 9"/>
          <p:cNvSpPr txBox="1"/>
          <p:nvPr/>
        </p:nvSpPr>
        <p:spPr>
          <a:xfrm>
            <a:off x="6177682" y="2241233"/>
            <a:ext cx="2507222" cy="1971675"/>
          </a:xfrm>
          <a:prstGeom prst="rect">
            <a:avLst/>
          </a:prstGeom>
          <a:noFill/>
        </p:spPr>
        <p:txBody>
          <a:bodyPr wrap="square" rtlCol="0">
            <a:noAutofit/>
          </a:bodyPr>
          <a:lstStyle/>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orem ipsum dolor sit </a:t>
            </a:r>
            <a:r>
              <a:rPr lang="en-US" sz="1100" dirty="0" err="1">
                <a:latin typeface="Arial" panose="020B0604020202020204" pitchFamily="34" charset="0"/>
                <a:cs typeface="Arial" panose="020B0604020202020204" pitchFamily="34" charset="0"/>
              </a:rPr>
              <a:t>amet</a:t>
            </a:r>
            <a:r>
              <a:rPr lang="en-US" sz="1100" dirty="0">
                <a:latin typeface="Arial" panose="020B0604020202020204" pitchFamily="34" charset="0"/>
                <a:cs typeface="Arial" panose="020B0604020202020204" pitchFamily="34" charset="0"/>
              </a:rPr>
              <a:t>.</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Lorem ipsum dolor sit. Lorem description ipsum dolor </a:t>
            </a:r>
          </a:p>
          <a:p>
            <a:pPr marL="285750" indent="-285750">
              <a:spcBef>
                <a:spcPts val="750"/>
              </a:spcBef>
              <a:buClr>
                <a:schemeClr val="accent1"/>
              </a:buClr>
              <a:buSzPct val="110000"/>
              <a:buFont typeface="Arial" panose="020B0604020202020204" pitchFamily="34" charset="0"/>
              <a:buChar char="•"/>
            </a:pPr>
            <a:r>
              <a:rPr lang="en-US" sz="1100" dirty="0">
                <a:latin typeface="Arial" panose="020B0604020202020204" pitchFamily="34" charset="0"/>
                <a:cs typeface="Arial" panose="020B0604020202020204" pitchFamily="34" charset="0"/>
              </a:rPr>
              <a:t>Sit dolor lorem. Ipsum description dolor sit dolor.</a:t>
            </a:r>
          </a:p>
          <a:p>
            <a:pPr marL="285750" indent="-285750">
              <a:spcBef>
                <a:spcPts val="750"/>
              </a:spcBef>
              <a:buClr>
                <a:schemeClr val="accent1"/>
              </a:buClr>
              <a:buSzPct val="110000"/>
              <a:buFont typeface="Arial" panose="020B0604020202020204" pitchFamily="34" charset="0"/>
              <a:buChar char="•"/>
            </a:pPr>
            <a:endParaRPr lang="en-US" sz="1100" dirty="0">
              <a:latin typeface="Arial" panose="020B0604020202020204" pitchFamily="34" charset="0"/>
              <a:cs typeface="Arial" panose="020B0604020202020204" pitchFamily="34" charset="0"/>
            </a:endParaRPr>
          </a:p>
          <a:p>
            <a:pPr marL="285750" indent="-285750">
              <a:spcBef>
                <a:spcPts val="750"/>
              </a:spcBef>
              <a:buClr>
                <a:schemeClr val="accent1"/>
              </a:buClr>
              <a:buSzPct val="110000"/>
              <a:buFont typeface="Arial" panose="020B0604020202020204" pitchFamily="34" charset="0"/>
              <a:buChar char="•"/>
            </a:pPr>
            <a:endParaRPr lang="en-GB" sz="1100" dirty="0" err="1">
              <a:latin typeface="Arial" panose="020B0604020202020204" pitchFamily="34" charset="0"/>
              <a:cs typeface="Arial" panose="020B0604020202020204" pitchFamily="34" charset="0"/>
            </a:endParaRPr>
          </a:p>
        </p:txBody>
      </p:sp>
      <p:sp>
        <p:nvSpPr>
          <p:cNvPr id="14" name="TextBox 13"/>
          <p:cNvSpPr txBox="1"/>
          <p:nvPr/>
        </p:nvSpPr>
        <p:spPr>
          <a:xfrm>
            <a:off x="373747"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This is a header</a:t>
            </a:r>
          </a:p>
        </p:txBody>
      </p:sp>
      <p:sp>
        <p:nvSpPr>
          <p:cNvPr id="15" name="TextBox 14"/>
          <p:cNvSpPr txBox="1"/>
          <p:nvPr/>
        </p:nvSpPr>
        <p:spPr>
          <a:xfrm>
            <a:off x="3275714"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Add your content here</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6" name="TextBox 15"/>
          <p:cNvSpPr txBox="1"/>
          <p:nvPr/>
        </p:nvSpPr>
        <p:spPr>
          <a:xfrm>
            <a:off x="6177682" y="1893570"/>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Here’s a third header</a:t>
            </a:r>
            <a:endParaRPr lang="en-GB" sz="1400" b="1" spc="-50"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0927668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12" name="Text Placeholder 11"/>
          <p:cNvSpPr>
            <a:spLocks noGrp="1"/>
          </p:cNvSpPr>
          <p:nvPr>
            <p:ph type="body" sz="quarter" idx="11"/>
          </p:nvPr>
        </p:nvSpPr>
        <p:spPr>
          <a:xfrm>
            <a:off x="464493" y="441223"/>
            <a:ext cx="5866638" cy="949858"/>
          </a:xfrm>
        </p:spPr>
        <p:txBody>
          <a:bodyPr/>
          <a:lstStyle/>
          <a:p>
            <a:r>
              <a:rPr lang="en-US" sz="2800" spc="0" dirty="0">
                <a:solidFill>
                  <a:schemeClr val="accent1"/>
                </a:solidFill>
              </a:rPr>
              <a:t>This is what we recommend if you have a lot of text</a:t>
            </a:r>
            <a:endParaRPr lang="en-GB" sz="2800" spc="0" dirty="0">
              <a:solidFill>
                <a:schemeClr val="accent1"/>
              </a:solidFill>
            </a:endParaRPr>
          </a:p>
        </p:txBody>
      </p:sp>
      <p:sp>
        <p:nvSpPr>
          <p:cNvPr id="10" name="TextBox 9"/>
          <p:cNvSpPr txBox="1"/>
          <p:nvPr/>
        </p:nvSpPr>
        <p:spPr>
          <a:xfrm>
            <a:off x="390513" y="2071122"/>
            <a:ext cx="2577353" cy="1588127"/>
          </a:xfrm>
          <a:prstGeom prst="rect">
            <a:avLst/>
          </a:prstGeom>
          <a:noFill/>
        </p:spPr>
        <p:txBody>
          <a:bodyPr wrap="square" rtlCol="0">
            <a:spAutoFit/>
          </a:bodyPr>
          <a:lstStyle/>
          <a:p>
            <a:pPr>
              <a:lnSpc>
                <a:spcPct val="120000"/>
              </a:lnSpc>
            </a:pPr>
            <a:r>
              <a:rPr lang="en-GB" sz="900" dirty="0"/>
              <a:t>This body copy is pretty small. If you have this much information, chances are you’re creating a document that will be emailed and read. PowerPoint can be a great collaborative documentation tool. That’s why we’ve created this slide to accommodate more text. We do recommend exporting your document as PDF before sending the final version. PDF’s are better for reading and not editable. </a:t>
            </a:r>
          </a:p>
        </p:txBody>
      </p:sp>
      <p:sp>
        <p:nvSpPr>
          <p:cNvPr id="11" name="TextBox 10"/>
          <p:cNvSpPr txBox="1"/>
          <p:nvPr/>
        </p:nvSpPr>
        <p:spPr>
          <a:xfrm>
            <a:off x="3249032" y="2071122"/>
            <a:ext cx="2622178" cy="1920526"/>
          </a:xfrm>
          <a:prstGeom prst="rect">
            <a:avLst/>
          </a:prstGeom>
          <a:noFill/>
        </p:spPr>
        <p:txBody>
          <a:bodyPr wrap="square" rtlCol="0">
            <a:spAutoFit/>
          </a:bodyPr>
          <a:lstStyle/>
          <a:p>
            <a:pPr>
              <a:lnSpc>
                <a:spcPct val="120000"/>
              </a:lnSpc>
            </a:pPr>
            <a:r>
              <a:rPr lang="en-GB" sz="900" dirty="0"/>
              <a:t>This layout is not intended for a presenting scenario. This much text on a slide while presenting will distract your audience from what you’re saying. It’s also not a good idea to read this much text from a slide during a presentation. Instead put your notes in the notes section. Speaker notes are best as bullet points, not full sentences. They should simply jog your memory if you get stuck. That way you can focus on your message and audience, instead of reading. </a:t>
            </a:r>
          </a:p>
        </p:txBody>
      </p:sp>
      <p:sp>
        <p:nvSpPr>
          <p:cNvPr id="13" name="TextBox 12"/>
          <p:cNvSpPr txBox="1"/>
          <p:nvPr/>
        </p:nvSpPr>
        <p:spPr>
          <a:xfrm>
            <a:off x="6169960" y="2071122"/>
            <a:ext cx="2577353" cy="1920526"/>
          </a:xfrm>
          <a:prstGeom prst="rect">
            <a:avLst/>
          </a:prstGeom>
          <a:noFill/>
        </p:spPr>
        <p:txBody>
          <a:bodyPr wrap="square" rtlCol="0">
            <a:spAutoFit/>
          </a:bodyPr>
          <a:lstStyle/>
          <a:p>
            <a:pPr>
              <a:lnSpc>
                <a:spcPct val="120000"/>
              </a:lnSpc>
            </a:pPr>
            <a:r>
              <a:rPr lang="en-GB" sz="900" dirty="0" err="1"/>
              <a:t>Totam</a:t>
            </a:r>
            <a:r>
              <a:rPr lang="en-GB" sz="900" dirty="0"/>
              <a:t> rem </a:t>
            </a:r>
            <a:r>
              <a:rPr lang="en-GB" sz="900" dirty="0" err="1"/>
              <a:t>aperiam</a:t>
            </a:r>
            <a:r>
              <a:rPr lang="en-GB" sz="900" dirty="0"/>
              <a:t>, </a:t>
            </a:r>
            <a:r>
              <a:rPr lang="en-GB" sz="900" dirty="0" err="1"/>
              <a:t>eaque</a:t>
            </a:r>
            <a:r>
              <a:rPr lang="en-GB" sz="900" dirty="0"/>
              <a:t> </a:t>
            </a:r>
            <a:r>
              <a:rPr lang="en-GB" sz="900" dirty="0" err="1"/>
              <a:t>ipsa</a:t>
            </a:r>
            <a:r>
              <a:rPr lang="en-GB" sz="900" dirty="0"/>
              <a:t> quae ab </a:t>
            </a:r>
            <a:r>
              <a:rPr lang="en-GB" sz="900" dirty="0" err="1"/>
              <a:t>illo</a:t>
            </a:r>
            <a:r>
              <a:rPr lang="en-GB" sz="900" dirty="0"/>
              <a:t> </a:t>
            </a:r>
            <a:r>
              <a:rPr lang="en-GB" sz="900" dirty="0" err="1"/>
              <a:t>inventore</a:t>
            </a:r>
            <a:r>
              <a:rPr lang="en-GB" sz="900" dirty="0"/>
              <a:t> </a:t>
            </a:r>
            <a:r>
              <a:rPr lang="en-GB" sz="900" dirty="0" err="1"/>
              <a:t>veritatis</a:t>
            </a:r>
            <a:r>
              <a:rPr lang="en-GB" sz="900" dirty="0"/>
              <a:t> et quasi </a:t>
            </a:r>
            <a:r>
              <a:rPr lang="en-GB" sz="900" dirty="0" err="1"/>
              <a:t>architecto</a:t>
            </a:r>
            <a:r>
              <a:rPr lang="en-GB" sz="900" dirty="0"/>
              <a:t> </a:t>
            </a:r>
            <a:r>
              <a:rPr lang="en-GB" sz="900" dirty="0" err="1"/>
              <a:t>beatae</a:t>
            </a:r>
            <a:r>
              <a:rPr lang="en-GB" sz="900" dirty="0"/>
              <a:t> vitae dicta </a:t>
            </a:r>
            <a:r>
              <a:rPr lang="en-GB" sz="900" dirty="0" err="1"/>
              <a:t>sunt</a:t>
            </a:r>
            <a:r>
              <a:rPr lang="en-GB" sz="900" dirty="0"/>
              <a:t> </a:t>
            </a:r>
            <a:r>
              <a:rPr lang="en-GB" sz="900" dirty="0" err="1"/>
              <a:t>explicabo</a:t>
            </a:r>
            <a:r>
              <a:rPr lang="en-GB" sz="900" dirty="0"/>
              <a:t>. </a:t>
            </a:r>
            <a:r>
              <a:rPr lang="en-GB" sz="900" dirty="0" err="1"/>
              <a:t>Sed</a:t>
            </a:r>
            <a:r>
              <a:rPr lang="en-GB" sz="900" dirty="0"/>
              <a:t> </a:t>
            </a:r>
            <a:r>
              <a:rPr lang="en-GB" sz="900" dirty="0" err="1"/>
              <a:t>ut</a:t>
            </a:r>
            <a:r>
              <a:rPr lang="en-GB" sz="900" dirty="0"/>
              <a:t> </a:t>
            </a:r>
            <a:r>
              <a:rPr lang="en-GB" sz="900" dirty="0" err="1"/>
              <a:t>perspiciatis</a:t>
            </a:r>
            <a:r>
              <a:rPr lang="en-GB" sz="900" dirty="0"/>
              <a:t> </a:t>
            </a:r>
            <a:r>
              <a:rPr lang="en-GB" sz="900" dirty="0" err="1"/>
              <a:t>unde</a:t>
            </a:r>
            <a:r>
              <a:rPr lang="en-GB" sz="900" dirty="0"/>
              <a:t> </a:t>
            </a:r>
            <a:r>
              <a:rPr lang="en-GB" sz="900" dirty="0" err="1"/>
              <a:t>omnis</a:t>
            </a:r>
            <a:r>
              <a:rPr lang="en-GB" sz="900" dirty="0"/>
              <a:t> </a:t>
            </a:r>
            <a:r>
              <a:rPr lang="en-GB" sz="900" dirty="0" err="1"/>
              <a:t>iste</a:t>
            </a:r>
            <a:r>
              <a:rPr lang="en-GB" sz="900" dirty="0"/>
              <a:t> </a:t>
            </a:r>
            <a:r>
              <a:rPr lang="en-GB" sz="900" dirty="0" err="1"/>
              <a:t>natus</a:t>
            </a:r>
            <a:r>
              <a:rPr lang="en-GB" sz="900" dirty="0"/>
              <a:t> error sit </a:t>
            </a:r>
            <a:r>
              <a:rPr lang="en-GB" sz="900" dirty="0" err="1"/>
              <a:t>voluptatem</a:t>
            </a:r>
            <a:r>
              <a:rPr lang="en-GB" sz="900" dirty="0"/>
              <a:t> </a:t>
            </a:r>
            <a:r>
              <a:rPr lang="en-GB" sz="900" dirty="0" err="1"/>
              <a:t>accusantium</a:t>
            </a:r>
            <a:r>
              <a:rPr lang="en-GB" sz="900" dirty="0"/>
              <a:t> </a:t>
            </a:r>
            <a:r>
              <a:rPr lang="en-GB" sz="900" dirty="0" err="1"/>
              <a:t>doloremque</a:t>
            </a:r>
            <a:r>
              <a:rPr lang="en-GB" sz="900" dirty="0"/>
              <a:t> </a:t>
            </a:r>
            <a:r>
              <a:rPr lang="en-GB" sz="900" dirty="0" err="1"/>
              <a:t>laudantium</a:t>
            </a:r>
            <a:r>
              <a:rPr lang="en-GB" sz="900" dirty="0"/>
              <a:t>, </a:t>
            </a:r>
            <a:r>
              <a:rPr lang="en-GB" sz="900" dirty="0" err="1"/>
              <a:t>totam</a:t>
            </a:r>
            <a:r>
              <a:rPr lang="en-GB" sz="900" dirty="0"/>
              <a:t> rem </a:t>
            </a:r>
            <a:r>
              <a:rPr lang="en-GB" sz="900" dirty="0" err="1"/>
              <a:t>aperiam</a:t>
            </a:r>
            <a:r>
              <a:rPr lang="en-GB" sz="900" dirty="0"/>
              <a:t>, </a:t>
            </a:r>
            <a:r>
              <a:rPr lang="en-GB" sz="900" dirty="0" err="1"/>
              <a:t>eaque</a:t>
            </a:r>
            <a:r>
              <a:rPr lang="en-GB" sz="900" dirty="0"/>
              <a:t> </a:t>
            </a:r>
            <a:r>
              <a:rPr lang="en-GB" sz="900" dirty="0" err="1"/>
              <a:t>ipsa</a:t>
            </a:r>
            <a:r>
              <a:rPr lang="en-GB" sz="900" dirty="0"/>
              <a:t> quae ab </a:t>
            </a:r>
            <a:r>
              <a:rPr lang="en-GB" sz="900" dirty="0" err="1"/>
              <a:t>illo</a:t>
            </a:r>
            <a:r>
              <a:rPr lang="en-GB" sz="900" dirty="0"/>
              <a:t> </a:t>
            </a:r>
            <a:r>
              <a:rPr lang="en-GB" sz="900" dirty="0" err="1"/>
              <a:t>inventore</a:t>
            </a:r>
            <a:r>
              <a:rPr lang="en-GB" sz="900" dirty="0"/>
              <a:t> </a:t>
            </a:r>
            <a:r>
              <a:rPr lang="en-GB" sz="900" dirty="0" err="1"/>
              <a:t>veritatis</a:t>
            </a:r>
            <a:r>
              <a:rPr lang="en-GB" sz="900" dirty="0"/>
              <a:t> et quasi </a:t>
            </a:r>
            <a:r>
              <a:rPr lang="en-GB" sz="900" dirty="0" err="1"/>
              <a:t>architecto</a:t>
            </a:r>
            <a:r>
              <a:rPr lang="en-GB" sz="900" dirty="0"/>
              <a:t> </a:t>
            </a:r>
            <a:r>
              <a:rPr lang="en-GB" sz="900" dirty="0" err="1"/>
              <a:t>beatae</a:t>
            </a:r>
            <a:r>
              <a:rPr lang="en-GB" sz="900" dirty="0"/>
              <a:t> vitae dicta </a:t>
            </a:r>
            <a:r>
              <a:rPr lang="en-GB" sz="900" dirty="0" err="1"/>
              <a:t>sunt</a:t>
            </a:r>
            <a:r>
              <a:rPr lang="en-GB" sz="900" dirty="0"/>
              <a:t> </a:t>
            </a:r>
            <a:r>
              <a:rPr lang="en-GB" sz="900" dirty="0" err="1"/>
              <a:t>explicabo</a:t>
            </a:r>
            <a:r>
              <a:rPr lang="en-GB" sz="900" dirty="0"/>
              <a:t>. Nemo </a:t>
            </a:r>
            <a:r>
              <a:rPr lang="en-GB" sz="900" dirty="0" err="1"/>
              <a:t>enim</a:t>
            </a:r>
            <a:r>
              <a:rPr lang="en-GB" sz="900" dirty="0"/>
              <a:t> </a:t>
            </a:r>
            <a:r>
              <a:rPr lang="en-GB" sz="900" dirty="0" err="1"/>
              <a:t>ipsam</a:t>
            </a:r>
            <a:r>
              <a:rPr lang="en-GB" sz="900" dirty="0"/>
              <a:t> </a:t>
            </a:r>
            <a:r>
              <a:rPr lang="en-GB" sz="900" dirty="0" err="1"/>
              <a:t>voluptatem</a:t>
            </a:r>
            <a:r>
              <a:rPr lang="en-GB" sz="900" dirty="0"/>
              <a:t> </a:t>
            </a:r>
            <a:r>
              <a:rPr lang="en-GB" sz="900" dirty="0" err="1"/>
              <a:t>quia</a:t>
            </a:r>
            <a:r>
              <a:rPr lang="en-GB" sz="900" dirty="0"/>
              <a:t> </a:t>
            </a:r>
            <a:r>
              <a:rPr lang="en-GB" sz="900" dirty="0" err="1"/>
              <a:t>voluptas</a:t>
            </a:r>
            <a:r>
              <a:rPr lang="en-GB" sz="900" dirty="0"/>
              <a:t> sit </a:t>
            </a:r>
            <a:r>
              <a:rPr lang="en-GB" sz="900" dirty="0" err="1"/>
              <a:t>aspernatur</a:t>
            </a:r>
            <a:r>
              <a:rPr lang="en-GB" sz="900" dirty="0"/>
              <a:t> </a:t>
            </a:r>
            <a:r>
              <a:rPr lang="en-GB" sz="900" dirty="0" err="1"/>
              <a:t>aut</a:t>
            </a:r>
            <a:r>
              <a:rPr lang="en-GB" sz="900" dirty="0"/>
              <a:t> </a:t>
            </a:r>
            <a:r>
              <a:rPr lang="en-GB" sz="900" dirty="0" err="1"/>
              <a:t>odit</a:t>
            </a:r>
            <a:r>
              <a:rPr lang="en-GB" sz="900" dirty="0"/>
              <a:t> </a:t>
            </a:r>
            <a:r>
              <a:rPr lang="en-GB" sz="900" dirty="0" err="1"/>
              <a:t>aut</a:t>
            </a:r>
            <a:r>
              <a:rPr lang="en-GB" sz="900" dirty="0"/>
              <a:t> fugit, </a:t>
            </a:r>
            <a:r>
              <a:rPr lang="en-GB" sz="900" dirty="0" err="1"/>
              <a:t>sed</a:t>
            </a:r>
            <a:r>
              <a:rPr lang="en-GB" sz="900" dirty="0"/>
              <a:t> </a:t>
            </a:r>
            <a:r>
              <a:rPr lang="en-GB" sz="900" dirty="0" err="1"/>
              <a:t>quia</a:t>
            </a:r>
            <a:r>
              <a:rPr lang="en-GB" sz="900" dirty="0"/>
              <a:t> </a:t>
            </a:r>
            <a:r>
              <a:rPr lang="en-GB" sz="900" dirty="0" err="1"/>
              <a:t>consequuntur</a:t>
            </a:r>
            <a:r>
              <a:rPr lang="en-GB" sz="900" dirty="0"/>
              <a:t> </a:t>
            </a:r>
            <a:r>
              <a:rPr lang="en-GB" sz="900" dirty="0" err="1"/>
              <a:t>magni</a:t>
            </a:r>
            <a:r>
              <a:rPr lang="en-GB" sz="900" dirty="0"/>
              <a:t> </a:t>
            </a:r>
            <a:r>
              <a:rPr lang="en-GB" sz="900" dirty="0" err="1"/>
              <a:t>dolores</a:t>
            </a:r>
            <a:r>
              <a:rPr lang="en-GB" sz="900" dirty="0"/>
              <a:t> </a:t>
            </a:r>
            <a:r>
              <a:rPr lang="en-GB" sz="900" dirty="0" err="1"/>
              <a:t>eos</a:t>
            </a:r>
            <a:r>
              <a:rPr lang="en-GB" sz="900" dirty="0"/>
              <a:t> qui </a:t>
            </a:r>
            <a:r>
              <a:rPr lang="en-GB" sz="900" dirty="0" err="1"/>
              <a:t>ratione</a:t>
            </a:r>
            <a:r>
              <a:rPr lang="en-GB" sz="900" dirty="0"/>
              <a:t> </a:t>
            </a:r>
            <a:r>
              <a:rPr lang="en-GB" sz="900" dirty="0" err="1"/>
              <a:t>voluptatem</a:t>
            </a:r>
            <a:r>
              <a:rPr lang="en-GB" sz="900" dirty="0"/>
              <a:t> </a:t>
            </a:r>
            <a:r>
              <a:rPr lang="en-GB" sz="900" dirty="0" err="1"/>
              <a:t>sequi</a:t>
            </a:r>
            <a:r>
              <a:rPr lang="en-GB" sz="900" dirty="0"/>
              <a:t> </a:t>
            </a:r>
            <a:r>
              <a:rPr lang="en-GB" sz="900" dirty="0" err="1"/>
              <a:t>nesciunt</a:t>
            </a:r>
            <a:r>
              <a:rPr lang="en-GB" sz="900" dirty="0"/>
              <a:t>. </a:t>
            </a:r>
          </a:p>
        </p:txBody>
      </p:sp>
      <p:sp>
        <p:nvSpPr>
          <p:cNvPr id="14" name="TextBox 13"/>
          <p:cNvSpPr txBox="1"/>
          <p:nvPr/>
        </p:nvSpPr>
        <p:spPr>
          <a:xfrm>
            <a:off x="390513"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Better for documents only</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5" name="TextBox 14"/>
          <p:cNvSpPr txBox="1"/>
          <p:nvPr/>
        </p:nvSpPr>
        <p:spPr>
          <a:xfrm>
            <a:off x="3249032"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Not for large screens</a:t>
            </a:r>
            <a:endParaRPr lang="en-GB" sz="1400" b="1" spc="-50" dirty="0" err="1">
              <a:solidFill>
                <a:schemeClr val="accent5"/>
              </a:solidFill>
              <a:latin typeface="Arial" panose="020B0604020202020204" pitchFamily="34" charset="0"/>
              <a:cs typeface="Arial" panose="020B0604020202020204" pitchFamily="34" charset="0"/>
            </a:endParaRPr>
          </a:p>
        </p:txBody>
      </p:sp>
      <p:sp>
        <p:nvSpPr>
          <p:cNvPr id="17" name="TextBox 16"/>
          <p:cNvSpPr txBox="1"/>
          <p:nvPr/>
        </p:nvSpPr>
        <p:spPr>
          <a:xfrm>
            <a:off x="6169960" y="1755843"/>
            <a:ext cx="2507222" cy="314326"/>
          </a:xfrm>
          <a:prstGeom prst="rect">
            <a:avLst/>
          </a:prstGeom>
          <a:noFill/>
        </p:spPr>
        <p:txBody>
          <a:bodyPr wrap="square" rtlCol="0">
            <a:noAutofit/>
          </a:bodyPr>
          <a:lstStyle/>
          <a:p>
            <a:pPr>
              <a:spcBef>
                <a:spcPts val="750"/>
              </a:spcBef>
              <a:buClr>
                <a:schemeClr val="accent2"/>
              </a:buClr>
              <a:buSzPct val="110000"/>
            </a:pPr>
            <a:r>
              <a:rPr lang="en-US" sz="1400" b="1" spc="-50" dirty="0">
                <a:solidFill>
                  <a:schemeClr val="accent5"/>
                </a:solidFill>
                <a:latin typeface="Arial" panose="020B0604020202020204" pitchFamily="34" charset="0"/>
                <a:cs typeface="Arial" panose="020B0604020202020204" pitchFamily="34" charset="0"/>
              </a:rPr>
              <a:t>One more header goes here</a:t>
            </a:r>
            <a:endParaRPr lang="en-GB" sz="1400" b="1" spc="-50" dirty="0" err="1">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00453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p:cNvSpPr txBox="1">
            <a:spLocks/>
          </p:cNvSpPr>
          <p:nvPr/>
        </p:nvSpPr>
        <p:spPr>
          <a:xfrm>
            <a:off x="1265319" y="341098"/>
            <a:ext cx="6455514" cy="2144177"/>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4000"/>
              </a:lnSpc>
              <a:buClr>
                <a:srgbClr val="13B5EA"/>
              </a:buClr>
              <a:buNone/>
            </a:pPr>
            <a:r>
              <a:rPr lang="en-US" sz="3200" b="1" spc="-50" dirty="0">
                <a:solidFill>
                  <a:schemeClr val="accent1"/>
                </a:solidFill>
                <a:cs typeface="Times New Roman" panose="02020603050405020304" pitchFamily="18" charset="0"/>
              </a:rPr>
              <a:t>“This is an example of a quote treatment. Type the quote of your choice here. We recommend choosing shorter quotes.”</a:t>
            </a:r>
          </a:p>
        </p:txBody>
      </p:sp>
      <p:sp>
        <p:nvSpPr>
          <p:cNvPr id="6" name="Text Placeholder 3"/>
          <p:cNvSpPr txBox="1">
            <a:spLocks/>
          </p:cNvSpPr>
          <p:nvPr/>
        </p:nvSpPr>
        <p:spPr>
          <a:xfrm>
            <a:off x="1260068" y="2727540"/>
            <a:ext cx="1664413" cy="369332"/>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800" b="1" dirty="0">
                <a:solidFill>
                  <a:schemeClr val="tx1"/>
                </a:solidFill>
                <a:latin typeface="Arial" panose="020B0604020202020204" pitchFamily="34" charset="0"/>
                <a:ea typeface="+mj-ea"/>
                <a:cs typeface="Arial" panose="020B0604020202020204" pitchFamily="34" charset="0"/>
              </a:rPr>
              <a:t>Insert Name</a:t>
            </a:r>
          </a:p>
        </p:txBody>
      </p:sp>
      <p:sp>
        <p:nvSpPr>
          <p:cNvPr id="9" name="Text Placeholder 3"/>
          <p:cNvSpPr txBox="1">
            <a:spLocks/>
          </p:cNvSpPr>
          <p:nvPr/>
        </p:nvSpPr>
        <p:spPr>
          <a:xfrm>
            <a:off x="1260067" y="3083836"/>
            <a:ext cx="1664413" cy="215444"/>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800" dirty="0">
                <a:solidFill>
                  <a:schemeClr val="accent2"/>
                </a:solidFill>
                <a:latin typeface="Arial" panose="020B0604020202020204" pitchFamily="34" charset="0"/>
                <a:ea typeface="+mj-ea"/>
                <a:cs typeface="Arial" panose="020B0604020202020204" pitchFamily="34" charset="0"/>
              </a:rPr>
              <a:t>Title, INCOSE</a:t>
            </a:r>
          </a:p>
        </p:txBody>
      </p:sp>
      <p:sp>
        <p:nvSpPr>
          <p:cNvPr id="2" name="Freeform 5">
            <a:extLst>
              <a:ext uri="{FF2B5EF4-FFF2-40B4-BE49-F238E27FC236}">
                <a16:creationId xmlns:a16="http://schemas.microsoft.com/office/drawing/2014/main" id="{5A9936BA-FD4F-AB57-A828-03404286BD30}"/>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21135262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3"/>
          <p:cNvSpPr txBox="1">
            <a:spLocks/>
          </p:cNvSpPr>
          <p:nvPr/>
        </p:nvSpPr>
        <p:spPr>
          <a:xfrm>
            <a:off x="1157330" y="330200"/>
            <a:ext cx="4808456" cy="2677656"/>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Clr>
                <a:srgbClr val="13B5EA"/>
              </a:buClr>
              <a:buNone/>
            </a:pPr>
            <a:r>
              <a:rPr lang="en-US" sz="2400" b="1" spc="-50" dirty="0">
                <a:solidFill>
                  <a:schemeClr val="bg1"/>
                </a:solidFill>
                <a:cs typeface="Times New Roman" panose="02020603050405020304" pitchFamily="18" charset="0"/>
              </a:rPr>
              <a:t>“This is an example of a quote treatment. Type the quote of your choice here. We recommend choosing shorter quotes. It’s a little longer than the other one. Just some text for texting, so go ahead and write it out.”</a:t>
            </a:r>
          </a:p>
        </p:txBody>
      </p:sp>
      <p:sp>
        <p:nvSpPr>
          <p:cNvPr id="12" name="Text Placeholder 3"/>
          <p:cNvSpPr txBox="1">
            <a:spLocks/>
          </p:cNvSpPr>
          <p:nvPr/>
        </p:nvSpPr>
        <p:spPr>
          <a:xfrm>
            <a:off x="6705601" y="365340"/>
            <a:ext cx="1664413" cy="261610"/>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1100" dirty="0">
                <a:solidFill>
                  <a:schemeClr val="bg1"/>
                </a:solidFill>
                <a:latin typeface="Arial" panose="020B0604020202020204" pitchFamily="34" charset="0"/>
                <a:ea typeface="+mj-ea"/>
                <a:cs typeface="Arial" panose="020B0604020202020204" pitchFamily="34" charset="0"/>
              </a:rPr>
              <a:t>Insert Name</a:t>
            </a:r>
          </a:p>
        </p:txBody>
      </p:sp>
      <p:sp>
        <p:nvSpPr>
          <p:cNvPr id="13" name="Text Placeholder 3"/>
          <p:cNvSpPr txBox="1">
            <a:spLocks/>
          </p:cNvSpPr>
          <p:nvPr/>
        </p:nvSpPr>
        <p:spPr>
          <a:xfrm>
            <a:off x="6705600" y="588039"/>
            <a:ext cx="1664413" cy="200055"/>
          </a:xfrm>
          <a:prstGeom prst="rect">
            <a:avLst/>
          </a:prstGeom>
        </p:spPr>
        <p:txBody>
          <a:bodyPr vert="horz" wrap="square" lIns="0" tIns="45720" rIns="0" bIns="45720" rtlCol="0">
            <a:spAutoFit/>
          </a:bodyPr>
          <a:lstStyle>
            <a:lvl1pPr marL="233363" indent="-233363" algn="l" defTabSz="914400" rtl="0" eaLnBrk="1" latinLnBrk="0" hangingPunct="1">
              <a:lnSpc>
                <a:spcPct val="90000"/>
              </a:lnSpc>
              <a:spcBef>
                <a:spcPts val="1200"/>
              </a:spcBef>
              <a:buClr>
                <a:schemeClr val="accent2"/>
              </a:buClr>
              <a:buSzPct val="110000"/>
              <a:buFont typeface="Wingdings" panose="05000000000000000000" pitchFamily="2" charset="2"/>
              <a:buChar char="§"/>
              <a:defRPr lang="en-US" sz="20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1pPr>
            <a:lvl2pPr marL="703262" indent="-285750" algn="l" defTabSz="914400" rtl="0" eaLnBrk="1" latinLnBrk="0" hangingPunct="1">
              <a:lnSpc>
                <a:spcPct val="90000"/>
              </a:lnSpc>
              <a:spcBef>
                <a:spcPts val="600"/>
              </a:spcBef>
              <a:buClr>
                <a:schemeClr val="accent5"/>
              </a:buClr>
              <a:buSzPct val="110000"/>
              <a:buFont typeface="Wingdings" panose="05000000000000000000" pitchFamily="2" charset="2"/>
              <a:buChar char="§"/>
              <a:defRPr lang="en-US" sz="18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2pPr>
            <a:lvl3pPr marL="519112" indent="-285750" algn="l" defTabSz="914400" rtl="0" eaLnBrk="1" latinLnBrk="0" hangingPunct="1">
              <a:lnSpc>
                <a:spcPct val="90000"/>
              </a:lnSpc>
              <a:spcBef>
                <a:spcPts val="400"/>
              </a:spcBef>
              <a:buClr>
                <a:schemeClr val="accent5"/>
              </a:buClr>
              <a:buSzPct val="110000"/>
              <a:buFont typeface="Wingdings" panose="05000000000000000000" pitchFamily="2" charset="2"/>
              <a:buChar char="§"/>
              <a:defRPr lang="en-US" sz="16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3pPr>
            <a:lvl4pPr marL="76517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smtClean="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4pPr>
            <a:lvl5pPr marL="911225" indent="-171450" algn="l" defTabSz="914400" rtl="0" eaLnBrk="1" latinLnBrk="0" hangingPunct="1">
              <a:lnSpc>
                <a:spcPct val="90000"/>
              </a:lnSpc>
              <a:spcBef>
                <a:spcPts val="300"/>
              </a:spcBef>
              <a:buClr>
                <a:schemeClr val="accent5"/>
              </a:buClr>
              <a:buSzPct val="110000"/>
              <a:buFont typeface="Wingdings" panose="05000000000000000000" pitchFamily="2" charset="2"/>
              <a:buChar char="§"/>
              <a:defRPr lang="en-US" sz="1400" kern="1200" spc="0" baseline="0" dirty="0">
                <a:gradFill>
                  <a:gsLst>
                    <a:gs pos="0">
                      <a:schemeClr val="tx1">
                        <a:lumMod val="50000"/>
                      </a:schemeClr>
                    </a:gs>
                    <a:gs pos="98000">
                      <a:schemeClr val="tx1">
                        <a:lumMod val="50000"/>
                      </a:schemeClr>
                    </a:gs>
                  </a:gsLst>
                  <a:lin ang="5400000" scaled="0"/>
                </a:gradFill>
                <a:latin typeface="+mj-lt"/>
                <a:ea typeface="+mn-ea"/>
                <a:cs typeface="Segoe UI" panose="020B0502040204020203"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ct val="0"/>
              </a:spcBef>
              <a:buClr>
                <a:srgbClr val="00B7E6"/>
              </a:buClr>
              <a:buNone/>
              <a:tabLst>
                <a:tab pos="2006600" algn="l"/>
              </a:tabLst>
            </a:pPr>
            <a:r>
              <a:rPr lang="en-US" sz="700" dirty="0">
                <a:solidFill>
                  <a:schemeClr val="bg1"/>
                </a:solidFill>
                <a:latin typeface="Arial" panose="020B0604020202020204" pitchFamily="34" charset="0"/>
                <a:ea typeface="+mj-ea"/>
                <a:cs typeface="Arial" panose="020B0604020202020204" pitchFamily="34" charset="0"/>
              </a:rPr>
              <a:t>Title, INCOSE</a:t>
            </a:r>
          </a:p>
        </p:txBody>
      </p:sp>
      <p:sp>
        <p:nvSpPr>
          <p:cNvPr id="5" name="Freeform 5">
            <a:extLst>
              <a:ext uri="{FF2B5EF4-FFF2-40B4-BE49-F238E27FC236}">
                <a16:creationId xmlns:a16="http://schemas.microsoft.com/office/drawing/2014/main" id="{52F3A853-00E5-1138-BB0E-C47480FE4B0F}"/>
              </a:ext>
            </a:extLst>
          </p:cNvPr>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Tree>
    <p:extLst>
      <p:ext uri="{BB962C8B-B14F-4D97-AF65-F5344CB8AC3E}">
        <p14:creationId xmlns:p14="http://schemas.microsoft.com/office/powerpoint/2010/main" val="39498679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a:xfrm>
            <a:off x="464494" y="1559195"/>
            <a:ext cx="2579696" cy="847455"/>
          </a:xfrm>
        </p:spPr>
        <p:txBody>
          <a:bodyPr/>
          <a:lstStyle/>
          <a:p>
            <a:r>
              <a:rPr lang="en-US" dirty="0">
                <a:solidFill>
                  <a:schemeClr val="tx1"/>
                </a:solidFill>
              </a:rPr>
              <a:t>Delete the photo and add your own.</a:t>
            </a:r>
            <a:endParaRPr lang="en-GB" u="sng" dirty="0">
              <a:solidFill>
                <a:schemeClr val="tx1"/>
              </a:solidFill>
            </a:endParaRPr>
          </a:p>
        </p:txBody>
      </p:sp>
      <p:sp>
        <p:nvSpPr>
          <p:cNvPr id="5" name="Text Placeholder 4"/>
          <p:cNvSpPr>
            <a:spLocks noGrp="1"/>
          </p:cNvSpPr>
          <p:nvPr>
            <p:ph type="body" sz="quarter" idx="11"/>
          </p:nvPr>
        </p:nvSpPr>
        <p:spPr>
          <a:xfrm>
            <a:off x="464493" y="520065"/>
            <a:ext cx="3743713" cy="908685"/>
          </a:xfrm>
        </p:spPr>
        <p:txBody>
          <a:bodyPr/>
          <a:lstStyle/>
          <a:p>
            <a:r>
              <a:rPr lang="en-US" dirty="0">
                <a:solidFill>
                  <a:schemeClr val="accent1"/>
                </a:solidFill>
              </a:rPr>
              <a:t>Now for some photo placeholders</a:t>
            </a:r>
            <a:endParaRPr lang="en-GB" dirty="0">
              <a:solidFill>
                <a:schemeClr val="accent1"/>
              </a:solidFill>
            </a:endParaRPr>
          </a:p>
        </p:txBody>
      </p:sp>
      <p:pic>
        <p:nvPicPr>
          <p:cNvPr id="8" name="Picture Placeholder 7" descr="A person wearing glasses&#10;&#10;Description automatically generated with low confidence">
            <a:extLst>
              <a:ext uri="{FF2B5EF4-FFF2-40B4-BE49-F238E27FC236}">
                <a16:creationId xmlns:a16="http://schemas.microsoft.com/office/drawing/2014/main" id="{DED9BFEB-0895-9F8A-5A79-6499C07798A6}"/>
              </a:ext>
            </a:extLst>
          </p:cNvPr>
          <p:cNvPicPr>
            <a:picLocks noGrp="1" noChangeAspect="1"/>
          </p:cNvPicPr>
          <p:nvPr>
            <p:ph type="pic" sz="quarter" idx="21"/>
          </p:nvPr>
        </p:nvPicPr>
        <p:blipFill>
          <a:blip r:embed="rId3" cstate="hqprint">
            <a:extLst>
              <a:ext uri="{28A0092B-C50C-407E-A947-70E740481C1C}">
                <a14:useLocalDpi xmlns:a14="http://schemas.microsoft.com/office/drawing/2010/main" val="0"/>
              </a:ext>
            </a:extLst>
          </a:blip>
          <a:srcRect l="24991" r="24991"/>
          <a:stretch>
            <a:fillRect/>
          </a:stretch>
        </p:blipFill>
        <p:spPr/>
      </p:pic>
      <p:sp>
        <p:nvSpPr>
          <p:cNvPr id="2" name="TextBox 1">
            <a:extLst>
              <a:ext uri="{FF2B5EF4-FFF2-40B4-BE49-F238E27FC236}">
                <a16:creationId xmlns:a16="http://schemas.microsoft.com/office/drawing/2014/main" id="{406470EF-DA46-DB2D-C9DA-B5940CA23CF9}"/>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18</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228043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6"/>
          </p:nvPr>
        </p:nvSpPr>
        <p:spPr/>
        <p:txBody>
          <a:bodyPr/>
          <a:lstStyle/>
          <a:p>
            <a:r>
              <a:rPr lang="en-US" dirty="0">
                <a:solidFill>
                  <a:schemeClr val="tx1"/>
                </a:solidFill>
              </a:rPr>
              <a:t>To change photos to black and white double click the photo. Pick the black and white thumbnail under the Color drop down menu. </a:t>
            </a:r>
          </a:p>
        </p:txBody>
      </p:sp>
      <p:sp>
        <p:nvSpPr>
          <p:cNvPr id="4" name="Text Placeholder 3"/>
          <p:cNvSpPr>
            <a:spLocks noGrp="1"/>
          </p:cNvSpPr>
          <p:nvPr>
            <p:ph type="body" sz="quarter" idx="11"/>
          </p:nvPr>
        </p:nvSpPr>
        <p:spPr>
          <a:xfrm>
            <a:off x="464493" y="438151"/>
            <a:ext cx="2704157" cy="558800"/>
          </a:xfrm>
        </p:spPr>
        <p:txBody>
          <a:bodyPr/>
          <a:lstStyle/>
          <a:p>
            <a:r>
              <a:rPr lang="en-US" dirty="0">
                <a:solidFill>
                  <a:schemeClr val="accent1"/>
                </a:solidFill>
              </a:rPr>
              <a:t>Grayscale photos</a:t>
            </a:r>
            <a:endParaRPr lang="en-GB" dirty="0">
              <a:solidFill>
                <a:schemeClr val="accent1"/>
              </a:solidFill>
            </a:endParaRPr>
          </a:p>
        </p:txBody>
      </p:sp>
      <p:pic>
        <p:nvPicPr>
          <p:cNvPr id="7" name="Picture Placeholder 6" descr="A person wearing glasses&#10;&#10;Description automatically generated with low confidence">
            <a:extLst>
              <a:ext uri="{FF2B5EF4-FFF2-40B4-BE49-F238E27FC236}">
                <a16:creationId xmlns:a16="http://schemas.microsoft.com/office/drawing/2014/main" id="{62017BC1-A444-27F2-9B17-5F33D60C46D0}"/>
              </a:ext>
            </a:extLst>
          </p:cNvPr>
          <p:cNvPicPr>
            <a:picLocks noGrp="1" noChangeAspect="1"/>
          </p:cNvPicPr>
          <p:nvPr>
            <p:ph type="pic" sz="quarter" idx="21"/>
          </p:nvPr>
        </p:nvPicPr>
        <p:blipFill>
          <a:blip r:embed="rId2" cstate="hqprint">
            <a:grayscl/>
            <a:extLst>
              <a:ext uri="{28A0092B-C50C-407E-A947-70E740481C1C}">
                <a14:useLocalDpi xmlns:a14="http://schemas.microsoft.com/office/drawing/2010/main" val="0"/>
              </a:ext>
            </a:extLst>
          </a:blip>
          <a:srcRect l="24991" r="24991"/>
          <a:stretch>
            <a:fillRect/>
          </a:stretch>
        </p:blipFill>
        <p:spPr/>
      </p:pic>
      <p:sp>
        <p:nvSpPr>
          <p:cNvPr id="2" name="TextBox 1">
            <a:extLst>
              <a:ext uri="{FF2B5EF4-FFF2-40B4-BE49-F238E27FC236}">
                <a16:creationId xmlns:a16="http://schemas.microsoft.com/office/drawing/2014/main" id="{A1D7F48F-5366-2E70-9B3B-9FE637ECCCB0}"/>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19</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21301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C6C09FC-B395-E04E-AF6A-95B3BCA160CF}"/>
              </a:ext>
            </a:extLst>
          </p:cNvPr>
          <p:cNvSpPr>
            <a:spLocks noGrp="1"/>
          </p:cNvSpPr>
          <p:nvPr>
            <p:ph type="title"/>
          </p:nvPr>
        </p:nvSpPr>
        <p:spPr>
          <a:xfrm>
            <a:off x="457200" y="1365100"/>
            <a:ext cx="5110682" cy="2413299"/>
          </a:xfrm>
        </p:spPr>
        <p:txBody>
          <a:bodyPr/>
          <a:lstStyle/>
          <a:p>
            <a:r>
              <a:rPr lang="en-US" spc="-150" dirty="0">
                <a:solidFill>
                  <a:srgbClr val="2B6FAB"/>
                </a:solidFill>
              </a:rPr>
              <a:t>Welcome to the toolkit</a:t>
            </a:r>
          </a:p>
        </p:txBody>
      </p:sp>
      <p:sp>
        <p:nvSpPr>
          <p:cNvPr id="6" name="Text Placeholder 5">
            <a:extLst>
              <a:ext uri="{FF2B5EF4-FFF2-40B4-BE49-F238E27FC236}">
                <a16:creationId xmlns:a16="http://schemas.microsoft.com/office/drawing/2014/main" id="{6C742199-62B9-934F-90E5-621672586ACA}"/>
              </a:ext>
            </a:extLst>
          </p:cNvPr>
          <p:cNvSpPr>
            <a:spLocks noGrp="1"/>
          </p:cNvSpPr>
          <p:nvPr>
            <p:ph type="body" sz="quarter" idx="15"/>
          </p:nvPr>
        </p:nvSpPr>
        <p:spPr>
          <a:xfrm>
            <a:off x="466007" y="3890071"/>
            <a:ext cx="4793970" cy="293885"/>
          </a:xfrm>
        </p:spPr>
        <p:txBody>
          <a:bodyPr/>
          <a:lstStyle/>
          <a:p>
            <a:r>
              <a:rPr lang="en-US" dirty="0">
                <a:solidFill>
                  <a:schemeClr val="tx1"/>
                </a:solidFill>
              </a:rPr>
              <a:t>These are your slides. Add your secret sauce and make them your own. </a:t>
            </a:r>
          </a:p>
          <a:p>
            <a:endParaRPr lang="en-US" dirty="0">
              <a:solidFill>
                <a:schemeClr val="accent5"/>
              </a:solidFill>
            </a:endParaRPr>
          </a:p>
        </p:txBody>
      </p:sp>
      <p:sp>
        <p:nvSpPr>
          <p:cNvPr id="7" name="Text Placeholder 6">
            <a:extLst>
              <a:ext uri="{FF2B5EF4-FFF2-40B4-BE49-F238E27FC236}">
                <a16:creationId xmlns:a16="http://schemas.microsoft.com/office/drawing/2014/main" id="{80B44DAC-6238-0E44-8C0C-617885E1E09C}"/>
              </a:ext>
            </a:extLst>
          </p:cNvPr>
          <p:cNvSpPr>
            <a:spLocks noGrp="1"/>
          </p:cNvSpPr>
          <p:nvPr>
            <p:ph type="body" sz="quarter" idx="17"/>
          </p:nvPr>
        </p:nvSpPr>
        <p:spPr/>
        <p:txBody>
          <a:bodyPr/>
          <a:lstStyle/>
          <a:p>
            <a:r>
              <a:rPr lang="en-US" sz="1100" dirty="0" err="1">
                <a:solidFill>
                  <a:srgbClr val="0563C1"/>
                </a:solidFill>
                <a:hlinkClick r:id="rId3">
                  <a:extLst>
                    <a:ext uri="{A12FA001-AC4F-418D-AE19-62706E023703}">
                      <ahyp:hlinkClr xmlns:ahyp="http://schemas.microsoft.com/office/drawing/2018/hyperlinkcolor" val="tx"/>
                    </a:ext>
                  </a:extLst>
                </a:hlinkClick>
              </a:rPr>
              <a:t>i</a:t>
            </a:r>
            <a:r>
              <a:rPr lang="en-US" sz="1100" dirty="0" err="1">
                <a:solidFill>
                  <a:srgbClr val="2B6FAB"/>
                </a:solidFill>
                <a:hlinkClick r:id="rId3">
                  <a:extLst>
                    <a:ext uri="{A12FA001-AC4F-418D-AE19-62706E023703}">
                      <ahyp:hlinkClr xmlns:ahyp="http://schemas.microsoft.com/office/drawing/2018/hyperlinkcolor" val="tx"/>
                    </a:ext>
                  </a:extLst>
                </a:hlinkClick>
              </a:rPr>
              <a:t>ncose.org</a:t>
            </a:r>
            <a:endParaRPr lang="en-US" sz="1100" dirty="0">
              <a:solidFill>
                <a:srgbClr val="2B6FAB"/>
              </a:solidFill>
            </a:endParaRPr>
          </a:p>
        </p:txBody>
      </p:sp>
      <p:pic>
        <p:nvPicPr>
          <p:cNvPr id="2" name="Content Placeholder 3">
            <a:extLst>
              <a:ext uri="{FF2B5EF4-FFF2-40B4-BE49-F238E27FC236}">
                <a16:creationId xmlns:a16="http://schemas.microsoft.com/office/drawing/2014/main" id="{332031A7-1945-BBB9-7C8F-2FCD3FA1E2A5}"/>
              </a:ext>
            </a:extLst>
          </p:cNvPr>
          <p:cNvPicPr>
            <a:picLocks noChangeAspect="1"/>
          </p:cNvPicPr>
          <p:nvPr/>
        </p:nvPicPr>
        <p:blipFill rotWithShape="1">
          <a:blip r:embed="rId4">
            <a:clrChange>
              <a:clrFrom>
                <a:srgbClr val="FCFEFF"/>
              </a:clrFrom>
              <a:clrTo>
                <a:srgbClr val="FCFEFF">
                  <a:alpha val="0"/>
                </a:srgbClr>
              </a:clrTo>
            </a:clrChange>
          </a:blip>
          <a:srcRect l="7473" t="17166" r="8705" b="18313"/>
          <a:stretch/>
        </p:blipFill>
        <p:spPr>
          <a:xfrm>
            <a:off x="296092" y="243840"/>
            <a:ext cx="1402080" cy="857980"/>
          </a:xfrm>
          <a:prstGeom prst="rect">
            <a:avLst/>
          </a:prstGeom>
        </p:spPr>
      </p:pic>
      <p:sp>
        <p:nvSpPr>
          <p:cNvPr id="3" name="TextBox 2">
            <a:extLst>
              <a:ext uri="{FF2B5EF4-FFF2-40B4-BE49-F238E27FC236}">
                <a16:creationId xmlns:a16="http://schemas.microsoft.com/office/drawing/2014/main" id="{51067F47-FE59-25FD-1E0D-F7D7E64973F7}"/>
              </a:ext>
            </a:extLst>
          </p:cNvPr>
          <p:cNvSpPr txBox="1"/>
          <p:nvPr/>
        </p:nvSpPr>
        <p:spPr>
          <a:xfrm>
            <a:off x="1776551" y="495859"/>
            <a:ext cx="2717072" cy="353943"/>
          </a:xfrm>
          <a:prstGeom prst="rect">
            <a:avLst/>
          </a:prstGeom>
          <a:noFill/>
        </p:spPr>
        <p:txBody>
          <a:bodyPr wrap="square" rtlCol="0">
            <a:spAutoFit/>
          </a:bodyPr>
          <a:lstStyle/>
          <a:p>
            <a:pPr algn="ctr"/>
            <a:r>
              <a:rPr lang="en-US" sz="900" b="1" dirty="0"/>
              <a:t>International Council on Systems Engineering</a:t>
            </a:r>
          </a:p>
          <a:p>
            <a:pPr algn="ctr"/>
            <a:r>
              <a:rPr lang="en-US" sz="800" i="1" dirty="0"/>
              <a:t>A better world through a systems approach</a:t>
            </a:r>
          </a:p>
        </p:txBody>
      </p:sp>
      <p:sp>
        <p:nvSpPr>
          <p:cNvPr id="4" name="Rectangle 3">
            <a:extLst>
              <a:ext uri="{FF2B5EF4-FFF2-40B4-BE49-F238E27FC236}">
                <a16:creationId xmlns:a16="http://schemas.microsoft.com/office/drawing/2014/main" id="{837D8559-680B-88F6-0115-3500539B77A4}"/>
              </a:ext>
            </a:extLst>
          </p:cNvPr>
          <p:cNvSpPr/>
          <p:nvPr/>
        </p:nvSpPr>
        <p:spPr>
          <a:xfrm>
            <a:off x="8477794" y="87086"/>
            <a:ext cx="544286" cy="470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sz="1400" dirty="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28568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572000" y="1906723"/>
            <a:ext cx="3267855" cy="1784216"/>
          </a:xfrm>
          <a:prstGeom prst="rect">
            <a:avLst/>
          </a:prstGeom>
          <a:solidFill>
            <a:schemeClr val="tx1">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6" name="Text Placeholder 5"/>
          <p:cNvSpPr>
            <a:spLocks noGrp="1"/>
          </p:cNvSpPr>
          <p:nvPr>
            <p:ph type="body" sz="quarter" idx="16"/>
          </p:nvPr>
        </p:nvSpPr>
        <p:spPr/>
        <p:txBody>
          <a:bodyPr/>
          <a:lstStyle/>
          <a:p>
            <a:r>
              <a:rPr lang="en-US" dirty="0">
                <a:solidFill>
                  <a:schemeClr val="tx1"/>
                </a:solidFill>
              </a:rPr>
              <a:t>With space for a central idea</a:t>
            </a:r>
            <a:endParaRPr lang="en-GB" dirty="0">
              <a:solidFill>
                <a:schemeClr val="tx1"/>
              </a:solidFill>
            </a:endParaRPr>
          </a:p>
        </p:txBody>
      </p:sp>
      <p:sp>
        <p:nvSpPr>
          <p:cNvPr id="4" name="Text Placeholder 3"/>
          <p:cNvSpPr>
            <a:spLocks noGrp="1"/>
          </p:cNvSpPr>
          <p:nvPr>
            <p:ph type="body" sz="quarter" idx="11"/>
          </p:nvPr>
        </p:nvSpPr>
        <p:spPr/>
        <p:txBody>
          <a:bodyPr/>
          <a:lstStyle/>
          <a:p>
            <a:r>
              <a:rPr lang="en-US" dirty="0">
                <a:solidFill>
                  <a:schemeClr val="accent1"/>
                </a:solidFill>
              </a:rPr>
              <a:t>Left aligned </a:t>
            </a:r>
            <a:br>
              <a:rPr lang="en-US" dirty="0">
                <a:solidFill>
                  <a:schemeClr val="accent1"/>
                </a:solidFill>
              </a:rPr>
            </a:br>
            <a:r>
              <a:rPr lang="en-US" dirty="0">
                <a:solidFill>
                  <a:schemeClr val="accent1"/>
                </a:solidFill>
              </a:rPr>
              <a:t>text box</a:t>
            </a:r>
            <a:endParaRPr lang="en-GB" dirty="0">
              <a:solidFill>
                <a:schemeClr val="accent1"/>
              </a:solidFill>
            </a:endParaRPr>
          </a:p>
        </p:txBody>
      </p:sp>
      <p:sp>
        <p:nvSpPr>
          <p:cNvPr id="7" name="Text Placeholder 6"/>
          <p:cNvSpPr>
            <a:spLocks noGrp="1"/>
          </p:cNvSpPr>
          <p:nvPr>
            <p:ph type="body" sz="quarter" idx="17"/>
          </p:nvPr>
        </p:nvSpPr>
        <p:spPr/>
        <p:txBody>
          <a:bodyPr/>
          <a:lstStyle/>
          <a:p>
            <a:r>
              <a:rPr lang="en-US" dirty="0">
                <a:solidFill>
                  <a:schemeClr val="tx1"/>
                </a:solidFill>
              </a:rPr>
              <a:t>Bullet points</a:t>
            </a:r>
          </a:p>
          <a:p>
            <a:r>
              <a:rPr lang="en-US" dirty="0">
                <a:solidFill>
                  <a:schemeClr val="tx1"/>
                </a:solidFill>
              </a:rPr>
              <a:t>Make a point</a:t>
            </a:r>
          </a:p>
          <a:p>
            <a:r>
              <a:rPr lang="en-US" dirty="0">
                <a:solidFill>
                  <a:schemeClr val="tx1"/>
                </a:solidFill>
              </a:rPr>
              <a:t>State your deal</a:t>
            </a:r>
          </a:p>
          <a:p>
            <a:r>
              <a:rPr lang="en-US" dirty="0">
                <a:solidFill>
                  <a:schemeClr val="tx1"/>
                </a:solidFill>
              </a:rPr>
              <a:t>Put your ideas here</a:t>
            </a:r>
            <a:endParaRPr lang="en-GB" dirty="0">
              <a:solidFill>
                <a:schemeClr val="tx1"/>
              </a:solidFill>
            </a:endParaRPr>
          </a:p>
        </p:txBody>
      </p:sp>
      <p:pic>
        <p:nvPicPr>
          <p:cNvPr id="10" name="Picture Placeholder 9" descr="A group of people sitting around a table with laptops&#10;&#10;Description automatically generated with medium confidence">
            <a:extLst>
              <a:ext uri="{FF2B5EF4-FFF2-40B4-BE49-F238E27FC236}">
                <a16:creationId xmlns:a16="http://schemas.microsoft.com/office/drawing/2014/main" id="{7B8ED5B6-58B7-DFCA-55C9-4B165598C4A6}"/>
              </a:ext>
            </a:extLst>
          </p:cNvPr>
          <p:cNvPicPr>
            <a:picLocks noGrp="1" noChangeAspect="1"/>
          </p:cNvPicPr>
          <p:nvPr>
            <p:ph type="pic" sz="quarter" idx="12"/>
          </p:nvPr>
        </p:nvPicPr>
        <p:blipFill>
          <a:blip r:embed="rId2" cstate="hqprint">
            <a:extLst>
              <a:ext uri="{28A0092B-C50C-407E-A947-70E740481C1C}">
                <a14:useLocalDpi xmlns:a14="http://schemas.microsoft.com/office/drawing/2010/main" val="0"/>
              </a:ext>
            </a:extLst>
          </a:blip>
          <a:srcRect t="10693" b="10693"/>
          <a:stretch>
            <a:fillRect/>
          </a:stretch>
        </p:blipFill>
        <p:spPr/>
      </p:pic>
    </p:spTree>
    <p:extLst>
      <p:ext uri="{BB962C8B-B14F-4D97-AF65-F5344CB8AC3E}">
        <p14:creationId xmlns:p14="http://schemas.microsoft.com/office/powerpoint/2010/main" val="16504375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87792" y="4800737"/>
            <a:ext cx="592470" cy="138499"/>
          </a:xfrm>
          <a:prstGeom prst="rect">
            <a:avLst/>
          </a:prstGeom>
          <a:noFill/>
        </p:spPr>
        <p:txBody>
          <a:bodyPr wrap="none" lIns="0" bIns="0" rtlCol="0" anchor="b" anchorCtr="0">
            <a:spAutoFit/>
          </a:bodyPr>
          <a:lstStyle/>
          <a:p>
            <a:pPr defTabSz="685755"/>
            <a:r>
              <a:rPr lang="en-AU" sz="600" spc="75">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slalom.com</a:t>
            </a:r>
          </a:p>
        </p:txBody>
      </p:sp>
      <p:pic>
        <p:nvPicPr>
          <p:cNvPr id="5" name="Picture Placeholder 4" descr="Two people looking at a tablet&#10;&#10;Description automatically generated with medium confidence">
            <a:extLst>
              <a:ext uri="{FF2B5EF4-FFF2-40B4-BE49-F238E27FC236}">
                <a16:creationId xmlns:a16="http://schemas.microsoft.com/office/drawing/2014/main" id="{19B019BA-9F7D-0308-8CC4-09FB5ECB06E8}"/>
              </a:ext>
            </a:extLst>
          </p:cNvPr>
          <p:cNvPicPr>
            <a:picLocks noGrp="1" noChangeAspect="1"/>
          </p:cNvPicPr>
          <p:nvPr>
            <p:ph type="pic" sz="quarter" idx="21"/>
          </p:nvPr>
        </p:nvPicPr>
        <p:blipFill>
          <a:blip r:embed="rId3" cstate="hqprint">
            <a:extLst>
              <a:ext uri="{28A0092B-C50C-407E-A947-70E740481C1C}">
                <a14:useLocalDpi xmlns:a14="http://schemas.microsoft.com/office/drawing/2010/main" val="0"/>
              </a:ext>
            </a:extLst>
          </a:blip>
          <a:srcRect t="18" b="18"/>
          <a:stretch>
            <a:fillRect/>
          </a:stretch>
        </p:blipFill>
        <p:spPr/>
      </p:pic>
      <p:sp>
        <p:nvSpPr>
          <p:cNvPr id="2" name="TextBox 1">
            <a:extLst>
              <a:ext uri="{FF2B5EF4-FFF2-40B4-BE49-F238E27FC236}">
                <a16:creationId xmlns:a16="http://schemas.microsoft.com/office/drawing/2014/main" id="{449452FA-4631-D936-0C2D-FEF1D8AB22CB}"/>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21</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590327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p:txBody>
          <a:bodyPr/>
          <a:lstStyle/>
          <a:p>
            <a:endParaRPr lang="en-GB"/>
          </a:p>
        </p:txBody>
      </p:sp>
      <p:sp>
        <p:nvSpPr>
          <p:cNvPr id="2" name="Text Placeholder 1"/>
          <p:cNvSpPr>
            <a:spLocks noGrp="1"/>
          </p:cNvSpPr>
          <p:nvPr>
            <p:ph type="body" sz="quarter" idx="11"/>
          </p:nvPr>
        </p:nvSpPr>
        <p:spPr/>
        <p:txBody>
          <a:bodyPr/>
          <a:lstStyle/>
          <a:p>
            <a:r>
              <a:rPr lang="en-GB" sz="6000" dirty="0">
                <a:solidFill>
                  <a:schemeClr val="accent1"/>
                </a:solidFill>
              </a:rPr>
              <a:t>Hello.</a:t>
            </a:r>
          </a:p>
        </p:txBody>
      </p:sp>
      <p:sp>
        <p:nvSpPr>
          <p:cNvPr id="13" name="Text Placeholder 12"/>
          <p:cNvSpPr>
            <a:spLocks noGrp="1"/>
          </p:cNvSpPr>
          <p:nvPr>
            <p:ph type="body" sz="quarter" idx="19"/>
          </p:nvPr>
        </p:nvSpPr>
        <p:spPr/>
        <p:txBody>
          <a:bodyPr/>
          <a:lstStyle/>
          <a:p>
            <a:r>
              <a:rPr lang="en-US" dirty="0" err="1"/>
              <a:t>Firstname</a:t>
            </a:r>
            <a:r>
              <a:rPr lang="en-US" dirty="0"/>
              <a:t> </a:t>
            </a:r>
            <a:r>
              <a:rPr lang="en-US" dirty="0" err="1"/>
              <a:t>Lastname</a:t>
            </a:r>
            <a:endParaRPr lang="en-GB" dirty="0"/>
          </a:p>
        </p:txBody>
      </p:sp>
      <p:sp>
        <p:nvSpPr>
          <p:cNvPr id="14" name="Text Placeholder 13"/>
          <p:cNvSpPr>
            <a:spLocks noGrp="1"/>
          </p:cNvSpPr>
          <p:nvPr>
            <p:ph type="body" sz="quarter" idx="20"/>
          </p:nvPr>
        </p:nvSpPr>
        <p:spPr/>
        <p:txBody>
          <a:bodyPr/>
          <a:lstStyle/>
          <a:p>
            <a:r>
              <a:rPr lang="en-US" dirty="0"/>
              <a:t>Title</a:t>
            </a:r>
            <a:endParaRPr lang="en-GB" dirty="0"/>
          </a:p>
        </p:txBody>
      </p:sp>
      <p:sp>
        <p:nvSpPr>
          <p:cNvPr id="15" name="Text Placeholder 14"/>
          <p:cNvSpPr>
            <a:spLocks noGrp="1"/>
          </p:cNvSpPr>
          <p:nvPr>
            <p:ph type="body" sz="quarter" idx="21"/>
          </p:nvPr>
        </p:nvSpPr>
        <p:spPr/>
        <p:txBody>
          <a:bodyPr/>
          <a:lstStyle/>
          <a:p>
            <a:r>
              <a:rPr lang="en-US" dirty="0"/>
              <a:t>Lorem ipsum dolor sit description. Lorem description ipsum dolor sit dolor lorem. Ipsum description dolor sit description sit dolor.</a:t>
            </a:r>
          </a:p>
        </p:txBody>
      </p:sp>
      <p:sp>
        <p:nvSpPr>
          <p:cNvPr id="16" name="Text Placeholder 15"/>
          <p:cNvSpPr>
            <a:spLocks noGrp="1"/>
          </p:cNvSpPr>
          <p:nvPr>
            <p:ph type="body" sz="quarter" idx="22"/>
          </p:nvPr>
        </p:nvSpPr>
        <p:spPr/>
        <p:txBody>
          <a:bodyPr/>
          <a:lstStyle/>
          <a:p>
            <a:r>
              <a:rPr lang="en-US" dirty="0" err="1"/>
              <a:t>Firstname</a:t>
            </a:r>
            <a:r>
              <a:rPr lang="en-US" dirty="0"/>
              <a:t> </a:t>
            </a:r>
            <a:r>
              <a:rPr lang="en-US" dirty="0" err="1"/>
              <a:t>Lastname</a:t>
            </a:r>
            <a:endParaRPr lang="en-GB" dirty="0"/>
          </a:p>
        </p:txBody>
      </p:sp>
      <p:sp>
        <p:nvSpPr>
          <p:cNvPr id="17" name="Text Placeholder 16"/>
          <p:cNvSpPr>
            <a:spLocks noGrp="1"/>
          </p:cNvSpPr>
          <p:nvPr>
            <p:ph type="body" sz="quarter" idx="23"/>
          </p:nvPr>
        </p:nvSpPr>
        <p:spPr/>
        <p:txBody>
          <a:bodyPr/>
          <a:lstStyle/>
          <a:p>
            <a:r>
              <a:rPr lang="en-US" dirty="0"/>
              <a:t>Title</a:t>
            </a:r>
            <a:endParaRPr lang="en-GB" dirty="0"/>
          </a:p>
        </p:txBody>
      </p:sp>
      <p:sp>
        <p:nvSpPr>
          <p:cNvPr id="18" name="Text Placeholder 17"/>
          <p:cNvSpPr>
            <a:spLocks noGrp="1"/>
          </p:cNvSpPr>
          <p:nvPr>
            <p:ph type="body" sz="quarter" idx="24"/>
          </p:nvPr>
        </p:nvSpPr>
        <p:spPr/>
        <p:txBody>
          <a:bodyPr/>
          <a:lstStyle/>
          <a:p>
            <a:r>
              <a:rPr lang="en-US" dirty="0"/>
              <a:t>Lorem ipsum dolor sit description. Lorem description ipsum dolor sit dolor lorem. Ipsum description dolor sit description sit dolor.</a:t>
            </a:r>
          </a:p>
        </p:txBody>
      </p:sp>
      <p:sp>
        <p:nvSpPr>
          <p:cNvPr id="41"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en-US" sz="1350"/>
          </a:p>
        </p:txBody>
      </p:sp>
      <p:pic>
        <p:nvPicPr>
          <p:cNvPr id="7" name="Picture Placeholder 6" descr="A person wearing glasses&#10;&#10;Description automatically generated with low confidence">
            <a:extLst>
              <a:ext uri="{FF2B5EF4-FFF2-40B4-BE49-F238E27FC236}">
                <a16:creationId xmlns:a16="http://schemas.microsoft.com/office/drawing/2014/main" id="{326AC594-7C74-A1AA-766B-0E0DC96D3B49}"/>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val="0"/>
              </a:ext>
            </a:extLst>
          </a:blip>
          <a:srcRect l="21865" r="21865"/>
          <a:stretch>
            <a:fillRect/>
          </a:stretch>
        </p:blipFill>
        <p:spPr/>
      </p:pic>
      <p:pic>
        <p:nvPicPr>
          <p:cNvPr id="11" name="Picture Placeholder 10" descr="A person standing in front of a table with other people sitting at it&#10;&#10;Description automatically generated with low confidence">
            <a:extLst>
              <a:ext uri="{FF2B5EF4-FFF2-40B4-BE49-F238E27FC236}">
                <a16:creationId xmlns:a16="http://schemas.microsoft.com/office/drawing/2014/main" id="{3FB6C320-B1AD-1485-5DB8-B947D6CFE91C}"/>
              </a:ext>
            </a:extLst>
          </p:cNvPr>
          <p:cNvPicPr>
            <a:picLocks noGrp="1" noChangeAspect="1"/>
          </p:cNvPicPr>
          <p:nvPr>
            <p:ph type="pic" sz="quarter" idx="18"/>
          </p:nvPr>
        </p:nvPicPr>
        <p:blipFill>
          <a:blip r:embed="rId3" cstate="hqprint">
            <a:extLst>
              <a:ext uri="{28A0092B-C50C-407E-A947-70E740481C1C}">
                <a14:useLocalDpi xmlns:a14="http://schemas.microsoft.com/office/drawing/2010/main" val="0"/>
              </a:ext>
            </a:extLst>
          </a:blip>
          <a:srcRect l="16688" r="16688"/>
          <a:stretch>
            <a:fillRect/>
          </a:stretch>
        </p:blipFill>
        <p:spPr/>
      </p:pic>
    </p:spTree>
    <p:extLst>
      <p:ext uri="{BB962C8B-B14F-4D97-AF65-F5344CB8AC3E}">
        <p14:creationId xmlns:p14="http://schemas.microsoft.com/office/powerpoint/2010/main" val="23446918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21"/>
          </p:nvPr>
        </p:nvSpPr>
        <p:spPr/>
        <p:txBody>
          <a:bodyPr/>
          <a:lstStyle/>
          <a:p>
            <a:r>
              <a:rPr lang="en-US"/>
              <a:t>Firstname Lastname</a:t>
            </a:r>
            <a:endParaRPr lang="en-GB" dirty="0"/>
          </a:p>
        </p:txBody>
      </p:sp>
      <p:sp>
        <p:nvSpPr>
          <p:cNvPr id="8" name="Text Placeholder 7"/>
          <p:cNvSpPr>
            <a:spLocks noGrp="1"/>
          </p:cNvSpPr>
          <p:nvPr>
            <p:ph type="body" sz="quarter" idx="22"/>
          </p:nvPr>
        </p:nvSpPr>
        <p:spPr>
          <a:xfrm>
            <a:off x="478382" y="2945323"/>
            <a:ext cx="1575714" cy="669415"/>
          </a:xfrm>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9" name="Text Placeholder 8"/>
          <p:cNvSpPr>
            <a:spLocks noGrp="1"/>
          </p:cNvSpPr>
          <p:nvPr>
            <p:ph type="body" sz="quarter" idx="23"/>
          </p:nvPr>
        </p:nvSpPr>
        <p:spPr/>
        <p:txBody>
          <a:bodyPr/>
          <a:lstStyle/>
          <a:p>
            <a:r>
              <a:rPr lang="en-US"/>
              <a:t>Firstname Lastname</a:t>
            </a:r>
            <a:endParaRPr lang="en-GB" dirty="0"/>
          </a:p>
        </p:txBody>
      </p:sp>
      <p:sp>
        <p:nvSpPr>
          <p:cNvPr id="10" name="Text Placeholder 9"/>
          <p:cNvSpPr>
            <a:spLocks noGrp="1"/>
          </p:cNvSpPr>
          <p:nvPr>
            <p:ph type="body" sz="quarter" idx="24"/>
          </p:nvPr>
        </p:nvSpPr>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11" name="Text Placeholder 10"/>
          <p:cNvSpPr>
            <a:spLocks noGrp="1"/>
          </p:cNvSpPr>
          <p:nvPr>
            <p:ph type="body" sz="quarter" idx="25"/>
          </p:nvPr>
        </p:nvSpPr>
        <p:spPr/>
        <p:txBody>
          <a:bodyPr/>
          <a:lstStyle/>
          <a:p>
            <a:r>
              <a:rPr lang="en-US"/>
              <a:t>Firstname Lastname</a:t>
            </a:r>
            <a:endParaRPr lang="en-GB" dirty="0"/>
          </a:p>
        </p:txBody>
      </p:sp>
      <p:sp>
        <p:nvSpPr>
          <p:cNvPr id="12" name="Text Placeholder 11"/>
          <p:cNvSpPr>
            <a:spLocks noGrp="1"/>
          </p:cNvSpPr>
          <p:nvPr>
            <p:ph type="body" sz="quarter" idx="26"/>
          </p:nvPr>
        </p:nvSpPr>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13" name="Text Placeholder 12"/>
          <p:cNvSpPr>
            <a:spLocks noGrp="1"/>
          </p:cNvSpPr>
          <p:nvPr>
            <p:ph type="body" sz="quarter" idx="27"/>
          </p:nvPr>
        </p:nvSpPr>
        <p:spPr>
          <a:xfrm>
            <a:off x="6705600" y="2712043"/>
            <a:ext cx="1575711" cy="215359"/>
          </a:xfrm>
        </p:spPr>
        <p:txBody>
          <a:bodyPr/>
          <a:lstStyle/>
          <a:p>
            <a:r>
              <a:rPr lang="en-US"/>
              <a:t>Firstname Lastname</a:t>
            </a:r>
            <a:endParaRPr lang="en-GB" dirty="0"/>
          </a:p>
        </p:txBody>
      </p:sp>
      <p:sp>
        <p:nvSpPr>
          <p:cNvPr id="14" name="Text Placeholder 13"/>
          <p:cNvSpPr>
            <a:spLocks noGrp="1"/>
          </p:cNvSpPr>
          <p:nvPr>
            <p:ph type="body" sz="quarter" idx="28"/>
          </p:nvPr>
        </p:nvSpPr>
        <p:spPr>
          <a:xfrm>
            <a:off x="6705600" y="2945323"/>
            <a:ext cx="1575714" cy="205131"/>
          </a:xfrm>
        </p:spPr>
        <p:txBody>
          <a:bodyPr/>
          <a:lstStyle/>
          <a:p>
            <a:r>
              <a:rPr lang="en-US" dirty="0">
                <a:solidFill>
                  <a:schemeClr val="accent1"/>
                </a:solidFill>
              </a:rPr>
              <a:t>Title</a:t>
            </a:r>
          </a:p>
          <a:p>
            <a:pPr>
              <a:lnSpc>
                <a:spcPct val="150000"/>
              </a:lnSpc>
            </a:pPr>
            <a:r>
              <a:rPr lang="en-US" dirty="0">
                <a:solidFill>
                  <a:schemeClr val="tx1"/>
                </a:solidFill>
              </a:rPr>
              <a:t>Description or relevant details here. Lorem ipsum dolor sit. Ipsum description dolor sit description sit dolor</a:t>
            </a:r>
            <a:endParaRPr lang="en-GB" dirty="0">
              <a:solidFill>
                <a:schemeClr val="tx1"/>
              </a:solidFill>
            </a:endParaRPr>
          </a:p>
        </p:txBody>
      </p:sp>
      <p:sp>
        <p:nvSpPr>
          <p:cNvPr id="2" name="Text Placeholder 1"/>
          <p:cNvSpPr>
            <a:spLocks noGrp="1"/>
          </p:cNvSpPr>
          <p:nvPr>
            <p:ph type="body" sz="quarter" idx="14"/>
          </p:nvPr>
        </p:nvSpPr>
        <p:spPr/>
        <p:txBody>
          <a:bodyPr/>
          <a:lstStyle/>
          <a:p>
            <a:r>
              <a:rPr lang="en-US" dirty="0">
                <a:solidFill>
                  <a:schemeClr val="accent1"/>
                </a:solidFill>
              </a:rPr>
              <a:t>Hello.</a:t>
            </a:r>
            <a:endParaRPr lang="en-GB" dirty="0">
              <a:solidFill>
                <a:schemeClr val="accent1"/>
              </a:solidFill>
            </a:endParaRPr>
          </a:p>
        </p:txBody>
      </p:sp>
      <p:pic>
        <p:nvPicPr>
          <p:cNvPr id="21" name="Picture Placeholder 20" descr="A person standing in front of a table with other people sitting at it&#10;&#10;Description automatically generated with low confidence">
            <a:extLst>
              <a:ext uri="{FF2B5EF4-FFF2-40B4-BE49-F238E27FC236}">
                <a16:creationId xmlns:a16="http://schemas.microsoft.com/office/drawing/2014/main" id="{5B7FEA6F-3F51-191A-41C3-C1F2FC424A69}"/>
              </a:ext>
            </a:extLst>
          </p:cNvPr>
          <p:cNvPicPr>
            <a:picLocks noGrp="1" noChangeAspect="1"/>
          </p:cNvPicPr>
          <p:nvPr>
            <p:ph type="pic" sz="quarter" idx="17"/>
          </p:nvPr>
        </p:nvPicPr>
        <p:blipFill>
          <a:blip r:embed="rId2" cstate="hqprint">
            <a:extLst>
              <a:ext uri="{28A0092B-C50C-407E-A947-70E740481C1C}">
                <a14:useLocalDpi xmlns:a14="http://schemas.microsoft.com/office/drawing/2010/main" val="0"/>
              </a:ext>
            </a:extLst>
          </a:blip>
          <a:srcRect l="16688" r="16688"/>
          <a:stretch>
            <a:fillRect/>
          </a:stretch>
        </p:blipFill>
        <p:spPr/>
      </p:pic>
      <p:pic>
        <p:nvPicPr>
          <p:cNvPr id="25" name="Picture Placeholder 24" descr="A person wearing glasses&#10;&#10;Description automatically generated with low confidence">
            <a:extLst>
              <a:ext uri="{FF2B5EF4-FFF2-40B4-BE49-F238E27FC236}">
                <a16:creationId xmlns:a16="http://schemas.microsoft.com/office/drawing/2014/main" id="{EBF44A64-E0D5-63A2-AF67-00F233348B5C}"/>
              </a:ext>
            </a:extLst>
          </p:cNvPr>
          <p:cNvPicPr>
            <a:picLocks noGrp="1" noChangeAspect="1"/>
          </p:cNvPicPr>
          <p:nvPr>
            <p:ph type="pic" sz="quarter" idx="18"/>
          </p:nvPr>
        </p:nvPicPr>
        <p:blipFill>
          <a:blip r:embed="rId3" cstate="hqprint">
            <a:extLst>
              <a:ext uri="{28A0092B-C50C-407E-A947-70E740481C1C}">
                <a14:useLocalDpi xmlns:a14="http://schemas.microsoft.com/office/drawing/2010/main" val="0"/>
              </a:ext>
            </a:extLst>
          </a:blip>
          <a:srcRect l="21865" r="21865"/>
          <a:stretch>
            <a:fillRect/>
          </a:stretch>
        </p:blipFill>
        <p:spPr/>
      </p:pic>
      <p:pic>
        <p:nvPicPr>
          <p:cNvPr id="28" name="Picture Placeholder 27" descr="A group of people sitting around a table with laptops&#10;&#10;Description automatically generated with medium confidence">
            <a:extLst>
              <a:ext uri="{FF2B5EF4-FFF2-40B4-BE49-F238E27FC236}">
                <a16:creationId xmlns:a16="http://schemas.microsoft.com/office/drawing/2014/main" id="{5468127C-6F51-EE7B-87E8-45DB069A01D1}"/>
              </a:ext>
            </a:extLst>
          </p:cNvPr>
          <p:cNvPicPr>
            <a:picLocks noGrp="1" noChangeAspect="1"/>
          </p:cNvPicPr>
          <p:nvPr>
            <p:ph type="pic" sz="quarter" idx="19"/>
          </p:nvPr>
        </p:nvPicPr>
        <p:blipFill>
          <a:blip r:embed="rId4" cstate="hqprint">
            <a:extLst>
              <a:ext uri="{28A0092B-C50C-407E-A947-70E740481C1C}">
                <a14:useLocalDpi xmlns:a14="http://schemas.microsoft.com/office/drawing/2010/main" val="0"/>
              </a:ext>
            </a:extLst>
          </a:blip>
          <a:srcRect l="16648" r="16648"/>
          <a:stretch>
            <a:fillRect/>
          </a:stretch>
        </p:blipFill>
        <p:spPr/>
      </p:pic>
      <p:pic>
        <p:nvPicPr>
          <p:cNvPr id="30" name="Picture Placeholder 29" descr="A person looking at a computer screen&#10;&#10;Description automatically generated with low confidence">
            <a:extLst>
              <a:ext uri="{FF2B5EF4-FFF2-40B4-BE49-F238E27FC236}">
                <a16:creationId xmlns:a16="http://schemas.microsoft.com/office/drawing/2014/main" id="{6936E424-989A-AC88-01BB-3510072DA241}"/>
              </a:ext>
            </a:extLst>
          </p:cNvPr>
          <p:cNvPicPr>
            <a:picLocks noGrp="1" noChangeAspect="1"/>
          </p:cNvPicPr>
          <p:nvPr>
            <p:ph type="pic" sz="quarter" idx="20"/>
          </p:nvPr>
        </p:nvPicPr>
        <p:blipFill>
          <a:blip r:embed="rId5" cstate="hqprint">
            <a:extLst>
              <a:ext uri="{28A0092B-C50C-407E-A947-70E740481C1C}">
                <a14:useLocalDpi xmlns:a14="http://schemas.microsoft.com/office/drawing/2010/main" val="0"/>
              </a:ext>
            </a:extLst>
          </a:blip>
          <a:srcRect l="20339" r="20339"/>
          <a:stretch>
            <a:fillRect/>
          </a:stretch>
        </p:blipFill>
        <p:spPr/>
      </p:pic>
    </p:spTree>
    <p:extLst>
      <p:ext uri="{BB962C8B-B14F-4D97-AF65-F5344CB8AC3E}">
        <p14:creationId xmlns:p14="http://schemas.microsoft.com/office/powerpoint/2010/main" val="15052504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reeform 5"/>
          <p:cNvSpPr>
            <a:spLocks noChangeAspect="1"/>
          </p:cNvSpPr>
          <p:nvPr/>
        </p:nvSpPr>
        <p:spPr bwMode="auto">
          <a:xfrm rot="10800000" flipH="1" flipV="1">
            <a:off x="0" y="2247899"/>
            <a:ext cx="2895600" cy="2895600"/>
          </a:xfrm>
          <a:custGeom>
            <a:avLst/>
            <a:gdLst>
              <a:gd name="T0" fmla="*/ 0 w 3894"/>
              <a:gd name="T1" fmla="*/ 3894 h 3894"/>
              <a:gd name="T2" fmla="*/ 3894 w 3894"/>
              <a:gd name="T3" fmla="*/ 3894 h 3894"/>
              <a:gd name="T4" fmla="*/ 3694 w 3894"/>
              <a:gd name="T5" fmla="*/ 3890 h 3894"/>
              <a:gd name="T6" fmla="*/ 3496 w 3894"/>
              <a:gd name="T7" fmla="*/ 3874 h 3894"/>
              <a:gd name="T8" fmla="*/ 3302 w 3894"/>
              <a:gd name="T9" fmla="*/ 3850 h 3894"/>
              <a:gd name="T10" fmla="*/ 3110 w 3894"/>
              <a:gd name="T11" fmla="*/ 3816 h 3894"/>
              <a:gd name="T12" fmla="*/ 2922 w 3894"/>
              <a:gd name="T13" fmla="*/ 3772 h 3894"/>
              <a:gd name="T14" fmla="*/ 2736 w 3894"/>
              <a:gd name="T15" fmla="*/ 3720 h 3894"/>
              <a:gd name="T16" fmla="*/ 2556 w 3894"/>
              <a:gd name="T17" fmla="*/ 3658 h 3894"/>
              <a:gd name="T18" fmla="*/ 2378 w 3894"/>
              <a:gd name="T19" fmla="*/ 3588 h 3894"/>
              <a:gd name="T20" fmla="*/ 2206 w 3894"/>
              <a:gd name="T21" fmla="*/ 3510 h 3894"/>
              <a:gd name="T22" fmla="*/ 2038 w 3894"/>
              <a:gd name="T23" fmla="*/ 3424 h 3894"/>
              <a:gd name="T24" fmla="*/ 1876 w 3894"/>
              <a:gd name="T25" fmla="*/ 3330 h 3894"/>
              <a:gd name="T26" fmla="*/ 1718 w 3894"/>
              <a:gd name="T27" fmla="*/ 3230 h 3894"/>
              <a:gd name="T28" fmla="*/ 1564 w 3894"/>
              <a:gd name="T29" fmla="*/ 3122 h 3894"/>
              <a:gd name="T30" fmla="*/ 1418 w 3894"/>
              <a:gd name="T31" fmla="*/ 3006 h 3894"/>
              <a:gd name="T32" fmla="*/ 1276 w 3894"/>
              <a:gd name="T33" fmla="*/ 2884 h 3894"/>
              <a:gd name="T34" fmla="*/ 1142 w 3894"/>
              <a:gd name="T35" fmla="*/ 2754 h 3894"/>
              <a:gd name="T36" fmla="*/ 1012 w 3894"/>
              <a:gd name="T37" fmla="*/ 2618 h 3894"/>
              <a:gd name="T38" fmla="*/ 890 w 3894"/>
              <a:gd name="T39" fmla="*/ 2478 h 3894"/>
              <a:gd name="T40" fmla="*/ 774 w 3894"/>
              <a:gd name="T41" fmla="*/ 2330 h 3894"/>
              <a:gd name="T42" fmla="*/ 666 w 3894"/>
              <a:gd name="T43" fmla="*/ 2178 h 3894"/>
              <a:gd name="T44" fmla="*/ 564 w 3894"/>
              <a:gd name="T45" fmla="*/ 2020 h 3894"/>
              <a:gd name="T46" fmla="*/ 470 w 3894"/>
              <a:gd name="T47" fmla="*/ 1856 h 3894"/>
              <a:gd name="T48" fmla="*/ 384 w 3894"/>
              <a:gd name="T49" fmla="*/ 1688 h 3894"/>
              <a:gd name="T50" fmla="*/ 306 w 3894"/>
              <a:gd name="T51" fmla="*/ 1516 h 3894"/>
              <a:gd name="T52" fmla="*/ 238 w 3894"/>
              <a:gd name="T53" fmla="*/ 1340 h 3894"/>
              <a:gd name="T54" fmla="*/ 176 w 3894"/>
              <a:gd name="T55" fmla="*/ 1158 h 3894"/>
              <a:gd name="T56" fmla="*/ 124 w 3894"/>
              <a:gd name="T57" fmla="*/ 974 h 3894"/>
              <a:gd name="T58" fmla="*/ 80 w 3894"/>
              <a:gd name="T59" fmla="*/ 786 h 3894"/>
              <a:gd name="T60" fmla="*/ 46 w 3894"/>
              <a:gd name="T61" fmla="*/ 594 h 3894"/>
              <a:gd name="T62" fmla="*/ 20 w 3894"/>
              <a:gd name="T63" fmla="*/ 398 h 3894"/>
              <a:gd name="T64" fmla="*/ 6 w 3894"/>
              <a:gd name="T65" fmla="*/ 202 h 3894"/>
              <a:gd name="T66" fmla="*/ 0 w 3894"/>
              <a:gd name="T67" fmla="*/ 0 h 3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94" h="3894">
                <a:moveTo>
                  <a:pt x="0" y="0"/>
                </a:moveTo>
                <a:lnTo>
                  <a:pt x="0" y="3894"/>
                </a:lnTo>
                <a:lnTo>
                  <a:pt x="3894" y="3894"/>
                </a:lnTo>
                <a:lnTo>
                  <a:pt x="3894" y="3894"/>
                </a:lnTo>
                <a:lnTo>
                  <a:pt x="3794" y="3894"/>
                </a:lnTo>
                <a:lnTo>
                  <a:pt x="3694" y="3890"/>
                </a:lnTo>
                <a:lnTo>
                  <a:pt x="3594" y="3884"/>
                </a:lnTo>
                <a:lnTo>
                  <a:pt x="3496" y="3874"/>
                </a:lnTo>
                <a:lnTo>
                  <a:pt x="3398" y="3864"/>
                </a:lnTo>
                <a:lnTo>
                  <a:pt x="3302" y="3850"/>
                </a:lnTo>
                <a:lnTo>
                  <a:pt x="3206" y="3834"/>
                </a:lnTo>
                <a:lnTo>
                  <a:pt x="3110" y="3816"/>
                </a:lnTo>
                <a:lnTo>
                  <a:pt x="3016" y="3794"/>
                </a:lnTo>
                <a:lnTo>
                  <a:pt x="2922" y="3772"/>
                </a:lnTo>
                <a:lnTo>
                  <a:pt x="2828" y="3746"/>
                </a:lnTo>
                <a:lnTo>
                  <a:pt x="2736" y="3720"/>
                </a:lnTo>
                <a:lnTo>
                  <a:pt x="2646" y="3690"/>
                </a:lnTo>
                <a:lnTo>
                  <a:pt x="2556" y="3658"/>
                </a:lnTo>
                <a:lnTo>
                  <a:pt x="2466" y="3624"/>
                </a:lnTo>
                <a:lnTo>
                  <a:pt x="2378" y="3588"/>
                </a:lnTo>
                <a:lnTo>
                  <a:pt x="2292" y="3550"/>
                </a:lnTo>
                <a:lnTo>
                  <a:pt x="2206" y="3510"/>
                </a:lnTo>
                <a:lnTo>
                  <a:pt x="2122" y="3468"/>
                </a:lnTo>
                <a:lnTo>
                  <a:pt x="2038" y="3424"/>
                </a:lnTo>
                <a:lnTo>
                  <a:pt x="1956" y="3378"/>
                </a:lnTo>
                <a:lnTo>
                  <a:pt x="1876" y="3330"/>
                </a:lnTo>
                <a:lnTo>
                  <a:pt x="1796" y="3282"/>
                </a:lnTo>
                <a:lnTo>
                  <a:pt x="1718" y="3230"/>
                </a:lnTo>
                <a:lnTo>
                  <a:pt x="1640" y="3176"/>
                </a:lnTo>
                <a:lnTo>
                  <a:pt x="1564" y="3122"/>
                </a:lnTo>
                <a:lnTo>
                  <a:pt x="1490" y="3064"/>
                </a:lnTo>
                <a:lnTo>
                  <a:pt x="1418" y="3006"/>
                </a:lnTo>
                <a:lnTo>
                  <a:pt x="1346" y="2946"/>
                </a:lnTo>
                <a:lnTo>
                  <a:pt x="1276" y="2884"/>
                </a:lnTo>
                <a:lnTo>
                  <a:pt x="1208" y="2820"/>
                </a:lnTo>
                <a:lnTo>
                  <a:pt x="1142" y="2754"/>
                </a:lnTo>
                <a:lnTo>
                  <a:pt x="1076" y="2688"/>
                </a:lnTo>
                <a:lnTo>
                  <a:pt x="1012" y="2618"/>
                </a:lnTo>
                <a:lnTo>
                  <a:pt x="950" y="2550"/>
                </a:lnTo>
                <a:lnTo>
                  <a:pt x="890" y="2478"/>
                </a:lnTo>
                <a:lnTo>
                  <a:pt x="832" y="2404"/>
                </a:lnTo>
                <a:lnTo>
                  <a:pt x="774" y="2330"/>
                </a:lnTo>
                <a:lnTo>
                  <a:pt x="720" y="2254"/>
                </a:lnTo>
                <a:lnTo>
                  <a:pt x="666" y="2178"/>
                </a:lnTo>
                <a:lnTo>
                  <a:pt x="614" y="2100"/>
                </a:lnTo>
                <a:lnTo>
                  <a:pt x="564" y="2020"/>
                </a:lnTo>
                <a:lnTo>
                  <a:pt x="516" y="1940"/>
                </a:lnTo>
                <a:lnTo>
                  <a:pt x="470" y="1856"/>
                </a:lnTo>
                <a:lnTo>
                  <a:pt x="426" y="1774"/>
                </a:lnTo>
                <a:lnTo>
                  <a:pt x="384" y="1688"/>
                </a:lnTo>
                <a:lnTo>
                  <a:pt x="344" y="1604"/>
                </a:lnTo>
                <a:lnTo>
                  <a:pt x="306" y="1516"/>
                </a:lnTo>
                <a:lnTo>
                  <a:pt x="270" y="1428"/>
                </a:lnTo>
                <a:lnTo>
                  <a:pt x="238" y="1340"/>
                </a:lnTo>
                <a:lnTo>
                  <a:pt x="206" y="1250"/>
                </a:lnTo>
                <a:lnTo>
                  <a:pt x="176" y="1158"/>
                </a:lnTo>
                <a:lnTo>
                  <a:pt x="148" y="1066"/>
                </a:lnTo>
                <a:lnTo>
                  <a:pt x="124" y="974"/>
                </a:lnTo>
                <a:lnTo>
                  <a:pt x="100" y="880"/>
                </a:lnTo>
                <a:lnTo>
                  <a:pt x="80" y="786"/>
                </a:lnTo>
                <a:lnTo>
                  <a:pt x="62" y="690"/>
                </a:lnTo>
                <a:lnTo>
                  <a:pt x="46" y="594"/>
                </a:lnTo>
                <a:lnTo>
                  <a:pt x="32" y="496"/>
                </a:lnTo>
                <a:lnTo>
                  <a:pt x="20" y="398"/>
                </a:lnTo>
                <a:lnTo>
                  <a:pt x="12" y="300"/>
                </a:lnTo>
                <a:lnTo>
                  <a:pt x="6" y="202"/>
                </a:lnTo>
                <a:lnTo>
                  <a:pt x="2" y="102"/>
                </a:lnTo>
                <a:lnTo>
                  <a:pt x="0"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350"/>
          </a:p>
        </p:txBody>
      </p:sp>
      <p:sp>
        <p:nvSpPr>
          <p:cNvPr id="15" name="Rectangle 14"/>
          <p:cNvSpPr/>
          <p:nvPr/>
        </p:nvSpPr>
        <p:spPr>
          <a:xfrm>
            <a:off x="2738784" y="474447"/>
            <a:ext cx="3551403" cy="246221"/>
          </a:xfrm>
          <a:prstGeom prst="rect">
            <a:avLst/>
          </a:prstGeom>
        </p:spPr>
        <p:txBody>
          <a:bodyPr wrap="square" lIns="0" tIns="0" rIns="0" bIns="0">
            <a:spAutoFit/>
          </a:bodyPr>
          <a:lstStyle/>
          <a:p>
            <a:r>
              <a:rPr lang="en-US" sz="1600" b="1" spc="-50" dirty="0"/>
              <a:t>First </a:t>
            </a:r>
            <a:r>
              <a:rPr lang="en-US" sz="1600" b="1" spc="-50" dirty="0" err="1"/>
              <a:t>Lastname</a:t>
            </a:r>
            <a:endParaRPr lang="en-GB" sz="1600" b="1" spc="-50" dirty="0"/>
          </a:p>
        </p:txBody>
      </p:sp>
      <p:sp>
        <p:nvSpPr>
          <p:cNvPr id="16" name="Rectangle 15"/>
          <p:cNvSpPr/>
          <p:nvPr/>
        </p:nvSpPr>
        <p:spPr>
          <a:xfrm>
            <a:off x="2738784" y="771712"/>
            <a:ext cx="3551403" cy="314161"/>
          </a:xfrm>
          <a:prstGeom prst="rect">
            <a:avLst/>
          </a:prstGeom>
        </p:spPr>
        <p:txBody>
          <a:bodyPr wrap="square" lIns="0" tIns="0" rIns="0" bIns="0">
            <a:noAutofit/>
          </a:bodyPr>
          <a:lstStyle/>
          <a:p>
            <a:pPr>
              <a:lnSpc>
                <a:spcPct val="150000"/>
              </a:lnSpc>
            </a:pPr>
            <a:r>
              <a:rPr lang="en-US" sz="900" dirty="0">
                <a:solidFill>
                  <a:schemeClr val="accent1"/>
                </a:solidFill>
                <a:latin typeface="Arial" panose="020B0604020202020204" pitchFamily="34" charset="0"/>
                <a:cs typeface="Arial" panose="020B0604020202020204" pitchFamily="34" charset="0"/>
              </a:rPr>
              <a:t>Title Goes Here</a:t>
            </a:r>
          </a:p>
          <a:p>
            <a:pPr>
              <a:lnSpc>
                <a:spcPct val="150000"/>
              </a:lnSpc>
            </a:pPr>
            <a:endParaRPr lang="en-US" sz="900" dirty="0">
              <a:solidFill>
                <a:schemeClr val="accent4"/>
              </a:solidFill>
              <a:latin typeface="Arial" panose="020B0604020202020204" pitchFamily="34" charset="0"/>
              <a:cs typeface="Arial" panose="020B0604020202020204" pitchFamily="34" charset="0"/>
            </a:endParaRPr>
          </a:p>
        </p:txBody>
      </p:sp>
      <p:sp>
        <p:nvSpPr>
          <p:cNvPr id="22" name="Rectangle 21"/>
          <p:cNvSpPr/>
          <p:nvPr/>
        </p:nvSpPr>
        <p:spPr>
          <a:xfrm>
            <a:off x="2738784" y="3473968"/>
            <a:ext cx="5641218" cy="890972"/>
          </a:xfrm>
          <a:prstGeom prst="rect">
            <a:avLst/>
          </a:prstGeom>
        </p:spPr>
        <p:txBody>
          <a:bodyPr lIns="0" tIns="0" rIns="0" bIns="0" numCol="3">
            <a:noAutofit/>
          </a:bodyPr>
          <a:lstStyle/>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a:p>
            <a:pPr marL="114300" indent="-114300">
              <a:spcBef>
                <a:spcPts val="600"/>
              </a:spcBef>
              <a:buFont typeface="Arial" pitchFamily="34" charset="0"/>
              <a:buChar char="•"/>
            </a:pPr>
            <a:r>
              <a:rPr lang="en-US" sz="900" dirty="0">
                <a:latin typeface="Arial" panose="020B0604020202020204" pitchFamily="34" charset="0"/>
                <a:cs typeface="Arial" panose="020B0604020202020204" pitchFamily="34" charset="0"/>
              </a:rPr>
              <a:t>Lorem </a:t>
            </a:r>
            <a:r>
              <a:rPr lang="en-US" sz="900" dirty="0" err="1">
                <a:latin typeface="Arial" panose="020B0604020202020204" pitchFamily="34" charset="0"/>
                <a:cs typeface="Arial" panose="020B0604020202020204" pitchFamily="34" charset="0"/>
              </a:rPr>
              <a:t>ispum</a:t>
            </a:r>
            <a:r>
              <a:rPr lang="en-US" sz="900" dirty="0">
                <a:latin typeface="Arial" panose="020B0604020202020204" pitchFamily="34" charset="0"/>
                <a:cs typeface="Arial" panose="020B0604020202020204" pitchFamily="34" charset="0"/>
              </a:rPr>
              <a:t> </a:t>
            </a:r>
            <a:r>
              <a:rPr lang="en-US" sz="900" dirty="0" err="1">
                <a:latin typeface="Arial" panose="020B0604020202020204" pitchFamily="34" charset="0"/>
                <a:cs typeface="Arial" panose="020B0604020202020204" pitchFamily="34" charset="0"/>
              </a:rPr>
              <a:t>dolar</a:t>
            </a:r>
            <a:r>
              <a:rPr lang="en-US" sz="900" dirty="0">
                <a:latin typeface="Arial" panose="020B0604020202020204" pitchFamily="34" charset="0"/>
                <a:cs typeface="Arial" panose="020B0604020202020204" pitchFamily="34" charset="0"/>
              </a:rPr>
              <a:t> sit</a:t>
            </a:r>
          </a:p>
        </p:txBody>
      </p:sp>
      <p:sp>
        <p:nvSpPr>
          <p:cNvPr id="23" name="Rectangle 22"/>
          <p:cNvSpPr/>
          <p:nvPr/>
        </p:nvSpPr>
        <p:spPr>
          <a:xfrm>
            <a:off x="2738784" y="3099135"/>
            <a:ext cx="916918"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dirty="0">
                <a:solidFill>
                  <a:schemeClr val="accent3"/>
                </a:solidFill>
              </a:rPr>
              <a:t>Expertise </a:t>
            </a:r>
          </a:p>
        </p:txBody>
      </p:sp>
      <p:sp>
        <p:nvSpPr>
          <p:cNvPr id="17" name="Rectangle 16"/>
          <p:cNvSpPr/>
          <p:nvPr/>
        </p:nvSpPr>
        <p:spPr>
          <a:xfrm>
            <a:off x="2738784" y="1655718"/>
            <a:ext cx="3609629" cy="1086397"/>
          </a:xfrm>
          <a:prstGeom prst="rect">
            <a:avLst/>
          </a:prstGeom>
        </p:spPr>
        <p:txBody>
          <a:bodyPr lIns="0" tIns="0" rIns="0" bIns="0" numCol="1">
            <a:noAutofit/>
          </a:bodyPr>
          <a:lstStyle/>
          <a:p>
            <a:pPr>
              <a:lnSpc>
                <a:spcPct val="150000"/>
              </a:lnSpc>
              <a:spcBef>
                <a:spcPts val="750"/>
              </a:spcBef>
              <a:buSzPct val="110000"/>
            </a:pPr>
            <a:r>
              <a:rPr lang="en-GB" sz="900" dirty="0">
                <a:latin typeface="Arial" panose="020B0604020202020204" pitchFamily="34" charset="0"/>
                <a:cs typeface="Arial" panose="020B0604020202020204" pitchFamily="34" charset="0"/>
              </a:rPr>
              <a:t>Over 20 years doing amazing and relevant work as systems engineer. </a:t>
            </a:r>
          </a:p>
          <a:p>
            <a:pPr>
              <a:lnSpc>
                <a:spcPct val="150000"/>
              </a:lnSpc>
              <a:spcBef>
                <a:spcPts val="750"/>
              </a:spcBef>
              <a:buSzPct val="110000"/>
            </a:pPr>
            <a:r>
              <a:rPr lang="en-GB" sz="900" dirty="0">
                <a:latin typeface="Arial" panose="020B0604020202020204" pitchFamily="34" charset="0"/>
                <a:cs typeface="Arial" panose="020B0604020202020204" pitchFamily="34" charset="0"/>
              </a:rPr>
              <a:t>We recommend keeping this section short, so that it reads quickly and succinctly.</a:t>
            </a:r>
          </a:p>
          <a:p>
            <a:pPr>
              <a:lnSpc>
                <a:spcPct val="150000"/>
              </a:lnSpc>
              <a:spcBef>
                <a:spcPts val="750"/>
              </a:spcBef>
              <a:buClr>
                <a:srgbClr val="CC0000"/>
              </a:buClr>
              <a:buSzPct val="110000"/>
            </a:pPr>
            <a:endParaRPr lang="en-GB" sz="900" dirty="0">
              <a:latin typeface="Arial" panose="020B0604020202020204" pitchFamily="34" charset="0"/>
              <a:cs typeface="Arial" panose="020B0604020202020204" pitchFamily="34" charset="0"/>
            </a:endParaRPr>
          </a:p>
        </p:txBody>
      </p:sp>
      <p:sp>
        <p:nvSpPr>
          <p:cNvPr id="18" name="Rectangle 17"/>
          <p:cNvSpPr/>
          <p:nvPr/>
        </p:nvSpPr>
        <p:spPr>
          <a:xfrm>
            <a:off x="2738784" y="1289478"/>
            <a:ext cx="2212144" cy="221599"/>
          </a:xfrm>
          <a:prstGeom prst="rect">
            <a:avLst/>
          </a:prstGeom>
        </p:spPr>
        <p:txBody>
          <a:bodyPr wrap="none" lIns="0" tIns="0" rIns="0" bIns="0">
            <a:spAutoFit/>
          </a:bodyPr>
          <a:lstStyle/>
          <a:p>
            <a:pPr>
              <a:lnSpc>
                <a:spcPct val="90000"/>
              </a:lnSpc>
              <a:spcBef>
                <a:spcPts val="1200"/>
              </a:spcBef>
              <a:buClr>
                <a:srgbClr val="0072C8"/>
              </a:buClr>
              <a:buSzPct val="110000"/>
            </a:pPr>
            <a:r>
              <a:rPr lang="en-US" sz="1600" b="1" spc="-50" dirty="0">
                <a:solidFill>
                  <a:schemeClr val="accent3"/>
                </a:solidFill>
              </a:rPr>
              <a:t>Professional experience</a:t>
            </a:r>
          </a:p>
        </p:txBody>
      </p:sp>
      <p:sp>
        <p:nvSpPr>
          <p:cNvPr id="2" name="Text Placeholder 1"/>
          <p:cNvSpPr>
            <a:spLocks noGrp="1"/>
          </p:cNvSpPr>
          <p:nvPr>
            <p:ph type="body" sz="quarter" idx="17"/>
          </p:nvPr>
        </p:nvSpPr>
        <p:spPr/>
        <p:txBody>
          <a:bodyPr/>
          <a:lstStyle/>
          <a:p>
            <a:endParaRPr lang="en-GB"/>
          </a:p>
        </p:txBody>
      </p:sp>
      <p:pic>
        <p:nvPicPr>
          <p:cNvPr id="7" name="Picture Placeholder 6" descr="A person holding a tablet&#10;&#10;Description automatically generated">
            <a:extLst>
              <a:ext uri="{FF2B5EF4-FFF2-40B4-BE49-F238E27FC236}">
                <a16:creationId xmlns:a16="http://schemas.microsoft.com/office/drawing/2014/main" id="{175D1CEE-DAF3-EE65-D715-2F15648B264D}"/>
              </a:ext>
            </a:extLst>
          </p:cNvPr>
          <p:cNvPicPr>
            <a:picLocks noGrp="1" noChangeAspect="1"/>
          </p:cNvPicPr>
          <p:nvPr>
            <p:ph type="pic" sz="quarter" idx="10"/>
          </p:nvPr>
        </p:nvPicPr>
        <p:blipFill rotWithShape="1">
          <a:blip r:embed="rId2" cstate="hqprint">
            <a:extLst>
              <a:ext uri="{28A0092B-C50C-407E-A947-70E740481C1C}">
                <a14:useLocalDpi xmlns:a14="http://schemas.microsoft.com/office/drawing/2010/main" val="0"/>
              </a:ext>
            </a:extLst>
          </a:blip>
          <a:srcRect l="31298" t="240" r="802" b="-240"/>
          <a:stretch/>
        </p:blipFill>
        <p:spPr>
          <a:xfrm>
            <a:off x="457200" y="438150"/>
            <a:ext cx="1900238" cy="1866900"/>
          </a:xfrm>
        </p:spPr>
      </p:pic>
    </p:spTree>
    <p:extLst>
      <p:ext uri="{BB962C8B-B14F-4D97-AF65-F5344CB8AC3E}">
        <p14:creationId xmlns:p14="http://schemas.microsoft.com/office/powerpoint/2010/main" val="2051165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6"/>
          </p:nvPr>
        </p:nvSpPr>
        <p:spPr/>
        <p:txBody>
          <a:bodyPr/>
          <a:lstStyle/>
          <a:p>
            <a:endParaRPr lang="en-GB"/>
          </a:p>
        </p:txBody>
      </p:sp>
      <p:sp>
        <p:nvSpPr>
          <p:cNvPr id="8" name="Text Placeholder 7"/>
          <p:cNvSpPr>
            <a:spLocks noGrp="1"/>
          </p:cNvSpPr>
          <p:nvPr>
            <p:ph type="body" sz="quarter" idx="11"/>
          </p:nvPr>
        </p:nvSpPr>
        <p:spPr/>
        <p:txBody>
          <a:bodyPr/>
          <a:lstStyle/>
          <a:p>
            <a:r>
              <a:rPr lang="en-US" dirty="0"/>
              <a:t>Let’s </a:t>
            </a:r>
            <a:br>
              <a:rPr lang="en-US" dirty="0"/>
            </a:br>
            <a:r>
              <a:rPr lang="en-US" dirty="0"/>
              <a:t>connect</a:t>
            </a:r>
          </a:p>
        </p:txBody>
      </p:sp>
      <p:grpSp>
        <p:nvGrpSpPr>
          <p:cNvPr id="4" name="Group 3"/>
          <p:cNvGrpSpPr/>
          <p:nvPr/>
        </p:nvGrpSpPr>
        <p:grpSpPr>
          <a:xfrm>
            <a:off x="4350643" y="275726"/>
            <a:ext cx="2412123" cy="1379605"/>
            <a:chOff x="5846068" y="1140951"/>
            <a:chExt cx="2412123" cy="1379605"/>
          </a:xfrm>
        </p:grpSpPr>
        <p:sp>
          <p:nvSpPr>
            <p:cNvPr id="23" name="Round Single Corner Rectangle 22"/>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9" name="Round Single Corner Rectangle 28"/>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2" name="Group 1">
            <a:extLst>
              <a:ext uri="{FF2B5EF4-FFF2-40B4-BE49-F238E27FC236}">
                <a16:creationId xmlns:a16="http://schemas.microsoft.com/office/drawing/2014/main" id="{6D3BE682-3D54-2041-5B46-4339D2801FF6}"/>
              </a:ext>
            </a:extLst>
          </p:cNvPr>
          <p:cNvGrpSpPr/>
          <p:nvPr/>
        </p:nvGrpSpPr>
        <p:grpSpPr>
          <a:xfrm>
            <a:off x="4350643" y="1756184"/>
            <a:ext cx="2412123" cy="1379605"/>
            <a:chOff x="5846068" y="1140951"/>
            <a:chExt cx="2412123" cy="1379605"/>
          </a:xfrm>
        </p:grpSpPr>
        <p:sp>
          <p:nvSpPr>
            <p:cNvPr id="9" name="Round Single Corner Rectangle 8">
              <a:extLst>
                <a:ext uri="{FF2B5EF4-FFF2-40B4-BE49-F238E27FC236}">
                  <a16:creationId xmlns:a16="http://schemas.microsoft.com/office/drawing/2014/main" id="{97B65674-4D0F-0CA7-42A0-7C7DC10C8543}"/>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0" name="Round Single Corner Rectangle 9">
              <a:extLst>
                <a:ext uri="{FF2B5EF4-FFF2-40B4-BE49-F238E27FC236}">
                  <a16:creationId xmlns:a16="http://schemas.microsoft.com/office/drawing/2014/main" id="{4621E263-AB0D-B1D7-9D29-91154C079F97}"/>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1" name="Group 10">
            <a:extLst>
              <a:ext uri="{FF2B5EF4-FFF2-40B4-BE49-F238E27FC236}">
                <a16:creationId xmlns:a16="http://schemas.microsoft.com/office/drawing/2014/main" id="{07C92009-A82F-AB8E-54F4-1C759EF7B65B}"/>
              </a:ext>
            </a:extLst>
          </p:cNvPr>
          <p:cNvGrpSpPr/>
          <p:nvPr/>
        </p:nvGrpSpPr>
        <p:grpSpPr>
          <a:xfrm>
            <a:off x="4350643" y="3358561"/>
            <a:ext cx="2412123" cy="1379605"/>
            <a:chOff x="5846068" y="1140951"/>
            <a:chExt cx="2412123" cy="1379605"/>
          </a:xfrm>
        </p:grpSpPr>
        <p:sp>
          <p:nvSpPr>
            <p:cNvPr id="12" name="Round Single Corner Rectangle 11">
              <a:extLst>
                <a:ext uri="{FF2B5EF4-FFF2-40B4-BE49-F238E27FC236}">
                  <a16:creationId xmlns:a16="http://schemas.microsoft.com/office/drawing/2014/main" id="{0549479C-6264-1D16-ACF7-DA799C2DF63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3" name="Round Single Corner Rectangle 12">
              <a:extLst>
                <a:ext uri="{FF2B5EF4-FFF2-40B4-BE49-F238E27FC236}">
                  <a16:creationId xmlns:a16="http://schemas.microsoft.com/office/drawing/2014/main" id="{63A06850-ECBC-8B56-078A-5C7C3459119C}"/>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4" name="Group 13">
            <a:extLst>
              <a:ext uri="{FF2B5EF4-FFF2-40B4-BE49-F238E27FC236}">
                <a16:creationId xmlns:a16="http://schemas.microsoft.com/office/drawing/2014/main" id="{70A1312F-C2D9-7F74-F521-BBAABCD95148}"/>
              </a:ext>
            </a:extLst>
          </p:cNvPr>
          <p:cNvGrpSpPr/>
          <p:nvPr/>
        </p:nvGrpSpPr>
        <p:grpSpPr>
          <a:xfrm>
            <a:off x="6527786" y="275726"/>
            <a:ext cx="2412123" cy="1379605"/>
            <a:chOff x="5846068" y="1140951"/>
            <a:chExt cx="2412123" cy="1379605"/>
          </a:xfrm>
        </p:grpSpPr>
        <p:sp>
          <p:nvSpPr>
            <p:cNvPr id="15" name="Round Single Corner Rectangle 14">
              <a:extLst>
                <a:ext uri="{FF2B5EF4-FFF2-40B4-BE49-F238E27FC236}">
                  <a16:creationId xmlns:a16="http://schemas.microsoft.com/office/drawing/2014/main" id="{12778D25-390C-6D6A-5C42-1B3C54D6EFAC}"/>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6" name="Round Single Corner Rectangle 15">
              <a:extLst>
                <a:ext uri="{FF2B5EF4-FFF2-40B4-BE49-F238E27FC236}">
                  <a16:creationId xmlns:a16="http://schemas.microsoft.com/office/drawing/2014/main" id="{93BE4220-DE1F-70B2-AA59-61D3A6BE2CAF}"/>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7" name="Group 16">
            <a:extLst>
              <a:ext uri="{FF2B5EF4-FFF2-40B4-BE49-F238E27FC236}">
                <a16:creationId xmlns:a16="http://schemas.microsoft.com/office/drawing/2014/main" id="{893A0C05-9CDE-60A0-E440-C966F3F47480}"/>
              </a:ext>
            </a:extLst>
          </p:cNvPr>
          <p:cNvGrpSpPr/>
          <p:nvPr/>
        </p:nvGrpSpPr>
        <p:grpSpPr>
          <a:xfrm>
            <a:off x="6527786" y="1756184"/>
            <a:ext cx="2412123" cy="1379605"/>
            <a:chOff x="5846068" y="1140951"/>
            <a:chExt cx="2412123" cy="1379605"/>
          </a:xfrm>
        </p:grpSpPr>
        <p:sp>
          <p:nvSpPr>
            <p:cNvPr id="18" name="Round Single Corner Rectangle 17">
              <a:extLst>
                <a:ext uri="{FF2B5EF4-FFF2-40B4-BE49-F238E27FC236}">
                  <a16:creationId xmlns:a16="http://schemas.microsoft.com/office/drawing/2014/main" id="{7387C962-61B5-C82F-C2A5-D54BDBB95B44}"/>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19" name="Round Single Corner Rectangle 18">
              <a:extLst>
                <a:ext uri="{FF2B5EF4-FFF2-40B4-BE49-F238E27FC236}">
                  <a16:creationId xmlns:a16="http://schemas.microsoft.com/office/drawing/2014/main" id="{2B6BFC57-E13A-C8B2-9220-7FB8DD9B4C70}"/>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20" name="Group 19">
            <a:extLst>
              <a:ext uri="{FF2B5EF4-FFF2-40B4-BE49-F238E27FC236}">
                <a16:creationId xmlns:a16="http://schemas.microsoft.com/office/drawing/2014/main" id="{C75A8B8B-9838-F279-C390-87AEA9B84756}"/>
              </a:ext>
            </a:extLst>
          </p:cNvPr>
          <p:cNvGrpSpPr/>
          <p:nvPr/>
        </p:nvGrpSpPr>
        <p:grpSpPr>
          <a:xfrm>
            <a:off x="6527786" y="3358561"/>
            <a:ext cx="2412123" cy="1379605"/>
            <a:chOff x="5846068" y="1140951"/>
            <a:chExt cx="2412123" cy="1379605"/>
          </a:xfrm>
        </p:grpSpPr>
        <p:sp>
          <p:nvSpPr>
            <p:cNvPr id="21" name="Round Single Corner Rectangle 20">
              <a:extLst>
                <a:ext uri="{FF2B5EF4-FFF2-40B4-BE49-F238E27FC236}">
                  <a16:creationId xmlns:a16="http://schemas.microsoft.com/office/drawing/2014/main" id="{8B9A0E27-EC98-0FA8-52C1-EFC88498F232}"/>
                </a:ext>
              </a:extLst>
            </p:cNvPr>
            <p:cNvSpPr/>
            <p:nvPr/>
          </p:nvSpPr>
          <p:spPr>
            <a:xfrm>
              <a:off x="5846068" y="1140951"/>
              <a:ext cx="2412123" cy="1379605"/>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tx1"/>
                  </a:solidFill>
                  <a:cs typeface="Arial" panose="020B0604020202020204" pitchFamily="34" charset="0"/>
                </a:rPr>
                <a:t>Firstname</a:t>
              </a:r>
              <a:r>
                <a:rPr lang="en-US" sz="1200" b="1" dirty="0">
                  <a:solidFill>
                    <a:schemeClr val="tx1"/>
                  </a:solidFill>
                  <a:cs typeface="Arial" panose="020B0604020202020204" pitchFamily="34" charset="0"/>
                </a:rPr>
                <a:t> </a:t>
              </a:r>
              <a:r>
                <a:rPr lang="en-US" sz="1200" b="1" dirty="0" err="1">
                  <a:solidFill>
                    <a:schemeClr val="tx1"/>
                  </a:solidFill>
                  <a:cs typeface="Arial" panose="020B0604020202020204" pitchFamily="34" charset="0"/>
                </a:rPr>
                <a:t>Lastname</a:t>
              </a:r>
              <a:endParaRPr lang="en-US" sz="1200" b="1" dirty="0">
                <a:solidFill>
                  <a:schemeClr val="tx1"/>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4" name="Round Single Corner Rectangle 23">
              <a:extLst>
                <a:ext uri="{FF2B5EF4-FFF2-40B4-BE49-F238E27FC236}">
                  <a16:creationId xmlns:a16="http://schemas.microsoft.com/office/drawing/2014/main" id="{5E2FA7F9-81C2-8AF5-6C26-D15E40AD5862}"/>
                </a:ext>
              </a:extLst>
            </p:cNvPr>
            <p:cNvSpPr/>
            <p:nvPr/>
          </p:nvSpPr>
          <p:spPr>
            <a:xfrm>
              <a:off x="5846068" y="1758453"/>
              <a:ext cx="2412123" cy="762103"/>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spTree>
    <p:extLst>
      <p:ext uri="{BB962C8B-B14F-4D97-AF65-F5344CB8AC3E}">
        <p14:creationId xmlns:p14="http://schemas.microsoft.com/office/powerpoint/2010/main" val="13818693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a:t>Let’s </a:t>
            </a:r>
            <a:br>
              <a:rPr lang="en-US"/>
            </a:br>
            <a:r>
              <a:rPr lang="en-US"/>
              <a:t>connect</a:t>
            </a:r>
            <a:endParaRPr lang="en-US" dirty="0"/>
          </a:p>
        </p:txBody>
      </p:sp>
      <p:sp>
        <p:nvSpPr>
          <p:cNvPr id="6" name="Text Placeholder 5"/>
          <p:cNvSpPr>
            <a:spLocks noGrp="1"/>
          </p:cNvSpPr>
          <p:nvPr>
            <p:ph type="body" sz="quarter" idx="16"/>
          </p:nvPr>
        </p:nvSpPr>
        <p:spPr/>
        <p:txBody>
          <a:bodyPr/>
          <a:lstStyle/>
          <a:p>
            <a:endParaRPr lang="en-GB"/>
          </a:p>
        </p:txBody>
      </p:sp>
      <p:grpSp>
        <p:nvGrpSpPr>
          <p:cNvPr id="4" name="Group 3"/>
          <p:cNvGrpSpPr/>
          <p:nvPr/>
        </p:nvGrpSpPr>
        <p:grpSpPr>
          <a:xfrm>
            <a:off x="4572000" y="441223"/>
            <a:ext cx="4114800" cy="1285192"/>
            <a:chOff x="5884168" y="1644790"/>
            <a:chExt cx="2412123" cy="1285192"/>
          </a:xfrm>
          <a:solidFill>
            <a:schemeClr val="bg1">
              <a:alpha val="61000"/>
            </a:schemeClr>
          </a:solidFill>
        </p:grpSpPr>
        <p:sp>
          <p:nvSpPr>
            <p:cNvPr id="16" name="Round Single Corner Rectangle 15"/>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0" name="Round Single Corner Rectangle 19"/>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grpSp>
        <p:nvGrpSpPr>
          <p:cNvPr id="13" name="Group 12"/>
          <p:cNvGrpSpPr/>
          <p:nvPr/>
        </p:nvGrpSpPr>
        <p:grpSpPr>
          <a:xfrm>
            <a:off x="4572000" y="1853169"/>
            <a:ext cx="4114800" cy="1285192"/>
            <a:chOff x="5884168" y="1644790"/>
            <a:chExt cx="2412123" cy="1285192"/>
          </a:xfrm>
        </p:grpSpPr>
        <p:sp>
          <p:nvSpPr>
            <p:cNvPr id="21" name="Round Single Corner Rectangle 20"/>
            <p:cNvSpPr/>
            <p:nvPr/>
          </p:nvSpPr>
          <p:spPr>
            <a:xfrm>
              <a:off x="5884168" y="1644790"/>
              <a:ext cx="2412123"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2" name="Round Single Corner Rectangle 21"/>
            <p:cNvSpPr/>
            <p:nvPr/>
          </p:nvSpPr>
          <p:spPr>
            <a:xfrm>
              <a:off x="5884168" y="2421232"/>
              <a:ext cx="2412123"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grpSp>
      <p:sp>
        <p:nvSpPr>
          <p:cNvPr id="24" name="Round Single Corner Rectangle 23"/>
          <p:cNvSpPr/>
          <p:nvPr/>
        </p:nvSpPr>
        <p:spPr>
          <a:xfrm>
            <a:off x="4572000" y="3265116"/>
            <a:ext cx="4114800" cy="1285192"/>
          </a:xfrm>
          <a:prstGeom prst="round1Rect">
            <a:avLst>
              <a:gd name="adj" fmla="val 0"/>
            </a:avLst>
          </a:prstGeom>
          <a:solidFill>
            <a:schemeClr val="bg1"/>
          </a:solid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228600" rIns="137160" bIns="274320" numCol="1" spcCol="0" rtlCol="0" fromWordArt="0" anchor="t" anchorCtr="0" forceAA="0" compatLnSpc="1">
            <a:prstTxWarp prst="textNoShape">
              <a:avLst/>
            </a:prstTxWarp>
            <a:noAutofit/>
          </a:bodyPr>
          <a:lstStyle/>
          <a:p>
            <a:pPr>
              <a:lnSpc>
                <a:spcPts val="1600"/>
              </a:lnSpc>
              <a:spcBef>
                <a:spcPct val="0"/>
              </a:spcBef>
              <a:buClr>
                <a:srgbClr val="00B7E6"/>
              </a:buClr>
              <a:buSzPct val="110000"/>
              <a:tabLst>
                <a:tab pos="2006600" algn="l"/>
              </a:tabLst>
            </a:pPr>
            <a:r>
              <a:rPr lang="en-US" sz="1200" b="1" dirty="0" err="1">
                <a:solidFill>
                  <a:schemeClr val="accent3"/>
                </a:solidFill>
                <a:cs typeface="Arial" panose="020B0604020202020204" pitchFamily="34" charset="0"/>
              </a:rPr>
              <a:t>Firstname</a:t>
            </a:r>
            <a:r>
              <a:rPr lang="en-US" sz="1200" b="1" dirty="0">
                <a:solidFill>
                  <a:schemeClr val="accent3"/>
                </a:solidFill>
                <a:cs typeface="Arial" panose="020B0604020202020204" pitchFamily="34" charset="0"/>
              </a:rPr>
              <a:t> </a:t>
            </a:r>
            <a:r>
              <a:rPr lang="en-US" sz="1200" b="1" dirty="0" err="1">
                <a:solidFill>
                  <a:schemeClr val="accent3"/>
                </a:solidFill>
                <a:cs typeface="Arial" panose="020B0604020202020204" pitchFamily="34" charset="0"/>
              </a:rPr>
              <a:t>Lastname</a:t>
            </a:r>
            <a:endParaRPr lang="en-US" sz="1200" b="1" dirty="0">
              <a:solidFill>
                <a:schemeClr val="accent3"/>
              </a:solidFill>
              <a:cs typeface="Arial" panose="020B0604020202020204" pitchFamily="34" charset="0"/>
            </a:endParaRPr>
          </a:p>
          <a:p>
            <a:pPr>
              <a:lnSpc>
                <a:spcPct val="90000"/>
              </a:lnSpc>
              <a:spcBef>
                <a:spcPts val="300"/>
              </a:spcBef>
            </a:pPr>
            <a:r>
              <a:rPr lang="en-US" sz="900" dirty="0">
                <a:solidFill>
                  <a:schemeClr val="accent1"/>
                </a:solidFill>
                <a:latin typeface="+mj-lt"/>
              </a:rPr>
              <a:t>Role / Title</a:t>
            </a:r>
          </a:p>
        </p:txBody>
      </p:sp>
      <p:sp>
        <p:nvSpPr>
          <p:cNvPr id="25" name="Round Single Corner Rectangle 24"/>
          <p:cNvSpPr/>
          <p:nvPr/>
        </p:nvSpPr>
        <p:spPr>
          <a:xfrm>
            <a:off x="4572000" y="4041558"/>
            <a:ext cx="4114800" cy="508750"/>
          </a:xfrm>
          <a:prstGeom prst="round1Rect">
            <a:avLst>
              <a:gd name="adj" fmla="val 0"/>
            </a:avLst>
          </a:prstGeom>
          <a:noFill/>
          <a:ln w="6350">
            <a:no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28600" tIns="0" rIns="137160" bIns="137160" numCol="1" spcCol="0" rtlCol="0" fromWordArt="0" anchor="b" anchorCtr="0" forceAA="0" compatLnSpc="1">
            <a:prstTxWarp prst="textNoShape">
              <a:avLst/>
            </a:prstTxWarp>
            <a:noAutofit/>
          </a:bodyPr>
          <a:lstStyle/>
          <a:p>
            <a:pPr>
              <a:lnSpc>
                <a:spcPct val="90000"/>
              </a:lnSpc>
              <a:spcBef>
                <a:spcPts val="300"/>
              </a:spcBef>
            </a:pPr>
            <a:endParaRPr lang="en-US" sz="800" spc="50" dirty="0">
              <a:solidFill>
                <a:schemeClr val="tx1"/>
              </a:solidFill>
              <a:latin typeface="+mj-lt"/>
            </a:endParaRPr>
          </a:p>
          <a:p>
            <a:pPr>
              <a:lnSpc>
                <a:spcPct val="90000"/>
              </a:lnSpc>
              <a:spcBef>
                <a:spcPts val="300"/>
              </a:spcBef>
            </a:pPr>
            <a:r>
              <a:rPr lang="en-US" sz="800" b="1" spc="50" dirty="0">
                <a:solidFill>
                  <a:schemeClr val="tx1"/>
                </a:solidFill>
              </a:rPr>
              <a:t>c</a:t>
            </a:r>
            <a:r>
              <a:rPr lang="en-US" sz="800" spc="50" dirty="0">
                <a:solidFill>
                  <a:schemeClr val="tx1"/>
                </a:solidFill>
              </a:rPr>
              <a:t> XXX-XXX-XXX</a:t>
            </a:r>
          </a:p>
          <a:p>
            <a:pPr>
              <a:lnSpc>
                <a:spcPct val="90000"/>
              </a:lnSpc>
              <a:spcBef>
                <a:spcPts val="300"/>
              </a:spcBef>
            </a:pPr>
            <a:r>
              <a:rPr lang="en-US" sz="800" b="1" spc="50" dirty="0">
                <a:solidFill>
                  <a:schemeClr val="tx1"/>
                </a:solidFill>
              </a:rPr>
              <a:t>t</a:t>
            </a:r>
            <a:r>
              <a:rPr lang="en-US" sz="800" spc="50" dirty="0">
                <a:solidFill>
                  <a:schemeClr val="tx1"/>
                </a:solidFill>
              </a:rPr>
              <a:t>  XXX-XXX-XXX</a:t>
            </a:r>
          </a:p>
          <a:p>
            <a:pPr>
              <a:lnSpc>
                <a:spcPct val="90000"/>
              </a:lnSpc>
              <a:spcBef>
                <a:spcPts val="300"/>
              </a:spcBef>
            </a:pPr>
            <a:r>
              <a:rPr lang="en-US" sz="800" b="1" spc="50" dirty="0">
                <a:solidFill>
                  <a:schemeClr val="tx1"/>
                </a:solidFill>
              </a:rPr>
              <a:t>e</a:t>
            </a:r>
            <a:r>
              <a:rPr lang="en-US" sz="800" spc="50" dirty="0">
                <a:solidFill>
                  <a:schemeClr val="tx1"/>
                </a:solidFill>
              </a:rPr>
              <a:t> </a:t>
            </a:r>
            <a:r>
              <a:rPr lang="en-US" sz="800" spc="50" dirty="0" err="1">
                <a:solidFill>
                  <a:schemeClr val="tx1"/>
                </a:solidFill>
              </a:rPr>
              <a:t>xxxxxxxx@incose.org</a:t>
            </a:r>
            <a:endParaRPr lang="en-US" sz="800" spc="50" dirty="0">
              <a:solidFill>
                <a:schemeClr val="tx1"/>
              </a:solidFill>
            </a:endParaRPr>
          </a:p>
        </p:txBody>
      </p:sp>
    </p:spTree>
    <p:extLst>
      <p:ext uri="{BB962C8B-B14F-4D97-AF65-F5344CB8AC3E}">
        <p14:creationId xmlns:p14="http://schemas.microsoft.com/office/powerpoint/2010/main" val="22230054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ext Placeholder 102"/>
          <p:cNvSpPr>
            <a:spLocks noGrp="1"/>
          </p:cNvSpPr>
          <p:nvPr>
            <p:ph type="body" sz="quarter" idx="28"/>
          </p:nvPr>
        </p:nvSpPr>
        <p:spPr>
          <a:xfrm>
            <a:off x="4572002" y="1352141"/>
            <a:ext cx="760050" cy="258532"/>
          </a:xfrm>
        </p:spPr>
        <p:txBody>
          <a:bodyPr/>
          <a:lstStyle/>
          <a:p>
            <a:r>
              <a:rPr lang="en-US" dirty="0"/>
              <a:t>Lorem </a:t>
            </a:r>
            <a:r>
              <a:rPr lang="en-US" dirty="0" err="1"/>
              <a:t>ispum</a:t>
            </a:r>
            <a:endParaRPr lang="en-US" dirty="0"/>
          </a:p>
        </p:txBody>
      </p:sp>
      <p:sp>
        <p:nvSpPr>
          <p:cNvPr id="104" name="Text Placeholder 103"/>
          <p:cNvSpPr>
            <a:spLocks noGrp="1"/>
          </p:cNvSpPr>
          <p:nvPr>
            <p:ph type="body" sz="quarter" idx="29"/>
          </p:nvPr>
        </p:nvSpPr>
        <p:spPr>
          <a:xfrm>
            <a:off x="5961059" y="920777"/>
            <a:ext cx="1118877" cy="376238"/>
          </a:xfrm>
        </p:spPr>
        <p:txBody>
          <a:bodyPr/>
          <a:lstStyle/>
          <a:p>
            <a:r>
              <a:rPr lang="en-US"/>
              <a:t>30%</a:t>
            </a:r>
            <a:endParaRPr lang="en-GB"/>
          </a:p>
        </p:txBody>
      </p:sp>
      <p:sp>
        <p:nvSpPr>
          <p:cNvPr id="105" name="Text Placeholder 104"/>
          <p:cNvSpPr>
            <a:spLocks noGrp="1"/>
          </p:cNvSpPr>
          <p:nvPr>
            <p:ph type="body" sz="quarter" idx="30"/>
          </p:nvPr>
        </p:nvSpPr>
        <p:spPr>
          <a:xfrm>
            <a:off x="5961059" y="1352141"/>
            <a:ext cx="909803" cy="258532"/>
          </a:xfrm>
        </p:spPr>
        <p:txBody>
          <a:bodyPr/>
          <a:lstStyle/>
          <a:p>
            <a:r>
              <a:rPr lang="en-US" dirty="0"/>
              <a:t>Lorem </a:t>
            </a:r>
            <a:r>
              <a:rPr lang="en-US" dirty="0" err="1"/>
              <a:t>Ispum</a:t>
            </a:r>
            <a:endParaRPr lang="en-GB" dirty="0"/>
          </a:p>
        </p:txBody>
      </p:sp>
      <p:sp>
        <p:nvSpPr>
          <p:cNvPr id="106" name="Text Placeholder 105"/>
          <p:cNvSpPr>
            <a:spLocks noGrp="1"/>
          </p:cNvSpPr>
          <p:nvPr>
            <p:ph type="body" sz="quarter" idx="31"/>
          </p:nvPr>
        </p:nvSpPr>
        <p:spPr>
          <a:xfrm>
            <a:off x="7350117" y="920777"/>
            <a:ext cx="1118877" cy="376238"/>
          </a:xfrm>
        </p:spPr>
        <p:txBody>
          <a:bodyPr/>
          <a:lstStyle/>
          <a:p>
            <a:r>
              <a:rPr lang="en-US"/>
              <a:t>2X</a:t>
            </a:r>
            <a:endParaRPr lang="en-GB"/>
          </a:p>
        </p:txBody>
      </p:sp>
      <p:sp>
        <p:nvSpPr>
          <p:cNvPr id="107" name="Text Placeholder 106"/>
          <p:cNvSpPr>
            <a:spLocks noGrp="1"/>
          </p:cNvSpPr>
          <p:nvPr>
            <p:ph type="body" sz="quarter" idx="32"/>
          </p:nvPr>
        </p:nvSpPr>
        <p:spPr>
          <a:xfrm>
            <a:off x="7350117" y="1352141"/>
            <a:ext cx="933271" cy="258532"/>
          </a:xfrm>
        </p:spPr>
        <p:txBody>
          <a:bodyPr/>
          <a:lstStyle/>
          <a:p>
            <a:r>
              <a:rPr lang="en-US" dirty="0"/>
              <a:t>Lorem </a:t>
            </a:r>
            <a:r>
              <a:rPr lang="en-US" dirty="0" err="1"/>
              <a:t>ispum</a:t>
            </a:r>
            <a:endParaRPr lang="en-US" dirty="0"/>
          </a:p>
          <a:p>
            <a:endParaRPr lang="en-GB" dirty="0"/>
          </a:p>
        </p:txBody>
      </p:sp>
      <p:sp>
        <p:nvSpPr>
          <p:cNvPr id="102" name="Text Placeholder 101"/>
          <p:cNvSpPr>
            <a:spLocks noGrp="1"/>
          </p:cNvSpPr>
          <p:nvPr>
            <p:ph type="body" sz="quarter" idx="27"/>
          </p:nvPr>
        </p:nvSpPr>
        <p:spPr>
          <a:xfrm>
            <a:off x="4572001" y="920777"/>
            <a:ext cx="1118877" cy="376238"/>
          </a:xfrm>
        </p:spPr>
        <p:txBody>
          <a:bodyPr/>
          <a:lstStyle/>
          <a:p>
            <a:r>
              <a:rPr lang="en-US"/>
              <a:t>$1M</a:t>
            </a:r>
            <a:endParaRPr lang="en-GB"/>
          </a:p>
        </p:txBody>
      </p:sp>
      <p:sp>
        <p:nvSpPr>
          <p:cNvPr id="125" name="Text Placeholder 124"/>
          <p:cNvSpPr>
            <a:spLocks noGrp="1"/>
          </p:cNvSpPr>
          <p:nvPr>
            <p:ph type="body" sz="quarter" idx="26"/>
          </p:nvPr>
        </p:nvSpPr>
        <p:spPr/>
        <p:txBody>
          <a:bodyPr/>
          <a:lstStyle/>
          <a:p>
            <a:r>
              <a:rPr lang="en-US" dirty="0"/>
              <a:t>Contact: Awesome Engineer</a:t>
            </a:r>
          </a:p>
        </p:txBody>
      </p:sp>
      <p:sp>
        <p:nvSpPr>
          <p:cNvPr id="79" name="Text Placeholder 78"/>
          <p:cNvSpPr>
            <a:spLocks noGrp="1"/>
          </p:cNvSpPr>
          <p:nvPr>
            <p:ph type="body" sz="quarter" idx="34"/>
          </p:nvPr>
        </p:nvSpPr>
        <p:spPr>
          <a:xfrm>
            <a:off x="4572000" y="2308722"/>
            <a:ext cx="2213113" cy="519096"/>
          </a:xfrm>
        </p:spPr>
        <p:txBody>
          <a:bodyPr/>
          <a:lstStyle/>
          <a:p>
            <a:r>
              <a:rPr lang="en-US" dirty="0"/>
              <a:t>Brief description of project here</a:t>
            </a:r>
          </a:p>
        </p:txBody>
      </p:sp>
      <p:sp>
        <p:nvSpPr>
          <p:cNvPr id="80" name="Text Placeholder 79"/>
          <p:cNvSpPr>
            <a:spLocks noGrp="1"/>
          </p:cNvSpPr>
          <p:nvPr>
            <p:ph type="body" sz="quarter" idx="35"/>
          </p:nvPr>
        </p:nvSpPr>
        <p:spPr>
          <a:xfrm>
            <a:off x="4572000" y="2099150"/>
            <a:ext cx="2349182" cy="202076"/>
          </a:xfrm>
        </p:spPr>
        <p:txBody>
          <a:bodyPr/>
          <a:lstStyle/>
          <a:p>
            <a:r>
              <a:rPr lang="en-US" dirty="0"/>
              <a:t>Subhead</a:t>
            </a:r>
            <a:endParaRPr lang="en-GB" dirty="0"/>
          </a:p>
        </p:txBody>
      </p:sp>
      <p:sp>
        <p:nvSpPr>
          <p:cNvPr id="108" name="Text Placeholder 107"/>
          <p:cNvSpPr>
            <a:spLocks noGrp="1"/>
          </p:cNvSpPr>
          <p:nvPr>
            <p:ph type="body" sz="quarter" idx="36"/>
          </p:nvPr>
        </p:nvSpPr>
        <p:spPr>
          <a:xfrm>
            <a:off x="7350117" y="2301925"/>
            <a:ext cx="1118877" cy="258532"/>
          </a:xfrm>
        </p:spPr>
        <p:txBody>
          <a:bodyPr/>
          <a:lstStyle/>
          <a:p>
            <a:r>
              <a:rPr lang="en-US" dirty="0"/>
              <a:t>Ex: Aerospace</a:t>
            </a:r>
            <a:endParaRPr lang="en-GB" dirty="0"/>
          </a:p>
        </p:txBody>
      </p:sp>
      <p:sp>
        <p:nvSpPr>
          <p:cNvPr id="82" name="Text Placeholder 81"/>
          <p:cNvSpPr>
            <a:spLocks noGrp="1"/>
          </p:cNvSpPr>
          <p:nvPr>
            <p:ph type="body" sz="quarter" idx="37"/>
          </p:nvPr>
        </p:nvSpPr>
        <p:spPr>
          <a:xfrm>
            <a:off x="7350117" y="2092353"/>
            <a:ext cx="1118877" cy="202076"/>
          </a:xfrm>
        </p:spPr>
        <p:txBody>
          <a:bodyPr/>
          <a:lstStyle/>
          <a:p>
            <a:r>
              <a:rPr lang="en-US" dirty="0"/>
              <a:t>Subhead</a:t>
            </a:r>
            <a:endParaRPr lang="en-GB" dirty="0"/>
          </a:p>
        </p:txBody>
      </p:sp>
      <p:sp>
        <p:nvSpPr>
          <p:cNvPr id="109" name="Text Placeholder 108"/>
          <p:cNvSpPr>
            <a:spLocks noGrp="1"/>
          </p:cNvSpPr>
          <p:nvPr>
            <p:ph type="body" sz="quarter" idx="38"/>
          </p:nvPr>
        </p:nvSpPr>
        <p:spPr>
          <a:xfrm>
            <a:off x="4572000" y="3428056"/>
            <a:ext cx="3326296" cy="812189"/>
          </a:xfrm>
        </p:spPr>
        <p:txBody>
          <a:bodyPr numCol="2"/>
          <a:lstStyle/>
          <a:p>
            <a:r>
              <a:rPr lang="en-US" dirty="0"/>
              <a:t>List terms here</a:t>
            </a:r>
          </a:p>
        </p:txBody>
      </p:sp>
      <p:sp>
        <p:nvSpPr>
          <p:cNvPr id="84" name="Text Placeholder 83"/>
          <p:cNvSpPr>
            <a:spLocks noGrp="1"/>
          </p:cNvSpPr>
          <p:nvPr>
            <p:ph type="body" sz="quarter" idx="39"/>
          </p:nvPr>
        </p:nvSpPr>
        <p:spPr>
          <a:xfrm>
            <a:off x="4572000" y="3218485"/>
            <a:ext cx="2349182" cy="202076"/>
          </a:xfrm>
        </p:spPr>
        <p:txBody>
          <a:bodyPr/>
          <a:lstStyle/>
          <a:p>
            <a:r>
              <a:rPr lang="en-US" dirty="0"/>
              <a:t>Subhead</a:t>
            </a:r>
            <a:endParaRPr lang="en-GB" dirty="0"/>
          </a:p>
        </p:txBody>
      </p:sp>
      <p:sp>
        <p:nvSpPr>
          <p:cNvPr id="126" name="Text Placeholder 125"/>
          <p:cNvSpPr>
            <a:spLocks noGrp="1"/>
          </p:cNvSpPr>
          <p:nvPr>
            <p:ph type="body" sz="quarter" idx="40"/>
          </p:nvPr>
        </p:nvSpPr>
        <p:spPr>
          <a:xfrm>
            <a:off x="7350117" y="2913716"/>
            <a:ext cx="1118877" cy="258532"/>
          </a:xfrm>
        </p:spPr>
        <p:txBody>
          <a:bodyPr/>
          <a:lstStyle/>
          <a:p>
            <a:r>
              <a:rPr lang="en-US" dirty="0"/>
              <a:t>Ex: Scientific</a:t>
            </a:r>
            <a:endParaRPr lang="en-GB" dirty="0"/>
          </a:p>
        </p:txBody>
      </p:sp>
      <p:sp>
        <p:nvSpPr>
          <p:cNvPr id="127" name="Text Placeholder 126"/>
          <p:cNvSpPr>
            <a:spLocks noGrp="1"/>
          </p:cNvSpPr>
          <p:nvPr>
            <p:ph type="body" sz="quarter" idx="41"/>
          </p:nvPr>
        </p:nvSpPr>
        <p:spPr>
          <a:xfrm>
            <a:off x="7350117" y="2704144"/>
            <a:ext cx="1118877" cy="202076"/>
          </a:xfrm>
        </p:spPr>
        <p:txBody>
          <a:bodyPr/>
          <a:lstStyle/>
          <a:p>
            <a:r>
              <a:rPr lang="en-US" dirty="0"/>
              <a:t>Subhead</a:t>
            </a:r>
            <a:endParaRPr lang="en-GB" dirty="0"/>
          </a:p>
        </p:txBody>
      </p:sp>
      <p:sp>
        <p:nvSpPr>
          <p:cNvPr id="53" name="Text Placeholder 52"/>
          <p:cNvSpPr>
            <a:spLocks noGrp="1"/>
          </p:cNvSpPr>
          <p:nvPr>
            <p:ph type="body" sz="quarter" idx="33"/>
          </p:nvPr>
        </p:nvSpPr>
        <p:spPr>
          <a:xfrm>
            <a:off x="464494" y="1738594"/>
            <a:ext cx="3186756" cy="1704412"/>
          </a:xfrm>
        </p:spPr>
        <p:txBody>
          <a:bodyPr/>
          <a:lstStyle/>
          <a:p>
            <a:r>
              <a:rPr lang="en-US" dirty="0">
                <a:solidFill>
                  <a:schemeClr val="tx1"/>
                </a:solidFill>
              </a:rPr>
              <a:t>Use this space to provide a concise overview of the project. Summarize what you did and why it was so impactful. </a:t>
            </a:r>
          </a:p>
        </p:txBody>
      </p:sp>
      <p:sp>
        <p:nvSpPr>
          <p:cNvPr id="78" name="Text Placeholder 77"/>
          <p:cNvSpPr>
            <a:spLocks noGrp="1"/>
          </p:cNvSpPr>
          <p:nvPr>
            <p:ph type="body" sz="quarter" idx="11"/>
          </p:nvPr>
        </p:nvSpPr>
        <p:spPr>
          <a:xfrm>
            <a:off x="464493" y="438150"/>
            <a:ext cx="3837326" cy="1257300"/>
          </a:xfrm>
        </p:spPr>
        <p:txBody>
          <a:bodyPr/>
          <a:lstStyle/>
          <a:p>
            <a:r>
              <a:rPr lang="en-US" dirty="0">
                <a:solidFill>
                  <a:schemeClr val="accent1"/>
                </a:solidFill>
              </a:rPr>
              <a:t>Compelling headline that makes people want to read more </a:t>
            </a:r>
          </a:p>
        </p:txBody>
      </p:sp>
      <p:sp>
        <p:nvSpPr>
          <p:cNvPr id="2" name="Rectangle 1"/>
          <p:cNvSpPr/>
          <p:nvPr/>
        </p:nvSpPr>
        <p:spPr>
          <a:xfrm>
            <a:off x="4572000" y="681990"/>
            <a:ext cx="4114800" cy="80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24925579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90514"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1" name="TextBox 20"/>
          <p:cNvSpPr txBox="1"/>
          <p:nvPr/>
        </p:nvSpPr>
        <p:spPr>
          <a:xfrm>
            <a:off x="390513" y="1044753"/>
            <a:ext cx="2577353" cy="2945437"/>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2" name="TextBox 21"/>
          <p:cNvSpPr txBox="1"/>
          <p:nvPr/>
        </p:nvSpPr>
        <p:spPr>
          <a:xfrm>
            <a:off x="3280237"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3" name="TextBox 22"/>
          <p:cNvSpPr txBox="1"/>
          <p:nvPr/>
        </p:nvSpPr>
        <p:spPr>
          <a:xfrm>
            <a:off x="3280236" y="1044754"/>
            <a:ext cx="2577353" cy="2922124"/>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4" name="TextBox 23"/>
          <p:cNvSpPr txBox="1"/>
          <p:nvPr/>
        </p:nvSpPr>
        <p:spPr>
          <a:xfrm>
            <a:off x="6169960" y="763771"/>
            <a:ext cx="2133600" cy="286232"/>
          </a:xfrm>
          <a:prstGeom prst="rect">
            <a:avLst/>
          </a:prstGeom>
          <a:noFill/>
        </p:spPr>
        <p:txBody>
          <a:bodyPr wrap="square"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Subhead</a:t>
            </a:r>
          </a:p>
        </p:txBody>
      </p:sp>
      <p:sp>
        <p:nvSpPr>
          <p:cNvPr id="25" name="TextBox 24"/>
          <p:cNvSpPr txBox="1"/>
          <p:nvPr/>
        </p:nvSpPr>
        <p:spPr>
          <a:xfrm>
            <a:off x="6169959" y="1044754"/>
            <a:ext cx="2577353" cy="2945437"/>
          </a:xfrm>
          <a:prstGeom prst="rect">
            <a:avLst/>
          </a:prstGeom>
          <a:noFill/>
        </p:spPr>
        <p:txBody>
          <a:bodyPr wrap="square" rtlCol="0">
            <a:noAutofit/>
          </a:bodyPr>
          <a:lstStyle/>
          <a:p>
            <a:pPr algn="l"/>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felis</a:t>
            </a:r>
            <a:r>
              <a:rPr lang="en-US" sz="1000" b="0" i="0" u="none" strike="noStrike" dirty="0">
                <a:solidFill>
                  <a:srgbClr val="000000"/>
                </a:solidFill>
                <a:effectLst/>
                <a:latin typeface="Arial" panose="020B0604020202020204" pitchFamily="34" charset="0"/>
                <a:cs typeface="Arial" panose="020B0604020202020204" pitchFamily="34" charset="0"/>
              </a:rPr>
              <a:t> ante id magna.</a:t>
            </a:r>
          </a:p>
          <a:p>
            <a:pPr algn="l"/>
            <a:endParaRPr lang="en-US" sz="1000" b="0" i="0" u="none" strike="noStrike" dirty="0">
              <a:solidFill>
                <a:srgbClr val="000000"/>
              </a:solidFill>
              <a:effectLst/>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Ut </a:t>
            </a:r>
            <a:r>
              <a:rPr lang="en-US" sz="1000" b="0" i="0" u="none" strike="noStrike" dirty="0" err="1">
                <a:solidFill>
                  <a:srgbClr val="000000"/>
                </a:solidFill>
                <a:effectLst/>
                <a:latin typeface="Arial" panose="020B0604020202020204" pitchFamily="34" charset="0"/>
                <a:cs typeface="Arial" panose="020B0604020202020204" pitchFamily="34" charset="0"/>
              </a:rPr>
              <a:t>quis</a:t>
            </a:r>
            <a:r>
              <a:rPr lang="en-US" sz="1000" b="0" i="0" u="none" strike="noStrike" dirty="0">
                <a:solidFill>
                  <a:srgbClr val="000000"/>
                </a:solidFill>
                <a:effectLst/>
                <a:latin typeface="Arial" panose="020B0604020202020204" pitchFamily="34" charset="0"/>
                <a:cs typeface="Arial" panose="020B0604020202020204" pitchFamily="34" charset="0"/>
              </a:rPr>
              <a:t> magna </a:t>
            </a:r>
            <a:r>
              <a:rPr lang="en-US" sz="1000" b="0" i="0" u="none" strike="noStrike" dirty="0" err="1">
                <a:solidFill>
                  <a:srgbClr val="000000"/>
                </a:solidFill>
                <a:effectLst/>
                <a:latin typeface="Arial" panose="020B0604020202020204" pitchFamily="34" charset="0"/>
                <a:cs typeface="Arial" panose="020B0604020202020204" pitchFamily="34" charset="0"/>
              </a:rPr>
              <a:t>vehicul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rutru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lect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u</a:t>
            </a:r>
            <a:r>
              <a:rPr lang="en-US" sz="1000" b="0" i="0" u="none" strike="noStrike" dirty="0">
                <a:solidFill>
                  <a:srgbClr val="000000"/>
                </a:solidFill>
                <a:effectLst/>
                <a:latin typeface="Arial" panose="020B0604020202020204" pitchFamily="34" charset="0"/>
                <a:cs typeface="Arial" panose="020B0604020202020204" pitchFamily="34" charset="0"/>
              </a:rPr>
              <a:t>, lacinia ipsum.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ffic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dolor et tempus. Sed at </a:t>
            </a:r>
            <a:r>
              <a:rPr lang="en-US" sz="1000" b="0" i="0" u="none" strike="noStrike" dirty="0" err="1">
                <a:solidFill>
                  <a:srgbClr val="000000"/>
                </a:solidFill>
                <a:effectLst/>
                <a:latin typeface="Arial" panose="020B0604020202020204" pitchFamily="34" charset="0"/>
                <a:cs typeface="Arial" panose="020B0604020202020204" pitchFamily="34" charset="0"/>
              </a:rPr>
              <a:t>se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dapib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ttis</a:t>
            </a:r>
            <a:r>
              <a:rPr lang="en-US" sz="1000" b="0" i="0" u="none" strike="noStrike" dirty="0">
                <a:solidFill>
                  <a:srgbClr val="000000"/>
                </a:solidFill>
                <a:effectLst/>
                <a:latin typeface="Arial" panose="020B0604020202020204" pitchFamily="34" charset="0"/>
                <a:cs typeface="Arial" panose="020B0604020202020204" pitchFamily="34" charset="0"/>
              </a:rPr>
              <a:t> mi a,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et ex pharetra </a:t>
            </a:r>
            <a:r>
              <a:rPr lang="en-US" sz="1000" b="0" i="0" u="none" strike="noStrike" dirty="0" err="1">
                <a:solidFill>
                  <a:srgbClr val="000000"/>
                </a:solidFill>
                <a:effectLst/>
                <a:latin typeface="Arial" panose="020B0604020202020204" pitchFamily="34" charset="0"/>
                <a:cs typeface="Arial" panose="020B0604020202020204" pitchFamily="34" charset="0"/>
              </a:rPr>
              <a:t>porttitor</a:t>
            </a:r>
            <a:r>
              <a:rPr lang="en-US" sz="1000" b="0" i="0" u="none" strike="noStrike" dirty="0">
                <a:solidFill>
                  <a:srgbClr val="000000"/>
                </a:solidFill>
                <a:effectLst/>
                <a:latin typeface="Arial" panose="020B0604020202020204" pitchFamily="34" charset="0"/>
                <a:cs typeface="Arial" panose="020B0604020202020204" pitchFamily="34" charset="0"/>
              </a:rPr>
              <a:t>.</a:t>
            </a:r>
          </a:p>
          <a:p>
            <a:pPr algn="just"/>
            <a:endParaRPr lang="en-US" sz="1000" dirty="0">
              <a:solidFill>
                <a:srgbClr val="000000"/>
              </a:solidFill>
              <a:latin typeface="Arial" panose="020B0604020202020204" pitchFamily="34" charset="0"/>
              <a:cs typeface="Arial" panose="020B0604020202020204" pitchFamily="34" charset="0"/>
            </a:endParaRPr>
          </a:p>
          <a:p>
            <a:pPr algn="just"/>
            <a:r>
              <a:rPr lang="en-US" sz="1000" b="0" i="0" u="none" strike="noStrike" dirty="0">
                <a:solidFill>
                  <a:srgbClr val="000000"/>
                </a:solidFill>
                <a:effectLst/>
                <a:latin typeface="Arial" panose="020B0604020202020204" pitchFamily="34" charset="0"/>
                <a:cs typeface="Arial" panose="020B0604020202020204" pitchFamily="34" charset="0"/>
              </a:rPr>
              <a:t>Morbi </a:t>
            </a:r>
            <a:r>
              <a:rPr lang="en-US" sz="1000" b="0" i="0" u="none" strike="noStrike" dirty="0" err="1">
                <a:solidFill>
                  <a:srgbClr val="000000"/>
                </a:solidFill>
                <a:effectLst/>
                <a:latin typeface="Arial" panose="020B0604020202020204" pitchFamily="34" charset="0"/>
                <a:cs typeface="Arial" panose="020B0604020202020204" pitchFamily="34" charset="0"/>
              </a:rPr>
              <a:t>rhonc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ugue</a:t>
            </a:r>
            <a:r>
              <a:rPr lang="en-US" sz="1000" b="0" i="0" u="none" strike="noStrike" dirty="0">
                <a:solidFill>
                  <a:srgbClr val="000000"/>
                </a:solidFill>
                <a:effectLst/>
                <a:latin typeface="Arial" panose="020B0604020202020204" pitchFamily="34" charset="0"/>
                <a:cs typeface="Arial" panose="020B0604020202020204" pitchFamily="34" charset="0"/>
              </a:rPr>
              <a:t>, sed </a:t>
            </a:r>
            <a:r>
              <a:rPr lang="en-US" sz="1000" b="0" i="0" u="none" strike="noStrike" dirty="0" err="1">
                <a:solidFill>
                  <a:srgbClr val="000000"/>
                </a:solidFill>
                <a:effectLst/>
                <a:latin typeface="Arial" panose="020B0604020202020204" pitchFamily="34" charset="0"/>
                <a:cs typeface="Arial" panose="020B0604020202020204" pitchFamily="34" charset="0"/>
              </a:rPr>
              <a:t>plac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s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agittis</a:t>
            </a:r>
            <a:r>
              <a:rPr lang="en-US" sz="1000" b="0" i="0" u="none" strike="noStrike" dirty="0">
                <a:solidFill>
                  <a:srgbClr val="000000"/>
                </a:solidFill>
                <a:effectLst/>
                <a:latin typeface="Arial" panose="020B0604020202020204" pitchFamily="34" charset="0"/>
                <a:cs typeface="Arial" panose="020B0604020202020204" pitchFamily="34" charset="0"/>
              </a:rPr>
              <a:t> et. Sed </a:t>
            </a:r>
            <a:r>
              <a:rPr lang="en-US" sz="1000" b="0" i="0" u="none" strike="noStrike" dirty="0" err="1">
                <a:solidFill>
                  <a:srgbClr val="000000"/>
                </a:solidFill>
                <a:effectLst/>
                <a:latin typeface="Arial" panose="020B0604020202020204" pitchFamily="34" charset="0"/>
                <a:cs typeface="Arial" panose="020B0604020202020204" pitchFamily="34" charset="0"/>
              </a:rPr>
              <a:t>tristique</a:t>
            </a:r>
            <a:r>
              <a:rPr lang="en-US" sz="1000" b="0" i="0" u="none" strike="noStrike" dirty="0">
                <a:solidFill>
                  <a:srgbClr val="000000"/>
                </a:solidFill>
                <a:effectLst/>
                <a:latin typeface="Arial" panose="020B0604020202020204" pitchFamily="34" charset="0"/>
                <a:cs typeface="Arial" panose="020B0604020202020204" pitchFamily="34" charset="0"/>
              </a:rPr>
              <a:t>, dolor </a:t>
            </a:r>
            <a:r>
              <a:rPr lang="en-US" sz="1000" b="0" i="0" u="none" strike="noStrike" dirty="0" err="1">
                <a:solidFill>
                  <a:srgbClr val="000000"/>
                </a:solidFill>
                <a:effectLst/>
                <a:latin typeface="Arial" panose="020B0604020202020204" pitchFamily="34" charset="0"/>
                <a:cs typeface="Arial" panose="020B0604020202020204" pitchFamily="34" charset="0"/>
              </a:rPr>
              <a:t>eg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celeris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r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iverra</a:t>
            </a:r>
            <a:r>
              <a:rPr lang="en-US" sz="1000" b="0" i="0" u="none" strike="noStrike" dirty="0">
                <a:solidFill>
                  <a:srgbClr val="000000"/>
                </a:solidFill>
                <a:effectLst/>
                <a:latin typeface="Arial" panose="020B0604020202020204" pitchFamily="34" charset="0"/>
                <a:cs typeface="Arial" panose="020B0604020202020204" pitchFamily="34" charset="0"/>
              </a:rPr>
              <a:t> nisi,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mi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r>
              <a:rPr lang="en-US" sz="1000" b="0" i="0" u="none" strike="noStrike" dirty="0">
                <a:solidFill>
                  <a:srgbClr val="000000"/>
                </a:solidFill>
                <a:effectLst/>
                <a:latin typeface="Arial" panose="020B0604020202020204" pitchFamily="34" charset="0"/>
                <a:cs typeface="Arial" panose="020B0604020202020204" pitchFamily="34" charset="0"/>
              </a:rPr>
              <a:t> a </a:t>
            </a:r>
            <a:r>
              <a:rPr lang="en-US" sz="1000" b="0" i="0" u="none" strike="noStrike" dirty="0" err="1">
                <a:solidFill>
                  <a:srgbClr val="000000"/>
                </a:solidFill>
                <a:effectLst/>
                <a:latin typeface="Arial" panose="020B0604020202020204" pitchFamily="34" charset="0"/>
                <a:cs typeface="Arial" panose="020B0604020202020204" pitchFamily="34" charset="0"/>
              </a:rPr>
              <a:t>turpis</a:t>
            </a:r>
            <a:r>
              <a:rPr lang="en-US" sz="1000" b="0" i="0" u="none" strike="noStrike" dirty="0">
                <a:solidFill>
                  <a:srgbClr val="000000"/>
                </a:solidFill>
                <a:effectLst/>
                <a:latin typeface="Arial" panose="020B0604020202020204" pitchFamily="34" charset="0"/>
                <a:cs typeface="Arial" panose="020B0604020202020204" pitchFamily="34" charset="0"/>
              </a:rPr>
              <a:t>. </a:t>
            </a:r>
          </a:p>
        </p:txBody>
      </p:sp>
      <p:sp>
        <p:nvSpPr>
          <p:cNvPr id="29" name="Rectangle 28"/>
          <p:cNvSpPr/>
          <p:nvPr/>
        </p:nvSpPr>
        <p:spPr>
          <a:xfrm>
            <a:off x="457200" y="542316"/>
            <a:ext cx="8229600" cy="809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1939976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Bar chart title here</a:t>
            </a:r>
          </a:p>
        </p:txBody>
      </p:sp>
      <p:graphicFrame>
        <p:nvGraphicFramePr>
          <p:cNvPr id="6" name="Chart 5"/>
          <p:cNvGraphicFramePr/>
          <p:nvPr>
            <p:extLst>
              <p:ext uri="{D42A27DB-BD31-4B8C-83A1-F6EECF244321}">
                <p14:modId xmlns:p14="http://schemas.microsoft.com/office/powerpoint/2010/main" val="1596054968"/>
              </p:ext>
            </p:extLst>
          </p:nvPr>
        </p:nvGraphicFramePr>
        <p:xfrm>
          <a:off x="847725" y="1166801"/>
          <a:ext cx="7162800" cy="2244437"/>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1280679" y="3638087"/>
            <a:ext cx="312906" cy="369332"/>
          </a:xfrm>
          <a:prstGeom prst="rect">
            <a:avLst/>
          </a:prstGeom>
          <a:noFill/>
        </p:spPr>
        <p:txBody>
          <a:bodyPr wrap="none" rtlCol="0">
            <a:spAutoFit/>
          </a:bodyPr>
          <a:lstStyle/>
          <a:p>
            <a:pPr algn="ctr"/>
            <a:r>
              <a:rPr lang="en-US"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1</a:t>
            </a:r>
          </a:p>
        </p:txBody>
      </p:sp>
      <p:sp>
        <p:nvSpPr>
          <p:cNvPr id="8" name="Text Placeholder 32"/>
          <p:cNvSpPr txBox="1">
            <a:spLocks/>
          </p:cNvSpPr>
          <p:nvPr/>
        </p:nvSpPr>
        <p:spPr>
          <a:xfrm>
            <a:off x="1636422"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latin typeface="Arial" panose="020B0604020202020204" pitchFamily="34" charset="0"/>
                <a:cs typeface="Arial" panose="020B0604020202020204" pitchFamily="34" charset="0"/>
              </a:rPr>
              <a:t>Lorem ipsum dolor sit </a:t>
            </a:r>
            <a:r>
              <a:rPr lang="en-US" sz="800" dirty="0" err="1">
                <a:latin typeface="Arial" panose="020B0604020202020204" pitchFamily="34" charset="0"/>
                <a:cs typeface="Arial" panose="020B0604020202020204" pitchFamily="34" charset="0"/>
              </a:rPr>
              <a:t>ame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consectetur</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adipiscing</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eli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sed</a:t>
            </a:r>
            <a:r>
              <a:rPr lang="en-US" sz="800" dirty="0">
                <a:latin typeface="Arial" panose="020B0604020202020204" pitchFamily="34" charset="0"/>
                <a:cs typeface="Arial" panose="020B0604020202020204" pitchFamily="34" charset="0"/>
              </a:rPr>
              <a:t> do </a:t>
            </a:r>
            <a:r>
              <a:rPr lang="en-US" sz="800" dirty="0" err="1">
                <a:latin typeface="Arial" panose="020B0604020202020204" pitchFamily="34" charset="0"/>
                <a:cs typeface="Arial" panose="020B0604020202020204" pitchFamily="34" charset="0"/>
              </a:rPr>
              <a:t>eiusmod</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tempor</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incididunt</a:t>
            </a:r>
            <a:r>
              <a:rPr lang="en-US" sz="800" dirty="0">
                <a:latin typeface="Arial" panose="020B0604020202020204" pitchFamily="34" charset="0"/>
                <a:cs typeface="Arial" panose="020B0604020202020204" pitchFamily="34" charset="0"/>
              </a:rPr>
              <a:t> </a:t>
            </a:r>
            <a:r>
              <a:rPr lang="en-US" sz="800" dirty="0" err="1">
                <a:latin typeface="Arial" panose="020B0604020202020204" pitchFamily="34" charset="0"/>
                <a:cs typeface="Arial" panose="020B0604020202020204" pitchFamily="34" charset="0"/>
              </a:rPr>
              <a:t>ut</a:t>
            </a:r>
            <a:endParaRPr lang="en-US" sz="800" dirty="0">
              <a:latin typeface="Arial" panose="020B0604020202020204" pitchFamily="34" charset="0"/>
              <a:cs typeface="Arial" panose="020B0604020202020204" pitchFamily="34" charset="0"/>
            </a:endParaRPr>
          </a:p>
        </p:txBody>
      </p:sp>
      <p:sp>
        <p:nvSpPr>
          <p:cNvPr id="9" name="Text Placeholder 33"/>
          <p:cNvSpPr txBox="1">
            <a:spLocks/>
          </p:cNvSpPr>
          <p:nvPr/>
        </p:nvSpPr>
        <p:spPr>
          <a:xfrm>
            <a:off x="1636424"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0" name="TextBox 9"/>
          <p:cNvSpPr txBox="1"/>
          <p:nvPr/>
        </p:nvSpPr>
        <p:spPr>
          <a:xfrm>
            <a:off x="3590455" y="3638087"/>
            <a:ext cx="312906" cy="369332"/>
          </a:xfrm>
          <a:prstGeom prst="rect">
            <a:avLst/>
          </a:prstGeom>
          <a:noFill/>
        </p:spPr>
        <p:txBody>
          <a:bodyPr wrap="none" rtlCol="0">
            <a:spAutoFit/>
          </a:bodyPr>
          <a:lstStyle/>
          <a:p>
            <a:pPr algn="ctr"/>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2</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1" name="Text Placeholder 32"/>
          <p:cNvSpPr txBox="1">
            <a:spLocks/>
          </p:cNvSpPr>
          <p:nvPr/>
        </p:nvSpPr>
        <p:spPr>
          <a:xfrm>
            <a:off x="3946197"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2" name="Text Placeholder 33"/>
          <p:cNvSpPr txBox="1">
            <a:spLocks/>
          </p:cNvSpPr>
          <p:nvPr/>
        </p:nvSpPr>
        <p:spPr>
          <a:xfrm>
            <a:off x="3946199"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3" name="TextBox 12"/>
          <p:cNvSpPr txBox="1"/>
          <p:nvPr/>
        </p:nvSpPr>
        <p:spPr>
          <a:xfrm>
            <a:off x="5954371" y="3638087"/>
            <a:ext cx="312906" cy="369332"/>
          </a:xfrm>
          <a:prstGeom prst="rect">
            <a:avLst/>
          </a:prstGeom>
          <a:noFill/>
        </p:spPr>
        <p:txBody>
          <a:bodyPr wrap="none" rtlCol="0">
            <a:spAutoFit/>
          </a:bodyPr>
          <a:lstStyle/>
          <a:p>
            <a:pPr lvl="0"/>
            <a:r>
              <a:rPr lang="en-AU">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3</a:t>
            </a:r>
            <a:endParaRPr lang="en-US">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
        <p:nvSpPr>
          <p:cNvPr id="14" name="Text Placeholder 32"/>
          <p:cNvSpPr txBox="1">
            <a:spLocks/>
          </p:cNvSpPr>
          <p:nvPr/>
        </p:nvSpPr>
        <p:spPr>
          <a:xfrm>
            <a:off x="6280619" y="3954507"/>
            <a:ext cx="1540166" cy="39655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a:latin typeface="Arial" panose="020B0604020202020204" pitchFamily="34" charset="0"/>
                <a:cs typeface="Arial" panose="020B0604020202020204" pitchFamily="34" charset="0"/>
              </a:rPr>
              <a:t>Lorem ipsum dolor sit amet, consectetur adipiscing elit, sed do eiusmod tempor incididunt ut</a:t>
            </a:r>
          </a:p>
        </p:txBody>
      </p:sp>
      <p:sp>
        <p:nvSpPr>
          <p:cNvPr id="15" name="Text Placeholder 33"/>
          <p:cNvSpPr txBox="1">
            <a:spLocks/>
          </p:cNvSpPr>
          <p:nvPr/>
        </p:nvSpPr>
        <p:spPr>
          <a:xfrm>
            <a:off x="6280620" y="3735809"/>
            <a:ext cx="1368714" cy="231670"/>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100" b="1"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rPr>
              <a:t>Subhead</a:t>
            </a:r>
            <a:endParaRPr lang="en-AU" sz="1100" dirty="0">
              <a:gradFill>
                <a:gsLst>
                  <a:gs pos="0">
                    <a:schemeClr val="tx1">
                      <a:lumMod val="75000"/>
                    </a:schemeClr>
                  </a:gs>
                  <a:gs pos="98000">
                    <a:schemeClr val="tx1">
                      <a:lumMod val="75000"/>
                    </a:schemeClr>
                  </a:gs>
                </a:gsLst>
                <a:lin ang="5400000" scaled="1"/>
              </a:gra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50846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916" y="438150"/>
            <a:ext cx="4401205" cy="889000"/>
          </a:xfrm>
        </p:spPr>
        <p:txBody>
          <a:bodyPr/>
          <a:lstStyle/>
          <a:p>
            <a:r>
              <a:rPr lang="en-US" spc="0" dirty="0">
                <a:solidFill>
                  <a:schemeClr val="accent1"/>
                </a:solidFill>
              </a:rPr>
              <a:t>Here’s a </a:t>
            </a:r>
            <a:br>
              <a:rPr lang="en-US" spc="0" dirty="0">
                <a:solidFill>
                  <a:schemeClr val="accent1"/>
                </a:solidFill>
              </a:rPr>
            </a:br>
            <a:r>
              <a:rPr lang="en-US" spc="0" dirty="0">
                <a:solidFill>
                  <a:schemeClr val="accent1"/>
                </a:solidFill>
              </a:rPr>
              <a:t>section divider</a:t>
            </a:r>
          </a:p>
        </p:txBody>
      </p:sp>
      <p:sp>
        <p:nvSpPr>
          <p:cNvPr id="3" name="Text Placeholder 2"/>
          <p:cNvSpPr>
            <a:spLocks noGrp="1"/>
          </p:cNvSpPr>
          <p:nvPr>
            <p:ph type="body" sz="quarter" idx="16"/>
          </p:nvPr>
        </p:nvSpPr>
        <p:spPr>
          <a:xfrm>
            <a:off x="461010" y="1420644"/>
            <a:ext cx="2516233" cy="671512"/>
          </a:xfrm>
        </p:spPr>
        <p:txBody>
          <a:bodyPr/>
          <a:lstStyle/>
          <a:p>
            <a:r>
              <a:rPr lang="en-US" dirty="0">
                <a:solidFill>
                  <a:schemeClr val="tx1"/>
                </a:solidFill>
              </a:rPr>
              <a:t>You can also use this for a title slide. </a:t>
            </a:r>
          </a:p>
        </p:txBody>
      </p:sp>
      <p:sp>
        <p:nvSpPr>
          <p:cNvPr id="5" name="Rectangle 4">
            <a:hlinkClick r:id="rId3"/>
          </p:cNvPr>
          <p:cNvSpPr/>
          <p:nvPr/>
        </p:nvSpPr>
        <p:spPr>
          <a:xfrm>
            <a:off x="3950473" y="2915728"/>
            <a:ext cx="90864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7"/>
          </p:nvPr>
        </p:nvSpPr>
        <p:spPr/>
        <p:txBody>
          <a:bodyPr/>
          <a:lstStyle/>
          <a:p>
            <a:endParaRPr lang="en-GB" dirty="0"/>
          </a:p>
        </p:txBody>
      </p:sp>
      <p:sp>
        <p:nvSpPr>
          <p:cNvPr id="4" name="TextBox 3">
            <a:extLst>
              <a:ext uri="{FF2B5EF4-FFF2-40B4-BE49-F238E27FC236}">
                <a16:creationId xmlns:a16="http://schemas.microsoft.com/office/drawing/2014/main" id="{B855F3C5-2E83-3E49-A5AA-9F30B51285FA}"/>
              </a:ext>
            </a:extLst>
          </p:cNvPr>
          <p:cNvSpPr txBox="1"/>
          <p:nvPr/>
        </p:nvSpPr>
        <p:spPr>
          <a:xfrm>
            <a:off x="7499758" y="1132514"/>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1F87EC16-B1D7-804A-A87B-C1EE011FE95B}"/>
              </a:ext>
            </a:extLst>
          </p:cNvPr>
          <p:cNvSpPr txBox="1"/>
          <p:nvPr/>
        </p:nvSpPr>
        <p:spPr>
          <a:xfrm>
            <a:off x="8590327" y="570451"/>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26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4" name="Text Placeholder 3"/>
          <p:cNvSpPr>
            <a:spLocks noGrp="1"/>
          </p:cNvSpPr>
          <p:nvPr>
            <p:ph type="body" sz="quarter" idx="17"/>
          </p:nvPr>
        </p:nvSpPr>
        <p:spPr/>
        <p:txBody>
          <a:bodyPr/>
          <a:lstStyle/>
          <a:p>
            <a:r>
              <a:rPr lang="en-US" dirty="0">
                <a:solidFill>
                  <a:schemeClr val="accent1"/>
                </a:solidFill>
              </a:rPr>
              <a:t>Bar chart title here</a:t>
            </a:r>
          </a:p>
        </p:txBody>
      </p:sp>
      <p:sp>
        <p:nvSpPr>
          <p:cNvPr id="5" name="TextBox 4"/>
          <p:cNvSpPr txBox="1"/>
          <p:nvPr/>
        </p:nvSpPr>
        <p:spPr>
          <a:xfrm>
            <a:off x="992457" y="4150639"/>
            <a:ext cx="7203689" cy="525465"/>
          </a:xfrm>
          <a:prstGeom prst="rect">
            <a:avLst/>
          </a:prstGeom>
          <a:noFill/>
        </p:spPr>
        <p:txBody>
          <a:bodyPr wrap="square" lIns="0" rtlCol="0">
            <a:spAutoFit/>
          </a:bodyPr>
          <a:lstStyle/>
          <a:p>
            <a:pPr algn="ctr" defTabSz="514350">
              <a:lnSpc>
                <a:spcPct val="150000"/>
              </a:lnSpc>
              <a:spcAft>
                <a:spcPts val="300"/>
              </a:spcAft>
              <a:buClr>
                <a:srgbClr val="CC0000"/>
              </a:buClr>
              <a:buSzPct val="110000"/>
            </a:pPr>
            <a:r>
              <a:rPr lang="en-US" sz="1000" b="0" i="0" u="none" strike="noStrike" dirty="0">
                <a:solidFill>
                  <a:srgbClr val="000000"/>
                </a:solidFill>
                <a:effectLst/>
                <a:latin typeface="Arial" panose="020B0604020202020204" pitchFamily="34" charset="0"/>
                <a:cs typeface="Arial" panose="020B0604020202020204" pitchFamily="34" charset="0"/>
              </a:rPr>
              <a:t>Lorem ipsum dolor sit </a:t>
            </a:r>
            <a:r>
              <a:rPr lang="en-US" sz="1000" b="0" i="0" u="none" strike="noStrike" dirty="0" err="1">
                <a:solidFill>
                  <a:srgbClr val="000000"/>
                </a:solidFill>
                <a:effectLst/>
                <a:latin typeface="Arial" panose="020B0604020202020204" pitchFamily="34" charset="0"/>
                <a:cs typeface="Arial" panose="020B0604020202020204" pitchFamily="34" charset="0"/>
              </a:rPr>
              <a:t>ame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cte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dipiscing</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eli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Suspendiss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estie</a:t>
            </a:r>
            <a:r>
              <a:rPr lang="en-US" sz="1000" b="0" i="0" u="none" strike="noStrike" dirty="0">
                <a:solidFill>
                  <a:srgbClr val="000000"/>
                </a:solidFill>
                <a:effectLst/>
                <a:latin typeface="Arial" panose="020B0604020202020204" pitchFamily="34" charset="0"/>
                <a:cs typeface="Arial" panose="020B0604020202020204" pitchFamily="34" charset="0"/>
              </a:rPr>
              <a:t> ex, vel semper </a:t>
            </a:r>
            <a:r>
              <a:rPr lang="en-US" sz="1000" b="0" i="0" u="none" strike="noStrike" dirty="0" err="1">
                <a:solidFill>
                  <a:srgbClr val="000000"/>
                </a:solidFill>
                <a:effectLst/>
                <a:latin typeface="Arial" panose="020B0604020202020204" pitchFamily="34" charset="0"/>
                <a:cs typeface="Arial" panose="020B0604020202020204" pitchFamily="34" charset="0"/>
              </a:rPr>
              <a:t>nibh</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ollis</a:t>
            </a:r>
            <a:r>
              <a:rPr lang="en-US" sz="1000" b="0" i="0" u="none" strike="noStrike" dirty="0">
                <a:solidFill>
                  <a:srgbClr val="000000"/>
                </a:solidFill>
                <a:effectLst/>
                <a:latin typeface="Arial" panose="020B0604020202020204" pitchFamily="34" charset="0"/>
                <a:cs typeface="Arial" panose="020B0604020202020204" pitchFamily="34" charset="0"/>
              </a:rPr>
              <a:t> vel. Cras </a:t>
            </a:r>
            <a:r>
              <a:rPr lang="en-US" sz="1000" b="0" i="0" u="none" strike="noStrike" dirty="0" err="1">
                <a:solidFill>
                  <a:srgbClr val="000000"/>
                </a:solidFill>
                <a:effectLst/>
                <a:latin typeface="Arial" panose="020B0604020202020204" pitchFamily="34" charset="0"/>
                <a:cs typeface="Arial" panose="020B0604020202020204" pitchFamily="34" charset="0"/>
              </a:rPr>
              <a:t>tempor</a:t>
            </a:r>
            <a:r>
              <a:rPr lang="en-US" sz="1000" b="0" i="0" u="none" strike="noStrike" dirty="0">
                <a:solidFill>
                  <a:srgbClr val="000000"/>
                </a:solidFill>
                <a:effectLst/>
                <a:latin typeface="Arial" panose="020B0604020202020204" pitchFamily="34" charset="0"/>
                <a:cs typeface="Arial" panose="020B0604020202020204" pitchFamily="34" charset="0"/>
              </a:rPr>
              <a:t> cursus ante id </a:t>
            </a:r>
            <a:r>
              <a:rPr lang="en-US" sz="1000" b="0" i="0" u="none" strike="noStrike" dirty="0" err="1">
                <a:solidFill>
                  <a:srgbClr val="000000"/>
                </a:solidFill>
                <a:effectLst/>
                <a:latin typeface="Arial" panose="020B0604020202020204" pitchFamily="34" charset="0"/>
                <a:cs typeface="Arial" panose="020B0604020202020204" pitchFamily="34" charset="0"/>
              </a:rPr>
              <a:t>variu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urabitur</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consequat</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velit</a:t>
            </a:r>
            <a:r>
              <a:rPr lang="en-US" sz="1000" b="0" i="0" u="none" strike="noStrike" dirty="0">
                <a:solidFill>
                  <a:srgbClr val="000000"/>
                </a:solidFill>
                <a:effectLst/>
                <a:latin typeface="Arial" panose="020B0604020202020204" pitchFamily="34" charset="0"/>
                <a:cs typeface="Arial" panose="020B0604020202020204" pitchFamily="34" charset="0"/>
              </a:rPr>
              <a:t> at </a:t>
            </a:r>
            <a:r>
              <a:rPr lang="en-US" sz="1000" b="0" i="0" u="none" strike="noStrike" dirty="0" err="1">
                <a:solidFill>
                  <a:srgbClr val="000000"/>
                </a:solidFill>
                <a:effectLst/>
                <a:latin typeface="Arial" panose="020B0604020202020204" pitchFamily="34" charset="0"/>
                <a:cs typeface="Arial" panose="020B0604020202020204" pitchFamily="34" charset="0"/>
              </a:rPr>
              <a:t>sodales</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posuer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odio</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neque</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aliquam</a:t>
            </a:r>
            <a:r>
              <a:rPr lang="en-US" sz="1000" b="0" i="0" u="none" strike="noStrike" dirty="0">
                <a:solidFill>
                  <a:srgbClr val="000000"/>
                </a:solidFill>
                <a:effectLst/>
                <a:latin typeface="Arial" panose="020B0604020202020204" pitchFamily="34" charset="0"/>
                <a:cs typeface="Arial" panose="020B0604020202020204" pitchFamily="34" charset="0"/>
              </a:rPr>
              <a:t> </a:t>
            </a:r>
            <a:r>
              <a:rPr lang="en-US" sz="1000" b="0" i="0" u="none" strike="noStrike" dirty="0" err="1">
                <a:solidFill>
                  <a:srgbClr val="000000"/>
                </a:solidFill>
                <a:effectLst/>
                <a:latin typeface="Arial" panose="020B0604020202020204" pitchFamily="34" charset="0"/>
                <a:cs typeface="Arial" panose="020B0604020202020204" pitchFamily="34" charset="0"/>
              </a:rPr>
              <a:t>massa</a:t>
            </a:r>
            <a:endParaRPr lang="en-US" sz="1000" dirty="0">
              <a:solidFill>
                <a:schemeClr val="accent5"/>
              </a:solidFill>
              <a:latin typeface="Arial" panose="020B0604020202020204" pitchFamily="34" charset="0"/>
              <a:ea typeface="Roboto Light" panose="02000000000000000000" pitchFamily="2" charset="0"/>
              <a:cs typeface="Arial" panose="020B0604020202020204" pitchFamily="34" charset="0"/>
            </a:endParaRPr>
          </a:p>
        </p:txBody>
      </p:sp>
      <p:graphicFrame>
        <p:nvGraphicFramePr>
          <p:cNvPr id="6" name="Chart 5"/>
          <p:cNvGraphicFramePr/>
          <p:nvPr>
            <p:extLst>
              <p:ext uri="{D42A27DB-BD31-4B8C-83A1-F6EECF244321}">
                <p14:modId xmlns:p14="http://schemas.microsoft.com/office/powerpoint/2010/main" val="2435800037"/>
              </p:ext>
            </p:extLst>
          </p:nvPr>
        </p:nvGraphicFramePr>
        <p:xfrm>
          <a:off x="1099442" y="1168688"/>
          <a:ext cx="6891221" cy="273549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79287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10" name="Text Placeholder 9"/>
          <p:cNvSpPr>
            <a:spLocks noGrp="1"/>
          </p:cNvSpPr>
          <p:nvPr>
            <p:ph type="body" sz="quarter" idx="17"/>
          </p:nvPr>
        </p:nvSpPr>
        <p:spPr/>
        <p:txBody>
          <a:bodyPr/>
          <a:lstStyle/>
          <a:p>
            <a:r>
              <a:rPr lang="en-US" dirty="0">
                <a:solidFill>
                  <a:schemeClr val="accent1"/>
                </a:solidFill>
              </a:rPr>
              <a:t>Comparing stats</a:t>
            </a:r>
          </a:p>
        </p:txBody>
      </p:sp>
      <p:sp>
        <p:nvSpPr>
          <p:cNvPr id="5" name="Text Placeholder 32"/>
          <p:cNvSpPr txBox="1">
            <a:spLocks/>
          </p:cNvSpPr>
          <p:nvPr/>
        </p:nvSpPr>
        <p:spPr>
          <a:xfrm>
            <a:off x="480743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6" name="Text Placeholder 33"/>
          <p:cNvSpPr txBox="1">
            <a:spLocks/>
          </p:cNvSpPr>
          <p:nvPr/>
        </p:nvSpPr>
        <p:spPr>
          <a:xfrm>
            <a:off x="480743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Three</a:t>
            </a:r>
          </a:p>
        </p:txBody>
      </p:sp>
      <p:grpSp>
        <p:nvGrpSpPr>
          <p:cNvPr id="7" name="Group 6"/>
          <p:cNvGrpSpPr/>
          <p:nvPr/>
        </p:nvGrpSpPr>
        <p:grpSpPr>
          <a:xfrm>
            <a:off x="4882026" y="1582494"/>
            <a:ext cx="1399320" cy="1399320"/>
            <a:chOff x="1447864" y="1680671"/>
            <a:chExt cx="1256032" cy="1256032"/>
          </a:xfrm>
          <a:solidFill>
            <a:schemeClr val="accent5"/>
          </a:solidFill>
        </p:grpSpPr>
        <p:sp>
          <p:nvSpPr>
            <p:cNvPr id="8" name="Donut 7"/>
            <p:cNvSpPr/>
            <p:nvPr/>
          </p:nvSpPr>
          <p:spPr>
            <a:xfrm>
              <a:off x="1447864" y="1680671"/>
              <a:ext cx="1256032" cy="1256032"/>
            </a:xfrm>
            <a:prstGeom prst="donut">
              <a:avLst>
                <a:gd name="adj" fmla="val 11686"/>
              </a:avLst>
            </a:prstGeom>
            <a:solidFill>
              <a:schemeClr val="accent5">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9" name="Block Arc 8"/>
            <p:cNvSpPr/>
            <p:nvPr/>
          </p:nvSpPr>
          <p:spPr>
            <a:xfrm>
              <a:off x="1447864" y="1680671"/>
              <a:ext cx="1256032" cy="1256032"/>
            </a:xfrm>
            <a:prstGeom prst="blockArc">
              <a:avLst>
                <a:gd name="adj1" fmla="val 16162069"/>
                <a:gd name="adj2" fmla="val 3793687"/>
                <a:gd name="adj3" fmla="val 11689"/>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11" name="Rectangle 10"/>
          <p:cNvSpPr/>
          <p:nvPr/>
        </p:nvSpPr>
        <p:spPr>
          <a:xfrm>
            <a:off x="5223313" y="2049101"/>
            <a:ext cx="721672" cy="415498"/>
          </a:xfrm>
          <a:prstGeom prst="rect">
            <a:avLst/>
          </a:prstGeom>
        </p:spPr>
        <p:txBody>
          <a:bodyPr wrap="none">
            <a:spAutoFit/>
          </a:bodyPr>
          <a:lstStyle/>
          <a:p>
            <a:pPr algn="ctr"/>
            <a:r>
              <a:rPr lang="en-AU" sz="2100" b="1" dirty="0">
                <a:solidFill>
                  <a:schemeClr val="accent5"/>
                </a:solidFill>
                <a:latin typeface="Arial" panose="020B0604020202020204" pitchFamily="34" charset="0"/>
                <a:cs typeface="Arial" panose="020B0604020202020204" pitchFamily="34" charset="0"/>
              </a:rPr>
              <a:t>40%</a:t>
            </a:r>
            <a:endParaRPr lang="en-US" sz="2100" b="1" dirty="0">
              <a:solidFill>
                <a:schemeClr val="accent5"/>
              </a:solidFill>
              <a:latin typeface="Arial" panose="020B0604020202020204" pitchFamily="34" charset="0"/>
              <a:cs typeface="Arial" panose="020B0604020202020204" pitchFamily="34" charset="0"/>
            </a:endParaRPr>
          </a:p>
        </p:txBody>
      </p:sp>
      <p:sp>
        <p:nvSpPr>
          <p:cNvPr id="12" name="Text Placeholder 32"/>
          <p:cNvSpPr txBox="1">
            <a:spLocks/>
          </p:cNvSpPr>
          <p:nvPr/>
        </p:nvSpPr>
        <p:spPr>
          <a:xfrm>
            <a:off x="6805498"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13" name="Text Placeholder 33"/>
          <p:cNvSpPr txBox="1">
            <a:spLocks/>
          </p:cNvSpPr>
          <p:nvPr/>
        </p:nvSpPr>
        <p:spPr>
          <a:xfrm>
            <a:off x="6805498"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Four</a:t>
            </a:r>
          </a:p>
        </p:txBody>
      </p:sp>
      <p:grpSp>
        <p:nvGrpSpPr>
          <p:cNvPr id="14" name="Group 13"/>
          <p:cNvGrpSpPr/>
          <p:nvPr/>
        </p:nvGrpSpPr>
        <p:grpSpPr>
          <a:xfrm>
            <a:off x="6880093" y="1582494"/>
            <a:ext cx="1399320" cy="1399320"/>
            <a:chOff x="1447864" y="1680671"/>
            <a:chExt cx="1256032" cy="1256032"/>
          </a:xfrm>
        </p:grpSpPr>
        <p:sp>
          <p:nvSpPr>
            <p:cNvPr id="15" name="Donut 14"/>
            <p:cNvSpPr/>
            <p:nvPr/>
          </p:nvSpPr>
          <p:spPr>
            <a:xfrm>
              <a:off x="1447864" y="1680671"/>
              <a:ext cx="1256032" cy="1256032"/>
            </a:xfrm>
            <a:prstGeom prst="donut">
              <a:avLst>
                <a:gd name="adj" fmla="val 11686"/>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sp>
          <p:nvSpPr>
            <p:cNvPr id="16" name="Block Arc 15"/>
            <p:cNvSpPr/>
            <p:nvPr/>
          </p:nvSpPr>
          <p:spPr>
            <a:xfrm>
              <a:off x="1447864" y="1680671"/>
              <a:ext cx="1256032" cy="1256032"/>
            </a:xfrm>
            <a:prstGeom prst="blockArc">
              <a:avLst>
                <a:gd name="adj1" fmla="val 16162069"/>
                <a:gd name="adj2" fmla="val 9513426"/>
                <a:gd name="adj3" fmla="val 1154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18" name="Rectangle 17"/>
          <p:cNvSpPr/>
          <p:nvPr/>
        </p:nvSpPr>
        <p:spPr>
          <a:xfrm>
            <a:off x="7221380" y="2049101"/>
            <a:ext cx="721672" cy="415498"/>
          </a:xfrm>
          <a:prstGeom prst="rect">
            <a:avLst/>
          </a:prstGeom>
        </p:spPr>
        <p:txBody>
          <a:bodyPr wrap="none">
            <a:spAutoFit/>
          </a:bodyPr>
          <a:lstStyle/>
          <a:p>
            <a:pPr algn="ctr"/>
            <a:r>
              <a:rPr lang="en-AU" sz="2100" b="1" dirty="0">
                <a:solidFill>
                  <a:schemeClr val="accent2"/>
                </a:solidFill>
                <a:latin typeface="Arial" panose="020B0604020202020204" pitchFamily="34" charset="0"/>
                <a:cs typeface="Arial" panose="020B0604020202020204" pitchFamily="34" charset="0"/>
              </a:rPr>
              <a:t>69%</a:t>
            </a:r>
            <a:endParaRPr lang="en-US" sz="2100" b="1" dirty="0">
              <a:solidFill>
                <a:schemeClr val="accent2"/>
              </a:solidFill>
              <a:latin typeface="Arial" panose="020B0604020202020204" pitchFamily="34" charset="0"/>
              <a:cs typeface="Arial" panose="020B0604020202020204" pitchFamily="34" charset="0"/>
            </a:endParaRPr>
          </a:p>
        </p:txBody>
      </p:sp>
      <p:sp>
        <p:nvSpPr>
          <p:cNvPr id="19" name="Text Placeholder 32"/>
          <p:cNvSpPr txBox="1">
            <a:spLocks/>
          </p:cNvSpPr>
          <p:nvPr/>
        </p:nvSpPr>
        <p:spPr>
          <a:xfrm>
            <a:off x="782656"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20" name="Text Placeholder 33"/>
          <p:cNvSpPr txBox="1">
            <a:spLocks/>
          </p:cNvSpPr>
          <p:nvPr/>
        </p:nvSpPr>
        <p:spPr>
          <a:xfrm>
            <a:off x="782656"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One</a:t>
            </a:r>
          </a:p>
        </p:txBody>
      </p:sp>
      <p:grpSp>
        <p:nvGrpSpPr>
          <p:cNvPr id="21" name="Group 20"/>
          <p:cNvGrpSpPr/>
          <p:nvPr/>
        </p:nvGrpSpPr>
        <p:grpSpPr>
          <a:xfrm>
            <a:off x="857250" y="1582494"/>
            <a:ext cx="1399320" cy="1399320"/>
            <a:chOff x="1447864" y="1680671"/>
            <a:chExt cx="1256032" cy="1256032"/>
          </a:xfrm>
        </p:grpSpPr>
        <p:sp>
          <p:nvSpPr>
            <p:cNvPr id="22" name="Donut 21"/>
            <p:cNvSpPr/>
            <p:nvPr/>
          </p:nvSpPr>
          <p:spPr>
            <a:xfrm>
              <a:off x="1447864" y="1680671"/>
              <a:ext cx="1256032" cy="1256032"/>
            </a:xfrm>
            <a:prstGeom prst="donut">
              <a:avLst>
                <a:gd name="adj" fmla="val 11686"/>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sp>
          <p:nvSpPr>
            <p:cNvPr id="23" name="Block Arc 22"/>
            <p:cNvSpPr/>
            <p:nvPr/>
          </p:nvSpPr>
          <p:spPr>
            <a:xfrm>
              <a:off x="1447864" y="1680671"/>
              <a:ext cx="1256032" cy="1256032"/>
            </a:xfrm>
            <a:prstGeom prst="blockArc">
              <a:avLst>
                <a:gd name="adj1" fmla="val 16162069"/>
                <a:gd name="adj2" fmla="val 0"/>
                <a:gd name="adj3" fmla="val 11812"/>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25" name="Rectangle 24"/>
          <p:cNvSpPr/>
          <p:nvPr/>
        </p:nvSpPr>
        <p:spPr>
          <a:xfrm>
            <a:off x="1198537" y="2049101"/>
            <a:ext cx="721672" cy="415498"/>
          </a:xfrm>
          <a:prstGeom prst="rect">
            <a:avLst/>
          </a:prstGeom>
        </p:spPr>
        <p:txBody>
          <a:bodyPr wrap="none">
            <a:spAutoFit/>
          </a:bodyPr>
          <a:lstStyle/>
          <a:p>
            <a:pPr algn="ctr"/>
            <a:r>
              <a:rPr lang="en-AU" sz="2100" b="1" dirty="0">
                <a:solidFill>
                  <a:schemeClr val="accent1"/>
                </a:solidFill>
                <a:latin typeface="Arial" panose="020B0604020202020204" pitchFamily="34" charset="0"/>
                <a:cs typeface="Arial" panose="020B0604020202020204" pitchFamily="34" charset="0"/>
              </a:rPr>
              <a:t>25%</a:t>
            </a:r>
            <a:endParaRPr lang="en-US" sz="2100" b="1" dirty="0">
              <a:solidFill>
                <a:schemeClr val="accent1"/>
              </a:solidFill>
              <a:latin typeface="Arial" panose="020B0604020202020204" pitchFamily="34" charset="0"/>
              <a:cs typeface="Arial" panose="020B0604020202020204" pitchFamily="34" charset="0"/>
            </a:endParaRPr>
          </a:p>
        </p:txBody>
      </p:sp>
      <p:sp>
        <p:nvSpPr>
          <p:cNvPr id="26" name="Text Placeholder 32"/>
          <p:cNvSpPr txBox="1">
            <a:spLocks/>
          </p:cNvSpPr>
          <p:nvPr/>
        </p:nvSpPr>
        <p:spPr>
          <a:xfrm>
            <a:off x="2780722" y="3443734"/>
            <a:ext cx="1545494" cy="649520"/>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spc="10" dirty="0">
                <a:solidFill>
                  <a:schemeClr val="accent5"/>
                </a:solidFill>
                <a:latin typeface="Arial" panose="020B0604020202020204" pitchFamily="34" charset="0"/>
                <a:cs typeface="Arial" panose="020B0604020202020204" pitchFamily="34" charset="0"/>
              </a:rPr>
              <a:t>Lorem ipsum dolor sit </a:t>
            </a:r>
            <a:r>
              <a:rPr lang="en-US" sz="800" spc="10" dirty="0" err="1">
                <a:solidFill>
                  <a:schemeClr val="accent5"/>
                </a:solidFill>
                <a:latin typeface="Arial" panose="020B0604020202020204" pitchFamily="34" charset="0"/>
                <a:cs typeface="Arial" panose="020B0604020202020204" pitchFamily="34" charset="0"/>
              </a:rPr>
              <a:t>ame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consectetu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adipiscing</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elit</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sed</a:t>
            </a:r>
            <a:r>
              <a:rPr lang="en-US" sz="800" spc="10" dirty="0">
                <a:solidFill>
                  <a:schemeClr val="accent5"/>
                </a:solidFill>
                <a:latin typeface="Arial" panose="020B0604020202020204" pitchFamily="34" charset="0"/>
                <a:cs typeface="Arial" panose="020B0604020202020204" pitchFamily="34" charset="0"/>
              </a:rPr>
              <a:t> do </a:t>
            </a:r>
            <a:r>
              <a:rPr lang="en-US" sz="800" spc="10" dirty="0" err="1">
                <a:solidFill>
                  <a:schemeClr val="accent5"/>
                </a:solidFill>
                <a:latin typeface="Arial" panose="020B0604020202020204" pitchFamily="34" charset="0"/>
                <a:cs typeface="Arial" panose="020B0604020202020204" pitchFamily="34" charset="0"/>
              </a:rPr>
              <a:t>eiusmod</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tempor</a:t>
            </a:r>
            <a:r>
              <a:rPr lang="en-US" sz="800" spc="10" dirty="0">
                <a:solidFill>
                  <a:schemeClr val="accent5"/>
                </a:solidFill>
                <a:latin typeface="Arial" panose="020B0604020202020204" pitchFamily="34" charset="0"/>
                <a:cs typeface="Arial" panose="020B0604020202020204" pitchFamily="34" charset="0"/>
              </a:rPr>
              <a:t> </a:t>
            </a:r>
            <a:r>
              <a:rPr lang="en-US" sz="800" spc="10" dirty="0" err="1">
                <a:solidFill>
                  <a:schemeClr val="accent5"/>
                </a:solidFill>
                <a:latin typeface="Arial" panose="020B0604020202020204" pitchFamily="34" charset="0"/>
                <a:cs typeface="Arial" panose="020B0604020202020204" pitchFamily="34" charset="0"/>
              </a:rPr>
              <a:t>incididunt</a:t>
            </a:r>
            <a:endParaRPr lang="en-US" sz="800" spc="10" dirty="0">
              <a:solidFill>
                <a:schemeClr val="accent5"/>
              </a:solidFill>
              <a:latin typeface="Arial" panose="020B0604020202020204" pitchFamily="34" charset="0"/>
              <a:cs typeface="Arial" panose="020B0604020202020204" pitchFamily="34" charset="0"/>
            </a:endParaRPr>
          </a:p>
        </p:txBody>
      </p:sp>
      <p:sp>
        <p:nvSpPr>
          <p:cNvPr id="27" name="Text Placeholder 33"/>
          <p:cNvSpPr txBox="1">
            <a:spLocks/>
          </p:cNvSpPr>
          <p:nvPr/>
        </p:nvSpPr>
        <p:spPr>
          <a:xfrm>
            <a:off x="2780722" y="3193088"/>
            <a:ext cx="1545494" cy="278645"/>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b="1" dirty="0">
                <a:latin typeface="Arial" panose="020B0604020202020204" pitchFamily="34" charset="0"/>
                <a:cs typeface="Arial" panose="020B0604020202020204" pitchFamily="34" charset="0"/>
              </a:rPr>
              <a:t>Headline Two</a:t>
            </a:r>
          </a:p>
        </p:txBody>
      </p:sp>
      <p:grpSp>
        <p:nvGrpSpPr>
          <p:cNvPr id="28" name="Group 27"/>
          <p:cNvGrpSpPr/>
          <p:nvPr/>
        </p:nvGrpSpPr>
        <p:grpSpPr>
          <a:xfrm>
            <a:off x="2855317" y="1582494"/>
            <a:ext cx="1399320" cy="1399320"/>
            <a:chOff x="1447864" y="1680671"/>
            <a:chExt cx="1256032" cy="1256032"/>
          </a:xfrm>
          <a:effectLst/>
        </p:grpSpPr>
        <p:sp>
          <p:nvSpPr>
            <p:cNvPr id="29" name="Donut 28"/>
            <p:cNvSpPr/>
            <p:nvPr/>
          </p:nvSpPr>
          <p:spPr>
            <a:xfrm>
              <a:off x="1447864" y="1680671"/>
              <a:ext cx="1256032" cy="1256032"/>
            </a:xfrm>
            <a:prstGeom prst="donut">
              <a:avLst>
                <a:gd name="adj" fmla="val 11686"/>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30" name="Block Arc 29"/>
            <p:cNvSpPr/>
            <p:nvPr/>
          </p:nvSpPr>
          <p:spPr>
            <a:xfrm>
              <a:off x="1447864" y="1680671"/>
              <a:ext cx="1256032" cy="1256032"/>
            </a:xfrm>
            <a:prstGeom prst="blockArc">
              <a:avLst>
                <a:gd name="adj1" fmla="val 16162069"/>
                <a:gd name="adj2" fmla="val 9513426"/>
                <a:gd name="adj3" fmla="val 11542"/>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schemeClr val="tx1"/>
                </a:solidFill>
                <a:latin typeface="Arial" panose="020B0604020202020204" pitchFamily="34" charset="0"/>
                <a:cs typeface="Arial" panose="020B0604020202020204" pitchFamily="34" charset="0"/>
              </a:endParaRPr>
            </a:p>
          </p:txBody>
        </p:sp>
      </p:grpSp>
      <p:sp>
        <p:nvSpPr>
          <p:cNvPr id="32" name="Rectangle 31"/>
          <p:cNvSpPr/>
          <p:nvPr/>
        </p:nvSpPr>
        <p:spPr>
          <a:xfrm>
            <a:off x="3196604" y="2049101"/>
            <a:ext cx="721672" cy="415498"/>
          </a:xfrm>
          <a:prstGeom prst="rect">
            <a:avLst/>
          </a:prstGeom>
        </p:spPr>
        <p:txBody>
          <a:bodyPr wrap="none">
            <a:spAutoFit/>
          </a:bodyPr>
          <a:lstStyle/>
          <a:p>
            <a:pPr algn="ctr"/>
            <a:r>
              <a:rPr lang="en-AU" sz="2100" b="1" dirty="0">
                <a:solidFill>
                  <a:schemeClr val="accent3"/>
                </a:solidFill>
                <a:latin typeface="Arial" panose="020B0604020202020204" pitchFamily="34" charset="0"/>
                <a:cs typeface="Arial" panose="020B0604020202020204" pitchFamily="34" charset="0"/>
              </a:rPr>
              <a:t>69%</a:t>
            </a:r>
            <a:endParaRPr lang="en-US" sz="2100" b="1"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218175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080409" y="1"/>
            <a:ext cx="3063591" cy="51434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4" name="Text Placeholder 3"/>
          <p:cNvSpPr>
            <a:spLocks noGrp="1"/>
          </p:cNvSpPr>
          <p:nvPr>
            <p:ph type="body" sz="quarter" idx="16"/>
          </p:nvPr>
        </p:nvSpPr>
        <p:spPr>
          <a:xfrm>
            <a:off x="465188" y="894740"/>
            <a:ext cx="5489046" cy="170816"/>
          </a:xfrm>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Chart with callouts</a:t>
            </a:r>
          </a:p>
        </p:txBody>
      </p:sp>
      <p:graphicFrame>
        <p:nvGraphicFramePr>
          <p:cNvPr id="7" name="Chart 6"/>
          <p:cNvGraphicFramePr/>
          <p:nvPr>
            <p:extLst>
              <p:ext uri="{D42A27DB-BD31-4B8C-83A1-F6EECF244321}">
                <p14:modId xmlns:p14="http://schemas.microsoft.com/office/powerpoint/2010/main" val="1047988982"/>
              </p:ext>
            </p:extLst>
          </p:nvPr>
        </p:nvGraphicFramePr>
        <p:xfrm>
          <a:off x="884040" y="1593840"/>
          <a:ext cx="4470356" cy="3246116"/>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p:cNvGrpSpPr/>
          <p:nvPr/>
        </p:nvGrpSpPr>
        <p:grpSpPr>
          <a:xfrm>
            <a:off x="4945453" y="1159807"/>
            <a:ext cx="408943" cy="419089"/>
            <a:chOff x="4059092" y="1752952"/>
            <a:chExt cx="585787" cy="600321"/>
          </a:xfrm>
          <a:solidFill>
            <a:schemeClr val="accent2"/>
          </a:solidFill>
        </p:grpSpPr>
        <p:sp>
          <p:nvSpPr>
            <p:cNvPr id="9" name="Rectangle 8"/>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0" name="Oval 9"/>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2</a:t>
              </a:r>
            </a:p>
          </p:txBody>
        </p:sp>
      </p:grpSp>
      <p:grpSp>
        <p:nvGrpSpPr>
          <p:cNvPr id="11" name="Group 10"/>
          <p:cNvGrpSpPr/>
          <p:nvPr/>
        </p:nvGrpSpPr>
        <p:grpSpPr>
          <a:xfrm>
            <a:off x="1162397" y="2936964"/>
            <a:ext cx="408943" cy="419089"/>
            <a:chOff x="4059092" y="1752952"/>
            <a:chExt cx="585787" cy="600321"/>
          </a:xfrm>
          <a:solidFill>
            <a:schemeClr val="accent1"/>
          </a:solidFill>
        </p:grpSpPr>
        <p:sp>
          <p:nvSpPr>
            <p:cNvPr id="12" name="Rectangle 11"/>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3" name="Oval 12"/>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dirty="0">
                  <a:solidFill>
                    <a:schemeClr val="bg1"/>
                  </a:solidFill>
                  <a:latin typeface="+mj-lt"/>
                </a:rPr>
                <a:t>1</a:t>
              </a:r>
            </a:p>
          </p:txBody>
        </p:sp>
      </p:grpSp>
      <p:sp>
        <p:nvSpPr>
          <p:cNvPr id="14" name="Text Placeholder 32"/>
          <p:cNvSpPr txBox="1">
            <a:spLocks/>
          </p:cNvSpPr>
          <p:nvPr/>
        </p:nvSpPr>
        <p:spPr>
          <a:xfrm>
            <a:off x="6380584" y="1160560"/>
            <a:ext cx="2493872" cy="72069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err="1">
                <a:gradFill>
                  <a:gsLst>
                    <a:gs pos="0">
                      <a:schemeClr val="bg1"/>
                    </a:gs>
                    <a:gs pos="98000">
                      <a:schemeClr val="bg1"/>
                    </a:gs>
                  </a:gsLst>
                  <a:lin ang="5400000" scaled="1"/>
                </a:gradFill>
                <a:latin typeface="+mj-lt"/>
              </a:rPr>
              <a:t>Liquorice</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a</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chups</a:t>
            </a:r>
            <a:r>
              <a:rPr lang="en-US" sz="800">
                <a:gradFill>
                  <a:gsLst>
                    <a:gs pos="0">
                      <a:schemeClr val="bg1"/>
                    </a:gs>
                    <a:gs pos="98000">
                      <a:schemeClr val="bg1"/>
                    </a:gs>
                  </a:gsLst>
                  <a:lin ang="5400000" scaled="1"/>
                </a:gradFill>
                <a:latin typeface="+mj-lt"/>
              </a:rPr>
              <a:t> </a:t>
            </a:r>
            <a:r>
              <a:rPr lang="en-US" sz="800" err="1">
                <a:gradFill>
                  <a:gsLst>
                    <a:gs pos="0">
                      <a:schemeClr val="bg1"/>
                    </a:gs>
                    <a:gs pos="98000">
                      <a:schemeClr val="bg1"/>
                    </a:gs>
                  </a:gsLst>
                  <a:lin ang="5400000" scaled="1"/>
                </a:gradFill>
                <a:latin typeface="+mj-lt"/>
              </a:rPr>
              <a:t>applicake</a:t>
            </a:r>
            <a:r>
              <a:rPr lang="en-US" sz="800">
                <a:gradFill>
                  <a:gsLst>
                    <a:gs pos="0">
                      <a:schemeClr val="bg1"/>
                    </a:gs>
                    <a:gs pos="98000">
                      <a:schemeClr val="bg1"/>
                    </a:gs>
                  </a:gsLst>
                  <a:lin ang="5400000" scaled="1"/>
                </a:gradFill>
                <a:latin typeface="+mj-lt"/>
              </a:rPr>
              <a:t> apple pie cupcake brownie bear claw gingerbread cotton candy. Bear claw croissant apple pie. Croissant cake tart liquorice tart pastry. iscuit wafer sweet apple pie. </a:t>
            </a:r>
          </a:p>
        </p:txBody>
      </p:sp>
      <p:sp>
        <p:nvSpPr>
          <p:cNvPr id="15" name="Text Placeholder 33"/>
          <p:cNvSpPr txBox="1">
            <a:spLocks/>
          </p:cNvSpPr>
          <p:nvPr/>
        </p:nvSpPr>
        <p:spPr>
          <a:xfrm>
            <a:off x="6371904" y="92854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dirty="0">
                <a:gradFill>
                  <a:gsLst>
                    <a:gs pos="0">
                      <a:schemeClr val="bg1"/>
                    </a:gs>
                    <a:gs pos="98000">
                      <a:schemeClr val="bg1"/>
                    </a:gs>
                  </a:gsLst>
                  <a:lin ang="5400000" scaled="1"/>
                </a:gradFill>
                <a:latin typeface="+mj-lt"/>
              </a:rPr>
              <a:t>Customer Data Analysis</a:t>
            </a:r>
          </a:p>
        </p:txBody>
      </p:sp>
      <p:sp>
        <p:nvSpPr>
          <p:cNvPr id="16" name="Text Placeholder 33"/>
          <p:cNvSpPr txBox="1">
            <a:spLocks/>
          </p:cNvSpPr>
          <p:nvPr/>
        </p:nvSpPr>
        <p:spPr>
          <a:xfrm>
            <a:off x="6360793" y="56387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0</a:t>
            </a:r>
          </a:p>
        </p:txBody>
      </p:sp>
      <p:sp>
        <p:nvSpPr>
          <p:cNvPr id="17" name="Text Placeholder 32"/>
          <p:cNvSpPr txBox="1">
            <a:spLocks/>
          </p:cNvSpPr>
          <p:nvPr/>
        </p:nvSpPr>
        <p:spPr>
          <a:xfrm>
            <a:off x="6380584" y="2679250"/>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18" name="Text Placeholder 33"/>
          <p:cNvSpPr txBox="1">
            <a:spLocks/>
          </p:cNvSpPr>
          <p:nvPr/>
        </p:nvSpPr>
        <p:spPr>
          <a:xfrm>
            <a:off x="6371904" y="2447232"/>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19" name="Text Placeholder 33"/>
          <p:cNvSpPr txBox="1">
            <a:spLocks/>
          </p:cNvSpPr>
          <p:nvPr/>
        </p:nvSpPr>
        <p:spPr>
          <a:xfrm>
            <a:off x="6360793" y="2082563"/>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1</a:t>
            </a:r>
          </a:p>
        </p:txBody>
      </p:sp>
      <p:sp>
        <p:nvSpPr>
          <p:cNvPr id="20" name="Text Placeholder 32"/>
          <p:cNvSpPr txBox="1">
            <a:spLocks/>
          </p:cNvSpPr>
          <p:nvPr/>
        </p:nvSpPr>
        <p:spPr>
          <a:xfrm>
            <a:off x="6380584" y="3802401"/>
            <a:ext cx="2493872" cy="442046"/>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50000"/>
              </a:lnSpc>
              <a:buNone/>
            </a:pPr>
            <a:r>
              <a:rPr lang="en-US" sz="800">
                <a:gradFill>
                  <a:gsLst>
                    <a:gs pos="0">
                      <a:schemeClr val="bg1"/>
                    </a:gs>
                    <a:gs pos="98000">
                      <a:schemeClr val="bg1"/>
                    </a:gs>
                  </a:gsLst>
                  <a:lin ang="5400000" scaled="1"/>
                </a:gradFill>
                <a:latin typeface="+mj-lt"/>
              </a:rPr>
              <a:t>Liquorice chupa chups applicake apple pie cupcake brownie bear claw gingerbread cotton candy. </a:t>
            </a:r>
          </a:p>
        </p:txBody>
      </p:sp>
      <p:sp>
        <p:nvSpPr>
          <p:cNvPr id="21" name="Text Placeholder 33"/>
          <p:cNvSpPr txBox="1">
            <a:spLocks/>
          </p:cNvSpPr>
          <p:nvPr/>
        </p:nvSpPr>
        <p:spPr>
          <a:xfrm>
            <a:off x="6371904" y="3570383"/>
            <a:ext cx="2503937" cy="1752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sz="1200">
                <a:gradFill>
                  <a:gsLst>
                    <a:gs pos="0">
                      <a:schemeClr val="bg1"/>
                    </a:gs>
                    <a:gs pos="98000">
                      <a:schemeClr val="bg1"/>
                    </a:gs>
                  </a:gsLst>
                  <a:lin ang="5400000" scaled="1"/>
                </a:gradFill>
                <a:latin typeface="+mj-lt"/>
              </a:rPr>
              <a:t>Customer Data Analysis</a:t>
            </a:r>
          </a:p>
        </p:txBody>
      </p:sp>
      <p:sp>
        <p:nvSpPr>
          <p:cNvPr id="22" name="Text Placeholder 33"/>
          <p:cNvSpPr txBox="1">
            <a:spLocks/>
          </p:cNvSpPr>
          <p:nvPr/>
        </p:nvSpPr>
        <p:spPr>
          <a:xfrm>
            <a:off x="6360793" y="3205714"/>
            <a:ext cx="1090885" cy="317821"/>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AU" dirty="0">
                <a:gradFill>
                  <a:gsLst>
                    <a:gs pos="0">
                      <a:schemeClr val="bg1"/>
                    </a:gs>
                    <a:gs pos="98000">
                      <a:schemeClr val="bg1"/>
                    </a:gs>
                  </a:gsLst>
                  <a:lin ang="5400000" scaled="1"/>
                </a:gradFill>
                <a:latin typeface="+mj-lt"/>
              </a:rPr>
              <a:t>2022</a:t>
            </a:r>
          </a:p>
        </p:txBody>
      </p:sp>
      <p:pic>
        <p:nvPicPr>
          <p:cNvPr id="2" name="Picture 1" descr="A picture containing logo&#10;&#10;Description automatically generated">
            <a:extLst>
              <a:ext uri="{FF2B5EF4-FFF2-40B4-BE49-F238E27FC236}">
                <a16:creationId xmlns:a16="http://schemas.microsoft.com/office/drawing/2014/main" id="{E516EC8C-2A31-3E2F-1FBF-9BC5CF5AAF9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FDFDCF4F-AC6F-4EC6-A017-AA2A5F6254DC}"/>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32</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258887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24" name="Text Placeholder 23"/>
          <p:cNvSpPr>
            <a:spLocks noGrp="1"/>
          </p:cNvSpPr>
          <p:nvPr>
            <p:ph type="body" sz="quarter" idx="17"/>
          </p:nvPr>
        </p:nvSpPr>
        <p:spPr/>
        <p:txBody>
          <a:bodyPr/>
          <a:lstStyle/>
          <a:p>
            <a:r>
              <a:rPr lang="en-US" dirty="0">
                <a:solidFill>
                  <a:schemeClr val="accent1"/>
                </a:solidFill>
              </a:rPr>
              <a:t>Chart</a:t>
            </a:r>
          </a:p>
        </p:txBody>
      </p:sp>
      <p:graphicFrame>
        <p:nvGraphicFramePr>
          <p:cNvPr id="5" name="Chart 4"/>
          <p:cNvGraphicFramePr/>
          <p:nvPr>
            <p:extLst>
              <p:ext uri="{D42A27DB-BD31-4B8C-83A1-F6EECF244321}">
                <p14:modId xmlns:p14="http://schemas.microsoft.com/office/powerpoint/2010/main" val="3403136735"/>
              </p:ext>
            </p:extLst>
          </p:nvPr>
        </p:nvGraphicFramePr>
        <p:xfrm>
          <a:off x="483498" y="1264027"/>
          <a:ext cx="5983248" cy="3189168"/>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p:cNvGrpSpPr/>
          <p:nvPr/>
        </p:nvGrpSpPr>
        <p:grpSpPr>
          <a:xfrm>
            <a:off x="2304766" y="2106309"/>
            <a:ext cx="408943" cy="419089"/>
            <a:chOff x="4059092" y="1752952"/>
            <a:chExt cx="585787" cy="600321"/>
          </a:xfrm>
          <a:solidFill>
            <a:schemeClr val="accent2"/>
          </a:solidFill>
        </p:grpSpPr>
        <p:sp>
          <p:nvSpPr>
            <p:cNvPr id="7" name="Rectangle 6"/>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8" name="Oval 7"/>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1</a:t>
              </a:r>
              <a:endParaRPr lang="en-US" sz="1200">
                <a:solidFill>
                  <a:schemeClr val="bg1"/>
                </a:solidFill>
                <a:latin typeface="+mj-lt"/>
              </a:endParaRPr>
            </a:p>
          </p:txBody>
        </p:sp>
      </p:grpSp>
      <p:grpSp>
        <p:nvGrpSpPr>
          <p:cNvPr id="9" name="Group 8"/>
          <p:cNvGrpSpPr/>
          <p:nvPr/>
        </p:nvGrpSpPr>
        <p:grpSpPr>
          <a:xfrm>
            <a:off x="4571226" y="1213879"/>
            <a:ext cx="408943" cy="419089"/>
            <a:chOff x="4059092" y="1752952"/>
            <a:chExt cx="585787" cy="600321"/>
          </a:xfrm>
          <a:solidFill>
            <a:schemeClr val="accent3"/>
          </a:solidFill>
        </p:grpSpPr>
        <p:sp>
          <p:nvSpPr>
            <p:cNvPr id="10" name="Rectangle 9"/>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1" name="Oval 10"/>
            <p:cNvSpPr/>
            <p:nvPr/>
          </p:nvSpPr>
          <p:spPr>
            <a:xfrm>
              <a:off x="4059092" y="1752952"/>
              <a:ext cx="585787" cy="58578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grpSp>
      <p:grpSp>
        <p:nvGrpSpPr>
          <p:cNvPr id="12" name="Group 11"/>
          <p:cNvGrpSpPr/>
          <p:nvPr/>
        </p:nvGrpSpPr>
        <p:grpSpPr>
          <a:xfrm>
            <a:off x="5692709" y="1107692"/>
            <a:ext cx="408943" cy="419089"/>
            <a:chOff x="4059092" y="1752952"/>
            <a:chExt cx="585787" cy="600321"/>
          </a:xfrm>
          <a:solidFill>
            <a:schemeClr val="accent6"/>
          </a:solidFill>
        </p:grpSpPr>
        <p:sp>
          <p:nvSpPr>
            <p:cNvPr id="13" name="Rectangle 12"/>
            <p:cNvSpPr/>
            <p:nvPr/>
          </p:nvSpPr>
          <p:spPr>
            <a:xfrm rot="2700000">
              <a:off x="4242258" y="2133817"/>
              <a:ext cx="219456" cy="21945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350">
                <a:latin typeface="+mj-lt"/>
              </a:endParaRPr>
            </a:p>
          </p:txBody>
        </p:sp>
        <p:sp>
          <p:nvSpPr>
            <p:cNvPr id="14" name="Oval 13"/>
            <p:cNvSpPr/>
            <p:nvPr/>
          </p:nvSpPr>
          <p:spPr>
            <a:xfrm>
              <a:off x="4059092" y="1752952"/>
              <a:ext cx="585787" cy="58578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grpSp>
      <p:sp>
        <p:nvSpPr>
          <p:cNvPr id="15" name="Oval 14"/>
          <p:cNvSpPr/>
          <p:nvPr/>
        </p:nvSpPr>
        <p:spPr>
          <a:xfrm flipH="1">
            <a:off x="6697831" y="1664698"/>
            <a:ext cx="408943" cy="40894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1</a:t>
            </a:r>
          </a:p>
        </p:txBody>
      </p:sp>
      <p:sp>
        <p:nvSpPr>
          <p:cNvPr id="16" name="Text Placeholder 32"/>
          <p:cNvSpPr txBox="1">
            <a:spLocks/>
          </p:cNvSpPr>
          <p:nvPr/>
        </p:nvSpPr>
        <p:spPr>
          <a:xfrm>
            <a:off x="7239775" y="2508645"/>
            <a:ext cx="1532749"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17" name="Text Placeholder 33"/>
          <p:cNvSpPr txBox="1">
            <a:spLocks/>
          </p:cNvSpPr>
          <p:nvPr/>
        </p:nvSpPr>
        <p:spPr>
          <a:xfrm>
            <a:off x="7228690" y="2343150"/>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latin typeface="+mj-lt"/>
              </a:rPr>
              <a:t>Headline</a:t>
            </a:r>
          </a:p>
        </p:txBody>
      </p:sp>
      <p:sp>
        <p:nvSpPr>
          <p:cNvPr id="18" name="Text Placeholder 32"/>
          <p:cNvSpPr txBox="1">
            <a:spLocks/>
          </p:cNvSpPr>
          <p:nvPr/>
        </p:nvSpPr>
        <p:spPr>
          <a:xfrm>
            <a:off x="7225951" y="1791167"/>
            <a:ext cx="1590198"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19" name="Text Placeholder 33"/>
          <p:cNvSpPr txBox="1">
            <a:spLocks/>
          </p:cNvSpPr>
          <p:nvPr/>
        </p:nvSpPr>
        <p:spPr>
          <a:xfrm>
            <a:off x="7214867" y="1625672"/>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solidFill>
                  <a:schemeClr val="accent2"/>
                </a:solidFill>
                <a:latin typeface="+mj-lt"/>
              </a:rPr>
              <a:t>Headline</a:t>
            </a:r>
          </a:p>
        </p:txBody>
      </p:sp>
      <p:sp>
        <p:nvSpPr>
          <p:cNvPr id="20" name="Text Placeholder 32"/>
          <p:cNvSpPr txBox="1">
            <a:spLocks/>
          </p:cNvSpPr>
          <p:nvPr/>
        </p:nvSpPr>
        <p:spPr>
          <a:xfrm>
            <a:off x="7235553" y="3199692"/>
            <a:ext cx="1550405" cy="299982"/>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buNone/>
            </a:pPr>
            <a:r>
              <a:rPr lang="en-US" sz="800" dirty="0">
                <a:solidFill>
                  <a:schemeClr val="accent5"/>
                </a:solidFill>
                <a:latin typeface="+mj-lt"/>
              </a:rPr>
              <a:t>Lorem </a:t>
            </a:r>
            <a:r>
              <a:rPr lang="en-US" sz="800" dirty="0" err="1">
                <a:solidFill>
                  <a:schemeClr val="accent5"/>
                </a:solidFill>
                <a:latin typeface="+mj-lt"/>
              </a:rPr>
              <a:t>ispum</a:t>
            </a:r>
            <a:r>
              <a:rPr lang="en-US" sz="800" dirty="0">
                <a:solidFill>
                  <a:schemeClr val="accent5"/>
                </a:solidFill>
                <a:latin typeface="+mj-lt"/>
              </a:rPr>
              <a:t> </a:t>
            </a:r>
            <a:r>
              <a:rPr lang="en-US" sz="800" dirty="0" err="1">
                <a:solidFill>
                  <a:schemeClr val="accent5"/>
                </a:solidFill>
                <a:latin typeface="+mj-lt"/>
              </a:rPr>
              <a:t>dolar</a:t>
            </a:r>
            <a:r>
              <a:rPr lang="en-US" sz="800" dirty="0">
                <a:solidFill>
                  <a:schemeClr val="accent5"/>
                </a:solidFill>
                <a:latin typeface="+mj-lt"/>
              </a:rPr>
              <a:t> site </a:t>
            </a:r>
            <a:r>
              <a:rPr lang="en-US" sz="800" dirty="0" err="1">
                <a:solidFill>
                  <a:schemeClr val="accent5"/>
                </a:solidFill>
                <a:latin typeface="+mj-lt"/>
              </a:rPr>
              <a:t>amet</a:t>
            </a:r>
            <a:r>
              <a:rPr lang="en-US" sz="800" dirty="0">
                <a:solidFill>
                  <a:schemeClr val="accent5"/>
                </a:solidFill>
                <a:latin typeface="+mj-lt"/>
              </a:rPr>
              <a:t> </a:t>
            </a:r>
            <a:r>
              <a:rPr lang="en-US" sz="800" dirty="0" err="1">
                <a:solidFill>
                  <a:schemeClr val="accent5"/>
                </a:solidFill>
                <a:latin typeface="+mj-lt"/>
              </a:rPr>
              <a:t>dinso</a:t>
            </a:r>
            <a:r>
              <a:rPr lang="en-US" sz="800" dirty="0">
                <a:solidFill>
                  <a:schemeClr val="accent5"/>
                </a:solidFill>
                <a:latin typeface="+mj-lt"/>
              </a:rPr>
              <a:t> hem </a:t>
            </a:r>
            <a:r>
              <a:rPr lang="en-US" sz="800" dirty="0" err="1">
                <a:solidFill>
                  <a:schemeClr val="accent5"/>
                </a:solidFill>
                <a:latin typeface="+mj-lt"/>
              </a:rPr>
              <a:t>licj</a:t>
            </a:r>
            <a:r>
              <a:rPr lang="en-US" sz="800" dirty="0">
                <a:solidFill>
                  <a:schemeClr val="accent5"/>
                </a:solidFill>
                <a:latin typeface="+mj-lt"/>
              </a:rPr>
              <a:t> qwerty </a:t>
            </a:r>
            <a:r>
              <a:rPr lang="en-US" sz="800" dirty="0" err="1">
                <a:solidFill>
                  <a:schemeClr val="accent5"/>
                </a:solidFill>
                <a:latin typeface="+mj-lt"/>
              </a:rPr>
              <a:t>inso</a:t>
            </a:r>
            <a:r>
              <a:rPr lang="en-US" sz="800" dirty="0">
                <a:solidFill>
                  <a:schemeClr val="accent5"/>
                </a:solidFill>
                <a:latin typeface="+mj-lt"/>
              </a:rPr>
              <a:t> </a:t>
            </a:r>
            <a:r>
              <a:rPr lang="en-US" sz="800" dirty="0" err="1">
                <a:solidFill>
                  <a:schemeClr val="accent5"/>
                </a:solidFill>
                <a:latin typeface="+mj-lt"/>
              </a:rPr>
              <a:t>erkilum</a:t>
            </a:r>
            <a:endParaRPr lang="en-US" sz="800" dirty="0">
              <a:solidFill>
                <a:schemeClr val="accent5"/>
              </a:solidFill>
              <a:latin typeface="+mj-lt"/>
            </a:endParaRPr>
          </a:p>
        </p:txBody>
      </p:sp>
      <p:sp>
        <p:nvSpPr>
          <p:cNvPr id="21" name="Text Placeholder 33"/>
          <p:cNvSpPr txBox="1">
            <a:spLocks/>
          </p:cNvSpPr>
          <p:nvPr/>
        </p:nvSpPr>
        <p:spPr>
          <a:xfrm>
            <a:off x="7224467" y="3034197"/>
            <a:ext cx="1424075" cy="195458"/>
          </a:xfrm>
          <a:prstGeom prst="rect">
            <a:avLst/>
          </a:prstGeom>
        </p:spPr>
        <p:txBody>
          <a:bodyPr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25000"/>
              </a:lnSpc>
              <a:spcBef>
                <a:spcPts val="0"/>
              </a:spcBef>
              <a:buNone/>
            </a:pPr>
            <a:r>
              <a:rPr lang="en-AU" sz="975" b="1" dirty="0">
                <a:solidFill>
                  <a:schemeClr val="accent5"/>
                </a:solidFill>
                <a:latin typeface="+mj-lt"/>
              </a:rPr>
              <a:t>Headline</a:t>
            </a:r>
          </a:p>
        </p:txBody>
      </p:sp>
      <p:sp>
        <p:nvSpPr>
          <p:cNvPr id="22" name="Oval 21"/>
          <p:cNvSpPr/>
          <p:nvPr/>
        </p:nvSpPr>
        <p:spPr>
          <a:xfrm flipH="1">
            <a:off x="6708305" y="2374654"/>
            <a:ext cx="408943" cy="4089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2</a:t>
            </a:r>
            <a:endParaRPr lang="en-US" sz="1200">
              <a:solidFill>
                <a:schemeClr val="bg1"/>
              </a:solidFill>
              <a:latin typeface="+mj-lt"/>
            </a:endParaRPr>
          </a:p>
        </p:txBody>
      </p:sp>
      <p:sp>
        <p:nvSpPr>
          <p:cNvPr id="23" name="Oval 22"/>
          <p:cNvSpPr/>
          <p:nvPr/>
        </p:nvSpPr>
        <p:spPr>
          <a:xfrm flipH="1">
            <a:off x="6708305" y="3034197"/>
            <a:ext cx="408943" cy="40894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a:solidFill>
                  <a:schemeClr val="bg1"/>
                </a:solidFill>
                <a:latin typeface="+mj-lt"/>
              </a:rPr>
              <a:t>3</a:t>
            </a:r>
          </a:p>
        </p:txBody>
      </p:sp>
    </p:spTree>
    <p:extLst>
      <p:ext uri="{BB962C8B-B14F-4D97-AF65-F5344CB8AC3E}">
        <p14:creationId xmlns:p14="http://schemas.microsoft.com/office/powerpoint/2010/main" val="846804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6"/>
          </p:nvPr>
        </p:nvSpPr>
        <p:spPr/>
        <p:txBody>
          <a:bodyPr/>
          <a:lstStyle/>
          <a:p>
            <a:endParaRPr lang="en-US" dirty="0">
              <a:solidFill>
                <a:schemeClr val="tx1"/>
              </a:solidFill>
            </a:endParaRPr>
          </a:p>
        </p:txBody>
      </p:sp>
      <p:sp>
        <p:nvSpPr>
          <p:cNvPr id="3" name="Text Placeholder 2"/>
          <p:cNvSpPr>
            <a:spLocks noGrp="1"/>
          </p:cNvSpPr>
          <p:nvPr>
            <p:ph type="body" sz="quarter" idx="17"/>
          </p:nvPr>
        </p:nvSpPr>
        <p:spPr/>
        <p:txBody>
          <a:bodyPr/>
          <a:lstStyle/>
          <a:p>
            <a:r>
              <a:rPr lang="en-US" dirty="0">
                <a:solidFill>
                  <a:schemeClr val="accent1"/>
                </a:solidFill>
              </a:rPr>
              <a:t>Pie charts</a:t>
            </a:r>
          </a:p>
        </p:txBody>
      </p:sp>
      <p:graphicFrame>
        <p:nvGraphicFramePr>
          <p:cNvPr id="22" name="Content Placeholder 3"/>
          <p:cNvGraphicFramePr>
            <a:graphicFrameLocks/>
          </p:cNvGraphicFramePr>
          <p:nvPr>
            <p:extLst>
              <p:ext uri="{D42A27DB-BD31-4B8C-83A1-F6EECF244321}">
                <p14:modId xmlns:p14="http://schemas.microsoft.com/office/powerpoint/2010/main" val="752267951"/>
              </p:ext>
            </p:extLst>
          </p:nvPr>
        </p:nvGraphicFramePr>
        <p:xfrm>
          <a:off x="822568" y="1483829"/>
          <a:ext cx="3322823" cy="2665568"/>
        </p:xfrm>
        <a:graphic>
          <a:graphicData uri="http://schemas.openxmlformats.org/drawingml/2006/chart">
            <c:chart xmlns:c="http://schemas.openxmlformats.org/drawingml/2006/chart" xmlns:r="http://schemas.openxmlformats.org/officeDocument/2006/relationships" r:id="rId7"/>
          </a:graphicData>
        </a:graphic>
      </p:graphicFrame>
      <p:sp>
        <p:nvSpPr>
          <p:cNvPr id="23" name="Text Placeholder 12"/>
          <p:cNvSpPr>
            <a:spLocks/>
          </p:cNvSpPr>
          <p:nvPr>
            <p:custDataLst>
              <p:tags r:id="rId1"/>
            </p:custDataLst>
          </p:nvPr>
        </p:nvSpPr>
        <p:spPr bwMode="auto">
          <a:xfrm>
            <a:off x="1285151"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373737">
                    <a:lumMod val="75000"/>
                  </a:srgbClr>
                </a:solidFill>
                <a:effectLst/>
                <a:uLnTx/>
                <a:uFillTx/>
                <a:latin typeface="Arial"/>
                <a:ea typeface="+mn-ea"/>
                <a:cs typeface="+mn-cs"/>
              </a:rPr>
              <a:t>Multi-colored</a:t>
            </a:r>
          </a:p>
        </p:txBody>
      </p:sp>
      <p:graphicFrame>
        <p:nvGraphicFramePr>
          <p:cNvPr id="25" name="Content Placeholder 3"/>
          <p:cNvGraphicFramePr>
            <a:graphicFrameLocks/>
          </p:cNvGraphicFramePr>
          <p:nvPr>
            <p:extLst>
              <p:ext uri="{D42A27DB-BD31-4B8C-83A1-F6EECF244321}">
                <p14:modId xmlns:p14="http://schemas.microsoft.com/office/powerpoint/2010/main" val="1760287649"/>
              </p:ext>
            </p:extLst>
          </p:nvPr>
        </p:nvGraphicFramePr>
        <p:xfrm>
          <a:off x="5515647" y="1483829"/>
          <a:ext cx="3093424" cy="2665568"/>
        </p:xfrm>
        <a:graphic>
          <a:graphicData uri="http://schemas.openxmlformats.org/drawingml/2006/chart">
            <c:chart xmlns:c="http://schemas.openxmlformats.org/drawingml/2006/chart" xmlns:r="http://schemas.openxmlformats.org/officeDocument/2006/relationships" r:id="rId8"/>
          </a:graphicData>
        </a:graphic>
      </p:graphicFrame>
      <p:sp>
        <p:nvSpPr>
          <p:cNvPr id="27" name="Text Placeholder 12"/>
          <p:cNvSpPr>
            <a:spLocks/>
          </p:cNvSpPr>
          <p:nvPr>
            <p:custDataLst>
              <p:tags r:id="rId2"/>
            </p:custDataLst>
          </p:nvPr>
        </p:nvSpPr>
        <p:spPr bwMode="auto">
          <a:xfrm>
            <a:off x="5841683" y="1503433"/>
            <a:ext cx="1757339" cy="246221"/>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600" dirty="0">
                <a:solidFill>
                  <a:srgbClr val="373737">
                    <a:lumMod val="75000"/>
                  </a:srgbClr>
                </a:solidFill>
                <a:latin typeface="Arial"/>
              </a:rPr>
              <a:t>Donut</a:t>
            </a:r>
          </a:p>
        </p:txBody>
      </p:sp>
      <p:sp>
        <p:nvSpPr>
          <p:cNvPr id="26" name="TextBox 33"/>
          <p:cNvSpPr txBox="1"/>
          <p:nvPr/>
        </p:nvSpPr>
        <p:spPr>
          <a:xfrm>
            <a:off x="6063559" y="2846395"/>
            <a:ext cx="1420618" cy="356251"/>
          </a:xfrm>
          <a:prstGeom prst="rect">
            <a:avLst/>
          </a:prstGeom>
          <a:noFill/>
        </p:spPr>
        <p:txBody>
          <a:bodyPr wrap="square" rtlCol="0" anchor="ctr" anchorCtr="0">
            <a:spAutoFit/>
          </a:bodyPr>
          <a:lstStyle/>
          <a:p>
            <a:pPr marL="0" marR="0" lvl="0" indent="0" algn="ctr" defTabSz="914400" rtl="0" eaLnBrk="1" fontAlgn="auto" latinLnBrk="0" hangingPunct="1">
              <a:lnSpc>
                <a:spcPct val="70000"/>
              </a:lnSpc>
              <a:spcBef>
                <a:spcPts val="0"/>
              </a:spcBef>
              <a:spcAft>
                <a:spcPts val="0"/>
              </a:spcAft>
              <a:buClr>
                <a:srgbClr val="CC0000"/>
              </a:buClr>
              <a:buSzPct val="110000"/>
              <a:buFontTx/>
              <a:buNone/>
              <a:tabLst/>
              <a:defRPr/>
            </a:pPr>
            <a:r>
              <a:rPr kumimoji="0" lang="en-US" sz="2400" b="1" i="0" u="none" strike="noStrike" kern="1200" cap="none" spc="-100" normalizeH="0" noProof="0" dirty="0">
                <a:ln>
                  <a:noFill/>
                </a:ln>
                <a:solidFill>
                  <a:srgbClr val="373737">
                    <a:lumMod val="75000"/>
                  </a:srgbClr>
                </a:solidFill>
                <a:effectLst/>
                <a:uLnTx/>
                <a:uFillTx/>
                <a:latin typeface="Arial"/>
                <a:ea typeface="+mn-ea"/>
                <a:cs typeface="Arial" panose="020B0604020202020204" pitchFamily="34" charset="0"/>
              </a:rPr>
              <a:t>70%</a:t>
            </a:r>
            <a:endParaRPr kumimoji="0" lang="en-US" sz="1000" b="0" i="0" u="none" strike="noStrike" kern="1200" cap="none" spc="0" normalizeH="0" baseline="0" noProof="0" dirty="0">
              <a:ln>
                <a:noFill/>
              </a:ln>
              <a:solidFill>
                <a:srgbClr val="373737">
                  <a:lumMod val="75000"/>
                </a:srgbClr>
              </a:solidFill>
              <a:effectLst/>
              <a:uLnTx/>
              <a:uFillTx/>
              <a:latin typeface="Arial"/>
              <a:ea typeface="+mn-ea"/>
              <a:cs typeface="Arial" panose="020B0604020202020204" pitchFamily="34" charset="0"/>
            </a:endParaRPr>
          </a:p>
        </p:txBody>
      </p:sp>
      <p:sp>
        <p:nvSpPr>
          <p:cNvPr id="24" name="Text Placeholder 12"/>
          <p:cNvSpPr>
            <a:spLocks/>
          </p:cNvSpPr>
          <p:nvPr>
            <p:custDataLst>
              <p:tags r:id="rId3"/>
            </p:custDataLst>
          </p:nvPr>
        </p:nvSpPr>
        <p:spPr bwMode="auto">
          <a:xfrm>
            <a:off x="5179388" y="2154301"/>
            <a:ext cx="672517"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dirty="0">
                <a:solidFill>
                  <a:schemeClr val="accent2"/>
                </a:solidFill>
                <a:latin typeface="Arial"/>
              </a:rPr>
              <a:t>Label A</a:t>
            </a:r>
          </a:p>
        </p:txBody>
      </p:sp>
      <p:sp>
        <p:nvSpPr>
          <p:cNvPr id="28" name="Text Placeholder 12"/>
          <p:cNvSpPr>
            <a:spLocks/>
          </p:cNvSpPr>
          <p:nvPr>
            <p:custDataLst>
              <p:tags r:id="rId4"/>
            </p:custDataLst>
          </p:nvPr>
        </p:nvSpPr>
        <p:spPr bwMode="auto">
          <a:xfrm>
            <a:off x="7794582" y="3217642"/>
            <a:ext cx="601622" cy="169277"/>
          </a:xfrm>
          <a:prstGeom prst="rect">
            <a:avLst/>
          </a:prstGeom>
          <a:noFill/>
          <a:ln w="9525">
            <a:noFill/>
            <a:miter lim="800000"/>
            <a:headEnd/>
            <a:tailEnd/>
          </a:ln>
        </p:spPr>
        <p:txBody>
          <a:bodyPr wrap="square" lIns="0" tIns="0" rIns="0" bIns="0">
            <a:spAutoFit/>
          </a:bodyPr>
          <a:lstStyle/>
          <a:p>
            <a:pPr marL="0" marR="0" lvl="0" indent="0" algn="ctr" defTabSz="764381" rtl="0" eaLnBrk="1" fontAlgn="auto" latinLnBrk="0" hangingPunct="1">
              <a:lnSpc>
                <a:spcPct val="100000"/>
              </a:lnSpc>
              <a:spcBef>
                <a:spcPts val="0"/>
              </a:spcBef>
              <a:spcAft>
                <a:spcPts val="0"/>
              </a:spcAft>
              <a:buClrTx/>
              <a:buSzTx/>
              <a:buFontTx/>
              <a:buNone/>
              <a:tabLst/>
              <a:defRPr/>
            </a:pPr>
            <a:r>
              <a:rPr lang="en-US" sz="1100" b="1" dirty="0">
                <a:solidFill>
                  <a:schemeClr val="accent5"/>
                </a:solidFill>
                <a:latin typeface="Arial"/>
              </a:rPr>
              <a:t>Label B</a:t>
            </a:r>
          </a:p>
        </p:txBody>
      </p:sp>
      <p:cxnSp>
        <p:nvCxnSpPr>
          <p:cNvPr id="9" name="Straight Connector 8"/>
          <p:cNvCxnSpPr/>
          <p:nvPr/>
        </p:nvCxnSpPr>
        <p:spPr>
          <a:xfrm>
            <a:off x="4578138" y="1285539"/>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72897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562475" y="0"/>
            <a:ext cx="4581525"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
        <p:nvSpPr>
          <p:cNvPr id="2" name="Text Placeholder 1"/>
          <p:cNvSpPr>
            <a:spLocks noGrp="1"/>
          </p:cNvSpPr>
          <p:nvPr>
            <p:ph type="body" sz="quarter" idx="11"/>
          </p:nvPr>
        </p:nvSpPr>
        <p:spPr>
          <a:xfrm>
            <a:off x="464494" y="438150"/>
            <a:ext cx="2436362" cy="949858"/>
          </a:xfrm>
        </p:spPr>
        <p:txBody>
          <a:bodyPr/>
          <a:lstStyle/>
          <a:p>
            <a:r>
              <a:rPr lang="en-US"/>
              <a:t>Circular flow chart</a:t>
            </a:r>
            <a:endParaRPr lang="en-US" dirty="0"/>
          </a:p>
        </p:txBody>
      </p:sp>
      <p:sp>
        <p:nvSpPr>
          <p:cNvPr id="4" name="Text Placeholder 3"/>
          <p:cNvSpPr>
            <a:spLocks noGrp="1"/>
          </p:cNvSpPr>
          <p:nvPr>
            <p:ph type="body" sz="quarter" idx="16"/>
          </p:nvPr>
        </p:nvSpPr>
        <p:spPr/>
        <p:txBody>
          <a:bodyPr/>
          <a:lstStyle/>
          <a:p>
            <a:r>
              <a:rPr lang="en-US" dirty="0"/>
              <a:t>Dolor sit </a:t>
            </a:r>
            <a:r>
              <a:rPr lang="en-US" dirty="0" err="1"/>
              <a:t>amet</a:t>
            </a:r>
            <a:r>
              <a:rPr lang="en-US" dirty="0"/>
              <a:t>, </a:t>
            </a:r>
            <a:r>
              <a:rPr lang="en-US" dirty="0" err="1"/>
              <a:t>consectetur</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a:t>
            </a:r>
            <a:r>
              <a:rPr lang="en-US" dirty="0" err="1"/>
              <a:t>sed</a:t>
            </a:r>
            <a:r>
              <a:rPr lang="en-US" dirty="0"/>
              <a:t>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endParaRPr lang="en-US" dirty="0"/>
          </a:p>
        </p:txBody>
      </p:sp>
      <p:grpSp>
        <p:nvGrpSpPr>
          <p:cNvPr id="7" name="Group 6"/>
          <p:cNvGrpSpPr/>
          <p:nvPr/>
        </p:nvGrpSpPr>
        <p:grpSpPr>
          <a:xfrm>
            <a:off x="5617979" y="1363310"/>
            <a:ext cx="2402886" cy="2344400"/>
            <a:chOff x="2860261" y="1582629"/>
            <a:chExt cx="3413760" cy="3413760"/>
          </a:xfrm>
        </p:grpSpPr>
        <p:sp>
          <p:nvSpPr>
            <p:cNvPr id="8" name="Freeform 7"/>
            <p:cNvSpPr/>
            <p:nvPr/>
          </p:nvSpPr>
          <p:spPr>
            <a:xfrm>
              <a:off x="2860261" y="1582629"/>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0C62FB"/>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00479" tIns="674370" rIns="443941" bIns="1690370" numCol="1" spcCol="1270" anchor="t" anchorCtr="0">
              <a:noAutofit/>
            </a:bodyPr>
            <a:lstStyle/>
            <a:p>
              <a:pPr algn="ctr" defTabSz="1555750">
                <a:lnSpc>
                  <a:spcPct val="90000"/>
                </a:lnSpc>
                <a:spcBef>
                  <a:spcPct val="0"/>
                </a:spcBef>
                <a:spcAft>
                  <a:spcPct val="35000"/>
                </a:spcAft>
              </a:pPr>
              <a:endParaRPr lang="en-US" dirty="0">
                <a:latin typeface="Segoe UI" panose="020B0502040204020203" pitchFamily="34" charset="0"/>
                <a:cs typeface="Segoe UI" panose="020B0502040204020203" pitchFamily="34" charset="0"/>
              </a:endParaRPr>
            </a:p>
          </p:txBody>
        </p:sp>
        <p:sp>
          <p:nvSpPr>
            <p:cNvPr id="9" name="Freeform 8"/>
            <p:cNvSpPr/>
            <p:nvPr/>
          </p:nvSpPr>
          <p:spPr>
            <a:xfrm>
              <a:off x="2860261" y="1582629"/>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85B0FD"/>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93140" tIns="2212341" rIns="993140" bIns="261619" numCol="1" spcCol="1270" anchor="ctr" anchorCtr="0">
              <a:noAutofit/>
            </a:bodyPr>
            <a:lstStyle/>
            <a:p>
              <a:pPr algn="ctr" defTabSz="2044700">
                <a:lnSpc>
                  <a:spcPct val="90000"/>
                </a:lnSpc>
                <a:spcBef>
                  <a:spcPts val="600"/>
                </a:spcBef>
              </a:pPr>
              <a:endParaRPr lang="en-US" dirty="0">
                <a:latin typeface="Segoe UI" panose="020B0502040204020203" pitchFamily="34" charset="0"/>
                <a:cs typeface="Segoe UI" panose="020B0502040204020203" pitchFamily="34" charset="0"/>
              </a:endParaRPr>
            </a:p>
          </p:txBody>
        </p:sp>
        <p:sp>
          <p:nvSpPr>
            <p:cNvPr id="10" name="Freeform 9"/>
            <p:cNvSpPr/>
            <p:nvPr/>
          </p:nvSpPr>
          <p:spPr>
            <a:xfrm>
              <a:off x="2860261" y="1582629"/>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C2D8F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defTabSz="1555750">
                <a:lnSpc>
                  <a:spcPct val="90000"/>
                </a:lnSpc>
                <a:spcBef>
                  <a:spcPct val="0"/>
                </a:spcBef>
                <a:spcAft>
                  <a:spcPct val="35000"/>
                </a:spcAft>
              </a:pPr>
              <a:endParaRPr lang="en-US" sz="1200" dirty="0">
                <a:latin typeface="Segoe UI" panose="020B0502040204020203" pitchFamily="34" charset="0"/>
                <a:cs typeface="Segoe UI" panose="020B0502040204020203" pitchFamily="34" charset="0"/>
              </a:endParaRPr>
            </a:p>
          </p:txBody>
        </p:sp>
      </p:grpSp>
      <p:grpSp>
        <p:nvGrpSpPr>
          <p:cNvPr id="11" name="Group 10"/>
          <p:cNvGrpSpPr>
            <a:grpSpLocks noChangeAspect="1"/>
          </p:cNvGrpSpPr>
          <p:nvPr/>
        </p:nvGrpSpPr>
        <p:grpSpPr bwMode="auto">
          <a:xfrm>
            <a:off x="5424003" y="1133288"/>
            <a:ext cx="2789918" cy="2790983"/>
            <a:chOff x="-2939" y="789"/>
            <a:chExt cx="2619" cy="2620"/>
          </a:xfrm>
          <a:solidFill>
            <a:schemeClr val="bg2">
              <a:lumMod val="60000"/>
              <a:lumOff val="40000"/>
            </a:schemeClr>
          </a:solidFill>
        </p:grpSpPr>
        <p:sp>
          <p:nvSpPr>
            <p:cNvPr id="12"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1" name="Oval 20"/>
          <p:cNvSpPr/>
          <p:nvPr/>
        </p:nvSpPr>
        <p:spPr>
          <a:xfrm>
            <a:off x="6129518" y="1858387"/>
            <a:ext cx="1378888" cy="13788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22" name="TextBox 21"/>
          <p:cNvSpPr txBox="1"/>
          <p:nvPr/>
        </p:nvSpPr>
        <p:spPr>
          <a:xfrm>
            <a:off x="5139394"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23" name="TextBox 22"/>
          <p:cNvSpPr txBox="1"/>
          <p:nvPr/>
        </p:nvSpPr>
        <p:spPr>
          <a:xfrm>
            <a:off x="7699566" y="877798"/>
            <a:ext cx="1093325" cy="258532"/>
          </a:xfrm>
          <a:prstGeom prst="rect">
            <a:avLst/>
          </a:prstGeom>
          <a:noFill/>
        </p:spPr>
        <p:txBody>
          <a:bodyPr wrap="square" rtlCol="0">
            <a:spAutoFit/>
          </a:bodyPr>
          <a:lstStyle/>
          <a:p>
            <a:pP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sp>
        <p:nvSpPr>
          <p:cNvPr id="24" name="TextBox 23"/>
          <p:cNvSpPr txBox="1"/>
          <p:nvPr/>
        </p:nvSpPr>
        <p:spPr>
          <a:xfrm>
            <a:off x="6131358" y="4138271"/>
            <a:ext cx="1376126" cy="258532"/>
          </a:xfrm>
          <a:prstGeom prst="rect">
            <a:avLst/>
          </a:prstGeom>
          <a:noFill/>
        </p:spPr>
        <p:txBody>
          <a:bodyPr wrap="square" rtlCol="0">
            <a:spAutoFit/>
          </a:bodyPr>
          <a:lstStyle/>
          <a:p>
            <a:pPr algn="ctr">
              <a:lnSpc>
                <a:spcPct val="90000"/>
              </a:lnSpc>
              <a:spcBef>
                <a:spcPts val="1200"/>
              </a:spcBef>
              <a:buClr>
                <a:srgbClr val="CC0000"/>
              </a:buClr>
              <a:buSzPct val="110000"/>
            </a:pPr>
            <a:r>
              <a:rPr lang="en-US" sz="1200" dirty="0">
                <a:solidFill>
                  <a:schemeClr val="accent1"/>
                </a:solidFill>
                <a:latin typeface="Arial" panose="020B0604020202020204" pitchFamily="34" charset="0"/>
                <a:cs typeface="Arial" panose="020B0604020202020204" pitchFamily="34" charset="0"/>
              </a:rPr>
              <a:t>Lorem </a:t>
            </a:r>
            <a:r>
              <a:rPr lang="en-US" sz="1200" dirty="0" err="1">
                <a:solidFill>
                  <a:schemeClr val="accent1"/>
                </a:solidFill>
                <a:latin typeface="Arial" panose="020B0604020202020204" pitchFamily="34" charset="0"/>
                <a:cs typeface="Arial" panose="020B0604020202020204" pitchFamily="34" charset="0"/>
              </a:rPr>
              <a:t>Ispum</a:t>
            </a:r>
            <a:endParaRPr lang="en-US" sz="1200" dirty="0">
              <a:solidFill>
                <a:schemeClr val="accent1"/>
              </a:solidFill>
              <a:latin typeface="Arial" panose="020B0604020202020204" pitchFamily="34" charset="0"/>
              <a:cs typeface="Arial" panose="020B0604020202020204" pitchFamily="34" charset="0"/>
            </a:endParaRPr>
          </a:p>
        </p:txBody>
      </p:sp>
      <p:pic>
        <p:nvPicPr>
          <p:cNvPr id="3" name="Picture 2" descr="A picture containing logo&#10;&#10;Description automatically generated">
            <a:extLst>
              <a:ext uri="{FF2B5EF4-FFF2-40B4-BE49-F238E27FC236}">
                <a16:creationId xmlns:a16="http://schemas.microsoft.com/office/drawing/2014/main" id="{DCC80566-8598-19FF-22CF-D0C640372C78}"/>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5" name="TextBox 4">
            <a:extLst>
              <a:ext uri="{FF2B5EF4-FFF2-40B4-BE49-F238E27FC236}">
                <a16:creationId xmlns:a16="http://schemas.microsoft.com/office/drawing/2014/main" id="{0C624753-6479-5EA5-5032-B4D8BCC9E0D7}"/>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5</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7717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4562474" y="0"/>
            <a:ext cx="4581525" cy="51435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graphicFrame>
        <p:nvGraphicFramePr>
          <p:cNvPr id="48" name="Chart 47"/>
          <p:cNvGraphicFramePr/>
          <p:nvPr>
            <p:extLst>
              <p:ext uri="{D42A27DB-BD31-4B8C-83A1-F6EECF244321}">
                <p14:modId xmlns:p14="http://schemas.microsoft.com/office/powerpoint/2010/main" val="865133160"/>
              </p:ext>
            </p:extLst>
          </p:nvPr>
        </p:nvGraphicFramePr>
        <p:xfrm>
          <a:off x="4960689" y="1309688"/>
          <a:ext cx="3920387" cy="2484651"/>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 Placeholder 3"/>
          <p:cNvSpPr>
            <a:spLocks noGrp="1"/>
          </p:cNvSpPr>
          <p:nvPr>
            <p:ph type="body" sz="quarter" idx="17"/>
          </p:nvPr>
        </p:nvSpPr>
        <p:spPr>
          <a:xfrm>
            <a:off x="465138" y="438150"/>
            <a:ext cx="3093364" cy="368300"/>
          </a:xfrm>
        </p:spPr>
        <p:txBody>
          <a:bodyPr/>
          <a:lstStyle/>
          <a:p>
            <a:r>
              <a:rPr lang="en-US" dirty="0">
                <a:solidFill>
                  <a:schemeClr val="accent1"/>
                </a:solidFill>
              </a:rPr>
              <a:t>Circular flow chart with more content</a:t>
            </a:r>
          </a:p>
          <a:p>
            <a:endParaRPr lang="en-GB" dirty="0">
              <a:solidFill>
                <a:schemeClr val="accent1"/>
              </a:solidFill>
            </a:endParaRPr>
          </a:p>
        </p:txBody>
      </p:sp>
      <p:sp>
        <p:nvSpPr>
          <p:cNvPr id="29" name="TextBox 28"/>
          <p:cNvSpPr txBox="1"/>
          <p:nvPr/>
        </p:nvSpPr>
        <p:spPr>
          <a:xfrm>
            <a:off x="457200" y="160619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tx2"/>
                </a:solidFill>
                <a:latin typeface="Arial" panose="020B0604020202020204" pitchFamily="34" charset="0"/>
                <a:cs typeface="Arial" panose="020B0604020202020204" pitchFamily="34" charset="0"/>
              </a:rPr>
              <a:t>01 Headline</a:t>
            </a:r>
          </a:p>
        </p:txBody>
      </p:sp>
      <p:sp>
        <p:nvSpPr>
          <p:cNvPr id="30" name="TextBox 29"/>
          <p:cNvSpPr txBox="1"/>
          <p:nvPr/>
        </p:nvSpPr>
        <p:spPr>
          <a:xfrm>
            <a:off x="457200" y="1855643"/>
            <a:ext cx="2819010"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2" name="TextBox 31"/>
          <p:cNvSpPr txBox="1"/>
          <p:nvPr/>
        </p:nvSpPr>
        <p:spPr>
          <a:xfrm>
            <a:off x="457200" y="3206670"/>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5"/>
                </a:solidFill>
                <a:latin typeface="Arial" panose="020B0604020202020204" pitchFamily="34" charset="0"/>
                <a:cs typeface="Arial" panose="020B0604020202020204" pitchFamily="34" charset="0"/>
              </a:rPr>
              <a:t>03 Headline</a:t>
            </a:r>
          </a:p>
        </p:txBody>
      </p:sp>
      <p:sp>
        <p:nvSpPr>
          <p:cNvPr id="33" name="TextBox 32"/>
          <p:cNvSpPr txBox="1"/>
          <p:nvPr/>
        </p:nvSpPr>
        <p:spPr>
          <a:xfrm>
            <a:off x="457200" y="3456116"/>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5" name="TextBox 34"/>
          <p:cNvSpPr txBox="1"/>
          <p:nvPr/>
        </p:nvSpPr>
        <p:spPr>
          <a:xfrm>
            <a:off x="457200" y="2363461"/>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2 Headline</a:t>
            </a:r>
          </a:p>
        </p:txBody>
      </p:sp>
      <p:sp>
        <p:nvSpPr>
          <p:cNvPr id="36" name="TextBox 35"/>
          <p:cNvSpPr txBox="1"/>
          <p:nvPr/>
        </p:nvSpPr>
        <p:spPr>
          <a:xfrm>
            <a:off x="457200" y="2612906"/>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sp>
        <p:nvSpPr>
          <p:cNvPr id="38" name="Oval 37"/>
          <p:cNvSpPr>
            <a:spLocks noChangeAspect="1"/>
          </p:cNvSpPr>
          <p:nvPr/>
        </p:nvSpPr>
        <p:spPr>
          <a:xfrm>
            <a:off x="6062579" y="1858203"/>
            <a:ext cx="541705"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1</a:t>
            </a:r>
            <a:endParaRPr lang="en-US" sz="1200" dirty="0">
              <a:solidFill>
                <a:schemeClr val="bg1"/>
              </a:solidFill>
              <a:latin typeface="Arial" panose="020B0604020202020204" pitchFamily="34" charset="0"/>
              <a:cs typeface="Arial" panose="020B0604020202020204" pitchFamily="34" charset="0"/>
            </a:endParaRPr>
          </a:p>
        </p:txBody>
      </p:sp>
      <p:sp>
        <p:nvSpPr>
          <p:cNvPr id="39" name="Oval 38"/>
          <p:cNvSpPr>
            <a:spLocks noChangeAspect="1"/>
          </p:cNvSpPr>
          <p:nvPr/>
        </p:nvSpPr>
        <p:spPr>
          <a:xfrm>
            <a:off x="6170565"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4</a:t>
            </a:r>
            <a:endParaRPr lang="en-US" sz="1200" dirty="0">
              <a:solidFill>
                <a:schemeClr val="bg1"/>
              </a:solidFill>
              <a:latin typeface="Arial" panose="020B0604020202020204" pitchFamily="34" charset="0"/>
              <a:cs typeface="Arial" panose="020B0604020202020204" pitchFamily="34" charset="0"/>
            </a:endParaRPr>
          </a:p>
        </p:txBody>
      </p:sp>
      <p:sp>
        <p:nvSpPr>
          <p:cNvPr id="40" name="Oval 39"/>
          <p:cNvSpPr>
            <a:spLocks noChangeAspect="1"/>
          </p:cNvSpPr>
          <p:nvPr/>
        </p:nvSpPr>
        <p:spPr>
          <a:xfrm>
            <a:off x="7286501" y="1870811"/>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2</a:t>
            </a:r>
            <a:endParaRPr lang="en-US" sz="1200" dirty="0">
              <a:solidFill>
                <a:schemeClr val="bg1"/>
              </a:solidFill>
              <a:latin typeface="Arial" panose="020B0604020202020204" pitchFamily="34" charset="0"/>
              <a:cs typeface="Arial" panose="020B0604020202020204" pitchFamily="34" charset="0"/>
            </a:endParaRPr>
          </a:p>
        </p:txBody>
      </p:sp>
      <p:grpSp>
        <p:nvGrpSpPr>
          <p:cNvPr id="28" name="Group 27"/>
          <p:cNvGrpSpPr>
            <a:grpSpLocks noChangeAspect="1"/>
          </p:cNvGrpSpPr>
          <p:nvPr/>
        </p:nvGrpSpPr>
        <p:grpSpPr bwMode="auto">
          <a:xfrm flipH="1">
            <a:off x="5523545" y="1155364"/>
            <a:ext cx="2764963" cy="2766019"/>
            <a:chOff x="-2939" y="789"/>
            <a:chExt cx="2619" cy="2620"/>
          </a:xfrm>
          <a:solidFill>
            <a:schemeClr val="bg1">
              <a:lumMod val="85000"/>
            </a:schemeClr>
          </a:solidFill>
        </p:grpSpPr>
        <p:sp>
          <p:nvSpPr>
            <p:cNvPr id="31" name="Freeform 7"/>
            <p:cNvSpPr>
              <a:spLocks/>
            </p:cNvSpPr>
            <p:nvPr/>
          </p:nvSpPr>
          <p:spPr bwMode="auto">
            <a:xfrm>
              <a:off x="-2765" y="789"/>
              <a:ext cx="2445" cy="1936"/>
            </a:xfrm>
            <a:custGeom>
              <a:avLst/>
              <a:gdLst>
                <a:gd name="T0" fmla="*/ 2269 w 2445"/>
                <a:gd name="T1" fmla="*/ 1934 h 1936"/>
                <a:gd name="T2" fmla="*/ 2261 w 2445"/>
                <a:gd name="T3" fmla="*/ 1924 h 1936"/>
                <a:gd name="T4" fmla="*/ 2263 w 2445"/>
                <a:gd name="T5" fmla="*/ 1912 h 1936"/>
                <a:gd name="T6" fmla="*/ 2313 w 2445"/>
                <a:gd name="T7" fmla="*/ 1806 h 1936"/>
                <a:gd name="T8" fmla="*/ 2375 w 2445"/>
                <a:gd name="T9" fmla="*/ 1620 h 1936"/>
                <a:gd name="T10" fmla="*/ 2407 w 2445"/>
                <a:gd name="T11" fmla="*/ 1428 h 1936"/>
                <a:gd name="T12" fmla="*/ 2413 w 2445"/>
                <a:gd name="T13" fmla="*/ 1310 h 1936"/>
                <a:gd name="T14" fmla="*/ 2407 w 2445"/>
                <a:gd name="T15" fmla="*/ 1180 h 1936"/>
                <a:gd name="T16" fmla="*/ 2373 w 2445"/>
                <a:gd name="T17" fmla="*/ 992 h 1936"/>
                <a:gd name="T18" fmla="*/ 2313 w 2445"/>
                <a:gd name="T19" fmla="*/ 814 h 1936"/>
                <a:gd name="T20" fmla="*/ 2227 w 2445"/>
                <a:gd name="T21" fmla="*/ 648 h 1936"/>
                <a:gd name="T22" fmla="*/ 2121 w 2445"/>
                <a:gd name="T23" fmla="*/ 498 h 1936"/>
                <a:gd name="T24" fmla="*/ 1993 w 2445"/>
                <a:gd name="T25" fmla="*/ 364 h 1936"/>
                <a:gd name="T26" fmla="*/ 1849 w 2445"/>
                <a:gd name="T27" fmla="*/ 250 h 1936"/>
                <a:gd name="T28" fmla="*/ 1689 w 2445"/>
                <a:gd name="T29" fmla="*/ 158 h 1936"/>
                <a:gd name="T30" fmla="*/ 1515 w 2445"/>
                <a:gd name="T31" fmla="*/ 90 h 1936"/>
                <a:gd name="T32" fmla="*/ 1329 w 2445"/>
                <a:gd name="T33" fmla="*/ 46 h 1936"/>
                <a:gd name="T34" fmla="*/ 1136 w 2445"/>
                <a:gd name="T35" fmla="*/ 32 h 1936"/>
                <a:gd name="T36" fmla="*/ 1034 w 2445"/>
                <a:gd name="T37" fmla="*/ 36 h 1936"/>
                <a:gd name="T38" fmla="*/ 882 w 2445"/>
                <a:gd name="T39" fmla="*/ 58 h 1936"/>
                <a:gd name="T40" fmla="*/ 736 w 2445"/>
                <a:gd name="T41" fmla="*/ 96 h 1936"/>
                <a:gd name="T42" fmla="*/ 596 w 2445"/>
                <a:gd name="T43" fmla="*/ 152 h 1936"/>
                <a:gd name="T44" fmla="*/ 462 w 2445"/>
                <a:gd name="T45" fmla="*/ 224 h 1936"/>
                <a:gd name="T46" fmla="*/ 378 w 2445"/>
                <a:gd name="T47" fmla="*/ 282 h 1936"/>
                <a:gd name="T48" fmla="*/ 228 w 2445"/>
                <a:gd name="T49" fmla="*/ 410 h 1936"/>
                <a:gd name="T50" fmla="*/ 102 w 2445"/>
                <a:gd name="T51" fmla="*/ 560 h 1936"/>
                <a:gd name="T52" fmla="*/ 30 w 2445"/>
                <a:gd name="T53" fmla="*/ 670 h 1936"/>
                <a:gd name="T54" fmla="*/ 14 w 2445"/>
                <a:gd name="T55" fmla="*/ 678 h 1936"/>
                <a:gd name="T56" fmla="*/ 4 w 2445"/>
                <a:gd name="T57" fmla="*/ 672 h 1936"/>
                <a:gd name="T58" fmla="*/ 2 w 2445"/>
                <a:gd name="T59" fmla="*/ 654 h 1936"/>
                <a:gd name="T60" fmla="*/ 76 w 2445"/>
                <a:gd name="T61" fmla="*/ 540 h 1936"/>
                <a:gd name="T62" fmla="*/ 206 w 2445"/>
                <a:gd name="T63" fmla="*/ 388 h 1936"/>
                <a:gd name="T64" fmla="*/ 358 w 2445"/>
                <a:gd name="T65" fmla="*/ 256 h 1936"/>
                <a:gd name="T66" fmla="*/ 444 w 2445"/>
                <a:gd name="T67" fmla="*/ 196 h 1936"/>
                <a:gd name="T68" fmla="*/ 582 w 2445"/>
                <a:gd name="T69" fmla="*/ 122 h 1936"/>
                <a:gd name="T70" fmla="*/ 726 w 2445"/>
                <a:gd name="T71" fmla="*/ 66 h 1936"/>
                <a:gd name="T72" fmla="*/ 876 w 2445"/>
                <a:gd name="T73" fmla="*/ 26 h 1936"/>
                <a:gd name="T74" fmla="*/ 1030 w 2445"/>
                <a:gd name="T75" fmla="*/ 4 h 1936"/>
                <a:gd name="T76" fmla="*/ 1136 w 2445"/>
                <a:gd name="T77" fmla="*/ 0 h 1936"/>
                <a:gd name="T78" fmla="*/ 1335 w 2445"/>
                <a:gd name="T79" fmla="*/ 16 h 1936"/>
                <a:gd name="T80" fmla="*/ 1525 w 2445"/>
                <a:gd name="T81" fmla="*/ 58 h 1936"/>
                <a:gd name="T82" fmla="*/ 1703 w 2445"/>
                <a:gd name="T83" fmla="*/ 130 h 1936"/>
                <a:gd name="T84" fmla="*/ 1867 w 2445"/>
                <a:gd name="T85" fmla="*/ 224 h 1936"/>
                <a:gd name="T86" fmla="*/ 2015 w 2445"/>
                <a:gd name="T87" fmla="*/ 340 h 1936"/>
                <a:gd name="T88" fmla="*/ 2145 w 2445"/>
                <a:gd name="T89" fmla="*/ 478 h 1936"/>
                <a:gd name="T90" fmla="*/ 2255 w 2445"/>
                <a:gd name="T91" fmla="*/ 632 h 1936"/>
                <a:gd name="T92" fmla="*/ 2341 w 2445"/>
                <a:gd name="T93" fmla="*/ 800 h 1936"/>
                <a:gd name="T94" fmla="*/ 2403 w 2445"/>
                <a:gd name="T95" fmla="*/ 982 h 1936"/>
                <a:gd name="T96" fmla="*/ 2439 w 2445"/>
                <a:gd name="T97" fmla="*/ 1176 h 1936"/>
                <a:gd name="T98" fmla="*/ 2445 w 2445"/>
                <a:gd name="T99" fmla="*/ 1310 h 1936"/>
                <a:gd name="T100" fmla="*/ 2439 w 2445"/>
                <a:gd name="T101" fmla="*/ 1430 h 1936"/>
                <a:gd name="T102" fmla="*/ 2423 w 2445"/>
                <a:gd name="T103" fmla="*/ 1550 h 1936"/>
                <a:gd name="T104" fmla="*/ 2395 w 2445"/>
                <a:gd name="T105" fmla="*/ 1668 h 1936"/>
                <a:gd name="T106" fmla="*/ 2357 w 2445"/>
                <a:gd name="T107" fmla="*/ 1782 h 1936"/>
                <a:gd name="T108" fmla="*/ 2309 w 2445"/>
                <a:gd name="T109" fmla="*/ 1892 h 1936"/>
                <a:gd name="T110" fmla="*/ 2289 w 2445"/>
                <a:gd name="T111" fmla="*/ 1930 h 1936"/>
                <a:gd name="T112" fmla="*/ 2277 w 2445"/>
                <a:gd name="T113" fmla="*/ 193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445" h="1936">
                  <a:moveTo>
                    <a:pt x="2277" y="1936"/>
                  </a:moveTo>
                  <a:lnTo>
                    <a:pt x="2277" y="1936"/>
                  </a:lnTo>
                  <a:lnTo>
                    <a:pt x="2269" y="1934"/>
                  </a:lnTo>
                  <a:lnTo>
                    <a:pt x="2269" y="1934"/>
                  </a:lnTo>
                  <a:lnTo>
                    <a:pt x="2265" y="1930"/>
                  </a:lnTo>
                  <a:lnTo>
                    <a:pt x="2261" y="1924"/>
                  </a:lnTo>
                  <a:lnTo>
                    <a:pt x="2261" y="1918"/>
                  </a:lnTo>
                  <a:lnTo>
                    <a:pt x="2263" y="1912"/>
                  </a:lnTo>
                  <a:lnTo>
                    <a:pt x="2263" y="1912"/>
                  </a:lnTo>
                  <a:lnTo>
                    <a:pt x="2281" y="1878"/>
                  </a:lnTo>
                  <a:lnTo>
                    <a:pt x="2297" y="1842"/>
                  </a:lnTo>
                  <a:lnTo>
                    <a:pt x="2313" y="1806"/>
                  </a:lnTo>
                  <a:lnTo>
                    <a:pt x="2327" y="1770"/>
                  </a:lnTo>
                  <a:lnTo>
                    <a:pt x="2353" y="1696"/>
                  </a:lnTo>
                  <a:lnTo>
                    <a:pt x="2375" y="1620"/>
                  </a:lnTo>
                  <a:lnTo>
                    <a:pt x="2391" y="1544"/>
                  </a:lnTo>
                  <a:lnTo>
                    <a:pt x="2403" y="1466"/>
                  </a:lnTo>
                  <a:lnTo>
                    <a:pt x="2407" y="1428"/>
                  </a:lnTo>
                  <a:lnTo>
                    <a:pt x="2411" y="1388"/>
                  </a:lnTo>
                  <a:lnTo>
                    <a:pt x="2413" y="1350"/>
                  </a:lnTo>
                  <a:lnTo>
                    <a:pt x="2413" y="1310"/>
                  </a:lnTo>
                  <a:lnTo>
                    <a:pt x="2413" y="1310"/>
                  </a:lnTo>
                  <a:lnTo>
                    <a:pt x="2411" y="1244"/>
                  </a:lnTo>
                  <a:lnTo>
                    <a:pt x="2407" y="1180"/>
                  </a:lnTo>
                  <a:lnTo>
                    <a:pt x="2399" y="1116"/>
                  </a:lnTo>
                  <a:lnTo>
                    <a:pt x="2387" y="1052"/>
                  </a:lnTo>
                  <a:lnTo>
                    <a:pt x="2373" y="992"/>
                  </a:lnTo>
                  <a:lnTo>
                    <a:pt x="2355" y="930"/>
                  </a:lnTo>
                  <a:lnTo>
                    <a:pt x="2335" y="872"/>
                  </a:lnTo>
                  <a:lnTo>
                    <a:pt x="2313" y="814"/>
                  </a:lnTo>
                  <a:lnTo>
                    <a:pt x="2287" y="756"/>
                  </a:lnTo>
                  <a:lnTo>
                    <a:pt x="2259" y="702"/>
                  </a:lnTo>
                  <a:lnTo>
                    <a:pt x="2227" y="648"/>
                  </a:lnTo>
                  <a:lnTo>
                    <a:pt x="2195" y="596"/>
                  </a:lnTo>
                  <a:lnTo>
                    <a:pt x="2159" y="546"/>
                  </a:lnTo>
                  <a:lnTo>
                    <a:pt x="2121" y="498"/>
                  </a:lnTo>
                  <a:lnTo>
                    <a:pt x="2081" y="452"/>
                  </a:lnTo>
                  <a:lnTo>
                    <a:pt x="2039" y="406"/>
                  </a:lnTo>
                  <a:lnTo>
                    <a:pt x="1993" y="364"/>
                  </a:lnTo>
                  <a:lnTo>
                    <a:pt x="1947" y="324"/>
                  </a:lnTo>
                  <a:lnTo>
                    <a:pt x="1899" y="286"/>
                  </a:lnTo>
                  <a:lnTo>
                    <a:pt x="1849" y="250"/>
                  </a:lnTo>
                  <a:lnTo>
                    <a:pt x="1797" y="218"/>
                  </a:lnTo>
                  <a:lnTo>
                    <a:pt x="1743" y="186"/>
                  </a:lnTo>
                  <a:lnTo>
                    <a:pt x="1689" y="158"/>
                  </a:lnTo>
                  <a:lnTo>
                    <a:pt x="1631" y="132"/>
                  </a:lnTo>
                  <a:lnTo>
                    <a:pt x="1573" y="110"/>
                  </a:lnTo>
                  <a:lnTo>
                    <a:pt x="1515" y="90"/>
                  </a:lnTo>
                  <a:lnTo>
                    <a:pt x="1453" y="72"/>
                  </a:lnTo>
                  <a:lnTo>
                    <a:pt x="1393" y="58"/>
                  </a:lnTo>
                  <a:lnTo>
                    <a:pt x="1329" y="46"/>
                  </a:lnTo>
                  <a:lnTo>
                    <a:pt x="1265" y="38"/>
                  </a:lnTo>
                  <a:lnTo>
                    <a:pt x="1201" y="34"/>
                  </a:lnTo>
                  <a:lnTo>
                    <a:pt x="1136" y="32"/>
                  </a:lnTo>
                  <a:lnTo>
                    <a:pt x="1136" y="32"/>
                  </a:lnTo>
                  <a:lnTo>
                    <a:pt x="1084" y="34"/>
                  </a:lnTo>
                  <a:lnTo>
                    <a:pt x="1034" y="36"/>
                  </a:lnTo>
                  <a:lnTo>
                    <a:pt x="982" y="42"/>
                  </a:lnTo>
                  <a:lnTo>
                    <a:pt x="932" y="48"/>
                  </a:lnTo>
                  <a:lnTo>
                    <a:pt x="882" y="58"/>
                  </a:lnTo>
                  <a:lnTo>
                    <a:pt x="834" y="68"/>
                  </a:lnTo>
                  <a:lnTo>
                    <a:pt x="784" y="80"/>
                  </a:lnTo>
                  <a:lnTo>
                    <a:pt x="736" y="96"/>
                  </a:lnTo>
                  <a:lnTo>
                    <a:pt x="688" y="112"/>
                  </a:lnTo>
                  <a:lnTo>
                    <a:pt x="642" y="132"/>
                  </a:lnTo>
                  <a:lnTo>
                    <a:pt x="596" y="152"/>
                  </a:lnTo>
                  <a:lnTo>
                    <a:pt x="550" y="174"/>
                  </a:lnTo>
                  <a:lnTo>
                    <a:pt x="506" y="198"/>
                  </a:lnTo>
                  <a:lnTo>
                    <a:pt x="462" y="224"/>
                  </a:lnTo>
                  <a:lnTo>
                    <a:pt x="420" y="252"/>
                  </a:lnTo>
                  <a:lnTo>
                    <a:pt x="378" y="282"/>
                  </a:lnTo>
                  <a:lnTo>
                    <a:pt x="378" y="282"/>
                  </a:lnTo>
                  <a:lnTo>
                    <a:pt x="326" y="322"/>
                  </a:lnTo>
                  <a:lnTo>
                    <a:pt x="276" y="366"/>
                  </a:lnTo>
                  <a:lnTo>
                    <a:pt x="228" y="410"/>
                  </a:lnTo>
                  <a:lnTo>
                    <a:pt x="184" y="458"/>
                  </a:lnTo>
                  <a:lnTo>
                    <a:pt x="142" y="508"/>
                  </a:lnTo>
                  <a:lnTo>
                    <a:pt x="102" y="560"/>
                  </a:lnTo>
                  <a:lnTo>
                    <a:pt x="64" y="614"/>
                  </a:lnTo>
                  <a:lnTo>
                    <a:pt x="30" y="670"/>
                  </a:lnTo>
                  <a:lnTo>
                    <a:pt x="30" y="670"/>
                  </a:lnTo>
                  <a:lnTo>
                    <a:pt x="26" y="674"/>
                  </a:lnTo>
                  <a:lnTo>
                    <a:pt x="20" y="678"/>
                  </a:lnTo>
                  <a:lnTo>
                    <a:pt x="14" y="678"/>
                  </a:lnTo>
                  <a:lnTo>
                    <a:pt x="8" y="676"/>
                  </a:lnTo>
                  <a:lnTo>
                    <a:pt x="8" y="676"/>
                  </a:lnTo>
                  <a:lnTo>
                    <a:pt x="4" y="672"/>
                  </a:lnTo>
                  <a:lnTo>
                    <a:pt x="0" y="666"/>
                  </a:lnTo>
                  <a:lnTo>
                    <a:pt x="0" y="660"/>
                  </a:lnTo>
                  <a:lnTo>
                    <a:pt x="2" y="654"/>
                  </a:lnTo>
                  <a:lnTo>
                    <a:pt x="2" y="654"/>
                  </a:lnTo>
                  <a:lnTo>
                    <a:pt x="38" y="596"/>
                  </a:lnTo>
                  <a:lnTo>
                    <a:pt x="76" y="540"/>
                  </a:lnTo>
                  <a:lnTo>
                    <a:pt x="116" y="488"/>
                  </a:lnTo>
                  <a:lnTo>
                    <a:pt x="160" y="436"/>
                  </a:lnTo>
                  <a:lnTo>
                    <a:pt x="206" y="388"/>
                  </a:lnTo>
                  <a:lnTo>
                    <a:pt x="254" y="342"/>
                  </a:lnTo>
                  <a:lnTo>
                    <a:pt x="304" y="298"/>
                  </a:lnTo>
                  <a:lnTo>
                    <a:pt x="358" y="256"/>
                  </a:lnTo>
                  <a:lnTo>
                    <a:pt x="358" y="256"/>
                  </a:lnTo>
                  <a:lnTo>
                    <a:pt x="400" y="226"/>
                  </a:lnTo>
                  <a:lnTo>
                    <a:pt x="444" y="196"/>
                  </a:lnTo>
                  <a:lnTo>
                    <a:pt x="490" y="170"/>
                  </a:lnTo>
                  <a:lnTo>
                    <a:pt x="536" y="146"/>
                  </a:lnTo>
                  <a:lnTo>
                    <a:pt x="582" y="122"/>
                  </a:lnTo>
                  <a:lnTo>
                    <a:pt x="630" y="102"/>
                  </a:lnTo>
                  <a:lnTo>
                    <a:pt x="678" y="82"/>
                  </a:lnTo>
                  <a:lnTo>
                    <a:pt x="726" y="66"/>
                  </a:lnTo>
                  <a:lnTo>
                    <a:pt x="776" y="50"/>
                  </a:lnTo>
                  <a:lnTo>
                    <a:pt x="826" y="36"/>
                  </a:lnTo>
                  <a:lnTo>
                    <a:pt x="876" y="26"/>
                  </a:lnTo>
                  <a:lnTo>
                    <a:pt x="928" y="16"/>
                  </a:lnTo>
                  <a:lnTo>
                    <a:pt x="978" y="10"/>
                  </a:lnTo>
                  <a:lnTo>
                    <a:pt x="1030" y="4"/>
                  </a:lnTo>
                  <a:lnTo>
                    <a:pt x="1084" y="2"/>
                  </a:lnTo>
                  <a:lnTo>
                    <a:pt x="1136" y="0"/>
                  </a:lnTo>
                  <a:lnTo>
                    <a:pt x="1136" y="0"/>
                  </a:lnTo>
                  <a:lnTo>
                    <a:pt x="1203" y="2"/>
                  </a:lnTo>
                  <a:lnTo>
                    <a:pt x="1269" y="6"/>
                  </a:lnTo>
                  <a:lnTo>
                    <a:pt x="1335" y="16"/>
                  </a:lnTo>
                  <a:lnTo>
                    <a:pt x="1399" y="26"/>
                  </a:lnTo>
                  <a:lnTo>
                    <a:pt x="1463" y="42"/>
                  </a:lnTo>
                  <a:lnTo>
                    <a:pt x="1525" y="58"/>
                  </a:lnTo>
                  <a:lnTo>
                    <a:pt x="1585" y="80"/>
                  </a:lnTo>
                  <a:lnTo>
                    <a:pt x="1645" y="104"/>
                  </a:lnTo>
                  <a:lnTo>
                    <a:pt x="1703" y="130"/>
                  </a:lnTo>
                  <a:lnTo>
                    <a:pt x="1759" y="158"/>
                  </a:lnTo>
                  <a:lnTo>
                    <a:pt x="1813" y="190"/>
                  </a:lnTo>
                  <a:lnTo>
                    <a:pt x="1867" y="224"/>
                  </a:lnTo>
                  <a:lnTo>
                    <a:pt x="1919" y="260"/>
                  </a:lnTo>
                  <a:lnTo>
                    <a:pt x="1967" y="300"/>
                  </a:lnTo>
                  <a:lnTo>
                    <a:pt x="2015" y="340"/>
                  </a:lnTo>
                  <a:lnTo>
                    <a:pt x="2061" y="384"/>
                  </a:lnTo>
                  <a:lnTo>
                    <a:pt x="2105" y="430"/>
                  </a:lnTo>
                  <a:lnTo>
                    <a:pt x="2145" y="478"/>
                  </a:lnTo>
                  <a:lnTo>
                    <a:pt x="2185" y="526"/>
                  </a:lnTo>
                  <a:lnTo>
                    <a:pt x="2221" y="578"/>
                  </a:lnTo>
                  <a:lnTo>
                    <a:pt x="2255" y="632"/>
                  </a:lnTo>
                  <a:lnTo>
                    <a:pt x="2287" y="686"/>
                  </a:lnTo>
                  <a:lnTo>
                    <a:pt x="2315" y="742"/>
                  </a:lnTo>
                  <a:lnTo>
                    <a:pt x="2341" y="800"/>
                  </a:lnTo>
                  <a:lnTo>
                    <a:pt x="2365" y="860"/>
                  </a:lnTo>
                  <a:lnTo>
                    <a:pt x="2387" y="920"/>
                  </a:lnTo>
                  <a:lnTo>
                    <a:pt x="2403" y="982"/>
                  </a:lnTo>
                  <a:lnTo>
                    <a:pt x="2419" y="1046"/>
                  </a:lnTo>
                  <a:lnTo>
                    <a:pt x="2429" y="1110"/>
                  </a:lnTo>
                  <a:lnTo>
                    <a:pt x="2439" y="1176"/>
                  </a:lnTo>
                  <a:lnTo>
                    <a:pt x="2443" y="1242"/>
                  </a:lnTo>
                  <a:lnTo>
                    <a:pt x="2445" y="1310"/>
                  </a:lnTo>
                  <a:lnTo>
                    <a:pt x="2445" y="1310"/>
                  </a:lnTo>
                  <a:lnTo>
                    <a:pt x="2445" y="1350"/>
                  </a:lnTo>
                  <a:lnTo>
                    <a:pt x="2443" y="1390"/>
                  </a:lnTo>
                  <a:lnTo>
                    <a:pt x="2439" y="1430"/>
                  </a:lnTo>
                  <a:lnTo>
                    <a:pt x="2435" y="1470"/>
                  </a:lnTo>
                  <a:lnTo>
                    <a:pt x="2429" y="1510"/>
                  </a:lnTo>
                  <a:lnTo>
                    <a:pt x="2423" y="1550"/>
                  </a:lnTo>
                  <a:lnTo>
                    <a:pt x="2415" y="1590"/>
                  </a:lnTo>
                  <a:lnTo>
                    <a:pt x="2405" y="1628"/>
                  </a:lnTo>
                  <a:lnTo>
                    <a:pt x="2395" y="1668"/>
                  </a:lnTo>
                  <a:lnTo>
                    <a:pt x="2383" y="1706"/>
                  </a:lnTo>
                  <a:lnTo>
                    <a:pt x="2371" y="1744"/>
                  </a:lnTo>
                  <a:lnTo>
                    <a:pt x="2357" y="1782"/>
                  </a:lnTo>
                  <a:lnTo>
                    <a:pt x="2343" y="1818"/>
                  </a:lnTo>
                  <a:lnTo>
                    <a:pt x="2327" y="1856"/>
                  </a:lnTo>
                  <a:lnTo>
                    <a:pt x="2309" y="1892"/>
                  </a:lnTo>
                  <a:lnTo>
                    <a:pt x="2291" y="1928"/>
                  </a:lnTo>
                  <a:lnTo>
                    <a:pt x="2291" y="1928"/>
                  </a:lnTo>
                  <a:lnTo>
                    <a:pt x="2289" y="1930"/>
                  </a:lnTo>
                  <a:lnTo>
                    <a:pt x="2285" y="1934"/>
                  </a:lnTo>
                  <a:lnTo>
                    <a:pt x="2277" y="1936"/>
                  </a:lnTo>
                  <a:lnTo>
                    <a:pt x="2277" y="1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8"/>
            <p:cNvSpPr>
              <a:spLocks/>
            </p:cNvSpPr>
            <p:nvPr/>
          </p:nvSpPr>
          <p:spPr bwMode="auto">
            <a:xfrm>
              <a:off x="-2805" y="1285"/>
              <a:ext cx="224" cy="196"/>
            </a:xfrm>
            <a:custGeom>
              <a:avLst/>
              <a:gdLst>
                <a:gd name="T0" fmla="*/ 224 w 224"/>
                <a:gd name="T1" fmla="*/ 144 h 196"/>
                <a:gd name="T2" fmla="*/ 216 w 224"/>
                <a:gd name="T3" fmla="*/ 112 h 196"/>
                <a:gd name="T4" fmla="*/ 64 w 224"/>
                <a:gd name="T5" fmla="*/ 156 h 196"/>
                <a:gd name="T6" fmla="*/ 32 w 224"/>
                <a:gd name="T7" fmla="*/ 0 h 196"/>
                <a:gd name="T8" fmla="*/ 0 w 224"/>
                <a:gd name="T9" fmla="*/ 6 h 196"/>
                <a:gd name="T10" fmla="*/ 40 w 224"/>
                <a:gd name="T11" fmla="*/ 196 h 196"/>
                <a:gd name="T12" fmla="*/ 224 w 224"/>
                <a:gd name="T13" fmla="*/ 144 h 196"/>
              </a:gdLst>
              <a:ahLst/>
              <a:cxnLst>
                <a:cxn ang="0">
                  <a:pos x="T0" y="T1"/>
                </a:cxn>
                <a:cxn ang="0">
                  <a:pos x="T2" y="T3"/>
                </a:cxn>
                <a:cxn ang="0">
                  <a:pos x="T4" y="T5"/>
                </a:cxn>
                <a:cxn ang="0">
                  <a:pos x="T6" y="T7"/>
                </a:cxn>
                <a:cxn ang="0">
                  <a:pos x="T8" y="T9"/>
                </a:cxn>
                <a:cxn ang="0">
                  <a:pos x="T10" y="T11"/>
                </a:cxn>
                <a:cxn ang="0">
                  <a:pos x="T12" y="T13"/>
                </a:cxn>
              </a:cxnLst>
              <a:rect l="0" t="0" r="r" b="b"/>
              <a:pathLst>
                <a:path w="224" h="196">
                  <a:moveTo>
                    <a:pt x="224" y="144"/>
                  </a:moveTo>
                  <a:lnTo>
                    <a:pt x="216" y="112"/>
                  </a:lnTo>
                  <a:lnTo>
                    <a:pt x="64" y="156"/>
                  </a:lnTo>
                  <a:lnTo>
                    <a:pt x="32" y="0"/>
                  </a:lnTo>
                  <a:lnTo>
                    <a:pt x="0" y="6"/>
                  </a:lnTo>
                  <a:lnTo>
                    <a:pt x="40" y="196"/>
                  </a:lnTo>
                  <a:lnTo>
                    <a:pt x="224"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11"/>
            <p:cNvSpPr>
              <a:spLocks/>
            </p:cNvSpPr>
            <p:nvPr/>
          </p:nvSpPr>
          <p:spPr bwMode="auto">
            <a:xfrm>
              <a:off x="-2939" y="1759"/>
              <a:ext cx="2253" cy="1650"/>
            </a:xfrm>
            <a:custGeom>
              <a:avLst/>
              <a:gdLst>
                <a:gd name="T0" fmla="*/ 1242 w 2253"/>
                <a:gd name="T1" fmla="*/ 1648 h 1650"/>
                <a:gd name="T2" fmla="*/ 1046 w 2253"/>
                <a:gd name="T3" fmla="*/ 1624 h 1650"/>
                <a:gd name="T4" fmla="*/ 860 w 2253"/>
                <a:gd name="T5" fmla="*/ 1570 h 1650"/>
                <a:gd name="T6" fmla="*/ 686 w 2253"/>
                <a:gd name="T7" fmla="*/ 1492 h 1650"/>
                <a:gd name="T8" fmla="*/ 526 w 2253"/>
                <a:gd name="T9" fmla="*/ 1390 h 1650"/>
                <a:gd name="T10" fmla="*/ 384 w 2253"/>
                <a:gd name="T11" fmla="*/ 1266 h 1650"/>
                <a:gd name="T12" fmla="*/ 260 w 2253"/>
                <a:gd name="T13" fmla="*/ 1124 h 1650"/>
                <a:gd name="T14" fmla="*/ 158 w 2253"/>
                <a:gd name="T15" fmla="*/ 964 h 1650"/>
                <a:gd name="T16" fmla="*/ 80 w 2253"/>
                <a:gd name="T17" fmla="*/ 790 h 1650"/>
                <a:gd name="T18" fmla="*/ 26 w 2253"/>
                <a:gd name="T19" fmla="*/ 604 h 1650"/>
                <a:gd name="T20" fmla="*/ 2 w 2253"/>
                <a:gd name="T21" fmla="*/ 408 h 1650"/>
                <a:gd name="T22" fmla="*/ 0 w 2253"/>
                <a:gd name="T23" fmla="*/ 298 h 1650"/>
                <a:gd name="T24" fmla="*/ 10 w 2253"/>
                <a:gd name="T25" fmla="*/ 174 h 1650"/>
                <a:gd name="T26" fmla="*/ 32 w 2253"/>
                <a:gd name="T27" fmla="*/ 52 h 1650"/>
                <a:gd name="T28" fmla="*/ 44 w 2253"/>
                <a:gd name="T29" fmla="*/ 6 h 1650"/>
                <a:gd name="T30" fmla="*/ 60 w 2253"/>
                <a:gd name="T31" fmla="*/ 0 h 1650"/>
                <a:gd name="T32" fmla="*/ 70 w 2253"/>
                <a:gd name="T33" fmla="*/ 8 h 1650"/>
                <a:gd name="T34" fmla="*/ 72 w 2253"/>
                <a:gd name="T35" fmla="*/ 20 h 1650"/>
                <a:gd name="T36" fmla="*/ 48 w 2253"/>
                <a:gd name="T37" fmla="*/ 138 h 1650"/>
                <a:gd name="T38" fmla="*/ 34 w 2253"/>
                <a:gd name="T39" fmla="*/ 260 h 1650"/>
                <a:gd name="T40" fmla="*/ 32 w 2253"/>
                <a:gd name="T41" fmla="*/ 340 h 1650"/>
                <a:gd name="T42" fmla="*/ 46 w 2253"/>
                <a:gd name="T43" fmla="*/ 534 h 1650"/>
                <a:gd name="T44" fmla="*/ 90 w 2253"/>
                <a:gd name="T45" fmla="*/ 720 h 1650"/>
                <a:gd name="T46" fmla="*/ 158 w 2253"/>
                <a:gd name="T47" fmla="*/ 894 h 1650"/>
                <a:gd name="T48" fmla="*/ 250 w 2253"/>
                <a:gd name="T49" fmla="*/ 1054 h 1650"/>
                <a:gd name="T50" fmla="*/ 364 w 2253"/>
                <a:gd name="T51" fmla="*/ 1198 h 1650"/>
                <a:gd name="T52" fmla="*/ 498 w 2253"/>
                <a:gd name="T53" fmla="*/ 1326 h 1650"/>
                <a:gd name="T54" fmla="*/ 648 w 2253"/>
                <a:gd name="T55" fmla="*/ 1432 h 1650"/>
                <a:gd name="T56" fmla="*/ 814 w 2253"/>
                <a:gd name="T57" fmla="*/ 1518 h 1650"/>
                <a:gd name="T58" fmla="*/ 992 w 2253"/>
                <a:gd name="T59" fmla="*/ 1578 h 1650"/>
                <a:gd name="T60" fmla="*/ 1180 w 2253"/>
                <a:gd name="T61" fmla="*/ 1612 h 1650"/>
                <a:gd name="T62" fmla="*/ 1310 w 2253"/>
                <a:gd name="T63" fmla="*/ 1618 h 1650"/>
                <a:gd name="T64" fmla="*/ 1445 w 2253"/>
                <a:gd name="T65" fmla="*/ 1610 h 1650"/>
                <a:gd name="T66" fmla="*/ 1577 w 2253"/>
                <a:gd name="T67" fmla="*/ 1590 h 1650"/>
                <a:gd name="T68" fmla="*/ 1707 w 2253"/>
                <a:gd name="T69" fmla="*/ 1554 h 1650"/>
                <a:gd name="T70" fmla="*/ 1833 w 2253"/>
                <a:gd name="T71" fmla="*/ 1506 h 1650"/>
                <a:gd name="T72" fmla="*/ 1953 w 2253"/>
                <a:gd name="T73" fmla="*/ 1444 h 1650"/>
                <a:gd name="T74" fmla="*/ 2053 w 2253"/>
                <a:gd name="T75" fmla="*/ 1378 h 1650"/>
                <a:gd name="T76" fmla="*/ 2227 w 2253"/>
                <a:gd name="T77" fmla="*/ 1230 h 1650"/>
                <a:gd name="T78" fmla="*/ 2237 w 2253"/>
                <a:gd name="T79" fmla="*/ 1224 h 1650"/>
                <a:gd name="T80" fmla="*/ 2249 w 2253"/>
                <a:gd name="T81" fmla="*/ 1230 h 1650"/>
                <a:gd name="T82" fmla="*/ 2253 w 2253"/>
                <a:gd name="T83" fmla="*/ 1246 h 1650"/>
                <a:gd name="T84" fmla="*/ 2193 w 2253"/>
                <a:gd name="T85" fmla="*/ 1306 h 1650"/>
                <a:gd name="T86" fmla="*/ 2007 w 2253"/>
                <a:gd name="T87" fmla="*/ 1448 h 1650"/>
                <a:gd name="T88" fmla="*/ 1929 w 2253"/>
                <a:gd name="T89" fmla="*/ 1494 h 1650"/>
                <a:gd name="T90" fmla="*/ 1803 w 2253"/>
                <a:gd name="T91" fmla="*/ 1554 h 1650"/>
                <a:gd name="T92" fmla="*/ 1673 w 2253"/>
                <a:gd name="T93" fmla="*/ 1598 h 1650"/>
                <a:gd name="T94" fmla="*/ 1539 w 2253"/>
                <a:gd name="T95" fmla="*/ 1630 h 1650"/>
                <a:gd name="T96" fmla="*/ 1401 w 2253"/>
                <a:gd name="T97" fmla="*/ 1646 h 1650"/>
                <a:gd name="T98" fmla="*/ 1310 w 2253"/>
                <a:gd name="T99" fmla="*/ 1650 h 1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3" h="1650">
                  <a:moveTo>
                    <a:pt x="1310" y="1650"/>
                  </a:moveTo>
                  <a:lnTo>
                    <a:pt x="1310" y="1650"/>
                  </a:lnTo>
                  <a:lnTo>
                    <a:pt x="1242" y="1648"/>
                  </a:lnTo>
                  <a:lnTo>
                    <a:pt x="1176" y="1644"/>
                  </a:lnTo>
                  <a:lnTo>
                    <a:pt x="1110" y="1634"/>
                  </a:lnTo>
                  <a:lnTo>
                    <a:pt x="1046" y="1624"/>
                  </a:lnTo>
                  <a:lnTo>
                    <a:pt x="982" y="1608"/>
                  </a:lnTo>
                  <a:lnTo>
                    <a:pt x="920" y="1592"/>
                  </a:lnTo>
                  <a:lnTo>
                    <a:pt x="860" y="1570"/>
                  </a:lnTo>
                  <a:lnTo>
                    <a:pt x="800" y="1546"/>
                  </a:lnTo>
                  <a:lnTo>
                    <a:pt x="742" y="1520"/>
                  </a:lnTo>
                  <a:lnTo>
                    <a:pt x="686" y="1492"/>
                  </a:lnTo>
                  <a:lnTo>
                    <a:pt x="632" y="1460"/>
                  </a:lnTo>
                  <a:lnTo>
                    <a:pt x="578" y="1426"/>
                  </a:lnTo>
                  <a:lnTo>
                    <a:pt x="526" y="1390"/>
                  </a:lnTo>
                  <a:lnTo>
                    <a:pt x="478" y="1350"/>
                  </a:lnTo>
                  <a:lnTo>
                    <a:pt x="430" y="1310"/>
                  </a:lnTo>
                  <a:lnTo>
                    <a:pt x="384" y="1266"/>
                  </a:lnTo>
                  <a:lnTo>
                    <a:pt x="340" y="1220"/>
                  </a:lnTo>
                  <a:lnTo>
                    <a:pt x="300" y="1172"/>
                  </a:lnTo>
                  <a:lnTo>
                    <a:pt x="260" y="1124"/>
                  </a:lnTo>
                  <a:lnTo>
                    <a:pt x="224" y="1072"/>
                  </a:lnTo>
                  <a:lnTo>
                    <a:pt x="190" y="1018"/>
                  </a:lnTo>
                  <a:lnTo>
                    <a:pt x="158" y="964"/>
                  </a:lnTo>
                  <a:lnTo>
                    <a:pt x="130" y="908"/>
                  </a:lnTo>
                  <a:lnTo>
                    <a:pt x="104" y="850"/>
                  </a:lnTo>
                  <a:lnTo>
                    <a:pt x="80" y="790"/>
                  </a:lnTo>
                  <a:lnTo>
                    <a:pt x="58" y="730"/>
                  </a:lnTo>
                  <a:lnTo>
                    <a:pt x="42" y="668"/>
                  </a:lnTo>
                  <a:lnTo>
                    <a:pt x="26" y="604"/>
                  </a:lnTo>
                  <a:lnTo>
                    <a:pt x="16" y="540"/>
                  </a:lnTo>
                  <a:lnTo>
                    <a:pt x="6" y="474"/>
                  </a:lnTo>
                  <a:lnTo>
                    <a:pt x="2" y="408"/>
                  </a:lnTo>
                  <a:lnTo>
                    <a:pt x="0" y="340"/>
                  </a:lnTo>
                  <a:lnTo>
                    <a:pt x="0" y="340"/>
                  </a:lnTo>
                  <a:lnTo>
                    <a:pt x="0" y="298"/>
                  </a:lnTo>
                  <a:lnTo>
                    <a:pt x="2" y="256"/>
                  </a:lnTo>
                  <a:lnTo>
                    <a:pt x="6" y="216"/>
                  </a:lnTo>
                  <a:lnTo>
                    <a:pt x="10" y="174"/>
                  </a:lnTo>
                  <a:lnTo>
                    <a:pt x="16" y="134"/>
                  </a:lnTo>
                  <a:lnTo>
                    <a:pt x="24" y="92"/>
                  </a:lnTo>
                  <a:lnTo>
                    <a:pt x="32" y="52"/>
                  </a:lnTo>
                  <a:lnTo>
                    <a:pt x="42" y="12"/>
                  </a:lnTo>
                  <a:lnTo>
                    <a:pt x="42" y="12"/>
                  </a:lnTo>
                  <a:lnTo>
                    <a:pt x="44" y="6"/>
                  </a:lnTo>
                  <a:lnTo>
                    <a:pt x="48" y="2"/>
                  </a:lnTo>
                  <a:lnTo>
                    <a:pt x="54" y="0"/>
                  </a:lnTo>
                  <a:lnTo>
                    <a:pt x="60" y="0"/>
                  </a:lnTo>
                  <a:lnTo>
                    <a:pt x="60" y="0"/>
                  </a:lnTo>
                  <a:lnTo>
                    <a:pt x="66" y="4"/>
                  </a:lnTo>
                  <a:lnTo>
                    <a:pt x="70" y="8"/>
                  </a:lnTo>
                  <a:lnTo>
                    <a:pt x="72" y="14"/>
                  </a:lnTo>
                  <a:lnTo>
                    <a:pt x="72" y="20"/>
                  </a:lnTo>
                  <a:lnTo>
                    <a:pt x="72" y="20"/>
                  </a:lnTo>
                  <a:lnTo>
                    <a:pt x="64" y="60"/>
                  </a:lnTo>
                  <a:lnTo>
                    <a:pt x="54" y="98"/>
                  </a:lnTo>
                  <a:lnTo>
                    <a:pt x="48" y="138"/>
                  </a:lnTo>
                  <a:lnTo>
                    <a:pt x="42" y="178"/>
                  </a:lnTo>
                  <a:lnTo>
                    <a:pt x="38" y="218"/>
                  </a:lnTo>
                  <a:lnTo>
                    <a:pt x="34" y="260"/>
                  </a:lnTo>
                  <a:lnTo>
                    <a:pt x="32" y="300"/>
                  </a:lnTo>
                  <a:lnTo>
                    <a:pt x="32" y="340"/>
                  </a:lnTo>
                  <a:lnTo>
                    <a:pt x="32" y="340"/>
                  </a:lnTo>
                  <a:lnTo>
                    <a:pt x="34" y="406"/>
                  </a:lnTo>
                  <a:lnTo>
                    <a:pt x="38" y="470"/>
                  </a:lnTo>
                  <a:lnTo>
                    <a:pt x="46" y="534"/>
                  </a:lnTo>
                  <a:lnTo>
                    <a:pt x="58" y="598"/>
                  </a:lnTo>
                  <a:lnTo>
                    <a:pt x="72" y="658"/>
                  </a:lnTo>
                  <a:lnTo>
                    <a:pt x="90" y="720"/>
                  </a:lnTo>
                  <a:lnTo>
                    <a:pt x="110" y="778"/>
                  </a:lnTo>
                  <a:lnTo>
                    <a:pt x="132" y="836"/>
                  </a:lnTo>
                  <a:lnTo>
                    <a:pt x="158" y="894"/>
                  </a:lnTo>
                  <a:lnTo>
                    <a:pt x="186" y="948"/>
                  </a:lnTo>
                  <a:lnTo>
                    <a:pt x="218" y="1002"/>
                  </a:lnTo>
                  <a:lnTo>
                    <a:pt x="250" y="1054"/>
                  </a:lnTo>
                  <a:lnTo>
                    <a:pt x="286" y="1104"/>
                  </a:lnTo>
                  <a:lnTo>
                    <a:pt x="324" y="1152"/>
                  </a:lnTo>
                  <a:lnTo>
                    <a:pt x="364" y="1198"/>
                  </a:lnTo>
                  <a:lnTo>
                    <a:pt x="406" y="1244"/>
                  </a:lnTo>
                  <a:lnTo>
                    <a:pt x="452" y="1286"/>
                  </a:lnTo>
                  <a:lnTo>
                    <a:pt x="498" y="1326"/>
                  </a:lnTo>
                  <a:lnTo>
                    <a:pt x="546" y="1364"/>
                  </a:lnTo>
                  <a:lnTo>
                    <a:pt x="596" y="1400"/>
                  </a:lnTo>
                  <a:lnTo>
                    <a:pt x="648" y="1432"/>
                  </a:lnTo>
                  <a:lnTo>
                    <a:pt x="702" y="1464"/>
                  </a:lnTo>
                  <a:lnTo>
                    <a:pt x="756" y="1492"/>
                  </a:lnTo>
                  <a:lnTo>
                    <a:pt x="814" y="1518"/>
                  </a:lnTo>
                  <a:lnTo>
                    <a:pt x="872" y="1540"/>
                  </a:lnTo>
                  <a:lnTo>
                    <a:pt x="930" y="1560"/>
                  </a:lnTo>
                  <a:lnTo>
                    <a:pt x="992" y="1578"/>
                  </a:lnTo>
                  <a:lnTo>
                    <a:pt x="1052" y="1592"/>
                  </a:lnTo>
                  <a:lnTo>
                    <a:pt x="1116" y="1604"/>
                  </a:lnTo>
                  <a:lnTo>
                    <a:pt x="1180" y="1612"/>
                  </a:lnTo>
                  <a:lnTo>
                    <a:pt x="1244" y="1616"/>
                  </a:lnTo>
                  <a:lnTo>
                    <a:pt x="1310" y="1618"/>
                  </a:lnTo>
                  <a:lnTo>
                    <a:pt x="1310" y="1618"/>
                  </a:lnTo>
                  <a:lnTo>
                    <a:pt x="1355" y="1618"/>
                  </a:lnTo>
                  <a:lnTo>
                    <a:pt x="1399" y="1614"/>
                  </a:lnTo>
                  <a:lnTo>
                    <a:pt x="1445" y="1610"/>
                  </a:lnTo>
                  <a:lnTo>
                    <a:pt x="1489" y="1606"/>
                  </a:lnTo>
                  <a:lnTo>
                    <a:pt x="1533" y="1598"/>
                  </a:lnTo>
                  <a:lnTo>
                    <a:pt x="1577" y="1590"/>
                  </a:lnTo>
                  <a:lnTo>
                    <a:pt x="1621" y="1580"/>
                  </a:lnTo>
                  <a:lnTo>
                    <a:pt x="1665" y="1568"/>
                  </a:lnTo>
                  <a:lnTo>
                    <a:pt x="1707" y="1554"/>
                  </a:lnTo>
                  <a:lnTo>
                    <a:pt x="1749" y="1540"/>
                  </a:lnTo>
                  <a:lnTo>
                    <a:pt x="1791" y="1524"/>
                  </a:lnTo>
                  <a:lnTo>
                    <a:pt x="1833" y="1506"/>
                  </a:lnTo>
                  <a:lnTo>
                    <a:pt x="1873" y="1486"/>
                  </a:lnTo>
                  <a:lnTo>
                    <a:pt x="1913" y="1466"/>
                  </a:lnTo>
                  <a:lnTo>
                    <a:pt x="1953" y="1444"/>
                  </a:lnTo>
                  <a:lnTo>
                    <a:pt x="1991" y="1420"/>
                  </a:lnTo>
                  <a:lnTo>
                    <a:pt x="1991" y="1420"/>
                  </a:lnTo>
                  <a:lnTo>
                    <a:pt x="2053" y="1378"/>
                  </a:lnTo>
                  <a:lnTo>
                    <a:pt x="2115" y="1332"/>
                  </a:lnTo>
                  <a:lnTo>
                    <a:pt x="2171" y="1282"/>
                  </a:lnTo>
                  <a:lnTo>
                    <a:pt x="2227" y="1230"/>
                  </a:lnTo>
                  <a:lnTo>
                    <a:pt x="2227" y="1230"/>
                  </a:lnTo>
                  <a:lnTo>
                    <a:pt x="2231" y="1226"/>
                  </a:lnTo>
                  <a:lnTo>
                    <a:pt x="2237" y="1224"/>
                  </a:lnTo>
                  <a:lnTo>
                    <a:pt x="2243" y="1226"/>
                  </a:lnTo>
                  <a:lnTo>
                    <a:pt x="2249" y="1230"/>
                  </a:lnTo>
                  <a:lnTo>
                    <a:pt x="2249" y="1230"/>
                  </a:lnTo>
                  <a:lnTo>
                    <a:pt x="2253" y="1234"/>
                  </a:lnTo>
                  <a:lnTo>
                    <a:pt x="2253" y="1240"/>
                  </a:lnTo>
                  <a:lnTo>
                    <a:pt x="2253" y="1246"/>
                  </a:lnTo>
                  <a:lnTo>
                    <a:pt x="2249" y="1252"/>
                  </a:lnTo>
                  <a:lnTo>
                    <a:pt x="2249" y="1252"/>
                  </a:lnTo>
                  <a:lnTo>
                    <a:pt x="2193" y="1306"/>
                  </a:lnTo>
                  <a:lnTo>
                    <a:pt x="2135" y="1358"/>
                  </a:lnTo>
                  <a:lnTo>
                    <a:pt x="2073" y="1404"/>
                  </a:lnTo>
                  <a:lnTo>
                    <a:pt x="2007" y="1448"/>
                  </a:lnTo>
                  <a:lnTo>
                    <a:pt x="2007" y="1448"/>
                  </a:lnTo>
                  <a:lnTo>
                    <a:pt x="1969" y="1472"/>
                  </a:lnTo>
                  <a:lnTo>
                    <a:pt x="1929" y="1494"/>
                  </a:lnTo>
                  <a:lnTo>
                    <a:pt x="1887" y="1516"/>
                  </a:lnTo>
                  <a:lnTo>
                    <a:pt x="1845" y="1536"/>
                  </a:lnTo>
                  <a:lnTo>
                    <a:pt x="1803" y="1554"/>
                  </a:lnTo>
                  <a:lnTo>
                    <a:pt x="1761" y="1570"/>
                  </a:lnTo>
                  <a:lnTo>
                    <a:pt x="1717" y="1586"/>
                  </a:lnTo>
                  <a:lnTo>
                    <a:pt x="1673" y="1598"/>
                  </a:lnTo>
                  <a:lnTo>
                    <a:pt x="1629" y="1610"/>
                  </a:lnTo>
                  <a:lnTo>
                    <a:pt x="1585" y="1620"/>
                  </a:lnTo>
                  <a:lnTo>
                    <a:pt x="1539" y="1630"/>
                  </a:lnTo>
                  <a:lnTo>
                    <a:pt x="1493" y="1638"/>
                  </a:lnTo>
                  <a:lnTo>
                    <a:pt x="1447" y="1642"/>
                  </a:lnTo>
                  <a:lnTo>
                    <a:pt x="1401" y="1646"/>
                  </a:lnTo>
                  <a:lnTo>
                    <a:pt x="1355" y="1650"/>
                  </a:lnTo>
                  <a:lnTo>
                    <a:pt x="1310" y="1650"/>
                  </a:lnTo>
                  <a:lnTo>
                    <a:pt x="1310" y="16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
            <p:cNvSpPr>
              <a:spLocks/>
            </p:cNvSpPr>
            <p:nvPr/>
          </p:nvSpPr>
          <p:spPr bwMode="auto">
            <a:xfrm>
              <a:off x="-870" y="2975"/>
              <a:ext cx="192" cy="192"/>
            </a:xfrm>
            <a:custGeom>
              <a:avLst/>
              <a:gdLst>
                <a:gd name="T0" fmla="*/ 0 w 192"/>
                <a:gd name="T1" fmla="*/ 6 h 192"/>
                <a:gd name="T2" fmla="*/ 0 w 192"/>
                <a:gd name="T3" fmla="*/ 38 h 192"/>
                <a:gd name="T4" fmla="*/ 158 w 192"/>
                <a:gd name="T5" fmla="*/ 32 h 192"/>
                <a:gd name="T6" fmla="*/ 152 w 192"/>
                <a:gd name="T7" fmla="*/ 192 h 192"/>
                <a:gd name="T8" fmla="*/ 184 w 192"/>
                <a:gd name="T9" fmla="*/ 192 h 192"/>
                <a:gd name="T10" fmla="*/ 192 w 192"/>
                <a:gd name="T11" fmla="*/ 0 h 192"/>
                <a:gd name="T12" fmla="*/ 0 w 192"/>
                <a:gd name="T13" fmla="*/ 6 h 192"/>
              </a:gdLst>
              <a:ahLst/>
              <a:cxnLst>
                <a:cxn ang="0">
                  <a:pos x="T0" y="T1"/>
                </a:cxn>
                <a:cxn ang="0">
                  <a:pos x="T2" y="T3"/>
                </a:cxn>
                <a:cxn ang="0">
                  <a:pos x="T4" y="T5"/>
                </a:cxn>
                <a:cxn ang="0">
                  <a:pos x="T6" y="T7"/>
                </a:cxn>
                <a:cxn ang="0">
                  <a:pos x="T8" y="T9"/>
                </a:cxn>
                <a:cxn ang="0">
                  <a:pos x="T10" y="T11"/>
                </a:cxn>
                <a:cxn ang="0">
                  <a:pos x="T12" y="T13"/>
                </a:cxn>
              </a:cxnLst>
              <a:rect l="0" t="0" r="r" b="b"/>
              <a:pathLst>
                <a:path w="192" h="192">
                  <a:moveTo>
                    <a:pt x="0" y="6"/>
                  </a:moveTo>
                  <a:lnTo>
                    <a:pt x="0" y="38"/>
                  </a:lnTo>
                  <a:lnTo>
                    <a:pt x="158" y="32"/>
                  </a:lnTo>
                  <a:lnTo>
                    <a:pt x="152" y="192"/>
                  </a:lnTo>
                  <a:lnTo>
                    <a:pt x="184" y="192"/>
                  </a:lnTo>
                  <a:lnTo>
                    <a:pt x="192" y="0"/>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Line 13"/>
            <p:cNvSpPr>
              <a:spLocks noChangeShapeType="1"/>
            </p:cNvSpPr>
            <p:nvPr/>
          </p:nvSpPr>
          <p:spPr bwMode="auto">
            <a:xfrm>
              <a:off x="-572" y="2845"/>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Line 14"/>
            <p:cNvSpPr>
              <a:spLocks noChangeShapeType="1"/>
            </p:cNvSpPr>
            <p:nvPr/>
          </p:nvSpPr>
          <p:spPr bwMode="auto">
            <a:xfrm>
              <a:off x="-572" y="2845"/>
              <a:ext cx="0" cy="0"/>
            </a:xfrm>
            <a:prstGeom prst="line">
              <a:avLst/>
            </a:prstGeom>
            <a:grpFill/>
            <a:ln w="381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 name="Line 15"/>
            <p:cNvSpPr>
              <a:spLocks noChangeShapeType="1"/>
            </p:cNvSpPr>
            <p:nvPr/>
          </p:nvSpPr>
          <p:spPr bwMode="auto">
            <a:xfrm>
              <a:off x="-1166" y="2499"/>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Line 16"/>
            <p:cNvSpPr>
              <a:spLocks noChangeShapeType="1"/>
            </p:cNvSpPr>
            <p:nvPr/>
          </p:nvSpPr>
          <p:spPr bwMode="auto">
            <a:xfrm>
              <a:off x="-1166" y="2499"/>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47" name="Oval 46"/>
          <p:cNvSpPr/>
          <p:nvPr/>
        </p:nvSpPr>
        <p:spPr>
          <a:xfrm>
            <a:off x="6399435" y="2071697"/>
            <a:ext cx="1041762" cy="1041762"/>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9" name="Oval 48"/>
          <p:cNvSpPr>
            <a:spLocks noChangeAspect="1"/>
          </p:cNvSpPr>
          <p:nvPr/>
        </p:nvSpPr>
        <p:spPr>
          <a:xfrm>
            <a:off x="7234524" y="2957638"/>
            <a:ext cx="457739" cy="45773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AU" sz="1200" dirty="0">
                <a:solidFill>
                  <a:schemeClr val="bg1"/>
                </a:solidFill>
                <a:latin typeface="Arial" panose="020B0604020202020204" pitchFamily="34" charset="0"/>
                <a:cs typeface="Arial" panose="020B0604020202020204" pitchFamily="34" charset="0"/>
              </a:rPr>
              <a:t>03</a:t>
            </a:r>
            <a:endParaRPr lang="en-US" sz="1200" dirty="0">
              <a:solidFill>
                <a:schemeClr val="bg1"/>
              </a:solidFill>
              <a:latin typeface="Arial" panose="020B0604020202020204" pitchFamily="34" charset="0"/>
              <a:cs typeface="Arial" panose="020B0604020202020204" pitchFamily="34" charset="0"/>
            </a:endParaRPr>
          </a:p>
        </p:txBody>
      </p:sp>
      <p:sp>
        <p:nvSpPr>
          <p:cNvPr id="50" name="TextBox 49"/>
          <p:cNvSpPr txBox="1"/>
          <p:nvPr/>
        </p:nvSpPr>
        <p:spPr>
          <a:xfrm>
            <a:off x="457200" y="404434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6"/>
                </a:solidFill>
                <a:latin typeface="Arial" panose="020B0604020202020204" pitchFamily="34" charset="0"/>
                <a:cs typeface="Arial" panose="020B0604020202020204" pitchFamily="34" charset="0"/>
              </a:rPr>
              <a:t>04 Headline</a:t>
            </a:r>
          </a:p>
        </p:txBody>
      </p:sp>
      <p:sp>
        <p:nvSpPr>
          <p:cNvPr id="51" name="TextBox 50"/>
          <p:cNvSpPr txBox="1"/>
          <p:nvPr/>
        </p:nvSpPr>
        <p:spPr>
          <a:xfrm>
            <a:off x="457200" y="4293794"/>
            <a:ext cx="2839499" cy="424732"/>
          </a:xfrm>
          <a:prstGeom prst="rect">
            <a:avLst/>
          </a:prstGeom>
          <a:noFill/>
        </p:spPr>
        <p:txBody>
          <a:bodyPr wrap="square" lIns="27000" rIns="27000" rtlCol="0">
            <a:spAutoFit/>
          </a:bodyPr>
          <a:lstStyle/>
          <a:p>
            <a:pPr>
              <a:lnSpc>
                <a:spcPct val="120000"/>
              </a:lnSpc>
            </a:pPr>
            <a:r>
              <a:rPr lang="en-US" sz="900" dirty="0">
                <a:solidFill>
                  <a:schemeClr val="accent5"/>
                </a:solidFill>
                <a:latin typeface="Arial" panose="020B0604020202020204" pitchFamily="34" charset="0"/>
                <a:cs typeface="Arial" panose="020B0604020202020204" pitchFamily="34" charset="0"/>
              </a:rPr>
              <a:t>Lorem ipsum dolor sit </a:t>
            </a:r>
            <a:r>
              <a:rPr lang="en-US" sz="900" dirty="0" err="1">
                <a:solidFill>
                  <a:schemeClr val="accent5"/>
                </a:solidFill>
                <a:latin typeface="Arial" panose="020B0604020202020204" pitchFamily="34" charset="0"/>
                <a:cs typeface="Arial" panose="020B0604020202020204" pitchFamily="34" charset="0"/>
              </a:rPr>
              <a:t>amet</a:t>
            </a:r>
            <a:r>
              <a:rPr lang="en-US" sz="900" dirty="0">
                <a:solidFill>
                  <a:schemeClr val="accent5"/>
                </a:solidFill>
                <a:latin typeface="Arial" panose="020B0604020202020204" pitchFamily="34" charset="0"/>
                <a:cs typeface="Arial" panose="020B0604020202020204" pitchFamily="34" charset="0"/>
              </a:rPr>
              <a:t>, </a:t>
            </a:r>
            <a:r>
              <a:rPr lang="en-US" sz="900" dirty="0" err="1">
                <a:solidFill>
                  <a:schemeClr val="accent5"/>
                </a:solidFill>
                <a:latin typeface="Arial" panose="020B0604020202020204" pitchFamily="34" charset="0"/>
                <a:cs typeface="Arial" panose="020B0604020202020204" pitchFamily="34" charset="0"/>
              </a:rPr>
              <a:t>consectetur</a:t>
            </a:r>
            <a:r>
              <a:rPr lang="en-US" sz="900" dirty="0">
                <a:solidFill>
                  <a:schemeClr val="accent5"/>
                </a:solidFill>
                <a:latin typeface="Arial" panose="020B0604020202020204" pitchFamily="34" charset="0"/>
                <a:cs typeface="Arial" panose="020B0604020202020204" pitchFamily="34" charset="0"/>
              </a:rPr>
              <a:t> adipiscing elit, sed do eiusmod tempor incididunt ut</a:t>
            </a:r>
          </a:p>
        </p:txBody>
      </p:sp>
      <p:pic>
        <p:nvPicPr>
          <p:cNvPr id="2" name="Picture 1" descr="A picture containing logo&#10;&#10;Description automatically generated">
            <a:extLst>
              <a:ext uri="{FF2B5EF4-FFF2-40B4-BE49-F238E27FC236}">
                <a16:creationId xmlns:a16="http://schemas.microsoft.com/office/drawing/2014/main" id="{9827FAF6-5357-9A65-A91B-67678FEA9859}"/>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3" name="TextBox 2">
            <a:extLst>
              <a:ext uri="{FF2B5EF4-FFF2-40B4-BE49-F238E27FC236}">
                <a16:creationId xmlns:a16="http://schemas.microsoft.com/office/drawing/2014/main" id="{9C6D1952-12F8-C738-A342-5ABAF2E7B1A2}"/>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accent3"/>
                </a:solidFill>
                <a:latin typeface="Arial" panose="020B0604020202020204" pitchFamily="34" charset="0"/>
                <a:cs typeface="Arial" panose="020B0604020202020204" pitchFamily="34" charset="0"/>
              </a:rPr>
              <a:t>incose.org</a:t>
            </a:r>
            <a:r>
              <a:rPr lang="en-GB" sz="800" spc="0" baseline="0" dirty="0">
                <a:solidFill>
                  <a:schemeClr val="accent3"/>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accent3"/>
                </a:solidFill>
                <a:latin typeface="Arial" panose="020B0604020202020204" pitchFamily="34" charset="0"/>
                <a:cs typeface="Arial" panose="020B0604020202020204" pitchFamily="34" charset="0"/>
              </a:rPr>
              <a:t>36</a:t>
            </a:fld>
            <a:endParaRPr lang="en-GB" sz="800" spc="0" baseline="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871963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7"/>
          </p:nvPr>
        </p:nvSpPr>
        <p:spPr/>
        <p:txBody>
          <a:bodyPr/>
          <a:lstStyle/>
          <a:p>
            <a:r>
              <a:rPr lang="en-US" dirty="0">
                <a:solidFill>
                  <a:schemeClr val="accent1"/>
                </a:solidFill>
              </a:rPr>
              <a:t>Concentric circles</a:t>
            </a:r>
          </a:p>
        </p:txBody>
      </p:sp>
      <p:cxnSp>
        <p:nvCxnSpPr>
          <p:cNvPr id="31" name="Straight Connector 30"/>
          <p:cNvCxnSpPr/>
          <p:nvPr/>
        </p:nvCxnSpPr>
        <p:spPr>
          <a:xfrm>
            <a:off x="4578138" y="1395506"/>
            <a:ext cx="0" cy="2885372"/>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5230395" y="1716165"/>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1 Headline</a:t>
            </a:r>
          </a:p>
        </p:txBody>
      </p:sp>
      <p:sp>
        <p:nvSpPr>
          <p:cNvPr id="33" name="TextBox 32"/>
          <p:cNvSpPr txBox="1"/>
          <p:nvPr/>
        </p:nvSpPr>
        <p:spPr>
          <a:xfrm>
            <a:off x="5230395" y="1965610"/>
            <a:ext cx="2819010"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4" name="TextBox 33"/>
          <p:cNvSpPr txBox="1"/>
          <p:nvPr/>
        </p:nvSpPr>
        <p:spPr>
          <a:xfrm>
            <a:off x="5230395" y="3316637"/>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3 Headline</a:t>
            </a:r>
          </a:p>
        </p:txBody>
      </p:sp>
      <p:sp>
        <p:nvSpPr>
          <p:cNvPr id="35" name="TextBox 34"/>
          <p:cNvSpPr txBox="1"/>
          <p:nvPr/>
        </p:nvSpPr>
        <p:spPr>
          <a:xfrm>
            <a:off x="5230395" y="3566083"/>
            <a:ext cx="2684881"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sp>
        <p:nvSpPr>
          <p:cNvPr id="36" name="TextBox 35"/>
          <p:cNvSpPr txBox="1"/>
          <p:nvPr/>
        </p:nvSpPr>
        <p:spPr>
          <a:xfrm>
            <a:off x="5230395" y="2473428"/>
            <a:ext cx="1877907" cy="286232"/>
          </a:xfrm>
          <a:prstGeom prst="rect">
            <a:avLst/>
          </a:prstGeom>
          <a:noFill/>
        </p:spPr>
        <p:txBody>
          <a:bodyPr wrap="square" lIns="27000" rIns="27000" rtlCol="0">
            <a:spAutoFit/>
          </a:bodyPr>
          <a:lstStyle/>
          <a:p>
            <a:pPr>
              <a:lnSpc>
                <a:spcPct val="90000"/>
              </a:lnSpc>
              <a:spcBef>
                <a:spcPts val="1200"/>
              </a:spcBef>
              <a:buClr>
                <a:srgbClr val="CC0000"/>
              </a:buClr>
              <a:buSzPct val="110000"/>
            </a:pPr>
            <a:r>
              <a:rPr lang="en-US" sz="1400" b="1" dirty="0">
                <a:solidFill>
                  <a:schemeClr val="accent1"/>
                </a:solidFill>
                <a:latin typeface="Arial" panose="020B0604020202020204" pitchFamily="34" charset="0"/>
                <a:cs typeface="Arial" panose="020B0604020202020204" pitchFamily="34" charset="0"/>
              </a:rPr>
              <a:t>02 Headline</a:t>
            </a:r>
          </a:p>
        </p:txBody>
      </p:sp>
      <p:sp>
        <p:nvSpPr>
          <p:cNvPr id="37" name="TextBox 36"/>
          <p:cNvSpPr txBox="1"/>
          <p:nvPr/>
        </p:nvSpPr>
        <p:spPr>
          <a:xfrm>
            <a:off x="5230396" y="2722873"/>
            <a:ext cx="2684880" cy="424732"/>
          </a:xfrm>
          <a:prstGeom prst="rect">
            <a:avLst/>
          </a:prstGeom>
          <a:noFill/>
        </p:spPr>
        <p:txBody>
          <a:bodyPr wrap="square" lIns="27000" rIns="27000" rtlCol="0">
            <a:spAutoFit/>
          </a:bodyPr>
          <a:lstStyle/>
          <a:p>
            <a:pPr>
              <a:lnSpc>
                <a:spcPct val="120000"/>
              </a:lnSpc>
            </a:pPr>
            <a:r>
              <a:rPr lang="en-US" sz="900" dirty="0">
                <a:solidFill>
                  <a:schemeClr val="tx2"/>
                </a:solidFill>
                <a:latin typeface="Arial" panose="020B0604020202020204" pitchFamily="34" charset="0"/>
                <a:cs typeface="Arial" panose="020B0604020202020204" pitchFamily="34" charset="0"/>
              </a:rPr>
              <a:t>Lorem ipsum dolor sit </a:t>
            </a:r>
            <a:r>
              <a:rPr lang="en-US" sz="900" dirty="0" err="1">
                <a:solidFill>
                  <a:schemeClr val="tx2"/>
                </a:solidFill>
                <a:latin typeface="Arial" panose="020B0604020202020204" pitchFamily="34" charset="0"/>
                <a:cs typeface="Arial" panose="020B0604020202020204" pitchFamily="34" charset="0"/>
              </a:rPr>
              <a:t>amet</a:t>
            </a:r>
            <a:r>
              <a:rPr lang="en-US" sz="900" dirty="0">
                <a:solidFill>
                  <a:schemeClr val="tx2"/>
                </a:solidFill>
                <a:latin typeface="Arial" panose="020B0604020202020204" pitchFamily="34" charset="0"/>
                <a:cs typeface="Arial" panose="020B0604020202020204" pitchFamily="34" charset="0"/>
              </a:rPr>
              <a:t>, </a:t>
            </a:r>
            <a:r>
              <a:rPr lang="en-US" sz="900" dirty="0" err="1">
                <a:solidFill>
                  <a:schemeClr val="tx2"/>
                </a:solidFill>
                <a:latin typeface="Arial" panose="020B0604020202020204" pitchFamily="34" charset="0"/>
                <a:cs typeface="Arial" panose="020B0604020202020204" pitchFamily="34" charset="0"/>
              </a:rPr>
              <a:t>consectetur</a:t>
            </a:r>
            <a:r>
              <a:rPr lang="en-US" sz="900" dirty="0">
                <a:solidFill>
                  <a:schemeClr val="tx2"/>
                </a:solidFill>
                <a:latin typeface="Arial" panose="020B0604020202020204" pitchFamily="34" charset="0"/>
                <a:cs typeface="Arial" panose="020B0604020202020204" pitchFamily="34" charset="0"/>
              </a:rPr>
              <a:t> adipiscing elit, sed do eiusmod tempor incididunt ut</a:t>
            </a:r>
          </a:p>
        </p:txBody>
      </p:sp>
      <p:grpSp>
        <p:nvGrpSpPr>
          <p:cNvPr id="42" name="Group 41"/>
          <p:cNvGrpSpPr/>
          <p:nvPr/>
        </p:nvGrpSpPr>
        <p:grpSpPr>
          <a:xfrm>
            <a:off x="1157662" y="1569154"/>
            <a:ext cx="2561476" cy="2561477"/>
            <a:chOff x="624195" y="1618093"/>
            <a:chExt cx="2089666" cy="2089667"/>
          </a:xfrm>
        </p:grpSpPr>
        <p:sp>
          <p:nvSpPr>
            <p:cNvPr id="43" name="Oval 42"/>
            <p:cNvSpPr/>
            <p:nvPr/>
          </p:nvSpPr>
          <p:spPr>
            <a:xfrm>
              <a:off x="624195" y="1618093"/>
              <a:ext cx="2089666" cy="2089667"/>
            </a:xfrm>
            <a:prstGeom prst="ellipse">
              <a:avLst/>
            </a:prstGeom>
            <a:solidFill>
              <a:schemeClr val="accent3"/>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4" name="Oval 43"/>
            <p:cNvSpPr/>
            <p:nvPr/>
          </p:nvSpPr>
          <p:spPr>
            <a:xfrm>
              <a:off x="970939" y="1964836"/>
              <a:ext cx="1396179" cy="1396180"/>
            </a:xfrm>
            <a:prstGeom prst="ellipse">
              <a:avLst/>
            </a:prstGeom>
            <a:solidFill>
              <a:srgbClr val="85B0FD"/>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45" name="Oval 44"/>
            <p:cNvSpPr/>
            <p:nvPr/>
          </p:nvSpPr>
          <p:spPr>
            <a:xfrm>
              <a:off x="1274155" y="2268053"/>
              <a:ext cx="789747" cy="789747"/>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grpSp>
      <p:sp>
        <p:nvSpPr>
          <p:cNvPr id="46" name="Rectangle 45"/>
          <p:cNvSpPr/>
          <p:nvPr/>
        </p:nvSpPr>
        <p:spPr>
          <a:xfrm>
            <a:off x="2189421" y="2036521"/>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2</a:t>
            </a:r>
          </a:p>
        </p:txBody>
      </p:sp>
      <p:sp>
        <p:nvSpPr>
          <p:cNvPr id="47" name="Rectangle 46"/>
          <p:cNvSpPr/>
          <p:nvPr/>
        </p:nvSpPr>
        <p:spPr>
          <a:xfrm>
            <a:off x="2189421" y="2456256"/>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3</a:t>
            </a:r>
          </a:p>
        </p:txBody>
      </p:sp>
      <p:sp>
        <p:nvSpPr>
          <p:cNvPr id="48" name="Rectangle 47"/>
          <p:cNvSpPr/>
          <p:nvPr/>
        </p:nvSpPr>
        <p:spPr>
          <a:xfrm>
            <a:off x="2189421" y="1651738"/>
            <a:ext cx="537994" cy="246221"/>
          </a:xfrm>
          <a:prstGeom prst="rect">
            <a:avLst/>
          </a:prstGeom>
        </p:spPr>
        <p:txBody>
          <a:bodyPr wrap="square" lIns="91440" tIns="0" rIns="91440" bIns="0">
            <a:spAutoFit/>
          </a:bodyPr>
          <a:lstStyle/>
          <a:p>
            <a:pPr algn="ctr" defTabSz="685722"/>
            <a:r>
              <a:rPr lang="en-US" sz="1600" b="1" dirty="0">
                <a:solidFill>
                  <a:schemeClr val="bg1"/>
                </a:solidFill>
                <a:latin typeface="Arial" panose="020B0604020202020204" pitchFamily="34" charset="0"/>
                <a:cs typeface="Arial" panose="020B0604020202020204" pitchFamily="34" charset="0"/>
              </a:rPr>
              <a:t>01</a:t>
            </a:r>
          </a:p>
        </p:txBody>
      </p:sp>
    </p:spTree>
    <p:extLst>
      <p:ext uri="{BB962C8B-B14F-4D97-AF65-F5344CB8AC3E}">
        <p14:creationId xmlns:p14="http://schemas.microsoft.com/office/powerpoint/2010/main" val="23554959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8" name="Text Placeholder 7"/>
          <p:cNvSpPr>
            <a:spLocks noGrp="1"/>
          </p:cNvSpPr>
          <p:nvPr>
            <p:ph type="body" sz="quarter" idx="17"/>
          </p:nvPr>
        </p:nvSpPr>
        <p:spPr/>
        <p:txBody>
          <a:bodyPr/>
          <a:lstStyle/>
          <a:p>
            <a:r>
              <a:rPr lang="en-US" dirty="0">
                <a:solidFill>
                  <a:schemeClr val="accent1"/>
                </a:solidFill>
              </a:rPr>
              <a:t>Venn diagram</a:t>
            </a:r>
          </a:p>
        </p:txBody>
      </p:sp>
      <p:grpSp>
        <p:nvGrpSpPr>
          <p:cNvPr id="4" name="Group 3"/>
          <p:cNvGrpSpPr/>
          <p:nvPr/>
        </p:nvGrpSpPr>
        <p:grpSpPr>
          <a:xfrm>
            <a:off x="2823180" y="1814456"/>
            <a:ext cx="3134502" cy="2089667"/>
            <a:chOff x="3202770" y="2038829"/>
            <a:chExt cx="2797943" cy="1865294"/>
          </a:xfrm>
        </p:grpSpPr>
        <p:sp>
          <p:nvSpPr>
            <p:cNvPr id="6" name="Oval 5"/>
            <p:cNvSpPr/>
            <p:nvPr/>
          </p:nvSpPr>
          <p:spPr>
            <a:xfrm>
              <a:off x="4135418" y="2038829"/>
              <a:ext cx="1865295" cy="1865294"/>
            </a:xfrm>
            <a:prstGeom prst="ellipse">
              <a:avLst/>
            </a:prstGeom>
            <a:solidFill>
              <a:schemeClr val="accent2">
                <a:lumMod val="60000"/>
                <a:lumOff val="40000"/>
                <a:alpha val="39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sp>
          <p:nvSpPr>
            <p:cNvPr id="87" name="Oval 86"/>
            <p:cNvSpPr/>
            <p:nvPr/>
          </p:nvSpPr>
          <p:spPr>
            <a:xfrm>
              <a:off x="3202770" y="2038829"/>
              <a:ext cx="1865293" cy="1865294"/>
            </a:xfrm>
            <a:prstGeom prst="ellipse">
              <a:avLst/>
            </a:prstGeom>
            <a:solidFill>
              <a:schemeClr val="accent5">
                <a:lumMod val="75000"/>
                <a:alpha val="26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7" name="Oval 6"/>
            <p:cNvSpPr/>
            <p:nvPr/>
          </p:nvSpPr>
          <p:spPr>
            <a:xfrm>
              <a:off x="3202771" y="2038829"/>
              <a:ext cx="1865294" cy="1865294"/>
            </a:xfrm>
            <a:prstGeom prst="ellipse">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mj-lt"/>
              </a:endParaRPr>
            </a:p>
          </p:txBody>
        </p:sp>
      </p:grpSp>
      <p:sp>
        <p:nvSpPr>
          <p:cNvPr id="10" name="Rectangle 9"/>
          <p:cNvSpPr/>
          <p:nvPr/>
        </p:nvSpPr>
        <p:spPr>
          <a:xfrm>
            <a:off x="1816523" y="2662927"/>
            <a:ext cx="946773" cy="246221"/>
          </a:xfrm>
          <a:prstGeom prst="rect">
            <a:avLst/>
          </a:prstGeom>
        </p:spPr>
        <p:txBody>
          <a:bodyPr wrap="square" lIns="91440" tIns="0" rIns="91440" bIns="0">
            <a:spAutoFit/>
          </a:bodyPr>
          <a:lstStyle/>
          <a:p>
            <a:pPr defTabSz="685722"/>
            <a:r>
              <a:rPr lang="en-US" sz="1600" b="1" spc="-50" dirty="0">
                <a:solidFill>
                  <a:schemeClr val="accent5"/>
                </a:solidFill>
                <a:latin typeface="+mj-lt"/>
              </a:rPr>
              <a:t>Team A</a:t>
            </a:r>
          </a:p>
        </p:txBody>
      </p:sp>
      <p:sp>
        <p:nvSpPr>
          <p:cNvPr id="11" name="Rectangle 10"/>
          <p:cNvSpPr/>
          <p:nvPr/>
        </p:nvSpPr>
        <p:spPr>
          <a:xfrm>
            <a:off x="3879586" y="1311894"/>
            <a:ext cx="2296734" cy="369330"/>
          </a:xfrm>
          <a:prstGeom prst="rect">
            <a:avLst/>
          </a:prstGeom>
        </p:spPr>
        <p:txBody>
          <a:bodyPr wrap="square" lIns="121917" tIns="60959" rIns="121917" bIns="60959">
            <a:spAutoFit/>
          </a:bodyPr>
          <a:lstStyle/>
          <a:p>
            <a:pPr defTabSz="685722"/>
            <a:r>
              <a:rPr lang="en-US" sz="1600" b="1" spc="-50" dirty="0">
                <a:solidFill>
                  <a:schemeClr val="accent3"/>
                </a:solidFill>
                <a:latin typeface="+mj-lt"/>
              </a:rPr>
              <a:t>Team C</a:t>
            </a:r>
          </a:p>
        </p:txBody>
      </p:sp>
      <p:sp>
        <p:nvSpPr>
          <p:cNvPr id="12" name="Rectangle 11"/>
          <p:cNvSpPr/>
          <p:nvPr/>
        </p:nvSpPr>
        <p:spPr>
          <a:xfrm>
            <a:off x="6176320" y="2662927"/>
            <a:ext cx="1208514" cy="246221"/>
          </a:xfrm>
          <a:prstGeom prst="rect">
            <a:avLst/>
          </a:prstGeom>
        </p:spPr>
        <p:txBody>
          <a:bodyPr wrap="square" lIns="91440" tIns="0" rIns="91440" bIns="0">
            <a:spAutoFit/>
          </a:bodyPr>
          <a:lstStyle/>
          <a:p>
            <a:pPr defTabSz="685722"/>
            <a:r>
              <a:rPr lang="en-US" sz="1600" b="1" spc="-50" dirty="0">
                <a:solidFill>
                  <a:schemeClr val="accent2"/>
                </a:solidFill>
                <a:latin typeface="+mj-lt"/>
              </a:rPr>
              <a:t>Team B</a:t>
            </a:r>
          </a:p>
        </p:txBody>
      </p:sp>
    </p:spTree>
    <p:extLst>
      <p:ext uri="{BB962C8B-B14F-4D97-AF65-F5344CB8AC3E}">
        <p14:creationId xmlns:p14="http://schemas.microsoft.com/office/powerpoint/2010/main" val="340980818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8" name="Group 47"/>
          <p:cNvGrpSpPr/>
          <p:nvPr/>
        </p:nvGrpSpPr>
        <p:grpSpPr>
          <a:xfrm>
            <a:off x="474131" y="1419926"/>
            <a:ext cx="6281022" cy="698792"/>
            <a:chOff x="1638892" y="1077138"/>
            <a:chExt cx="6121553" cy="1739268"/>
          </a:xfrm>
        </p:grpSpPr>
        <p:cxnSp>
          <p:nvCxnSpPr>
            <p:cNvPr id="50" name="Straight Connector 49"/>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42" name="Rectangle 41"/>
          <p:cNvSpPr/>
          <p:nvPr/>
        </p:nvSpPr>
        <p:spPr>
          <a:xfrm>
            <a:off x="465187" y="2118262"/>
            <a:ext cx="8678813" cy="1036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9" name="Text Placeholder 8"/>
          <p:cNvSpPr>
            <a:spLocks noGrp="1"/>
          </p:cNvSpPr>
          <p:nvPr>
            <p:ph type="body" sz="quarter" idx="17"/>
          </p:nvPr>
        </p:nvSpPr>
        <p:spPr/>
        <p:txBody>
          <a:bodyPr/>
          <a:lstStyle/>
          <a:p>
            <a:r>
              <a:rPr lang="en-US" dirty="0">
                <a:solidFill>
                  <a:schemeClr val="accent1"/>
                </a:solidFill>
              </a:rPr>
              <a:t>Linear flow layout</a:t>
            </a:r>
          </a:p>
        </p:txBody>
      </p:sp>
      <p:grpSp>
        <p:nvGrpSpPr>
          <p:cNvPr id="2" name="Group 1"/>
          <p:cNvGrpSpPr/>
          <p:nvPr/>
        </p:nvGrpSpPr>
        <p:grpSpPr>
          <a:xfrm>
            <a:off x="652582" y="1703051"/>
            <a:ext cx="352535" cy="301040"/>
            <a:chOff x="695428" y="1491009"/>
            <a:chExt cx="433949" cy="370562"/>
          </a:xfrm>
          <a:solidFill>
            <a:schemeClr val="accent2"/>
          </a:solidFill>
        </p:grpSpPr>
        <p:sp>
          <p:nvSpPr>
            <p:cNvPr id="66" name="Freeform 20"/>
            <p:cNvSpPr>
              <a:spLocks/>
            </p:cNvSpPr>
            <p:nvPr/>
          </p:nvSpPr>
          <p:spPr bwMode="auto">
            <a:xfrm>
              <a:off x="695428" y="1669789"/>
              <a:ext cx="433949" cy="191782"/>
            </a:xfrm>
            <a:custGeom>
              <a:avLst/>
              <a:gdLst>
                <a:gd name="T0" fmla="*/ 921 w 1066"/>
                <a:gd name="T1" fmla="*/ 91 h 472"/>
                <a:gd name="T2" fmla="*/ 919 w 1066"/>
                <a:gd name="T3" fmla="*/ 88 h 472"/>
                <a:gd name="T4" fmla="*/ 912 w 1066"/>
                <a:gd name="T5" fmla="*/ 81 h 472"/>
                <a:gd name="T6" fmla="*/ 732 w 1066"/>
                <a:gd name="T7" fmla="*/ 0 h 472"/>
                <a:gd name="T8" fmla="*/ 710 w 1066"/>
                <a:gd name="T9" fmla="*/ 48 h 472"/>
                <a:gd name="T10" fmla="*/ 988 w 1066"/>
                <a:gd name="T11" fmla="*/ 364 h 472"/>
                <a:gd name="T12" fmla="*/ 744 w 1066"/>
                <a:gd name="T13" fmla="*/ 123 h 472"/>
                <a:gd name="T14" fmla="*/ 741 w 1066"/>
                <a:gd name="T15" fmla="*/ 118 h 472"/>
                <a:gd name="T16" fmla="*/ 733 w 1066"/>
                <a:gd name="T17" fmla="*/ 110 h 472"/>
                <a:gd name="T18" fmla="*/ 725 w 1066"/>
                <a:gd name="T19" fmla="*/ 106 h 472"/>
                <a:gd name="T20" fmla="*/ 715 w 1066"/>
                <a:gd name="T21" fmla="*/ 106 h 472"/>
                <a:gd name="T22" fmla="*/ 710 w 1066"/>
                <a:gd name="T23" fmla="*/ 108 h 472"/>
                <a:gd name="T24" fmla="*/ 701 w 1066"/>
                <a:gd name="T25" fmla="*/ 113 h 472"/>
                <a:gd name="T26" fmla="*/ 695 w 1066"/>
                <a:gd name="T27" fmla="*/ 121 h 472"/>
                <a:gd name="T28" fmla="*/ 692 w 1066"/>
                <a:gd name="T29" fmla="*/ 131 h 472"/>
                <a:gd name="T30" fmla="*/ 695 w 1066"/>
                <a:gd name="T31" fmla="*/ 141 h 472"/>
                <a:gd name="T32" fmla="*/ 560 w 1066"/>
                <a:gd name="T33" fmla="*/ 400 h 472"/>
                <a:gd name="T34" fmla="*/ 547 w 1066"/>
                <a:gd name="T35" fmla="*/ 294 h 472"/>
                <a:gd name="T36" fmla="*/ 541 w 1066"/>
                <a:gd name="T37" fmla="*/ 297 h 472"/>
                <a:gd name="T38" fmla="*/ 533 w 1066"/>
                <a:gd name="T39" fmla="*/ 298 h 472"/>
                <a:gd name="T40" fmla="*/ 518 w 1066"/>
                <a:gd name="T41" fmla="*/ 294 h 472"/>
                <a:gd name="T42" fmla="*/ 507 w 1066"/>
                <a:gd name="T43" fmla="*/ 400 h 472"/>
                <a:gd name="T44" fmla="*/ 372 w 1066"/>
                <a:gd name="T45" fmla="*/ 141 h 472"/>
                <a:gd name="T46" fmla="*/ 373 w 1066"/>
                <a:gd name="T47" fmla="*/ 136 h 472"/>
                <a:gd name="T48" fmla="*/ 373 w 1066"/>
                <a:gd name="T49" fmla="*/ 126 h 472"/>
                <a:gd name="T50" fmla="*/ 368 w 1066"/>
                <a:gd name="T51" fmla="*/ 116 h 472"/>
                <a:gd name="T52" fmla="*/ 361 w 1066"/>
                <a:gd name="T53" fmla="*/ 110 h 472"/>
                <a:gd name="T54" fmla="*/ 357 w 1066"/>
                <a:gd name="T55" fmla="*/ 108 h 472"/>
                <a:gd name="T56" fmla="*/ 346 w 1066"/>
                <a:gd name="T57" fmla="*/ 105 h 472"/>
                <a:gd name="T58" fmla="*/ 337 w 1066"/>
                <a:gd name="T59" fmla="*/ 108 h 472"/>
                <a:gd name="T60" fmla="*/ 328 w 1066"/>
                <a:gd name="T61" fmla="*/ 114 h 472"/>
                <a:gd name="T62" fmla="*/ 322 w 1066"/>
                <a:gd name="T63" fmla="*/ 123 h 472"/>
                <a:gd name="T64" fmla="*/ 79 w 1066"/>
                <a:gd name="T65" fmla="*/ 364 h 472"/>
                <a:gd name="T66" fmla="*/ 357 w 1066"/>
                <a:gd name="T67" fmla="*/ 48 h 472"/>
                <a:gd name="T68" fmla="*/ 333 w 1066"/>
                <a:gd name="T69" fmla="*/ 0 h 472"/>
                <a:gd name="T70" fmla="*/ 158 w 1066"/>
                <a:gd name="T71" fmla="*/ 79 h 472"/>
                <a:gd name="T72" fmla="*/ 150 w 1066"/>
                <a:gd name="T73" fmla="*/ 84 h 472"/>
                <a:gd name="T74" fmla="*/ 144 w 1066"/>
                <a:gd name="T75" fmla="*/ 91 h 472"/>
                <a:gd name="T76" fmla="*/ 3 w 1066"/>
                <a:gd name="T77" fmla="*/ 405 h 472"/>
                <a:gd name="T78" fmla="*/ 0 w 1066"/>
                <a:gd name="T79" fmla="*/ 420 h 472"/>
                <a:gd name="T80" fmla="*/ 8 w 1066"/>
                <a:gd name="T81" fmla="*/ 434 h 472"/>
                <a:gd name="T82" fmla="*/ 14 w 1066"/>
                <a:gd name="T83" fmla="*/ 439 h 472"/>
                <a:gd name="T84" fmla="*/ 29 w 1066"/>
                <a:gd name="T85" fmla="*/ 443 h 472"/>
                <a:gd name="T86" fmla="*/ 279 w 1066"/>
                <a:gd name="T87" fmla="*/ 333 h 472"/>
                <a:gd name="T88" fmla="*/ 519 w 1066"/>
                <a:gd name="T89" fmla="*/ 468 h 472"/>
                <a:gd name="T90" fmla="*/ 524 w 1066"/>
                <a:gd name="T91" fmla="*/ 471 h 472"/>
                <a:gd name="T92" fmla="*/ 526 w 1066"/>
                <a:gd name="T93" fmla="*/ 471 h 472"/>
                <a:gd name="T94" fmla="*/ 533 w 1066"/>
                <a:gd name="T95" fmla="*/ 472 h 472"/>
                <a:gd name="T96" fmla="*/ 540 w 1066"/>
                <a:gd name="T97" fmla="*/ 471 h 472"/>
                <a:gd name="T98" fmla="*/ 542 w 1066"/>
                <a:gd name="T99" fmla="*/ 471 h 472"/>
                <a:gd name="T100" fmla="*/ 786 w 1066"/>
                <a:gd name="T101" fmla="*/ 333 h 472"/>
                <a:gd name="T102" fmla="*/ 1029 w 1066"/>
                <a:gd name="T103" fmla="*/ 440 h 472"/>
                <a:gd name="T104" fmla="*/ 1045 w 1066"/>
                <a:gd name="T105" fmla="*/ 442 h 472"/>
                <a:gd name="T106" fmla="*/ 1059 w 1066"/>
                <a:gd name="T107" fmla="*/ 434 h 472"/>
                <a:gd name="T108" fmla="*/ 1063 w 1066"/>
                <a:gd name="T109" fmla="*/ 428 h 472"/>
                <a:gd name="T110" fmla="*/ 1066 w 1066"/>
                <a:gd name="T111" fmla="*/ 413 h 472"/>
                <a:gd name="T112" fmla="*/ 1064 w 1066"/>
                <a:gd name="T113" fmla="*/ 40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66" h="472">
                  <a:moveTo>
                    <a:pt x="1064" y="405"/>
                  </a:moveTo>
                  <a:lnTo>
                    <a:pt x="921" y="91"/>
                  </a:lnTo>
                  <a:lnTo>
                    <a:pt x="921" y="91"/>
                  </a:lnTo>
                  <a:lnTo>
                    <a:pt x="919" y="88"/>
                  </a:lnTo>
                  <a:lnTo>
                    <a:pt x="916" y="84"/>
                  </a:lnTo>
                  <a:lnTo>
                    <a:pt x="912" y="81"/>
                  </a:lnTo>
                  <a:lnTo>
                    <a:pt x="909" y="79"/>
                  </a:lnTo>
                  <a:lnTo>
                    <a:pt x="732" y="0"/>
                  </a:lnTo>
                  <a:lnTo>
                    <a:pt x="732" y="0"/>
                  </a:lnTo>
                  <a:lnTo>
                    <a:pt x="710" y="48"/>
                  </a:lnTo>
                  <a:lnTo>
                    <a:pt x="877" y="123"/>
                  </a:lnTo>
                  <a:lnTo>
                    <a:pt x="988" y="364"/>
                  </a:lnTo>
                  <a:lnTo>
                    <a:pt x="805" y="284"/>
                  </a:lnTo>
                  <a:lnTo>
                    <a:pt x="744" y="123"/>
                  </a:lnTo>
                  <a:lnTo>
                    <a:pt x="744" y="123"/>
                  </a:lnTo>
                  <a:lnTo>
                    <a:pt x="741" y="118"/>
                  </a:lnTo>
                  <a:lnTo>
                    <a:pt x="737" y="114"/>
                  </a:lnTo>
                  <a:lnTo>
                    <a:pt x="733" y="110"/>
                  </a:lnTo>
                  <a:lnTo>
                    <a:pt x="730" y="108"/>
                  </a:lnTo>
                  <a:lnTo>
                    <a:pt x="725" y="106"/>
                  </a:lnTo>
                  <a:lnTo>
                    <a:pt x="720" y="105"/>
                  </a:lnTo>
                  <a:lnTo>
                    <a:pt x="715" y="106"/>
                  </a:lnTo>
                  <a:lnTo>
                    <a:pt x="710" y="108"/>
                  </a:lnTo>
                  <a:lnTo>
                    <a:pt x="710" y="108"/>
                  </a:lnTo>
                  <a:lnTo>
                    <a:pt x="705" y="110"/>
                  </a:lnTo>
                  <a:lnTo>
                    <a:pt x="701" y="113"/>
                  </a:lnTo>
                  <a:lnTo>
                    <a:pt x="697" y="116"/>
                  </a:lnTo>
                  <a:lnTo>
                    <a:pt x="695" y="121"/>
                  </a:lnTo>
                  <a:lnTo>
                    <a:pt x="693" y="126"/>
                  </a:lnTo>
                  <a:lnTo>
                    <a:pt x="692" y="131"/>
                  </a:lnTo>
                  <a:lnTo>
                    <a:pt x="693" y="136"/>
                  </a:lnTo>
                  <a:lnTo>
                    <a:pt x="695" y="141"/>
                  </a:lnTo>
                  <a:lnTo>
                    <a:pt x="752" y="292"/>
                  </a:lnTo>
                  <a:lnTo>
                    <a:pt x="560" y="400"/>
                  </a:lnTo>
                  <a:lnTo>
                    <a:pt x="560" y="285"/>
                  </a:lnTo>
                  <a:lnTo>
                    <a:pt x="547" y="294"/>
                  </a:lnTo>
                  <a:lnTo>
                    <a:pt x="547" y="294"/>
                  </a:lnTo>
                  <a:lnTo>
                    <a:pt x="541" y="297"/>
                  </a:lnTo>
                  <a:lnTo>
                    <a:pt x="533" y="298"/>
                  </a:lnTo>
                  <a:lnTo>
                    <a:pt x="533" y="298"/>
                  </a:lnTo>
                  <a:lnTo>
                    <a:pt x="524" y="297"/>
                  </a:lnTo>
                  <a:lnTo>
                    <a:pt x="518" y="294"/>
                  </a:lnTo>
                  <a:lnTo>
                    <a:pt x="507" y="285"/>
                  </a:lnTo>
                  <a:lnTo>
                    <a:pt x="507" y="400"/>
                  </a:lnTo>
                  <a:lnTo>
                    <a:pt x="314" y="292"/>
                  </a:lnTo>
                  <a:lnTo>
                    <a:pt x="372" y="141"/>
                  </a:lnTo>
                  <a:lnTo>
                    <a:pt x="372" y="141"/>
                  </a:lnTo>
                  <a:lnTo>
                    <a:pt x="373" y="136"/>
                  </a:lnTo>
                  <a:lnTo>
                    <a:pt x="373" y="131"/>
                  </a:lnTo>
                  <a:lnTo>
                    <a:pt x="373" y="126"/>
                  </a:lnTo>
                  <a:lnTo>
                    <a:pt x="371" y="121"/>
                  </a:lnTo>
                  <a:lnTo>
                    <a:pt x="368" y="116"/>
                  </a:lnTo>
                  <a:lnTo>
                    <a:pt x="366" y="113"/>
                  </a:lnTo>
                  <a:lnTo>
                    <a:pt x="361" y="110"/>
                  </a:lnTo>
                  <a:lnTo>
                    <a:pt x="357" y="108"/>
                  </a:lnTo>
                  <a:lnTo>
                    <a:pt x="357" y="108"/>
                  </a:lnTo>
                  <a:lnTo>
                    <a:pt x="351" y="106"/>
                  </a:lnTo>
                  <a:lnTo>
                    <a:pt x="346" y="105"/>
                  </a:lnTo>
                  <a:lnTo>
                    <a:pt x="341" y="106"/>
                  </a:lnTo>
                  <a:lnTo>
                    <a:pt x="337" y="108"/>
                  </a:lnTo>
                  <a:lnTo>
                    <a:pt x="332" y="110"/>
                  </a:lnTo>
                  <a:lnTo>
                    <a:pt x="328" y="114"/>
                  </a:lnTo>
                  <a:lnTo>
                    <a:pt x="324" y="118"/>
                  </a:lnTo>
                  <a:lnTo>
                    <a:pt x="322" y="123"/>
                  </a:lnTo>
                  <a:lnTo>
                    <a:pt x="260" y="284"/>
                  </a:lnTo>
                  <a:lnTo>
                    <a:pt x="79" y="364"/>
                  </a:lnTo>
                  <a:lnTo>
                    <a:pt x="188" y="123"/>
                  </a:lnTo>
                  <a:lnTo>
                    <a:pt x="357" y="48"/>
                  </a:lnTo>
                  <a:lnTo>
                    <a:pt x="357" y="48"/>
                  </a:lnTo>
                  <a:lnTo>
                    <a:pt x="333" y="0"/>
                  </a:lnTo>
                  <a:lnTo>
                    <a:pt x="158" y="79"/>
                  </a:lnTo>
                  <a:lnTo>
                    <a:pt x="158" y="79"/>
                  </a:lnTo>
                  <a:lnTo>
                    <a:pt x="154" y="81"/>
                  </a:lnTo>
                  <a:lnTo>
                    <a:pt x="150" y="84"/>
                  </a:lnTo>
                  <a:lnTo>
                    <a:pt x="147" y="88"/>
                  </a:lnTo>
                  <a:lnTo>
                    <a:pt x="144" y="91"/>
                  </a:lnTo>
                  <a:lnTo>
                    <a:pt x="3" y="405"/>
                  </a:lnTo>
                  <a:lnTo>
                    <a:pt x="3" y="405"/>
                  </a:lnTo>
                  <a:lnTo>
                    <a:pt x="0" y="413"/>
                  </a:lnTo>
                  <a:lnTo>
                    <a:pt x="0" y="420"/>
                  </a:lnTo>
                  <a:lnTo>
                    <a:pt x="3" y="428"/>
                  </a:lnTo>
                  <a:lnTo>
                    <a:pt x="8" y="434"/>
                  </a:lnTo>
                  <a:lnTo>
                    <a:pt x="8" y="434"/>
                  </a:lnTo>
                  <a:lnTo>
                    <a:pt x="14" y="439"/>
                  </a:lnTo>
                  <a:lnTo>
                    <a:pt x="21" y="442"/>
                  </a:lnTo>
                  <a:lnTo>
                    <a:pt x="29" y="443"/>
                  </a:lnTo>
                  <a:lnTo>
                    <a:pt x="36" y="440"/>
                  </a:lnTo>
                  <a:lnTo>
                    <a:pt x="279" y="333"/>
                  </a:lnTo>
                  <a:lnTo>
                    <a:pt x="519" y="468"/>
                  </a:lnTo>
                  <a:lnTo>
                    <a:pt x="519" y="468"/>
                  </a:lnTo>
                  <a:lnTo>
                    <a:pt x="524" y="471"/>
                  </a:lnTo>
                  <a:lnTo>
                    <a:pt x="524" y="471"/>
                  </a:lnTo>
                  <a:lnTo>
                    <a:pt x="526" y="471"/>
                  </a:lnTo>
                  <a:lnTo>
                    <a:pt x="526" y="471"/>
                  </a:lnTo>
                  <a:lnTo>
                    <a:pt x="533" y="472"/>
                  </a:lnTo>
                  <a:lnTo>
                    <a:pt x="533" y="472"/>
                  </a:lnTo>
                  <a:lnTo>
                    <a:pt x="540" y="471"/>
                  </a:lnTo>
                  <a:lnTo>
                    <a:pt x="540" y="471"/>
                  </a:lnTo>
                  <a:lnTo>
                    <a:pt x="542" y="471"/>
                  </a:lnTo>
                  <a:lnTo>
                    <a:pt x="542" y="471"/>
                  </a:lnTo>
                  <a:lnTo>
                    <a:pt x="546" y="468"/>
                  </a:lnTo>
                  <a:lnTo>
                    <a:pt x="786" y="333"/>
                  </a:lnTo>
                  <a:lnTo>
                    <a:pt x="1029" y="440"/>
                  </a:lnTo>
                  <a:lnTo>
                    <a:pt x="1029" y="440"/>
                  </a:lnTo>
                  <a:lnTo>
                    <a:pt x="1036" y="443"/>
                  </a:lnTo>
                  <a:lnTo>
                    <a:pt x="1045" y="442"/>
                  </a:lnTo>
                  <a:lnTo>
                    <a:pt x="1051" y="439"/>
                  </a:lnTo>
                  <a:lnTo>
                    <a:pt x="1059" y="434"/>
                  </a:lnTo>
                  <a:lnTo>
                    <a:pt x="1059" y="434"/>
                  </a:lnTo>
                  <a:lnTo>
                    <a:pt x="1063" y="428"/>
                  </a:lnTo>
                  <a:lnTo>
                    <a:pt x="1065" y="420"/>
                  </a:lnTo>
                  <a:lnTo>
                    <a:pt x="1066" y="413"/>
                  </a:lnTo>
                  <a:lnTo>
                    <a:pt x="1064" y="405"/>
                  </a:lnTo>
                  <a:lnTo>
                    <a:pt x="1064" y="4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1"/>
            <p:cNvSpPr>
              <a:spLocks noEditPoints="1"/>
            </p:cNvSpPr>
            <p:nvPr/>
          </p:nvSpPr>
          <p:spPr bwMode="auto">
            <a:xfrm>
              <a:off x="822199" y="1491009"/>
              <a:ext cx="180406" cy="279547"/>
            </a:xfrm>
            <a:custGeom>
              <a:avLst/>
              <a:gdLst>
                <a:gd name="T0" fmla="*/ 230 w 445"/>
                <a:gd name="T1" fmla="*/ 686 h 686"/>
                <a:gd name="T2" fmla="*/ 246 w 445"/>
                <a:gd name="T3" fmla="*/ 673 h 686"/>
                <a:gd name="T4" fmla="*/ 317 w 445"/>
                <a:gd name="T5" fmla="*/ 546 h 686"/>
                <a:gd name="T6" fmla="*/ 387 w 445"/>
                <a:gd name="T7" fmla="*/ 405 h 686"/>
                <a:gd name="T8" fmla="*/ 429 w 445"/>
                <a:gd name="T9" fmla="*/ 303 h 686"/>
                <a:gd name="T10" fmla="*/ 445 w 445"/>
                <a:gd name="T11" fmla="*/ 234 h 686"/>
                <a:gd name="T12" fmla="*/ 444 w 445"/>
                <a:gd name="T13" fmla="*/ 200 h 686"/>
                <a:gd name="T14" fmla="*/ 427 w 445"/>
                <a:gd name="T15" fmla="*/ 136 h 686"/>
                <a:gd name="T16" fmla="*/ 393 w 445"/>
                <a:gd name="T17" fmla="*/ 81 h 686"/>
                <a:gd name="T18" fmla="*/ 347 w 445"/>
                <a:gd name="T19" fmla="*/ 39 h 686"/>
                <a:gd name="T20" fmla="*/ 288 w 445"/>
                <a:gd name="T21" fmla="*/ 10 h 686"/>
                <a:gd name="T22" fmla="*/ 223 w 445"/>
                <a:gd name="T23" fmla="*/ 0 h 686"/>
                <a:gd name="T24" fmla="*/ 178 w 445"/>
                <a:gd name="T25" fmla="*/ 5 h 686"/>
                <a:gd name="T26" fmla="*/ 117 w 445"/>
                <a:gd name="T27" fmla="*/ 27 h 686"/>
                <a:gd name="T28" fmla="*/ 66 w 445"/>
                <a:gd name="T29" fmla="*/ 65 h 686"/>
                <a:gd name="T30" fmla="*/ 28 w 445"/>
                <a:gd name="T31" fmla="*/ 116 h 686"/>
                <a:gd name="T32" fmla="*/ 5 w 445"/>
                <a:gd name="T33" fmla="*/ 178 h 686"/>
                <a:gd name="T34" fmla="*/ 0 w 445"/>
                <a:gd name="T35" fmla="*/ 223 h 686"/>
                <a:gd name="T36" fmla="*/ 8 w 445"/>
                <a:gd name="T37" fmla="*/ 273 h 686"/>
                <a:gd name="T38" fmla="*/ 43 w 445"/>
                <a:gd name="T39" fmla="*/ 370 h 686"/>
                <a:gd name="T40" fmla="*/ 93 w 445"/>
                <a:gd name="T41" fmla="*/ 477 h 686"/>
                <a:gd name="T42" fmla="*/ 199 w 445"/>
                <a:gd name="T43" fmla="*/ 673 h 686"/>
                <a:gd name="T44" fmla="*/ 209 w 445"/>
                <a:gd name="T45" fmla="*/ 683 h 686"/>
                <a:gd name="T46" fmla="*/ 223 w 445"/>
                <a:gd name="T47" fmla="*/ 686 h 686"/>
                <a:gd name="T48" fmla="*/ 240 w 445"/>
                <a:gd name="T49" fmla="*/ 54 h 686"/>
                <a:gd name="T50" fmla="*/ 288 w 445"/>
                <a:gd name="T51" fmla="*/ 66 h 686"/>
                <a:gd name="T52" fmla="*/ 331 w 445"/>
                <a:gd name="T53" fmla="*/ 91 h 686"/>
                <a:gd name="T54" fmla="*/ 363 w 445"/>
                <a:gd name="T55" fmla="*/ 128 h 686"/>
                <a:gd name="T56" fmla="*/ 385 w 445"/>
                <a:gd name="T57" fmla="*/ 173 h 686"/>
                <a:gd name="T58" fmla="*/ 392 w 445"/>
                <a:gd name="T59" fmla="*/ 223 h 686"/>
                <a:gd name="T60" fmla="*/ 387 w 445"/>
                <a:gd name="T61" fmla="*/ 255 h 686"/>
                <a:gd name="T62" fmla="*/ 366 w 445"/>
                <a:gd name="T63" fmla="*/ 322 h 686"/>
                <a:gd name="T64" fmla="*/ 303 w 445"/>
                <a:gd name="T65" fmla="*/ 457 h 686"/>
                <a:gd name="T66" fmla="*/ 223 w 445"/>
                <a:gd name="T67" fmla="*/ 608 h 686"/>
                <a:gd name="T68" fmla="*/ 169 w 445"/>
                <a:gd name="T69" fmla="*/ 512 h 686"/>
                <a:gd name="T70" fmla="*/ 91 w 445"/>
                <a:gd name="T71" fmla="*/ 348 h 686"/>
                <a:gd name="T72" fmla="*/ 63 w 445"/>
                <a:gd name="T73" fmla="*/ 275 h 686"/>
                <a:gd name="T74" fmla="*/ 53 w 445"/>
                <a:gd name="T75" fmla="*/ 223 h 686"/>
                <a:gd name="T76" fmla="*/ 57 w 445"/>
                <a:gd name="T77" fmla="*/ 189 h 686"/>
                <a:gd name="T78" fmla="*/ 74 w 445"/>
                <a:gd name="T79" fmla="*/ 141 h 686"/>
                <a:gd name="T80" fmla="*/ 103 w 445"/>
                <a:gd name="T81" fmla="*/ 103 h 686"/>
                <a:gd name="T82" fmla="*/ 142 w 445"/>
                <a:gd name="T83" fmla="*/ 74 h 686"/>
                <a:gd name="T84" fmla="*/ 188 w 445"/>
                <a:gd name="T85" fmla="*/ 56 h 686"/>
                <a:gd name="T86" fmla="*/ 223 w 445"/>
                <a:gd name="T87" fmla="*/ 53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45" h="686">
                  <a:moveTo>
                    <a:pt x="223" y="686"/>
                  </a:moveTo>
                  <a:lnTo>
                    <a:pt x="223" y="686"/>
                  </a:lnTo>
                  <a:lnTo>
                    <a:pt x="230" y="686"/>
                  </a:lnTo>
                  <a:lnTo>
                    <a:pt x="236" y="683"/>
                  </a:lnTo>
                  <a:lnTo>
                    <a:pt x="241" y="679"/>
                  </a:lnTo>
                  <a:lnTo>
                    <a:pt x="246" y="673"/>
                  </a:lnTo>
                  <a:lnTo>
                    <a:pt x="246" y="673"/>
                  </a:lnTo>
                  <a:lnTo>
                    <a:pt x="285" y="604"/>
                  </a:lnTo>
                  <a:lnTo>
                    <a:pt x="317" y="546"/>
                  </a:lnTo>
                  <a:lnTo>
                    <a:pt x="352" y="477"/>
                  </a:lnTo>
                  <a:lnTo>
                    <a:pt x="370" y="442"/>
                  </a:lnTo>
                  <a:lnTo>
                    <a:pt x="387" y="405"/>
                  </a:lnTo>
                  <a:lnTo>
                    <a:pt x="402" y="370"/>
                  </a:lnTo>
                  <a:lnTo>
                    <a:pt x="416" y="335"/>
                  </a:lnTo>
                  <a:lnTo>
                    <a:pt x="429" y="303"/>
                  </a:lnTo>
                  <a:lnTo>
                    <a:pt x="437" y="273"/>
                  </a:lnTo>
                  <a:lnTo>
                    <a:pt x="442" y="245"/>
                  </a:lnTo>
                  <a:lnTo>
                    <a:pt x="445" y="234"/>
                  </a:lnTo>
                  <a:lnTo>
                    <a:pt x="445" y="223"/>
                  </a:lnTo>
                  <a:lnTo>
                    <a:pt x="445" y="223"/>
                  </a:lnTo>
                  <a:lnTo>
                    <a:pt x="444" y="200"/>
                  </a:lnTo>
                  <a:lnTo>
                    <a:pt x="440" y="178"/>
                  </a:lnTo>
                  <a:lnTo>
                    <a:pt x="435" y="156"/>
                  </a:lnTo>
                  <a:lnTo>
                    <a:pt x="427" y="136"/>
                  </a:lnTo>
                  <a:lnTo>
                    <a:pt x="418" y="116"/>
                  </a:lnTo>
                  <a:lnTo>
                    <a:pt x="407" y="99"/>
                  </a:lnTo>
                  <a:lnTo>
                    <a:pt x="393" y="81"/>
                  </a:lnTo>
                  <a:lnTo>
                    <a:pt x="380" y="65"/>
                  </a:lnTo>
                  <a:lnTo>
                    <a:pt x="363" y="51"/>
                  </a:lnTo>
                  <a:lnTo>
                    <a:pt x="347" y="39"/>
                  </a:lnTo>
                  <a:lnTo>
                    <a:pt x="328" y="27"/>
                  </a:lnTo>
                  <a:lnTo>
                    <a:pt x="310" y="17"/>
                  </a:lnTo>
                  <a:lnTo>
                    <a:pt x="288" y="10"/>
                  </a:lnTo>
                  <a:lnTo>
                    <a:pt x="267" y="5"/>
                  </a:lnTo>
                  <a:lnTo>
                    <a:pt x="246" y="1"/>
                  </a:lnTo>
                  <a:lnTo>
                    <a:pt x="223" y="0"/>
                  </a:lnTo>
                  <a:lnTo>
                    <a:pt x="223" y="0"/>
                  </a:lnTo>
                  <a:lnTo>
                    <a:pt x="199" y="1"/>
                  </a:lnTo>
                  <a:lnTo>
                    <a:pt x="178" y="5"/>
                  </a:lnTo>
                  <a:lnTo>
                    <a:pt x="157" y="10"/>
                  </a:lnTo>
                  <a:lnTo>
                    <a:pt x="137" y="17"/>
                  </a:lnTo>
                  <a:lnTo>
                    <a:pt x="117" y="27"/>
                  </a:lnTo>
                  <a:lnTo>
                    <a:pt x="98" y="39"/>
                  </a:lnTo>
                  <a:lnTo>
                    <a:pt x="82" y="51"/>
                  </a:lnTo>
                  <a:lnTo>
                    <a:pt x="66" y="65"/>
                  </a:lnTo>
                  <a:lnTo>
                    <a:pt x="52" y="81"/>
                  </a:lnTo>
                  <a:lnTo>
                    <a:pt x="39" y="99"/>
                  </a:lnTo>
                  <a:lnTo>
                    <a:pt x="28" y="116"/>
                  </a:lnTo>
                  <a:lnTo>
                    <a:pt x="18" y="136"/>
                  </a:lnTo>
                  <a:lnTo>
                    <a:pt x="10" y="156"/>
                  </a:lnTo>
                  <a:lnTo>
                    <a:pt x="5" y="178"/>
                  </a:lnTo>
                  <a:lnTo>
                    <a:pt x="2" y="200"/>
                  </a:lnTo>
                  <a:lnTo>
                    <a:pt x="0" y="223"/>
                  </a:lnTo>
                  <a:lnTo>
                    <a:pt x="0" y="223"/>
                  </a:lnTo>
                  <a:lnTo>
                    <a:pt x="2" y="234"/>
                  </a:lnTo>
                  <a:lnTo>
                    <a:pt x="3" y="245"/>
                  </a:lnTo>
                  <a:lnTo>
                    <a:pt x="8" y="273"/>
                  </a:lnTo>
                  <a:lnTo>
                    <a:pt x="17" y="303"/>
                  </a:lnTo>
                  <a:lnTo>
                    <a:pt x="29" y="335"/>
                  </a:lnTo>
                  <a:lnTo>
                    <a:pt x="43" y="370"/>
                  </a:lnTo>
                  <a:lnTo>
                    <a:pt x="58" y="405"/>
                  </a:lnTo>
                  <a:lnTo>
                    <a:pt x="76" y="442"/>
                  </a:lnTo>
                  <a:lnTo>
                    <a:pt x="93" y="477"/>
                  </a:lnTo>
                  <a:lnTo>
                    <a:pt x="128" y="546"/>
                  </a:lnTo>
                  <a:lnTo>
                    <a:pt x="161" y="604"/>
                  </a:lnTo>
                  <a:lnTo>
                    <a:pt x="199" y="673"/>
                  </a:lnTo>
                  <a:lnTo>
                    <a:pt x="199" y="673"/>
                  </a:lnTo>
                  <a:lnTo>
                    <a:pt x="204" y="679"/>
                  </a:lnTo>
                  <a:lnTo>
                    <a:pt x="209" y="683"/>
                  </a:lnTo>
                  <a:lnTo>
                    <a:pt x="216" y="686"/>
                  </a:lnTo>
                  <a:lnTo>
                    <a:pt x="223" y="686"/>
                  </a:lnTo>
                  <a:lnTo>
                    <a:pt x="223" y="686"/>
                  </a:lnTo>
                  <a:close/>
                  <a:moveTo>
                    <a:pt x="223" y="53"/>
                  </a:moveTo>
                  <a:lnTo>
                    <a:pt x="223" y="53"/>
                  </a:lnTo>
                  <a:lnTo>
                    <a:pt x="240" y="54"/>
                  </a:lnTo>
                  <a:lnTo>
                    <a:pt x="257" y="56"/>
                  </a:lnTo>
                  <a:lnTo>
                    <a:pt x="273" y="61"/>
                  </a:lnTo>
                  <a:lnTo>
                    <a:pt x="288" y="66"/>
                  </a:lnTo>
                  <a:lnTo>
                    <a:pt x="303" y="74"/>
                  </a:lnTo>
                  <a:lnTo>
                    <a:pt x="317" y="83"/>
                  </a:lnTo>
                  <a:lnTo>
                    <a:pt x="331" y="91"/>
                  </a:lnTo>
                  <a:lnTo>
                    <a:pt x="342" y="103"/>
                  </a:lnTo>
                  <a:lnTo>
                    <a:pt x="353" y="115"/>
                  </a:lnTo>
                  <a:lnTo>
                    <a:pt x="363" y="128"/>
                  </a:lnTo>
                  <a:lnTo>
                    <a:pt x="372" y="141"/>
                  </a:lnTo>
                  <a:lnTo>
                    <a:pt x="378" y="156"/>
                  </a:lnTo>
                  <a:lnTo>
                    <a:pt x="385" y="173"/>
                  </a:lnTo>
                  <a:lnTo>
                    <a:pt x="388" y="189"/>
                  </a:lnTo>
                  <a:lnTo>
                    <a:pt x="391" y="205"/>
                  </a:lnTo>
                  <a:lnTo>
                    <a:pt x="392" y="223"/>
                  </a:lnTo>
                  <a:lnTo>
                    <a:pt x="392" y="223"/>
                  </a:lnTo>
                  <a:lnTo>
                    <a:pt x="391" y="238"/>
                  </a:lnTo>
                  <a:lnTo>
                    <a:pt x="387" y="255"/>
                  </a:lnTo>
                  <a:lnTo>
                    <a:pt x="382" y="275"/>
                  </a:lnTo>
                  <a:lnTo>
                    <a:pt x="375" y="298"/>
                  </a:lnTo>
                  <a:lnTo>
                    <a:pt x="366" y="322"/>
                  </a:lnTo>
                  <a:lnTo>
                    <a:pt x="355" y="348"/>
                  </a:lnTo>
                  <a:lnTo>
                    <a:pt x="331" y="402"/>
                  </a:lnTo>
                  <a:lnTo>
                    <a:pt x="303" y="457"/>
                  </a:lnTo>
                  <a:lnTo>
                    <a:pt x="276" y="512"/>
                  </a:lnTo>
                  <a:lnTo>
                    <a:pt x="248" y="563"/>
                  </a:lnTo>
                  <a:lnTo>
                    <a:pt x="223" y="608"/>
                  </a:lnTo>
                  <a:lnTo>
                    <a:pt x="223" y="608"/>
                  </a:lnTo>
                  <a:lnTo>
                    <a:pt x="197" y="563"/>
                  </a:lnTo>
                  <a:lnTo>
                    <a:pt x="169" y="512"/>
                  </a:lnTo>
                  <a:lnTo>
                    <a:pt x="142" y="457"/>
                  </a:lnTo>
                  <a:lnTo>
                    <a:pt x="114" y="402"/>
                  </a:lnTo>
                  <a:lnTo>
                    <a:pt x="91" y="348"/>
                  </a:lnTo>
                  <a:lnTo>
                    <a:pt x="81" y="322"/>
                  </a:lnTo>
                  <a:lnTo>
                    <a:pt x="71" y="298"/>
                  </a:lnTo>
                  <a:lnTo>
                    <a:pt x="63" y="275"/>
                  </a:lnTo>
                  <a:lnTo>
                    <a:pt x="58" y="255"/>
                  </a:lnTo>
                  <a:lnTo>
                    <a:pt x="54" y="238"/>
                  </a:lnTo>
                  <a:lnTo>
                    <a:pt x="53" y="223"/>
                  </a:lnTo>
                  <a:lnTo>
                    <a:pt x="53" y="223"/>
                  </a:lnTo>
                  <a:lnTo>
                    <a:pt x="54" y="205"/>
                  </a:lnTo>
                  <a:lnTo>
                    <a:pt x="57" y="189"/>
                  </a:lnTo>
                  <a:lnTo>
                    <a:pt x="61" y="173"/>
                  </a:lnTo>
                  <a:lnTo>
                    <a:pt x="67" y="156"/>
                  </a:lnTo>
                  <a:lnTo>
                    <a:pt x="74" y="141"/>
                  </a:lnTo>
                  <a:lnTo>
                    <a:pt x="82" y="128"/>
                  </a:lnTo>
                  <a:lnTo>
                    <a:pt x="92" y="115"/>
                  </a:lnTo>
                  <a:lnTo>
                    <a:pt x="103" y="103"/>
                  </a:lnTo>
                  <a:lnTo>
                    <a:pt x="114" y="91"/>
                  </a:lnTo>
                  <a:lnTo>
                    <a:pt x="128" y="83"/>
                  </a:lnTo>
                  <a:lnTo>
                    <a:pt x="142" y="74"/>
                  </a:lnTo>
                  <a:lnTo>
                    <a:pt x="157" y="66"/>
                  </a:lnTo>
                  <a:lnTo>
                    <a:pt x="172" y="61"/>
                  </a:lnTo>
                  <a:lnTo>
                    <a:pt x="188" y="56"/>
                  </a:lnTo>
                  <a:lnTo>
                    <a:pt x="206" y="54"/>
                  </a:lnTo>
                  <a:lnTo>
                    <a:pt x="223" y="53"/>
                  </a:lnTo>
                  <a:lnTo>
                    <a:pt x="223" y="53"/>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68" name="Freeform 22"/>
            <p:cNvSpPr>
              <a:spLocks noEditPoints="1"/>
            </p:cNvSpPr>
            <p:nvPr/>
          </p:nvSpPr>
          <p:spPr bwMode="auto">
            <a:xfrm>
              <a:off x="861206" y="1530016"/>
              <a:ext cx="102393" cy="104017"/>
            </a:xfrm>
            <a:custGeom>
              <a:avLst/>
              <a:gdLst>
                <a:gd name="T0" fmla="*/ 254 w 254"/>
                <a:gd name="T1" fmla="*/ 128 h 255"/>
                <a:gd name="T2" fmla="*/ 251 w 254"/>
                <a:gd name="T3" fmla="*/ 101 h 255"/>
                <a:gd name="T4" fmla="*/ 244 w 254"/>
                <a:gd name="T5" fmla="*/ 78 h 255"/>
                <a:gd name="T6" fmla="*/ 232 w 254"/>
                <a:gd name="T7" fmla="*/ 56 h 255"/>
                <a:gd name="T8" fmla="*/ 217 w 254"/>
                <a:gd name="T9" fmla="*/ 38 h 255"/>
                <a:gd name="T10" fmla="*/ 197 w 254"/>
                <a:gd name="T11" fmla="*/ 21 h 255"/>
                <a:gd name="T12" fmla="*/ 176 w 254"/>
                <a:gd name="T13" fmla="*/ 10 h 255"/>
                <a:gd name="T14" fmla="*/ 152 w 254"/>
                <a:gd name="T15" fmla="*/ 3 h 255"/>
                <a:gd name="T16" fmla="*/ 127 w 254"/>
                <a:gd name="T17" fmla="*/ 0 h 255"/>
                <a:gd name="T18" fmla="*/ 113 w 254"/>
                <a:gd name="T19" fmla="*/ 0 h 255"/>
                <a:gd name="T20" fmla="*/ 88 w 254"/>
                <a:gd name="T21" fmla="*/ 5 h 255"/>
                <a:gd name="T22" fmla="*/ 66 w 254"/>
                <a:gd name="T23" fmla="*/ 15 h 255"/>
                <a:gd name="T24" fmla="*/ 46 w 254"/>
                <a:gd name="T25" fmla="*/ 29 h 255"/>
                <a:gd name="T26" fmla="*/ 28 w 254"/>
                <a:gd name="T27" fmla="*/ 46 h 255"/>
                <a:gd name="T28" fmla="*/ 15 w 254"/>
                <a:gd name="T29" fmla="*/ 66 h 255"/>
                <a:gd name="T30" fmla="*/ 5 w 254"/>
                <a:gd name="T31" fmla="*/ 90 h 255"/>
                <a:gd name="T32" fmla="*/ 0 w 254"/>
                <a:gd name="T33" fmla="*/ 114 h 255"/>
                <a:gd name="T34" fmla="*/ 0 w 254"/>
                <a:gd name="T35" fmla="*/ 128 h 255"/>
                <a:gd name="T36" fmla="*/ 2 w 254"/>
                <a:gd name="T37" fmla="*/ 153 h 255"/>
                <a:gd name="T38" fmla="*/ 10 w 254"/>
                <a:gd name="T39" fmla="*/ 177 h 255"/>
                <a:gd name="T40" fmla="*/ 21 w 254"/>
                <a:gd name="T41" fmla="*/ 199 h 255"/>
                <a:gd name="T42" fmla="*/ 37 w 254"/>
                <a:gd name="T43" fmla="*/ 218 h 255"/>
                <a:gd name="T44" fmla="*/ 56 w 254"/>
                <a:gd name="T45" fmla="*/ 233 h 255"/>
                <a:gd name="T46" fmla="*/ 77 w 254"/>
                <a:gd name="T47" fmla="*/ 245 h 255"/>
                <a:gd name="T48" fmla="*/ 101 w 254"/>
                <a:gd name="T49" fmla="*/ 253 h 255"/>
                <a:gd name="T50" fmla="*/ 127 w 254"/>
                <a:gd name="T51" fmla="*/ 255 h 255"/>
                <a:gd name="T52" fmla="*/ 140 w 254"/>
                <a:gd name="T53" fmla="*/ 254 h 255"/>
                <a:gd name="T54" fmla="*/ 165 w 254"/>
                <a:gd name="T55" fmla="*/ 249 h 255"/>
                <a:gd name="T56" fmla="*/ 187 w 254"/>
                <a:gd name="T57" fmla="*/ 239 h 255"/>
                <a:gd name="T58" fmla="*/ 207 w 254"/>
                <a:gd name="T59" fmla="*/ 225 h 255"/>
                <a:gd name="T60" fmla="*/ 225 w 254"/>
                <a:gd name="T61" fmla="*/ 209 h 255"/>
                <a:gd name="T62" fmla="*/ 239 w 254"/>
                <a:gd name="T63" fmla="*/ 188 h 255"/>
                <a:gd name="T64" fmla="*/ 249 w 254"/>
                <a:gd name="T65" fmla="*/ 165 h 255"/>
                <a:gd name="T66" fmla="*/ 254 w 254"/>
                <a:gd name="T67" fmla="*/ 140 h 255"/>
                <a:gd name="T68" fmla="*/ 254 w 254"/>
                <a:gd name="T69" fmla="*/ 128 h 255"/>
                <a:gd name="T70" fmla="*/ 52 w 254"/>
                <a:gd name="T71" fmla="*/ 128 h 255"/>
                <a:gd name="T72" fmla="*/ 53 w 254"/>
                <a:gd name="T73" fmla="*/ 113 h 255"/>
                <a:gd name="T74" fmla="*/ 65 w 254"/>
                <a:gd name="T75" fmla="*/ 85 h 255"/>
                <a:gd name="T76" fmla="*/ 85 w 254"/>
                <a:gd name="T77" fmla="*/ 65 h 255"/>
                <a:gd name="T78" fmla="*/ 111 w 254"/>
                <a:gd name="T79" fmla="*/ 54 h 255"/>
                <a:gd name="T80" fmla="*/ 127 w 254"/>
                <a:gd name="T81" fmla="*/ 53 h 255"/>
                <a:gd name="T82" fmla="*/ 135 w 254"/>
                <a:gd name="T83" fmla="*/ 53 h 255"/>
                <a:gd name="T84" fmla="*/ 156 w 254"/>
                <a:gd name="T85" fmla="*/ 59 h 255"/>
                <a:gd name="T86" fmla="*/ 180 w 254"/>
                <a:gd name="T87" fmla="*/ 74 h 255"/>
                <a:gd name="T88" fmla="*/ 196 w 254"/>
                <a:gd name="T89" fmla="*/ 99 h 255"/>
                <a:gd name="T90" fmla="*/ 201 w 254"/>
                <a:gd name="T91" fmla="*/ 120 h 255"/>
                <a:gd name="T92" fmla="*/ 201 w 254"/>
                <a:gd name="T93" fmla="*/ 128 h 255"/>
                <a:gd name="T94" fmla="*/ 200 w 254"/>
                <a:gd name="T95" fmla="*/ 143 h 255"/>
                <a:gd name="T96" fmla="*/ 189 w 254"/>
                <a:gd name="T97" fmla="*/ 169 h 255"/>
                <a:gd name="T98" fmla="*/ 169 w 254"/>
                <a:gd name="T99" fmla="*/ 189 h 255"/>
                <a:gd name="T100" fmla="*/ 142 w 254"/>
                <a:gd name="T101" fmla="*/ 200 h 255"/>
                <a:gd name="T102" fmla="*/ 127 w 254"/>
                <a:gd name="T103" fmla="*/ 203 h 255"/>
                <a:gd name="T104" fmla="*/ 118 w 254"/>
                <a:gd name="T105" fmla="*/ 202 h 255"/>
                <a:gd name="T106" fmla="*/ 97 w 254"/>
                <a:gd name="T107" fmla="*/ 197 h 255"/>
                <a:gd name="T108" fmla="*/ 73 w 254"/>
                <a:gd name="T109" fmla="*/ 180 h 255"/>
                <a:gd name="T110" fmla="*/ 57 w 254"/>
                <a:gd name="T111" fmla="*/ 156 h 255"/>
                <a:gd name="T112" fmla="*/ 52 w 254"/>
                <a:gd name="T113" fmla="*/ 135 h 255"/>
                <a:gd name="T114" fmla="*/ 52 w 254"/>
                <a:gd name="T115" fmla="*/ 128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4" h="255">
                  <a:moveTo>
                    <a:pt x="254" y="128"/>
                  </a:moveTo>
                  <a:lnTo>
                    <a:pt x="254" y="128"/>
                  </a:lnTo>
                  <a:lnTo>
                    <a:pt x="254" y="114"/>
                  </a:lnTo>
                  <a:lnTo>
                    <a:pt x="251" y="101"/>
                  </a:lnTo>
                  <a:lnTo>
                    <a:pt x="249" y="90"/>
                  </a:lnTo>
                  <a:lnTo>
                    <a:pt x="244" y="78"/>
                  </a:lnTo>
                  <a:lnTo>
                    <a:pt x="239" y="66"/>
                  </a:lnTo>
                  <a:lnTo>
                    <a:pt x="232" y="56"/>
                  </a:lnTo>
                  <a:lnTo>
                    <a:pt x="225" y="46"/>
                  </a:lnTo>
                  <a:lnTo>
                    <a:pt x="217" y="38"/>
                  </a:lnTo>
                  <a:lnTo>
                    <a:pt x="207" y="29"/>
                  </a:lnTo>
                  <a:lnTo>
                    <a:pt x="197" y="21"/>
                  </a:lnTo>
                  <a:lnTo>
                    <a:pt x="187" y="15"/>
                  </a:lnTo>
                  <a:lnTo>
                    <a:pt x="176" y="10"/>
                  </a:lnTo>
                  <a:lnTo>
                    <a:pt x="165" y="5"/>
                  </a:lnTo>
                  <a:lnTo>
                    <a:pt x="152" y="3"/>
                  </a:lnTo>
                  <a:lnTo>
                    <a:pt x="140" y="0"/>
                  </a:lnTo>
                  <a:lnTo>
                    <a:pt x="127" y="0"/>
                  </a:lnTo>
                  <a:lnTo>
                    <a:pt x="127" y="0"/>
                  </a:lnTo>
                  <a:lnTo>
                    <a:pt x="113" y="0"/>
                  </a:lnTo>
                  <a:lnTo>
                    <a:pt x="101" y="3"/>
                  </a:lnTo>
                  <a:lnTo>
                    <a:pt x="88" y="5"/>
                  </a:lnTo>
                  <a:lnTo>
                    <a:pt x="77" y="10"/>
                  </a:lnTo>
                  <a:lnTo>
                    <a:pt x="66" y="15"/>
                  </a:lnTo>
                  <a:lnTo>
                    <a:pt x="56" y="21"/>
                  </a:lnTo>
                  <a:lnTo>
                    <a:pt x="46" y="29"/>
                  </a:lnTo>
                  <a:lnTo>
                    <a:pt x="37" y="38"/>
                  </a:lnTo>
                  <a:lnTo>
                    <a:pt x="28" y="46"/>
                  </a:lnTo>
                  <a:lnTo>
                    <a:pt x="21" y="56"/>
                  </a:lnTo>
                  <a:lnTo>
                    <a:pt x="15" y="66"/>
                  </a:lnTo>
                  <a:lnTo>
                    <a:pt x="10" y="78"/>
                  </a:lnTo>
                  <a:lnTo>
                    <a:pt x="5" y="90"/>
                  </a:lnTo>
                  <a:lnTo>
                    <a:pt x="2" y="101"/>
                  </a:lnTo>
                  <a:lnTo>
                    <a:pt x="0" y="114"/>
                  </a:lnTo>
                  <a:lnTo>
                    <a:pt x="0" y="128"/>
                  </a:lnTo>
                  <a:lnTo>
                    <a:pt x="0" y="128"/>
                  </a:lnTo>
                  <a:lnTo>
                    <a:pt x="0" y="140"/>
                  </a:lnTo>
                  <a:lnTo>
                    <a:pt x="2" y="153"/>
                  </a:lnTo>
                  <a:lnTo>
                    <a:pt x="5" y="165"/>
                  </a:lnTo>
                  <a:lnTo>
                    <a:pt x="10" y="177"/>
                  </a:lnTo>
                  <a:lnTo>
                    <a:pt x="15" y="188"/>
                  </a:lnTo>
                  <a:lnTo>
                    <a:pt x="21" y="199"/>
                  </a:lnTo>
                  <a:lnTo>
                    <a:pt x="28" y="209"/>
                  </a:lnTo>
                  <a:lnTo>
                    <a:pt x="37" y="218"/>
                  </a:lnTo>
                  <a:lnTo>
                    <a:pt x="46" y="225"/>
                  </a:lnTo>
                  <a:lnTo>
                    <a:pt x="56" y="233"/>
                  </a:lnTo>
                  <a:lnTo>
                    <a:pt x="66" y="239"/>
                  </a:lnTo>
                  <a:lnTo>
                    <a:pt x="77" y="245"/>
                  </a:lnTo>
                  <a:lnTo>
                    <a:pt x="88" y="249"/>
                  </a:lnTo>
                  <a:lnTo>
                    <a:pt x="101" y="253"/>
                  </a:lnTo>
                  <a:lnTo>
                    <a:pt x="113" y="254"/>
                  </a:lnTo>
                  <a:lnTo>
                    <a:pt x="127" y="255"/>
                  </a:lnTo>
                  <a:lnTo>
                    <a:pt x="127" y="255"/>
                  </a:lnTo>
                  <a:lnTo>
                    <a:pt x="140" y="254"/>
                  </a:lnTo>
                  <a:lnTo>
                    <a:pt x="152" y="253"/>
                  </a:lnTo>
                  <a:lnTo>
                    <a:pt x="165" y="249"/>
                  </a:lnTo>
                  <a:lnTo>
                    <a:pt x="176" y="245"/>
                  </a:lnTo>
                  <a:lnTo>
                    <a:pt x="187" y="239"/>
                  </a:lnTo>
                  <a:lnTo>
                    <a:pt x="197" y="233"/>
                  </a:lnTo>
                  <a:lnTo>
                    <a:pt x="207" y="225"/>
                  </a:lnTo>
                  <a:lnTo>
                    <a:pt x="217" y="218"/>
                  </a:lnTo>
                  <a:lnTo>
                    <a:pt x="225" y="209"/>
                  </a:lnTo>
                  <a:lnTo>
                    <a:pt x="232" y="199"/>
                  </a:lnTo>
                  <a:lnTo>
                    <a:pt x="239" y="188"/>
                  </a:lnTo>
                  <a:lnTo>
                    <a:pt x="244" y="177"/>
                  </a:lnTo>
                  <a:lnTo>
                    <a:pt x="249" y="165"/>
                  </a:lnTo>
                  <a:lnTo>
                    <a:pt x="251" y="153"/>
                  </a:lnTo>
                  <a:lnTo>
                    <a:pt x="254" y="140"/>
                  </a:lnTo>
                  <a:lnTo>
                    <a:pt x="254" y="128"/>
                  </a:lnTo>
                  <a:lnTo>
                    <a:pt x="254" y="128"/>
                  </a:lnTo>
                  <a:close/>
                  <a:moveTo>
                    <a:pt x="52" y="128"/>
                  </a:moveTo>
                  <a:lnTo>
                    <a:pt x="52" y="128"/>
                  </a:lnTo>
                  <a:lnTo>
                    <a:pt x="52" y="120"/>
                  </a:lnTo>
                  <a:lnTo>
                    <a:pt x="53" y="113"/>
                  </a:lnTo>
                  <a:lnTo>
                    <a:pt x="57" y="99"/>
                  </a:lnTo>
                  <a:lnTo>
                    <a:pt x="65" y="85"/>
                  </a:lnTo>
                  <a:lnTo>
                    <a:pt x="73" y="74"/>
                  </a:lnTo>
                  <a:lnTo>
                    <a:pt x="85" y="65"/>
                  </a:lnTo>
                  <a:lnTo>
                    <a:pt x="97" y="59"/>
                  </a:lnTo>
                  <a:lnTo>
                    <a:pt x="111" y="54"/>
                  </a:lnTo>
                  <a:lnTo>
                    <a:pt x="118" y="53"/>
                  </a:lnTo>
                  <a:lnTo>
                    <a:pt x="127" y="53"/>
                  </a:lnTo>
                  <a:lnTo>
                    <a:pt x="127" y="53"/>
                  </a:lnTo>
                  <a:lnTo>
                    <a:pt x="135" y="53"/>
                  </a:lnTo>
                  <a:lnTo>
                    <a:pt x="142" y="54"/>
                  </a:lnTo>
                  <a:lnTo>
                    <a:pt x="156" y="59"/>
                  </a:lnTo>
                  <a:lnTo>
                    <a:pt x="169" y="65"/>
                  </a:lnTo>
                  <a:lnTo>
                    <a:pt x="180" y="74"/>
                  </a:lnTo>
                  <a:lnTo>
                    <a:pt x="189" y="85"/>
                  </a:lnTo>
                  <a:lnTo>
                    <a:pt x="196" y="99"/>
                  </a:lnTo>
                  <a:lnTo>
                    <a:pt x="200" y="113"/>
                  </a:lnTo>
                  <a:lnTo>
                    <a:pt x="201" y="120"/>
                  </a:lnTo>
                  <a:lnTo>
                    <a:pt x="201" y="128"/>
                  </a:lnTo>
                  <a:lnTo>
                    <a:pt x="201" y="128"/>
                  </a:lnTo>
                  <a:lnTo>
                    <a:pt x="201" y="135"/>
                  </a:lnTo>
                  <a:lnTo>
                    <a:pt x="200" y="143"/>
                  </a:lnTo>
                  <a:lnTo>
                    <a:pt x="196" y="156"/>
                  </a:lnTo>
                  <a:lnTo>
                    <a:pt x="189" y="169"/>
                  </a:lnTo>
                  <a:lnTo>
                    <a:pt x="180" y="180"/>
                  </a:lnTo>
                  <a:lnTo>
                    <a:pt x="169" y="189"/>
                  </a:lnTo>
                  <a:lnTo>
                    <a:pt x="156" y="197"/>
                  </a:lnTo>
                  <a:lnTo>
                    <a:pt x="142" y="200"/>
                  </a:lnTo>
                  <a:lnTo>
                    <a:pt x="135" y="202"/>
                  </a:lnTo>
                  <a:lnTo>
                    <a:pt x="127" y="203"/>
                  </a:lnTo>
                  <a:lnTo>
                    <a:pt x="127" y="203"/>
                  </a:lnTo>
                  <a:lnTo>
                    <a:pt x="118" y="202"/>
                  </a:lnTo>
                  <a:lnTo>
                    <a:pt x="111" y="200"/>
                  </a:lnTo>
                  <a:lnTo>
                    <a:pt x="97" y="197"/>
                  </a:lnTo>
                  <a:lnTo>
                    <a:pt x="85" y="189"/>
                  </a:lnTo>
                  <a:lnTo>
                    <a:pt x="73" y="180"/>
                  </a:lnTo>
                  <a:lnTo>
                    <a:pt x="65" y="169"/>
                  </a:lnTo>
                  <a:lnTo>
                    <a:pt x="57" y="156"/>
                  </a:lnTo>
                  <a:lnTo>
                    <a:pt x="53" y="143"/>
                  </a:lnTo>
                  <a:lnTo>
                    <a:pt x="52" y="135"/>
                  </a:lnTo>
                  <a:lnTo>
                    <a:pt x="52" y="128"/>
                  </a:lnTo>
                  <a:lnTo>
                    <a:pt x="52" y="1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 name="Group 4"/>
          <p:cNvGrpSpPr/>
          <p:nvPr/>
        </p:nvGrpSpPr>
        <p:grpSpPr>
          <a:xfrm>
            <a:off x="3844521" y="1645611"/>
            <a:ext cx="146308" cy="372769"/>
            <a:chOff x="4358371" y="1476136"/>
            <a:chExt cx="163867" cy="417508"/>
          </a:xfrm>
          <a:solidFill>
            <a:schemeClr val="accent2"/>
          </a:solidFill>
        </p:grpSpPr>
        <p:sp>
          <p:nvSpPr>
            <p:cNvPr id="30" name="Freeform 62"/>
            <p:cNvSpPr>
              <a:spLocks noChangeArrowheads="1"/>
            </p:cNvSpPr>
            <p:nvPr/>
          </p:nvSpPr>
          <p:spPr bwMode="auto">
            <a:xfrm>
              <a:off x="4358371" y="1610080"/>
              <a:ext cx="163867" cy="283564"/>
            </a:xfrm>
            <a:custGeom>
              <a:avLst/>
              <a:gdLst>
                <a:gd name="T0" fmla="*/ 381 w 508"/>
                <a:gd name="T1" fmla="*/ 0 h 879"/>
                <a:gd name="T2" fmla="*/ 126 w 508"/>
                <a:gd name="T3" fmla="*/ 0 h 879"/>
                <a:gd name="T4" fmla="*/ 0 w 508"/>
                <a:gd name="T5" fmla="*/ 124 h 879"/>
                <a:gd name="T6" fmla="*/ 0 w 508"/>
                <a:gd name="T7" fmla="*/ 444 h 879"/>
                <a:gd name="T8" fmla="*/ 111 w 508"/>
                <a:gd name="T9" fmla="*/ 570 h 879"/>
                <a:gd name="T10" fmla="*/ 111 w 508"/>
                <a:gd name="T11" fmla="*/ 878 h 879"/>
                <a:gd name="T12" fmla="*/ 173 w 508"/>
                <a:gd name="T13" fmla="*/ 878 h 879"/>
                <a:gd name="T14" fmla="*/ 173 w 508"/>
                <a:gd name="T15" fmla="*/ 508 h 879"/>
                <a:gd name="T16" fmla="*/ 126 w 508"/>
                <a:gd name="T17" fmla="*/ 508 h 879"/>
                <a:gd name="T18" fmla="*/ 62 w 508"/>
                <a:gd name="T19" fmla="*/ 444 h 879"/>
                <a:gd name="T20" fmla="*/ 62 w 508"/>
                <a:gd name="T21" fmla="*/ 124 h 879"/>
                <a:gd name="T22" fmla="*/ 126 w 508"/>
                <a:gd name="T23" fmla="*/ 62 h 879"/>
                <a:gd name="T24" fmla="*/ 381 w 508"/>
                <a:gd name="T25" fmla="*/ 62 h 879"/>
                <a:gd name="T26" fmla="*/ 445 w 508"/>
                <a:gd name="T27" fmla="*/ 124 h 879"/>
                <a:gd name="T28" fmla="*/ 445 w 508"/>
                <a:gd name="T29" fmla="*/ 444 h 879"/>
                <a:gd name="T30" fmla="*/ 381 w 508"/>
                <a:gd name="T31" fmla="*/ 508 h 879"/>
                <a:gd name="T32" fmla="*/ 333 w 508"/>
                <a:gd name="T33" fmla="*/ 508 h 879"/>
                <a:gd name="T34" fmla="*/ 333 w 508"/>
                <a:gd name="T35" fmla="*/ 878 h 879"/>
                <a:gd name="T36" fmla="*/ 395 w 508"/>
                <a:gd name="T37" fmla="*/ 878 h 879"/>
                <a:gd name="T38" fmla="*/ 395 w 508"/>
                <a:gd name="T39" fmla="*/ 570 h 879"/>
                <a:gd name="T40" fmla="*/ 507 w 508"/>
                <a:gd name="T41" fmla="*/ 444 h 879"/>
                <a:gd name="T42" fmla="*/ 507 w 508"/>
                <a:gd name="T43" fmla="*/ 124 h 879"/>
                <a:gd name="T44" fmla="*/ 381 w 508"/>
                <a:gd name="T45" fmla="*/ 0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8" h="879">
                  <a:moveTo>
                    <a:pt x="381" y="0"/>
                  </a:moveTo>
                  <a:lnTo>
                    <a:pt x="126" y="0"/>
                  </a:lnTo>
                  <a:cubicBezTo>
                    <a:pt x="55" y="0"/>
                    <a:pt x="0" y="55"/>
                    <a:pt x="0" y="124"/>
                  </a:cubicBezTo>
                  <a:lnTo>
                    <a:pt x="0" y="444"/>
                  </a:lnTo>
                  <a:cubicBezTo>
                    <a:pt x="0" y="510"/>
                    <a:pt x="49" y="563"/>
                    <a:pt x="111" y="570"/>
                  </a:cubicBezTo>
                  <a:lnTo>
                    <a:pt x="111" y="878"/>
                  </a:lnTo>
                  <a:lnTo>
                    <a:pt x="173" y="878"/>
                  </a:lnTo>
                  <a:lnTo>
                    <a:pt x="173" y="508"/>
                  </a:lnTo>
                  <a:lnTo>
                    <a:pt x="126" y="508"/>
                  </a:lnTo>
                  <a:cubicBezTo>
                    <a:pt x="90" y="508"/>
                    <a:pt x="62" y="480"/>
                    <a:pt x="62" y="444"/>
                  </a:cubicBezTo>
                  <a:lnTo>
                    <a:pt x="62" y="124"/>
                  </a:lnTo>
                  <a:cubicBezTo>
                    <a:pt x="62" y="89"/>
                    <a:pt x="90" y="62"/>
                    <a:pt x="126" y="62"/>
                  </a:cubicBezTo>
                  <a:lnTo>
                    <a:pt x="381" y="62"/>
                  </a:lnTo>
                  <a:cubicBezTo>
                    <a:pt x="416" y="62"/>
                    <a:pt x="445" y="89"/>
                    <a:pt x="445" y="124"/>
                  </a:cubicBezTo>
                  <a:lnTo>
                    <a:pt x="445" y="444"/>
                  </a:lnTo>
                  <a:cubicBezTo>
                    <a:pt x="445" y="480"/>
                    <a:pt x="416" y="508"/>
                    <a:pt x="381" y="508"/>
                  </a:cubicBezTo>
                  <a:lnTo>
                    <a:pt x="333" y="508"/>
                  </a:lnTo>
                  <a:lnTo>
                    <a:pt x="333" y="878"/>
                  </a:lnTo>
                  <a:lnTo>
                    <a:pt x="395" y="878"/>
                  </a:lnTo>
                  <a:lnTo>
                    <a:pt x="395" y="570"/>
                  </a:lnTo>
                  <a:cubicBezTo>
                    <a:pt x="457" y="563"/>
                    <a:pt x="507" y="510"/>
                    <a:pt x="507" y="444"/>
                  </a:cubicBezTo>
                  <a:lnTo>
                    <a:pt x="507" y="124"/>
                  </a:lnTo>
                  <a:cubicBezTo>
                    <a:pt x="507" y="55"/>
                    <a:pt x="449" y="0"/>
                    <a:pt x="381" y="0"/>
                  </a:cubicBezTo>
                </a:path>
              </a:pathLst>
            </a:custGeom>
            <a:grpFill/>
            <a:ln>
              <a:noFill/>
            </a:ln>
            <a:effectLst/>
          </p:spPr>
          <p:txBody>
            <a:bodyPr wrap="none" anchor="ctr"/>
            <a:lstStyle/>
            <a:p>
              <a:endParaRPr lang="en-US" sz="1350"/>
            </a:p>
          </p:txBody>
        </p:sp>
        <p:sp>
          <p:nvSpPr>
            <p:cNvPr id="31" name="Freeform 63"/>
            <p:cNvSpPr>
              <a:spLocks noChangeArrowheads="1"/>
            </p:cNvSpPr>
            <p:nvPr/>
          </p:nvSpPr>
          <p:spPr bwMode="auto">
            <a:xfrm>
              <a:off x="4385444" y="1476136"/>
              <a:ext cx="111145" cy="109721"/>
            </a:xfrm>
            <a:custGeom>
              <a:avLst/>
              <a:gdLst>
                <a:gd name="T0" fmla="*/ 171 w 343"/>
                <a:gd name="T1" fmla="*/ 0 h 341"/>
                <a:gd name="T2" fmla="*/ 0 w 343"/>
                <a:gd name="T3" fmla="*/ 171 h 341"/>
                <a:gd name="T4" fmla="*/ 171 w 343"/>
                <a:gd name="T5" fmla="*/ 340 h 341"/>
                <a:gd name="T6" fmla="*/ 342 w 343"/>
                <a:gd name="T7" fmla="*/ 171 h 341"/>
                <a:gd name="T8" fmla="*/ 171 w 343"/>
                <a:gd name="T9" fmla="*/ 0 h 341"/>
                <a:gd name="T10" fmla="*/ 171 w 343"/>
                <a:gd name="T11" fmla="*/ 278 h 341"/>
                <a:gd name="T12" fmla="*/ 63 w 343"/>
                <a:gd name="T13" fmla="*/ 171 h 341"/>
                <a:gd name="T14" fmla="*/ 171 w 343"/>
                <a:gd name="T15" fmla="*/ 62 h 341"/>
                <a:gd name="T16" fmla="*/ 280 w 343"/>
                <a:gd name="T17" fmla="*/ 171 h 341"/>
                <a:gd name="T18" fmla="*/ 171 w 343"/>
                <a:gd name="T19" fmla="*/ 278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3" h="341">
                  <a:moveTo>
                    <a:pt x="171" y="0"/>
                  </a:moveTo>
                  <a:cubicBezTo>
                    <a:pt x="77" y="0"/>
                    <a:pt x="0" y="77"/>
                    <a:pt x="0" y="171"/>
                  </a:cubicBezTo>
                  <a:cubicBezTo>
                    <a:pt x="0" y="265"/>
                    <a:pt x="77" y="340"/>
                    <a:pt x="171" y="340"/>
                  </a:cubicBezTo>
                  <a:cubicBezTo>
                    <a:pt x="265" y="340"/>
                    <a:pt x="342" y="265"/>
                    <a:pt x="342" y="171"/>
                  </a:cubicBezTo>
                  <a:cubicBezTo>
                    <a:pt x="342" y="77"/>
                    <a:pt x="265" y="0"/>
                    <a:pt x="171" y="0"/>
                  </a:cubicBezTo>
                  <a:close/>
                  <a:moveTo>
                    <a:pt x="171" y="278"/>
                  </a:moveTo>
                  <a:cubicBezTo>
                    <a:pt x="112" y="278"/>
                    <a:pt x="63" y="230"/>
                    <a:pt x="63" y="171"/>
                  </a:cubicBezTo>
                  <a:cubicBezTo>
                    <a:pt x="63" y="110"/>
                    <a:pt x="112" y="62"/>
                    <a:pt x="171" y="62"/>
                  </a:cubicBezTo>
                  <a:cubicBezTo>
                    <a:pt x="230" y="62"/>
                    <a:pt x="280" y="110"/>
                    <a:pt x="280" y="171"/>
                  </a:cubicBezTo>
                  <a:cubicBezTo>
                    <a:pt x="280" y="230"/>
                    <a:pt x="230" y="278"/>
                    <a:pt x="171" y="278"/>
                  </a:cubicBez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1350"/>
            </a:p>
          </p:txBody>
        </p:sp>
      </p:grpSp>
      <p:grpSp>
        <p:nvGrpSpPr>
          <p:cNvPr id="4" name="Group 3"/>
          <p:cNvGrpSpPr/>
          <p:nvPr/>
        </p:nvGrpSpPr>
        <p:grpSpPr>
          <a:xfrm>
            <a:off x="2237671" y="1759198"/>
            <a:ext cx="295613" cy="244893"/>
            <a:chOff x="2498172" y="1530970"/>
            <a:chExt cx="390449" cy="323456"/>
          </a:xfrm>
          <a:solidFill>
            <a:schemeClr val="accent2"/>
          </a:solidFill>
        </p:grpSpPr>
        <p:sp>
          <p:nvSpPr>
            <p:cNvPr id="63" name="Rectangle 116"/>
            <p:cNvSpPr>
              <a:spLocks noChangeArrowheads="1"/>
            </p:cNvSpPr>
            <p:nvPr/>
          </p:nvSpPr>
          <p:spPr bwMode="auto">
            <a:xfrm>
              <a:off x="2498172" y="1832443"/>
              <a:ext cx="390449" cy="2198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7"/>
            <p:cNvSpPr>
              <a:spLocks noEditPoints="1"/>
            </p:cNvSpPr>
            <p:nvPr/>
          </p:nvSpPr>
          <p:spPr bwMode="auto">
            <a:xfrm>
              <a:off x="2498172" y="1530970"/>
              <a:ext cx="390449" cy="276351"/>
            </a:xfrm>
            <a:custGeom>
              <a:avLst/>
              <a:gdLst>
                <a:gd name="T0" fmla="*/ 125 w 1121"/>
                <a:gd name="T1" fmla="*/ 0 h 793"/>
                <a:gd name="T2" fmla="*/ 112 w 1121"/>
                <a:gd name="T3" fmla="*/ 2 h 793"/>
                <a:gd name="T4" fmla="*/ 88 w 1121"/>
                <a:gd name="T5" fmla="*/ 6 h 793"/>
                <a:gd name="T6" fmla="*/ 66 w 1121"/>
                <a:gd name="T7" fmla="*/ 15 h 793"/>
                <a:gd name="T8" fmla="*/ 47 w 1121"/>
                <a:gd name="T9" fmla="*/ 29 h 793"/>
                <a:gd name="T10" fmla="*/ 29 w 1121"/>
                <a:gd name="T11" fmla="*/ 46 h 793"/>
                <a:gd name="T12" fmla="*/ 15 w 1121"/>
                <a:gd name="T13" fmla="*/ 66 h 793"/>
                <a:gd name="T14" fmla="*/ 6 w 1121"/>
                <a:gd name="T15" fmla="*/ 88 h 793"/>
                <a:gd name="T16" fmla="*/ 0 w 1121"/>
                <a:gd name="T17" fmla="*/ 113 h 793"/>
                <a:gd name="T18" fmla="*/ 0 w 1121"/>
                <a:gd name="T19" fmla="*/ 668 h 793"/>
                <a:gd name="T20" fmla="*/ 0 w 1121"/>
                <a:gd name="T21" fmla="*/ 680 h 793"/>
                <a:gd name="T22" fmla="*/ 6 w 1121"/>
                <a:gd name="T23" fmla="*/ 705 h 793"/>
                <a:gd name="T24" fmla="*/ 15 w 1121"/>
                <a:gd name="T25" fmla="*/ 727 h 793"/>
                <a:gd name="T26" fmla="*/ 29 w 1121"/>
                <a:gd name="T27" fmla="*/ 746 h 793"/>
                <a:gd name="T28" fmla="*/ 47 w 1121"/>
                <a:gd name="T29" fmla="*/ 763 h 793"/>
                <a:gd name="T30" fmla="*/ 66 w 1121"/>
                <a:gd name="T31" fmla="*/ 776 h 793"/>
                <a:gd name="T32" fmla="*/ 88 w 1121"/>
                <a:gd name="T33" fmla="*/ 787 h 793"/>
                <a:gd name="T34" fmla="*/ 112 w 1121"/>
                <a:gd name="T35" fmla="*/ 791 h 793"/>
                <a:gd name="T36" fmla="*/ 997 w 1121"/>
                <a:gd name="T37" fmla="*/ 793 h 793"/>
                <a:gd name="T38" fmla="*/ 1010 w 1121"/>
                <a:gd name="T39" fmla="*/ 791 h 793"/>
                <a:gd name="T40" fmla="*/ 1034 w 1121"/>
                <a:gd name="T41" fmla="*/ 787 h 793"/>
                <a:gd name="T42" fmla="*/ 1056 w 1121"/>
                <a:gd name="T43" fmla="*/ 776 h 793"/>
                <a:gd name="T44" fmla="*/ 1075 w 1121"/>
                <a:gd name="T45" fmla="*/ 763 h 793"/>
                <a:gd name="T46" fmla="*/ 1093 w 1121"/>
                <a:gd name="T47" fmla="*/ 746 h 793"/>
                <a:gd name="T48" fmla="*/ 1107 w 1121"/>
                <a:gd name="T49" fmla="*/ 727 h 793"/>
                <a:gd name="T50" fmla="*/ 1115 w 1121"/>
                <a:gd name="T51" fmla="*/ 705 h 793"/>
                <a:gd name="T52" fmla="*/ 1121 w 1121"/>
                <a:gd name="T53" fmla="*/ 680 h 793"/>
                <a:gd name="T54" fmla="*/ 1121 w 1121"/>
                <a:gd name="T55" fmla="*/ 125 h 793"/>
                <a:gd name="T56" fmla="*/ 1121 w 1121"/>
                <a:gd name="T57" fmla="*/ 113 h 793"/>
                <a:gd name="T58" fmla="*/ 1115 w 1121"/>
                <a:gd name="T59" fmla="*/ 88 h 793"/>
                <a:gd name="T60" fmla="*/ 1107 w 1121"/>
                <a:gd name="T61" fmla="*/ 66 h 793"/>
                <a:gd name="T62" fmla="*/ 1093 w 1121"/>
                <a:gd name="T63" fmla="*/ 46 h 793"/>
                <a:gd name="T64" fmla="*/ 1075 w 1121"/>
                <a:gd name="T65" fmla="*/ 29 h 793"/>
                <a:gd name="T66" fmla="*/ 1056 w 1121"/>
                <a:gd name="T67" fmla="*/ 15 h 793"/>
                <a:gd name="T68" fmla="*/ 1034 w 1121"/>
                <a:gd name="T69" fmla="*/ 6 h 793"/>
                <a:gd name="T70" fmla="*/ 1010 w 1121"/>
                <a:gd name="T71" fmla="*/ 2 h 793"/>
                <a:gd name="T72" fmla="*/ 997 w 1121"/>
                <a:gd name="T73" fmla="*/ 0 h 793"/>
                <a:gd name="T74" fmla="*/ 1059 w 1121"/>
                <a:gd name="T75" fmla="*/ 668 h 793"/>
                <a:gd name="T76" fmla="*/ 1054 w 1121"/>
                <a:gd name="T77" fmla="*/ 691 h 793"/>
                <a:gd name="T78" fmla="*/ 1041 w 1121"/>
                <a:gd name="T79" fmla="*/ 711 h 793"/>
                <a:gd name="T80" fmla="*/ 1020 w 1121"/>
                <a:gd name="T81" fmla="*/ 724 h 793"/>
                <a:gd name="T82" fmla="*/ 997 w 1121"/>
                <a:gd name="T83" fmla="*/ 730 h 793"/>
                <a:gd name="T84" fmla="*/ 125 w 1121"/>
                <a:gd name="T85" fmla="*/ 730 h 793"/>
                <a:gd name="T86" fmla="*/ 102 w 1121"/>
                <a:gd name="T87" fmla="*/ 724 h 793"/>
                <a:gd name="T88" fmla="*/ 81 w 1121"/>
                <a:gd name="T89" fmla="*/ 711 h 793"/>
                <a:gd name="T90" fmla="*/ 67 w 1121"/>
                <a:gd name="T91" fmla="*/ 691 h 793"/>
                <a:gd name="T92" fmla="*/ 63 w 1121"/>
                <a:gd name="T93" fmla="*/ 668 h 793"/>
                <a:gd name="T94" fmla="*/ 63 w 1121"/>
                <a:gd name="T95" fmla="*/ 125 h 793"/>
                <a:gd name="T96" fmla="*/ 67 w 1121"/>
                <a:gd name="T97" fmla="*/ 101 h 793"/>
                <a:gd name="T98" fmla="*/ 81 w 1121"/>
                <a:gd name="T99" fmla="*/ 82 h 793"/>
                <a:gd name="T100" fmla="*/ 102 w 1121"/>
                <a:gd name="T101" fmla="*/ 69 h 793"/>
                <a:gd name="T102" fmla="*/ 125 w 1121"/>
                <a:gd name="T103" fmla="*/ 63 h 793"/>
                <a:gd name="T104" fmla="*/ 997 w 1121"/>
                <a:gd name="T105" fmla="*/ 63 h 793"/>
                <a:gd name="T106" fmla="*/ 1020 w 1121"/>
                <a:gd name="T107" fmla="*/ 69 h 793"/>
                <a:gd name="T108" fmla="*/ 1041 w 1121"/>
                <a:gd name="T109" fmla="*/ 82 h 793"/>
                <a:gd name="T110" fmla="*/ 1054 w 1121"/>
                <a:gd name="T111" fmla="*/ 101 h 793"/>
                <a:gd name="T112" fmla="*/ 1059 w 1121"/>
                <a:gd name="T113" fmla="*/ 125 h 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1" h="793">
                  <a:moveTo>
                    <a:pt x="997" y="0"/>
                  </a:moveTo>
                  <a:lnTo>
                    <a:pt x="125" y="0"/>
                  </a:lnTo>
                  <a:lnTo>
                    <a:pt x="125" y="0"/>
                  </a:lnTo>
                  <a:lnTo>
                    <a:pt x="112" y="2"/>
                  </a:lnTo>
                  <a:lnTo>
                    <a:pt x="100" y="3"/>
                  </a:lnTo>
                  <a:lnTo>
                    <a:pt x="88" y="6"/>
                  </a:lnTo>
                  <a:lnTo>
                    <a:pt x="76" y="11"/>
                  </a:lnTo>
                  <a:lnTo>
                    <a:pt x="66" y="15"/>
                  </a:lnTo>
                  <a:lnTo>
                    <a:pt x="56" y="23"/>
                  </a:lnTo>
                  <a:lnTo>
                    <a:pt x="47" y="29"/>
                  </a:lnTo>
                  <a:lnTo>
                    <a:pt x="38" y="37"/>
                  </a:lnTo>
                  <a:lnTo>
                    <a:pt x="29" y="46"/>
                  </a:lnTo>
                  <a:lnTo>
                    <a:pt x="21" y="55"/>
                  </a:lnTo>
                  <a:lnTo>
                    <a:pt x="15" y="66"/>
                  </a:lnTo>
                  <a:lnTo>
                    <a:pt x="11" y="78"/>
                  </a:lnTo>
                  <a:lnTo>
                    <a:pt x="6" y="88"/>
                  </a:lnTo>
                  <a:lnTo>
                    <a:pt x="3" y="100"/>
                  </a:lnTo>
                  <a:lnTo>
                    <a:pt x="0" y="113"/>
                  </a:lnTo>
                  <a:lnTo>
                    <a:pt x="0" y="125"/>
                  </a:lnTo>
                  <a:lnTo>
                    <a:pt x="0" y="668"/>
                  </a:lnTo>
                  <a:lnTo>
                    <a:pt x="0" y="668"/>
                  </a:lnTo>
                  <a:lnTo>
                    <a:pt x="0" y="680"/>
                  </a:lnTo>
                  <a:lnTo>
                    <a:pt x="3" y="691"/>
                  </a:lnTo>
                  <a:lnTo>
                    <a:pt x="6" y="705"/>
                  </a:lnTo>
                  <a:lnTo>
                    <a:pt x="11" y="715"/>
                  </a:lnTo>
                  <a:lnTo>
                    <a:pt x="15" y="727"/>
                  </a:lnTo>
                  <a:lnTo>
                    <a:pt x="21" y="736"/>
                  </a:lnTo>
                  <a:lnTo>
                    <a:pt x="29" y="746"/>
                  </a:lnTo>
                  <a:lnTo>
                    <a:pt x="38" y="755"/>
                  </a:lnTo>
                  <a:lnTo>
                    <a:pt x="47" y="763"/>
                  </a:lnTo>
                  <a:lnTo>
                    <a:pt x="56" y="770"/>
                  </a:lnTo>
                  <a:lnTo>
                    <a:pt x="66" y="776"/>
                  </a:lnTo>
                  <a:lnTo>
                    <a:pt x="76" y="782"/>
                  </a:lnTo>
                  <a:lnTo>
                    <a:pt x="88" y="787"/>
                  </a:lnTo>
                  <a:lnTo>
                    <a:pt x="100" y="790"/>
                  </a:lnTo>
                  <a:lnTo>
                    <a:pt x="112" y="791"/>
                  </a:lnTo>
                  <a:lnTo>
                    <a:pt x="125" y="793"/>
                  </a:lnTo>
                  <a:lnTo>
                    <a:pt x="997" y="793"/>
                  </a:lnTo>
                  <a:lnTo>
                    <a:pt x="997" y="793"/>
                  </a:lnTo>
                  <a:lnTo>
                    <a:pt x="1010" y="791"/>
                  </a:lnTo>
                  <a:lnTo>
                    <a:pt x="1022" y="790"/>
                  </a:lnTo>
                  <a:lnTo>
                    <a:pt x="1034" y="787"/>
                  </a:lnTo>
                  <a:lnTo>
                    <a:pt x="1046" y="782"/>
                  </a:lnTo>
                  <a:lnTo>
                    <a:pt x="1056" y="776"/>
                  </a:lnTo>
                  <a:lnTo>
                    <a:pt x="1066" y="770"/>
                  </a:lnTo>
                  <a:lnTo>
                    <a:pt x="1075" y="763"/>
                  </a:lnTo>
                  <a:lnTo>
                    <a:pt x="1084" y="755"/>
                  </a:lnTo>
                  <a:lnTo>
                    <a:pt x="1093" y="746"/>
                  </a:lnTo>
                  <a:lnTo>
                    <a:pt x="1101" y="736"/>
                  </a:lnTo>
                  <a:lnTo>
                    <a:pt x="1107" y="727"/>
                  </a:lnTo>
                  <a:lnTo>
                    <a:pt x="1111" y="715"/>
                  </a:lnTo>
                  <a:lnTo>
                    <a:pt x="1115" y="705"/>
                  </a:lnTo>
                  <a:lnTo>
                    <a:pt x="1118" y="691"/>
                  </a:lnTo>
                  <a:lnTo>
                    <a:pt x="1121" y="680"/>
                  </a:lnTo>
                  <a:lnTo>
                    <a:pt x="1121" y="668"/>
                  </a:lnTo>
                  <a:lnTo>
                    <a:pt x="1121" y="125"/>
                  </a:lnTo>
                  <a:lnTo>
                    <a:pt x="1121" y="125"/>
                  </a:lnTo>
                  <a:lnTo>
                    <a:pt x="1121" y="113"/>
                  </a:lnTo>
                  <a:lnTo>
                    <a:pt x="1118" y="100"/>
                  </a:lnTo>
                  <a:lnTo>
                    <a:pt x="1115" y="88"/>
                  </a:lnTo>
                  <a:lnTo>
                    <a:pt x="1111" y="78"/>
                  </a:lnTo>
                  <a:lnTo>
                    <a:pt x="1107" y="66"/>
                  </a:lnTo>
                  <a:lnTo>
                    <a:pt x="1101" y="55"/>
                  </a:lnTo>
                  <a:lnTo>
                    <a:pt x="1093" y="46"/>
                  </a:lnTo>
                  <a:lnTo>
                    <a:pt x="1084" y="37"/>
                  </a:lnTo>
                  <a:lnTo>
                    <a:pt x="1075" y="29"/>
                  </a:lnTo>
                  <a:lnTo>
                    <a:pt x="1066" y="23"/>
                  </a:lnTo>
                  <a:lnTo>
                    <a:pt x="1056" y="15"/>
                  </a:lnTo>
                  <a:lnTo>
                    <a:pt x="1046" y="11"/>
                  </a:lnTo>
                  <a:lnTo>
                    <a:pt x="1034" y="6"/>
                  </a:lnTo>
                  <a:lnTo>
                    <a:pt x="1022" y="3"/>
                  </a:lnTo>
                  <a:lnTo>
                    <a:pt x="1010" y="2"/>
                  </a:lnTo>
                  <a:lnTo>
                    <a:pt x="997" y="0"/>
                  </a:lnTo>
                  <a:lnTo>
                    <a:pt x="997" y="0"/>
                  </a:lnTo>
                  <a:close/>
                  <a:moveTo>
                    <a:pt x="1059" y="668"/>
                  </a:moveTo>
                  <a:lnTo>
                    <a:pt x="1059" y="668"/>
                  </a:lnTo>
                  <a:lnTo>
                    <a:pt x="1057" y="680"/>
                  </a:lnTo>
                  <a:lnTo>
                    <a:pt x="1054" y="691"/>
                  </a:lnTo>
                  <a:lnTo>
                    <a:pt x="1049" y="702"/>
                  </a:lnTo>
                  <a:lnTo>
                    <a:pt x="1041" y="711"/>
                  </a:lnTo>
                  <a:lnTo>
                    <a:pt x="1031" y="718"/>
                  </a:lnTo>
                  <a:lnTo>
                    <a:pt x="1020" y="724"/>
                  </a:lnTo>
                  <a:lnTo>
                    <a:pt x="1008" y="729"/>
                  </a:lnTo>
                  <a:lnTo>
                    <a:pt x="997" y="730"/>
                  </a:lnTo>
                  <a:lnTo>
                    <a:pt x="125" y="730"/>
                  </a:lnTo>
                  <a:lnTo>
                    <a:pt x="125" y="730"/>
                  </a:lnTo>
                  <a:lnTo>
                    <a:pt x="112" y="729"/>
                  </a:lnTo>
                  <a:lnTo>
                    <a:pt x="102" y="724"/>
                  </a:lnTo>
                  <a:lnTo>
                    <a:pt x="90" y="718"/>
                  </a:lnTo>
                  <a:lnTo>
                    <a:pt x="81" y="711"/>
                  </a:lnTo>
                  <a:lnTo>
                    <a:pt x="73" y="702"/>
                  </a:lnTo>
                  <a:lnTo>
                    <a:pt x="67" y="691"/>
                  </a:lnTo>
                  <a:lnTo>
                    <a:pt x="64" y="680"/>
                  </a:lnTo>
                  <a:lnTo>
                    <a:pt x="63" y="668"/>
                  </a:lnTo>
                  <a:lnTo>
                    <a:pt x="63" y="125"/>
                  </a:lnTo>
                  <a:lnTo>
                    <a:pt x="63" y="125"/>
                  </a:lnTo>
                  <a:lnTo>
                    <a:pt x="64" y="113"/>
                  </a:lnTo>
                  <a:lnTo>
                    <a:pt x="67" y="101"/>
                  </a:lnTo>
                  <a:lnTo>
                    <a:pt x="73" y="91"/>
                  </a:lnTo>
                  <a:lnTo>
                    <a:pt x="81" y="82"/>
                  </a:lnTo>
                  <a:lnTo>
                    <a:pt x="90" y="73"/>
                  </a:lnTo>
                  <a:lnTo>
                    <a:pt x="102" y="69"/>
                  </a:lnTo>
                  <a:lnTo>
                    <a:pt x="112" y="64"/>
                  </a:lnTo>
                  <a:lnTo>
                    <a:pt x="125" y="63"/>
                  </a:lnTo>
                  <a:lnTo>
                    <a:pt x="997" y="63"/>
                  </a:lnTo>
                  <a:lnTo>
                    <a:pt x="997" y="63"/>
                  </a:lnTo>
                  <a:lnTo>
                    <a:pt x="1008" y="64"/>
                  </a:lnTo>
                  <a:lnTo>
                    <a:pt x="1020" y="69"/>
                  </a:lnTo>
                  <a:lnTo>
                    <a:pt x="1031" y="73"/>
                  </a:lnTo>
                  <a:lnTo>
                    <a:pt x="1041" y="82"/>
                  </a:lnTo>
                  <a:lnTo>
                    <a:pt x="1049" y="91"/>
                  </a:lnTo>
                  <a:lnTo>
                    <a:pt x="1054" y="101"/>
                  </a:lnTo>
                  <a:lnTo>
                    <a:pt x="1057" y="113"/>
                  </a:lnTo>
                  <a:lnTo>
                    <a:pt x="1059" y="125"/>
                  </a:lnTo>
                  <a:lnTo>
                    <a:pt x="1059" y="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Group 5"/>
          <p:cNvGrpSpPr/>
          <p:nvPr/>
        </p:nvGrpSpPr>
        <p:grpSpPr>
          <a:xfrm>
            <a:off x="5344945" y="1754927"/>
            <a:ext cx="352522" cy="249164"/>
            <a:chOff x="5908690" y="1568095"/>
            <a:chExt cx="388021" cy="274256"/>
          </a:xfrm>
          <a:solidFill>
            <a:schemeClr val="accent2"/>
          </a:solidFill>
        </p:grpSpPr>
        <p:sp>
          <p:nvSpPr>
            <p:cNvPr id="70" name="Freeform 40"/>
            <p:cNvSpPr>
              <a:spLocks/>
            </p:cNvSpPr>
            <p:nvPr/>
          </p:nvSpPr>
          <p:spPr bwMode="auto">
            <a:xfrm>
              <a:off x="5908690" y="1568095"/>
              <a:ext cx="388021" cy="274256"/>
            </a:xfrm>
            <a:custGeom>
              <a:avLst/>
              <a:gdLst>
                <a:gd name="T0" fmla="*/ 1120 w 1528"/>
                <a:gd name="T1" fmla="*/ 276 h 1080"/>
                <a:gd name="T2" fmla="*/ 1040 w 1528"/>
                <a:gd name="T3" fmla="*/ 126 h 1080"/>
                <a:gd name="T4" fmla="*/ 902 w 1528"/>
                <a:gd name="T5" fmla="*/ 26 h 1080"/>
                <a:gd name="T6" fmla="*/ 764 w 1528"/>
                <a:gd name="T7" fmla="*/ 0 h 1080"/>
                <a:gd name="T8" fmla="*/ 614 w 1528"/>
                <a:gd name="T9" fmla="*/ 32 h 1080"/>
                <a:gd name="T10" fmla="*/ 494 w 1528"/>
                <a:gd name="T11" fmla="*/ 118 h 1080"/>
                <a:gd name="T12" fmla="*/ 418 w 1528"/>
                <a:gd name="T13" fmla="*/ 246 h 1080"/>
                <a:gd name="T14" fmla="*/ 448 w 1528"/>
                <a:gd name="T15" fmla="*/ 282 h 1080"/>
                <a:gd name="T16" fmla="*/ 510 w 1528"/>
                <a:gd name="T17" fmla="*/ 250 h 1080"/>
                <a:gd name="T18" fmla="*/ 576 w 1528"/>
                <a:gd name="T19" fmla="*/ 160 h 1080"/>
                <a:gd name="T20" fmla="*/ 672 w 1528"/>
                <a:gd name="T21" fmla="*/ 102 h 1080"/>
                <a:gd name="T22" fmla="*/ 764 w 1528"/>
                <a:gd name="T23" fmla="*/ 86 h 1080"/>
                <a:gd name="T24" fmla="*/ 898 w 1528"/>
                <a:gd name="T25" fmla="*/ 120 h 1080"/>
                <a:gd name="T26" fmla="*/ 996 w 1528"/>
                <a:gd name="T27" fmla="*/ 210 h 1080"/>
                <a:gd name="T28" fmla="*/ 1042 w 1528"/>
                <a:gd name="T29" fmla="*/ 336 h 1080"/>
                <a:gd name="T30" fmla="*/ 1048 w 1528"/>
                <a:gd name="T31" fmla="*/ 408 h 1080"/>
                <a:gd name="T32" fmla="*/ 1078 w 1528"/>
                <a:gd name="T33" fmla="*/ 432 h 1080"/>
                <a:gd name="T34" fmla="*/ 1224 w 1528"/>
                <a:gd name="T35" fmla="*/ 438 h 1080"/>
                <a:gd name="T36" fmla="*/ 1342 w 1528"/>
                <a:gd name="T37" fmla="*/ 496 h 1080"/>
                <a:gd name="T38" fmla="*/ 1420 w 1528"/>
                <a:gd name="T39" fmla="*/ 600 h 1080"/>
                <a:gd name="T40" fmla="*/ 1442 w 1528"/>
                <a:gd name="T41" fmla="*/ 720 h 1080"/>
                <a:gd name="T42" fmla="*/ 1420 w 1528"/>
                <a:gd name="T43" fmla="*/ 826 h 1080"/>
                <a:gd name="T44" fmla="*/ 1342 w 1528"/>
                <a:gd name="T45" fmla="*/ 932 h 1080"/>
                <a:gd name="T46" fmla="*/ 1224 w 1528"/>
                <a:gd name="T47" fmla="*/ 988 h 1080"/>
                <a:gd name="T48" fmla="*/ 360 w 1528"/>
                <a:gd name="T49" fmla="*/ 994 h 1080"/>
                <a:gd name="T50" fmla="*/ 230 w 1528"/>
                <a:gd name="T51" fmla="*/ 960 h 1080"/>
                <a:gd name="T52" fmla="*/ 134 w 1528"/>
                <a:gd name="T53" fmla="*/ 872 h 1080"/>
                <a:gd name="T54" fmla="*/ 88 w 1528"/>
                <a:gd name="T55" fmla="*/ 748 h 1080"/>
                <a:gd name="T56" fmla="*/ 90 w 1528"/>
                <a:gd name="T57" fmla="*/ 658 h 1080"/>
                <a:gd name="T58" fmla="*/ 138 w 1528"/>
                <a:gd name="T59" fmla="*/ 548 h 1080"/>
                <a:gd name="T60" fmla="*/ 224 w 1528"/>
                <a:gd name="T61" fmla="*/ 470 h 1080"/>
                <a:gd name="T62" fmla="*/ 314 w 1528"/>
                <a:gd name="T63" fmla="*/ 438 h 1080"/>
                <a:gd name="T64" fmla="*/ 360 w 1528"/>
                <a:gd name="T65" fmla="*/ 434 h 1080"/>
                <a:gd name="T66" fmla="*/ 448 w 1528"/>
                <a:gd name="T67" fmla="*/ 446 h 1080"/>
                <a:gd name="T68" fmla="*/ 558 w 1528"/>
                <a:gd name="T69" fmla="*/ 510 h 1080"/>
                <a:gd name="T70" fmla="*/ 588 w 1528"/>
                <a:gd name="T71" fmla="*/ 522 h 1080"/>
                <a:gd name="T72" fmla="*/ 620 w 1528"/>
                <a:gd name="T73" fmla="*/ 510 h 1080"/>
                <a:gd name="T74" fmla="*/ 632 w 1528"/>
                <a:gd name="T75" fmla="*/ 478 h 1080"/>
                <a:gd name="T76" fmla="*/ 618 w 1528"/>
                <a:gd name="T77" fmla="*/ 448 h 1080"/>
                <a:gd name="T78" fmla="*/ 468 w 1528"/>
                <a:gd name="T79" fmla="*/ 362 h 1080"/>
                <a:gd name="T80" fmla="*/ 338 w 1528"/>
                <a:gd name="T81" fmla="*/ 348 h 1080"/>
                <a:gd name="T82" fmla="*/ 238 w 1528"/>
                <a:gd name="T83" fmla="*/ 370 h 1080"/>
                <a:gd name="T84" fmla="*/ 108 w 1528"/>
                <a:gd name="T85" fmla="*/ 452 h 1080"/>
                <a:gd name="T86" fmla="*/ 24 w 1528"/>
                <a:gd name="T87" fmla="*/ 582 h 1080"/>
                <a:gd name="T88" fmla="*/ 0 w 1528"/>
                <a:gd name="T89" fmla="*/ 720 h 1080"/>
                <a:gd name="T90" fmla="*/ 28 w 1528"/>
                <a:gd name="T91" fmla="*/ 858 h 1080"/>
                <a:gd name="T92" fmla="*/ 126 w 1528"/>
                <a:gd name="T93" fmla="*/ 994 h 1080"/>
                <a:gd name="T94" fmla="*/ 278 w 1528"/>
                <a:gd name="T95" fmla="*/ 1070 h 1080"/>
                <a:gd name="T96" fmla="*/ 1168 w 1528"/>
                <a:gd name="T97" fmla="*/ 1080 h 1080"/>
                <a:gd name="T98" fmla="*/ 1308 w 1528"/>
                <a:gd name="T99" fmla="*/ 1052 h 1080"/>
                <a:gd name="T100" fmla="*/ 1446 w 1528"/>
                <a:gd name="T101" fmla="*/ 948 h 1080"/>
                <a:gd name="T102" fmla="*/ 1520 w 1528"/>
                <a:gd name="T103" fmla="*/ 792 h 1080"/>
                <a:gd name="T104" fmla="*/ 1526 w 1528"/>
                <a:gd name="T105" fmla="*/ 670 h 1080"/>
                <a:gd name="T106" fmla="*/ 1466 w 1528"/>
                <a:gd name="T107" fmla="*/ 506 h 1080"/>
                <a:gd name="T108" fmla="*/ 1340 w 1528"/>
                <a:gd name="T109" fmla="*/ 390 h 1080"/>
                <a:gd name="T110" fmla="*/ 1168 w 1528"/>
                <a:gd name="T111" fmla="*/ 34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28" h="1080">
                  <a:moveTo>
                    <a:pt x="1168" y="348"/>
                  </a:moveTo>
                  <a:lnTo>
                    <a:pt x="1130" y="348"/>
                  </a:lnTo>
                  <a:lnTo>
                    <a:pt x="1130" y="348"/>
                  </a:lnTo>
                  <a:lnTo>
                    <a:pt x="1126" y="312"/>
                  </a:lnTo>
                  <a:lnTo>
                    <a:pt x="1120" y="276"/>
                  </a:lnTo>
                  <a:lnTo>
                    <a:pt x="1110" y="244"/>
                  </a:lnTo>
                  <a:lnTo>
                    <a:pt x="1096" y="212"/>
                  </a:lnTo>
                  <a:lnTo>
                    <a:pt x="1080" y="180"/>
                  </a:lnTo>
                  <a:lnTo>
                    <a:pt x="1062" y="152"/>
                  </a:lnTo>
                  <a:lnTo>
                    <a:pt x="1040" y="126"/>
                  </a:lnTo>
                  <a:lnTo>
                    <a:pt x="1016" y="100"/>
                  </a:lnTo>
                  <a:lnTo>
                    <a:pt x="992" y="78"/>
                  </a:lnTo>
                  <a:lnTo>
                    <a:pt x="964" y="58"/>
                  </a:lnTo>
                  <a:lnTo>
                    <a:pt x="934" y="42"/>
                  </a:lnTo>
                  <a:lnTo>
                    <a:pt x="902" y="26"/>
                  </a:lnTo>
                  <a:lnTo>
                    <a:pt x="870" y="14"/>
                  </a:lnTo>
                  <a:lnTo>
                    <a:pt x="836" y="6"/>
                  </a:lnTo>
                  <a:lnTo>
                    <a:pt x="800" y="2"/>
                  </a:lnTo>
                  <a:lnTo>
                    <a:pt x="764" y="0"/>
                  </a:lnTo>
                  <a:lnTo>
                    <a:pt x="764" y="0"/>
                  </a:lnTo>
                  <a:lnTo>
                    <a:pt x="732" y="0"/>
                  </a:lnTo>
                  <a:lnTo>
                    <a:pt x="702" y="4"/>
                  </a:lnTo>
                  <a:lnTo>
                    <a:pt x="672" y="12"/>
                  </a:lnTo>
                  <a:lnTo>
                    <a:pt x="642" y="20"/>
                  </a:lnTo>
                  <a:lnTo>
                    <a:pt x="614" y="32"/>
                  </a:lnTo>
                  <a:lnTo>
                    <a:pt x="588" y="46"/>
                  </a:lnTo>
                  <a:lnTo>
                    <a:pt x="562" y="60"/>
                  </a:lnTo>
                  <a:lnTo>
                    <a:pt x="538" y="78"/>
                  </a:lnTo>
                  <a:lnTo>
                    <a:pt x="516" y="98"/>
                  </a:lnTo>
                  <a:lnTo>
                    <a:pt x="494" y="118"/>
                  </a:lnTo>
                  <a:lnTo>
                    <a:pt x="476" y="142"/>
                  </a:lnTo>
                  <a:lnTo>
                    <a:pt x="458" y="166"/>
                  </a:lnTo>
                  <a:lnTo>
                    <a:pt x="442" y="192"/>
                  </a:lnTo>
                  <a:lnTo>
                    <a:pt x="428" y="218"/>
                  </a:lnTo>
                  <a:lnTo>
                    <a:pt x="418" y="246"/>
                  </a:lnTo>
                  <a:lnTo>
                    <a:pt x="408" y="276"/>
                  </a:lnTo>
                  <a:lnTo>
                    <a:pt x="408" y="276"/>
                  </a:lnTo>
                  <a:lnTo>
                    <a:pt x="410" y="276"/>
                  </a:lnTo>
                  <a:lnTo>
                    <a:pt x="410" y="276"/>
                  </a:lnTo>
                  <a:lnTo>
                    <a:pt x="448" y="282"/>
                  </a:lnTo>
                  <a:lnTo>
                    <a:pt x="470" y="286"/>
                  </a:lnTo>
                  <a:lnTo>
                    <a:pt x="494" y="294"/>
                  </a:lnTo>
                  <a:lnTo>
                    <a:pt x="494" y="294"/>
                  </a:lnTo>
                  <a:lnTo>
                    <a:pt x="500" y="272"/>
                  </a:lnTo>
                  <a:lnTo>
                    <a:pt x="510" y="250"/>
                  </a:lnTo>
                  <a:lnTo>
                    <a:pt x="520" y="230"/>
                  </a:lnTo>
                  <a:lnTo>
                    <a:pt x="532" y="210"/>
                  </a:lnTo>
                  <a:lnTo>
                    <a:pt x="544" y="192"/>
                  </a:lnTo>
                  <a:lnTo>
                    <a:pt x="560" y="176"/>
                  </a:lnTo>
                  <a:lnTo>
                    <a:pt x="576" y="160"/>
                  </a:lnTo>
                  <a:lnTo>
                    <a:pt x="592" y="144"/>
                  </a:lnTo>
                  <a:lnTo>
                    <a:pt x="610" y="132"/>
                  </a:lnTo>
                  <a:lnTo>
                    <a:pt x="630" y="120"/>
                  </a:lnTo>
                  <a:lnTo>
                    <a:pt x="650" y="110"/>
                  </a:lnTo>
                  <a:lnTo>
                    <a:pt x="672" y="102"/>
                  </a:lnTo>
                  <a:lnTo>
                    <a:pt x="694" y="94"/>
                  </a:lnTo>
                  <a:lnTo>
                    <a:pt x="716" y="90"/>
                  </a:lnTo>
                  <a:lnTo>
                    <a:pt x="740" y="86"/>
                  </a:lnTo>
                  <a:lnTo>
                    <a:pt x="764" y="86"/>
                  </a:lnTo>
                  <a:lnTo>
                    <a:pt x="764" y="86"/>
                  </a:lnTo>
                  <a:lnTo>
                    <a:pt x="792" y="86"/>
                  </a:lnTo>
                  <a:lnTo>
                    <a:pt x="820" y="92"/>
                  </a:lnTo>
                  <a:lnTo>
                    <a:pt x="848" y="98"/>
                  </a:lnTo>
                  <a:lnTo>
                    <a:pt x="874" y="108"/>
                  </a:lnTo>
                  <a:lnTo>
                    <a:pt x="898" y="120"/>
                  </a:lnTo>
                  <a:lnTo>
                    <a:pt x="920" y="134"/>
                  </a:lnTo>
                  <a:lnTo>
                    <a:pt x="942" y="150"/>
                  </a:lnTo>
                  <a:lnTo>
                    <a:pt x="962" y="168"/>
                  </a:lnTo>
                  <a:lnTo>
                    <a:pt x="980" y="188"/>
                  </a:lnTo>
                  <a:lnTo>
                    <a:pt x="996" y="210"/>
                  </a:lnTo>
                  <a:lnTo>
                    <a:pt x="1010" y="232"/>
                  </a:lnTo>
                  <a:lnTo>
                    <a:pt x="1022" y="256"/>
                  </a:lnTo>
                  <a:lnTo>
                    <a:pt x="1032" y="282"/>
                  </a:lnTo>
                  <a:lnTo>
                    <a:pt x="1038" y="310"/>
                  </a:lnTo>
                  <a:lnTo>
                    <a:pt x="1042" y="336"/>
                  </a:lnTo>
                  <a:lnTo>
                    <a:pt x="1044" y="366"/>
                  </a:lnTo>
                  <a:lnTo>
                    <a:pt x="1044" y="390"/>
                  </a:lnTo>
                  <a:lnTo>
                    <a:pt x="1044" y="390"/>
                  </a:lnTo>
                  <a:lnTo>
                    <a:pt x="1046" y="400"/>
                  </a:lnTo>
                  <a:lnTo>
                    <a:pt x="1048" y="408"/>
                  </a:lnTo>
                  <a:lnTo>
                    <a:pt x="1052" y="414"/>
                  </a:lnTo>
                  <a:lnTo>
                    <a:pt x="1056" y="420"/>
                  </a:lnTo>
                  <a:lnTo>
                    <a:pt x="1064" y="426"/>
                  </a:lnTo>
                  <a:lnTo>
                    <a:pt x="1070" y="430"/>
                  </a:lnTo>
                  <a:lnTo>
                    <a:pt x="1078" y="432"/>
                  </a:lnTo>
                  <a:lnTo>
                    <a:pt x="1088" y="434"/>
                  </a:lnTo>
                  <a:lnTo>
                    <a:pt x="1168" y="434"/>
                  </a:lnTo>
                  <a:lnTo>
                    <a:pt x="1168" y="434"/>
                  </a:lnTo>
                  <a:lnTo>
                    <a:pt x="1196" y="434"/>
                  </a:lnTo>
                  <a:lnTo>
                    <a:pt x="1224" y="438"/>
                  </a:lnTo>
                  <a:lnTo>
                    <a:pt x="1250" y="446"/>
                  </a:lnTo>
                  <a:lnTo>
                    <a:pt x="1274" y="454"/>
                  </a:lnTo>
                  <a:lnTo>
                    <a:pt x="1298" y="466"/>
                  </a:lnTo>
                  <a:lnTo>
                    <a:pt x="1322" y="480"/>
                  </a:lnTo>
                  <a:lnTo>
                    <a:pt x="1342" y="496"/>
                  </a:lnTo>
                  <a:lnTo>
                    <a:pt x="1362" y="514"/>
                  </a:lnTo>
                  <a:lnTo>
                    <a:pt x="1380" y="534"/>
                  </a:lnTo>
                  <a:lnTo>
                    <a:pt x="1396" y="554"/>
                  </a:lnTo>
                  <a:lnTo>
                    <a:pt x="1408" y="576"/>
                  </a:lnTo>
                  <a:lnTo>
                    <a:pt x="1420" y="600"/>
                  </a:lnTo>
                  <a:lnTo>
                    <a:pt x="1430" y="626"/>
                  </a:lnTo>
                  <a:lnTo>
                    <a:pt x="1436" y="652"/>
                  </a:lnTo>
                  <a:lnTo>
                    <a:pt x="1440" y="680"/>
                  </a:lnTo>
                  <a:lnTo>
                    <a:pt x="1442" y="708"/>
                  </a:lnTo>
                  <a:lnTo>
                    <a:pt x="1442" y="720"/>
                  </a:lnTo>
                  <a:lnTo>
                    <a:pt x="1442" y="720"/>
                  </a:lnTo>
                  <a:lnTo>
                    <a:pt x="1440" y="748"/>
                  </a:lnTo>
                  <a:lnTo>
                    <a:pt x="1436" y="774"/>
                  </a:lnTo>
                  <a:lnTo>
                    <a:pt x="1430" y="802"/>
                  </a:lnTo>
                  <a:lnTo>
                    <a:pt x="1420" y="826"/>
                  </a:lnTo>
                  <a:lnTo>
                    <a:pt x="1408" y="850"/>
                  </a:lnTo>
                  <a:lnTo>
                    <a:pt x="1396" y="872"/>
                  </a:lnTo>
                  <a:lnTo>
                    <a:pt x="1380" y="894"/>
                  </a:lnTo>
                  <a:lnTo>
                    <a:pt x="1362" y="914"/>
                  </a:lnTo>
                  <a:lnTo>
                    <a:pt x="1342" y="932"/>
                  </a:lnTo>
                  <a:lnTo>
                    <a:pt x="1322" y="946"/>
                  </a:lnTo>
                  <a:lnTo>
                    <a:pt x="1298" y="960"/>
                  </a:lnTo>
                  <a:lnTo>
                    <a:pt x="1274" y="972"/>
                  </a:lnTo>
                  <a:lnTo>
                    <a:pt x="1250" y="982"/>
                  </a:lnTo>
                  <a:lnTo>
                    <a:pt x="1224" y="988"/>
                  </a:lnTo>
                  <a:lnTo>
                    <a:pt x="1196" y="992"/>
                  </a:lnTo>
                  <a:lnTo>
                    <a:pt x="1168" y="994"/>
                  </a:lnTo>
                  <a:lnTo>
                    <a:pt x="1100" y="994"/>
                  </a:lnTo>
                  <a:lnTo>
                    <a:pt x="360" y="994"/>
                  </a:lnTo>
                  <a:lnTo>
                    <a:pt x="360" y="994"/>
                  </a:lnTo>
                  <a:lnTo>
                    <a:pt x="332" y="992"/>
                  </a:lnTo>
                  <a:lnTo>
                    <a:pt x="306" y="988"/>
                  </a:lnTo>
                  <a:lnTo>
                    <a:pt x="278" y="982"/>
                  </a:lnTo>
                  <a:lnTo>
                    <a:pt x="254" y="972"/>
                  </a:lnTo>
                  <a:lnTo>
                    <a:pt x="230" y="960"/>
                  </a:lnTo>
                  <a:lnTo>
                    <a:pt x="208" y="946"/>
                  </a:lnTo>
                  <a:lnTo>
                    <a:pt x="186" y="932"/>
                  </a:lnTo>
                  <a:lnTo>
                    <a:pt x="166" y="914"/>
                  </a:lnTo>
                  <a:lnTo>
                    <a:pt x="148" y="894"/>
                  </a:lnTo>
                  <a:lnTo>
                    <a:pt x="134" y="872"/>
                  </a:lnTo>
                  <a:lnTo>
                    <a:pt x="120" y="850"/>
                  </a:lnTo>
                  <a:lnTo>
                    <a:pt x="108" y="826"/>
                  </a:lnTo>
                  <a:lnTo>
                    <a:pt x="98" y="802"/>
                  </a:lnTo>
                  <a:lnTo>
                    <a:pt x="92" y="774"/>
                  </a:lnTo>
                  <a:lnTo>
                    <a:pt x="88" y="748"/>
                  </a:lnTo>
                  <a:lnTo>
                    <a:pt x="86" y="720"/>
                  </a:lnTo>
                  <a:lnTo>
                    <a:pt x="86" y="708"/>
                  </a:lnTo>
                  <a:lnTo>
                    <a:pt x="86" y="708"/>
                  </a:lnTo>
                  <a:lnTo>
                    <a:pt x="88" y="682"/>
                  </a:lnTo>
                  <a:lnTo>
                    <a:pt x="90" y="658"/>
                  </a:lnTo>
                  <a:lnTo>
                    <a:pt x="96" y="634"/>
                  </a:lnTo>
                  <a:lnTo>
                    <a:pt x="104" y="612"/>
                  </a:lnTo>
                  <a:lnTo>
                    <a:pt x="114" y="590"/>
                  </a:lnTo>
                  <a:lnTo>
                    <a:pt x="124" y="568"/>
                  </a:lnTo>
                  <a:lnTo>
                    <a:pt x="138" y="548"/>
                  </a:lnTo>
                  <a:lnTo>
                    <a:pt x="152" y="530"/>
                  </a:lnTo>
                  <a:lnTo>
                    <a:pt x="168" y="512"/>
                  </a:lnTo>
                  <a:lnTo>
                    <a:pt x="186" y="496"/>
                  </a:lnTo>
                  <a:lnTo>
                    <a:pt x="204" y="482"/>
                  </a:lnTo>
                  <a:lnTo>
                    <a:pt x="224" y="470"/>
                  </a:lnTo>
                  <a:lnTo>
                    <a:pt x="246" y="460"/>
                  </a:lnTo>
                  <a:lnTo>
                    <a:pt x="268" y="450"/>
                  </a:lnTo>
                  <a:lnTo>
                    <a:pt x="290" y="442"/>
                  </a:lnTo>
                  <a:lnTo>
                    <a:pt x="314" y="438"/>
                  </a:lnTo>
                  <a:lnTo>
                    <a:pt x="314" y="438"/>
                  </a:lnTo>
                  <a:lnTo>
                    <a:pt x="320" y="436"/>
                  </a:lnTo>
                  <a:lnTo>
                    <a:pt x="320" y="436"/>
                  </a:lnTo>
                  <a:lnTo>
                    <a:pt x="338" y="434"/>
                  </a:lnTo>
                  <a:lnTo>
                    <a:pt x="338" y="434"/>
                  </a:lnTo>
                  <a:lnTo>
                    <a:pt x="360" y="434"/>
                  </a:lnTo>
                  <a:lnTo>
                    <a:pt x="372" y="434"/>
                  </a:lnTo>
                  <a:lnTo>
                    <a:pt x="372" y="434"/>
                  </a:lnTo>
                  <a:lnTo>
                    <a:pt x="398" y="436"/>
                  </a:lnTo>
                  <a:lnTo>
                    <a:pt x="424" y="440"/>
                  </a:lnTo>
                  <a:lnTo>
                    <a:pt x="448" y="446"/>
                  </a:lnTo>
                  <a:lnTo>
                    <a:pt x="472" y="454"/>
                  </a:lnTo>
                  <a:lnTo>
                    <a:pt x="496" y="466"/>
                  </a:lnTo>
                  <a:lnTo>
                    <a:pt x="518" y="478"/>
                  </a:lnTo>
                  <a:lnTo>
                    <a:pt x="538" y="494"/>
                  </a:lnTo>
                  <a:lnTo>
                    <a:pt x="558" y="510"/>
                  </a:lnTo>
                  <a:lnTo>
                    <a:pt x="558" y="510"/>
                  </a:lnTo>
                  <a:lnTo>
                    <a:pt x="566" y="516"/>
                  </a:lnTo>
                  <a:lnTo>
                    <a:pt x="572" y="520"/>
                  </a:lnTo>
                  <a:lnTo>
                    <a:pt x="580" y="522"/>
                  </a:lnTo>
                  <a:lnTo>
                    <a:pt x="588" y="522"/>
                  </a:lnTo>
                  <a:lnTo>
                    <a:pt x="588" y="522"/>
                  </a:lnTo>
                  <a:lnTo>
                    <a:pt x="596" y="522"/>
                  </a:lnTo>
                  <a:lnTo>
                    <a:pt x="604" y="520"/>
                  </a:lnTo>
                  <a:lnTo>
                    <a:pt x="612" y="516"/>
                  </a:lnTo>
                  <a:lnTo>
                    <a:pt x="620" y="510"/>
                  </a:lnTo>
                  <a:lnTo>
                    <a:pt x="620" y="510"/>
                  </a:lnTo>
                  <a:lnTo>
                    <a:pt x="624" y="502"/>
                  </a:lnTo>
                  <a:lnTo>
                    <a:pt x="628" y="494"/>
                  </a:lnTo>
                  <a:lnTo>
                    <a:pt x="630" y="486"/>
                  </a:lnTo>
                  <a:lnTo>
                    <a:pt x="632" y="478"/>
                  </a:lnTo>
                  <a:lnTo>
                    <a:pt x="630" y="470"/>
                  </a:lnTo>
                  <a:lnTo>
                    <a:pt x="628" y="462"/>
                  </a:lnTo>
                  <a:lnTo>
                    <a:pt x="624" y="456"/>
                  </a:lnTo>
                  <a:lnTo>
                    <a:pt x="618" y="448"/>
                  </a:lnTo>
                  <a:lnTo>
                    <a:pt x="618" y="448"/>
                  </a:lnTo>
                  <a:lnTo>
                    <a:pt x="592" y="426"/>
                  </a:lnTo>
                  <a:lnTo>
                    <a:pt x="562" y="406"/>
                  </a:lnTo>
                  <a:lnTo>
                    <a:pt x="534" y="388"/>
                  </a:lnTo>
                  <a:lnTo>
                    <a:pt x="502" y="374"/>
                  </a:lnTo>
                  <a:lnTo>
                    <a:pt x="468" y="362"/>
                  </a:lnTo>
                  <a:lnTo>
                    <a:pt x="436" y="354"/>
                  </a:lnTo>
                  <a:lnTo>
                    <a:pt x="400" y="348"/>
                  </a:lnTo>
                  <a:lnTo>
                    <a:pt x="366" y="348"/>
                  </a:lnTo>
                  <a:lnTo>
                    <a:pt x="366" y="348"/>
                  </a:lnTo>
                  <a:lnTo>
                    <a:pt x="338" y="348"/>
                  </a:lnTo>
                  <a:lnTo>
                    <a:pt x="312" y="352"/>
                  </a:lnTo>
                  <a:lnTo>
                    <a:pt x="300" y="354"/>
                  </a:lnTo>
                  <a:lnTo>
                    <a:pt x="300" y="354"/>
                  </a:lnTo>
                  <a:lnTo>
                    <a:pt x="268" y="360"/>
                  </a:lnTo>
                  <a:lnTo>
                    <a:pt x="238" y="370"/>
                  </a:lnTo>
                  <a:lnTo>
                    <a:pt x="208" y="382"/>
                  </a:lnTo>
                  <a:lnTo>
                    <a:pt x="180" y="396"/>
                  </a:lnTo>
                  <a:lnTo>
                    <a:pt x="154" y="412"/>
                  </a:lnTo>
                  <a:lnTo>
                    <a:pt x="130" y="432"/>
                  </a:lnTo>
                  <a:lnTo>
                    <a:pt x="108" y="452"/>
                  </a:lnTo>
                  <a:lnTo>
                    <a:pt x="86" y="474"/>
                  </a:lnTo>
                  <a:lnTo>
                    <a:pt x="68" y="500"/>
                  </a:lnTo>
                  <a:lnTo>
                    <a:pt x="50" y="526"/>
                  </a:lnTo>
                  <a:lnTo>
                    <a:pt x="36" y="552"/>
                  </a:lnTo>
                  <a:lnTo>
                    <a:pt x="24" y="582"/>
                  </a:lnTo>
                  <a:lnTo>
                    <a:pt x="14" y="612"/>
                  </a:lnTo>
                  <a:lnTo>
                    <a:pt x="6" y="642"/>
                  </a:lnTo>
                  <a:lnTo>
                    <a:pt x="2" y="674"/>
                  </a:lnTo>
                  <a:lnTo>
                    <a:pt x="0" y="708"/>
                  </a:lnTo>
                  <a:lnTo>
                    <a:pt x="0" y="720"/>
                  </a:lnTo>
                  <a:lnTo>
                    <a:pt x="0" y="720"/>
                  </a:lnTo>
                  <a:lnTo>
                    <a:pt x="2" y="756"/>
                  </a:lnTo>
                  <a:lnTo>
                    <a:pt x="8" y="790"/>
                  </a:lnTo>
                  <a:lnTo>
                    <a:pt x="16" y="824"/>
                  </a:lnTo>
                  <a:lnTo>
                    <a:pt x="28" y="858"/>
                  </a:lnTo>
                  <a:lnTo>
                    <a:pt x="42" y="888"/>
                  </a:lnTo>
                  <a:lnTo>
                    <a:pt x="60" y="918"/>
                  </a:lnTo>
                  <a:lnTo>
                    <a:pt x="80" y="944"/>
                  </a:lnTo>
                  <a:lnTo>
                    <a:pt x="102" y="970"/>
                  </a:lnTo>
                  <a:lnTo>
                    <a:pt x="126" y="994"/>
                  </a:lnTo>
                  <a:lnTo>
                    <a:pt x="154" y="1014"/>
                  </a:lnTo>
                  <a:lnTo>
                    <a:pt x="182" y="1032"/>
                  </a:lnTo>
                  <a:lnTo>
                    <a:pt x="214" y="1048"/>
                  </a:lnTo>
                  <a:lnTo>
                    <a:pt x="246" y="1060"/>
                  </a:lnTo>
                  <a:lnTo>
                    <a:pt x="278" y="1070"/>
                  </a:lnTo>
                  <a:lnTo>
                    <a:pt x="314" y="1076"/>
                  </a:lnTo>
                  <a:lnTo>
                    <a:pt x="350" y="1080"/>
                  </a:lnTo>
                  <a:lnTo>
                    <a:pt x="356" y="1078"/>
                  </a:lnTo>
                  <a:lnTo>
                    <a:pt x="350" y="1080"/>
                  </a:lnTo>
                  <a:lnTo>
                    <a:pt x="1168" y="1080"/>
                  </a:lnTo>
                  <a:lnTo>
                    <a:pt x="1168" y="1080"/>
                  </a:lnTo>
                  <a:lnTo>
                    <a:pt x="1204" y="1078"/>
                  </a:lnTo>
                  <a:lnTo>
                    <a:pt x="1240" y="1072"/>
                  </a:lnTo>
                  <a:lnTo>
                    <a:pt x="1274" y="1064"/>
                  </a:lnTo>
                  <a:lnTo>
                    <a:pt x="1308" y="1052"/>
                  </a:lnTo>
                  <a:lnTo>
                    <a:pt x="1340" y="1036"/>
                  </a:lnTo>
                  <a:lnTo>
                    <a:pt x="1370" y="1018"/>
                  </a:lnTo>
                  <a:lnTo>
                    <a:pt x="1396" y="998"/>
                  </a:lnTo>
                  <a:lnTo>
                    <a:pt x="1422" y="974"/>
                  </a:lnTo>
                  <a:lnTo>
                    <a:pt x="1446" y="948"/>
                  </a:lnTo>
                  <a:lnTo>
                    <a:pt x="1466" y="920"/>
                  </a:lnTo>
                  <a:lnTo>
                    <a:pt x="1484" y="892"/>
                  </a:lnTo>
                  <a:lnTo>
                    <a:pt x="1500" y="860"/>
                  </a:lnTo>
                  <a:lnTo>
                    <a:pt x="1512" y="826"/>
                  </a:lnTo>
                  <a:lnTo>
                    <a:pt x="1520" y="792"/>
                  </a:lnTo>
                  <a:lnTo>
                    <a:pt x="1526" y="756"/>
                  </a:lnTo>
                  <a:lnTo>
                    <a:pt x="1528" y="720"/>
                  </a:lnTo>
                  <a:lnTo>
                    <a:pt x="1528" y="708"/>
                  </a:lnTo>
                  <a:lnTo>
                    <a:pt x="1528" y="708"/>
                  </a:lnTo>
                  <a:lnTo>
                    <a:pt x="1526" y="670"/>
                  </a:lnTo>
                  <a:lnTo>
                    <a:pt x="1520" y="636"/>
                  </a:lnTo>
                  <a:lnTo>
                    <a:pt x="1512" y="600"/>
                  </a:lnTo>
                  <a:lnTo>
                    <a:pt x="1500" y="568"/>
                  </a:lnTo>
                  <a:lnTo>
                    <a:pt x="1484" y="536"/>
                  </a:lnTo>
                  <a:lnTo>
                    <a:pt x="1466" y="506"/>
                  </a:lnTo>
                  <a:lnTo>
                    <a:pt x="1446" y="478"/>
                  </a:lnTo>
                  <a:lnTo>
                    <a:pt x="1422" y="452"/>
                  </a:lnTo>
                  <a:lnTo>
                    <a:pt x="1396" y="430"/>
                  </a:lnTo>
                  <a:lnTo>
                    <a:pt x="1370" y="408"/>
                  </a:lnTo>
                  <a:lnTo>
                    <a:pt x="1340" y="390"/>
                  </a:lnTo>
                  <a:lnTo>
                    <a:pt x="1308" y="376"/>
                  </a:lnTo>
                  <a:lnTo>
                    <a:pt x="1274" y="364"/>
                  </a:lnTo>
                  <a:lnTo>
                    <a:pt x="1240" y="354"/>
                  </a:lnTo>
                  <a:lnTo>
                    <a:pt x="1204" y="350"/>
                  </a:lnTo>
                  <a:lnTo>
                    <a:pt x="1168" y="348"/>
                  </a:lnTo>
                  <a:lnTo>
                    <a:pt x="1168" y="3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41"/>
            <p:cNvSpPr>
              <a:spLocks/>
            </p:cNvSpPr>
            <p:nvPr/>
          </p:nvSpPr>
          <p:spPr bwMode="auto">
            <a:xfrm>
              <a:off x="6033629" y="1707255"/>
              <a:ext cx="143222" cy="89895"/>
            </a:xfrm>
            <a:custGeom>
              <a:avLst/>
              <a:gdLst>
                <a:gd name="T0" fmla="*/ 0 w 564"/>
                <a:gd name="T1" fmla="*/ 206 h 354"/>
                <a:gd name="T2" fmla="*/ 408 w 564"/>
                <a:gd name="T3" fmla="*/ 216 h 354"/>
                <a:gd name="T4" fmla="*/ 328 w 564"/>
                <a:gd name="T5" fmla="*/ 296 h 354"/>
                <a:gd name="T6" fmla="*/ 388 w 564"/>
                <a:gd name="T7" fmla="*/ 354 h 354"/>
                <a:gd name="T8" fmla="*/ 564 w 564"/>
                <a:gd name="T9" fmla="*/ 178 h 354"/>
                <a:gd name="T10" fmla="*/ 564 w 564"/>
                <a:gd name="T11" fmla="*/ 176 h 354"/>
                <a:gd name="T12" fmla="*/ 564 w 564"/>
                <a:gd name="T13" fmla="*/ 176 h 354"/>
                <a:gd name="T14" fmla="*/ 386 w 564"/>
                <a:gd name="T15" fmla="*/ 0 h 354"/>
                <a:gd name="T16" fmla="*/ 326 w 564"/>
                <a:gd name="T17" fmla="*/ 60 h 354"/>
                <a:gd name="T18" fmla="*/ 398 w 564"/>
                <a:gd name="T19" fmla="*/ 130 h 354"/>
                <a:gd name="T20" fmla="*/ 0 w 564"/>
                <a:gd name="T21" fmla="*/ 122 h 354"/>
                <a:gd name="T22" fmla="*/ 0 w 564"/>
                <a:gd name="T23" fmla="*/ 20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4" h="354">
                  <a:moveTo>
                    <a:pt x="0" y="206"/>
                  </a:moveTo>
                  <a:lnTo>
                    <a:pt x="408" y="216"/>
                  </a:lnTo>
                  <a:lnTo>
                    <a:pt x="328" y="296"/>
                  </a:lnTo>
                  <a:lnTo>
                    <a:pt x="388" y="354"/>
                  </a:lnTo>
                  <a:lnTo>
                    <a:pt x="564" y="178"/>
                  </a:lnTo>
                  <a:lnTo>
                    <a:pt x="564" y="176"/>
                  </a:lnTo>
                  <a:lnTo>
                    <a:pt x="564" y="176"/>
                  </a:lnTo>
                  <a:lnTo>
                    <a:pt x="386" y="0"/>
                  </a:lnTo>
                  <a:lnTo>
                    <a:pt x="326" y="60"/>
                  </a:lnTo>
                  <a:lnTo>
                    <a:pt x="398" y="130"/>
                  </a:lnTo>
                  <a:lnTo>
                    <a:pt x="0" y="122"/>
                  </a:lnTo>
                  <a:lnTo>
                    <a:pt x="0" y="20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8" name="Freeform 75"/>
          <p:cNvSpPr>
            <a:spLocks noChangeArrowheads="1"/>
          </p:cNvSpPr>
          <p:nvPr/>
        </p:nvSpPr>
        <p:spPr bwMode="auto">
          <a:xfrm>
            <a:off x="6907695" y="1699234"/>
            <a:ext cx="347763" cy="304857"/>
          </a:xfrm>
          <a:custGeom>
            <a:avLst/>
            <a:gdLst>
              <a:gd name="T0" fmla="*/ 1336 w 1360"/>
              <a:gd name="T1" fmla="*/ 1045 h 1192"/>
              <a:gd name="T2" fmla="*/ 763 w 1360"/>
              <a:gd name="T3" fmla="*/ 54 h 1192"/>
              <a:gd name="T4" fmla="*/ 679 w 1360"/>
              <a:gd name="T5" fmla="*/ 0 h 1192"/>
              <a:gd name="T6" fmla="*/ 596 w 1360"/>
              <a:gd name="T7" fmla="*/ 54 h 1192"/>
              <a:gd name="T8" fmla="*/ 22 w 1360"/>
              <a:gd name="T9" fmla="*/ 1045 h 1192"/>
              <a:gd name="T10" fmla="*/ 16 w 1360"/>
              <a:gd name="T11" fmla="*/ 1147 h 1192"/>
              <a:gd name="T12" fmla="*/ 106 w 1360"/>
              <a:gd name="T13" fmla="*/ 1191 h 1192"/>
              <a:gd name="T14" fmla="*/ 1253 w 1360"/>
              <a:gd name="T15" fmla="*/ 1191 h 1192"/>
              <a:gd name="T16" fmla="*/ 1342 w 1360"/>
              <a:gd name="T17" fmla="*/ 1147 h 1192"/>
              <a:gd name="T18" fmla="*/ 1336 w 1360"/>
              <a:gd name="T19" fmla="*/ 1045 h 1192"/>
              <a:gd name="T20" fmla="*/ 658 w 1360"/>
              <a:gd name="T21" fmla="*/ 91 h 1192"/>
              <a:gd name="T22" fmla="*/ 679 w 1360"/>
              <a:gd name="T23" fmla="*/ 73 h 1192"/>
              <a:gd name="T24" fmla="*/ 700 w 1360"/>
              <a:gd name="T25" fmla="*/ 91 h 1192"/>
              <a:gd name="T26" fmla="*/ 882 w 1360"/>
              <a:gd name="T27" fmla="*/ 406 h 1192"/>
              <a:gd name="T28" fmla="*/ 476 w 1360"/>
              <a:gd name="T29" fmla="*/ 406 h 1192"/>
              <a:gd name="T30" fmla="*/ 658 w 1360"/>
              <a:gd name="T31" fmla="*/ 91 h 1192"/>
              <a:gd name="T32" fmla="*/ 1278 w 1360"/>
              <a:gd name="T33" fmla="*/ 1110 h 1192"/>
              <a:gd name="T34" fmla="*/ 1253 w 1360"/>
              <a:gd name="T35" fmla="*/ 1118 h 1192"/>
              <a:gd name="T36" fmla="*/ 717 w 1360"/>
              <a:gd name="T37" fmla="*/ 1118 h 1192"/>
              <a:gd name="T38" fmla="*/ 717 w 1360"/>
              <a:gd name="T39" fmla="*/ 661 h 1192"/>
              <a:gd name="T40" fmla="*/ 772 w 1360"/>
              <a:gd name="T41" fmla="*/ 716 h 1192"/>
              <a:gd name="T42" fmla="*/ 797 w 1360"/>
              <a:gd name="T43" fmla="*/ 726 h 1192"/>
              <a:gd name="T44" fmla="*/ 823 w 1360"/>
              <a:gd name="T45" fmla="*/ 716 h 1192"/>
              <a:gd name="T46" fmla="*/ 823 w 1360"/>
              <a:gd name="T47" fmla="*/ 664 h 1192"/>
              <a:gd name="T48" fmla="*/ 706 w 1360"/>
              <a:gd name="T49" fmla="*/ 547 h 1192"/>
              <a:gd name="T50" fmla="*/ 658 w 1360"/>
              <a:gd name="T51" fmla="*/ 546 h 1192"/>
              <a:gd name="T52" fmla="*/ 652 w 1360"/>
              <a:gd name="T53" fmla="*/ 550 h 1192"/>
              <a:gd name="T54" fmla="*/ 533 w 1360"/>
              <a:gd name="T55" fmla="*/ 667 h 1192"/>
              <a:gd name="T56" fmla="*/ 533 w 1360"/>
              <a:gd name="T57" fmla="*/ 719 h 1192"/>
              <a:gd name="T58" fmla="*/ 559 w 1360"/>
              <a:gd name="T59" fmla="*/ 729 h 1192"/>
              <a:gd name="T60" fmla="*/ 585 w 1360"/>
              <a:gd name="T61" fmla="*/ 719 h 1192"/>
              <a:gd name="T62" fmla="*/ 644 w 1360"/>
              <a:gd name="T63" fmla="*/ 661 h 1192"/>
              <a:gd name="T64" fmla="*/ 644 w 1360"/>
              <a:gd name="T65" fmla="*/ 1118 h 1192"/>
              <a:gd name="T66" fmla="*/ 106 w 1360"/>
              <a:gd name="T67" fmla="*/ 1118 h 1192"/>
              <a:gd name="T68" fmla="*/ 78 w 1360"/>
              <a:gd name="T69" fmla="*/ 1110 h 1192"/>
              <a:gd name="T70" fmla="*/ 84 w 1360"/>
              <a:gd name="T71" fmla="*/ 1083 h 1192"/>
              <a:gd name="T72" fmla="*/ 219 w 1360"/>
              <a:gd name="T73" fmla="*/ 851 h 1192"/>
              <a:gd name="T74" fmla="*/ 570 w 1360"/>
              <a:gd name="T75" fmla="*/ 851 h 1192"/>
              <a:gd name="T76" fmla="*/ 570 w 1360"/>
              <a:gd name="T77" fmla="*/ 778 h 1192"/>
              <a:gd name="T78" fmla="*/ 260 w 1360"/>
              <a:gd name="T79" fmla="*/ 778 h 1192"/>
              <a:gd name="T80" fmla="*/ 433 w 1360"/>
              <a:gd name="T81" fmla="*/ 479 h 1192"/>
              <a:gd name="T82" fmla="*/ 925 w 1360"/>
              <a:gd name="T83" fmla="*/ 479 h 1192"/>
              <a:gd name="T84" fmla="*/ 1096 w 1360"/>
              <a:gd name="T85" fmla="*/ 778 h 1192"/>
              <a:gd name="T86" fmla="*/ 790 w 1360"/>
              <a:gd name="T87" fmla="*/ 778 h 1192"/>
              <a:gd name="T88" fmla="*/ 790 w 1360"/>
              <a:gd name="T89" fmla="*/ 851 h 1192"/>
              <a:gd name="T90" fmla="*/ 1139 w 1360"/>
              <a:gd name="T91" fmla="*/ 851 h 1192"/>
              <a:gd name="T92" fmla="*/ 1272 w 1360"/>
              <a:gd name="T93" fmla="*/ 1083 h 1192"/>
              <a:gd name="T94" fmla="*/ 1278 w 1360"/>
              <a:gd name="T95" fmla="*/ 1110 h 1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0" h="1192">
                <a:moveTo>
                  <a:pt x="1336" y="1045"/>
                </a:moveTo>
                <a:lnTo>
                  <a:pt x="763" y="54"/>
                </a:lnTo>
                <a:cubicBezTo>
                  <a:pt x="743" y="19"/>
                  <a:pt x="712" y="0"/>
                  <a:pt x="679" y="0"/>
                </a:cubicBezTo>
                <a:cubicBezTo>
                  <a:pt x="646" y="0"/>
                  <a:pt x="615" y="19"/>
                  <a:pt x="596" y="54"/>
                </a:cubicBezTo>
                <a:lnTo>
                  <a:pt x="22" y="1045"/>
                </a:lnTo>
                <a:cubicBezTo>
                  <a:pt x="1" y="1081"/>
                  <a:pt x="0" y="1119"/>
                  <a:pt x="16" y="1147"/>
                </a:cubicBezTo>
                <a:cubicBezTo>
                  <a:pt x="32" y="1175"/>
                  <a:pt x="65" y="1191"/>
                  <a:pt x="106" y="1191"/>
                </a:cubicBezTo>
                <a:lnTo>
                  <a:pt x="1253" y="1191"/>
                </a:lnTo>
                <a:cubicBezTo>
                  <a:pt x="1294" y="1191"/>
                  <a:pt x="1325" y="1174"/>
                  <a:pt x="1342" y="1147"/>
                </a:cubicBezTo>
                <a:cubicBezTo>
                  <a:pt x="1359" y="1118"/>
                  <a:pt x="1356" y="1081"/>
                  <a:pt x="1336" y="1045"/>
                </a:cubicBezTo>
                <a:close/>
                <a:moveTo>
                  <a:pt x="658" y="91"/>
                </a:moveTo>
                <a:cubicBezTo>
                  <a:pt x="665" y="79"/>
                  <a:pt x="675" y="73"/>
                  <a:pt x="679" y="73"/>
                </a:cubicBezTo>
                <a:cubicBezTo>
                  <a:pt x="684" y="73"/>
                  <a:pt x="693" y="79"/>
                  <a:pt x="700" y="91"/>
                </a:cubicBezTo>
                <a:lnTo>
                  <a:pt x="882" y="406"/>
                </a:lnTo>
                <a:lnTo>
                  <a:pt x="476" y="406"/>
                </a:lnTo>
                <a:lnTo>
                  <a:pt x="658" y="91"/>
                </a:lnTo>
                <a:close/>
                <a:moveTo>
                  <a:pt x="1278" y="1110"/>
                </a:moveTo>
                <a:cubicBezTo>
                  <a:pt x="1277" y="1113"/>
                  <a:pt x="1268" y="1118"/>
                  <a:pt x="1253" y="1118"/>
                </a:cubicBezTo>
                <a:lnTo>
                  <a:pt x="717" y="1118"/>
                </a:lnTo>
                <a:lnTo>
                  <a:pt x="717" y="661"/>
                </a:lnTo>
                <a:lnTo>
                  <a:pt x="772" y="716"/>
                </a:lnTo>
                <a:cubicBezTo>
                  <a:pt x="779" y="723"/>
                  <a:pt x="788" y="726"/>
                  <a:pt x="797" y="726"/>
                </a:cubicBezTo>
                <a:cubicBezTo>
                  <a:pt x="808" y="726"/>
                  <a:pt x="817" y="723"/>
                  <a:pt x="823" y="716"/>
                </a:cubicBezTo>
                <a:cubicBezTo>
                  <a:pt x="838" y="702"/>
                  <a:pt x="838" y="679"/>
                  <a:pt x="823" y="664"/>
                </a:cubicBezTo>
                <a:lnTo>
                  <a:pt x="706" y="547"/>
                </a:lnTo>
                <a:cubicBezTo>
                  <a:pt x="693" y="534"/>
                  <a:pt x="672" y="534"/>
                  <a:pt x="658" y="546"/>
                </a:cubicBezTo>
                <a:cubicBezTo>
                  <a:pt x="655" y="547"/>
                  <a:pt x="653" y="549"/>
                  <a:pt x="652" y="550"/>
                </a:cubicBezTo>
                <a:lnTo>
                  <a:pt x="533" y="667"/>
                </a:lnTo>
                <a:cubicBezTo>
                  <a:pt x="520" y="682"/>
                  <a:pt x="520" y="705"/>
                  <a:pt x="533" y="719"/>
                </a:cubicBezTo>
                <a:cubicBezTo>
                  <a:pt x="541" y="726"/>
                  <a:pt x="550" y="729"/>
                  <a:pt x="559" y="729"/>
                </a:cubicBezTo>
                <a:cubicBezTo>
                  <a:pt x="568" y="729"/>
                  <a:pt x="579" y="726"/>
                  <a:pt x="585" y="719"/>
                </a:cubicBezTo>
                <a:lnTo>
                  <a:pt x="644" y="661"/>
                </a:lnTo>
                <a:lnTo>
                  <a:pt x="644" y="1118"/>
                </a:lnTo>
                <a:lnTo>
                  <a:pt x="106" y="1118"/>
                </a:lnTo>
                <a:cubicBezTo>
                  <a:pt x="90" y="1118"/>
                  <a:pt x="81" y="1113"/>
                  <a:pt x="78" y="1110"/>
                </a:cubicBezTo>
                <a:cubicBezTo>
                  <a:pt x="77" y="1106"/>
                  <a:pt x="77" y="1095"/>
                  <a:pt x="84" y="1083"/>
                </a:cubicBezTo>
                <a:lnTo>
                  <a:pt x="219" y="851"/>
                </a:lnTo>
                <a:lnTo>
                  <a:pt x="570" y="851"/>
                </a:lnTo>
                <a:lnTo>
                  <a:pt x="570" y="778"/>
                </a:lnTo>
                <a:lnTo>
                  <a:pt x="260" y="778"/>
                </a:lnTo>
                <a:lnTo>
                  <a:pt x="433" y="479"/>
                </a:lnTo>
                <a:lnTo>
                  <a:pt x="925" y="479"/>
                </a:lnTo>
                <a:lnTo>
                  <a:pt x="1096" y="778"/>
                </a:lnTo>
                <a:lnTo>
                  <a:pt x="790" y="778"/>
                </a:lnTo>
                <a:lnTo>
                  <a:pt x="790" y="851"/>
                </a:lnTo>
                <a:lnTo>
                  <a:pt x="1139" y="851"/>
                </a:lnTo>
                <a:lnTo>
                  <a:pt x="1272" y="1083"/>
                </a:lnTo>
                <a:cubicBezTo>
                  <a:pt x="1280" y="1095"/>
                  <a:pt x="1281" y="1106"/>
                  <a:pt x="1278" y="1110"/>
                </a:cubicBezTo>
                <a:close/>
              </a:path>
            </a:pathLst>
          </a:custGeom>
          <a:solidFill>
            <a:schemeClr val="accent2"/>
          </a:solidFill>
          <a:ln>
            <a:noFill/>
          </a:ln>
          <a:effectLst/>
        </p:spPr>
        <p:txBody>
          <a:bodyPr wrap="none" anchor="ctr"/>
          <a:lstStyle/>
          <a:p>
            <a:endParaRPr lang="en-US" sz="1350"/>
          </a:p>
        </p:txBody>
      </p:sp>
      <p:sp>
        <p:nvSpPr>
          <p:cNvPr id="34" name="TextBox 33"/>
          <p:cNvSpPr txBox="1"/>
          <p:nvPr/>
        </p:nvSpPr>
        <p:spPr>
          <a:xfrm>
            <a:off x="478895" y="2400211"/>
            <a:ext cx="1469140" cy="258532"/>
          </a:xfrm>
          <a:prstGeom prst="rect">
            <a:avLst/>
          </a:prstGeom>
          <a:noFill/>
        </p:spPr>
        <p:txBody>
          <a:bodyPr wrap="square" lIns="0" rIns="72000" rtlCol="0">
            <a:spAutoFit/>
          </a:bodyPr>
          <a:lstStyle/>
          <a:p>
            <a:pPr defTabSz="914378">
              <a:lnSpc>
                <a:spcPct val="90000"/>
              </a:lnSpc>
              <a:spcAft>
                <a:spcPts val="600"/>
              </a:spcAft>
              <a:buClr>
                <a:schemeClr val="accent2"/>
              </a:buClr>
              <a:buSzPct val="110000"/>
            </a:pPr>
            <a:r>
              <a:rPr lang="en-US" sz="1200" b="1" kern="0" dirty="0">
                <a:latin typeface="+mj-lt"/>
                <a:cs typeface="Arial" panose="020B0604020202020204" pitchFamily="34" charset="0"/>
              </a:rPr>
              <a:t>Subhead is here</a:t>
            </a:r>
          </a:p>
        </p:txBody>
      </p:sp>
      <p:sp>
        <p:nvSpPr>
          <p:cNvPr id="35" name="TextBox 34"/>
          <p:cNvSpPr txBox="1"/>
          <p:nvPr/>
        </p:nvSpPr>
        <p:spPr>
          <a:xfrm>
            <a:off x="3622157" y="2398045"/>
            <a:ext cx="147964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Add people </a:t>
            </a:r>
            <a:br>
              <a:rPr lang="en-US" dirty="0"/>
            </a:br>
            <a:r>
              <a:rPr lang="en-US" dirty="0"/>
              <a:t>to the things</a:t>
            </a:r>
          </a:p>
        </p:txBody>
      </p:sp>
      <p:sp>
        <p:nvSpPr>
          <p:cNvPr id="37" name="TextBox 36"/>
          <p:cNvSpPr txBox="1"/>
          <p:nvPr/>
        </p:nvSpPr>
        <p:spPr>
          <a:xfrm>
            <a:off x="6775925" y="2400211"/>
            <a:ext cx="1502656"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Up your </a:t>
            </a:r>
            <a:br>
              <a:rPr lang="en-US" dirty="0"/>
            </a:br>
            <a:r>
              <a:rPr lang="en-US" dirty="0"/>
              <a:t>business game</a:t>
            </a:r>
          </a:p>
        </p:txBody>
      </p:sp>
      <p:sp>
        <p:nvSpPr>
          <p:cNvPr id="38" name="TextBox 37"/>
          <p:cNvSpPr txBox="1"/>
          <p:nvPr/>
        </p:nvSpPr>
        <p:spPr>
          <a:xfrm>
            <a:off x="5189661" y="2400211"/>
            <a:ext cx="1474329" cy="424732"/>
          </a:xfrm>
          <a:prstGeom prst="rect">
            <a:avLst/>
          </a:prstGeom>
          <a:noFill/>
        </p:spPr>
        <p:txBody>
          <a:bodyPr wrap="square" lIns="0" rtlCol="0">
            <a:spAutoFit/>
          </a:bodyPr>
          <a:lstStyle>
            <a:defPPr>
              <a:defRPr lang="en-US"/>
            </a:defPPr>
            <a:lvl1pPr defTabSz="914378">
              <a:lnSpc>
                <a:spcPct val="90000"/>
              </a:lnSpc>
              <a:spcAft>
                <a:spcPts val="600"/>
              </a:spcAft>
              <a:buClr>
                <a:schemeClr val="accent2"/>
              </a:buClr>
              <a:buSzPct val="110000"/>
              <a:defRPr sz="1200" b="1" kern="0">
                <a:latin typeface="+mj-lt"/>
                <a:cs typeface="Arial" panose="020B0604020202020204" pitchFamily="34" charset="0"/>
              </a:defRPr>
            </a:lvl1pPr>
          </a:lstStyle>
          <a:p>
            <a:r>
              <a:rPr lang="en-US" dirty="0"/>
              <a:t>Add things </a:t>
            </a:r>
            <a:br>
              <a:rPr lang="en-US" dirty="0"/>
            </a:br>
            <a:r>
              <a:rPr lang="en-US" dirty="0"/>
              <a:t>to the cloud</a:t>
            </a:r>
          </a:p>
        </p:txBody>
      </p:sp>
      <p:sp>
        <p:nvSpPr>
          <p:cNvPr id="40" name="TextBox 39"/>
          <p:cNvSpPr txBox="1"/>
          <p:nvPr/>
        </p:nvSpPr>
        <p:spPr>
          <a:xfrm>
            <a:off x="2046350" y="2400211"/>
            <a:ext cx="1442723" cy="424732"/>
          </a:xfrm>
          <a:prstGeom prst="rect">
            <a:avLst/>
          </a:prstGeom>
          <a:noFill/>
        </p:spPr>
        <p:txBody>
          <a:bodyPr wrap="square" lIns="0" rtlCol="0">
            <a:spAutoFit/>
          </a:bodyPr>
          <a:lstStyle/>
          <a:p>
            <a:pPr defTabSz="914378">
              <a:lnSpc>
                <a:spcPct val="90000"/>
              </a:lnSpc>
              <a:spcAft>
                <a:spcPts val="600"/>
              </a:spcAft>
              <a:buClr>
                <a:schemeClr val="accent2"/>
              </a:buClr>
              <a:buSzPct val="110000"/>
            </a:pPr>
            <a:r>
              <a:rPr lang="en-US" sz="1200" b="1" kern="0" dirty="0">
                <a:latin typeface="+mj-lt"/>
                <a:cs typeface="Arial" panose="020B0604020202020204" pitchFamily="34" charset="0"/>
              </a:rPr>
              <a:t>Add more things to the journey</a:t>
            </a:r>
          </a:p>
        </p:txBody>
      </p:sp>
      <p:sp>
        <p:nvSpPr>
          <p:cNvPr id="41" name="TextBox 40"/>
          <p:cNvSpPr txBox="1"/>
          <p:nvPr/>
        </p:nvSpPr>
        <p:spPr>
          <a:xfrm>
            <a:off x="478895" y="2862806"/>
            <a:ext cx="1690516"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3" name="TextBox 42"/>
          <p:cNvSpPr txBox="1"/>
          <p:nvPr/>
        </p:nvSpPr>
        <p:spPr>
          <a:xfrm>
            <a:off x="2046349" y="2861283"/>
            <a:ext cx="1716411" cy="789960"/>
          </a:xfrm>
          <a:prstGeom prst="rect">
            <a:avLst/>
          </a:prstGeom>
          <a:noFill/>
        </p:spPr>
        <p:txBody>
          <a:bodyPr wrap="square" lIns="0" rtlCol="0">
            <a:spAutoFit/>
          </a:bodyPr>
          <a:lstStyle/>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Lorem ipsum</a:t>
            </a: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Dolor sit </a:t>
            </a:r>
            <a:r>
              <a:rPr lang="en-US" sz="1000" kern="0" dirty="0" err="1">
                <a:cs typeface="Arial" panose="020B0604020202020204" pitchFamily="34" charset="0"/>
              </a:rPr>
              <a:t>amet</a:t>
            </a:r>
            <a:endParaRPr lang="en-US" sz="1000" kern="0" dirty="0">
              <a:cs typeface="Arial" panose="020B0604020202020204" pitchFamily="34" charset="0"/>
            </a:endParaRPr>
          </a:p>
          <a:p>
            <a:pPr marL="171450" indent="-171450" defTabSz="1219170">
              <a:lnSpc>
                <a:spcPct val="90000"/>
              </a:lnSpc>
              <a:spcBef>
                <a:spcPts val="500"/>
              </a:spcBef>
              <a:spcAft>
                <a:spcPts val="600"/>
              </a:spcAft>
              <a:buClr>
                <a:schemeClr val="tx1"/>
              </a:buClr>
              <a:buSzPct val="100000"/>
              <a:buFont typeface="Arial" panose="020B0604020202020204" pitchFamily="34" charset="0"/>
              <a:buChar char="•"/>
            </a:pPr>
            <a:r>
              <a:rPr lang="en-US" sz="1000" kern="0" dirty="0">
                <a:cs typeface="Arial" panose="020B0604020202020204" pitchFamily="34" charset="0"/>
              </a:rPr>
              <a:t>Lorem ipsum</a:t>
            </a:r>
          </a:p>
        </p:txBody>
      </p:sp>
      <p:sp>
        <p:nvSpPr>
          <p:cNvPr id="44" name="TextBox 43"/>
          <p:cNvSpPr txBox="1"/>
          <p:nvPr/>
        </p:nvSpPr>
        <p:spPr>
          <a:xfrm>
            <a:off x="3622157" y="2866156"/>
            <a:ext cx="1708057"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5" name="TextBox 44"/>
          <p:cNvSpPr txBox="1"/>
          <p:nvPr/>
        </p:nvSpPr>
        <p:spPr>
          <a:xfrm>
            <a:off x="5189662" y="2844834"/>
            <a:ext cx="1718033"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
        <p:nvSpPr>
          <p:cNvPr id="47" name="TextBox 46"/>
          <p:cNvSpPr txBox="1"/>
          <p:nvPr/>
        </p:nvSpPr>
        <p:spPr>
          <a:xfrm>
            <a:off x="6775925" y="2850055"/>
            <a:ext cx="1703230" cy="789960"/>
          </a:xfrm>
          <a:prstGeom prst="rect">
            <a:avLst/>
          </a:prstGeom>
          <a:noFill/>
        </p:spPr>
        <p:txBody>
          <a:bodyPr wrap="square" lIns="0" rtlCol="0">
            <a:spAutoFit/>
          </a:bodyPr>
          <a:lstStyle>
            <a:defPPr>
              <a:defRPr lang="en-US"/>
            </a:defPPr>
            <a:lvl1pPr marL="171450" indent="-171450" defTabSz="1219170">
              <a:lnSpc>
                <a:spcPct val="90000"/>
              </a:lnSpc>
              <a:spcBef>
                <a:spcPts val="500"/>
              </a:spcBef>
              <a:spcAft>
                <a:spcPts val="600"/>
              </a:spcAft>
              <a:buClr>
                <a:schemeClr val="tx1"/>
              </a:buClr>
              <a:buSzPct val="100000"/>
              <a:buFont typeface="Arial" panose="020B0604020202020204" pitchFamily="34" charset="0"/>
              <a:buChar char="•"/>
              <a:defRPr sz="1000" kern="0">
                <a:solidFill>
                  <a:schemeClr val="tx2"/>
                </a:solidFill>
                <a:cs typeface="Arial" panose="020B0604020202020204" pitchFamily="34" charset="0"/>
              </a:defRPr>
            </a:lvl1pPr>
          </a:lstStyle>
          <a:p>
            <a:r>
              <a:rPr lang="en-US" dirty="0">
                <a:solidFill>
                  <a:schemeClr val="tx1"/>
                </a:solidFill>
              </a:rPr>
              <a:t>Lorem ipsum</a:t>
            </a:r>
          </a:p>
          <a:p>
            <a:r>
              <a:rPr lang="en-US" dirty="0">
                <a:solidFill>
                  <a:schemeClr val="tx1"/>
                </a:solidFill>
              </a:rPr>
              <a:t>Dolor sit </a:t>
            </a:r>
            <a:r>
              <a:rPr lang="en-US" dirty="0" err="1">
                <a:solidFill>
                  <a:schemeClr val="tx1"/>
                </a:solidFill>
              </a:rPr>
              <a:t>amet</a:t>
            </a:r>
            <a:endParaRPr lang="en-US" dirty="0">
              <a:solidFill>
                <a:schemeClr val="tx1"/>
              </a:solidFill>
            </a:endParaRPr>
          </a:p>
          <a:p>
            <a:r>
              <a:rPr lang="en-US" dirty="0">
                <a:solidFill>
                  <a:schemeClr val="tx1"/>
                </a:solidFill>
              </a:rPr>
              <a:t>Lorem ipsum</a:t>
            </a:r>
          </a:p>
        </p:txBody>
      </p:sp>
    </p:spTree>
    <p:extLst>
      <p:ext uri="{BB962C8B-B14F-4D97-AF65-F5344CB8AC3E}">
        <p14:creationId xmlns:p14="http://schemas.microsoft.com/office/powerpoint/2010/main" val="39254885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7"/>
          </p:nvPr>
        </p:nvSpPr>
        <p:spPr/>
        <p:txBody>
          <a:bodyPr/>
          <a:lstStyle/>
          <a:p>
            <a:endParaRPr lang="en-GB"/>
          </a:p>
        </p:txBody>
      </p:sp>
      <p:sp>
        <p:nvSpPr>
          <p:cNvPr id="6" name="Title 5"/>
          <p:cNvSpPr>
            <a:spLocks noGrp="1"/>
          </p:cNvSpPr>
          <p:nvPr>
            <p:ph type="title"/>
          </p:nvPr>
        </p:nvSpPr>
        <p:spPr/>
        <p:txBody>
          <a:bodyPr/>
          <a:lstStyle/>
          <a:p>
            <a:r>
              <a:rPr lang="en-US" spc="0" dirty="0"/>
              <a:t>Here’s </a:t>
            </a:r>
            <a:br>
              <a:rPr lang="en-US" spc="0" dirty="0"/>
            </a:br>
            <a:r>
              <a:rPr lang="en-US" spc="0" dirty="0"/>
              <a:t>another color</a:t>
            </a:r>
          </a:p>
        </p:txBody>
      </p:sp>
      <p:sp>
        <p:nvSpPr>
          <p:cNvPr id="3" name="Text Placeholder 2"/>
          <p:cNvSpPr>
            <a:spLocks noGrp="1"/>
          </p:cNvSpPr>
          <p:nvPr>
            <p:ph type="body" sz="quarter" idx="16"/>
          </p:nvPr>
        </p:nvSpPr>
        <p:spPr>
          <a:xfrm>
            <a:off x="461010" y="1496844"/>
            <a:ext cx="3016976" cy="671512"/>
          </a:xfrm>
        </p:spPr>
        <p:txBody>
          <a:bodyPr/>
          <a:lstStyle/>
          <a:p>
            <a:r>
              <a:rPr lang="en-US" dirty="0"/>
              <a:t>Double stacked titles like above look awesome. If your text doesn’t automatically stack move the text box handles to force line breaks.</a:t>
            </a:r>
          </a:p>
        </p:txBody>
      </p:sp>
      <p:sp>
        <p:nvSpPr>
          <p:cNvPr id="5" name="Rectangle 4">
            <a:hlinkClick r:id="rId3"/>
          </p:cNvPr>
          <p:cNvSpPr/>
          <p:nvPr/>
        </p:nvSpPr>
        <p:spPr>
          <a:xfrm>
            <a:off x="3950473" y="2915728"/>
            <a:ext cx="90864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0536195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p>
        </p:txBody>
      </p:sp>
      <p:sp>
        <p:nvSpPr>
          <p:cNvPr id="5" name="Text Placeholder 4"/>
          <p:cNvSpPr>
            <a:spLocks noGrp="1"/>
          </p:cNvSpPr>
          <p:nvPr>
            <p:ph type="body" sz="quarter" idx="17"/>
          </p:nvPr>
        </p:nvSpPr>
        <p:spPr/>
        <p:txBody>
          <a:bodyPr/>
          <a:lstStyle/>
          <a:p>
            <a:r>
              <a:rPr lang="en-US" dirty="0">
                <a:solidFill>
                  <a:schemeClr val="accent1"/>
                </a:solidFill>
              </a:rPr>
              <a:t>Hierarchy layout</a:t>
            </a:r>
          </a:p>
        </p:txBody>
      </p:sp>
      <p:sp>
        <p:nvSpPr>
          <p:cNvPr id="6" name="Rounded Rectangle 5"/>
          <p:cNvSpPr/>
          <p:nvPr/>
        </p:nvSpPr>
        <p:spPr>
          <a:xfrm>
            <a:off x="2789299"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7" name="TextBox 6"/>
          <p:cNvSpPr txBox="1"/>
          <p:nvPr/>
        </p:nvSpPr>
        <p:spPr>
          <a:xfrm flipH="1">
            <a:off x="2988045"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8" name="Text Placeholder 32"/>
          <p:cNvSpPr txBox="1">
            <a:spLocks/>
          </p:cNvSpPr>
          <p:nvPr/>
        </p:nvSpPr>
        <p:spPr>
          <a:xfrm flipH="1">
            <a:off x="2988044"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9" name="Rounded Rectangle 8"/>
          <p:cNvSpPr/>
          <p:nvPr/>
        </p:nvSpPr>
        <p:spPr>
          <a:xfrm>
            <a:off x="894936"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chemeClr val="tx1"/>
              </a:solidFill>
              <a:latin typeface="Arial" panose="020B0604020202020204" pitchFamily="34" charset="0"/>
              <a:cs typeface="Arial" panose="020B0604020202020204" pitchFamily="34" charset="0"/>
            </a:endParaRPr>
          </a:p>
        </p:txBody>
      </p:sp>
      <p:sp>
        <p:nvSpPr>
          <p:cNvPr id="10" name="TextBox 9"/>
          <p:cNvSpPr txBox="1"/>
          <p:nvPr/>
        </p:nvSpPr>
        <p:spPr>
          <a:xfrm flipH="1">
            <a:off x="1093682"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1" name="Text Placeholder 32"/>
          <p:cNvSpPr txBox="1">
            <a:spLocks/>
          </p:cNvSpPr>
          <p:nvPr/>
        </p:nvSpPr>
        <p:spPr>
          <a:xfrm flipH="1">
            <a:off x="1093681"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12" name="Rounded Rectangle 11"/>
          <p:cNvSpPr/>
          <p:nvPr/>
        </p:nvSpPr>
        <p:spPr>
          <a:xfrm>
            <a:off x="4681247"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3" name="TextBox 12"/>
          <p:cNvSpPr txBox="1"/>
          <p:nvPr/>
        </p:nvSpPr>
        <p:spPr>
          <a:xfrm flipH="1">
            <a:off x="4879993"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4" name="Text Placeholder 32"/>
          <p:cNvSpPr txBox="1">
            <a:spLocks/>
          </p:cNvSpPr>
          <p:nvPr/>
        </p:nvSpPr>
        <p:spPr>
          <a:xfrm flipH="1">
            <a:off x="4879992"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sp>
        <p:nvSpPr>
          <p:cNvPr id="15" name="Rounded Rectangle 14"/>
          <p:cNvSpPr/>
          <p:nvPr/>
        </p:nvSpPr>
        <p:spPr>
          <a:xfrm>
            <a:off x="6573195" y="2807109"/>
            <a:ext cx="1558637" cy="1484482"/>
          </a:xfrm>
          <a:prstGeom prst="roundRect">
            <a:avLst>
              <a:gd name="adj" fmla="val 6276"/>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latin typeface="Arial" panose="020B0604020202020204" pitchFamily="34" charset="0"/>
              <a:cs typeface="Arial" panose="020B0604020202020204" pitchFamily="34" charset="0"/>
            </a:endParaRPr>
          </a:p>
        </p:txBody>
      </p:sp>
      <p:sp>
        <p:nvSpPr>
          <p:cNvPr id="16" name="TextBox 15"/>
          <p:cNvSpPr txBox="1"/>
          <p:nvPr/>
        </p:nvSpPr>
        <p:spPr>
          <a:xfrm flipH="1">
            <a:off x="6771941" y="3304189"/>
            <a:ext cx="1161150" cy="153888"/>
          </a:xfrm>
          <a:prstGeom prst="rect">
            <a:avLst/>
          </a:prstGeom>
          <a:noFill/>
        </p:spPr>
        <p:txBody>
          <a:bodyPr wrap="square" lIns="0" tIns="0" rIns="0" bIns="0" rtlCol="0" anchor="ctr">
            <a:spAutoFit/>
          </a:bodyPr>
          <a:lstStyle/>
          <a:p>
            <a:pPr algn="ctr"/>
            <a:r>
              <a:rPr lang="en-AU" sz="1000" b="1" dirty="0">
                <a:gradFill>
                  <a:gsLst>
                    <a:gs pos="0">
                      <a:schemeClr val="tx1"/>
                    </a:gs>
                    <a:gs pos="100000">
                      <a:schemeClr val="tx1"/>
                    </a:gs>
                  </a:gsLst>
                  <a:lin ang="5400000" scaled="1"/>
                </a:gradFill>
                <a:latin typeface="Arial" panose="020B0604020202020204" pitchFamily="34" charset="0"/>
                <a:ea typeface="Roboto Medium" panose="02000000000000000000" pitchFamily="2" charset="0"/>
                <a:cs typeface="Arial" panose="020B0604020202020204" pitchFamily="34" charset="0"/>
              </a:rPr>
              <a:t>Headline</a:t>
            </a:r>
          </a:p>
        </p:txBody>
      </p:sp>
      <p:sp>
        <p:nvSpPr>
          <p:cNvPr id="17" name="Text Placeholder 32"/>
          <p:cNvSpPr txBox="1">
            <a:spLocks/>
          </p:cNvSpPr>
          <p:nvPr/>
        </p:nvSpPr>
        <p:spPr>
          <a:xfrm flipH="1">
            <a:off x="6771940" y="3495930"/>
            <a:ext cx="1161146" cy="457139"/>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30000"/>
              </a:lnSpc>
              <a:spcBef>
                <a:spcPts val="0"/>
              </a:spcBef>
              <a:buNone/>
            </a:pPr>
            <a:r>
              <a:rPr lang="en-US" sz="800" spc="10" dirty="0">
                <a:latin typeface="Arial" panose="020B0604020202020204" pitchFamily="34" charset="0"/>
                <a:cs typeface="Arial" panose="020B0604020202020204" pitchFamily="34" charset="0"/>
              </a:rPr>
              <a:t>Lorem ipsum dolor sit</a:t>
            </a:r>
          </a:p>
          <a:p>
            <a:pPr marL="0" indent="0" algn="ct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endParaRPr lang="en-US" sz="800" spc="10" dirty="0">
              <a:latin typeface="Arial" panose="020B0604020202020204" pitchFamily="34" charset="0"/>
              <a:cs typeface="Arial" panose="020B0604020202020204" pitchFamily="34" charset="0"/>
            </a:endParaRPr>
          </a:p>
        </p:txBody>
      </p:sp>
      <p:grpSp>
        <p:nvGrpSpPr>
          <p:cNvPr id="18" name="Group 17"/>
          <p:cNvGrpSpPr/>
          <p:nvPr/>
        </p:nvGrpSpPr>
        <p:grpSpPr>
          <a:xfrm>
            <a:off x="1672937" y="1860118"/>
            <a:ext cx="5663046" cy="706583"/>
            <a:chOff x="2230582" y="2535381"/>
            <a:chExt cx="7550728" cy="942110"/>
          </a:xfrm>
        </p:grpSpPr>
        <p:cxnSp>
          <p:nvCxnSpPr>
            <p:cNvPr id="19" name="Straight Connector 18"/>
            <p:cNvCxnSpPr/>
            <p:nvPr/>
          </p:nvCxnSpPr>
          <p:spPr>
            <a:xfrm flipV="1">
              <a:off x="2230582"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47521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7273637"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9781310" y="3006436"/>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230582" y="3006436"/>
              <a:ext cx="75507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5887747" y="2535381"/>
              <a:ext cx="0" cy="471055"/>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5" name="Oval 19"/>
          <p:cNvSpPr>
            <a:spLocks noChangeArrowheads="1"/>
          </p:cNvSpPr>
          <p:nvPr/>
        </p:nvSpPr>
        <p:spPr bwMode="auto">
          <a:xfrm>
            <a:off x="4041988" y="1150776"/>
            <a:ext cx="746975" cy="744927"/>
          </a:xfrm>
          <a:prstGeom prst="ellipse">
            <a:avLst/>
          </a:prstGeom>
          <a:solidFill>
            <a:schemeClr val="accent2"/>
          </a:solidFill>
          <a:ln>
            <a:noFill/>
          </a:ln>
        </p:spPr>
        <p:txBody>
          <a:bodyPr vert="horz" wrap="square" lIns="0" tIns="0" rIns="0" bIns="0" numCol="1" anchor="ctr" anchorCtr="0" compatLnSpc="1">
            <a:prstTxWarp prst="textNoShape">
              <a:avLst/>
            </a:prstTxWarp>
          </a:bodyPr>
          <a:lstStyle/>
          <a:p>
            <a:pPr lvl="0" algn="ctr"/>
            <a:r>
              <a:rPr lang="en-US" sz="2100">
                <a:solidFill>
                  <a:schemeClr val="bg1"/>
                </a:solidFill>
                <a:latin typeface="Arial" panose="020B0604020202020204" pitchFamily="34" charset="0"/>
                <a:cs typeface="Arial" panose="020B0604020202020204" pitchFamily="34" charset="0"/>
              </a:rPr>
              <a:t>1</a:t>
            </a:r>
          </a:p>
        </p:txBody>
      </p:sp>
      <p:sp>
        <p:nvSpPr>
          <p:cNvPr id="26" name="Oval 19"/>
          <p:cNvSpPr>
            <a:spLocks noChangeArrowheads="1"/>
          </p:cNvSpPr>
          <p:nvPr/>
        </p:nvSpPr>
        <p:spPr bwMode="auto">
          <a:xfrm>
            <a:off x="1300767" y="2434646"/>
            <a:ext cx="746975" cy="744927"/>
          </a:xfrm>
          <a:prstGeom prst="ellipse">
            <a:avLst/>
          </a:prstGeom>
          <a:solidFill>
            <a:schemeClr val="accent1"/>
          </a:solidFill>
          <a:ln>
            <a:noFill/>
          </a:ln>
        </p:spPr>
        <p:txBody>
          <a:bodyPr vert="horz" wrap="square" lIns="68580" tIns="34290" rIns="68580" bIns="34290" numCol="1" anchor="ctr" anchorCtr="0" compatLnSpc="1">
            <a:prstTxWarp prst="textNoShape">
              <a:avLst/>
            </a:prstTxWarp>
          </a:bodyPr>
          <a:lstStyle/>
          <a:p>
            <a:pPr algn="ctr"/>
            <a:r>
              <a:rPr lang="en-AU">
                <a:solidFill>
                  <a:srgbClr val="FFFFFF"/>
                </a:solidFill>
                <a:latin typeface="Arial" panose="020B0604020202020204" pitchFamily="34" charset="0"/>
                <a:cs typeface="Arial" panose="020B0604020202020204" pitchFamily="34" charset="0"/>
              </a:rPr>
              <a:t>2</a:t>
            </a:r>
            <a:endParaRPr lang="en-US">
              <a:solidFill>
                <a:srgbClr val="FFFFFF"/>
              </a:solidFill>
              <a:latin typeface="Arial" panose="020B0604020202020204" pitchFamily="34" charset="0"/>
              <a:cs typeface="Arial" panose="020B0604020202020204" pitchFamily="34" charset="0"/>
            </a:endParaRPr>
          </a:p>
        </p:txBody>
      </p:sp>
      <p:sp>
        <p:nvSpPr>
          <p:cNvPr id="27" name="Oval 19"/>
          <p:cNvSpPr>
            <a:spLocks noChangeArrowheads="1"/>
          </p:cNvSpPr>
          <p:nvPr/>
        </p:nvSpPr>
        <p:spPr bwMode="auto">
          <a:xfrm>
            <a:off x="3191340" y="2434646"/>
            <a:ext cx="746975" cy="744927"/>
          </a:xfrm>
          <a:prstGeom prst="ellipse">
            <a:avLst/>
          </a:prstGeom>
          <a:solidFill>
            <a:schemeClr val="tx2">
              <a:lumMod val="75000"/>
            </a:schemeClr>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3</a:t>
            </a:r>
            <a:endParaRPr lang="en-US">
              <a:solidFill>
                <a:schemeClr val="bg1"/>
              </a:solidFill>
              <a:latin typeface="Arial" panose="020B0604020202020204" pitchFamily="34" charset="0"/>
              <a:cs typeface="Arial" panose="020B0604020202020204" pitchFamily="34" charset="0"/>
            </a:endParaRPr>
          </a:p>
        </p:txBody>
      </p:sp>
      <p:sp>
        <p:nvSpPr>
          <p:cNvPr id="28" name="Oval 19"/>
          <p:cNvSpPr>
            <a:spLocks noChangeArrowheads="1"/>
          </p:cNvSpPr>
          <p:nvPr/>
        </p:nvSpPr>
        <p:spPr bwMode="auto">
          <a:xfrm>
            <a:off x="5087154" y="2434646"/>
            <a:ext cx="746975" cy="744927"/>
          </a:xfrm>
          <a:prstGeom prst="ellipse">
            <a:avLst/>
          </a:prstGeom>
          <a:solidFill>
            <a:schemeClr val="accent4"/>
          </a:solidFill>
          <a:ln>
            <a:noFill/>
          </a:ln>
        </p:spPr>
        <p:txBody>
          <a:bodyPr vert="horz" wrap="square" lIns="68580" tIns="34290" rIns="68580" bIns="34290" numCol="1" anchor="ctr" anchorCtr="0" compatLnSpc="1">
            <a:prstTxWarp prst="textNoShape">
              <a:avLst/>
            </a:prstTxWarp>
          </a:bodyPr>
          <a:lstStyle/>
          <a:p>
            <a:pPr algn="ctr"/>
            <a:r>
              <a:rPr lang="en-AU" dirty="0">
                <a:solidFill>
                  <a:srgbClr val="FFFFFF"/>
                </a:solidFill>
                <a:latin typeface="Arial" panose="020B0604020202020204" pitchFamily="34" charset="0"/>
                <a:cs typeface="Arial" panose="020B0604020202020204" pitchFamily="34" charset="0"/>
              </a:rPr>
              <a:t>4</a:t>
            </a:r>
          </a:p>
        </p:txBody>
      </p:sp>
      <p:sp>
        <p:nvSpPr>
          <p:cNvPr id="29" name="Oval 19"/>
          <p:cNvSpPr>
            <a:spLocks noChangeArrowheads="1"/>
          </p:cNvSpPr>
          <p:nvPr/>
        </p:nvSpPr>
        <p:spPr bwMode="auto">
          <a:xfrm>
            <a:off x="6980347" y="2434646"/>
            <a:ext cx="746975" cy="744927"/>
          </a:xfrm>
          <a:prstGeom prst="ellipse">
            <a:avLst/>
          </a:prstGeom>
          <a:solidFill>
            <a:schemeClr val="accent5"/>
          </a:solidFill>
          <a:ln>
            <a:noFill/>
          </a:ln>
        </p:spPr>
        <p:txBody>
          <a:bodyPr vert="horz" wrap="square" lIns="68580" tIns="34290" rIns="68580" bIns="34290" numCol="1" anchor="ctr" anchorCtr="0" compatLnSpc="1">
            <a:prstTxWarp prst="textNoShape">
              <a:avLst/>
            </a:prstTxWarp>
          </a:bodyPr>
          <a:lstStyle/>
          <a:p>
            <a:pPr algn="ctr"/>
            <a:r>
              <a:rPr lang="en-AU">
                <a:solidFill>
                  <a:schemeClr val="bg1"/>
                </a:solidFill>
                <a:latin typeface="Arial" panose="020B0604020202020204" pitchFamily="34" charset="0"/>
                <a:cs typeface="Arial" panose="020B0604020202020204" pitchFamily="34" charset="0"/>
              </a:rPr>
              <a:t>5</a:t>
            </a:r>
            <a:endParaRPr lang="en-US">
              <a:solidFill>
                <a:schemeClr val="bg1"/>
              </a:solidFill>
              <a:latin typeface="Arial" panose="020B0604020202020204" pitchFamily="34" charset="0"/>
              <a:cs typeface="Arial" panose="020B0604020202020204" pitchFamily="34" charset="0"/>
            </a:endParaRPr>
          </a:p>
        </p:txBody>
      </p:sp>
      <p:sp>
        <p:nvSpPr>
          <p:cNvPr id="30" name="Text Placeholder 32"/>
          <p:cNvSpPr txBox="1">
            <a:spLocks/>
          </p:cNvSpPr>
          <p:nvPr/>
        </p:nvSpPr>
        <p:spPr>
          <a:xfrm>
            <a:off x="2324100" y="1384672"/>
            <a:ext cx="1433256"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gn="r">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endParaRPr lang="en-US" sz="800" spc="10" dirty="0">
              <a:latin typeface="Arial" panose="020B0604020202020204" pitchFamily="34" charset="0"/>
              <a:cs typeface="Arial" panose="020B0604020202020204" pitchFamily="34" charset="0"/>
            </a:endParaRPr>
          </a:p>
        </p:txBody>
      </p:sp>
      <p:sp>
        <p:nvSpPr>
          <p:cNvPr id="31" name="Text Placeholder 32"/>
          <p:cNvSpPr txBox="1">
            <a:spLocks/>
          </p:cNvSpPr>
          <p:nvPr/>
        </p:nvSpPr>
        <p:spPr>
          <a:xfrm>
            <a:off x="5073595" y="1384672"/>
            <a:ext cx="1422455" cy="277354"/>
          </a:xfrm>
          <a:prstGeom prst="rect">
            <a:avLst/>
          </a:prstGeom>
        </p:spPr>
        <p:txBody>
          <a:bodyPr lIns="0" tIns="0" rIns="0" bIns="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nSpc>
                <a:spcPct val="130000"/>
              </a:lnSpc>
              <a:spcBef>
                <a:spcPts val="0"/>
              </a:spcBef>
              <a:buNone/>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a:t>
            </a:r>
          </a:p>
          <a:p>
            <a:pPr marL="0" indent="0">
              <a:lnSpc>
                <a:spcPct val="130000"/>
              </a:lnSpc>
              <a:spcBef>
                <a:spcPts val="0"/>
              </a:spcBef>
              <a:buNone/>
            </a:pP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endParaRPr lang="en-US" sz="800" spc="1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229626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Timeline</a:t>
            </a:r>
          </a:p>
        </p:txBody>
      </p:sp>
      <p:cxnSp>
        <p:nvCxnSpPr>
          <p:cNvPr id="6" name="Straight Connector 5"/>
          <p:cNvCxnSpPr>
            <a:endCxn id="13" idx="0"/>
          </p:cNvCxnSpPr>
          <p:nvPr/>
        </p:nvCxnSpPr>
        <p:spPr>
          <a:xfrm>
            <a:off x="974314" y="2137692"/>
            <a:ext cx="0"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4" idx="4"/>
          </p:cNvCxnSpPr>
          <p:nvPr/>
        </p:nvCxnSpPr>
        <p:spPr>
          <a:xfrm>
            <a:off x="1982537" y="2811052"/>
            <a:ext cx="2736"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7" idx="4"/>
          </p:cNvCxnSpPr>
          <p:nvPr/>
        </p:nvCxnSpPr>
        <p:spPr>
          <a:xfrm>
            <a:off x="5056499" y="2811051"/>
            <a:ext cx="1" cy="801529"/>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8" idx="4"/>
          </p:cNvCxnSpPr>
          <p:nvPr/>
        </p:nvCxnSpPr>
        <p:spPr>
          <a:xfrm>
            <a:off x="8162760" y="2811055"/>
            <a:ext cx="1" cy="658064"/>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endCxn id="15" idx="0"/>
          </p:cNvCxnSpPr>
          <p:nvPr/>
        </p:nvCxnSpPr>
        <p:spPr>
          <a:xfrm flipH="1">
            <a:off x="7157599" y="2137692"/>
            <a:ext cx="1"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endCxn id="16" idx="0"/>
          </p:cNvCxnSpPr>
          <p:nvPr/>
        </p:nvCxnSpPr>
        <p:spPr>
          <a:xfrm flipH="1">
            <a:off x="4044537" y="2137692"/>
            <a:ext cx="4336" cy="560012"/>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974314" y="2741153"/>
            <a:ext cx="7188447" cy="2879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3" name="Oval 12"/>
          <p:cNvSpPr>
            <a:spLocks noChangeAspect="1"/>
          </p:cNvSpPr>
          <p:nvPr/>
        </p:nvSpPr>
        <p:spPr>
          <a:xfrm>
            <a:off x="917640"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13">
                <a:solidFill>
                  <a:srgbClr val="26A6CF"/>
                </a:solidFill>
                <a:latin typeface="Arial" panose="020B0604020202020204" pitchFamily="34" charset="0"/>
                <a:cs typeface="Arial" panose="020B0604020202020204" pitchFamily="34" charset="0"/>
              </a:rPr>
              <a:t> </a:t>
            </a:r>
            <a:endParaRPr lang="en-US" sz="1013">
              <a:solidFill>
                <a:srgbClr val="26A6CF"/>
              </a:solidFill>
              <a:latin typeface="Arial" panose="020B0604020202020204" pitchFamily="34" charset="0"/>
              <a:cs typeface="Arial" panose="020B0604020202020204" pitchFamily="34" charset="0"/>
            </a:endParaRPr>
          </a:p>
        </p:txBody>
      </p:sp>
      <p:sp>
        <p:nvSpPr>
          <p:cNvPr id="14" name="Oval 13"/>
          <p:cNvSpPr>
            <a:spLocks noChangeAspect="1"/>
          </p:cNvSpPr>
          <p:nvPr/>
        </p:nvSpPr>
        <p:spPr>
          <a:xfrm>
            <a:off x="1925863"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5" name="Oval 14"/>
          <p:cNvSpPr>
            <a:spLocks noChangeAspect="1"/>
          </p:cNvSpPr>
          <p:nvPr/>
        </p:nvSpPr>
        <p:spPr>
          <a:xfrm>
            <a:off x="7100923"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6" name="Oval 15"/>
          <p:cNvSpPr>
            <a:spLocks noChangeAspect="1"/>
          </p:cNvSpPr>
          <p:nvPr/>
        </p:nvSpPr>
        <p:spPr>
          <a:xfrm>
            <a:off x="3987862" y="2697703"/>
            <a:ext cx="113348" cy="113348"/>
          </a:xfrm>
          <a:prstGeom prst="ellips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7" name="Oval 16"/>
          <p:cNvSpPr>
            <a:spLocks noChangeAspect="1"/>
          </p:cNvSpPr>
          <p:nvPr/>
        </p:nvSpPr>
        <p:spPr>
          <a:xfrm>
            <a:off x="499982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8" name="Oval 17"/>
          <p:cNvSpPr>
            <a:spLocks noChangeAspect="1"/>
          </p:cNvSpPr>
          <p:nvPr/>
        </p:nvSpPr>
        <p:spPr>
          <a:xfrm>
            <a:off x="8106085" y="2697703"/>
            <a:ext cx="113348" cy="113348"/>
          </a:xfrm>
          <a:prstGeom prst="ellipse">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19" name="Oval 18"/>
          <p:cNvSpPr/>
          <p:nvPr/>
        </p:nvSpPr>
        <p:spPr>
          <a:xfrm>
            <a:off x="2965141"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0" name="Oval 19"/>
          <p:cNvSpPr/>
          <p:nvPr/>
        </p:nvSpPr>
        <p:spPr>
          <a:xfrm>
            <a:off x="5994520" y="2716595"/>
            <a:ext cx="75566" cy="75566"/>
          </a:xfrm>
          <a:prstGeom prst="ellipse">
            <a:avLst/>
          </a:prstGeom>
          <a:solidFill>
            <a:schemeClr val="accent3"/>
          </a:solid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rgbClr val="26A6CF"/>
              </a:solidFill>
              <a:latin typeface="Arial" panose="020B0604020202020204" pitchFamily="34" charset="0"/>
              <a:cs typeface="Arial" panose="020B0604020202020204" pitchFamily="34" charset="0"/>
            </a:endParaRPr>
          </a:p>
        </p:txBody>
      </p:sp>
      <p:sp>
        <p:nvSpPr>
          <p:cNvPr id="21" name="TextBox 20"/>
          <p:cNvSpPr txBox="1"/>
          <p:nvPr/>
        </p:nvSpPr>
        <p:spPr>
          <a:xfrm>
            <a:off x="2436924" y="2408963"/>
            <a:ext cx="1121447"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First Break</a:t>
            </a:r>
            <a:endParaRPr lang="en-AU" sz="675">
              <a:solidFill>
                <a:schemeClr val="accent5"/>
              </a:solidFill>
              <a:latin typeface="Arial" panose="020B0604020202020204" pitchFamily="34" charset="0"/>
              <a:cs typeface="Arial" panose="020B0604020202020204" pitchFamily="34" charset="0"/>
            </a:endParaRPr>
          </a:p>
        </p:txBody>
      </p:sp>
      <p:sp>
        <p:nvSpPr>
          <p:cNvPr id="22" name="TextBox 21"/>
          <p:cNvSpPr txBox="1"/>
          <p:nvPr/>
        </p:nvSpPr>
        <p:spPr>
          <a:xfrm>
            <a:off x="5463204" y="2408963"/>
            <a:ext cx="1113790" cy="196208"/>
          </a:xfrm>
          <a:prstGeom prst="rect">
            <a:avLst/>
          </a:prstGeom>
          <a:noFill/>
        </p:spPr>
        <p:txBody>
          <a:bodyPr wrap="square" rtlCol="0">
            <a:spAutoFit/>
          </a:bodyPr>
          <a:lstStyle/>
          <a:p>
            <a:pPr algn="ctr"/>
            <a:r>
              <a:rPr lang="en-US" sz="675">
                <a:solidFill>
                  <a:schemeClr val="accent5"/>
                </a:solidFill>
                <a:latin typeface="Arial" panose="020B0604020202020204" pitchFamily="34" charset="0"/>
                <a:cs typeface="Arial" panose="020B0604020202020204" pitchFamily="34" charset="0"/>
              </a:rPr>
              <a:t>Second Break</a:t>
            </a:r>
            <a:endParaRPr lang="en-AU" sz="675">
              <a:solidFill>
                <a:schemeClr val="accent5"/>
              </a:solidFill>
              <a:latin typeface="Arial" panose="020B0604020202020204" pitchFamily="34" charset="0"/>
              <a:cs typeface="Arial" panose="020B0604020202020204" pitchFamily="34" charset="0"/>
            </a:endParaRPr>
          </a:p>
        </p:txBody>
      </p:sp>
      <p:sp>
        <p:nvSpPr>
          <p:cNvPr id="25" name="Oval 24"/>
          <p:cNvSpPr>
            <a:spLocks noChangeAspect="1"/>
          </p:cNvSpPr>
          <p:nvPr/>
        </p:nvSpPr>
        <p:spPr>
          <a:xfrm>
            <a:off x="674838"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26" name="Oval 25"/>
          <p:cNvSpPr>
            <a:spLocks noChangeAspect="1"/>
          </p:cNvSpPr>
          <p:nvPr/>
        </p:nvSpPr>
        <p:spPr>
          <a:xfrm>
            <a:off x="168306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dirty="0">
                <a:solidFill>
                  <a:schemeClr val="bg1"/>
                </a:solidFill>
                <a:latin typeface="Arial" panose="020B0604020202020204" pitchFamily="34" charset="0"/>
                <a:cs typeface="Arial" panose="020B0604020202020204" pitchFamily="34" charset="0"/>
              </a:rPr>
              <a:t>Add Icon</a:t>
            </a:r>
          </a:p>
        </p:txBody>
      </p:sp>
      <p:sp>
        <p:nvSpPr>
          <p:cNvPr id="27" name="TextBox 26"/>
          <p:cNvSpPr txBox="1"/>
          <p:nvPr/>
        </p:nvSpPr>
        <p:spPr>
          <a:xfrm>
            <a:off x="413590"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28" name="TextBox 27"/>
          <p:cNvSpPr txBox="1"/>
          <p:nvPr/>
        </p:nvSpPr>
        <p:spPr>
          <a:xfrm>
            <a:off x="1421813"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29" name="Oval 28"/>
          <p:cNvSpPr>
            <a:spLocks noChangeAspect="1"/>
          </p:cNvSpPr>
          <p:nvPr/>
        </p:nvSpPr>
        <p:spPr>
          <a:xfrm>
            <a:off x="3747625"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0" name="TextBox 29"/>
          <p:cNvSpPr txBox="1"/>
          <p:nvPr/>
        </p:nvSpPr>
        <p:spPr>
          <a:xfrm>
            <a:off x="3486377"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1" name="Oval 30"/>
          <p:cNvSpPr>
            <a:spLocks noChangeAspect="1"/>
          </p:cNvSpPr>
          <p:nvPr/>
        </p:nvSpPr>
        <p:spPr>
          <a:xfrm>
            <a:off x="6858123" y="1746328"/>
            <a:ext cx="598952" cy="59895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2" name="TextBox 31"/>
          <p:cNvSpPr txBox="1"/>
          <p:nvPr/>
        </p:nvSpPr>
        <p:spPr>
          <a:xfrm>
            <a:off x="6596875" y="1432155"/>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3" name="Oval 32"/>
          <p:cNvSpPr>
            <a:spLocks noChangeAspect="1"/>
          </p:cNvSpPr>
          <p:nvPr/>
        </p:nvSpPr>
        <p:spPr>
          <a:xfrm>
            <a:off x="4757023"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4" name="TextBox 33"/>
          <p:cNvSpPr txBox="1"/>
          <p:nvPr/>
        </p:nvSpPr>
        <p:spPr>
          <a:xfrm>
            <a:off x="4495775"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
        <p:nvSpPr>
          <p:cNvPr id="35" name="Oval 34"/>
          <p:cNvSpPr>
            <a:spLocks noChangeAspect="1"/>
          </p:cNvSpPr>
          <p:nvPr/>
        </p:nvSpPr>
        <p:spPr>
          <a:xfrm>
            <a:off x="7870211" y="3163476"/>
            <a:ext cx="598952" cy="5989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ctr"/>
            <a:r>
              <a:rPr lang="en-US" sz="900" b="1">
                <a:solidFill>
                  <a:schemeClr val="bg1"/>
                </a:solidFill>
                <a:latin typeface="Arial" panose="020B0604020202020204" pitchFamily="34" charset="0"/>
                <a:cs typeface="Arial" panose="020B0604020202020204" pitchFamily="34" charset="0"/>
              </a:rPr>
              <a:t>Add Icon</a:t>
            </a:r>
          </a:p>
        </p:txBody>
      </p:sp>
      <p:sp>
        <p:nvSpPr>
          <p:cNvPr id="36" name="TextBox 35"/>
          <p:cNvSpPr txBox="1"/>
          <p:nvPr/>
        </p:nvSpPr>
        <p:spPr>
          <a:xfrm>
            <a:off x="7608964" y="3827911"/>
            <a:ext cx="1121447" cy="226472"/>
          </a:xfrm>
          <a:prstGeom prst="rect">
            <a:avLst/>
          </a:prstGeom>
          <a:noFill/>
        </p:spPr>
        <p:txBody>
          <a:bodyPr wrap="square" rtlCol="0">
            <a:spAutoFit/>
          </a:bodyPr>
          <a:lstStyle/>
          <a:p>
            <a:pPr algn="ctr">
              <a:lnSpc>
                <a:spcPct val="120000"/>
              </a:lnSpc>
            </a:pPr>
            <a:r>
              <a:rPr lang="en-US" sz="800" dirty="0">
                <a:solidFill>
                  <a:schemeClr val="accent5"/>
                </a:solidFill>
                <a:latin typeface="Arial" panose="020B0604020202020204" pitchFamily="34" charset="0"/>
                <a:cs typeface="Arial" panose="020B0604020202020204" pitchFamily="34" charset="0"/>
              </a:rPr>
              <a:t>Add text</a:t>
            </a:r>
            <a:endParaRPr lang="en-AU" sz="800" dirty="0">
              <a:solidFill>
                <a:schemeClr val="accent5"/>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522382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solidFill>
                  <a:schemeClr val="accent1"/>
                </a:solidFill>
              </a:rPr>
              <a:t>Timeline</a:t>
            </a:r>
          </a:p>
        </p:txBody>
      </p:sp>
      <p:grpSp>
        <p:nvGrpSpPr>
          <p:cNvPr id="49" name="Group 48"/>
          <p:cNvGrpSpPr/>
          <p:nvPr/>
        </p:nvGrpSpPr>
        <p:grpSpPr>
          <a:xfrm>
            <a:off x="2827307" y="1843701"/>
            <a:ext cx="5066043" cy="1439375"/>
            <a:chOff x="1638892" y="1077138"/>
            <a:chExt cx="6121553" cy="1739268"/>
          </a:xfrm>
        </p:grpSpPr>
        <p:cxnSp>
          <p:nvCxnSpPr>
            <p:cNvPr id="11" name="Straight Connector 10"/>
            <p:cNvCxnSpPr/>
            <p:nvPr/>
          </p:nvCxnSpPr>
          <p:spPr>
            <a:xfrm flipV="1">
              <a:off x="1638892"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V="1">
              <a:off x="3169280"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V="1">
              <a:off x="4699668"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V="1">
              <a:off x="6230056"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V="1">
              <a:off x="7760445" y="1077138"/>
              <a:ext cx="0" cy="1739268"/>
            </a:xfrm>
            <a:prstGeom prst="line">
              <a:avLst/>
            </a:prstGeom>
            <a:ln w="12700">
              <a:solidFill>
                <a:schemeClr val="bg1">
                  <a:lumMod val="85000"/>
                </a:schemeClr>
              </a:solidFill>
              <a:tailEnd type="none" w="sm" len="sm"/>
            </a:ln>
          </p:spPr>
          <p:style>
            <a:lnRef idx="1">
              <a:schemeClr val="accent1"/>
            </a:lnRef>
            <a:fillRef idx="0">
              <a:schemeClr val="accent1"/>
            </a:fillRef>
            <a:effectRef idx="0">
              <a:schemeClr val="accent1"/>
            </a:effectRef>
            <a:fontRef idx="minor">
              <a:schemeClr val="tx1"/>
            </a:fontRef>
          </p:style>
        </p:cxnSp>
      </p:grpSp>
      <p:sp>
        <p:nvSpPr>
          <p:cNvPr id="12" name="TextBox 11"/>
          <p:cNvSpPr txBox="1"/>
          <p:nvPr/>
        </p:nvSpPr>
        <p:spPr>
          <a:xfrm>
            <a:off x="1835511" y="2107482"/>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Jan-Feb</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37" name="Rectangle 36"/>
          <p:cNvSpPr/>
          <p:nvPr/>
        </p:nvSpPr>
        <p:spPr>
          <a:xfrm>
            <a:off x="1576656" y="2404079"/>
            <a:ext cx="7567344" cy="10124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sp>
        <p:nvSpPr>
          <p:cNvPr id="44" name="TextBox 43"/>
          <p:cNvSpPr txBox="1"/>
          <p:nvPr/>
        </p:nvSpPr>
        <p:spPr>
          <a:xfrm>
            <a:off x="3097189" y="210373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Mar-Apr</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5" name="TextBox 44"/>
          <p:cNvSpPr txBox="1"/>
          <p:nvPr/>
        </p:nvSpPr>
        <p:spPr>
          <a:xfrm>
            <a:off x="4358866"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May-Jun</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6" name="TextBox 45"/>
          <p:cNvSpPr txBox="1"/>
          <p:nvPr/>
        </p:nvSpPr>
        <p:spPr>
          <a:xfrm>
            <a:off x="5620544"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Jul-Aug</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7" name="TextBox 46"/>
          <p:cNvSpPr txBox="1"/>
          <p:nvPr/>
        </p:nvSpPr>
        <p:spPr>
          <a:xfrm>
            <a:off x="6882222" y="210175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Sep-Oct</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48" name="TextBox 47"/>
          <p:cNvSpPr txBox="1"/>
          <p:nvPr/>
        </p:nvSpPr>
        <p:spPr>
          <a:xfrm>
            <a:off x="8143900" y="2098005"/>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200" b="0" i="0" u="none" strike="noStrike" kern="1200" cap="none" spc="0" normalizeH="0" baseline="0" noProof="0" dirty="0">
                <a:ln>
                  <a:noFill/>
                </a:ln>
                <a:solidFill>
                  <a:schemeClr val="accent5"/>
                </a:solidFill>
                <a:effectLst/>
                <a:uLnTx/>
                <a:uFillTx/>
                <a:latin typeface="Arial"/>
                <a:ea typeface="+mn-ea"/>
                <a:cs typeface="+mn-cs"/>
              </a:rPr>
              <a:t>Nov-Dec</a:t>
            </a:r>
            <a:endParaRPr kumimoji="0" lang="en-US" sz="1000" b="0" i="0" u="none" strike="noStrike" kern="1200" cap="none" spc="0" normalizeH="0" baseline="0" noProof="0" dirty="0">
              <a:ln>
                <a:noFill/>
              </a:ln>
              <a:solidFill>
                <a:schemeClr val="accent5"/>
              </a:solidFill>
              <a:effectLst/>
              <a:uLnTx/>
              <a:uFillTx/>
              <a:latin typeface="Arial"/>
              <a:ea typeface="+mn-ea"/>
              <a:cs typeface="+mn-cs"/>
            </a:endParaRPr>
          </a:p>
        </p:txBody>
      </p:sp>
      <p:sp>
        <p:nvSpPr>
          <p:cNvPr id="50" name="TextBox 49"/>
          <p:cNvSpPr txBox="1"/>
          <p:nvPr/>
        </p:nvSpPr>
        <p:spPr>
          <a:xfrm>
            <a:off x="1835511" y="2602254"/>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400" b="1" dirty="0">
                <a:solidFill>
                  <a:schemeClr val="accent2"/>
                </a:solidFill>
                <a:latin typeface="Arial"/>
              </a:rPr>
              <a:t>Phase 1</a:t>
            </a:r>
            <a:endParaRPr kumimoji="0" lang="en-US" sz="105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1" name="TextBox 50"/>
          <p:cNvSpPr txBox="1"/>
          <p:nvPr/>
        </p:nvSpPr>
        <p:spPr>
          <a:xfrm>
            <a:off x="3097189" y="2598506"/>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kumimoji="0" lang="en-US" sz="1400" b="1" i="0" u="none" strike="noStrike" kern="1200" cap="none" spc="0" normalizeH="0" baseline="0" noProof="0" dirty="0">
                <a:ln>
                  <a:noFill/>
                </a:ln>
                <a:solidFill>
                  <a:schemeClr val="accent2"/>
                </a:solidFill>
                <a:effectLst/>
                <a:uLnTx/>
                <a:uFillTx/>
                <a:latin typeface="Arial"/>
                <a:ea typeface="+mn-ea"/>
                <a:cs typeface="+mn-cs"/>
              </a:rPr>
              <a:t>Phase 2</a:t>
            </a:r>
            <a:endParaRPr kumimoji="0" lang="en-US" sz="105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2" name="TextBox 51"/>
          <p:cNvSpPr txBox="1"/>
          <p:nvPr/>
        </p:nvSpPr>
        <p:spPr>
          <a:xfrm>
            <a:off x="4358866"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solidFill>
                  <a:schemeClr val="accent2"/>
                </a:solidFill>
              </a:rPr>
              <a:t>Phase 3</a:t>
            </a:r>
            <a:endParaRPr lang="en-US" sz="1050" b="1" dirty="0">
              <a:solidFill>
                <a:schemeClr val="accent2"/>
              </a:solidFill>
            </a:endParaRPr>
          </a:p>
        </p:txBody>
      </p:sp>
      <p:sp>
        <p:nvSpPr>
          <p:cNvPr id="53" name="TextBox 52"/>
          <p:cNvSpPr txBox="1"/>
          <p:nvPr/>
        </p:nvSpPr>
        <p:spPr>
          <a:xfrm>
            <a:off x="5620544"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solidFill>
                  <a:schemeClr val="accent2"/>
                </a:solidFill>
              </a:rPr>
              <a:t>Phase 4</a:t>
            </a:r>
            <a:endParaRPr kumimoji="0" lang="en-US" sz="105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4" name="TextBox 53"/>
          <p:cNvSpPr txBox="1"/>
          <p:nvPr/>
        </p:nvSpPr>
        <p:spPr>
          <a:xfrm>
            <a:off x="6882222" y="2596525"/>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solidFill>
                  <a:schemeClr val="accent2"/>
                </a:solidFill>
              </a:rPr>
              <a:t>Phase 5</a:t>
            </a:r>
            <a:endParaRPr kumimoji="0" lang="en-US" sz="105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5" name="TextBox 54"/>
          <p:cNvSpPr txBox="1"/>
          <p:nvPr/>
        </p:nvSpPr>
        <p:spPr>
          <a:xfrm>
            <a:off x="8143900" y="2592777"/>
            <a:ext cx="766463" cy="263372"/>
          </a:xfrm>
          <a:prstGeom prst="rect">
            <a:avLst/>
          </a:prstGeom>
          <a:noFill/>
        </p:spPr>
        <p:txBody>
          <a:bodyPr wrap="none" lIns="91440" rIns="45720" rtlCol="0">
            <a:noAutofit/>
          </a:bodyPr>
          <a:lstStyle/>
          <a:p>
            <a:pPr lvl="0" algn="ctr">
              <a:spcBef>
                <a:spcPts val="1200"/>
              </a:spcBef>
              <a:buClr>
                <a:srgbClr val="1E4164"/>
              </a:buClr>
              <a:defRPr/>
            </a:pPr>
            <a:r>
              <a:rPr lang="en-US" sz="1400" b="1" dirty="0">
                <a:solidFill>
                  <a:schemeClr val="accent2"/>
                </a:solidFill>
              </a:rPr>
              <a:t>Phase 6</a:t>
            </a:r>
            <a:endParaRPr kumimoji="0" lang="en-US" sz="1050" b="1" i="0" u="none" strike="noStrike" kern="1200" cap="none" spc="0" normalizeH="0" baseline="0" noProof="0" dirty="0">
              <a:ln>
                <a:noFill/>
              </a:ln>
              <a:solidFill>
                <a:schemeClr val="accent2"/>
              </a:solidFill>
              <a:effectLst/>
              <a:uLnTx/>
              <a:uFillTx/>
              <a:latin typeface="Arial"/>
              <a:ea typeface="+mn-ea"/>
              <a:cs typeface="+mn-cs"/>
            </a:endParaRPr>
          </a:p>
        </p:txBody>
      </p:sp>
      <p:sp>
        <p:nvSpPr>
          <p:cNvPr id="57" name="TextBox 56"/>
          <p:cNvSpPr txBox="1"/>
          <p:nvPr/>
        </p:nvSpPr>
        <p:spPr>
          <a:xfrm>
            <a:off x="326007" y="2283343"/>
            <a:ext cx="766463" cy="263372"/>
          </a:xfrm>
          <a:prstGeom prst="rect">
            <a:avLst/>
          </a:prstGeom>
          <a:noFill/>
        </p:spPr>
        <p:txBody>
          <a:bodyPr wrap="none" lIns="91440" rIns="45720" rtlCol="0">
            <a:noAutofit/>
          </a:bodyPr>
          <a:lstStyle/>
          <a:p>
            <a:pPr marL="0" marR="0" lvl="0" indent="0" algn="ctr" defTabSz="914400" rtl="0" eaLnBrk="1" fontAlgn="auto" latinLnBrk="0" hangingPunct="1">
              <a:lnSpc>
                <a:spcPct val="100000"/>
              </a:lnSpc>
              <a:spcBef>
                <a:spcPts val="1200"/>
              </a:spcBef>
              <a:spcAft>
                <a:spcPts val="0"/>
              </a:spcAft>
              <a:buClr>
                <a:srgbClr val="1E4164"/>
              </a:buClr>
              <a:buSzTx/>
              <a:buFontTx/>
              <a:buNone/>
              <a:tabLst/>
              <a:defRPr/>
            </a:pPr>
            <a:r>
              <a:rPr lang="en-US" sz="1600" b="1" dirty="0">
                <a:latin typeface="Arial"/>
              </a:rPr>
              <a:t>Project</a:t>
            </a:r>
            <a:endParaRPr kumimoji="0" lang="en-US" sz="1100" b="1" i="0" u="none" strike="noStrike" kern="1200" cap="none" spc="0" normalizeH="0" baseline="0" noProof="0" dirty="0">
              <a:ln>
                <a:noFill/>
              </a:ln>
              <a:effectLst/>
              <a:uLnTx/>
              <a:uFillTx/>
              <a:latin typeface="Arial"/>
            </a:endParaRPr>
          </a:p>
        </p:txBody>
      </p:sp>
    </p:spTree>
    <p:extLst>
      <p:ext uri="{BB962C8B-B14F-4D97-AF65-F5344CB8AC3E}">
        <p14:creationId xmlns:p14="http://schemas.microsoft.com/office/powerpoint/2010/main" val="42318875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59" name="Text Placeholder 58"/>
          <p:cNvSpPr>
            <a:spLocks noGrp="1"/>
          </p:cNvSpPr>
          <p:nvPr>
            <p:ph type="body" sz="quarter" idx="17"/>
          </p:nvPr>
        </p:nvSpPr>
        <p:spPr/>
        <p:txBody>
          <a:bodyPr/>
          <a:lstStyle/>
          <a:p>
            <a:r>
              <a:rPr lang="en-US" dirty="0"/>
              <a:t>Project timeline</a:t>
            </a:r>
          </a:p>
        </p:txBody>
      </p:sp>
      <p:grpSp>
        <p:nvGrpSpPr>
          <p:cNvPr id="5" name="Chart Lines"/>
          <p:cNvGrpSpPr/>
          <p:nvPr/>
        </p:nvGrpSpPr>
        <p:grpSpPr>
          <a:xfrm>
            <a:off x="801830" y="1274017"/>
            <a:ext cx="7524333" cy="1935283"/>
            <a:chOff x="801829" y="1461522"/>
            <a:chExt cx="7524333" cy="1935283"/>
          </a:xfrm>
        </p:grpSpPr>
        <p:cxnSp>
          <p:nvCxnSpPr>
            <p:cNvPr id="6" name="Straight Connector 5"/>
            <p:cNvCxnSpPr/>
            <p:nvPr/>
          </p:nvCxnSpPr>
          <p:spPr>
            <a:xfrm>
              <a:off x="852548" y="3396805"/>
              <a:ext cx="7422895"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801829" y="2239744"/>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01829" y="2628855"/>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01829" y="3017966"/>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801829" y="1850633"/>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801829" y="1461522"/>
              <a:ext cx="7524333" cy="7594"/>
            </a:xfrm>
            <a:prstGeom prst="line">
              <a:avLst/>
            </a:prstGeom>
            <a:ln w="952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801995" y="3970617"/>
            <a:ext cx="1164592" cy="411480"/>
            <a:chOff x="1225087" y="4338155"/>
            <a:chExt cx="1164592" cy="411480"/>
          </a:xfrm>
        </p:grpSpPr>
        <p:sp>
          <p:nvSpPr>
            <p:cNvPr id="13" name="Oval 12"/>
            <p:cNvSpPr/>
            <p:nvPr/>
          </p:nvSpPr>
          <p:spPr>
            <a:xfrm>
              <a:off x="1225087" y="4338155"/>
              <a:ext cx="411480" cy="4114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1</a:t>
              </a:r>
            </a:p>
          </p:txBody>
        </p:sp>
        <p:sp>
          <p:nvSpPr>
            <p:cNvPr id="14" name="TextBox 13"/>
            <p:cNvSpPr txBox="1"/>
            <p:nvPr/>
          </p:nvSpPr>
          <p:spPr>
            <a:xfrm>
              <a:off x="1643522" y="4370983"/>
              <a:ext cx="746157" cy="341632"/>
            </a:xfrm>
            <a:prstGeom prst="rect">
              <a:avLst/>
            </a:prstGeom>
            <a:noFill/>
          </p:spPr>
          <p:txBody>
            <a:bodyPr wrap="square"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One</a:t>
              </a:r>
            </a:p>
          </p:txBody>
        </p:sp>
      </p:grpSp>
      <p:sp>
        <p:nvSpPr>
          <p:cNvPr id="15" name="Rounded Rectangle 14"/>
          <p:cNvSpPr/>
          <p:nvPr/>
        </p:nvSpPr>
        <p:spPr>
          <a:xfrm>
            <a:off x="782944" y="2773352"/>
            <a:ext cx="1017281" cy="12382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56"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endParaRPr>
          </a:p>
        </p:txBody>
      </p:sp>
      <p:sp>
        <p:nvSpPr>
          <p:cNvPr id="16" name="Rounded Rectangle 15"/>
          <p:cNvSpPr/>
          <p:nvPr/>
        </p:nvSpPr>
        <p:spPr>
          <a:xfrm>
            <a:off x="2683607" y="2773352"/>
            <a:ext cx="1947401" cy="123825"/>
          </a:xfrm>
          <a:prstGeom prst="roundRect">
            <a:avLst>
              <a:gd name="adj" fmla="val 50000"/>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7" name="Rounded Rectangle 16"/>
          <p:cNvSpPr/>
          <p:nvPr/>
        </p:nvSpPr>
        <p:spPr>
          <a:xfrm>
            <a:off x="1743801" y="2382545"/>
            <a:ext cx="1947401" cy="123825"/>
          </a:xfrm>
          <a:prstGeom prst="roundRect">
            <a:avLst>
              <a:gd name="adj" fmla="val 50000"/>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endParaRPr>
          </a:p>
        </p:txBody>
      </p:sp>
      <p:sp>
        <p:nvSpPr>
          <p:cNvPr id="18" name="Rounded Rectangle 17"/>
          <p:cNvSpPr/>
          <p:nvPr/>
        </p:nvSpPr>
        <p:spPr>
          <a:xfrm>
            <a:off x="6389549" y="1214648"/>
            <a:ext cx="1947401" cy="123825"/>
          </a:xfrm>
          <a:prstGeom prst="roundRect">
            <a:avLst>
              <a:gd name="adj" fmla="val 50000"/>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sp>
        <p:nvSpPr>
          <p:cNvPr id="19" name="Rounded Rectangle 18"/>
          <p:cNvSpPr/>
          <p:nvPr/>
        </p:nvSpPr>
        <p:spPr>
          <a:xfrm>
            <a:off x="5472074" y="1603948"/>
            <a:ext cx="1017281" cy="123825"/>
          </a:xfrm>
          <a:prstGeom prst="roundRect">
            <a:avLst>
              <a:gd name="adj" fmla="val 50000"/>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0" name="Rounded Rectangle 19"/>
          <p:cNvSpPr/>
          <p:nvPr/>
        </p:nvSpPr>
        <p:spPr>
          <a:xfrm>
            <a:off x="3613726" y="1993247"/>
            <a:ext cx="3697710" cy="123825"/>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a:solidFill>
                <a:schemeClr val="accent1"/>
              </a:solidFill>
              <a:latin typeface="Arial"/>
              <a:ea typeface="Segoe UI Black" panose="020B0A02040204020203" pitchFamily="34" charset="0"/>
              <a:cs typeface="Segoe UI Black" panose="020B0A02040204020203" pitchFamily="34" charset="0"/>
            </a:endParaRPr>
          </a:p>
        </p:txBody>
      </p:sp>
      <p:sp>
        <p:nvSpPr>
          <p:cNvPr id="21" name="Oval 20"/>
          <p:cNvSpPr/>
          <p:nvPr/>
        </p:nvSpPr>
        <p:spPr>
          <a:xfrm>
            <a:off x="2101310" y="3986999"/>
            <a:ext cx="411480" cy="411480"/>
          </a:xfrm>
          <a:prstGeom prst="ellipse">
            <a:avLst/>
          </a:prstGeom>
          <a:solidFill>
            <a:schemeClr val="accent3">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2</a:t>
            </a:r>
          </a:p>
        </p:txBody>
      </p:sp>
      <p:sp>
        <p:nvSpPr>
          <p:cNvPr id="22" name="TextBox 21"/>
          <p:cNvSpPr txBox="1"/>
          <p:nvPr/>
        </p:nvSpPr>
        <p:spPr>
          <a:xfrm>
            <a:off x="2519746" y="4019827"/>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wo</a:t>
            </a:r>
          </a:p>
        </p:txBody>
      </p:sp>
      <p:sp>
        <p:nvSpPr>
          <p:cNvPr id="23" name="Oval 22"/>
          <p:cNvSpPr/>
          <p:nvPr/>
        </p:nvSpPr>
        <p:spPr>
          <a:xfrm>
            <a:off x="3412608" y="3970617"/>
            <a:ext cx="411480" cy="411480"/>
          </a:xfrm>
          <a:prstGeom prst="ellipse">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gradFill>
                  <a:gsLst>
                    <a:gs pos="0">
                      <a:srgbClr val="FFFFFF"/>
                    </a:gs>
                    <a:gs pos="98000">
                      <a:srgbClr val="FFFFFF"/>
                    </a:gs>
                  </a:gsLst>
                  <a:lin ang="5400000" scaled="0"/>
                </a:gradFill>
                <a:effectLst/>
                <a:uLnTx/>
                <a:uFillTx/>
                <a:latin typeface="Arial"/>
                <a:ea typeface="Segoe UI Black" panose="020B0A02040204020203" pitchFamily="34" charset="0"/>
                <a:cs typeface="Segoe UI Black" panose="020B0A02040204020203" pitchFamily="34" charset="0"/>
              </a:rPr>
              <a:t>03</a:t>
            </a:r>
          </a:p>
        </p:txBody>
      </p:sp>
      <p:sp>
        <p:nvSpPr>
          <p:cNvPr id="24" name="TextBox 23"/>
          <p:cNvSpPr txBox="1"/>
          <p:nvPr/>
        </p:nvSpPr>
        <p:spPr>
          <a:xfrm>
            <a:off x="3831044"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Three</a:t>
            </a:r>
          </a:p>
        </p:txBody>
      </p:sp>
      <p:sp>
        <p:nvSpPr>
          <p:cNvPr id="25" name="Oval 24"/>
          <p:cNvSpPr/>
          <p:nvPr/>
        </p:nvSpPr>
        <p:spPr>
          <a:xfrm>
            <a:off x="4702624" y="3970617"/>
            <a:ext cx="411480" cy="4114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26" name="TextBox 25"/>
          <p:cNvSpPr txBox="1"/>
          <p:nvPr/>
        </p:nvSpPr>
        <p:spPr>
          <a:xfrm>
            <a:off x="5121059" y="400344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our</a:t>
            </a:r>
          </a:p>
        </p:txBody>
      </p:sp>
      <p:sp>
        <p:nvSpPr>
          <p:cNvPr id="27" name="Oval 26"/>
          <p:cNvSpPr/>
          <p:nvPr/>
        </p:nvSpPr>
        <p:spPr>
          <a:xfrm>
            <a:off x="5977797" y="3969197"/>
            <a:ext cx="411480" cy="411480"/>
          </a:xfrm>
          <a:prstGeom prst="ellipse">
            <a:avLst/>
          </a:prstGeom>
          <a:solidFill>
            <a:schemeClr val="accent3">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28" name="TextBox 27"/>
          <p:cNvSpPr txBox="1"/>
          <p:nvPr/>
        </p:nvSpPr>
        <p:spPr>
          <a:xfrm>
            <a:off x="6396233" y="4002025"/>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a:ln>
                  <a:noFill/>
                </a:ln>
                <a:solidFill>
                  <a:schemeClr val="accent5"/>
                </a:solidFill>
                <a:effectLst/>
                <a:uLnTx/>
                <a:uFillTx/>
                <a:latin typeface="Arial"/>
                <a:ea typeface="+mn-ea"/>
                <a:cs typeface="Arial" panose="020B0604020202020204" pitchFamily="34" charset="0"/>
              </a:rPr>
              <a:t>Five</a:t>
            </a:r>
          </a:p>
        </p:txBody>
      </p:sp>
      <p:sp>
        <p:nvSpPr>
          <p:cNvPr id="29" name="Oval 28"/>
          <p:cNvSpPr/>
          <p:nvPr/>
        </p:nvSpPr>
        <p:spPr>
          <a:xfrm>
            <a:off x="7288728" y="3977946"/>
            <a:ext cx="411480" cy="4114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US" sz="1200" dirty="0">
                <a:gradFill>
                  <a:gsLst>
                    <a:gs pos="0">
                      <a:srgbClr val="FFFFFF"/>
                    </a:gs>
                    <a:gs pos="98000">
                      <a:srgbClr val="FFFFFF"/>
                    </a:gs>
                  </a:gsLst>
                  <a:lin ang="5400000" scaled="0"/>
                </a:gradFill>
                <a:latin typeface="Arial"/>
                <a:ea typeface="Segoe UI Black" panose="020B0A02040204020203" pitchFamily="34" charset="0"/>
                <a:cs typeface="Segoe UI Black" panose="020B0A02040204020203" pitchFamily="34" charset="0"/>
              </a:rPr>
              <a:t>06</a:t>
            </a:r>
          </a:p>
        </p:txBody>
      </p:sp>
      <p:sp>
        <p:nvSpPr>
          <p:cNvPr id="30" name="TextBox 29"/>
          <p:cNvSpPr txBox="1"/>
          <p:nvPr/>
        </p:nvSpPr>
        <p:spPr>
          <a:xfrm>
            <a:off x="7707164" y="4010774"/>
            <a:ext cx="746157" cy="341630"/>
          </a:xfrm>
          <a:prstGeom prst="rect">
            <a:avLst/>
          </a:prstGeom>
          <a:noFill/>
        </p:spPr>
        <p:txBody>
          <a:bodyPr wrap="square" lIns="91438" tIns="45719" rIns="91438" bIns="45719" rtlCol="0">
            <a:spAutoFit/>
          </a:bodyPr>
          <a:lstStyle/>
          <a:p>
            <a:pPr marL="0" marR="0" lvl="0" indent="0" algn="l"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Category </a:t>
            </a:r>
            <a:b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br>
            <a:r>
              <a:rPr kumimoji="0" lang="en-US" sz="900" b="0" i="0" u="none" strike="noStrike" kern="1200" cap="none" spc="10" normalizeH="0" baseline="0" noProof="0" dirty="0">
                <a:ln>
                  <a:noFill/>
                </a:ln>
                <a:solidFill>
                  <a:schemeClr val="accent5"/>
                </a:solidFill>
                <a:effectLst/>
                <a:uLnTx/>
                <a:uFillTx/>
                <a:latin typeface="Arial"/>
                <a:ea typeface="+mn-ea"/>
                <a:cs typeface="Arial" panose="020B0604020202020204" pitchFamily="34" charset="0"/>
              </a:rPr>
              <a:t>Six</a:t>
            </a:r>
          </a:p>
        </p:txBody>
      </p:sp>
      <p:cxnSp>
        <p:nvCxnSpPr>
          <p:cNvPr id="31" name="Straight Connector 30"/>
          <p:cNvCxnSpPr/>
          <p:nvPr/>
        </p:nvCxnSpPr>
        <p:spPr>
          <a:xfrm>
            <a:off x="801829" y="3209299"/>
            <a:ext cx="7524333" cy="0"/>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6222043" y="3169463"/>
            <a:ext cx="490881" cy="389269"/>
            <a:chOff x="605788" y="3363999"/>
            <a:chExt cx="490881" cy="389269"/>
          </a:xfrm>
        </p:grpSpPr>
        <p:sp>
          <p:nvSpPr>
            <p:cNvPr id="33" name="Oval 32"/>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4" name="TextBox 33"/>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Sep</a:t>
              </a:r>
            </a:p>
          </p:txBody>
        </p:sp>
      </p:grpSp>
      <p:grpSp>
        <p:nvGrpSpPr>
          <p:cNvPr id="35" name="Group 34"/>
          <p:cNvGrpSpPr/>
          <p:nvPr/>
        </p:nvGrpSpPr>
        <p:grpSpPr>
          <a:xfrm>
            <a:off x="1499498" y="3169463"/>
            <a:ext cx="490881" cy="389269"/>
            <a:chOff x="605788" y="3363999"/>
            <a:chExt cx="490881" cy="389269"/>
          </a:xfrm>
        </p:grpSpPr>
        <p:sp>
          <p:nvSpPr>
            <p:cNvPr id="36" name="Oval 35"/>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37" name="TextBox 36"/>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pr</a:t>
              </a:r>
            </a:p>
          </p:txBody>
        </p:sp>
      </p:grpSp>
      <p:grpSp>
        <p:nvGrpSpPr>
          <p:cNvPr id="38" name="Group 37"/>
          <p:cNvGrpSpPr/>
          <p:nvPr/>
        </p:nvGrpSpPr>
        <p:grpSpPr>
          <a:xfrm>
            <a:off x="2444007" y="3169463"/>
            <a:ext cx="490881" cy="389269"/>
            <a:chOff x="605788" y="3363999"/>
            <a:chExt cx="490881" cy="389269"/>
          </a:xfrm>
        </p:grpSpPr>
        <p:sp>
          <p:nvSpPr>
            <p:cNvPr id="39" name="Oval 38"/>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0" name="TextBox 39"/>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y</a:t>
              </a:r>
            </a:p>
          </p:txBody>
        </p:sp>
      </p:grpSp>
      <p:grpSp>
        <p:nvGrpSpPr>
          <p:cNvPr id="41" name="Group 40"/>
          <p:cNvGrpSpPr/>
          <p:nvPr/>
        </p:nvGrpSpPr>
        <p:grpSpPr>
          <a:xfrm>
            <a:off x="3388516" y="3169463"/>
            <a:ext cx="490881" cy="389269"/>
            <a:chOff x="605788" y="3363999"/>
            <a:chExt cx="490881" cy="389269"/>
          </a:xfrm>
        </p:grpSpPr>
        <p:sp>
          <p:nvSpPr>
            <p:cNvPr id="42" name="Oval 41"/>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3" name="TextBox 42"/>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n</a:t>
              </a:r>
            </a:p>
          </p:txBody>
        </p:sp>
      </p:grpSp>
      <p:grpSp>
        <p:nvGrpSpPr>
          <p:cNvPr id="44" name="Group 43"/>
          <p:cNvGrpSpPr/>
          <p:nvPr/>
        </p:nvGrpSpPr>
        <p:grpSpPr>
          <a:xfrm>
            <a:off x="4333025" y="3169463"/>
            <a:ext cx="490881" cy="389269"/>
            <a:chOff x="605788" y="3363999"/>
            <a:chExt cx="490881" cy="389269"/>
          </a:xfrm>
        </p:grpSpPr>
        <p:sp>
          <p:nvSpPr>
            <p:cNvPr id="45" name="Oval 44"/>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6" name="TextBox 45"/>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Jul</a:t>
              </a:r>
            </a:p>
          </p:txBody>
        </p:sp>
      </p:grpSp>
      <p:grpSp>
        <p:nvGrpSpPr>
          <p:cNvPr id="47" name="Group 46"/>
          <p:cNvGrpSpPr/>
          <p:nvPr/>
        </p:nvGrpSpPr>
        <p:grpSpPr>
          <a:xfrm>
            <a:off x="5277534" y="3169463"/>
            <a:ext cx="490881" cy="389269"/>
            <a:chOff x="605788" y="3363999"/>
            <a:chExt cx="490881" cy="389269"/>
          </a:xfrm>
        </p:grpSpPr>
        <p:sp>
          <p:nvSpPr>
            <p:cNvPr id="48" name="Oval 47"/>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49" name="TextBox 48"/>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Aug</a:t>
              </a:r>
            </a:p>
          </p:txBody>
        </p:sp>
      </p:grpSp>
      <p:grpSp>
        <p:nvGrpSpPr>
          <p:cNvPr id="50" name="Group 49"/>
          <p:cNvGrpSpPr/>
          <p:nvPr/>
        </p:nvGrpSpPr>
        <p:grpSpPr>
          <a:xfrm>
            <a:off x="8111060" y="3169463"/>
            <a:ext cx="490881" cy="389269"/>
            <a:chOff x="605788" y="3363999"/>
            <a:chExt cx="490881" cy="389269"/>
          </a:xfrm>
        </p:grpSpPr>
        <p:sp>
          <p:nvSpPr>
            <p:cNvPr id="51" name="Oval 50"/>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2" name="TextBox 51"/>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Nov</a:t>
              </a:r>
            </a:p>
          </p:txBody>
        </p:sp>
      </p:grpSp>
      <p:grpSp>
        <p:nvGrpSpPr>
          <p:cNvPr id="53" name="Group 52"/>
          <p:cNvGrpSpPr/>
          <p:nvPr/>
        </p:nvGrpSpPr>
        <p:grpSpPr>
          <a:xfrm>
            <a:off x="7166552" y="3169463"/>
            <a:ext cx="490881" cy="389269"/>
            <a:chOff x="605788" y="3363999"/>
            <a:chExt cx="490881" cy="389269"/>
          </a:xfrm>
        </p:grpSpPr>
        <p:sp>
          <p:nvSpPr>
            <p:cNvPr id="54" name="Oval 53"/>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5" name="TextBox 54"/>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Oct</a:t>
              </a:r>
            </a:p>
          </p:txBody>
        </p:sp>
      </p:grpSp>
      <p:grpSp>
        <p:nvGrpSpPr>
          <p:cNvPr id="56" name="Group 55"/>
          <p:cNvGrpSpPr/>
          <p:nvPr/>
        </p:nvGrpSpPr>
        <p:grpSpPr>
          <a:xfrm>
            <a:off x="554989" y="3169463"/>
            <a:ext cx="490881" cy="389269"/>
            <a:chOff x="605788" y="3363999"/>
            <a:chExt cx="490881" cy="389269"/>
          </a:xfrm>
        </p:grpSpPr>
        <p:sp>
          <p:nvSpPr>
            <p:cNvPr id="57" name="Oval 56"/>
            <p:cNvSpPr/>
            <p:nvPr/>
          </p:nvSpPr>
          <p:spPr>
            <a:xfrm>
              <a:off x="792941" y="3363999"/>
              <a:ext cx="91440" cy="9144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chemeClr val="accent5"/>
                </a:solidFill>
                <a:effectLst/>
                <a:uLnTx/>
                <a:uFillTx/>
                <a:latin typeface="Arial"/>
                <a:ea typeface="Segoe UI Black" panose="020B0A02040204020203" pitchFamily="34" charset="0"/>
                <a:cs typeface="Segoe UI Black" panose="020B0A02040204020203" pitchFamily="34" charset="0"/>
              </a:endParaRPr>
            </a:p>
          </p:txBody>
        </p:sp>
        <p:sp>
          <p:nvSpPr>
            <p:cNvPr id="58" name="TextBox 57"/>
            <p:cNvSpPr txBox="1"/>
            <p:nvPr/>
          </p:nvSpPr>
          <p:spPr>
            <a:xfrm>
              <a:off x="605788" y="3536286"/>
              <a:ext cx="490881" cy="21698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200"/>
                </a:spcBef>
                <a:spcAft>
                  <a:spcPts val="0"/>
                </a:spcAft>
                <a:buClr>
                  <a:srgbClr val="CC0000"/>
                </a:buClr>
                <a:buSzPct val="110000"/>
                <a:buFontTx/>
                <a:buNone/>
                <a:tabLst/>
                <a:defRPr/>
              </a:pPr>
              <a:r>
                <a:rPr kumimoji="0" lang="en-US" sz="900" b="0" i="0" u="none" strike="noStrike" kern="1200" cap="none" spc="20" normalizeH="0" baseline="0" noProof="0">
                  <a:ln>
                    <a:noFill/>
                  </a:ln>
                  <a:solidFill>
                    <a:schemeClr val="accent5"/>
                  </a:solidFill>
                  <a:effectLst/>
                  <a:uLnTx/>
                  <a:uFillTx/>
                  <a:latin typeface="Arial"/>
                  <a:ea typeface="+mn-ea"/>
                  <a:cs typeface="Arial" panose="020B0604020202020204" pitchFamily="34" charset="0"/>
                </a:rPr>
                <a:t>Mar</a:t>
              </a:r>
            </a:p>
          </p:txBody>
        </p:sp>
      </p:grpSp>
      <p:sp>
        <p:nvSpPr>
          <p:cNvPr id="60" name="Rectangle 59"/>
          <p:cNvSpPr/>
          <p:nvPr/>
        </p:nvSpPr>
        <p:spPr>
          <a:xfrm>
            <a:off x="1686651" y="2033950"/>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2</a:t>
            </a:r>
          </a:p>
        </p:txBody>
      </p:sp>
      <p:sp>
        <p:nvSpPr>
          <p:cNvPr id="62" name="Rectangle 61"/>
          <p:cNvSpPr/>
          <p:nvPr/>
        </p:nvSpPr>
        <p:spPr>
          <a:xfrm>
            <a:off x="713567" y="2449984"/>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1</a:t>
            </a:r>
          </a:p>
        </p:txBody>
      </p:sp>
      <p:sp>
        <p:nvSpPr>
          <p:cNvPr id="63" name="Rectangle 62"/>
          <p:cNvSpPr/>
          <p:nvPr/>
        </p:nvSpPr>
        <p:spPr>
          <a:xfrm>
            <a:off x="2599947" y="2454327"/>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3</a:t>
            </a:r>
          </a:p>
        </p:txBody>
      </p:sp>
      <p:sp>
        <p:nvSpPr>
          <p:cNvPr id="64" name="Rectangle 63"/>
          <p:cNvSpPr/>
          <p:nvPr/>
        </p:nvSpPr>
        <p:spPr>
          <a:xfrm>
            <a:off x="3546748" y="1669719"/>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4</a:t>
            </a:r>
          </a:p>
        </p:txBody>
      </p:sp>
      <p:sp>
        <p:nvSpPr>
          <p:cNvPr id="65" name="Rectangle 64"/>
          <p:cNvSpPr/>
          <p:nvPr/>
        </p:nvSpPr>
        <p:spPr>
          <a:xfrm>
            <a:off x="5392051" y="1253685"/>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5</a:t>
            </a:r>
          </a:p>
        </p:txBody>
      </p:sp>
      <p:sp>
        <p:nvSpPr>
          <p:cNvPr id="66" name="Rectangle 65"/>
          <p:cNvSpPr/>
          <p:nvPr/>
        </p:nvSpPr>
        <p:spPr>
          <a:xfrm>
            <a:off x="6313775" y="882808"/>
            <a:ext cx="411480" cy="4114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accent1"/>
                </a:solidFill>
                <a:effectLst/>
                <a:uLnTx/>
                <a:uFillTx/>
                <a:latin typeface="Arial"/>
                <a:ea typeface="Segoe UI Black" panose="020B0A02040204020203" pitchFamily="34" charset="0"/>
                <a:cs typeface="Segoe UI Black" panose="020B0A02040204020203" pitchFamily="34" charset="0"/>
              </a:rPr>
              <a:t>06</a:t>
            </a:r>
          </a:p>
        </p:txBody>
      </p:sp>
    </p:spTree>
    <p:extLst>
      <p:ext uri="{BB962C8B-B14F-4D97-AF65-F5344CB8AC3E}">
        <p14:creationId xmlns:p14="http://schemas.microsoft.com/office/powerpoint/2010/main" val="15303587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endParaRPr lang="en-US" dirty="0">
              <a:solidFill>
                <a:schemeClr val="tx1"/>
              </a:solidFill>
            </a:endParaRPr>
          </a:p>
        </p:txBody>
      </p:sp>
      <p:sp>
        <p:nvSpPr>
          <p:cNvPr id="5" name="Text Placeholder 4"/>
          <p:cNvSpPr>
            <a:spLocks noGrp="1"/>
          </p:cNvSpPr>
          <p:nvPr>
            <p:ph type="body" sz="quarter" idx="17"/>
          </p:nvPr>
        </p:nvSpPr>
        <p:spPr/>
        <p:txBody>
          <a:bodyPr/>
          <a:lstStyle/>
          <a:p>
            <a:r>
              <a:rPr lang="en-US" dirty="0"/>
              <a:t>Table</a:t>
            </a:r>
          </a:p>
        </p:txBody>
      </p:sp>
      <p:graphicFrame>
        <p:nvGraphicFramePr>
          <p:cNvPr id="6" name="Table 5"/>
          <p:cNvGraphicFramePr>
            <a:graphicFrameLocks noGrp="1"/>
          </p:cNvGraphicFramePr>
          <p:nvPr>
            <p:extLst>
              <p:ext uri="{D42A27DB-BD31-4B8C-83A1-F6EECF244321}">
                <p14:modId xmlns:p14="http://schemas.microsoft.com/office/powerpoint/2010/main" val="1539237124"/>
              </p:ext>
            </p:extLst>
          </p:nvPr>
        </p:nvGraphicFramePr>
        <p:xfrm>
          <a:off x="457201" y="1274781"/>
          <a:ext cx="8229597" cy="2221452"/>
        </p:xfrm>
        <a:graphic>
          <a:graphicData uri="http://schemas.openxmlformats.org/drawingml/2006/table">
            <a:tbl>
              <a:tblPr firstRow="1" bandRow="1">
                <a:tableStyleId>{5C22544A-7EE6-4342-B048-85BDC9FD1C3A}</a:tableStyleId>
              </a:tblPr>
              <a:tblGrid>
                <a:gridCol w="2368741">
                  <a:extLst>
                    <a:ext uri="{9D8B030D-6E8A-4147-A177-3AD203B41FA5}">
                      <a16:colId xmlns:a16="http://schemas.microsoft.com/office/drawing/2014/main" val="20000"/>
                    </a:ext>
                  </a:extLst>
                </a:gridCol>
                <a:gridCol w="1465214">
                  <a:extLst>
                    <a:ext uri="{9D8B030D-6E8A-4147-A177-3AD203B41FA5}">
                      <a16:colId xmlns:a16="http://schemas.microsoft.com/office/drawing/2014/main" val="20001"/>
                    </a:ext>
                  </a:extLst>
                </a:gridCol>
                <a:gridCol w="1465214">
                  <a:extLst>
                    <a:ext uri="{9D8B030D-6E8A-4147-A177-3AD203B41FA5}">
                      <a16:colId xmlns:a16="http://schemas.microsoft.com/office/drawing/2014/main" val="20002"/>
                    </a:ext>
                  </a:extLst>
                </a:gridCol>
                <a:gridCol w="1465214">
                  <a:extLst>
                    <a:ext uri="{9D8B030D-6E8A-4147-A177-3AD203B41FA5}">
                      <a16:colId xmlns:a16="http://schemas.microsoft.com/office/drawing/2014/main" val="20003"/>
                    </a:ext>
                  </a:extLst>
                </a:gridCol>
                <a:gridCol w="1465214">
                  <a:extLst>
                    <a:ext uri="{9D8B030D-6E8A-4147-A177-3AD203B41FA5}">
                      <a16:colId xmlns:a16="http://schemas.microsoft.com/office/drawing/2014/main" val="20004"/>
                    </a:ext>
                  </a:extLst>
                </a:gridCol>
              </a:tblGrid>
              <a:tr h="370242">
                <a:tc>
                  <a:txBody>
                    <a:bodyPr/>
                    <a:lstStyle/>
                    <a:p>
                      <a:pPr marL="0" algn="ctr" defTabSz="914400" rtl="0" eaLnBrk="1" latinLnBrk="0" hangingPunct="1"/>
                      <a:endParaRPr lang="en-US" sz="1200" b="0" kern="1200">
                        <a:solidFill>
                          <a:schemeClr val="tx1"/>
                        </a:solidFill>
                        <a:latin typeface="Arial" panose="020B0604020202020204" pitchFamily="34" charset="0"/>
                        <a:ea typeface="+mn-ea"/>
                        <a:cs typeface="Arial" panose="020B0604020202020204" pitchFamily="34" charset="0"/>
                      </a:endParaRPr>
                    </a:p>
                  </a:txBody>
                  <a:tcPr marT="34290" marB="34290" anchor="ctr">
                    <a:lnL w="12700" cmpd="sng">
                      <a:noFill/>
                    </a:lnL>
                    <a:lnR w="635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1" kern="1200" dirty="0">
                          <a:solidFill>
                            <a:schemeClr val="bg1"/>
                          </a:solidFill>
                          <a:latin typeface="Arial" panose="020B0604020202020204" pitchFamily="34" charset="0"/>
                          <a:ea typeface="+mn-ea"/>
                          <a:cs typeface="Arial" panose="020B0604020202020204" pitchFamily="34" charset="0"/>
                        </a:rPr>
                        <a:t>0000</a:t>
                      </a:r>
                    </a:p>
                  </a:txBody>
                  <a:tcPr marT="34290" marB="34290" anchor="ctr">
                    <a:lnL w="6350" cap="flat" cmpd="sng" algn="ctr">
                      <a:solidFill>
                        <a:schemeClr val="bg1">
                          <a:lumMod val="75000"/>
                        </a:schemeClr>
                      </a:solid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dirty="0">
                          <a:solidFill>
                            <a:schemeClr val="tx1"/>
                          </a:solidFill>
                          <a:latin typeface="Arial" panose="020B0604020202020204" pitchFamily="34" charset="0"/>
                          <a:ea typeface="+mn-ea"/>
                          <a:cs typeface="Arial" panose="020B0604020202020204" pitchFamily="34" charset="0"/>
                        </a:rPr>
                        <a:t>Total</a:t>
                      </a:r>
                      <a:r>
                        <a:rPr lang="en-US" sz="900" b="0" kern="1200" baseline="0" dirty="0">
                          <a:solidFill>
                            <a:schemeClr val="tx1"/>
                          </a:solidFill>
                          <a:latin typeface="Arial" panose="020B0604020202020204" pitchFamily="34" charset="0"/>
                          <a:ea typeface="+mn-ea"/>
                          <a:cs typeface="Arial" panose="020B0604020202020204" pitchFamily="34" charset="0"/>
                        </a:rPr>
                        <a:t> Revenu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dirty="0">
                          <a:solidFill>
                            <a:schemeClr val="tx1"/>
                          </a:solidFill>
                          <a:latin typeface="Arial" panose="020B0604020202020204" pitchFamily="34" charset="0"/>
                          <a:ea typeface="+mn-ea"/>
                          <a:cs typeface="Arial" panose="020B0604020202020204" pitchFamily="34" charset="0"/>
                        </a:rPr>
                        <a:t>Total</a:t>
                      </a:r>
                      <a:r>
                        <a:rPr lang="en-US" sz="900" b="0" kern="1200" baseline="0" dirty="0">
                          <a:solidFill>
                            <a:schemeClr val="tx1"/>
                          </a:solidFill>
                          <a:latin typeface="Arial" panose="020B0604020202020204" pitchFamily="34" charset="0"/>
                          <a:ea typeface="+mn-ea"/>
                          <a:cs typeface="Arial" panose="020B0604020202020204" pitchFamily="34" charset="0"/>
                        </a:rPr>
                        <a:t> Revenue</a:t>
                      </a:r>
                      <a:endParaRPr lang="en-US" sz="900" b="0" kern="1200" dirty="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Incom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70242">
                <a:tc>
                  <a:txBody>
                    <a:bodyPr/>
                    <a:lstStyle/>
                    <a:p>
                      <a:pPr marL="0" indent="0" algn="l" defTabSz="914400" rtl="0" eaLnBrk="1" latinLnBrk="0" hangingPunct="1">
                        <a:spcBef>
                          <a:spcPts val="600"/>
                        </a:spcBef>
                        <a:buClr>
                          <a:schemeClr val="accent2"/>
                        </a:buClr>
                        <a:buFont typeface="Wingdings" panose="05000000000000000000" pitchFamily="2" charset="2"/>
                        <a:buNone/>
                      </a:pPr>
                      <a:r>
                        <a:rPr lang="en-US" sz="900" b="0" kern="1200">
                          <a:solidFill>
                            <a:schemeClr val="tx1"/>
                          </a:solidFill>
                          <a:latin typeface="Arial" panose="020B0604020202020204" pitchFamily="34" charset="0"/>
                          <a:ea typeface="+mn-ea"/>
                          <a:cs typeface="Arial" panose="020B0604020202020204" pitchFamily="34" charset="0"/>
                        </a:rPr>
                        <a:t>Total</a:t>
                      </a:r>
                      <a:r>
                        <a:rPr lang="en-US" sz="900" b="0" kern="1200" baseline="0">
                          <a:solidFill>
                            <a:schemeClr val="tx1"/>
                          </a:solidFill>
                          <a:latin typeface="Arial" panose="020B0604020202020204" pitchFamily="34" charset="0"/>
                          <a:ea typeface="+mn-ea"/>
                          <a:cs typeface="Arial" panose="020B0604020202020204" pitchFamily="34" charset="0"/>
                        </a:rPr>
                        <a:t> Revenue</a:t>
                      </a:r>
                      <a:endParaRPr lang="en-US" sz="900" b="0" kern="1200">
                        <a:solidFill>
                          <a:schemeClr val="tx1"/>
                        </a:solidFill>
                        <a:latin typeface="Arial" panose="020B0604020202020204" pitchFamily="34" charset="0"/>
                        <a:ea typeface="+mn-ea"/>
                        <a:cs typeface="Arial" panose="020B0604020202020204" pitchFamily="34" charset="0"/>
                      </a:endParaRPr>
                    </a:p>
                  </a:txBody>
                  <a:tcPr marL="274320" marT="0" marB="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600"/>
                        </a:spcBef>
                        <a:spcAft>
                          <a:spcPts val="0"/>
                        </a:spcAft>
                        <a:buClr>
                          <a:schemeClr val="accent2"/>
                        </a:buClr>
                        <a:buSzTx/>
                        <a:buFont typeface="Wingdings" panose="05000000000000000000" pitchFamily="2" charset="2"/>
                        <a:buNone/>
                        <a:tabLst/>
                        <a:defRPr/>
                      </a:pPr>
                      <a:r>
                        <a:rPr lang="en-US" sz="900" b="0" kern="1200" noProof="0" dirty="0">
                          <a:solidFill>
                            <a:schemeClr val="tx1"/>
                          </a:solidFill>
                          <a:latin typeface="Arial" panose="020B0604020202020204" pitchFamily="34" charset="0"/>
                          <a:ea typeface="+mn-ea"/>
                          <a:cs typeface="Arial" panose="020B0604020202020204" pitchFamily="34" charset="0"/>
                        </a:rPr>
                        <a:t>$000,000</a:t>
                      </a:r>
                    </a:p>
                  </a:txBody>
                  <a:tcPr marT="0" marB="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7" name="TextBox 6"/>
          <p:cNvSpPr txBox="1"/>
          <p:nvPr/>
        </p:nvSpPr>
        <p:spPr>
          <a:xfrm>
            <a:off x="806851" y="3866428"/>
            <a:ext cx="7559910" cy="346505"/>
          </a:xfrm>
          <a:prstGeom prst="rect">
            <a:avLst/>
          </a:prstGeom>
          <a:noFill/>
        </p:spPr>
        <p:txBody>
          <a:bodyPr wrap="square" lIns="0" tIns="0" rIns="0" bIns="0" rtlCol="0">
            <a:spAutoFit/>
          </a:bodyPr>
          <a:lstStyle/>
          <a:p>
            <a:pPr algn="ctr">
              <a:lnSpc>
                <a:spcPct val="150000"/>
              </a:lnSpc>
              <a:spcBef>
                <a:spcPts val="750"/>
              </a:spcBef>
              <a:spcAft>
                <a:spcPts val="300"/>
              </a:spcAft>
              <a:buClr>
                <a:srgbClr val="CC0000"/>
              </a:buClr>
              <a:buSzPct val="110000"/>
            </a:pPr>
            <a:r>
              <a:rPr lang="en-US" sz="800" spc="10" dirty="0">
                <a:latin typeface="Arial" panose="020B0604020202020204" pitchFamily="34" charset="0"/>
                <a:cs typeface="Arial" panose="020B0604020202020204" pitchFamily="34" charset="0"/>
              </a:rPr>
              <a:t>Lorem ipsum dolor sit </a:t>
            </a:r>
            <a:r>
              <a:rPr lang="en-US" sz="800" spc="10" dirty="0" err="1">
                <a:latin typeface="Arial" panose="020B0604020202020204" pitchFamily="34" charset="0"/>
                <a:cs typeface="Arial" panose="020B0604020202020204" pitchFamily="34" charset="0"/>
              </a:rPr>
              <a:t>ame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nsectetu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dipiscing</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sed</a:t>
            </a:r>
            <a:r>
              <a:rPr lang="en-US" sz="800" spc="10" dirty="0">
                <a:latin typeface="Arial" panose="020B0604020202020204" pitchFamily="34" charset="0"/>
                <a:cs typeface="Arial" panose="020B0604020202020204" pitchFamily="34" charset="0"/>
              </a:rPr>
              <a:t> do </a:t>
            </a:r>
            <a:r>
              <a:rPr lang="en-US" sz="800" spc="10" dirty="0" err="1">
                <a:latin typeface="Arial" panose="020B0604020202020204" pitchFamily="34" charset="0"/>
                <a:cs typeface="Arial" panose="020B0604020202020204" pitchFamily="34" charset="0"/>
              </a:rPr>
              <a:t>eiusmod</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tempor</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ncididun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labore</a:t>
            </a:r>
            <a:r>
              <a:rPr lang="en-US" sz="800" spc="10" dirty="0">
                <a:latin typeface="Arial" panose="020B0604020202020204" pitchFamily="34" charset="0"/>
                <a:cs typeface="Arial" panose="020B0604020202020204" pitchFamily="34" charset="0"/>
              </a:rPr>
              <a:t> et </a:t>
            </a:r>
            <a:r>
              <a:rPr lang="en-US" sz="800" spc="10" dirty="0" err="1">
                <a:latin typeface="Arial" panose="020B0604020202020204" pitchFamily="34" charset="0"/>
                <a:cs typeface="Arial" panose="020B0604020202020204" pitchFamily="34" charset="0"/>
              </a:rPr>
              <a:t>dolore</a:t>
            </a:r>
            <a:r>
              <a:rPr lang="en-US" sz="800" spc="10" dirty="0">
                <a:latin typeface="Arial" panose="020B0604020202020204" pitchFamily="34" charset="0"/>
                <a:cs typeface="Arial" panose="020B0604020202020204" pitchFamily="34" charset="0"/>
              </a:rPr>
              <a:t> magna </a:t>
            </a:r>
            <a:r>
              <a:rPr lang="en-US" sz="800" spc="10" dirty="0" err="1">
                <a:latin typeface="Arial" panose="020B0604020202020204" pitchFamily="34" charset="0"/>
                <a:cs typeface="Arial" panose="020B0604020202020204" pitchFamily="34" charset="0"/>
              </a:rPr>
              <a:t>aliqua</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nim</a:t>
            </a:r>
            <a:r>
              <a:rPr lang="en-US" sz="800" spc="10" dirty="0">
                <a:latin typeface="Arial" panose="020B0604020202020204" pitchFamily="34" charset="0"/>
                <a:cs typeface="Arial" panose="020B0604020202020204" pitchFamily="34" charset="0"/>
              </a:rPr>
              <a:t> ad minim </a:t>
            </a:r>
            <a:r>
              <a:rPr lang="en-US" sz="800" spc="10" dirty="0" err="1">
                <a:latin typeface="Arial" panose="020B0604020202020204" pitchFamily="34" charset="0"/>
                <a:cs typeface="Arial" panose="020B0604020202020204" pitchFamily="34" charset="0"/>
              </a:rPr>
              <a:t>veniam</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quis</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nostrud</a:t>
            </a:r>
            <a:r>
              <a:rPr lang="en-US" sz="800" spc="10" dirty="0">
                <a:latin typeface="Arial" panose="020B0604020202020204" pitchFamily="34" charset="0"/>
                <a:cs typeface="Arial" panose="020B0604020202020204" pitchFamily="34" charset="0"/>
              </a:rPr>
              <a:t> exercitation </a:t>
            </a:r>
            <a:r>
              <a:rPr lang="en-US" sz="800" spc="10" dirty="0" err="1">
                <a:latin typeface="Arial" panose="020B0604020202020204" pitchFamily="34" charset="0"/>
                <a:cs typeface="Arial" panose="020B0604020202020204" pitchFamily="34" charset="0"/>
              </a:rPr>
              <a:t>ullamco</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laboris</a:t>
            </a:r>
            <a:r>
              <a:rPr lang="en-US" sz="800" spc="10" dirty="0">
                <a:latin typeface="Arial" panose="020B0604020202020204" pitchFamily="34" charset="0"/>
                <a:cs typeface="Arial" panose="020B0604020202020204" pitchFamily="34" charset="0"/>
              </a:rPr>
              <a:t> nisi </a:t>
            </a:r>
            <a:r>
              <a:rPr lang="en-US" sz="800" spc="10" dirty="0" err="1">
                <a:latin typeface="Arial" panose="020B0604020202020204" pitchFamily="34" charset="0"/>
                <a:cs typeface="Arial" panose="020B0604020202020204" pitchFamily="34" charset="0"/>
              </a:rPr>
              <a:t>u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liquip</a:t>
            </a:r>
            <a:r>
              <a:rPr lang="en-US" sz="800" spc="10" dirty="0">
                <a:latin typeface="Arial" panose="020B0604020202020204" pitchFamily="34" charset="0"/>
                <a:cs typeface="Arial" panose="020B0604020202020204" pitchFamily="34" charset="0"/>
              </a:rPr>
              <a:t> ex </a:t>
            </a:r>
            <a:r>
              <a:rPr lang="en-US" sz="800" spc="10" dirty="0" err="1">
                <a:latin typeface="Arial" panose="020B0604020202020204" pitchFamily="34" charset="0"/>
                <a:cs typeface="Arial" panose="020B0604020202020204" pitchFamily="34" charset="0"/>
              </a:rPr>
              <a:t>ea</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mmodo</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onsequa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Duis</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aut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irure</a:t>
            </a:r>
            <a:r>
              <a:rPr lang="en-US" sz="800" spc="10" dirty="0">
                <a:latin typeface="Arial" panose="020B0604020202020204" pitchFamily="34" charset="0"/>
                <a:cs typeface="Arial" panose="020B0604020202020204" pitchFamily="34" charset="0"/>
              </a:rPr>
              <a:t> dolor in </a:t>
            </a:r>
            <a:r>
              <a:rPr lang="en-US" sz="800" spc="10" dirty="0" err="1">
                <a:latin typeface="Arial" panose="020B0604020202020204" pitchFamily="34" charset="0"/>
                <a:cs typeface="Arial" panose="020B0604020202020204" pitchFamily="34" charset="0"/>
              </a:rPr>
              <a:t>reprehenderit</a:t>
            </a:r>
            <a:r>
              <a:rPr lang="en-US" sz="800" spc="10" dirty="0">
                <a:latin typeface="Arial" panose="020B0604020202020204" pitchFamily="34" charset="0"/>
                <a:cs typeface="Arial" panose="020B0604020202020204" pitchFamily="34" charset="0"/>
              </a:rPr>
              <a:t> in </a:t>
            </a:r>
            <a:r>
              <a:rPr lang="en-US" sz="800" spc="10" dirty="0" err="1">
                <a:latin typeface="Arial" panose="020B0604020202020204" pitchFamily="34" charset="0"/>
                <a:cs typeface="Arial" panose="020B0604020202020204" pitchFamily="34" charset="0"/>
              </a:rPr>
              <a:t>voluptat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velit</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esse</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cillum</a:t>
            </a:r>
            <a:r>
              <a:rPr lang="en-US" sz="800" spc="10" dirty="0">
                <a:latin typeface="Arial" panose="020B0604020202020204" pitchFamily="34" charset="0"/>
                <a:cs typeface="Arial" panose="020B0604020202020204" pitchFamily="34" charset="0"/>
              </a:rPr>
              <a:t> </a:t>
            </a:r>
            <a:r>
              <a:rPr lang="en-US" sz="800" spc="10" dirty="0" err="1">
                <a:latin typeface="Arial" panose="020B0604020202020204" pitchFamily="34" charset="0"/>
                <a:cs typeface="Arial" panose="020B0604020202020204" pitchFamily="34" charset="0"/>
              </a:rPr>
              <a:t>dolore</a:t>
            </a:r>
            <a:endParaRPr lang="en-US" sz="800" spc="1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92873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dirty="0">
              <a:solidFill>
                <a:schemeClr val="tx1"/>
              </a:solidFill>
            </a:endParaRPr>
          </a:p>
        </p:txBody>
      </p:sp>
      <p:sp>
        <p:nvSpPr>
          <p:cNvPr id="21" name="Text Placeholder 20"/>
          <p:cNvSpPr>
            <a:spLocks noGrp="1"/>
          </p:cNvSpPr>
          <p:nvPr>
            <p:ph type="body" sz="quarter" idx="17"/>
          </p:nvPr>
        </p:nvSpPr>
        <p:spPr/>
        <p:txBody>
          <a:bodyPr/>
          <a:lstStyle/>
          <a:p>
            <a:r>
              <a:rPr lang="en-US" dirty="0"/>
              <a:t>Features table</a:t>
            </a:r>
          </a:p>
        </p:txBody>
      </p:sp>
      <p:graphicFrame>
        <p:nvGraphicFramePr>
          <p:cNvPr id="5" name="Table 4"/>
          <p:cNvGraphicFramePr>
            <a:graphicFrameLocks noGrp="1"/>
          </p:cNvGraphicFramePr>
          <p:nvPr>
            <p:extLst>
              <p:ext uri="{D42A27DB-BD31-4B8C-83A1-F6EECF244321}">
                <p14:modId xmlns:p14="http://schemas.microsoft.com/office/powerpoint/2010/main" val="2485045554"/>
              </p:ext>
            </p:extLst>
          </p:nvPr>
        </p:nvGraphicFramePr>
        <p:xfrm>
          <a:off x="465188" y="1473573"/>
          <a:ext cx="8219715" cy="2729754"/>
        </p:xfrm>
        <a:graphic>
          <a:graphicData uri="http://schemas.openxmlformats.org/drawingml/2006/table">
            <a:tbl>
              <a:tblPr firstRow="1" bandRow="1">
                <a:tableStyleId>{5C22544A-7EE6-4342-B048-85BDC9FD1C3A}</a:tableStyleId>
              </a:tblPr>
              <a:tblGrid>
                <a:gridCol w="1643943">
                  <a:extLst>
                    <a:ext uri="{9D8B030D-6E8A-4147-A177-3AD203B41FA5}">
                      <a16:colId xmlns:a16="http://schemas.microsoft.com/office/drawing/2014/main" val="20000"/>
                    </a:ext>
                  </a:extLst>
                </a:gridCol>
                <a:gridCol w="1643943">
                  <a:extLst>
                    <a:ext uri="{9D8B030D-6E8A-4147-A177-3AD203B41FA5}">
                      <a16:colId xmlns:a16="http://schemas.microsoft.com/office/drawing/2014/main" val="20001"/>
                    </a:ext>
                  </a:extLst>
                </a:gridCol>
                <a:gridCol w="1643943">
                  <a:extLst>
                    <a:ext uri="{9D8B030D-6E8A-4147-A177-3AD203B41FA5}">
                      <a16:colId xmlns:a16="http://schemas.microsoft.com/office/drawing/2014/main" val="20002"/>
                    </a:ext>
                  </a:extLst>
                </a:gridCol>
                <a:gridCol w="1643943">
                  <a:extLst>
                    <a:ext uri="{9D8B030D-6E8A-4147-A177-3AD203B41FA5}">
                      <a16:colId xmlns:a16="http://schemas.microsoft.com/office/drawing/2014/main" val="20003"/>
                    </a:ext>
                  </a:extLst>
                </a:gridCol>
                <a:gridCol w="1643943">
                  <a:extLst>
                    <a:ext uri="{9D8B030D-6E8A-4147-A177-3AD203B41FA5}">
                      <a16:colId xmlns:a16="http://schemas.microsoft.com/office/drawing/2014/main" val="20004"/>
                    </a:ext>
                  </a:extLst>
                </a:gridCol>
              </a:tblGrid>
              <a:tr h="350064">
                <a:tc>
                  <a:txBody>
                    <a:bodyPr/>
                    <a:lstStyle/>
                    <a:p>
                      <a:pPr marL="0" algn="ctr" defTabSz="914400" rtl="0" eaLnBrk="1" latinLnBrk="0" hangingPunct="1"/>
                      <a:endPar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endParaRP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1</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algn="ctr" defTabSz="914400" rtl="0" eaLnBrk="1" latinLnBrk="0" hangingPunct="1"/>
                      <a:r>
                        <a:rPr lang="en-US" sz="1200" b="0" kern="120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2</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3</a:t>
                      </a:r>
                    </a:p>
                  </a:txBody>
                  <a:tcPr marT="34290" marB="3429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75000"/>
                        <a:lumOff val="25000"/>
                      </a:schemeClr>
                    </a:solidFill>
                  </a:tcPr>
                </a:tc>
                <a:tc>
                  <a:txBody>
                    <a:bodyPr/>
                    <a:lstStyle/>
                    <a:p>
                      <a:pPr marL="0" algn="ctr" defTabSz="914400" rtl="0" eaLnBrk="1" latinLnBrk="0" hangingPunct="1"/>
                      <a:r>
                        <a:rPr lang="en-US" sz="1200" b="0" kern="1200" dirty="0">
                          <a:gradFill>
                            <a:gsLst>
                              <a:gs pos="24583">
                                <a:schemeClr val="bg1"/>
                              </a:gs>
                              <a:gs pos="41000">
                                <a:schemeClr val="bg1"/>
                              </a:gs>
                            </a:gsLst>
                            <a:lin ang="5400000" scaled="0"/>
                          </a:gradFill>
                          <a:latin typeface="Arial" panose="020B0604020202020204" pitchFamily="34" charset="0"/>
                          <a:ea typeface="+mn-ea"/>
                          <a:cs typeface="Arial" panose="020B0604020202020204" pitchFamily="34" charset="0"/>
                        </a:rPr>
                        <a:t>Option 4</a:t>
                      </a:r>
                    </a:p>
                  </a:txBody>
                  <a:tcPr marT="34290" marB="34290" anchor="ctr">
                    <a:lnL w="6350" cap="flat" cmpd="sng" algn="ctr">
                      <a:noFill/>
                      <a:prstDash val="solid"/>
                      <a:round/>
                      <a:headEnd type="none" w="med" len="med"/>
                      <a:tailEnd type="none" w="med" len="med"/>
                    </a:lnL>
                    <a:lnR w="9525"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67676"/>
                    </a:solidFill>
                  </a:tcPr>
                </a:tc>
                <a:extLst>
                  <a:ext uri="{0D108BD9-81ED-4DB2-BD59-A6C34878D82A}">
                    <a16:rowId xmlns:a16="http://schemas.microsoft.com/office/drawing/2014/main" val="10000"/>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A</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17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indent="0" algn="ctr">
                        <a:buFontTx/>
                        <a:buNone/>
                      </a:pPr>
                      <a:endParaRPr lang="en-US" sz="1600" dirty="0">
                        <a:solidFill>
                          <a:schemeClr val="accent2"/>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B</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C</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3"/>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D</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dirty="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4"/>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75938">
                <a:tc>
                  <a:txBody>
                    <a:bodyPr/>
                    <a:lstStyle/>
                    <a:p>
                      <a:pPr algn="ctr"/>
                      <a:r>
                        <a:rPr lang="en-US" sz="1050" b="1" kern="1200">
                          <a:solidFill>
                            <a:schemeClr val="tx1">
                              <a:lumMod val="75000"/>
                            </a:schemeClr>
                          </a:solidFill>
                          <a:latin typeface="Arial" panose="020B0604020202020204" pitchFamily="34" charset="0"/>
                          <a:ea typeface="+mn-ea"/>
                          <a:cs typeface="Arial" panose="020B0604020202020204" pitchFamily="34" charset="0"/>
                        </a:rPr>
                        <a:t>Feature E</a:t>
                      </a:r>
                    </a:p>
                  </a:txBody>
                  <a:tcPr anchor="ct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9D9D9"/>
                    </a:solidFill>
                  </a:tcPr>
                </a:tc>
                <a:tc>
                  <a:txBody>
                    <a:bodyPr/>
                    <a:lstStyle/>
                    <a:p>
                      <a:pPr algn="ctr"/>
                      <a:endParaRPr lang="en-US" sz="1200"/>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a:solidFill>
                          <a:schemeClr val="accent6"/>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endParaRPr lang="en-US" sz="1200" dirty="0">
                        <a:solidFill>
                          <a:schemeClr val="accent5"/>
                        </a:solidFill>
                      </a:endParaRPr>
                    </a:p>
                  </a:txBody>
                  <a:tcPr anchor="ctr">
                    <a:lnL w="635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5"/>
                  </a:ext>
                </a:extLst>
              </a:tr>
            </a:tbl>
          </a:graphicData>
        </a:graphic>
      </p:graphicFrame>
      <p:grpSp>
        <p:nvGrpSpPr>
          <p:cNvPr id="6" name="Group 5"/>
          <p:cNvGrpSpPr/>
          <p:nvPr/>
        </p:nvGrpSpPr>
        <p:grpSpPr>
          <a:xfrm>
            <a:off x="2799466" y="1944176"/>
            <a:ext cx="258680" cy="258680"/>
            <a:chOff x="6766685" y="7662953"/>
            <a:chExt cx="540406" cy="540406"/>
          </a:xfrm>
          <a:solidFill>
            <a:schemeClr val="accent2"/>
          </a:solidFill>
        </p:grpSpPr>
        <p:sp>
          <p:nvSpPr>
            <p:cNvPr id="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 name="Group 8"/>
          <p:cNvGrpSpPr/>
          <p:nvPr/>
        </p:nvGrpSpPr>
        <p:grpSpPr>
          <a:xfrm>
            <a:off x="4442661" y="1944176"/>
            <a:ext cx="258680" cy="258680"/>
            <a:chOff x="6766685" y="7662953"/>
            <a:chExt cx="540406" cy="540406"/>
          </a:xfrm>
          <a:solidFill>
            <a:schemeClr val="accent1"/>
          </a:solidFill>
        </p:grpSpPr>
        <p:sp>
          <p:nvSpPr>
            <p:cNvPr id="10"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2" name="Group 11"/>
          <p:cNvGrpSpPr/>
          <p:nvPr/>
        </p:nvGrpSpPr>
        <p:grpSpPr>
          <a:xfrm>
            <a:off x="4442661" y="2401376"/>
            <a:ext cx="258680" cy="258680"/>
            <a:chOff x="6766685" y="7662953"/>
            <a:chExt cx="540406" cy="540406"/>
          </a:xfrm>
          <a:solidFill>
            <a:schemeClr val="accent1"/>
          </a:solidFill>
        </p:grpSpPr>
        <p:sp>
          <p:nvSpPr>
            <p:cNvPr id="1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 name="Group 14"/>
          <p:cNvGrpSpPr/>
          <p:nvPr/>
        </p:nvGrpSpPr>
        <p:grpSpPr>
          <a:xfrm>
            <a:off x="6085856" y="1944176"/>
            <a:ext cx="258680" cy="258680"/>
            <a:chOff x="6766685" y="7662953"/>
            <a:chExt cx="540406" cy="540406"/>
          </a:xfrm>
          <a:solidFill>
            <a:schemeClr val="accent4"/>
          </a:solidFill>
        </p:grpSpPr>
        <p:sp>
          <p:nvSpPr>
            <p:cNvPr id="16"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 name="Group 17"/>
          <p:cNvGrpSpPr/>
          <p:nvPr/>
        </p:nvGrpSpPr>
        <p:grpSpPr>
          <a:xfrm>
            <a:off x="6085856" y="2408996"/>
            <a:ext cx="258680" cy="258680"/>
            <a:chOff x="6766685" y="7662953"/>
            <a:chExt cx="540406" cy="540406"/>
          </a:xfrm>
          <a:solidFill>
            <a:schemeClr val="accent4"/>
          </a:solidFill>
        </p:grpSpPr>
        <p:sp>
          <p:nvSpPr>
            <p:cNvPr id="19"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 name="Group 23"/>
          <p:cNvGrpSpPr/>
          <p:nvPr/>
        </p:nvGrpSpPr>
        <p:grpSpPr>
          <a:xfrm>
            <a:off x="6085856" y="3372926"/>
            <a:ext cx="258680" cy="258680"/>
            <a:chOff x="6766685" y="7662953"/>
            <a:chExt cx="540406" cy="540406"/>
          </a:xfrm>
          <a:solidFill>
            <a:schemeClr val="accent4"/>
          </a:solidFill>
        </p:grpSpPr>
        <p:sp>
          <p:nvSpPr>
            <p:cNvPr id="25"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7" name="Group 26"/>
          <p:cNvGrpSpPr/>
          <p:nvPr/>
        </p:nvGrpSpPr>
        <p:grpSpPr>
          <a:xfrm>
            <a:off x="7759229" y="1944176"/>
            <a:ext cx="258680" cy="258680"/>
            <a:chOff x="6766685" y="7662953"/>
            <a:chExt cx="540406" cy="540406"/>
          </a:xfrm>
          <a:solidFill>
            <a:schemeClr val="accent5"/>
          </a:solidFill>
        </p:grpSpPr>
        <p:sp>
          <p:nvSpPr>
            <p:cNvPr id="28"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0" name="Group 29"/>
          <p:cNvGrpSpPr/>
          <p:nvPr/>
        </p:nvGrpSpPr>
        <p:grpSpPr>
          <a:xfrm>
            <a:off x="7759229" y="2408996"/>
            <a:ext cx="258680" cy="258680"/>
            <a:chOff x="6766685" y="7662953"/>
            <a:chExt cx="540406" cy="540406"/>
          </a:xfrm>
          <a:solidFill>
            <a:schemeClr val="accent5"/>
          </a:solidFill>
        </p:grpSpPr>
        <p:sp>
          <p:nvSpPr>
            <p:cNvPr id="31"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3" name="Group 32"/>
          <p:cNvGrpSpPr/>
          <p:nvPr/>
        </p:nvGrpSpPr>
        <p:grpSpPr>
          <a:xfrm>
            <a:off x="7759229" y="2881436"/>
            <a:ext cx="258680" cy="258680"/>
            <a:chOff x="6766685" y="7662953"/>
            <a:chExt cx="540406" cy="540406"/>
          </a:xfrm>
          <a:solidFill>
            <a:schemeClr val="accent5"/>
          </a:solidFill>
        </p:grpSpPr>
        <p:sp>
          <p:nvSpPr>
            <p:cNvPr id="34"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6" name="Group 35"/>
          <p:cNvGrpSpPr/>
          <p:nvPr/>
        </p:nvGrpSpPr>
        <p:grpSpPr>
          <a:xfrm>
            <a:off x="7759229" y="3372926"/>
            <a:ext cx="258680" cy="258680"/>
            <a:chOff x="6766685" y="7662953"/>
            <a:chExt cx="540406" cy="540406"/>
          </a:xfrm>
          <a:solidFill>
            <a:schemeClr val="accent5"/>
          </a:solidFill>
        </p:grpSpPr>
        <p:sp>
          <p:nvSpPr>
            <p:cNvPr id="37"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p:nvPr/>
        </p:nvGrpSpPr>
        <p:grpSpPr>
          <a:xfrm>
            <a:off x="7761507" y="3833913"/>
            <a:ext cx="258680" cy="258680"/>
            <a:chOff x="6766685" y="7662953"/>
            <a:chExt cx="540406" cy="540406"/>
          </a:xfrm>
          <a:solidFill>
            <a:schemeClr val="accent5"/>
          </a:solidFill>
        </p:grpSpPr>
        <p:sp>
          <p:nvSpPr>
            <p:cNvPr id="43" name="Freeform 509"/>
            <p:cNvSpPr>
              <a:spLocks noEditPoints="1"/>
            </p:cNvSpPr>
            <p:nvPr/>
          </p:nvSpPr>
          <p:spPr bwMode="auto">
            <a:xfrm>
              <a:off x="6766685" y="7662953"/>
              <a:ext cx="540406" cy="540406"/>
            </a:xfrm>
            <a:custGeom>
              <a:avLst/>
              <a:gdLst>
                <a:gd name="T0" fmla="*/ 335 w 791"/>
                <a:gd name="T1" fmla="*/ 785 h 790"/>
                <a:gd name="T2" fmla="*/ 242 w 791"/>
                <a:gd name="T3" fmla="*/ 759 h 790"/>
                <a:gd name="T4" fmla="*/ 159 w 791"/>
                <a:gd name="T5" fmla="*/ 711 h 790"/>
                <a:gd name="T6" fmla="*/ 90 w 791"/>
                <a:gd name="T7" fmla="*/ 645 h 790"/>
                <a:gd name="T8" fmla="*/ 39 w 791"/>
                <a:gd name="T9" fmla="*/ 566 h 790"/>
                <a:gd name="T10" fmla="*/ 9 w 791"/>
                <a:gd name="T11" fmla="*/ 474 h 790"/>
                <a:gd name="T12" fmla="*/ 0 w 791"/>
                <a:gd name="T13" fmla="*/ 395 h 790"/>
                <a:gd name="T14" fmla="*/ 13 w 791"/>
                <a:gd name="T15" fmla="*/ 296 h 790"/>
                <a:gd name="T16" fmla="*/ 48 w 791"/>
                <a:gd name="T17" fmla="*/ 206 h 790"/>
                <a:gd name="T18" fmla="*/ 103 w 791"/>
                <a:gd name="T19" fmla="*/ 129 h 790"/>
                <a:gd name="T20" fmla="*/ 175 w 791"/>
                <a:gd name="T21" fmla="*/ 67 h 790"/>
                <a:gd name="T22" fmla="*/ 260 w 791"/>
                <a:gd name="T23" fmla="*/ 23 h 790"/>
                <a:gd name="T24" fmla="*/ 355 w 791"/>
                <a:gd name="T25" fmla="*/ 1 h 790"/>
                <a:gd name="T26" fmla="*/ 436 w 791"/>
                <a:gd name="T27" fmla="*/ 1 h 790"/>
                <a:gd name="T28" fmla="*/ 531 w 791"/>
                <a:gd name="T29" fmla="*/ 23 h 790"/>
                <a:gd name="T30" fmla="*/ 616 w 791"/>
                <a:gd name="T31" fmla="*/ 67 h 790"/>
                <a:gd name="T32" fmla="*/ 688 w 791"/>
                <a:gd name="T33" fmla="*/ 129 h 790"/>
                <a:gd name="T34" fmla="*/ 743 w 791"/>
                <a:gd name="T35" fmla="*/ 206 h 790"/>
                <a:gd name="T36" fmla="*/ 779 w 791"/>
                <a:gd name="T37" fmla="*/ 296 h 790"/>
                <a:gd name="T38" fmla="*/ 791 w 791"/>
                <a:gd name="T39" fmla="*/ 395 h 790"/>
                <a:gd name="T40" fmla="*/ 783 w 791"/>
                <a:gd name="T41" fmla="*/ 474 h 790"/>
                <a:gd name="T42" fmla="*/ 751 w 791"/>
                <a:gd name="T43" fmla="*/ 566 h 790"/>
                <a:gd name="T44" fmla="*/ 700 w 791"/>
                <a:gd name="T45" fmla="*/ 645 h 790"/>
                <a:gd name="T46" fmla="*/ 632 w 791"/>
                <a:gd name="T47" fmla="*/ 711 h 790"/>
                <a:gd name="T48" fmla="*/ 549 w 791"/>
                <a:gd name="T49" fmla="*/ 759 h 790"/>
                <a:gd name="T50" fmla="*/ 456 w 791"/>
                <a:gd name="T51" fmla="*/ 785 h 790"/>
                <a:gd name="T52" fmla="*/ 395 w 791"/>
                <a:gd name="T53" fmla="*/ 52 h 790"/>
                <a:gd name="T54" fmla="*/ 327 w 791"/>
                <a:gd name="T55" fmla="*/ 59 h 790"/>
                <a:gd name="T56" fmla="*/ 247 w 791"/>
                <a:gd name="T57" fmla="*/ 86 h 790"/>
                <a:gd name="T58" fmla="*/ 178 w 791"/>
                <a:gd name="T59" fmla="*/ 130 h 790"/>
                <a:gd name="T60" fmla="*/ 122 w 791"/>
                <a:gd name="T61" fmla="*/ 190 h 790"/>
                <a:gd name="T62" fmla="*/ 80 w 791"/>
                <a:gd name="T63" fmla="*/ 261 h 790"/>
                <a:gd name="T64" fmla="*/ 58 w 791"/>
                <a:gd name="T65" fmla="*/ 343 h 790"/>
                <a:gd name="T66" fmla="*/ 54 w 791"/>
                <a:gd name="T67" fmla="*/ 412 h 790"/>
                <a:gd name="T68" fmla="*/ 68 w 791"/>
                <a:gd name="T69" fmla="*/ 496 h 790"/>
                <a:gd name="T70" fmla="*/ 103 w 791"/>
                <a:gd name="T71" fmla="*/ 571 h 790"/>
                <a:gd name="T72" fmla="*/ 153 w 791"/>
                <a:gd name="T73" fmla="*/ 637 h 790"/>
                <a:gd name="T74" fmla="*/ 219 w 791"/>
                <a:gd name="T75" fmla="*/ 687 h 790"/>
                <a:gd name="T76" fmla="*/ 294 w 791"/>
                <a:gd name="T77" fmla="*/ 722 h 790"/>
                <a:gd name="T78" fmla="*/ 378 w 791"/>
                <a:gd name="T79" fmla="*/ 736 h 790"/>
                <a:gd name="T80" fmla="*/ 448 w 791"/>
                <a:gd name="T81" fmla="*/ 732 h 790"/>
                <a:gd name="T82" fmla="*/ 529 w 791"/>
                <a:gd name="T83" fmla="*/ 710 h 790"/>
                <a:gd name="T84" fmla="*/ 600 w 791"/>
                <a:gd name="T85" fmla="*/ 668 h 790"/>
                <a:gd name="T86" fmla="*/ 660 w 791"/>
                <a:gd name="T87" fmla="*/ 612 h 790"/>
                <a:gd name="T88" fmla="*/ 704 w 791"/>
                <a:gd name="T89" fmla="*/ 543 h 790"/>
                <a:gd name="T90" fmla="*/ 731 w 791"/>
                <a:gd name="T91" fmla="*/ 463 h 790"/>
                <a:gd name="T92" fmla="*/ 738 w 791"/>
                <a:gd name="T93" fmla="*/ 395 h 790"/>
                <a:gd name="T94" fmla="*/ 728 w 791"/>
                <a:gd name="T95" fmla="*/ 309 h 790"/>
                <a:gd name="T96" fmla="*/ 697 w 791"/>
                <a:gd name="T97" fmla="*/ 232 h 790"/>
                <a:gd name="T98" fmla="*/ 649 w 791"/>
                <a:gd name="T99" fmla="*/ 164 h 790"/>
                <a:gd name="T100" fmla="*/ 587 w 791"/>
                <a:gd name="T101" fmla="*/ 111 h 790"/>
                <a:gd name="T102" fmla="*/ 513 w 791"/>
                <a:gd name="T103" fmla="*/ 72 h 790"/>
                <a:gd name="T104" fmla="*/ 430 w 791"/>
                <a:gd name="T105" fmla="*/ 54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1" h="790">
                  <a:moveTo>
                    <a:pt x="395" y="790"/>
                  </a:moveTo>
                  <a:lnTo>
                    <a:pt x="395" y="790"/>
                  </a:lnTo>
                  <a:lnTo>
                    <a:pt x="376" y="789"/>
                  </a:lnTo>
                  <a:lnTo>
                    <a:pt x="355" y="788"/>
                  </a:lnTo>
                  <a:lnTo>
                    <a:pt x="335" y="785"/>
                  </a:lnTo>
                  <a:lnTo>
                    <a:pt x="316" y="782"/>
                  </a:lnTo>
                  <a:lnTo>
                    <a:pt x="297" y="777"/>
                  </a:lnTo>
                  <a:lnTo>
                    <a:pt x="278" y="772"/>
                  </a:lnTo>
                  <a:lnTo>
                    <a:pt x="260" y="766"/>
                  </a:lnTo>
                  <a:lnTo>
                    <a:pt x="242" y="759"/>
                  </a:lnTo>
                  <a:lnTo>
                    <a:pt x="224" y="751"/>
                  </a:lnTo>
                  <a:lnTo>
                    <a:pt x="207" y="742"/>
                  </a:lnTo>
                  <a:lnTo>
                    <a:pt x="190" y="732"/>
                  </a:lnTo>
                  <a:lnTo>
                    <a:pt x="175" y="722"/>
                  </a:lnTo>
                  <a:lnTo>
                    <a:pt x="159" y="711"/>
                  </a:lnTo>
                  <a:lnTo>
                    <a:pt x="145" y="700"/>
                  </a:lnTo>
                  <a:lnTo>
                    <a:pt x="129" y="687"/>
                  </a:lnTo>
                  <a:lnTo>
                    <a:pt x="116" y="674"/>
                  </a:lnTo>
                  <a:lnTo>
                    <a:pt x="103" y="661"/>
                  </a:lnTo>
                  <a:lnTo>
                    <a:pt x="90" y="645"/>
                  </a:lnTo>
                  <a:lnTo>
                    <a:pt x="79" y="631"/>
                  </a:lnTo>
                  <a:lnTo>
                    <a:pt x="67" y="615"/>
                  </a:lnTo>
                  <a:lnTo>
                    <a:pt x="58" y="600"/>
                  </a:lnTo>
                  <a:lnTo>
                    <a:pt x="48" y="582"/>
                  </a:lnTo>
                  <a:lnTo>
                    <a:pt x="39" y="566"/>
                  </a:lnTo>
                  <a:lnTo>
                    <a:pt x="31" y="548"/>
                  </a:lnTo>
                  <a:lnTo>
                    <a:pt x="24" y="530"/>
                  </a:lnTo>
                  <a:lnTo>
                    <a:pt x="18" y="511"/>
                  </a:lnTo>
                  <a:lnTo>
                    <a:pt x="13" y="493"/>
                  </a:lnTo>
                  <a:lnTo>
                    <a:pt x="9" y="474"/>
                  </a:lnTo>
                  <a:lnTo>
                    <a:pt x="5" y="455"/>
                  </a:lnTo>
                  <a:lnTo>
                    <a:pt x="2" y="435"/>
                  </a:lnTo>
                  <a:lnTo>
                    <a:pt x="1" y="414"/>
                  </a:lnTo>
                  <a:lnTo>
                    <a:pt x="0" y="395"/>
                  </a:lnTo>
                  <a:lnTo>
                    <a:pt x="0" y="395"/>
                  </a:lnTo>
                  <a:lnTo>
                    <a:pt x="1" y="374"/>
                  </a:lnTo>
                  <a:lnTo>
                    <a:pt x="2" y="355"/>
                  </a:lnTo>
                  <a:lnTo>
                    <a:pt x="5" y="334"/>
                  </a:lnTo>
                  <a:lnTo>
                    <a:pt x="9" y="315"/>
                  </a:lnTo>
                  <a:lnTo>
                    <a:pt x="13" y="296"/>
                  </a:lnTo>
                  <a:lnTo>
                    <a:pt x="18" y="277"/>
                  </a:lnTo>
                  <a:lnTo>
                    <a:pt x="24" y="259"/>
                  </a:lnTo>
                  <a:lnTo>
                    <a:pt x="31" y="240"/>
                  </a:lnTo>
                  <a:lnTo>
                    <a:pt x="39" y="223"/>
                  </a:lnTo>
                  <a:lnTo>
                    <a:pt x="48" y="206"/>
                  </a:lnTo>
                  <a:lnTo>
                    <a:pt x="58" y="189"/>
                  </a:lnTo>
                  <a:lnTo>
                    <a:pt x="67" y="174"/>
                  </a:lnTo>
                  <a:lnTo>
                    <a:pt x="79" y="159"/>
                  </a:lnTo>
                  <a:lnTo>
                    <a:pt x="90" y="143"/>
                  </a:lnTo>
                  <a:lnTo>
                    <a:pt x="103" y="129"/>
                  </a:lnTo>
                  <a:lnTo>
                    <a:pt x="116" y="115"/>
                  </a:lnTo>
                  <a:lnTo>
                    <a:pt x="129" y="102"/>
                  </a:lnTo>
                  <a:lnTo>
                    <a:pt x="145" y="90"/>
                  </a:lnTo>
                  <a:lnTo>
                    <a:pt x="159" y="78"/>
                  </a:lnTo>
                  <a:lnTo>
                    <a:pt x="175" y="67"/>
                  </a:lnTo>
                  <a:lnTo>
                    <a:pt x="190" y="56"/>
                  </a:lnTo>
                  <a:lnTo>
                    <a:pt x="207" y="46"/>
                  </a:lnTo>
                  <a:lnTo>
                    <a:pt x="224" y="38"/>
                  </a:lnTo>
                  <a:lnTo>
                    <a:pt x="242" y="30"/>
                  </a:lnTo>
                  <a:lnTo>
                    <a:pt x="260" y="23"/>
                  </a:lnTo>
                  <a:lnTo>
                    <a:pt x="278" y="17"/>
                  </a:lnTo>
                  <a:lnTo>
                    <a:pt x="297" y="12"/>
                  </a:lnTo>
                  <a:lnTo>
                    <a:pt x="316" y="7"/>
                  </a:lnTo>
                  <a:lnTo>
                    <a:pt x="335" y="4"/>
                  </a:lnTo>
                  <a:lnTo>
                    <a:pt x="355" y="1"/>
                  </a:lnTo>
                  <a:lnTo>
                    <a:pt x="376" y="0"/>
                  </a:lnTo>
                  <a:lnTo>
                    <a:pt x="395" y="0"/>
                  </a:lnTo>
                  <a:lnTo>
                    <a:pt x="395" y="0"/>
                  </a:lnTo>
                  <a:lnTo>
                    <a:pt x="416" y="0"/>
                  </a:lnTo>
                  <a:lnTo>
                    <a:pt x="436" y="1"/>
                  </a:lnTo>
                  <a:lnTo>
                    <a:pt x="456" y="4"/>
                  </a:lnTo>
                  <a:lnTo>
                    <a:pt x="475" y="7"/>
                  </a:lnTo>
                  <a:lnTo>
                    <a:pt x="494" y="12"/>
                  </a:lnTo>
                  <a:lnTo>
                    <a:pt x="513" y="17"/>
                  </a:lnTo>
                  <a:lnTo>
                    <a:pt x="531" y="23"/>
                  </a:lnTo>
                  <a:lnTo>
                    <a:pt x="549" y="30"/>
                  </a:lnTo>
                  <a:lnTo>
                    <a:pt x="567" y="38"/>
                  </a:lnTo>
                  <a:lnTo>
                    <a:pt x="584" y="46"/>
                  </a:lnTo>
                  <a:lnTo>
                    <a:pt x="600" y="56"/>
                  </a:lnTo>
                  <a:lnTo>
                    <a:pt x="616" y="67"/>
                  </a:lnTo>
                  <a:lnTo>
                    <a:pt x="632" y="78"/>
                  </a:lnTo>
                  <a:lnTo>
                    <a:pt x="647" y="90"/>
                  </a:lnTo>
                  <a:lnTo>
                    <a:pt x="661" y="102"/>
                  </a:lnTo>
                  <a:lnTo>
                    <a:pt x="675" y="115"/>
                  </a:lnTo>
                  <a:lnTo>
                    <a:pt x="688" y="129"/>
                  </a:lnTo>
                  <a:lnTo>
                    <a:pt x="700" y="143"/>
                  </a:lnTo>
                  <a:lnTo>
                    <a:pt x="712" y="159"/>
                  </a:lnTo>
                  <a:lnTo>
                    <a:pt x="723" y="174"/>
                  </a:lnTo>
                  <a:lnTo>
                    <a:pt x="734" y="189"/>
                  </a:lnTo>
                  <a:lnTo>
                    <a:pt x="743" y="206"/>
                  </a:lnTo>
                  <a:lnTo>
                    <a:pt x="751" y="223"/>
                  </a:lnTo>
                  <a:lnTo>
                    <a:pt x="760" y="240"/>
                  </a:lnTo>
                  <a:lnTo>
                    <a:pt x="767" y="259"/>
                  </a:lnTo>
                  <a:lnTo>
                    <a:pt x="773" y="277"/>
                  </a:lnTo>
                  <a:lnTo>
                    <a:pt x="779" y="296"/>
                  </a:lnTo>
                  <a:lnTo>
                    <a:pt x="783" y="315"/>
                  </a:lnTo>
                  <a:lnTo>
                    <a:pt x="786" y="334"/>
                  </a:lnTo>
                  <a:lnTo>
                    <a:pt x="789" y="355"/>
                  </a:lnTo>
                  <a:lnTo>
                    <a:pt x="791" y="374"/>
                  </a:lnTo>
                  <a:lnTo>
                    <a:pt x="791" y="395"/>
                  </a:lnTo>
                  <a:lnTo>
                    <a:pt x="791" y="395"/>
                  </a:lnTo>
                  <a:lnTo>
                    <a:pt x="791" y="414"/>
                  </a:lnTo>
                  <a:lnTo>
                    <a:pt x="789" y="435"/>
                  </a:lnTo>
                  <a:lnTo>
                    <a:pt x="786" y="455"/>
                  </a:lnTo>
                  <a:lnTo>
                    <a:pt x="783" y="474"/>
                  </a:lnTo>
                  <a:lnTo>
                    <a:pt x="779" y="493"/>
                  </a:lnTo>
                  <a:lnTo>
                    <a:pt x="773" y="511"/>
                  </a:lnTo>
                  <a:lnTo>
                    <a:pt x="767" y="530"/>
                  </a:lnTo>
                  <a:lnTo>
                    <a:pt x="760" y="548"/>
                  </a:lnTo>
                  <a:lnTo>
                    <a:pt x="751" y="566"/>
                  </a:lnTo>
                  <a:lnTo>
                    <a:pt x="743" y="582"/>
                  </a:lnTo>
                  <a:lnTo>
                    <a:pt x="734" y="600"/>
                  </a:lnTo>
                  <a:lnTo>
                    <a:pt x="723" y="615"/>
                  </a:lnTo>
                  <a:lnTo>
                    <a:pt x="712" y="631"/>
                  </a:lnTo>
                  <a:lnTo>
                    <a:pt x="700" y="645"/>
                  </a:lnTo>
                  <a:lnTo>
                    <a:pt x="688" y="661"/>
                  </a:lnTo>
                  <a:lnTo>
                    <a:pt x="675" y="674"/>
                  </a:lnTo>
                  <a:lnTo>
                    <a:pt x="661" y="687"/>
                  </a:lnTo>
                  <a:lnTo>
                    <a:pt x="647" y="700"/>
                  </a:lnTo>
                  <a:lnTo>
                    <a:pt x="632" y="711"/>
                  </a:lnTo>
                  <a:lnTo>
                    <a:pt x="616" y="722"/>
                  </a:lnTo>
                  <a:lnTo>
                    <a:pt x="600" y="732"/>
                  </a:lnTo>
                  <a:lnTo>
                    <a:pt x="584" y="742"/>
                  </a:lnTo>
                  <a:lnTo>
                    <a:pt x="567" y="751"/>
                  </a:lnTo>
                  <a:lnTo>
                    <a:pt x="549" y="759"/>
                  </a:lnTo>
                  <a:lnTo>
                    <a:pt x="531" y="766"/>
                  </a:lnTo>
                  <a:lnTo>
                    <a:pt x="513" y="772"/>
                  </a:lnTo>
                  <a:lnTo>
                    <a:pt x="494" y="777"/>
                  </a:lnTo>
                  <a:lnTo>
                    <a:pt x="475" y="782"/>
                  </a:lnTo>
                  <a:lnTo>
                    <a:pt x="456" y="785"/>
                  </a:lnTo>
                  <a:lnTo>
                    <a:pt x="436" y="788"/>
                  </a:lnTo>
                  <a:lnTo>
                    <a:pt x="416" y="789"/>
                  </a:lnTo>
                  <a:lnTo>
                    <a:pt x="395" y="790"/>
                  </a:lnTo>
                  <a:lnTo>
                    <a:pt x="395" y="790"/>
                  </a:lnTo>
                  <a:close/>
                  <a:moveTo>
                    <a:pt x="395" y="52"/>
                  </a:moveTo>
                  <a:lnTo>
                    <a:pt x="395" y="52"/>
                  </a:lnTo>
                  <a:lnTo>
                    <a:pt x="378" y="53"/>
                  </a:lnTo>
                  <a:lnTo>
                    <a:pt x="360" y="54"/>
                  </a:lnTo>
                  <a:lnTo>
                    <a:pt x="344" y="56"/>
                  </a:lnTo>
                  <a:lnTo>
                    <a:pt x="327" y="59"/>
                  </a:lnTo>
                  <a:lnTo>
                    <a:pt x="310" y="63"/>
                  </a:lnTo>
                  <a:lnTo>
                    <a:pt x="294" y="68"/>
                  </a:lnTo>
                  <a:lnTo>
                    <a:pt x="278" y="72"/>
                  </a:lnTo>
                  <a:lnTo>
                    <a:pt x="262" y="79"/>
                  </a:lnTo>
                  <a:lnTo>
                    <a:pt x="247" y="86"/>
                  </a:lnTo>
                  <a:lnTo>
                    <a:pt x="233" y="93"/>
                  </a:lnTo>
                  <a:lnTo>
                    <a:pt x="219" y="102"/>
                  </a:lnTo>
                  <a:lnTo>
                    <a:pt x="205" y="111"/>
                  </a:lnTo>
                  <a:lnTo>
                    <a:pt x="190" y="120"/>
                  </a:lnTo>
                  <a:lnTo>
                    <a:pt x="178" y="130"/>
                  </a:lnTo>
                  <a:lnTo>
                    <a:pt x="165" y="141"/>
                  </a:lnTo>
                  <a:lnTo>
                    <a:pt x="153" y="153"/>
                  </a:lnTo>
                  <a:lnTo>
                    <a:pt x="143" y="164"/>
                  </a:lnTo>
                  <a:lnTo>
                    <a:pt x="132" y="177"/>
                  </a:lnTo>
                  <a:lnTo>
                    <a:pt x="122" y="190"/>
                  </a:lnTo>
                  <a:lnTo>
                    <a:pt x="112" y="203"/>
                  </a:lnTo>
                  <a:lnTo>
                    <a:pt x="103" y="217"/>
                  </a:lnTo>
                  <a:lnTo>
                    <a:pt x="95" y="232"/>
                  </a:lnTo>
                  <a:lnTo>
                    <a:pt x="87" y="246"/>
                  </a:lnTo>
                  <a:lnTo>
                    <a:pt x="80" y="261"/>
                  </a:lnTo>
                  <a:lnTo>
                    <a:pt x="74" y="277"/>
                  </a:lnTo>
                  <a:lnTo>
                    <a:pt x="68" y="292"/>
                  </a:lnTo>
                  <a:lnTo>
                    <a:pt x="64" y="309"/>
                  </a:lnTo>
                  <a:lnTo>
                    <a:pt x="61" y="325"/>
                  </a:lnTo>
                  <a:lnTo>
                    <a:pt x="58" y="343"/>
                  </a:lnTo>
                  <a:lnTo>
                    <a:pt x="55" y="359"/>
                  </a:lnTo>
                  <a:lnTo>
                    <a:pt x="54" y="376"/>
                  </a:lnTo>
                  <a:lnTo>
                    <a:pt x="53" y="395"/>
                  </a:lnTo>
                  <a:lnTo>
                    <a:pt x="53" y="395"/>
                  </a:lnTo>
                  <a:lnTo>
                    <a:pt x="54" y="412"/>
                  </a:lnTo>
                  <a:lnTo>
                    <a:pt x="55" y="430"/>
                  </a:lnTo>
                  <a:lnTo>
                    <a:pt x="58" y="446"/>
                  </a:lnTo>
                  <a:lnTo>
                    <a:pt x="61" y="463"/>
                  </a:lnTo>
                  <a:lnTo>
                    <a:pt x="64" y="480"/>
                  </a:lnTo>
                  <a:lnTo>
                    <a:pt x="68" y="496"/>
                  </a:lnTo>
                  <a:lnTo>
                    <a:pt x="74" y="511"/>
                  </a:lnTo>
                  <a:lnTo>
                    <a:pt x="80" y="528"/>
                  </a:lnTo>
                  <a:lnTo>
                    <a:pt x="87" y="543"/>
                  </a:lnTo>
                  <a:lnTo>
                    <a:pt x="95" y="557"/>
                  </a:lnTo>
                  <a:lnTo>
                    <a:pt x="103" y="571"/>
                  </a:lnTo>
                  <a:lnTo>
                    <a:pt x="112" y="585"/>
                  </a:lnTo>
                  <a:lnTo>
                    <a:pt x="122" y="599"/>
                  </a:lnTo>
                  <a:lnTo>
                    <a:pt x="132" y="612"/>
                  </a:lnTo>
                  <a:lnTo>
                    <a:pt x="143" y="625"/>
                  </a:lnTo>
                  <a:lnTo>
                    <a:pt x="153" y="637"/>
                  </a:lnTo>
                  <a:lnTo>
                    <a:pt x="165" y="648"/>
                  </a:lnTo>
                  <a:lnTo>
                    <a:pt x="178" y="658"/>
                  </a:lnTo>
                  <a:lnTo>
                    <a:pt x="190" y="668"/>
                  </a:lnTo>
                  <a:lnTo>
                    <a:pt x="205" y="678"/>
                  </a:lnTo>
                  <a:lnTo>
                    <a:pt x="219" y="687"/>
                  </a:lnTo>
                  <a:lnTo>
                    <a:pt x="233" y="695"/>
                  </a:lnTo>
                  <a:lnTo>
                    <a:pt x="247" y="703"/>
                  </a:lnTo>
                  <a:lnTo>
                    <a:pt x="262" y="710"/>
                  </a:lnTo>
                  <a:lnTo>
                    <a:pt x="278" y="716"/>
                  </a:lnTo>
                  <a:lnTo>
                    <a:pt x="294" y="722"/>
                  </a:lnTo>
                  <a:lnTo>
                    <a:pt x="310" y="726"/>
                  </a:lnTo>
                  <a:lnTo>
                    <a:pt x="327" y="729"/>
                  </a:lnTo>
                  <a:lnTo>
                    <a:pt x="344" y="732"/>
                  </a:lnTo>
                  <a:lnTo>
                    <a:pt x="360" y="735"/>
                  </a:lnTo>
                  <a:lnTo>
                    <a:pt x="378" y="736"/>
                  </a:lnTo>
                  <a:lnTo>
                    <a:pt x="395" y="737"/>
                  </a:lnTo>
                  <a:lnTo>
                    <a:pt x="395" y="737"/>
                  </a:lnTo>
                  <a:lnTo>
                    <a:pt x="413" y="736"/>
                  </a:lnTo>
                  <a:lnTo>
                    <a:pt x="430" y="735"/>
                  </a:lnTo>
                  <a:lnTo>
                    <a:pt x="448" y="732"/>
                  </a:lnTo>
                  <a:lnTo>
                    <a:pt x="465" y="729"/>
                  </a:lnTo>
                  <a:lnTo>
                    <a:pt x="481" y="726"/>
                  </a:lnTo>
                  <a:lnTo>
                    <a:pt x="498" y="722"/>
                  </a:lnTo>
                  <a:lnTo>
                    <a:pt x="513" y="716"/>
                  </a:lnTo>
                  <a:lnTo>
                    <a:pt x="529" y="710"/>
                  </a:lnTo>
                  <a:lnTo>
                    <a:pt x="543" y="703"/>
                  </a:lnTo>
                  <a:lnTo>
                    <a:pt x="559" y="695"/>
                  </a:lnTo>
                  <a:lnTo>
                    <a:pt x="573" y="687"/>
                  </a:lnTo>
                  <a:lnTo>
                    <a:pt x="587" y="678"/>
                  </a:lnTo>
                  <a:lnTo>
                    <a:pt x="600" y="668"/>
                  </a:lnTo>
                  <a:lnTo>
                    <a:pt x="613" y="658"/>
                  </a:lnTo>
                  <a:lnTo>
                    <a:pt x="625" y="648"/>
                  </a:lnTo>
                  <a:lnTo>
                    <a:pt x="637" y="637"/>
                  </a:lnTo>
                  <a:lnTo>
                    <a:pt x="649" y="625"/>
                  </a:lnTo>
                  <a:lnTo>
                    <a:pt x="660" y="612"/>
                  </a:lnTo>
                  <a:lnTo>
                    <a:pt x="670" y="599"/>
                  </a:lnTo>
                  <a:lnTo>
                    <a:pt x="680" y="585"/>
                  </a:lnTo>
                  <a:lnTo>
                    <a:pt x="688" y="571"/>
                  </a:lnTo>
                  <a:lnTo>
                    <a:pt x="697" y="557"/>
                  </a:lnTo>
                  <a:lnTo>
                    <a:pt x="704" y="543"/>
                  </a:lnTo>
                  <a:lnTo>
                    <a:pt x="711" y="528"/>
                  </a:lnTo>
                  <a:lnTo>
                    <a:pt x="717" y="511"/>
                  </a:lnTo>
                  <a:lnTo>
                    <a:pt x="722" y="496"/>
                  </a:lnTo>
                  <a:lnTo>
                    <a:pt x="728" y="480"/>
                  </a:lnTo>
                  <a:lnTo>
                    <a:pt x="731" y="463"/>
                  </a:lnTo>
                  <a:lnTo>
                    <a:pt x="734" y="446"/>
                  </a:lnTo>
                  <a:lnTo>
                    <a:pt x="736" y="430"/>
                  </a:lnTo>
                  <a:lnTo>
                    <a:pt x="737" y="412"/>
                  </a:lnTo>
                  <a:lnTo>
                    <a:pt x="738" y="395"/>
                  </a:lnTo>
                  <a:lnTo>
                    <a:pt x="738" y="395"/>
                  </a:lnTo>
                  <a:lnTo>
                    <a:pt x="737" y="376"/>
                  </a:lnTo>
                  <a:lnTo>
                    <a:pt x="736" y="359"/>
                  </a:lnTo>
                  <a:lnTo>
                    <a:pt x="734" y="343"/>
                  </a:lnTo>
                  <a:lnTo>
                    <a:pt x="731" y="325"/>
                  </a:lnTo>
                  <a:lnTo>
                    <a:pt x="728" y="309"/>
                  </a:lnTo>
                  <a:lnTo>
                    <a:pt x="722" y="292"/>
                  </a:lnTo>
                  <a:lnTo>
                    <a:pt x="717" y="277"/>
                  </a:lnTo>
                  <a:lnTo>
                    <a:pt x="711" y="261"/>
                  </a:lnTo>
                  <a:lnTo>
                    <a:pt x="704" y="246"/>
                  </a:lnTo>
                  <a:lnTo>
                    <a:pt x="697" y="232"/>
                  </a:lnTo>
                  <a:lnTo>
                    <a:pt x="688" y="217"/>
                  </a:lnTo>
                  <a:lnTo>
                    <a:pt x="680" y="203"/>
                  </a:lnTo>
                  <a:lnTo>
                    <a:pt x="670" y="190"/>
                  </a:lnTo>
                  <a:lnTo>
                    <a:pt x="660" y="177"/>
                  </a:lnTo>
                  <a:lnTo>
                    <a:pt x="649" y="164"/>
                  </a:lnTo>
                  <a:lnTo>
                    <a:pt x="637" y="153"/>
                  </a:lnTo>
                  <a:lnTo>
                    <a:pt x="625" y="141"/>
                  </a:lnTo>
                  <a:lnTo>
                    <a:pt x="613" y="130"/>
                  </a:lnTo>
                  <a:lnTo>
                    <a:pt x="600" y="120"/>
                  </a:lnTo>
                  <a:lnTo>
                    <a:pt x="587" y="111"/>
                  </a:lnTo>
                  <a:lnTo>
                    <a:pt x="573" y="102"/>
                  </a:lnTo>
                  <a:lnTo>
                    <a:pt x="559" y="93"/>
                  </a:lnTo>
                  <a:lnTo>
                    <a:pt x="543" y="86"/>
                  </a:lnTo>
                  <a:lnTo>
                    <a:pt x="529" y="79"/>
                  </a:lnTo>
                  <a:lnTo>
                    <a:pt x="513" y="72"/>
                  </a:lnTo>
                  <a:lnTo>
                    <a:pt x="498" y="68"/>
                  </a:lnTo>
                  <a:lnTo>
                    <a:pt x="481" y="63"/>
                  </a:lnTo>
                  <a:lnTo>
                    <a:pt x="465" y="59"/>
                  </a:lnTo>
                  <a:lnTo>
                    <a:pt x="448" y="56"/>
                  </a:lnTo>
                  <a:lnTo>
                    <a:pt x="430" y="54"/>
                  </a:lnTo>
                  <a:lnTo>
                    <a:pt x="413" y="53"/>
                  </a:lnTo>
                  <a:lnTo>
                    <a:pt x="395" y="52"/>
                  </a:lnTo>
                  <a:lnTo>
                    <a:pt x="39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510"/>
            <p:cNvSpPr>
              <a:spLocks/>
            </p:cNvSpPr>
            <p:nvPr/>
          </p:nvSpPr>
          <p:spPr bwMode="auto">
            <a:xfrm>
              <a:off x="6903497" y="7814814"/>
              <a:ext cx="268151" cy="231212"/>
            </a:xfrm>
            <a:custGeom>
              <a:avLst/>
              <a:gdLst>
                <a:gd name="T0" fmla="*/ 180 w 391"/>
                <a:gd name="T1" fmla="*/ 337 h 337"/>
                <a:gd name="T2" fmla="*/ 0 w 391"/>
                <a:gd name="T3" fmla="*/ 214 h 337"/>
                <a:gd name="T4" fmla="*/ 38 w 391"/>
                <a:gd name="T5" fmla="*/ 160 h 337"/>
                <a:gd name="T6" fmla="*/ 164 w 391"/>
                <a:gd name="T7" fmla="*/ 246 h 337"/>
                <a:gd name="T8" fmla="*/ 337 w 391"/>
                <a:gd name="T9" fmla="*/ 0 h 337"/>
                <a:gd name="T10" fmla="*/ 391 w 391"/>
                <a:gd name="T11" fmla="*/ 38 h 337"/>
                <a:gd name="T12" fmla="*/ 180 w 391"/>
                <a:gd name="T13" fmla="*/ 337 h 337"/>
              </a:gdLst>
              <a:ahLst/>
              <a:cxnLst>
                <a:cxn ang="0">
                  <a:pos x="T0" y="T1"/>
                </a:cxn>
                <a:cxn ang="0">
                  <a:pos x="T2" y="T3"/>
                </a:cxn>
                <a:cxn ang="0">
                  <a:pos x="T4" y="T5"/>
                </a:cxn>
                <a:cxn ang="0">
                  <a:pos x="T6" y="T7"/>
                </a:cxn>
                <a:cxn ang="0">
                  <a:pos x="T8" y="T9"/>
                </a:cxn>
                <a:cxn ang="0">
                  <a:pos x="T10" y="T11"/>
                </a:cxn>
                <a:cxn ang="0">
                  <a:pos x="T12" y="T13"/>
                </a:cxn>
              </a:cxnLst>
              <a:rect l="0" t="0" r="r" b="b"/>
              <a:pathLst>
                <a:path w="391" h="337">
                  <a:moveTo>
                    <a:pt x="180" y="337"/>
                  </a:moveTo>
                  <a:lnTo>
                    <a:pt x="0" y="214"/>
                  </a:lnTo>
                  <a:lnTo>
                    <a:pt x="38" y="160"/>
                  </a:lnTo>
                  <a:lnTo>
                    <a:pt x="164" y="246"/>
                  </a:lnTo>
                  <a:lnTo>
                    <a:pt x="337" y="0"/>
                  </a:lnTo>
                  <a:lnTo>
                    <a:pt x="391" y="38"/>
                  </a:lnTo>
                  <a:lnTo>
                    <a:pt x="180" y="3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5575564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view of the earth from space&#10;&#10;Description automatically generated with medium confidence">
            <a:extLst>
              <a:ext uri="{FF2B5EF4-FFF2-40B4-BE49-F238E27FC236}">
                <a16:creationId xmlns:a16="http://schemas.microsoft.com/office/drawing/2014/main" id="{55E23150-41E7-12EF-2D5F-DB02CE304E62}"/>
              </a:ext>
            </a:extLst>
          </p:cNvPr>
          <p:cNvPicPr>
            <a:picLocks noGrp="1" noChangeAspect="1"/>
          </p:cNvPicPr>
          <p:nvPr>
            <p:ph type="pic" sz="quarter" idx="21"/>
          </p:nvPr>
        </p:nvPicPr>
        <p:blipFill>
          <a:blip r:embed="rId2" cstate="hqprint">
            <a:extLst>
              <a:ext uri="{28A0092B-C50C-407E-A947-70E740481C1C}">
                <a14:useLocalDpi xmlns:a14="http://schemas.microsoft.com/office/drawing/2010/main" val="0"/>
              </a:ext>
            </a:extLst>
          </a:blip>
          <a:srcRect l="5556" r="5556"/>
          <a:stretch>
            <a:fillRect/>
          </a:stretch>
        </p:blipFill>
        <p:spPr/>
      </p:pic>
      <p:sp>
        <p:nvSpPr>
          <p:cNvPr id="17" name="Title 16"/>
          <p:cNvSpPr>
            <a:spLocks noGrp="1"/>
          </p:cNvSpPr>
          <p:nvPr>
            <p:ph type="title"/>
          </p:nvPr>
        </p:nvSpPr>
        <p:spPr>
          <a:xfrm>
            <a:off x="466852" y="2347913"/>
            <a:ext cx="3293618" cy="447675"/>
          </a:xfrm>
        </p:spPr>
        <p:txBody>
          <a:bodyPr/>
          <a:lstStyle/>
          <a:p>
            <a:r>
              <a:rPr lang="en-US" dirty="0"/>
              <a:t>Thank you</a:t>
            </a:r>
            <a:endParaRPr lang="en-GB" dirty="0"/>
          </a:p>
        </p:txBody>
      </p:sp>
    </p:spTree>
    <p:extLst>
      <p:ext uri="{BB962C8B-B14F-4D97-AF65-F5344CB8AC3E}">
        <p14:creationId xmlns:p14="http://schemas.microsoft.com/office/powerpoint/2010/main" val="52769687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dark&#10;&#10;Description automatically generated">
            <a:extLst>
              <a:ext uri="{FF2B5EF4-FFF2-40B4-BE49-F238E27FC236}">
                <a16:creationId xmlns:a16="http://schemas.microsoft.com/office/drawing/2014/main" id="{E5AF9D11-5EAE-9EDA-9390-87E60E8A8777}"/>
              </a:ext>
            </a:extLst>
          </p:cNvPr>
          <p:cNvPicPr>
            <a:picLocks noGrp="1" noChangeAspect="1"/>
          </p:cNvPicPr>
          <p:nvPr>
            <p:ph type="pic" sz="quarter" idx="10"/>
          </p:nvPr>
        </p:nvPicPr>
        <p:blipFill>
          <a:blip r:embed="rId2" cstate="hqprint">
            <a:extLst>
              <a:ext uri="{28A0092B-C50C-407E-A947-70E740481C1C}">
                <a14:useLocalDpi xmlns:a14="http://schemas.microsoft.com/office/drawing/2010/main" val="0"/>
              </a:ext>
            </a:extLst>
          </a:blip>
          <a:srcRect t="366" b="366"/>
          <a:stretch>
            <a:fillRect/>
          </a:stretch>
        </p:blipFill>
        <p:spPr/>
      </p:pic>
      <p:sp>
        <p:nvSpPr>
          <p:cNvPr id="12" name="Rectangle 11">
            <a:extLst>
              <a:ext uri="{FF2B5EF4-FFF2-40B4-BE49-F238E27FC236}">
                <a16:creationId xmlns:a16="http://schemas.microsoft.com/office/drawing/2014/main" id="{19F166AC-6307-49B5-93B3-B3A73910C8F8}"/>
              </a:ext>
            </a:extLst>
          </p:cNvPr>
          <p:cNvSpPr/>
          <p:nvPr/>
        </p:nvSpPr>
        <p:spPr>
          <a:xfrm>
            <a:off x="1022856" y="0"/>
            <a:ext cx="7098289" cy="514350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TextBox 17">
            <a:extLst>
              <a:ext uri="{FF2B5EF4-FFF2-40B4-BE49-F238E27FC236}">
                <a16:creationId xmlns:a16="http://schemas.microsoft.com/office/drawing/2014/main" id="{85245F26-353D-4500-9BC1-CE4E6D97BF46}"/>
              </a:ext>
            </a:extLst>
          </p:cNvPr>
          <p:cNvSpPr txBox="1"/>
          <p:nvPr/>
        </p:nvSpPr>
        <p:spPr>
          <a:xfrm>
            <a:off x="1022856" y="343159"/>
            <a:ext cx="7098288" cy="502702"/>
          </a:xfrm>
          <a:prstGeom prst="rect">
            <a:avLst/>
          </a:prstGeom>
          <a:noFill/>
        </p:spPr>
        <p:txBody>
          <a:bodyPr wrap="square" rtlCol="0">
            <a:spAutoFit/>
          </a:bodyPr>
          <a:lstStyle/>
          <a:p>
            <a:pPr algn="ctr">
              <a:lnSpc>
                <a:spcPts val="3150"/>
              </a:lnSpc>
            </a:pPr>
            <a:r>
              <a:rPr lang="en-US" sz="3300" b="1" dirty="0">
                <a:solidFill>
                  <a:schemeClr val="accent1"/>
                </a:solidFill>
                <a:latin typeface="Arial" panose="020B0604020202020204" pitchFamily="34" charset="0"/>
                <a:cs typeface="Arial" panose="020B0604020202020204" pitchFamily="34" charset="0"/>
              </a:rPr>
              <a:t>Contact Us</a:t>
            </a:r>
          </a:p>
        </p:txBody>
      </p:sp>
      <p:pic>
        <p:nvPicPr>
          <p:cNvPr id="7" name="Content Placeholder 3">
            <a:extLst>
              <a:ext uri="{FF2B5EF4-FFF2-40B4-BE49-F238E27FC236}">
                <a16:creationId xmlns:a16="http://schemas.microsoft.com/office/drawing/2014/main" id="{364042D1-7377-8F05-1C99-FAF390306767}"/>
              </a:ext>
            </a:extLst>
          </p:cNvPr>
          <p:cNvPicPr>
            <a:picLocks noChangeAspect="1"/>
          </p:cNvPicPr>
          <p:nvPr/>
        </p:nvPicPr>
        <p:blipFill rotWithShape="1">
          <a:blip r:embed="rId3">
            <a:clrChange>
              <a:clrFrom>
                <a:srgbClr val="FCFEFF"/>
              </a:clrFrom>
              <a:clrTo>
                <a:srgbClr val="FCFEFF">
                  <a:alpha val="0"/>
                </a:srgbClr>
              </a:clrTo>
            </a:clrChange>
          </a:blip>
          <a:srcRect l="8130" t="14794" r="12503" b="15640"/>
          <a:stretch/>
        </p:blipFill>
        <p:spPr>
          <a:xfrm>
            <a:off x="3816926" y="1000631"/>
            <a:ext cx="1510145" cy="1052345"/>
          </a:xfrm>
          <a:prstGeom prst="rect">
            <a:avLst/>
          </a:prstGeom>
        </p:spPr>
      </p:pic>
      <p:sp>
        <p:nvSpPr>
          <p:cNvPr id="8" name="TextBox 7">
            <a:extLst>
              <a:ext uri="{FF2B5EF4-FFF2-40B4-BE49-F238E27FC236}">
                <a16:creationId xmlns:a16="http://schemas.microsoft.com/office/drawing/2014/main" id="{04EF3A7F-9D88-8434-F29F-7E7B8BC19ADF}"/>
              </a:ext>
            </a:extLst>
          </p:cNvPr>
          <p:cNvSpPr txBox="1"/>
          <p:nvPr/>
        </p:nvSpPr>
        <p:spPr>
          <a:xfrm>
            <a:off x="1022855" y="2428359"/>
            <a:ext cx="7098289" cy="1015663"/>
          </a:xfrm>
          <a:prstGeom prst="rect">
            <a:avLst/>
          </a:prstGeom>
          <a:noFill/>
        </p:spPr>
        <p:txBody>
          <a:bodyPr wrap="square">
            <a:spAutoFit/>
          </a:bodyPr>
          <a:lstStyle/>
          <a:p>
            <a:pPr algn="ctr"/>
            <a:r>
              <a:rPr lang="en-US" sz="1200" i="1" dirty="0">
                <a:latin typeface="Arial" panose="020B0604020202020204" pitchFamily="34" charset="0"/>
                <a:cs typeface="Arial" panose="020B0604020202020204" pitchFamily="34" charset="0"/>
              </a:rPr>
              <a:t>A better world through a systems approach</a:t>
            </a:r>
          </a:p>
          <a:p>
            <a:pPr algn="ctr"/>
            <a:endParaRPr lang="en-US" sz="1200" i="1" dirty="0">
              <a:latin typeface="Arial" panose="020B0604020202020204" pitchFamily="34" charset="0"/>
              <a:cs typeface="Arial" panose="020B0604020202020204" pitchFamily="34" charset="0"/>
            </a:endParaRPr>
          </a:p>
          <a:p>
            <a:pPr algn="ctr"/>
            <a:endParaRPr lang="en-US" sz="1200" i="1"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rPr>
              <a:t>For more information contact </a:t>
            </a:r>
            <a:r>
              <a:rPr lang="en-US" sz="1200" dirty="0">
                <a:latin typeface="Arial" panose="020B0604020202020204" pitchFamily="34" charset="0"/>
                <a:cs typeface="Arial" panose="020B0604020202020204" pitchFamily="34" charset="0"/>
                <a:hlinkClick r:id="rId4"/>
              </a:rPr>
              <a:t>marcom@incose.net</a:t>
            </a:r>
            <a:endParaRPr lang="en-US" sz="1200" dirty="0">
              <a:latin typeface="Arial" panose="020B0604020202020204" pitchFamily="34" charset="0"/>
              <a:cs typeface="Arial" panose="020B0604020202020204" pitchFamily="34" charset="0"/>
            </a:endParaRPr>
          </a:p>
          <a:p>
            <a:pPr algn="ctr"/>
            <a:r>
              <a:rPr lang="en-US" sz="1200" dirty="0">
                <a:latin typeface="Arial" panose="020B0604020202020204" pitchFamily="34" charset="0"/>
                <a:cs typeface="Arial" panose="020B0604020202020204" pitchFamily="34" charset="0"/>
                <a:hlinkClick r:id="rId5"/>
              </a:rPr>
              <a:t>www.incose.org</a:t>
            </a:r>
            <a:r>
              <a:rPr lang="en-US" sz="1200" dirty="0">
                <a:latin typeface="Arial" panose="020B0604020202020204" pitchFamily="34" charset="0"/>
                <a:cs typeface="Arial" panose="020B0604020202020204" pitchFamily="34" charset="0"/>
              </a:rPr>
              <a:t> </a:t>
            </a:r>
          </a:p>
        </p:txBody>
      </p:sp>
      <p:sp>
        <p:nvSpPr>
          <p:cNvPr id="9" name="TextBox 8">
            <a:extLst>
              <a:ext uri="{FF2B5EF4-FFF2-40B4-BE49-F238E27FC236}">
                <a16:creationId xmlns:a16="http://schemas.microsoft.com/office/drawing/2014/main" id="{B938BC65-E13A-EAA7-CDF0-E92412370B19}"/>
              </a:ext>
            </a:extLst>
          </p:cNvPr>
          <p:cNvSpPr txBox="1"/>
          <p:nvPr/>
        </p:nvSpPr>
        <p:spPr>
          <a:xfrm>
            <a:off x="1022855" y="2173864"/>
            <a:ext cx="7098288" cy="300082"/>
          </a:xfrm>
          <a:prstGeom prst="rect">
            <a:avLst/>
          </a:prstGeom>
          <a:noFill/>
        </p:spPr>
        <p:txBody>
          <a:bodyPr wrap="square" rtlCol="0">
            <a:spAutoFit/>
          </a:bodyPr>
          <a:lstStyle/>
          <a:p>
            <a:pPr algn="ctr"/>
            <a:r>
              <a:rPr lang="en-US" sz="1350" b="1" dirty="0">
                <a:latin typeface="Arial" panose="020B0604020202020204" pitchFamily="34" charset="0"/>
                <a:cs typeface="Arial" panose="020B0604020202020204" pitchFamily="34" charset="0"/>
              </a:rPr>
              <a:t>International Council on Systems Engineering</a:t>
            </a:r>
          </a:p>
        </p:txBody>
      </p:sp>
      <p:sp>
        <p:nvSpPr>
          <p:cNvPr id="11" name="TextBox 10">
            <a:extLst>
              <a:ext uri="{FF2B5EF4-FFF2-40B4-BE49-F238E27FC236}">
                <a16:creationId xmlns:a16="http://schemas.microsoft.com/office/drawing/2014/main" id="{FC411A3F-704E-6D99-D77E-64E71BCA700E}"/>
              </a:ext>
            </a:extLst>
          </p:cNvPr>
          <p:cNvSpPr txBox="1"/>
          <p:nvPr/>
        </p:nvSpPr>
        <p:spPr>
          <a:xfrm>
            <a:off x="5498060" y="4643934"/>
            <a:ext cx="763229" cy="219291"/>
          </a:xfrm>
          <a:prstGeom prst="rect">
            <a:avLst/>
          </a:prstGeom>
          <a:noFill/>
        </p:spPr>
        <p:txBody>
          <a:bodyPr wrap="square">
            <a:spAutoFit/>
          </a:bodyPr>
          <a:lstStyle/>
          <a:p>
            <a:pPr algn="ctr"/>
            <a:r>
              <a:rPr lang="en-US" sz="825" dirty="0">
                <a:latin typeface="Arial" panose="020B0604020202020204" pitchFamily="34" charset="0"/>
                <a:cs typeface="Arial" panose="020B0604020202020204" pitchFamily="34" charset="0"/>
              </a:rPr>
              <a:t>INCOSE</a:t>
            </a:r>
          </a:p>
        </p:txBody>
      </p:sp>
      <p:sp>
        <p:nvSpPr>
          <p:cNvPr id="13" name="TextBox 12">
            <a:extLst>
              <a:ext uri="{FF2B5EF4-FFF2-40B4-BE49-F238E27FC236}">
                <a16:creationId xmlns:a16="http://schemas.microsoft.com/office/drawing/2014/main" id="{5EA4B8A0-AF9D-6018-9FB2-E9375703819A}"/>
              </a:ext>
            </a:extLst>
          </p:cNvPr>
          <p:cNvSpPr txBox="1"/>
          <p:nvPr/>
        </p:nvSpPr>
        <p:spPr>
          <a:xfrm>
            <a:off x="2508664" y="4643934"/>
            <a:ext cx="879498" cy="219291"/>
          </a:xfrm>
          <a:prstGeom prst="rect">
            <a:avLst/>
          </a:prstGeom>
          <a:noFill/>
        </p:spPr>
        <p:txBody>
          <a:bodyPr wrap="square">
            <a:spAutoFit/>
          </a:bodyPr>
          <a:lstStyle/>
          <a:p>
            <a:pPr algn="ctr"/>
            <a:r>
              <a:rPr lang="en-US" sz="825" dirty="0">
                <a:latin typeface="Arial" panose="020B0604020202020204" pitchFamily="34" charset="0"/>
                <a:cs typeface="Arial" panose="020B0604020202020204" pitchFamily="34" charset="0"/>
              </a:rPr>
              <a:t>@INCOSE </a:t>
            </a:r>
          </a:p>
        </p:txBody>
      </p:sp>
      <p:sp>
        <p:nvSpPr>
          <p:cNvPr id="14" name="TextBox 13">
            <a:extLst>
              <a:ext uri="{FF2B5EF4-FFF2-40B4-BE49-F238E27FC236}">
                <a16:creationId xmlns:a16="http://schemas.microsoft.com/office/drawing/2014/main" id="{63E61392-CCD5-2C39-C682-D571E424DE29}"/>
              </a:ext>
            </a:extLst>
          </p:cNvPr>
          <p:cNvSpPr txBox="1"/>
          <p:nvPr/>
        </p:nvSpPr>
        <p:spPr>
          <a:xfrm>
            <a:off x="4483200" y="4643934"/>
            <a:ext cx="1058197" cy="219291"/>
          </a:xfrm>
          <a:prstGeom prst="rect">
            <a:avLst/>
          </a:prstGeom>
          <a:noFill/>
        </p:spPr>
        <p:txBody>
          <a:bodyPr wrap="square">
            <a:spAutoFit/>
          </a:bodyPr>
          <a:lstStyle/>
          <a:p>
            <a:pPr algn="ctr"/>
            <a:r>
              <a:rPr lang="en-US" sz="825" dirty="0">
                <a:latin typeface="Arial" panose="020B0604020202020204" pitchFamily="34" charset="0"/>
                <a:cs typeface="Arial" panose="020B0604020202020204" pitchFamily="34" charset="0"/>
              </a:rPr>
              <a:t>@incose_org</a:t>
            </a:r>
          </a:p>
        </p:txBody>
      </p:sp>
      <p:sp>
        <p:nvSpPr>
          <p:cNvPr id="15" name="TextBox 14">
            <a:extLst>
              <a:ext uri="{FF2B5EF4-FFF2-40B4-BE49-F238E27FC236}">
                <a16:creationId xmlns:a16="http://schemas.microsoft.com/office/drawing/2014/main" id="{4D6FD2B4-A5F8-4952-1C49-A1DF60534F6E}"/>
              </a:ext>
            </a:extLst>
          </p:cNvPr>
          <p:cNvSpPr txBox="1"/>
          <p:nvPr/>
        </p:nvSpPr>
        <p:spPr>
          <a:xfrm>
            <a:off x="3474201" y="4643934"/>
            <a:ext cx="1058197" cy="219291"/>
          </a:xfrm>
          <a:prstGeom prst="rect">
            <a:avLst/>
          </a:prstGeom>
          <a:noFill/>
        </p:spPr>
        <p:txBody>
          <a:bodyPr wrap="square">
            <a:spAutoFit/>
          </a:bodyPr>
          <a:lstStyle/>
          <a:p>
            <a:pPr algn="ctr"/>
            <a:r>
              <a:rPr lang="en-US" sz="825" dirty="0">
                <a:latin typeface="Arial" panose="020B0604020202020204" pitchFamily="34" charset="0"/>
                <a:cs typeface="Arial" panose="020B0604020202020204" pitchFamily="34" charset="0"/>
              </a:rPr>
              <a:t>@incose_org</a:t>
            </a:r>
            <a:endParaRPr lang="en-GB" sz="825" dirty="0">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1F0A648E-4FF6-8808-7482-8BB133A1CAC8}"/>
              </a:ext>
            </a:extLst>
          </p:cNvPr>
          <p:cNvPicPr>
            <a:picLocks noChangeAspect="1"/>
          </p:cNvPicPr>
          <p:nvPr/>
        </p:nvPicPr>
        <p:blipFill>
          <a:blip r:embed="rId6"/>
          <a:stretch>
            <a:fillRect/>
          </a:stretch>
        </p:blipFill>
        <p:spPr>
          <a:xfrm>
            <a:off x="2787694" y="4158399"/>
            <a:ext cx="459613" cy="459614"/>
          </a:xfrm>
          <a:prstGeom prst="rect">
            <a:avLst/>
          </a:prstGeom>
        </p:spPr>
      </p:pic>
      <p:pic>
        <p:nvPicPr>
          <p:cNvPr id="19" name="Picture 18">
            <a:extLst>
              <a:ext uri="{FF2B5EF4-FFF2-40B4-BE49-F238E27FC236}">
                <a16:creationId xmlns:a16="http://schemas.microsoft.com/office/drawing/2014/main" id="{0CA4BC76-8F3E-3098-21C8-A0CD0AC9CCB1}"/>
              </a:ext>
            </a:extLst>
          </p:cNvPr>
          <p:cNvPicPr>
            <a:picLocks noChangeAspect="1"/>
          </p:cNvPicPr>
          <p:nvPr/>
        </p:nvPicPr>
        <p:blipFill>
          <a:blip r:embed="rId7"/>
          <a:stretch>
            <a:fillRect/>
          </a:stretch>
        </p:blipFill>
        <p:spPr>
          <a:xfrm>
            <a:off x="3789733" y="4117196"/>
            <a:ext cx="500816" cy="500817"/>
          </a:xfrm>
          <a:prstGeom prst="rect">
            <a:avLst/>
          </a:prstGeom>
        </p:spPr>
      </p:pic>
      <p:pic>
        <p:nvPicPr>
          <p:cNvPr id="20" name="Picture 19">
            <a:extLst>
              <a:ext uri="{FF2B5EF4-FFF2-40B4-BE49-F238E27FC236}">
                <a16:creationId xmlns:a16="http://schemas.microsoft.com/office/drawing/2014/main" id="{763C5A3D-0FE6-7FDB-1B58-D6039DFFE632}"/>
              </a:ext>
            </a:extLst>
          </p:cNvPr>
          <p:cNvPicPr>
            <a:picLocks noChangeAspect="1"/>
          </p:cNvPicPr>
          <p:nvPr/>
        </p:nvPicPr>
        <p:blipFill>
          <a:blip r:embed="rId8"/>
          <a:stretch>
            <a:fillRect/>
          </a:stretch>
        </p:blipFill>
        <p:spPr>
          <a:xfrm>
            <a:off x="4741321" y="4021682"/>
            <a:ext cx="596331" cy="596331"/>
          </a:xfrm>
          <a:prstGeom prst="rect">
            <a:avLst/>
          </a:prstGeom>
        </p:spPr>
      </p:pic>
      <p:pic>
        <p:nvPicPr>
          <p:cNvPr id="21" name="Picture 20">
            <a:extLst>
              <a:ext uri="{FF2B5EF4-FFF2-40B4-BE49-F238E27FC236}">
                <a16:creationId xmlns:a16="http://schemas.microsoft.com/office/drawing/2014/main" id="{62AE7B96-BB0D-E270-82DC-5D2F86A8126F}"/>
              </a:ext>
            </a:extLst>
          </p:cNvPr>
          <p:cNvPicPr>
            <a:picLocks noChangeAspect="1"/>
          </p:cNvPicPr>
          <p:nvPr/>
        </p:nvPicPr>
        <p:blipFill>
          <a:blip r:embed="rId9"/>
          <a:stretch>
            <a:fillRect/>
          </a:stretch>
        </p:blipFill>
        <p:spPr>
          <a:xfrm>
            <a:off x="5654326" y="4093632"/>
            <a:ext cx="524381" cy="524381"/>
          </a:xfrm>
          <a:prstGeom prst="rect">
            <a:avLst/>
          </a:prstGeom>
        </p:spPr>
      </p:pic>
    </p:spTree>
    <p:extLst>
      <p:ext uri="{BB962C8B-B14F-4D97-AF65-F5344CB8AC3E}">
        <p14:creationId xmlns:p14="http://schemas.microsoft.com/office/powerpoint/2010/main" val="5209608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6488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ext, outdoor object, Ferris wheel, ride&#10;&#10;Description automatically generated">
            <a:extLst>
              <a:ext uri="{FF2B5EF4-FFF2-40B4-BE49-F238E27FC236}">
                <a16:creationId xmlns:a16="http://schemas.microsoft.com/office/drawing/2014/main" id="{97AC4800-A721-D1F8-4BBF-DBFC1F1EC82C}"/>
              </a:ext>
            </a:extLst>
          </p:cNvPr>
          <p:cNvPicPr>
            <a:picLocks noGrp="1" noChangeAspect="1"/>
          </p:cNvPicPr>
          <p:nvPr>
            <p:ph type="pic" sz="quarter" idx="21"/>
          </p:nvPr>
        </p:nvPicPr>
        <p:blipFill>
          <a:blip r:embed="rId3" cstate="hqprint">
            <a:alphaModFix amt="5000"/>
            <a:extLst>
              <a:ext uri="{28A0092B-C50C-407E-A947-70E740481C1C}">
                <a14:useLocalDpi xmlns:a14="http://schemas.microsoft.com/office/drawing/2010/main" val="0"/>
              </a:ext>
            </a:extLst>
          </a:blip>
          <a:srcRect/>
          <a:stretch>
            <a:fillRect/>
          </a:stretch>
        </p:blipFill>
        <p:spPr/>
      </p:pic>
      <p:sp>
        <p:nvSpPr>
          <p:cNvPr id="27" name="Text Box 3"/>
          <p:cNvSpPr txBox="1">
            <a:spLocks noChangeArrowheads="1"/>
          </p:cNvSpPr>
          <p:nvPr userDrawn="1"/>
        </p:nvSpPr>
        <p:spPr bwMode="blackWhite">
          <a:xfrm>
            <a:off x="2653095" y="4014787"/>
            <a:ext cx="3837810" cy="342396"/>
          </a:xfrm>
          <a:prstGeom prst="rect">
            <a:avLst/>
          </a:prstGeom>
          <a:noFill/>
          <a:ln w="12700">
            <a:noFill/>
            <a:miter lim="800000"/>
            <a:headEnd type="none" w="sm" len="sm"/>
            <a:tailEnd type="none" w="sm" len="sm"/>
          </a:ln>
          <a:effectLst/>
        </p:spPr>
        <p:txBody>
          <a:bodyPr wrap="square" lIns="0" tIns="34285" rIns="0" bIns="137160" anchor="b" anchorCtr="0">
            <a:spAutoFit/>
          </a:bodyPr>
          <a:lstStyle/>
          <a:p>
            <a:pPr algn="ctr" defTabSz="685574" eaLnBrk="0" hangingPunct="0">
              <a:defRPr/>
            </a:pPr>
            <a:r>
              <a:rPr lang="en-US" sz="1100">
                <a:gradFill>
                  <a:gsLst>
                    <a:gs pos="5417">
                      <a:srgbClr val="FFFFFF"/>
                    </a:gs>
                    <a:gs pos="13333">
                      <a:srgbClr val="FFFFFF"/>
                    </a:gs>
                  </a:gsLst>
                  <a:lin ang="5400000" scaled="0"/>
                </a:gradFill>
                <a:latin typeface="Arial" panose="020B0604020202020204" pitchFamily="34" charset="0"/>
                <a:cs typeface="Arial" panose="020B0604020202020204" pitchFamily="34" charset="0"/>
              </a:rPr>
              <a:t>© 2023 </a:t>
            </a:r>
            <a:r>
              <a:rPr lang="en-US" sz="1100" dirty="0">
                <a:gradFill>
                  <a:gsLst>
                    <a:gs pos="5417">
                      <a:srgbClr val="FFFFFF"/>
                    </a:gs>
                    <a:gs pos="13333">
                      <a:srgbClr val="FFFFFF"/>
                    </a:gs>
                  </a:gsLst>
                  <a:lin ang="5400000" scaled="0"/>
                </a:gradFill>
                <a:latin typeface="Arial" panose="020B0604020202020204" pitchFamily="34" charset="0"/>
                <a:cs typeface="Arial" panose="020B0604020202020204" pitchFamily="34" charset="0"/>
              </a:rPr>
              <a:t>INCOSE. All rights reserved. </a:t>
            </a:r>
          </a:p>
        </p:txBody>
      </p:sp>
      <p:sp>
        <p:nvSpPr>
          <p:cNvPr id="9" name="TextBox 8"/>
          <p:cNvSpPr txBox="1"/>
          <p:nvPr/>
        </p:nvSpPr>
        <p:spPr>
          <a:xfrm>
            <a:off x="4151532" y="4343454"/>
            <a:ext cx="840936" cy="207749"/>
          </a:xfrm>
          <a:prstGeom prst="rect">
            <a:avLst/>
          </a:prstGeom>
          <a:noFill/>
        </p:spPr>
        <p:txBody>
          <a:bodyPr wrap="none" lIns="0" bIns="0" rtlCol="0" anchor="b" anchorCtr="0">
            <a:spAutoFit/>
          </a:bodyPr>
          <a:lstStyle/>
          <a:p>
            <a:pPr algn="ctr" defTabSz="685755"/>
            <a:r>
              <a:rPr lang="en-AU" sz="1050" dirty="0" err="1">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rPr>
              <a:t>INCOSE.org</a:t>
            </a:r>
            <a:endParaRPr lang="en-AU" sz="1050" dirty="0">
              <a:gradFill>
                <a:gsLst>
                  <a:gs pos="7258">
                    <a:schemeClr val="bg1"/>
                  </a:gs>
                  <a:gs pos="19000">
                    <a:schemeClr val="bg1"/>
                  </a:gs>
                </a:gsLst>
                <a:lin ang="5400000" scaled="1"/>
              </a:gradFill>
              <a:latin typeface="Arial" panose="020B0604020202020204" pitchFamily="34" charset="0"/>
              <a:ea typeface="Roboto Light" panose="02000000000000000000" pitchFamily="2" charset="0"/>
              <a:cs typeface="Arial" panose="020B0604020202020204" pitchFamily="34" charset="0"/>
            </a:endParaRPr>
          </a:p>
        </p:txBody>
      </p:sp>
      <p:pic>
        <p:nvPicPr>
          <p:cNvPr id="8" name="Picture 7" descr="A picture containing logo&#10;&#10;Description automatically generated">
            <a:extLst>
              <a:ext uri="{FF2B5EF4-FFF2-40B4-BE49-F238E27FC236}">
                <a16:creationId xmlns:a16="http://schemas.microsoft.com/office/drawing/2014/main" id="{361CD845-AF2B-6FC7-F76F-8C7B88F71C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89250" y="1473200"/>
            <a:ext cx="3365500" cy="2197100"/>
          </a:xfrm>
          <a:prstGeom prst="rect">
            <a:avLst/>
          </a:prstGeom>
        </p:spPr>
      </p:pic>
    </p:spTree>
    <p:extLst>
      <p:ext uri="{BB962C8B-B14F-4D97-AF65-F5344CB8AC3E}">
        <p14:creationId xmlns:p14="http://schemas.microsoft.com/office/powerpoint/2010/main" val="22624524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Background pattern&#10;&#10;Description automatically generated">
            <a:extLst>
              <a:ext uri="{FF2B5EF4-FFF2-40B4-BE49-F238E27FC236}">
                <a16:creationId xmlns:a16="http://schemas.microsoft.com/office/drawing/2014/main" id="{75A3351B-E9EC-60F3-F7E0-AA989FE47E69}"/>
              </a:ext>
            </a:extLst>
          </p:cNvPr>
          <p:cNvPicPr>
            <a:picLocks noGrp="1" noChangeAspect="1"/>
          </p:cNvPicPr>
          <p:nvPr>
            <p:ph type="pic" sz="quarter" idx="21"/>
          </p:nvPr>
        </p:nvPicPr>
        <p:blipFill rotWithShape="1">
          <a:blip r:embed="rId2" cstate="hqprint">
            <a:extLst>
              <a:ext uri="{28A0092B-C50C-407E-A947-70E740481C1C}">
                <a14:useLocalDpi xmlns:a14="http://schemas.microsoft.com/office/drawing/2010/main" val="0"/>
              </a:ext>
            </a:extLst>
          </a:blip>
          <a:srcRect r="3998" b="-2"/>
          <a:stretch/>
        </p:blipFill>
        <p:spPr>
          <a:xfrm>
            <a:off x="20" y="10"/>
            <a:ext cx="9143980" cy="5143490"/>
          </a:xfrm>
          <a:noFill/>
        </p:spPr>
      </p:pic>
      <p:sp>
        <p:nvSpPr>
          <p:cNvPr id="7" name="Title 6"/>
          <p:cNvSpPr>
            <a:spLocks noGrp="1"/>
          </p:cNvSpPr>
          <p:nvPr>
            <p:ph type="title"/>
          </p:nvPr>
        </p:nvSpPr>
        <p:spPr>
          <a:xfrm>
            <a:off x="466852" y="438150"/>
            <a:ext cx="3765514" cy="2312253"/>
          </a:xfrm>
        </p:spPr>
        <p:txBody>
          <a:bodyPr wrap="square" anchor="t">
            <a:normAutofit/>
          </a:bodyPr>
          <a:lstStyle/>
          <a:p>
            <a:r>
              <a:rPr lang="en-US" spc="0" dirty="0"/>
              <a:t>This could </a:t>
            </a:r>
            <a:br>
              <a:rPr lang="en-US" spc="0" dirty="0"/>
            </a:br>
            <a:r>
              <a:rPr lang="en-US" spc="0" dirty="0"/>
              <a:t>be a section divider</a:t>
            </a:r>
            <a:endParaRPr lang="en-GB" spc="0" dirty="0"/>
          </a:p>
        </p:txBody>
      </p:sp>
      <p:pic>
        <p:nvPicPr>
          <p:cNvPr id="2" name="Picture 1" descr="A picture containing logo&#10;&#10;Description automatically generated">
            <a:extLst>
              <a:ext uri="{FF2B5EF4-FFF2-40B4-BE49-F238E27FC236}">
                <a16:creationId xmlns:a16="http://schemas.microsoft.com/office/drawing/2014/main" id="{2B6EEB58-967B-C35D-EE37-CE6A7CB7E3B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3" name="Text Placeholder 5">
            <a:extLst>
              <a:ext uri="{FF2B5EF4-FFF2-40B4-BE49-F238E27FC236}">
                <a16:creationId xmlns:a16="http://schemas.microsoft.com/office/drawing/2014/main" id="{294D7F07-C19E-1251-DD9A-D6B9B011A8F0}"/>
              </a:ext>
            </a:extLst>
          </p:cNvPr>
          <p:cNvSpPr txBox="1">
            <a:spLocks/>
          </p:cNvSpPr>
          <p:nvPr/>
        </p:nvSpPr>
        <p:spPr>
          <a:xfrm>
            <a:off x="464494" y="2003332"/>
            <a:ext cx="2914432" cy="847455"/>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Delete the photo and add your own.</a:t>
            </a:r>
            <a:endParaRPr lang="en-US" u="sng" dirty="0">
              <a:solidFill>
                <a:schemeClr val="bg1"/>
              </a:solidFill>
            </a:endParaRPr>
          </a:p>
        </p:txBody>
      </p:sp>
      <p:sp>
        <p:nvSpPr>
          <p:cNvPr id="4" name="TextBox 3">
            <a:extLst>
              <a:ext uri="{FF2B5EF4-FFF2-40B4-BE49-F238E27FC236}">
                <a16:creationId xmlns:a16="http://schemas.microsoft.com/office/drawing/2014/main" id="{6C61F60F-591E-C55D-9D6F-C7B4D48E5A5F}"/>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5</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51900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chemeClr val="accent1"/>
                </a:solidFill>
              </a:rPr>
              <a:t>Quick brand facts</a:t>
            </a:r>
            <a:endParaRPr lang="en-GB" dirty="0">
              <a:solidFill>
                <a:schemeClr val="accent1"/>
              </a:solidFill>
            </a:endParaRPr>
          </a:p>
        </p:txBody>
      </p:sp>
      <p:sp>
        <p:nvSpPr>
          <p:cNvPr id="2" name="Text Placeholder 1"/>
          <p:cNvSpPr>
            <a:spLocks noGrp="1"/>
          </p:cNvSpPr>
          <p:nvPr>
            <p:ph type="body" sz="quarter" idx="16"/>
          </p:nvPr>
        </p:nvSpPr>
        <p:spPr>
          <a:xfrm>
            <a:off x="461010" y="1496844"/>
            <a:ext cx="2796540" cy="671512"/>
          </a:xfrm>
        </p:spPr>
        <p:txBody>
          <a:bodyPr anchor="t"/>
          <a:lstStyle/>
          <a:p>
            <a:r>
              <a:rPr lang="en-GB" dirty="0">
                <a:solidFill>
                  <a:schemeClr val="tx1"/>
                </a:solidFill>
              </a:rPr>
              <a:t>Check out a couple tips for presentations below as well as logo and </a:t>
            </a:r>
            <a:r>
              <a:rPr lang="en-GB" dirty="0" err="1">
                <a:solidFill>
                  <a:schemeClr val="tx1"/>
                </a:solidFill>
              </a:rPr>
              <a:t>color</a:t>
            </a:r>
            <a:r>
              <a:rPr lang="en-GB" dirty="0">
                <a:solidFill>
                  <a:schemeClr val="tx1"/>
                </a:solidFill>
              </a:rPr>
              <a:t> info. </a:t>
            </a:r>
          </a:p>
        </p:txBody>
      </p:sp>
      <p:sp>
        <p:nvSpPr>
          <p:cNvPr id="10" name="Text Placeholder 9"/>
          <p:cNvSpPr>
            <a:spLocks noGrp="1"/>
          </p:cNvSpPr>
          <p:nvPr>
            <p:ph type="body" sz="quarter" idx="17"/>
          </p:nvPr>
        </p:nvSpPr>
        <p:spPr>
          <a:xfrm>
            <a:off x="466725" y="4258491"/>
            <a:ext cx="7771584" cy="369378"/>
          </a:xfrm>
        </p:spPr>
        <p:txBody>
          <a:bodyPr/>
          <a:lstStyle/>
          <a:p>
            <a:r>
              <a:rPr lang="en-GB" sz="1200" dirty="0"/>
              <a:t>https://</a:t>
            </a:r>
            <a:r>
              <a:rPr lang="en-GB" sz="1200" dirty="0" err="1"/>
              <a:t>www.incose.org</a:t>
            </a:r>
            <a:r>
              <a:rPr lang="en-GB" sz="1200" dirty="0"/>
              <a:t>/</a:t>
            </a:r>
            <a:r>
              <a:rPr lang="en-GB" sz="1200" dirty="0" err="1"/>
              <a:t>incose</a:t>
            </a:r>
            <a:r>
              <a:rPr lang="en-GB" sz="1200" dirty="0"/>
              <a:t>-member-resources/marcom/</a:t>
            </a:r>
            <a:r>
              <a:rPr lang="en-GB" sz="1200" dirty="0" err="1"/>
              <a:t>incose</a:t>
            </a:r>
            <a:r>
              <a:rPr lang="en-GB" sz="1200" dirty="0"/>
              <a:t>-branding-</a:t>
            </a:r>
            <a:r>
              <a:rPr lang="en-GB" sz="1200" dirty="0" err="1"/>
              <a:t>color</a:t>
            </a:r>
            <a:r>
              <a:rPr lang="en-GB" sz="1200" dirty="0"/>
              <a:t>-palette-and-logo</a:t>
            </a:r>
          </a:p>
        </p:txBody>
      </p:sp>
      <p:sp>
        <p:nvSpPr>
          <p:cNvPr id="11" name="Rectangle 10"/>
          <p:cNvSpPr/>
          <p:nvPr/>
        </p:nvSpPr>
        <p:spPr>
          <a:xfrm>
            <a:off x="7562850" y="4324350"/>
            <a:ext cx="1276350" cy="4699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65313299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4"/>
          <p:cNvSpPr txBox="1">
            <a:spLocks/>
          </p:cNvSpPr>
          <p:nvPr/>
        </p:nvSpPr>
        <p:spPr>
          <a:xfrm>
            <a:off x="457200" y="1593057"/>
            <a:ext cx="1593314" cy="1957387"/>
          </a:xfrm>
          <a:prstGeom prst="rect">
            <a:avLst/>
          </a:prstGeom>
        </p:spPr>
        <p:txBody>
          <a:bodyPr vert="horz" wrap="square" lIns="0" tIns="45720" rIns="0" bIns="45720" rtlCol="0" anchor="ctr">
            <a:noAutofit/>
          </a:bodyPr>
          <a:lstStyle>
            <a:lvl1pPr marL="173038" indent="-173038" algn="l" defTabSz="914400" rtl="0" eaLnBrk="1" latinLnBrk="0" hangingPunct="1">
              <a:lnSpc>
                <a:spcPct val="100000"/>
              </a:lnSpc>
              <a:spcBef>
                <a:spcPts val="1200"/>
              </a:spcBef>
              <a:buClr>
                <a:srgbClr val="0072C8"/>
              </a:buClr>
              <a:buSzPct val="110000"/>
              <a:buFont typeface="Arial" panose="020B0604020202020204" pitchFamily="34" charset="0"/>
              <a:buChar char="•"/>
              <a:defRPr lang="en-US" sz="1200" kern="1200" spc="100" baseline="0" dirty="0" smtClean="0">
                <a:solidFill>
                  <a:schemeClr val="accent5"/>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600"/>
              </a:spcBef>
              <a:buClr>
                <a:srgbClr val="CDCDCD"/>
              </a:buClr>
              <a:buSzPct val="110000"/>
              <a:buFont typeface="Arial" panose="020B0604020202020204" pitchFamily="34" charset="0"/>
              <a:buChar char="•"/>
              <a:defRPr lang="en-US" sz="1100" kern="1200" spc="100" baseline="0" dirty="0" smtClean="0">
                <a:solidFill>
                  <a:schemeClr val="accent5"/>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400"/>
              </a:spcBef>
              <a:buClr>
                <a:srgbClr val="CDCDCD"/>
              </a:buClr>
              <a:buSzPct val="110000"/>
              <a:buFont typeface="Arial" panose="020B0604020202020204" pitchFamily="34" charset="0"/>
              <a:buChar char="•"/>
              <a:defRPr lang="en-US" sz="1050" kern="1200" spc="100" baseline="0" dirty="0" smtClean="0">
                <a:solidFill>
                  <a:schemeClr val="accent5"/>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300"/>
              </a:spcBef>
              <a:buClr>
                <a:srgbClr val="CDCDCD"/>
              </a:buClr>
              <a:buSzPct val="110000"/>
              <a:buFont typeface="Arial" panose="020B0604020202020204" pitchFamily="34" charset="0"/>
              <a:buChar char="•"/>
              <a:defRPr lang="en-US" sz="1000" kern="1200" spc="100" baseline="0" dirty="0" smtClean="0">
                <a:solidFill>
                  <a:schemeClr val="accent5"/>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300"/>
              </a:spcBef>
              <a:buClr>
                <a:srgbClr val="CDCDCD"/>
              </a:buClr>
              <a:buSzPct val="110000"/>
              <a:buFont typeface="Arial" panose="020B0604020202020204" pitchFamily="34" charset="0"/>
              <a:buChar char="•"/>
              <a:defRPr lang="en-US" sz="1000" kern="1200" spc="100" baseline="0" dirty="0">
                <a:solidFill>
                  <a:schemeClr val="accent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ct val="0"/>
              </a:spcBef>
              <a:buFont typeface="Arial" panose="020B0604020202020204" pitchFamily="34" charset="0"/>
              <a:buNone/>
            </a:pPr>
            <a:r>
              <a:rPr lang="en-US" sz="2800" b="1" kern="0" spc="-150" dirty="0">
                <a:solidFill>
                  <a:schemeClr val="accent1"/>
                </a:solidFill>
                <a:latin typeface="+mj-lt"/>
                <a:ea typeface="Roboto Medium" panose="02000000000000000000" pitchFamily="2" charset="0"/>
              </a:rPr>
              <a:t>Logo &amp; Tagline</a:t>
            </a:r>
          </a:p>
        </p:txBody>
      </p:sp>
      <p:pic>
        <p:nvPicPr>
          <p:cNvPr id="9" name="Content Placeholder 3">
            <a:extLst>
              <a:ext uri="{FF2B5EF4-FFF2-40B4-BE49-F238E27FC236}">
                <a16:creationId xmlns:a16="http://schemas.microsoft.com/office/drawing/2014/main" id="{7DA99967-3B73-A382-73A8-15F5C384DFA5}"/>
              </a:ext>
            </a:extLst>
          </p:cNvPr>
          <p:cNvPicPr>
            <a:picLocks noChangeAspect="1"/>
          </p:cNvPicPr>
          <p:nvPr/>
        </p:nvPicPr>
        <p:blipFill rotWithShape="1">
          <a:blip r:embed="rId3">
            <a:clrChange>
              <a:clrFrom>
                <a:srgbClr val="FCFEFF"/>
              </a:clrFrom>
              <a:clrTo>
                <a:srgbClr val="FCFEFF">
                  <a:alpha val="0"/>
                </a:srgbClr>
              </a:clrTo>
            </a:clrChange>
          </a:blip>
          <a:srcRect l="7473" t="17166" r="8705" b="18313"/>
          <a:stretch/>
        </p:blipFill>
        <p:spPr>
          <a:xfrm>
            <a:off x="2656115" y="1663337"/>
            <a:ext cx="2327112" cy="1424038"/>
          </a:xfrm>
          <a:prstGeom prst="rect">
            <a:avLst/>
          </a:prstGeom>
        </p:spPr>
      </p:pic>
      <p:sp>
        <p:nvSpPr>
          <p:cNvPr id="10" name="TextBox 9">
            <a:extLst>
              <a:ext uri="{FF2B5EF4-FFF2-40B4-BE49-F238E27FC236}">
                <a16:creationId xmlns:a16="http://schemas.microsoft.com/office/drawing/2014/main" id="{C50F5D80-E8C2-D80B-D53E-BE5830DE20BC}"/>
              </a:ext>
            </a:extLst>
          </p:cNvPr>
          <p:cNvSpPr txBox="1"/>
          <p:nvPr/>
        </p:nvSpPr>
        <p:spPr>
          <a:xfrm>
            <a:off x="5150074" y="2290632"/>
            <a:ext cx="3421083" cy="400110"/>
          </a:xfrm>
          <a:prstGeom prst="rect">
            <a:avLst/>
          </a:prstGeom>
          <a:noFill/>
        </p:spPr>
        <p:txBody>
          <a:bodyPr wrap="square" rtlCol="0">
            <a:spAutoFit/>
          </a:bodyPr>
          <a:lstStyle/>
          <a:p>
            <a:pPr algn="ctr"/>
            <a:r>
              <a:rPr lang="en-US" sz="1100" b="1" dirty="0"/>
              <a:t>International Council on Systems Engineering</a:t>
            </a:r>
          </a:p>
          <a:p>
            <a:pPr algn="ctr"/>
            <a:r>
              <a:rPr lang="en-US" sz="900" i="1" dirty="0"/>
              <a:t>A better world through a systems approach</a:t>
            </a:r>
          </a:p>
        </p:txBody>
      </p:sp>
    </p:spTree>
    <p:extLst>
      <p:ext uri="{BB962C8B-B14F-4D97-AF65-F5344CB8AC3E}">
        <p14:creationId xmlns:p14="http://schemas.microsoft.com/office/powerpoint/2010/main" val="23201619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4"/>
          <p:cNvSpPr txBox="1">
            <a:spLocks/>
          </p:cNvSpPr>
          <p:nvPr/>
        </p:nvSpPr>
        <p:spPr>
          <a:xfrm>
            <a:off x="457200" y="1593057"/>
            <a:ext cx="2192594" cy="1957387"/>
          </a:xfrm>
          <a:prstGeom prst="rect">
            <a:avLst/>
          </a:prstGeom>
        </p:spPr>
        <p:txBody>
          <a:bodyPr vert="horz" wrap="square" lIns="0" tIns="45720" rIns="0" bIns="45720" rtlCol="0" anchor="ctr">
            <a:noAutofit/>
          </a:bodyPr>
          <a:lstStyle>
            <a:lvl1pPr marL="173038" indent="-173038" algn="l" defTabSz="914400" rtl="0" eaLnBrk="1" latinLnBrk="0" hangingPunct="1">
              <a:lnSpc>
                <a:spcPct val="100000"/>
              </a:lnSpc>
              <a:spcBef>
                <a:spcPts val="1200"/>
              </a:spcBef>
              <a:buClr>
                <a:srgbClr val="0072C8"/>
              </a:buClr>
              <a:buSzPct val="110000"/>
              <a:buFont typeface="Arial" panose="020B0604020202020204" pitchFamily="34" charset="0"/>
              <a:buChar char="•"/>
              <a:defRPr lang="en-US" sz="1200" kern="1200" spc="100" baseline="0" dirty="0" smtClean="0">
                <a:solidFill>
                  <a:schemeClr val="accent5"/>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600"/>
              </a:spcBef>
              <a:buClr>
                <a:srgbClr val="CDCDCD"/>
              </a:buClr>
              <a:buSzPct val="110000"/>
              <a:buFont typeface="Arial" panose="020B0604020202020204" pitchFamily="34" charset="0"/>
              <a:buChar char="•"/>
              <a:defRPr lang="en-US" sz="1100" kern="1200" spc="100" baseline="0" dirty="0" smtClean="0">
                <a:solidFill>
                  <a:schemeClr val="accent5"/>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400"/>
              </a:spcBef>
              <a:buClr>
                <a:srgbClr val="CDCDCD"/>
              </a:buClr>
              <a:buSzPct val="110000"/>
              <a:buFont typeface="Arial" panose="020B0604020202020204" pitchFamily="34" charset="0"/>
              <a:buChar char="•"/>
              <a:defRPr lang="en-US" sz="1050" kern="1200" spc="100" baseline="0" dirty="0" smtClean="0">
                <a:solidFill>
                  <a:schemeClr val="accent5"/>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300"/>
              </a:spcBef>
              <a:buClr>
                <a:srgbClr val="CDCDCD"/>
              </a:buClr>
              <a:buSzPct val="110000"/>
              <a:buFont typeface="Arial" panose="020B0604020202020204" pitchFamily="34" charset="0"/>
              <a:buChar char="•"/>
              <a:defRPr lang="en-US" sz="1000" kern="1200" spc="100" baseline="0" dirty="0" smtClean="0">
                <a:solidFill>
                  <a:schemeClr val="accent5"/>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300"/>
              </a:spcBef>
              <a:buClr>
                <a:srgbClr val="CDCDCD"/>
              </a:buClr>
              <a:buSzPct val="110000"/>
              <a:buFont typeface="Arial" panose="020B0604020202020204" pitchFamily="34" charset="0"/>
              <a:buChar char="•"/>
              <a:defRPr lang="en-US" sz="1000" kern="1200" spc="100" baseline="0" dirty="0">
                <a:solidFill>
                  <a:schemeClr val="accent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ct val="0"/>
              </a:spcBef>
              <a:buFont typeface="Arial" panose="020B0604020202020204" pitchFamily="34" charset="0"/>
              <a:buNone/>
            </a:pPr>
            <a:r>
              <a:rPr lang="en-US" sz="2800" b="1" kern="0" spc="-150">
                <a:solidFill>
                  <a:schemeClr val="accent1"/>
                </a:solidFill>
                <a:latin typeface="+mj-lt"/>
                <a:ea typeface="Roboto Medium" panose="02000000000000000000" pitchFamily="2" charset="0"/>
              </a:rPr>
              <a:t>Official</a:t>
            </a:r>
          </a:p>
          <a:p>
            <a:pPr marL="0" indent="0">
              <a:lnSpc>
                <a:spcPct val="90000"/>
              </a:lnSpc>
              <a:spcBef>
                <a:spcPct val="0"/>
              </a:spcBef>
              <a:buFont typeface="Arial" panose="020B0604020202020204" pitchFamily="34" charset="0"/>
              <a:buNone/>
            </a:pPr>
            <a:r>
              <a:rPr lang="en-US" sz="2800" b="1" kern="0" spc="-150" dirty="0">
                <a:solidFill>
                  <a:schemeClr val="accent1"/>
                </a:solidFill>
                <a:latin typeface="+mj-lt"/>
                <a:ea typeface="Roboto Medium" panose="02000000000000000000" pitchFamily="2" charset="0"/>
              </a:rPr>
              <a:t>Color</a:t>
            </a:r>
          </a:p>
          <a:p>
            <a:pPr marL="0" indent="0">
              <a:lnSpc>
                <a:spcPct val="90000"/>
              </a:lnSpc>
              <a:spcBef>
                <a:spcPct val="0"/>
              </a:spcBef>
              <a:buFont typeface="Arial" panose="020B0604020202020204" pitchFamily="34" charset="0"/>
              <a:buNone/>
            </a:pPr>
            <a:r>
              <a:rPr lang="en-US" sz="2800" b="1" kern="0" spc="-150" dirty="0">
                <a:solidFill>
                  <a:schemeClr val="accent1"/>
                </a:solidFill>
                <a:latin typeface="+mj-lt"/>
                <a:ea typeface="Roboto Medium" panose="02000000000000000000" pitchFamily="2" charset="0"/>
              </a:rPr>
              <a:t>Palette</a:t>
            </a:r>
          </a:p>
        </p:txBody>
      </p:sp>
      <p:pic>
        <p:nvPicPr>
          <p:cNvPr id="4" name="Picture 3">
            <a:extLst>
              <a:ext uri="{FF2B5EF4-FFF2-40B4-BE49-F238E27FC236}">
                <a16:creationId xmlns:a16="http://schemas.microsoft.com/office/drawing/2014/main" id="{551F6EC7-E2CE-1211-847A-8D4FBE1E9ED9}"/>
              </a:ext>
            </a:extLst>
          </p:cNvPr>
          <p:cNvPicPr>
            <a:picLocks noChangeAspect="1"/>
          </p:cNvPicPr>
          <p:nvPr/>
        </p:nvPicPr>
        <p:blipFill>
          <a:blip r:embed="rId3"/>
          <a:stretch>
            <a:fillRect/>
          </a:stretch>
        </p:blipFill>
        <p:spPr>
          <a:xfrm>
            <a:off x="2089423" y="0"/>
            <a:ext cx="4965154" cy="5143500"/>
          </a:xfrm>
          <a:prstGeom prst="rect">
            <a:avLst/>
          </a:prstGeom>
        </p:spPr>
      </p:pic>
    </p:spTree>
    <p:extLst>
      <p:ext uri="{BB962C8B-B14F-4D97-AF65-F5344CB8AC3E}">
        <p14:creationId xmlns:p14="http://schemas.microsoft.com/office/powerpoint/2010/main" val="308052185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3"/>
          <p:cNvSpPr txBox="1">
            <a:spLocks/>
          </p:cNvSpPr>
          <p:nvPr/>
        </p:nvSpPr>
        <p:spPr>
          <a:xfrm>
            <a:off x="457917" y="873137"/>
            <a:ext cx="2647233" cy="2114201"/>
          </a:xfrm>
          <a:prstGeom prst="rect">
            <a:avLst/>
          </a:prstGeom>
        </p:spPr>
        <p:txBody>
          <a:bodyPr lIns="0"/>
          <a:lstStyle>
            <a:lvl1pPr algn="l" defTabSz="914400" rtl="0" eaLnBrk="1" latinLnBrk="0" hangingPunct="1">
              <a:lnSpc>
                <a:spcPct val="90000"/>
              </a:lnSpc>
              <a:spcBef>
                <a:spcPct val="0"/>
              </a:spcBef>
              <a:buNone/>
              <a:defRPr lang="en-US" sz="1800" b="1" kern="0" spc="-100" baseline="0" dirty="0">
                <a:solidFill>
                  <a:schemeClr val="accent3"/>
                </a:solidFill>
                <a:latin typeface="Arial" panose="020B0604020202020204" pitchFamily="34" charset="0"/>
                <a:ea typeface="Roboto Medium" panose="02000000000000000000" pitchFamily="2" charset="0"/>
                <a:cs typeface="Arial" panose="020B0604020202020204" pitchFamily="34" charset="0"/>
              </a:defRPr>
            </a:lvl1pPr>
          </a:lstStyle>
          <a:p>
            <a:pPr>
              <a:lnSpc>
                <a:spcPct val="120000"/>
              </a:lnSpc>
            </a:pPr>
            <a:r>
              <a:rPr lang="en-GB" sz="5400" dirty="0">
                <a:solidFill>
                  <a:schemeClr val="bg1"/>
                </a:solidFill>
              </a:rPr>
              <a:t>Less is more</a:t>
            </a:r>
          </a:p>
        </p:txBody>
      </p:sp>
      <p:sp>
        <p:nvSpPr>
          <p:cNvPr id="21" name="Text Placeholder 4"/>
          <p:cNvSpPr txBox="1">
            <a:spLocks/>
          </p:cNvSpPr>
          <p:nvPr/>
        </p:nvSpPr>
        <p:spPr>
          <a:xfrm>
            <a:off x="457201" y="3130589"/>
            <a:ext cx="2700337" cy="671512"/>
          </a:xfrm>
          <a:prstGeom prst="rect">
            <a:avLst/>
          </a:prstGeom>
        </p:spPr>
        <p:txBody>
          <a:bodyPr vert="horz" wrap="square" lIns="0" tIns="45720" rIns="0" bIns="45720" rtlCol="0">
            <a:noAutofit/>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5"/>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5"/>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5"/>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5"/>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5"/>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Whenever possible, reduce the amount of content per slide. Your total number of slides might increase, but your presentation will be more dynamic</a:t>
            </a:r>
          </a:p>
          <a:p>
            <a:pPr marL="0" indent="0">
              <a:buNone/>
            </a:pPr>
            <a:endParaRPr lang="en-US" dirty="0">
              <a:solidFill>
                <a:schemeClr val="bg1"/>
              </a:solidFill>
            </a:endParaRPr>
          </a:p>
        </p:txBody>
      </p:sp>
      <p:cxnSp>
        <p:nvCxnSpPr>
          <p:cNvPr id="3" name="Straight Connector 2"/>
          <p:cNvCxnSpPr/>
          <p:nvPr/>
        </p:nvCxnSpPr>
        <p:spPr>
          <a:xfrm>
            <a:off x="473792" y="1832960"/>
            <a:ext cx="2174209"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73792" y="2805163"/>
            <a:ext cx="1584434"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84624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7"/>
          </p:nvPr>
        </p:nvSpPr>
        <p:spPr/>
        <p:txBody>
          <a:bodyPr/>
          <a:lstStyle/>
          <a:p>
            <a:r>
              <a:rPr lang="en-US" dirty="0">
                <a:solidFill>
                  <a:srgbClr val="2B6FAB"/>
                </a:solidFill>
              </a:rPr>
              <a:t>Icon usage and examples</a:t>
            </a:r>
          </a:p>
        </p:txBody>
      </p:sp>
      <p:sp>
        <p:nvSpPr>
          <p:cNvPr id="5" name="Rectangle 4"/>
          <p:cNvSpPr/>
          <p:nvPr/>
        </p:nvSpPr>
        <p:spPr>
          <a:xfrm>
            <a:off x="5171355" y="1531151"/>
            <a:ext cx="3015856" cy="992579"/>
          </a:xfrm>
          <a:prstGeom prst="rect">
            <a:avLst/>
          </a:prstGeom>
        </p:spPr>
        <p:txBody>
          <a:bodyPr wrap="square">
            <a:spAutoFit/>
          </a:bodyPr>
          <a:lstStyle/>
          <a:p>
            <a:pPr marL="171450" indent="-171450">
              <a:lnSpc>
                <a:spcPct val="130000"/>
              </a:lnSpc>
              <a:buFont typeface="Arial" panose="020B0604020202020204" pitchFamily="34" charset="0"/>
              <a:buChar char="•"/>
            </a:pPr>
            <a:r>
              <a:rPr lang="en-US" sz="900" spc="40" dirty="0">
                <a:latin typeface="Arial" panose="020B0604020202020204" pitchFamily="34" charset="0"/>
                <a:cs typeface="Arial" panose="020B0604020202020204" pitchFamily="34" charset="0"/>
              </a:rPr>
              <a:t>Find your own icons</a:t>
            </a:r>
          </a:p>
          <a:p>
            <a:pPr marL="171450" indent="-171450">
              <a:lnSpc>
                <a:spcPct val="130000"/>
              </a:lnSpc>
              <a:buFont typeface="Arial" panose="020B0604020202020204" pitchFamily="34" charset="0"/>
              <a:buChar char="•"/>
            </a:pPr>
            <a:r>
              <a:rPr lang="en-US" sz="900" spc="40" dirty="0">
                <a:latin typeface="Arial" panose="020B0604020202020204" pitchFamily="34" charset="0"/>
                <a:cs typeface="Arial" panose="020B0604020202020204" pitchFamily="34" charset="0"/>
              </a:rPr>
              <a:t>Rotate or skew icons</a:t>
            </a:r>
          </a:p>
          <a:p>
            <a:pPr marL="171450" indent="-171450">
              <a:lnSpc>
                <a:spcPct val="130000"/>
              </a:lnSpc>
              <a:buFont typeface="Arial" panose="020B0604020202020204" pitchFamily="34" charset="0"/>
              <a:buChar char="•"/>
            </a:pPr>
            <a:r>
              <a:rPr lang="en-US" sz="900" spc="40" dirty="0">
                <a:latin typeface="Arial" panose="020B0604020202020204" pitchFamily="34" charset="0"/>
                <a:cs typeface="Arial" panose="020B0604020202020204" pitchFamily="34" charset="0"/>
              </a:rPr>
              <a:t>Use alternate colors</a:t>
            </a:r>
          </a:p>
          <a:p>
            <a:pPr marL="171450" indent="-171450">
              <a:lnSpc>
                <a:spcPct val="130000"/>
              </a:lnSpc>
              <a:buFont typeface="Arial" panose="020B0604020202020204" pitchFamily="34" charset="0"/>
              <a:buChar char="•"/>
            </a:pPr>
            <a:r>
              <a:rPr lang="en-US" sz="900" spc="40" dirty="0">
                <a:latin typeface="Arial" panose="020B0604020202020204" pitchFamily="34" charset="0"/>
                <a:cs typeface="Arial" panose="020B0604020202020204" pitchFamily="34" charset="0"/>
              </a:rPr>
              <a:t>Add features to icons</a:t>
            </a:r>
          </a:p>
          <a:p>
            <a:pPr marL="171450" indent="-171450">
              <a:lnSpc>
                <a:spcPct val="130000"/>
              </a:lnSpc>
              <a:buFont typeface="Arial" panose="020B0604020202020204" pitchFamily="34" charset="0"/>
              <a:buChar char="•"/>
            </a:pPr>
            <a:r>
              <a:rPr lang="en-US" sz="900" spc="40" dirty="0">
                <a:latin typeface="Arial" panose="020B0604020202020204" pitchFamily="34" charset="0"/>
                <a:cs typeface="Arial" panose="020B0604020202020204" pitchFamily="34" charset="0"/>
              </a:rPr>
              <a:t>Eliminate white space around icons </a:t>
            </a:r>
          </a:p>
        </p:txBody>
      </p:sp>
      <p:cxnSp>
        <p:nvCxnSpPr>
          <p:cNvPr id="23" name="Straight Connector 22"/>
          <p:cNvCxnSpPr/>
          <p:nvPr/>
        </p:nvCxnSpPr>
        <p:spPr>
          <a:xfrm>
            <a:off x="4567486" y="1609740"/>
            <a:ext cx="0" cy="308229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459737" y="1293394"/>
            <a:ext cx="962105" cy="237757"/>
          </a:xfrm>
          <a:prstGeom prst="rect">
            <a:avLst/>
          </a:prstGeom>
          <a:noFill/>
        </p:spPr>
        <p:txBody>
          <a:bodyPr wrap="square" lIns="0" rtlCol="0">
            <a:spAutoFit/>
          </a:bodyPr>
          <a:lstStyle/>
          <a:p>
            <a:pPr>
              <a:lnSpc>
                <a:spcPct val="90000"/>
              </a:lnSpc>
              <a:spcBef>
                <a:spcPts val="1200"/>
              </a:spcBef>
              <a:buClr>
                <a:srgbClr val="CC0000"/>
              </a:buClr>
              <a:buSzPct val="110000"/>
            </a:pPr>
            <a:r>
              <a:rPr lang="en-US" sz="1050" dirty="0">
                <a:solidFill>
                  <a:schemeClr val="accent2"/>
                </a:solidFill>
                <a:latin typeface="Arial" panose="020B0604020202020204" pitchFamily="34" charset="0"/>
                <a:cs typeface="Arial" panose="020B0604020202020204" pitchFamily="34" charset="0"/>
              </a:rPr>
              <a:t>Do</a:t>
            </a:r>
          </a:p>
        </p:txBody>
      </p:sp>
      <p:sp>
        <p:nvSpPr>
          <p:cNvPr id="25" name="TextBox 24"/>
          <p:cNvSpPr txBox="1"/>
          <p:nvPr/>
        </p:nvSpPr>
        <p:spPr>
          <a:xfrm>
            <a:off x="5249161" y="1293394"/>
            <a:ext cx="962105" cy="237757"/>
          </a:xfrm>
          <a:prstGeom prst="rect">
            <a:avLst/>
          </a:prstGeom>
          <a:noFill/>
        </p:spPr>
        <p:txBody>
          <a:bodyPr wrap="square" lIns="0" rtlCol="0">
            <a:spAutoFit/>
          </a:bodyPr>
          <a:lstStyle/>
          <a:p>
            <a:pPr>
              <a:lnSpc>
                <a:spcPct val="90000"/>
              </a:lnSpc>
              <a:spcBef>
                <a:spcPts val="1200"/>
              </a:spcBef>
              <a:buClr>
                <a:srgbClr val="CC0000"/>
              </a:buClr>
              <a:buSzPct val="110000"/>
            </a:pPr>
            <a:r>
              <a:rPr lang="en-US" sz="1050" dirty="0">
                <a:solidFill>
                  <a:schemeClr val="accent2"/>
                </a:solidFill>
                <a:latin typeface="Arial" panose="020B0604020202020204" pitchFamily="34" charset="0"/>
                <a:cs typeface="Arial" panose="020B0604020202020204" pitchFamily="34" charset="0"/>
              </a:rPr>
              <a:t>Don’t</a:t>
            </a:r>
          </a:p>
        </p:txBody>
      </p:sp>
      <p:sp>
        <p:nvSpPr>
          <p:cNvPr id="19" name="Rectangle 18"/>
          <p:cNvSpPr/>
          <p:nvPr/>
        </p:nvSpPr>
        <p:spPr>
          <a:xfrm>
            <a:off x="371352" y="1531151"/>
            <a:ext cx="2273726" cy="230832"/>
          </a:xfrm>
          <a:prstGeom prst="rect">
            <a:avLst/>
          </a:prstGeom>
        </p:spPr>
        <p:txBody>
          <a:bodyPr wrap="square">
            <a:spAutoFit/>
          </a:bodyPr>
          <a:lstStyle/>
          <a:p>
            <a:r>
              <a:rPr lang="en-US" sz="900" spc="40" dirty="0">
                <a:latin typeface="Arial" panose="020B0604020202020204" pitchFamily="34" charset="0"/>
                <a:cs typeface="Arial" panose="020B0604020202020204" pitchFamily="34" charset="0"/>
              </a:rPr>
              <a:t>Use icons in circles</a:t>
            </a:r>
          </a:p>
        </p:txBody>
      </p:sp>
      <p:sp>
        <p:nvSpPr>
          <p:cNvPr id="122" name="Rectangle 121"/>
          <p:cNvSpPr/>
          <p:nvPr/>
        </p:nvSpPr>
        <p:spPr>
          <a:xfrm>
            <a:off x="371353" y="3662546"/>
            <a:ext cx="1174481" cy="632481"/>
          </a:xfrm>
          <a:prstGeom prst="rect">
            <a:avLst/>
          </a:prstGeom>
        </p:spPr>
        <p:txBody>
          <a:bodyPr wrap="square">
            <a:spAutoFit/>
          </a:bodyPr>
          <a:lstStyle/>
          <a:p>
            <a:pPr>
              <a:lnSpc>
                <a:spcPct val="130000"/>
              </a:lnSpc>
            </a:pPr>
            <a:r>
              <a:rPr lang="en-US" sz="900" spc="40" dirty="0">
                <a:latin typeface="Arial" panose="020B0604020202020204" pitchFamily="34" charset="0"/>
                <a:cs typeface="Arial" panose="020B0604020202020204" pitchFamily="34" charset="0"/>
              </a:rPr>
              <a:t>Use icons sparingly to add value to the text</a:t>
            </a:r>
          </a:p>
        </p:txBody>
      </p:sp>
      <p:sp>
        <p:nvSpPr>
          <p:cNvPr id="123" name="Rectangle 122"/>
          <p:cNvSpPr/>
          <p:nvPr/>
        </p:nvSpPr>
        <p:spPr>
          <a:xfrm>
            <a:off x="1780502" y="3662546"/>
            <a:ext cx="1232289" cy="632481"/>
          </a:xfrm>
          <a:prstGeom prst="rect">
            <a:avLst/>
          </a:prstGeom>
        </p:spPr>
        <p:txBody>
          <a:bodyPr wrap="square">
            <a:spAutoFit/>
          </a:bodyPr>
          <a:lstStyle/>
          <a:p>
            <a:pPr>
              <a:lnSpc>
                <a:spcPct val="130000"/>
              </a:lnSpc>
            </a:pPr>
            <a:r>
              <a:rPr lang="en-US" sz="900" spc="40" dirty="0">
                <a:latin typeface="Arial" panose="020B0604020202020204" pitchFamily="34" charset="0"/>
                <a:cs typeface="Arial" panose="020B0604020202020204" pitchFamily="34" charset="0"/>
              </a:rPr>
              <a:t>Use icons sparingly to add value to the text</a:t>
            </a:r>
          </a:p>
        </p:txBody>
      </p:sp>
      <p:sp>
        <p:nvSpPr>
          <p:cNvPr id="124" name="Rectangle 123"/>
          <p:cNvSpPr/>
          <p:nvPr/>
        </p:nvSpPr>
        <p:spPr>
          <a:xfrm>
            <a:off x="3204762" y="3662546"/>
            <a:ext cx="1147924" cy="632481"/>
          </a:xfrm>
          <a:prstGeom prst="rect">
            <a:avLst/>
          </a:prstGeom>
        </p:spPr>
        <p:txBody>
          <a:bodyPr wrap="square">
            <a:spAutoFit/>
          </a:bodyPr>
          <a:lstStyle/>
          <a:p>
            <a:pPr>
              <a:lnSpc>
                <a:spcPct val="130000"/>
              </a:lnSpc>
            </a:pPr>
            <a:r>
              <a:rPr lang="en-US" sz="900" spc="40" dirty="0">
                <a:latin typeface="Arial" panose="020B0604020202020204" pitchFamily="34" charset="0"/>
                <a:cs typeface="Arial" panose="020B0604020202020204" pitchFamily="34" charset="0"/>
              </a:rPr>
              <a:t>Use icons sparingly to add value to the text</a:t>
            </a:r>
          </a:p>
        </p:txBody>
      </p:sp>
      <p:grpSp>
        <p:nvGrpSpPr>
          <p:cNvPr id="13" name="Group 12"/>
          <p:cNvGrpSpPr/>
          <p:nvPr/>
        </p:nvGrpSpPr>
        <p:grpSpPr>
          <a:xfrm>
            <a:off x="5227779" y="2901740"/>
            <a:ext cx="664270" cy="346691"/>
            <a:chOff x="5227779" y="2563426"/>
            <a:chExt cx="865345" cy="451634"/>
          </a:xfrm>
        </p:grpSpPr>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6326" y="2563426"/>
              <a:ext cx="459699" cy="451634"/>
            </a:xfrm>
            <a:prstGeom prst="rect">
              <a:avLst/>
            </a:prstGeom>
          </p:spPr>
        </p:pic>
        <p:sp>
          <p:nvSpPr>
            <p:cNvPr id="158" name="Rectangle 157"/>
            <p:cNvSpPr/>
            <p:nvPr/>
          </p:nvSpPr>
          <p:spPr>
            <a:xfrm rot="19807290">
              <a:off x="5227779" y="2720265"/>
              <a:ext cx="865345" cy="133388"/>
            </a:xfrm>
            <a:prstGeom prst="rect">
              <a:avLst/>
            </a:prstGeom>
            <a:solidFill>
              <a:srgbClr val="C0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2" name="Group 11"/>
          <p:cNvGrpSpPr/>
          <p:nvPr/>
        </p:nvGrpSpPr>
        <p:grpSpPr>
          <a:xfrm>
            <a:off x="6153501" y="2899819"/>
            <a:ext cx="664270" cy="289434"/>
            <a:chOff x="6153501" y="2578836"/>
            <a:chExt cx="865345" cy="377046"/>
          </a:xfrm>
        </p:grpSpPr>
        <p:grpSp>
          <p:nvGrpSpPr>
            <p:cNvPr id="132" name="Group 131"/>
            <p:cNvGrpSpPr/>
            <p:nvPr/>
          </p:nvGrpSpPr>
          <p:grpSpPr>
            <a:xfrm>
              <a:off x="6369342" y="2578836"/>
              <a:ext cx="430254" cy="377046"/>
              <a:chOff x="3910013" y="3208338"/>
              <a:chExt cx="1489075" cy="1304925"/>
            </a:xfrm>
            <a:solidFill>
              <a:schemeClr val="accent2"/>
            </a:solidFill>
          </p:grpSpPr>
          <p:sp>
            <p:nvSpPr>
              <p:cNvPr id="128" name="Freeform 6"/>
              <p:cNvSpPr>
                <a:spLocks/>
              </p:cNvSpPr>
              <p:nvPr/>
            </p:nvSpPr>
            <p:spPr bwMode="auto">
              <a:xfrm>
                <a:off x="4046538" y="3462338"/>
                <a:ext cx="1219200" cy="1050925"/>
              </a:xfrm>
              <a:custGeom>
                <a:avLst/>
                <a:gdLst>
                  <a:gd name="T0" fmla="*/ 414 w 768"/>
                  <a:gd name="T1" fmla="*/ 10 h 662"/>
                  <a:gd name="T2" fmla="*/ 396 w 768"/>
                  <a:gd name="T3" fmla="*/ 2 h 662"/>
                  <a:gd name="T4" fmla="*/ 378 w 768"/>
                  <a:gd name="T5" fmla="*/ 0 h 662"/>
                  <a:gd name="T6" fmla="*/ 358 w 768"/>
                  <a:gd name="T7" fmla="*/ 2 h 662"/>
                  <a:gd name="T8" fmla="*/ 340 w 768"/>
                  <a:gd name="T9" fmla="*/ 10 h 662"/>
                  <a:gd name="T10" fmla="*/ 36 w 768"/>
                  <a:gd name="T11" fmla="*/ 210 h 662"/>
                  <a:gd name="T12" fmla="*/ 22 w 768"/>
                  <a:gd name="T13" fmla="*/ 224 h 662"/>
                  <a:gd name="T14" fmla="*/ 2 w 768"/>
                  <a:gd name="T15" fmla="*/ 260 h 662"/>
                  <a:gd name="T16" fmla="*/ 0 w 768"/>
                  <a:gd name="T17" fmla="*/ 278 h 662"/>
                  <a:gd name="T18" fmla="*/ 0 w 768"/>
                  <a:gd name="T19" fmla="*/ 618 h 662"/>
                  <a:gd name="T20" fmla="*/ 2 w 768"/>
                  <a:gd name="T21" fmla="*/ 636 h 662"/>
                  <a:gd name="T22" fmla="*/ 12 w 768"/>
                  <a:gd name="T23" fmla="*/ 650 h 662"/>
                  <a:gd name="T24" fmla="*/ 26 w 768"/>
                  <a:gd name="T25" fmla="*/ 658 h 662"/>
                  <a:gd name="T26" fmla="*/ 42 w 768"/>
                  <a:gd name="T27" fmla="*/ 662 h 662"/>
                  <a:gd name="T28" fmla="*/ 182 w 768"/>
                  <a:gd name="T29" fmla="*/ 662 h 662"/>
                  <a:gd name="T30" fmla="*/ 200 w 768"/>
                  <a:gd name="T31" fmla="*/ 658 h 662"/>
                  <a:gd name="T32" fmla="*/ 214 w 768"/>
                  <a:gd name="T33" fmla="*/ 650 h 662"/>
                  <a:gd name="T34" fmla="*/ 224 w 768"/>
                  <a:gd name="T35" fmla="*/ 636 h 662"/>
                  <a:gd name="T36" fmla="*/ 226 w 768"/>
                  <a:gd name="T37" fmla="*/ 618 h 662"/>
                  <a:gd name="T38" fmla="*/ 226 w 768"/>
                  <a:gd name="T39" fmla="*/ 382 h 662"/>
                  <a:gd name="T40" fmla="*/ 230 w 768"/>
                  <a:gd name="T41" fmla="*/ 366 h 662"/>
                  <a:gd name="T42" fmla="*/ 240 w 768"/>
                  <a:gd name="T43" fmla="*/ 352 h 662"/>
                  <a:gd name="T44" fmla="*/ 254 w 768"/>
                  <a:gd name="T45" fmla="*/ 342 h 662"/>
                  <a:gd name="T46" fmla="*/ 270 w 768"/>
                  <a:gd name="T47" fmla="*/ 338 h 662"/>
                  <a:gd name="T48" fmla="*/ 496 w 768"/>
                  <a:gd name="T49" fmla="*/ 338 h 662"/>
                  <a:gd name="T50" fmla="*/ 512 w 768"/>
                  <a:gd name="T51" fmla="*/ 342 h 662"/>
                  <a:gd name="T52" fmla="*/ 526 w 768"/>
                  <a:gd name="T53" fmla="*/ 352 h 662"/>
                  <a:gd name="T54" fmla="*/ 536 w 768"/>
                  <a:gd name="T55" fmla="*/ 366 h 662"/>
                  <a:gd name="T56" fmla="*/ 540 w 768"/>
                  <a:gd name="T57" fmla="*/ 382 h 662"/>
                  <a:gd name="T58" fmla="*/ 540 w 768"/>
                  <a:gd name="T59" fmla="*/ 618 h 662"/>
                  <a:gd name="T60" fmla="*/ 544 w 768"/>
                  <a:gd name="T61" fmla="*/ 636 h 662"/>
                  <a:gd name="T62" fmla="*/ 552 w 768"/>
                  <a:gd name="T63" fmla="*/ 650 h 662"/>
                  <a:gd name="T64" fmla="*/ 566 w 768"/>
                  <a:gd name="T65" fmla="*/ 658 h 662"/>
                  <a:gd name="T66" fmla="*/ 584 w 768"/>
                  <a:gd name="T67" fmla="*/ 662 h 662"/>
                  <a:gd name="T68" fmla="*/ 724 w 768"/>
                  <a:gd name="T69" fmla="*/ 662 h 662"/>
                  <a:gd name="T70" fmla="*/ 740 w 768"/>
                  <a:gd name="T71" fmla="*/ 658 h 662"/>
                  <a:gd name="T72" fmla="*/ 754 w 768"/>
                  <a:gd name="T73" fmla="*/ 650 h 662"/>
                  <a:gd name="T74" fmla="*/ 764 w 768"/>
                  <a:gd name="T75" fmla="*/ 636 h 662"/>
                  <a:gd name="T76" fmla="*/ 768 w 768"/>
                  <a:gd name="T77" fmla="*/ 618 h 662"/>
                  <a:gd name="T78" fmla="*/ 768 w 768"/>
                  <a:gd name="T79" fmla="*/ 288 h 662"/>
                  <a:gd name="T80" fmla="*/ 764 w 768"/>
                  <a:gd name="T81" fmla="*/ 268 h 662"/>
                  <a:gd name="T82" fmla="*/ 744 w 768"/>
                  <a:gd name="T83" fmla="*/ 232 h 662"/>
                  <a:gd name="T84" fmla="*/ 730 w 768"/>
                  <a:gd name="T85" fmla="*/ 218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8" h="662">
                    <a:moveTo>
                      <a:pt x="414" y="10"/>
                    </a:moveTo>
                    <a:lnTo>
                      <a:pt x="414" y="10"/>
                    </a:lnTo>
                    <a:lnTo>
                      <a:pt x="406" y="6"/>
                    </a:lnTo>
                    <a:lnTo>
                      <a:pt x="396" y="2"/>
                    </a:lnTo>
                    <a:lnTo>
                      <a:pt x="388" y="0"/>
                    </a:lnTo>
                    <a:lnTo>
                      <a:pt x="378" y="0"/>
                    </a:lnTo>
                    <a:lnTo>
                      <a:pt x="368" y="0"/>
                    </a:lnTo>
                    <a:lnTo>
                      <a:pt x="358" y="2"/>
                    </a:lnTo>
                    <a:lnTo>
                      <a:pt x="348" y="6"/>
                    </a:lnTo>
                    <a:lnTo>
                      <a:pt x="340" y="10"/>
                    </a:lnTo>
                    <a:lnTo>
                      <a:pt x="36" y="210"/>
                    </a:lnTo>
                    <a:lnTo>
                      <a:pt x="36" y="210"/>
                    </a:lnTo>
                    <a:lnTo>
                      <a:pt x="28" y="216"/>
                    </a:lnTo>
                    <a:lnTo>
                      <a:pt x="22" y="224"/>
                    </a:lnTo>
                    <a:lnTo>
                      <a:pt x="10" y="240"/>
                    </a:lnTo>
                    <a:lnTo>
                      <a:pt x="2" y="260"/>
                    </a:lnTo>
                    <a:lnTo>
                      <a:pt x="0" y="268"/>
                    </a:lnTo>
                    <a:lnTo>
                      <a:pt x="0" y="278"/>
                    </a:lnTo>
                    <a:lnTo>
                      <a:pt x="0" y="618"/>
                    </a:lnTo>
                    <a:lnTo>
                      <a:pt x="0" y="618"/>
                    </a:lnTo>
                    <a:lnTo>
                      <a:pt x="0" y="628"/>
                    </a:lnTo>
                    <a:lnTo>
                      <a:pt x="2" y="636"/>
                    </a:lnTo>
                    <a:lnTo>
                      <a:pt x="6" y="644"/>
                    </a:lnTo>
                    <a:lnTo>
                      <a:pt x="12" y="650"/>
                    </a:lnTo>
                    <a:lnTo>
                      <a:pt x="18" y="654"/>
                    </a:lnTo>
                    <a:lnTo>
                      <a:pt x="26" y="658"/>
                    </a:lnTo>
                    <a:lnTo>
                      <a:pt x="34" y="662"/>
                    </a:lnTo>
                    <a:lnTo>
                      <a:pt x="42" y="662"/>
                    </a:lnTo>
                    <a:lnTo>
                      <a:pt x="182" y="662"/>
                    </a:lnTo>
                    <a:lnTo>
                      <a:pt x="182" y="662"/>
                    </a:lnTo>
                    <a:lnTo>
                      <a:pt x="192" y="662"/>
                    </a:lnTo>
                    <a:lnTo>
                      <a:pt x="200" y="658"/>
                    </a:lnTo>
                    <a:lnTo>
                      <a:pt x="208" y="654"/>
                    </a:lnTo>
                    <a:lnTo>
                      <a:pt x="214" y="650"/>
                    </a:lnTo>
                    <a:lnTo>
                      <a:pt x="220" y="644"/>
                    </a:lnTo>
                    <a:lnTo>
                      <a:pt x="224" y="636"/>
                    </a:lnTo>
                    <a:lnTo>
                      <a:pt x="226" y="628"/>
                    </a:lnTo>
                    <a:lnTo>
                      <a:pt x="226" y="618"/>
                    </a:lnTo>
                    <a:lnTo>
                      <a:pt x="226" y="382"/>
                    </a:lnTo>
                    <a:lnTo>
                      <a:pt x="226" y="382"/>
                    </a:lnTo>
                    <a:lnTo>
                      <a:pt x="228" y="374"/>
                    </a:lnTo>
                    <a:lnTo>
                      <a:pt x="230" y="366"/>
                    </a:lnTo>
                    <a:lnTo>
                      <a:pt x="234" y="358"/>
                    </a:lnTo>
                    <a:lnTo>
                      <a:pt x="240" y="352"/>
                    </a:lnTo>
                    <a:lnTo>
                      <a:pt x="246" y="346"/>
                    </a:lnTo>
                    <a:lnTo>
                      <a:pt x="254" y="342"/>
                    </a:lnTo>
                    <a:lnTo>
                      <a:pt x="262" y="340"/>
                    </a:lnTo>
                    <a:lnTo>
                      <a:pt x="270" y="338"/>
                    </a:lnTo>
                    <a:lnTo>
                      <a:pt x="496" y="338"/>
                    </a:lnTo>
                    <a:lnTo>
                      <a:pt x="496" y="338"/>
                    </a:lnTo>
                    <a:lnTo>
                      <a:pt x="504" y="340"/>
                    </a:lnTo>
                    <a:lnTo>
                      <a:pt x="512" y="342"/>
                    </a:lnTo>
                    <a:lnTo>
                      <a:pt x="520" y="346"/>
                    </a:lnTo>
                    <a:lnTo>
                      <a:pt x="526" y="352"/>
                    </a:lnTo>
                    <a:lnTo>
                      <a:pt x="532" y="358"/>
                    </a:lnTo>
                    <a:lnTo>
                      <a:pt x="536" y="366"/>
                    </a:lnTo>
                    <a:lnTo>
                      <a:pt x="538" y="374"/>
                    </a:lnTo>
                    <a:lnTo>
                      <a:pt x="540" y="382"/>
                    </a:lnTo>
                    <a:lnTo>
                      <a:pt x="540" y="618"/>
                    </a:lnTo>
                    <a:lnTo>
                      <a:pt x="540" y="618"/>
                    </a:lnTo>
                    <a:lnTo>
                      <a:pt x="540" y="628"/>
                    </a:lnTo>
                    <a:lnTo>
                      <a:pt x="544" y="636"/>
                    </a:lnTo>
                    <a:lnTo>
                      <a:pt x="548" y="644"/>
                    </a:lnTo>
                    <a:lnTo>
                      <a:pt x="552" y="650"/>
                    </a:lnTo>
                    <a:lnTo>
                      <a:pt x="560" y="654"/>
                    </a:lnTo>
                    <a:lnTo>
                      <a:pt x="566" y="658"/>
                    </a:lnTo>
                    <a:lnTo>
                      <a:pt x="574" y="662"/>
                    </a:lnTo>
                    <a:lnTo>
                      <a:pt x="584" y="662"/>
                    </a:lnTo>
                    <a:lnTo>
                      <a:pt x="724" y="662"/>
                    </a:lnTo>
                    <a:lnTo>
                      <a:pt x="724" y="662"/>
                    </a:lnTo>
                    <a:lnTo>
                      <a:pt x="732" y="662"/>
                    </a:lnTo>
                    <a:lnTo>
                      <a:pt x="740" y="658"/>
                    </a:lnTo>
                    <a:lnTo>
                      <a:pt x="748" y="654"/>
                    </a:lnTo>
                    <a:lnTo>
                      <a:pt x="754" y="650"/>
                    </a:lnTo>
                    <a:lnTo>
                      <a:pt x="760" y="644"/>
                    </a:lnTo>
                    <a:lnTo>
                      <a:pt x="764" y="636"/>
                    </a:lnTo>
                    <a:lnTo>
                      <a:pt x="766" y="628"/>
                    </a:lnTo>
                    <a:lnTo>
                      <a:pt x="768" y="618"/>
                    </a:lnTo>
                    <a:lnTo>
                      <a:pt x="768" y="288"/>
                    </a:lnTo>
                    <a:lnTo>
                      <a:pt x="768" y="288"/>
                    </a:lnTo>
                    <a:lnTo>
                      <a:pt x="766" y="278"/>
                    </a:lnTo>
                    <a:lnTo>
                      <a:pt x="764" y="268"/>
                    </a:lnTo>
                    <a:lnTo>
                      <a:pt x="756" y="248"/>
                    </a:lnTo>
                    <a:lnTo>
                      <a:pt x="744" y="232"/>
                    </a:lnTo>
                    <a:lnTo>
                      <a:pt x="738" y="224"/>
                    </a:lnTo>
                    <a:lnTo>
                      <a:pt x="730" y="218"/>
                    </a:lnTo>
                    <a:lnTo>
                      <a:pt x="414"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7"/>
              <p:cNvSpPr>
                <a:spLocks/>
              </p:cNvSpPr>
              <p:nvPr/>
            </p:nvSpPr>
            <p:spPr bwMode="auto">
              <a:xfrm>
                <a:off x="3910013" y="3208338"/>
                <a:ext cx="1489075" cy="581025"/>
              </a:xfrm>
              <a:custGeom>
                <a:avLst/>
                <a:gdLst>
                  <a:gd name="T0" fmla="*/ 890 w 938"/>
                  <a:gd name="T1" fmla="*/ 282 h 366"/>
                  <a:gd name="T2" fmla="*/ 876 w 938"/>
                  <a:gd name="T3" fmla="*/ 270 h 366"/>
                  <a:gd name="T4" fmla="*/ 856 w 938"/>
                  <a:gd name="T5" fmla="*/ 232 h 366"/>
                  <a:gd name="T6" fmla="*/ 854 w 938"/>
                  <a:gd name="T7" fmla="*/ 214 h 366"/>
                  <a:gd name="T8" fmla="*/ 854 w 938"/>
                  <a:gd name="T9" fmla="*/ 144 h 366"/>
                  <a:gd name="T10" fmla="*/ 850 w 938"/>
                  <a:gd name="T11" fmla="*/ 128 h 366"/>
                  <a:gd name="T12" fmla="*/ 840 w 938"/>
                  <a:gd name="T13" fmla="*/ 114 h 366"/>
                  <a:gd name="T14" fmla="*/ 826 w 938"/>
                  <a:gd name="T15" fmla="*/ 104 h 366"/>
                  <a:gd name="T16" fmla="*/ 810 w 938"/>
                  <a:gd name="T17" fmla="*/ 100 h 366"/>
                  <a:gd name="T18" fmla="*/ 802 w 938"/>
                  <a:gd name="T19" fmla="*/ 100 h 366"/>
                  <a:gd name="T20" fmla="*/ 786 w 938"/>
                  <a:gd name="T21" fmla="*/ 104 h 366"/>
                  <a:gd name="T22" fmla="*/ 772 w 938"/>
                  <a:gd name="T23" fmla="*/ 114 h 366"/>
                  <a:gd name="T24" fmla="*/ 762 w 938"/>
                  <a:gd name="T25" fmla="*/ 128 h 366"/>
                  <a:gd name="T26" fmla="*/ 758 w 938"/>
                  <a:gd name="T27" fmla="*/ 144 h 366"/>
                  <a:gd name="T28" fmla="*/ 758 w 938"/>
                  <a:gd name="T29" fmla="*/ 150 h 366"/>
                  <a:gd name="T30" fmla="*/ 756 w 938"/>
                  <a:gd name="T31" fmla="*/ 166 h 366"/>
                  <a:gd name="T32" fmla="*/ 748 w 938"/>
                  <a:gd name="T33" fmla="*/ 174 h 366"/>
                  <a:gd name="T34" fmla="*/ 736 w 938"/>
                  <a:gd name="T35" fmla="*/ 176 h 366"/>
                  <a:gd name="T36" fmla="*/ 722 w 938"/>
                  <a:gd name="T37" fmla="*/ 170 h 366"/>
                  <a:gd name="T38" fmla="*/ 502 w 938"/>
                  <a:gd name="T39" fmla="*/ 24 h 366"/>
                  <a:gd name="T40" fmla="*/ 462 w 938"/>
                  <a:gd name="T41" fmla="*/ 0 h 366"/>
                  <a:gd name="T42" fmla="*/ 448 w 938"/>
                  <a:gd name="T43" fmla="*/ 8 h 366"/>
                  <a:gd name="T44" fmla="*/ 22 w 938"/>
                  <a:gd name="T45" fmla="*/ 290 h 366"/>
                  <a:gd name="T46" fmla="*/ 14 w 938"/>
                  <a:gd name="T47" fmla="*/ 294 h 366"/>
                  <a:gd name="T48" fmla="*/ 4 w 938"/>
                  <a:gd name="T49" fmla="*/ 308 h 366"/>
                  <a:gd name="T50" fmla="*/ 0 w 938"/>
                  <a:gd name="T51" fmla="*/ 322 h 366"/>
                  <a:gd name="T52" fmla="*/ 2 w 938"/>
                  <a:gd name="T53" fmla="*/ 336 h 366"/>
                  <a:gd name="T54" fmla="*/ 4 w 938"/>
                  <a:gd name="T55" fmla="*/ 342 h 366"/>
                  <a:gd name="T56" fmla="*/ 14 w 938"/>
                  <a:gd name="T57" fmla="*/ 352 h 366"/>
                  <a:gd name="T58" fmla="*/ 28 w 938"/>
                  <a:gd name="T59" fmla="*/ 356 h 366"/>
                  <a:gd name="T60" fmla="*/ 44 w 938"/>
                  <a:gd name="T61" fmla="*/ 354 h 366"/>
                  <a:gd name="T62" fmla="*/ 60 w 938"/>
                  <a:gd name="T63" fmla="*/ 348 h 366"/>
                  <a:gd name="T64" fmla="*/ 426 w 938"/>
                  <a:gd name="T65" fmla="*/ 106 h 366"/>
                  <a:gd name="T66" fmla="*/ 442 w 938"/>
                  <a:gd name="T67" fmla="*/ 100 h 366"/>
                  <a:gd name="T68" fmla="*/ 462 w 938"/>
                  <a:gd name="T69" fmla="*/ 96 h 366"/>
                  <a:gd name="T70" fmla="*/ 482 w 938"/>
                  <a:gd name="T71" fmla="*/ 100 h 366"/>
                  <a:gd name="T72" fmla="*/ 498 w 938"/>
                  <a:gd name="T73" fmla="*/ 106 h 366"/>
                  <a:gd name="T74" fmla="*/ 878 w 938"/>
                  <a:gd name="T75" fmla="*/ 358 h 366"/>
                  <a:gd name="T76" fmla="*/ 892 w 938"/>
                  <a:gd name="T77" fmla="*/ 366 h 366"/>
                  <a:gd name="T78" fmla="*/ 908 w 938"/>
                  <a:gd name="T79" fmla="*/ 366 h 366"/>
                  <a:gd name="T80" fmla="*/ 922 w 938"/>
                  <a:gd name="T81" fmla="*/ 362 h 366"/>
                  <a:gd name="T82" fmla="*/ 934 w 938"/>
                  <a:gd name="T83" fmla="*/ 352 h 366"/>
                  <a:gd name="T84" fmla="*/ 936 w 938"/>
                  <a:gd name="T85" fmla="*/ 346 h 366"/>
                  <a:gd name="T86" fmla="*/ 938 w 938"/>
                  <a:gd name="T87" fmla="*/ 332 h 366"/>
                  <a:gd name="T88" fmla="*/ 934 w 938"/>
                  <a:gd name="T89" fmla="*/ 318 h 366"/>
                  <a:gd name="T90" fmla="*/ 922 w 938"/>
                  <a:gd name="T91" fmla="*/ 304 h 366"/>
                  <a:gd name="T92" fmla="*/ 890 w 938"/>
                  <a:gd name="T93" fmla="*/ 282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8" h="366">
                    <a:moveTo>
                      <a:pt x="890" y="282"/>
                    </a:moveTo>
                    <a:lnTo>
                      <a:pt x="890" y="282"/>
                    </a:lnTo>
                    <a:lnTo>
                      <a:pt x="882" y="276"/>
                    </a:lnTo>
                    <a:lnTo>
                      <a:pt x="876" y="270"/>
                    </a:lnTo>
                    <a:lnTo>
                      <a:pt x="864" y="252"/>
                    </a:lnTo>
                    <a:lnTo>
                      <a:pt x="856" y="232"/>
                    </a:lnTo>
                    <a:lnTo>
                      <a:pt x="854" y="224"/>
                    </a:lnTo>
                    <a:lnTo>
                      <a:pt x="854" y="214"/>
                    </a:lnTo>
                    <a:lnTo>
                      <a:pt x="854" y="144"/>
                    </a:lnTo>
                    <a:lnTo>
                      <a:pt x="854" y="144"/>
                    </a:lnTo>
                    <a:lnTo>
                      <a:pt x="852" y="136"/>
                    </a:lnTo>
                    <a:lnTo>
                      <a:pt x="850" y="128"/>
                    </a:lnTo>
                    <a:lnTo>
                      <a:pt x="846" y="120"/>
                    </a:lnTo>
                    <a:lnTo>
                      <a:pt x="840" y="114"/>
                    </a:lnTo>
                    <a:lnTo>
                      <a:pt x="834" y="108"/>
                    </a:lnTo>
                    <a:lnTo>
                      <a:pt x="826" y="104"/>
                    </a:lnTo>
                    <a:lnTo>
                      <a:pt x="818" y="102"/>
                    </a:lnTo>
                    <a:lnTo>
                      <a:pt x="810" y="100"/>
                    </a:lnTo>
                    <a:lnTo>
                      <a:pt x="802" y="100"/>
                    </a:lnTo>
                    <a:lnTo>
                      <a:pt x="802" y="100"/>
                    </a:lnTo>
                    <a:lnTo>
                      <a:pt x="794" y="102"/>
                    </a:lnTo>
                    <a:lnTo>
                      <a:pt x="786" y="104"/>
                    </a:lnTo>
                    <a:lnTo>
                      <a:pt x="778" y="108"/>
                    </a:lnTo>
                    <a:lnTo>
                      <a:pt x="772" y="114"/>
                    </a:lnTo>
                    <a:lnTo>
                      <a:pt x="766" y="120"/>
                    </a:lnTo>
                    <a:lnTo>
                      <a:pt x="762" y="128"/>
                    </a:lnTo>
                    <a:lnTo>
                      <a:pt x="760" y="136"/>
                    </a:lnTo>
                    <a:lnTo>
                      <a:pt x="758" y="144"/>
                    </a:lnTo>
                    <a:lnTo>
                      <a:pt x="758" y="150"/>
                    </a:lnTo>
                    <a:lnTo>
                      <a:pt x="758" y="150"/>
                    </a:lnTo>
                    <a:lnTo>
                      <a:pt x="758" y="160"/>
                    </a:lnTo>
                    <a:lnTo>
                      <a:pt x="756" y="166"/>
                    </a:lnTo>
                    <a:lnTo>
                      <a:pt x="752" y="172"/>
                    </a:lnTo>
                    <a:lnTo>
                      <a:pt x="748" y="174"/>
                    </a:lnTo>
                    <a:lnTo>
                      <a:pt x="742" y="176"/>
                    </a:lnTo>
                    <a:lnTo>
                      <a:pt x="736" y="176"/>
                    </a:lnTo>
                    <a:lnTo>
                      <a:pt x="730" y="174"/>
                    </a:lnTo>
                    <a:lnTo>
                      <a:pt x="722" y="170"/>
                    </a:lnTo>
                    <a:lnTo>
                      <a:pt x="502" y="24"/>
                    </a:lnTo>
                    <a:lnTo>
                      <a:pt x="502" y="24"/>
                    </a:lnTo>
                    <a:lnTo>
                      <a:pt x="476" y="8"/>
                    </a:lnTo>
                    <a:lnTo>
                      <a:pt x="462" y="0"/>
                    </a:lnTo>
                    <a:lnTo>
                      <a:pt x="462" y="0"/>
                    </a:lnTo>
                    <a:lnTo>
                      <a:pt x="448" y="8"/>
                    </a:lnTo>
                    <a:lnTo>
                      <a:pt x="422" y="24"/>
                    </a:lnTo>
                    <a:lnTo>
                      <a:pt x="22" y="290"/>
                    </a:lnTo>
                    <a:lnTo>
                      <a:pt x="22" y="290"/>
                    </a:lnTo>
                    <a:lnTo>
                      <a:pt x="14" y="294"/>
                    </a:lnTo>
                    <a:lnTo>
                      <a:pt x="8" y="300"/>
                    </a:lnTo>
                    <a:lnTo>
                      <a:pt x="4" y="308"/>
                    </a:lnTo>
                    <a:lnTo>
                      <a:pt x="2" y="314"/>
                    </a:lnTo>
                    <a:lnTo>
                      <a:pt x="0" y="322"/>
                    </a:lnTo>
                    <a:lnTo>
                      <a:pt x="0" y="330"/>
                    </a:lnTo>
                    <a:lnTo>
                      <a:pt x="2" y="336"/>
                    </a:lnTo>
                    <a:lnTo>
                      <a:pt x="4" y="342"/>
                    </a:lnTo>
                    <a:lnTo>
                      <a:pt x="4" y="342"/>
                    </a:lnTo>
                    <a:lnTo>
                      <a:pt x="8" y="348"/>
                    </a:lnTo>
                    <a:lnTo>
                      <a:pt x="14" y="352"/>
                    </a:lnTo>
                    <a:lnTo>
                      <a:pt x="22" y="354"/>
                    </a:lnTo>
                    <a:lnTo>
                      <a:pt x="28" y="356"/>
                    </a:lnTo>
                    <a:lnTo>
                      <a:pt x="36" y="356"/>
                    </a:lnTo>
                    <a:lnTo>
                      <a:pt x="44" y="354"/>
                    </a:lnTo>
                    <a:lnTo>
                      <a:pt x="52" y="352"/>
                    </a:lnTo>
                    <a:lnTo>
                      <a:pt x="60" y="348"/>
                    </a:lnTo>
                    <a:lnTo>
                      <a:pt x="426" y="106"/>
                    </a:lnTo>
                    <a:lnTo>
                      <a:pt x="426" y="106"/>
                    </a:lnTo>
                    <a:lnTo>
                      <a:pt x="434" y="102"/>
                    </a:lnTo>
                    <a:lnTo>
                      <a:pt x="442" y="100"/>
                    </a:lnTo>
                    <a:lnTo>
                      <a:pt x="452" y="98"/>
                    </a:lnTo>
                    <a:lnTo>
                      <a:pt x="462" y="96"/>
                    </a:lnTo>
                    <a:lnTo>
                      <a:pt x="472" y="98"/>
                    </a:lnTo>
                    <a:lnTo>
                      <a:pt x="482" y="100"/>
                    </a:lnTo>
                    <a:lnTo>
                      <a:pt x="490" y="102"/>
                    </a:lnTo>
                    <a:lnTo>
                      <a:pt x="498" y="106"/>
                    </a:lnTo>
                    <a:lnTo>
                      <a:pt x="878" y="358"/>
                    </a:lnTo>
                    <a:lnTo>
                      <a:pt x="878" y="358"/>
                    </a:lnTo>
                    <a:lnTo>
                      <a:pt x="884" y="362"/>
                    </a:lnTo>
                    <a:lnTo>
                      <a:pt x="892" y="366"/>
                    </a:lnTo>
                    <a:lnTo>
                      <a:pt x="900" y="366"/>
                    </a:lnTo>
                    <a:lnTo>
                      <a:pt x="908" y="366"/>
                    </a:lnTo>
                    <a:lnTo>
                      <a:pt x="916" y="366"/>
                    </a:lnTo>
                    <a:lnTo>
                      <a:pt x="922" y="362"/>
                    </a:lnTo>
                    <a:lnTo>
                      <a:pt x="928" y="358"/>
                    </a:lnTo>
                    <a:lnTo>
                      <a:pt x="934" y="352"/>
                    </a:lnTo>
                    <a:lnTo>
                      <a:pt x="934" y="352"/>
                    </a:lnTo>
                    <a:lnTo>
                      <a:pt x="936" y="346"/>
                    </a:lnTo>
                    <a:lnTo>
                      <a:pt x="938" y="340"/>
                    </a:lnTo>
                    <a:lnTo>
                      <a:pt x="938" y="332"/>
                    </a:lnTo>
                    <a:lnTo>
                      <a:pt x="936" y="326"/>
                    </a:lnTo>
                    <a:lnTo>
                      <a:pt x="934" y="318"/>
                    </a:lnTo>
                    <a:lnTo>
                      <a:pt x="928" y="310"/>
                    </a:lnTo>
                    <a:lnTo>
                      <a:pt x="922" y="304"/>
                    </a:lnTo>
                    <a:lnTo>
                      <a:pt x="916" y="300"/>
                    </a:lnTo>
                    <a:lnTo>
                      <a:pt x="890" y="2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9" name="Rectangle 158"/>
            <p:cNvSpPr/>
            <p:nvPr/>
          </p:nvSpPr>
          <p:spPr>
            <a:xfrm rot="19807290">
              <a:off x="6153501" y="2720265"/>
              <a:ext cx="865345" cy="133388"/>
            </a:xfrm>
            <a:prstGeom prst="rect">
              <a:avLst/>
            </a:prstGeom>
            <a:solidFill>
              <a:srgbClr val="C0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8" name="Group 7"/>
          <p:cNvGrpSpPr/>
          <p:nvPr/>
        </p:nvGrpSpPr>
        <p:grpSpPr>
          <a:xfrm>
            <a:off x="7174695" y="2864824"/>
            <a:ext cx="664270" cy="399412"/>
            <a:chOff x="5842116" y="3709374"/>
            <a:chExt cx="865345" cy="520314"/>
          </a:xfrm>
        </p:grpSpPr>
        <p:sp>
          <p:nvSpPr>
            <p:cNvPr id="137" name="Oval 136"/>
            <p:cNvSpPr/>
            <p:nvPr/>
          </p:nvSpPr>
          <p:spPr>
            <a:xfrm>
              <a:off x="5994249" y="3709374"/>
              <a:ext cx="520314" cy="52031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algn="ctr" defTabSz="914378"/>
              <a:endParaRPr lang="en-US" sz="2400" kern="0">
                <a:gradFill>
                  <a:gsLst>
                    <a:gs pos="0">
                      <a:srgbClr val="FFFFFF"/>
                    </a:gs>
                    <a:gs pos="98000">
                      <a:srgbClr val="FFFFFF"/>
                    </a:gs>
                  </a:gsLst>
                  <a:lin ang="5400000" scaled="0"/>
                </a:gradFill>
                <a:ea typeface="Segoe UI Black" panose="020B0A02040204020203" pitchFamily="34" charset="0"/>
                <a:cs typeface="Segoe UI Black" panose="020B0A02040204020203" pitchFamily="34" charset="0"/>
              </a:endParaRPr>
            </a:p>
          </p:txBody>
        </p:sp>
        <p:grpSp>
          <p:nvGrpSpPr>
            <p:cNvPr id="138" name="Group 137"/>
            <p:cNvGrpSpPr/>
            <p:nvPr/>
          </p:nvGrpSpPr>
          <p:grpSpPr>
            <a:xfrm>
              <a:off x="6126115" y="3832906"/>
              <a:ext cx="231181" cy="266900"/>
              <a:chOff x="3490913" y="2684463"/>
              <a:chExt cx="369888" cy="427038"/>
            </a:xfrm>
            <a:solidFill>
              <a:schemeClr val="accent3"/>
            </a:solidFill>
          </p:grpSpPr>
          <p:sp>
            <p:nvSpPr>
              <p:cNvPr id="139" name="Freeform 32"/>
              <p:cNvSpPr>
                <a:spLocks/>
              </p:cNvSpPr>
              <p:nvPr/>
            </p:nvSpPr>
            <p:spPr bwMode="auto">
              <a:xfrm>
                <a:off x="3490913" y="2835276"/>
                <a:ext cx="150813" cy="276225"/>
              </a:xfrm>
              <a:custGeom>
                <a:avLst/>
                <a:gdLst>
                  <a:gd name="T0" fmla="*/ 134 w 381"/>
                  <a:gd name="T1" fmla="*/ 15 h 694"/>
                  <a:gd name="T2" fmla="*/ 217 w 381"/>
                  <a:gd name="T3" fmla="*/ 304 h 694"/>
                  <a:gd name="T4" fmla="*/ 0 w 381"/>
                  <a:gd name="T5" fmla="*/ 366 h 694"/>
                  <a:gd name="T6" fmla="*/ 13 w 381"/>
                  <a:gd name="T7" fmla="*/ 416 h 694"/>
                  <a:gd name="T8" fmla="*/ 232 w 381"/>
                  <a:gd name="T9" fmla="*/ 354 h 694"/>
                  <a:gd name="T10" fmla="*/ 330 w 381"/>
                  <a:gd name="T11" fmla="*/ 694 h 694"/>
                  <a:gd name="T12" fmla="*/ 381 w 381"/>
                  <a:gd name="T13" fmla="*/ 679 h 694"/>
                  <a:gd name="T14" fmla="*/ 185 w 381"/>
                  <a:gd name="T15" fmla="*/ 0 h 694"/>
                  <a:gd name="T16" fmla="*/ 134 w 381"/>
                  <a:gd name="T17" fmla="*/ 1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1" h="694">
                    <a:moveTo>
                      <a:pt x="134" y="15"/>
                    </a:moveTo>
                    <a:lnTo>
                      <a:pt x="217" y="304"/>
                    </a:lnTo>
                    <a:lnTo>
                      <a:pt x="0" y="366"/>
                    </a:lnTo>
                    <a:lnTo>
                      <a:pt x="13" y="416"/>
                    </a:lnTo>
                    <a:lnTo>
                      <a:pt x="232" y="354"/>
                    </a:lnTo>
                    <a:lnTo>
                      <a:pt x="330" y="694"/>
                    </a:lnTo>
                    <a:lnTo>
                      <a:pt x="381" y="679"/>
                    </a:lnTo>
                    <a:lnTo>
                      <a:pt x="185" y="0"/>
                    </a:lnTo>
                    <a:lnTo>
                      <a:pt x="134"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33"/>
              <p:cNvSpPr>
                <a:spLocks/>
              </p:cNvSpPr>
              <p:nvPr/>
            </p:nvSpPr>
            <p:spPr bwMode="auto">
              <a:xfrm>
                <a:off x="3608388" y="2892426"/>
                <a:ext cx="252413" cy="206375"/>
              </a:xfrm>
              <a:custGeom>
                <a:avLst/>
                <a:gdLst>
                  <a:gd name="T0" fmla="*/ 634 w 634"/>
                  <a:gd name="T1" fmla="*/ 196 h 521"/>
                  <a:gd name="T2" fmla="*/ 619 w 634"/>
                  <a:gd name="T3" fmla="*/ 145 h 521"/>
                  <a:gd name="T4" fmla="*/ 120 w 634"/>
                  <a:gd name="T5" fmla="*/ 289 h 521"/>
                  <a:gd name="T6" fmla="*/ 65 w 634"/>
                  <a:gd name="T7" fmla="*/ 98 h 521"/>
                  <a:gd name="T8" fmla="*/ 234 w 634"/>
                  <a:gd name="T9" fmla="*/ 48 h 521"/>
                  <a:gd name="T10" fmla="*/ 234 w 634"/>
                  <a:gd name="T11" fmla="*/ 48 h 521"/>
                  <a:gd name="T12" fmla="*/ 209 w 634"/>
                  <a:gd name="T13" fmla="*/ 0 h 521"/>
                  <a:gd name="T14" fmla="*/ 0 w 634"/>
                  <a:gd name="T15" fmla="*/ 63 h 521"/>
                  <a:gd name="T16" fmla="*/ 132 w 634"/>
                  <a:gd name="T17" fmla="*/ 521 h 521"/>
                  <a:gd name="T18" fmla="*/ 182 w 634"/>
                  <a:gd name="T19" fmla="*/ 507 h 521"/>
                  <a:gd name="T20" fmla="*/ 135 w 634"/>
                  <a:gd name="T21" fmla="*/ 339 h 521"/>
                  <a:gd name="T22" fmla="*/ 469 w 634"/>
                  <a:gd name="T23" fmla="*/ 243 h 521"/>
                  <a:gd name="T24" fmla="*/ 500 w 634"/>
                  <a:gd name="T25" fmla="*/ 352 h 521"/>
                  <a:gd name="T26" fmla="*/ 550 w 634"/>
                  <a:gd name="T27" fmla="*/ 338 h 521"/>
                  <a:gd name="T28" fmla="*/ 519 w 634"/>
                  <a:gd name="T29" fmla="*/ 228 h 521"/>
                  <a:gd name="T30" fmla="*/ 634 w 634"/>
                  <a:gd name="T31" fmla="*/ 196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4" h="521">
                    <a:moveTo>
                      <a:pt x="634" y="196"/>
                    </a:moveTo>
                    <a:lnTo>
                      <a:pt x="619" y="145"/>
                    </a:lnTo>
                    <a:lnTo>
                      <a:pt x="120" y="289"/>
                    </a:lnTo>
                    <a:lnTo>
                      <a:pt x="65" y="98"/>
                    </a:lnTo>
                    <a:lnTo>
                      <a:pt x="234" y="48"/>
                    </a:lnTo>
                    <a:lnTo>
                      <a:pt x="234" y="48"/>
                    </a:lnTo>
                    <a:lnTo>
                      <a:pt x="209" y="0"/>
                    </a:lnTo>
                    <a:lnTo>
                      <a:pt x="0" y="63"/>
                    </a:lnTo>
                    <a:lnTo>
                      <a:pt x="132" y="521"/>
                    </a:lnTo>
                    <a:lnTo>
                      <a:pt x="182" y="507"/>
                    </a:lnTo>
                    <a:lnTo>
                      <a:pt x="135" y="339"/>
                    </a:lnTo>
                    <a:lnTo>
                      <a:pt x="469" y="243"/>
                    </a:lnTo>
                    <a:lnTo>
                      <a:pt x="500" y="352"/>
                    </a:lnTo>
                    <a:lnTo>
                      <a:pt x="550" y="338"/>
                    </a:lnTo>
                    <a:lnTo>
                      <a:pt x="519" y="228"/>
                    </a:lnTo>
                    <a:lnTo>
                      <a:pt x="634" y="1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34"/>
              <p:cNvSpPr>
                <a:spLocks/>
              </p:cNvSpPr>
              <p:nvPr/>
            </p:nvSpPr>
            <p:spPr bwMode="auto">
              <a:xfrm>
                <a:off x="3582988" y="2822576"/>
                <a:ext cx="98425" cy="73025"/>
              </a:xfrm>
              <a:custGeom>
                <a:avLst/>
                <a:gdLst>
                  <a:gd name="T0" fmla="*/ 248 w 248"/>
                  <a:gd name="T1" fmla="*/ 125 h 184"/>
                  <a:gd name="T2" fmla="*/ 248 w 248"/>
                  <a:gd name="T3" fmla="*/ 125 h 184"/>
                  <a:gd name="T4" fmla="*/ 224 w 248"/>
                  <a:gd name="T5" fmla="*/ 77 h 184"/>
                  <a:gd name="T6" fmla="*/ 84 w 248"/>
                  <a:gd name="T7" fmla="*/ 118 h 184"/>
                  <a:gd name="T8" fmla="*/ 50 w 248"/>
                  <a:gd name="T9" fmla="*/ 0 h 184"/>
                  <a:gd name="T10" fmla="*/ 0 w 248"/>
                  <a:gd name="T11" fmla="*/ 13 h 184"/>
                  <a:gd name="T12" fmla="*/ 49 w 248"/>
                  <a:gd name="T13" fmla="*/ 184 h 184"/>
                  <a:gd name="T14" fmla="*/ 248 w 248"/>
                  <a:gd name="T15" fmla="*/ 125 h 18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8" h="184">
                    <a:moveTo>
                      <a:pt x="248" y="125"/>
                    </a:moveTo>
                    <a:lnTo>
                      <a:pt x="248" y="125"/>
                    </a:lnTo>
                    <a:lnTo>
                      <a:pt x="224" y="77"/>
                    </a:lnTo>
                    <a:lnTo>
                      <a:pt x="84" y="118"/>
                    </a:lnTo>
                    <a:lnTo>
                      <a:pt x="50" y="0"/>
                    </a:lnTo>
                    <a:lnTo>
                      <a:pt x="0" y="13"/>
                    </a:lnTo>
                    <a:lnTo>
                      <a:pt x="49" y="184"/>
                    </a:lnTo>
                    <a:lnTo>
                      <a:pt x="248"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35"/>
              <p:cNvSpPr>
                <a:spLocks noEditPoints="1"/>
              </p:cNvSpPr>
              <p:nvPr/>
            </p:nvSpPr>
            <p:spPr bwMode="auto">
              <a:xfrm>
                <a:off x="3663950" y="2684463"/>
                <a:ext cx="169863" cy="261938"/>
              </a:xfrm>
              <a:custGeom>
                <a:avLst/>
                <a:gdLst>
                  <a:gd name="T0" fmla="*/ 220 w 428"/>
                  <a:gd name="T1" fmla="*/ 658 h 659"/>
                  <a:gd name="T2" fmla="*/ 237 w 428"/>
                  <a:gd name="T3" fmla="*/ 647 h 659"/>
                  <a:gd name="T4" fmla="*/ 306 w 428"/>
                  <a:gd name="T5" fmla="*/ 523 h 659"/>
                  <a:gd name="T6" fmla="*/ 373 w 428"/>
                  <a:gd name="T7" fmla="*/ 389 h 659"/>
                  <a:gd name="T8" fmla="*/ 412 w 428"/>
                  <a:gd name="T9" fmla="*/ 290 h 659"/>
                  <a:gd name="T10" fmla="*/ 427 w 428"/>
                  <a:gd name="T11" fmla="*/ 224 h 659"/>
                  <a:gd name="T12" fmla="*/ 427 w 428"/>
                  <a:gd name="T13" fmla="*/ 191 h 659"/>
                  <a:gd name="T14" fmla="*/ 411 w 428"/>
                  <a:gd name="T15" fmla="*/ 130 h 659"/>
                  <a:gd name="T16" fmla="*/ 379 w 428"/>
                  <a:gd name="T17" fmla="*/ 77 h 659"/>
                  <a:gd name="T18" fmla="*/ 333 w 428"/>
                  <a:gd name="T19" fmla="*/ 36 h 659"/>
                  <a:gd name="T20" fmla="*/ 278 w 428"/>
                  <a:gd name="T21" fmla="*/ 8 h 659"/>
                  <a:gd name="T22" fmla="*/ 214 w 428"/>
                  <a:gd name="T23" fmla="*/ 0 h 659"/>
                  <a:gd name="T24" fmla="*/ 170 w 428"/>
                  <a:gd name="T25" fmla="*/ 3 h 659"/>
                  <a:gd name="T26" fmla="*/ 112 w 428"/>
                  <a:gd name="T27" fmla="*/ 25 h 659"/>
                  <a:gd name="T28" fmla="*/ 63 w 428"/>
                  <a:gd name="T29" fmla="*/ 62 h 659"/>
                  <a:gd name="T30" fmla="*/ 26 w 428"/>
                  <a:gd name="T31" fmla="*/ 111 h 659"/>
                  <a:gd name="T32" fmla="*/ 4 w 428"/>
                  <a:gd name="T33" fmla="*/ 170 h 659"/>
                  <a:gd name="T34" fmla="*/ 0 w 428"/>
                  <a:gd name="T35" fmla="*/ 214 h 659"/>
                  <a:gd name="T36" fmla="*/ 8 w 428"/>
                  <a:gd name="T37" fmla="*/ 261 h 659"/>
                  <a:gd name="T38" fmla="*/ 40 w 428"/>
                  <a:gd name="T39" fmla="*/ 355 h 659"/>
                  <a:gd name="T40" fmla="*/ 88 w 428"/>
                  <a:gd name="T41" fmla="*/ 458 h 659"/>
                  <a:gd name="T42" fmla="*/ 192 w 428"/>
                  <a:gd name="T43" fmla="*/ 647 h 659"/>
                  <a:gd name="T44" fmla="*/ 200 w 428"/>
                  <a:gd name="T45" fmla="*/ 655 h 659"/>
                  <a:gd name="T46" fmla="*/ 214 w 428"/>
                  <a:gd name="T47" fmla="*/ 659 h 659"/>
                  <a:gd name="T48" fmla="*/ 230 w 428"/>
                  <a:gd name="T49" fmla="*/ 52 h 659"/>
                  <a:gd name="T50" fmla="*/ 277 w 428"/>
                  <a:gd name="T51" fmla="*/ 65 h 659"/>
                  <a:gd name="T52" fmla="*/ 317 w 428"/>
                  <a:gd name="T53" fmla="*/ 89 h 659"/>
                  <a:gd name="T54" fmla="*/ 348 w 428"/>
                  <a:gd name="T55" fmla="*/ 124 h 659"/>
                  <a:gd name="T56" fmla="*/ 368 w 428"/>
                  <a:gd name="T57" fmla="*/ 165 h 659"/>
                  <a:gd name="T58" fmla="*/ 376 w 428"/>
                  <a:gd name="T59" fmla="*/ 214 h 659"/>
                  <a:gd name="T60" fmla="*/ 371 w 428"/>
                  <a:gd name="T61" fmla="*/ 245 h 659"/>
                  <a:gd name="T62" fmla="*/ 349 w 428"/>
                  <a:gd name="T63" fmla="*/ 308 h 659"/>
                  <a:gd name="T64" fmla="*/ 292 w 428"/>
                  <a:gd name="T65" fmla="*/ 436 h 659"/>
                  <a:gd name="T66" fmla="*/ 214 w 428"/>
                  <a:gd name="T67" fmla="*/ 580 h 659"/>
                  <a:gd name="T68" fmla="*/ 164 w 428"/>
                  <a:gd name="T69" fmla="*/ 489 h 659"/>
                  <a:gd name="T70" fmla="*/ 88 w 428"/>
                  <a:gd name="T71" fmla="*/ 333 h 659"/>
                  <a:gd name="T72" fmla="*/ 63 w 428"/>
                  <a:gd name="T73" fmla="*/ 264 h 659"/>
                  <a:gd name="T74" fmla="*/ 53 w 428"/>
                  <a:gd name="T75" fmla="*/ 214 h 659"/>
                  <a:gd name="T76" fmla="*/ 57 w 428"/>
                  <a:gd name="T77" fmla="*/ 181 h 659"/>
                  <a:gd name="T78" fmla="*/ 72 w 428"/>
                  <a:gd name="T79" fmla="*/ 136 h 659"/>
                  <a:gd name="T80" fmla="*/ 100 w 428"/>
                  <a:gd name="T81" fmla="*/ 100 h 659"/>
                  <a:gd name="T82" fmla="*/ 137 w 428"/>
                  <a:gd name="T83" fmla="*/ 71 h 659"/>
                  <a:gd name="T84" fmla="*/ 182 w 428"/>
                  <a:gd name="T85" fmla="*/ 55 h 659"/>
                  <a:gd name="T86" fmla="*/ 214 w 428"/>
                  <a:gd name="T87" fmla="*/ 52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8" h="659">
                    <a:moveTo>
                      <a:pt x="214" y="659"/>
                    </a:moveTo>
                    <a:lnTo>
                      <a:pt x="214" y="659"/>
                    </a:lnTo>
                    <a:lnTo>
                      <a:pt x="220" y="658"/>
                    </a:lnTo>
                    <a:lnTo>
                      <a:pt x="227" y="655"/>
                    </a:lnTo>
                    <a:lnTo>
                      <a:pt x="233" y="652"/>
                    </a:lnTo>
                    <a:lnTo>
                      <a:pt x="237" y="647"/>
                    </a:lnTo>
                    <a:lnTo>
                      <a:pt x="237" y="647"/>
                    </a:lnTo>
                    <a:lnTo>
                      <a:pt x="274" y="580"/>
                    </a:lnTo>
                    <a:lnTo>
                      <a:pt x="306" y="523"/>
                    </a:lnTo>
                    <a:lnTo>
                      <a:pt x="339" y="458"/>
                    </a:lnTo>
                    <a:lnTo>
                      <a:pt x="357" y="424"/>
                    </a:lnTo>
                    <a:lnTo>
                      <a:pt x="373" y="389"/>
                    </a:lnTo>
                    <a:lnTo>
                      <a:pt x="387" y="355"/>
                    </a:lnTo>
                    <a:lnTo>
                      <a:pt x="401" y="321"/>
                    </a:lnTo>
                    <a:lnTo>
                      <a:pt x="412" y="290"/>
                    </a:lnTo>
                    <a:lnTo>
                      <a:pt x="421" y="261"/>
                    </a:lnTo>
                    <a:lnTo>
                      <a:pt x="426" y="235"/>
                    </a:lnTo>
                    <a:lnTo>
                      <a:pt x="427" y="224"/>
                    </a:lnTo>
                    <a:lnTo>
                      <a:pt x="428" y="214"/>
                    </a:lnTo>
                    <a:lnTo>
                      <a:pt x="428" y="214"/>
                    </a:lnTo>
                    <a:lnTo>
                      <a:pt x="427" y="191"/>
                    </a:lnTo>
                    <a:lnTo>
                      <a:pt x="423" y="170"/>
                    </a:lnTo>
                    <a:lnTo>
                      <a:pt x="418" y="150"/>
                    </a:lnTo>
                    <a:lnTo>
                      <a:pt x="411" y="130"/>
                    </a:lnTo>
                    <a:lnTo>
                      <a:pt x="402" y="111"/>
                    </a:lnTo>
                    <a:lnTo>
                      <a:pt x="392" y="94"/>
                    </a:lnTo>
                    <a:lnTo>
                      <a:pt x="379" y="77"/>
                    </a:lnTo>
                    <a:lnTo>
                      <a:pt x="366" y="62"/>
                    </a:lnTo>
                    <a:lnTo>
                      <a:pt x="351" y="48"/>
                    </a:lnTo>
                    <a:lnTo>
                      <a:pt x="333" y="36"/>
                    </a:lnTo>
                    <a:lnTo>
                      <a:pt x="316" y="25"/>
                    </a:lnTo>
                    <a:lnTo>
                      <a:pt x="297" y="16"/>
                    </a:lnTo>
                    <a:lnTo>
                      <a:pt x="278" y="8"/>
                    </a:lnTo>
                    <a:lnTo>
                      <a:pt x="257" y="3"/>
                    </a:lnTo>
                    <a:lnTo>
                      <a:pt x="235" y="1"/>
                    </a:lnTo>
                    <a:lnTo>
                      <a:pt x="214" y="0"/>
                    </a:lnTo>
                    <a:lnTo>
                      <a:pt x="214" y="0"/>
                    </a:lnTo>
                    <a:lnTo>
                      <a:pt x="192" y="1"/>
                    </a:lnTo>
                    <a:lnTo>
                      <a:pt x="170" y="3"/>
                    </a:lnTo>
                    <a:lnTo>
                      <a:pt x="150" y="8"/>
                    </a:lnTo>
                    <a:lnTo>
                      <a:pt x="130" y="16"/>
                    </a:lnTo>
                    <a:lnTo>
                      <a:pt x="112" y="25"/>
                    </a:lnTo>
                    <a:lnTo>
                      <a:pt x="94" y="36"/>
                    </a:lnTo>
                    <a:lnTo>
                      <a:pt x="78" y="48"/>
                    </a:lnTo>
                    <a:lnTo>
                      <a:pt x="63" y="62"/>
                    </a:lnTo>
                    <a:lnTo>
                      <a:pt x="49" y="77"/>
                    </a:lnTo>
                    <a:lnTo>
                      <a:pt x="36" y="94"/>
                    </a:lnTo>
                    <a:lnTo>
                      <a:pt x="26" y="111"/>
                    </a:lnTo>
                    <a:lnTo>
                      <a:pt x="16" y="130"/>
                    </a:lnTo>
                    <a:lnTo>
                      <a:pt x="10" y="150"/>
                    </a:lnTo>
                    <a:lnTo>
                      <a:pt x="4" y="170"/>
                    </a:lnTo>
                    <a:lnTo>
                      <a:pt x="1" y="191"/>
                    </a:lnTo>
                    <a:lnTo>
                      <a:pt x="0" y="214"/>
                    </a:lnTo>
                    <a:lnTo>
                      <a:pt x="0" y="214"/>
                    </a:lnTo>
                    <a:lnTo>
                      <a:pt x="0" y="224"/>
                    </a:lnTo>
                    <a:lnTo>
                      <a:pt x="1" y="235"/>
                    </a:lnTo>
                    <a:lnTo>
                      <a:pt x="8" y="261"/>
                    </a:lnTo>
                    <a:lnTo>
                      <a:pt x="16" y="290"/>
                    </a:lnTo>
                    <a:lnTo>
                      <a:pt x="28" y="321"/>
                    </a:lnTo>
                    <a:lnTo>
                      <a:pt x="40" y="355"/>
                    </a:lnTo>
                    <a:lnTo>
                      <a:pt x="55" y="389"/>
                    </a:lnTo>
                    <a:lnTo>
                      <a:pt x="72" y="424"/>
                    </a:lnTo>
                    <a:lnTo>
                      <a:pt x="88" y="458"/>
                    </a:lnTo>
                    <a:lnTo>
                      <a:pt x="123" y="523"/>
                    </a:lnTo>
                    <a:lnTo>
                      <a:pt x="153" y="580"/>
                    </a:lnTo>
                    <a:lnTo>
                      <a:pt x="192" y="647"/>
                    </a:lnTo>
                    <a:lnTo>
                      <a:pt x="192" y="647"/>
                    </a:lnTo>
                    <a:lnTo>
                      <a:pt x="195" y="652"/>
                    </a:lnTo>
                    <a:lnTo>
                      <a:pt x="200" y="655"/>
                    </a:lnTo>
                    <a:lnTo>
                      <a:pt x="207" y="658"/>
                    </a:lnTo>
                    <a:lnTo>
                      <a:pt x="214" y="659"/>
                    </a:lnTo>
                    <a:lnTo>
                      <a:pt x="214" y="659"/>
                    </a:lnTo>
                    <a:close/>
                    <a:moveTo>
                      <a:pt x="214" y="52"/>
                    </a:moveTo>
                    <a:lnTo>
                      <a:pt x="214" y="52"/>
                    </a:lnTo>
                    <a:lnTo>
                      <a:pt x="230" y="52"/>
                    </a:lnTo>
                    <a:lnTo>
                      <a:pt x="247" y="55"/>
                    </a:lnTo>
                    <a:lnTo>
                      <a:pt x="262" y="60"/>
                    </a:lnTo>
                    <a:lnTo>
                      <a:pt x="277" y="65"/>
                    </a:lnTo>
                    <a:lnTo>
                      <a:pt x="291" y="71"/>
                    </a:lnTo>
                    <a:lnTo>
                      <a:pt x="304" y="80"/>
                    </a:lnTo>
                    <a:lnTo>
                      <a:pt x="317" y="89"/>
                    </a:lnTo>
                    <a:lnTo>
                      <a:pt x="328" y="100"/>
                    </a:lnTo>
                    <a:lnTo>
                      <a:pt x="338" y="111"/>
                    </a:lnTo>
                    <a:lnTo>
                      <a:pt x="348" y="124"/>
                    </a:lnTo>
                    <a:lnTo>
                      <a:pt x="356" y="136"/>
                    </a:lnTo>
                    <a:lnTo>
                      <a:pt x="363" y="151"/>
                    </a:lnTo>
                    <a:lnTo>
                      <a:pt x="368" y="165"/>
                    </a:lnTo>
                    <a:lnTo>
                      <a:pt x="372" y="181"/>
                    </a:lnTo>
                    <a:lnTo>
                      <a:pt x="374" y="197"/>
                    </a:lnTo>
                    <a:lnTo>
                      <a:pt x="376" y="214"/>
                    </a:lnTo>
                    <a:lnTo>
                      <a:pt x="376" y="214"/>
                    </a:lnTo>
                    <a:lnTo>
                      <a:pt x="374" y="227"/>
                    </a:lnTo>
                    <a:lnTo>
                      <a:pt x="371" y="245"/>
                    </a:lnTo>
                    <a:lnTo>
                      <a:pt x="366" y="264"/>
                    </a:lnTo>
                    <a:lnTo>
                      <a:pt x="358" y="285"/>
                    </a:lnTo>
                    <a:lnTo>
                      <a:pt x="349" y="308"/>
                    </a:lnTo>
                    <a:lnTo>
                      <a:pt x="341" y="333"/>
                    </a:lnTo>
                    <a:lnTo>
                      <a:pt x="317" y="384"/>
                    </a:lnTo>
                    <a:lnTo>
                      <a:pt x="292" y="436"/>
                    </a:lnTo>
                    <a:lnTo>
                      <a:pt x="264" y="489"/>
                    </a:lnTo>
                    <a:lnTo>
                      <a:pt x="238" y="538"/>
                    </a:lnTo>
                    <a:lnTo>
                      <a:pt x="214" y="580"/>
                    </a:lnTo>
                    <a:lnTo>
                      <a:pt x="214" y="580"/>
                    </a:lnTo>
                    <a:lnTo>
                      <a:pt x="190" y="538"/>
                    </a:lnTo>
                    <a:lnTo>
                      <a:pt x="164" y="489"/>
                    </a:lnTo>
                    <a:lnTo>
                      <a:pt x="137" y="436"/>
                    </a:lnTo>
                    <a:lnTo>
                      <a:pt x="110" y="384"/>
                    </a:lnTo>
                    <a:lnTo>
                      <a:pt x="88" y="333"/>
                    </a:lnTo>
                    <a:lnTo>
                      <a:pt x="78" y="308"/>
                    </a:lnTo>
                    <a:lnTo>
                      <a:pt x="69" y="285"/>
                    </a:lnTo>
                    <a:lnTo>
                      <a:pt x="63" y="264"/>
                    </a:lnTo>
                    <a:lnTo>
                      <a:pt x="57" y="245"/>
                    </a:lnTo>
                    <a:lnTo>
                      <a:pt x="54" y="227"/>
                    </a:lnTo>
                    <a:lnTo>
                      <a:pt x="53" y="214"/>
                    </a:lnTo>
                    <a:lnTo>
                      <a:pt x="53" y="214"/>
                    </a:lnTo>
                    <a:lnTo>
                      <a:pt x="54" y="197"/>
                    </a:lnTo>
                    <a:lnTo>
                      <a:pt x="57" y="181"/>
                    </a:lnTo>
                    <a:lnTo>
                      <a:pt x="60" y="165"/>
                    </a:lnTo>
                    <a:lnTo>
                      <a:pt x="65" y="151"/>
                    </a:lnTo>
                    <a:lnTo>
                      <a:pt x="72" y="136"/>
                    </a:lnTo>
                    <a:lnTo>
                      <a:pt x="80" y="124"/>
                    </a:lnTo>
                    <a:lnTo>
                      <a:pt x="89" y="111"/>
                    </a:lnTo>
                    <a:lnTo>
                      <a:pt x="100" y="100"/>
                    </a:lnTo>
                    <a:lnTo>
                      <a:pt x="112" y="89"/>
                    </a:lnTo>
                    <a:lnTo>
                      <a:pt x="124" y="80"/>
                    </a:lnTo>
                    <a:lnTo>
                      <a:pt x="137" y="71"/>
                    </a:lnTo>
                    <a:lnTo>
                      <a:pt x="152" y="65"/>
                    </a:lnTo>
                    <a:lnTo>
                      <a:pt x="167" y="60"/>
                    </a:lnTo>
                    <a:lnTo>
                      <a:pt x="182" y="55"/>
                    </a:lnTo>
                    <a:lnTo>
                      <a:pt x="198" y="52"/>
                    </a:lnTo>
                    <a:lnTo>
                      <a:pt x="214" y="52"/>
                    </a:lnTo>
                    <a:lnTo>
                      <a:pt x="214"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36"/>
              <p:cNvSpPr>
                <a:spLocks noEditPoints="1"/>
              </p:cNvSpPr>
              <p:nvPr/>
            </p:nvSpPr>
            <p:spPr bwMode="auto">
              <a:xfrm>
                <a:off x="3705225" y="2727326"/>
                <a:ext cx="85725" cy="85725"/>
              </a:xfrm>
              <a:custGeom>
                <a:avLst/>
                <a:gdLst>
                  <a:gd name="T0" fmla="*/ 213 w 213"/>
                  <a:gd name="T1" fmla="*/ 107 h 213"/>
                  <a:gd name="T2" fmla="*/ 210 w 213"/>
                  <a:gd name="T3" fmla="*/ 85 h 213"/>
                  <a:gd name="T4" fmla="*/ 204 w 213"/>
                  <a:gd name="T5" fmla="*/ 65 h 213"/>
                  <a:gd name="T6" fmla="*/ 194 w 213"/>
                  <a:gd name="T7" fmla="*/ 47 h 213"/>
                  <a:gd name="T8" fmla="*/ 181 w 213"/>
                  <a:gd name="T9" fmla="*/ 32 h 213"/>
                  <a:gd name="T10" fmla="*/ 165 w 213"/>
                  <a:gd name="T11" fmla="*/ 18 h 213"/>
                  <a:gd name="T12" fmla="*/ 148 w 213"/>
                  <a:gd name="T13" fmla="*/ 8 h 213"/>
                  <a:gd name="T14" fmla="*/ 127 w 213"/>
                  <a:gd name="T15" fmla="*/ 2 h 213"/>
                  <a:gd name="T16" fmla="*/ 106 w 213"/>
                  <a:gd name="T17" fmla="*/ 0 h 213"/>
                  <a:gd name="T18" fmla="*/ 95 w 213"/>
                  <a:gd name="T19" fmla="*/ 0 h 213"/>
                  <a:gd name="T20" fmla="*/ 75 w 213"/>
                  <a:gd name="T21" fmla="*/ 4 h 213"/>
                  <a:gd name="T22" fmla="*/ 55 w 213"/>
                  <a:gd name="T23" fmla="*/ 13 h 213"/>
                  <a:gd name="T24" fmla="*/ 39 w 213"/>
                  <a:gd name="T25" fmla="*/ 24 h 213"/>
                  <a:gd name="T26" fmla="*/ 24 w 213"/>
                  <a:gd name="T27" fmla="*/ 39 h 213"/>
                  <a:gd name="T28" fmla="*/ 12 w 213"/>
                  <a:gd name="T29" fmla="*/ 55 h 213"/>
                  <a:gd name="T30" fmla="*/ 5 w 213"/>
                  <a:gd name="T31" fmla="*/ 74 h 213"/>
                  <a:gd name="T32" fmla="*/ 0 w 213"/>
                  <a:gd name="T33" fmla="*/ 95 h 213"/>
                  <a:gd name="T34" fmla="*/ 0 w 213"/>
                  <a:gd name="T35" fmla="*/ 107 h 213"/>
                  <a:gd name="T36" fmla="*/ 2 w 213"/>
                  <a:gd name="T37" fmla="*/ 128 h 213"/>
                  <a:gd name="T38" fmla="*/ 9 w 213"/>
                  <a:gd name="T39" fmla="*/ 148 h 213"/>
                  <a:gd name="T40" fmla="*/ 17 w 213"/>
                  <a:gd name="T41" fmla="*/ 165 h 213"/>
                  <a:gd name="T42" fmla="*/ 31 w 213"/>
                  <a:gd name="T43" fmla="*/ 182 h 213"/>
                  <a:gd name="T44" fmla="*/ 46 w 213"/>
                  <a:gd name="T45" fmla="*/ 194 h 213"/>
                  <a:gd name="T46" fmla="*/ 65 w 213"/>
                  <a:gd name="T47" fmla="*/ 204 h 213"/>
                  <a:gd name="T48" fmla="*/ 85 w 213"/>
                  <a:gd name="T49" fmla="*/ 211 h 213"/>
                  <a:gd name="T50" fmla="*/ 106 w 213"/>
                  <a:gd name="T51" fmla="*/ 213 h 213"/>
                  <a:gd name="T52" fmla="*/ 117 w 213"/>
                  <a:gd name="T53" fmla="*/ 212 h 213"/>
                  <a:gd name="T54" fmla="*/ 138 w 213"/>
                  <a:gd name="T55" fmla="*/ 208 h 213"/>
                  <a:gd name="T56" fmla="*/ 156 w 213"/>
                  <a:gd name="T57" fmla="*/ 199 h 213"/>
                  <a:gd name="T58" fmla="*/ 174 w 213"/>
                  <a:gd name="T59" fmla="*/ 188 h 213"/>
                  <a:gd name="T60" fmla="*/ 188 w 213"/>
                  <a:gd name="T61" fmla="*/ 174 h 213"/>
                  <a:gd name="T62" fmla="*/ 200 w 213"/>
                  <a:gd name="T63" fmla="*/ 157 h 213"/>
                  <a:gd name="T64" fmla="*/ 208 w 213"/>
                  <a:gd name="T65" fmla="*/ 138 h 213"/>
                  <a:gd name="T66" fmla="*/ 211 w 213"/>
                  <a:gd name="T67" fmla="*/ 117 h 213"/>
                  <a:gd name="T68" fmla="*/ 213 w 213"/>
                  <a:gd name="T69" fmla="*/ 107 h 213"/>
                  <a:gd name="T70" fmla="*/ 52 w 213"/>
                  <a:gd name="T71" fmla="*/ 107 h 213"/>
                  <a:gd name="T72" fmla="*/ 56 w 213"/>
                  <a:gd name="T73" fmla="*/ 85 h 213"/>
                  <a:gd name="T74" fmla="*/ 67 w 213"/>
                  <a:gd name="T75" fmla="*/ 68 h 213"/>
                  <a:gd name="T76" fmla="*/ 85 w 213"/>
                  <a:gd name="T77" fmla="*/ 57 h 213"/>
                  <a:gd name="T78" fmla="*/ 106 w 213"/>
                  <a:gd name="T79" fmla="*/ 53 h 213"/>
                  <a:gd name="T80" fmla="*/ 116 w 213"/>
                  <a:gd name="T81" fmla="*/ 54 h 213"/>
                  <a:gd name="T82" fmla="*/ 136 w 213"/>
                  <a:gd name="T83" fmla="*/ 62 h 213"/>
                  <a:gd name="T84" fmla="*/ 151 w 213"/>
                  <a:gd name="T85" fmla="*/ 77 h 213"/>
                  <a:gd name="T86" fmla="*/ 159 w 213"/>
                  <a:gd name="T87" fmla="*/ 95 h 213"/>
                  <a:gd name="T88" fmla="*/ 160 w 213"/>
                  <a:gd name="T89" fmla="*/ 107 h 213"/>
                  <a:gd name="T90" fmla="*/ 155 w 213"/>
                  <a:gd name="T91" fmla="*/ 127 h 213"/>
                  <a:gd name="T92" fmla="*/ 144 w 213"/>
                  <a:gd name="T93" fmla="*/ 144 h 213"/>
                  <a:gd name="T94" fmla="*/ 127 w 213"/>
                  <a:gd name="T95" fmla="*/ 155 h 213"/>
                  <a:gd name="T96" fmla="*/ 106 w 213"/>
                  <a:gd name="T97" fmla="*/ 160 h 213"/>
                  <a:gd name="T98" fmla="*/ 95 w 213"/>
                  <a:gd name="T99" fmla="*/ 159 h 213"/>
                  <a:gd name="T100" fmla="*/ 76 w 213"/>
                  <a:gd name="T101" fmla="*/ 150 h 213"/>
                  <a:gd name="T102" fmla="*/ 61 w 213"/>
                  <a:gd name="T103" fmla="*/ 137 h 213"/>
                  <a:gd name="T104" fmla="*/ 54 w 213"/>
                  <a:gd name="T105" fmla="*/ 117 h 213"/>
                  <a:gd name="T106" fmla="*/ 52 w 213"/>
                  <a:gd name="T107" fmla="*/ 107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3" h="213">
                    <a:moveTo>
                      <a:pt x="213" y="107"/>
                    </a:moveTo>
                    <a:lnTo>
                      <a:pt x="213" y="107"/>
                    </a:lnTo>
                    <a:lnTo>
                      <a:pt x="211" y="95"/>
                    </a:lnTo>
                    <a:lnTo>
                      <a:pt x="210" y="85"/>
                    </a:lnTo>
                    <a:lnTo>
                      <a:pt x="208" y="74"/>
                    </a:lnTo>
                    <a:lnTo>
                      <a:pt x="204" y="65"/>
                    </a:lnTo>
                    <a:lnTo>
                      <a:pt x="200" y="55"/>
                    </a:lnTo>
                    <a:lnTo>
                      <a:pt x="194" y="47"/>
                    </a:lnTo>
                    <a:lnTo>
                      <a:pt x="188" y="39"/>
                    </a:lnTo>
                    <a:lnTo>
                      <a:pt x="181" y="32"/>
                    </a:lnTo>
                    <a:lnTo>
                      <a:pt x="174" y="24"/>
                    </a:lnTo>
                    <a:lnTo>
                      <a:pt x="165" y="18"/>
                    </a:lnTo>
                    <a:lnTo>
                      <a:pt x="156" y="13"/>
                    </a:lnTo>
                    <a:lnTo>
                      <a:pt x="148" y="8"/>
                    </a:lnTo>
                    <a:lnTo>
                      <a:pt x="138" y="4"/>
                    </a:lnTo>
                    <a:lnTo>
                      <a:pt x="127" y="2"/>
                    </a:lnTo>
                    <a:lnTo>
                      <a:pt x="117" y="0"/>
                    </a:lnTo>
                    <a:lnTo>
                      <a:pt x="106" y="0"/>
                    </a:lnTo>
                    <a:lnTo>
                      <a:pt x="106" y="0"/>
                    </a:lnTo>
                    <a:lnTo>
                      <a:pt x="95" y="0"/>
                    </a:lnTo>
                    <a:lnTo>
                      <a:pt x="85" y="2"/>
                    </a:lnTo>
                    <a:lnTo>
                      <a:pt x="75" y="4"/>
                    </a:lnTo>
                    <a:lnTo>
                      <a:pt x="65" y="8"/>
                    </a:lnTo>
                    <a:lnTo>
                      <a:pt x="55" y="13"/>
                    </a:lnTo>
                    <a:lnTo>
                      <a:pt x="46" y="18"/>
                    </a:lnTo>
                    <a:lnTo>
                      <a:pt x="39" y="24"/>
                    </a:lnTo>
                    <a:lnTo>
                      <a:pt x="31" y="32"/>
                    </a:lnTo>
                    <a:lnTo>
                      <a:pt x="24" y="39"/>
                    </a:lnTo>
                    <a:lnTo>
                      <a:pt x="17" y="47"/>
                    </a:lnTo>
                    <a:lnTo>
                      <a:pt x="12" y="55"/>
                    </a:lnTo>
                    <a:lnTo>
                      <a:pt x="9" y="65"/>
                    </a:lnTo>
                    <a:lnTo>
                      <a:pt x="5" y="74"/>
                    </a:lnTo>
                    <a:lnTo>
                      <a:pt x="2" y="85"/>
                    </a:lnTo>
                    <a:lnTo>
                      <a:pt x="0" y="95"/>
                    </a:lnTo>
                    <a:lnTo>
                      <a:pt x="0" y="107"/>
                    </a:lnTo>
                    <a:lnTo>
                      <a:pt x="0" y="107"/>
                    </a:lnTo>
                    <a:lnTo>
                      <a:pt x="0" y="117"/>
                    </a:lnTo>
                    <a:lnTo>
                      <a:pt x="2" y="128"/>
                    </a:lnTo>
                    <a:lnTo>
                      <a:pt x="5" y="138"/>
                    </a:lnTo>
                    <a:lnTo>
                      <a:pt x="9" y="148"/>
                    </a:lnTo>
                    <a:lnTo>
                      <a:pt x="12" y="157"/>
                    </a:lnTo>
                    <a:lnTo>
                      <a:pt x="17" y="165"/>
                    </a:lnTo>
                    <a:lnTo>
                      <a:pt x="24" y="174"/>
                    </a:lnTo>
                    <a:lnTo>
                      <a:pt x="31" y="182"/>
                    </a:lnTo>
                    <a:lnTo>
                      <a:pt x="39" y="188"/>
                    </a:lnTo>
                    <a:lnTo>
                      <a:pt x="46" y="194"/>
                    </a:lnTo>
                    <a:lnTo>
                      <a:pt x="55" y="199"/>
                    </a:lnTo>
                    <a:lnTo>
                      <a:pt x="65" y="204"/>
                    </a:lnTo>
                    <a:lnTo>
                      <a:pt x="75" y="208"/>
                    </a:lnTo>
                    <a:lnTo>
                      <a:pt x="85" y="211"/>
                    </a:lnTo>
                    <a:lnTo>
                      <a:pt x="95" y="212"/>
                    </a:lnTo>
                    <a:lnTo>
                      <a:pt x="106" y="213"/>
                    </a:lnTo>
                    <a:lnTo>
                      <a:pt x="106" y="213"/>
                    </a:lnTo>
                    <a:lnTo>
                      <a:pt x="117" y="212"/>
                    </a:lnTo>
                    <a:lnTo>
                      <a:pt x="127" y="211"/>
                    </a:lnTo>
                    <a:lnTo>
                      <a:pt x="138" y="208"/>
                    </a:lnTo>
                    <a:lnTo>
                      <a:pt x="148" y="204"/>
                    </a:lnTo>
                    <a:lnTo>
                      <a:pt x="156" y="199"/>
                    </a:lnTo>
                    <a:lnTo>
                      <a:pt x="165" y="194"/>
                    </a:lnTo>
                    <a:lnTo>
                      <a:pt x="174" y="188"/>
                    </a:lnTo>
                    <a:lnTo>
                      <a:pt x="181" y="182"/>
                    </a:lnTo>
                    <a:lnTo>
                      <a:pt x="188" y="174"/>
                    </a:lnTo>
                    <a:lnTo>
                      <a:pt x="194" y="165"/>
                    </a:lnTo>
                    <a:lnTo>
                      <a:pt x="200" y="157"/>
                    </a:lnTo>
                    <a:lnTo>
                      <a:pt x="204" y="148"/>
                    </a:lnTo>
                    <a:lnTo>
                      <a:pt x="208" y="138"/>
                    </a:lnTo>
                    <a:lnTo>
                      <a:pt x="210" y="128"/>
                    </a:lnTo>
                    <a:lnTo>
                      <a:pt x="211" y="117"/>
                    </a:lnTo>
                    <a:lnTo>
                      <a:pt x="213" y="107"/>
                    </a:lnTo>
                    <a:lnTo>
                      <a:pt x="213" y="107"/>
                    </a:lnTo>
                    <a:close/>
                    <a:moveTo>
                      <a:pt x="52" y="107"/>
                    </a:moveTo>
                    <a:lnTo>
                      <a:pt x="52" y="107"/>
                    </a:lnTo>
                    <a:lnTo>
                      <a:pt x="54" y="95"/>
                    </a:lnTo>
                    <a:lnTo>
                      <a:pt x="56" y="85"/>
                    </a:lnTo>
                    <a:lnTo>
                      <a:pt x="61" y="77"/>
                    </a:lnTo>
                    <a:lnTo>
                      <a:pt x="67" y="68"/>
                    </a:lnTo>
                    <a:lnTo>
                      <a:pt x="76" y="62"/>
                    </a:lnTo>
                    <a:lnTo>
                      <a:pt x="85" y="57"/>
                    </a:lnTo>
                    <a:lnTo>
                      <a:pt x="95" y="54"/>
                    </a:lnTo>
                    <a:lnTo>
                      <a:pt x="106" y="53"/>
                    </a:lnTo>
                    <a:lnTo>
                      <a:pt x="106" y="53"/>
                    </a:lnTo>
                    <a:lnTo>
                      <a:pt x="116" y="54"/>
                    </a:lnTo>
                    <a:lnTo>
                      <a:pt x="127" y="57"/>
                    </a:lnTo>
                    <a:lnTo>
                      <a:pt x="136" y="62"/>
                    </a:lnTo>
                    <a:lnTo>
                      <a:pt x="144" y="68"/>
                    </a:lnTo>
                    <a:lnTo>
                      <a:pt x="151" y="77"/>
                    </a:lnTo>
                    <a:lnTo>
                      <a:pt x="155" y="85"/>
                    </a:lnTo>
                    <a:lnTo>
                      <a:pt x="159" y="95"/>
                    </a:lnTo>
                    <a:lnTo>
                      <a:pt x="160" y="107"/>
                    </a:lnTo>
                    <a:lnTo>
                      <a:pt x="160" y="107"/>
                    </a:lnTo>
                    <a:lnTo>
                      <a:pt x="159" y="117"/>
                    </a:lnTo>
                    <a:lnTo>
                      <a:pt x="155" y="127"/>
                    </a:lnTo>
                    <a:lnTo>
                      <a:pt x="151" y="137"/>
                    </a:lnTo>
                    <a:lnTo>
                      <a:pt x="144" y="144"/>
                    </a:lnTo>
                    <a:lnTo>
                      <a:pt x="136" y="150"/>
                    </a:lnTo>
                    <a:lnTo>
                      <a:pt x="127" y="155"/>
                    </a:lnTo>
                    <a:lnTo>
                      <a:pt x="116" y="159"/>
                    </a:lnTo>
                    <a:lnTo>
                      <a:pt x="106" y="160"/>
                    </a:lnTo>
                    <a:lnTo>
                      <a:pt x="106" y="160"/>
                    </a:lnTo>
                    <a:lnTo>
                      <a:pt x="95" y="159"/>
                    </a:lnTo>
                    <a:lnTo>
                      <a:pt x="85" y="155"/>
                    </a:lnTo>
                    <a:lnTo>
                      <a:pt x="76" y="150"/>
                    </a:lnTo>
                    <a:lnTo>
                      <a:pt x="67" y="144"/>
                    </a:lnTo>
                    <a:lnTo>
                      <a:pt x="61" y="137"/>
                    </a:lnTo>
                    <a:lnTo>
                      <a:pt x="56" y="127"/>
                    </a:lnTo>
                    <a:lnTo>
                      <a:pt x="54" y="117"/>
                    </a:lnTo>
                    <a:lnTo>
                      <a:pt x="52" y="107"/>
                    </a:lnTo>
                    <a:lnTo>
                      <a:pt x="52"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63" name="Rectangle 162"/>
            <p:cNvSpPr/>
            <p:nvPr/>
          </p:nvSpPr>
          <p:spPr>
            <a:xfrm rot="19807290">
              <a:off x="5842116" y="3889623"/>
              <a:ext cx="865345" cy="133388"/>
            </a:xfrm>
            <a:prstGeom prst="rect">
              <a:avLst/>
            </a:prstGeom>
            <a:solidFill>
              <a:srgbClr val="C0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sp>
        <p:nvSpPr>
          <p:cNvPr id="10" name="Oval 9"/>
          <p:cNvSpPr/>
          <p:nvPr/>
        </p:nvSpPr>
        <p:spPr>
          <a:xfrm>
            <a:off x="467356" y="1989652"/>
            <a:ext cx="598741" cy="59874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algn="ctr" defTabSz="914378"/>
            <a:endParaRPr lang="en-US" sz="2400" kern="0">
              <a:gradFill>
                <a:gsLst>
                  <a:gs pos="0">
                    <a:srgbClr val="FFFFFF"/>
                  </a:gs>
                  <a:gs pos="98000">
                    <a:srgbClr val="FFFFFF"/>
                  </a:gs>
                </a:gsLst>
                <a:lin ang="5400000" scaled="0"/>
              </a:gradFill>
              <a:ea typeface="Segoe UI Black" panose="020B0A02040204020203" pitchFamily="34" charset="0"/>
              <a:cs typeface="Segoe UI Black" panose="020B0A02040204020203" pitchFamily="34" charset="0"/>
            </a:endParaRPr>
          </a:p>
        </p:txBody>
      </p:sp>
      <p:pic>
        <p:nvPicPr>
          <p:cNvPr id="81" name="Picture 8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3864" y="2126160"/>
            <a:ext cx="325724" cy="325724"/>
          </a:xfrm>
          <a:prstGeom prst="rect">
            <a:avLst/>
          </a:prstGeom>
        </p:spPr>
      </p:pic>
      <p:sp>
        <p:nvSpPr>
          <p:cNvPr id="21" name="Oval 20"/>
          <p:cNvSpPr/>
          <p:nvPr/>
        </p:nvSpPr>
        <p:spPr>
          <a:xfrm>
            <a:off x="1756977" y="1989652"/>
            <a:ext cx="598741" cy="59874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algn="ctr" defTabSz="914378"/>
            <a:endParaRPr lang="en-US" sz="2400" kern="0">
              <a:gradFill>
                <a:gsLst>
                  <a:gs pos="0">
                    <a:srgbClr val="FFFFFF"/>
                  </a:gs>
                  <a:gs pos="98000">
                    <a:srgbClr val="FFFFFF"/>
                  </a:gs>
                </a:gsLst>
                <a:lin ang="5400000" scaled="0"/>
              </a:gradFill>
              <a:ea typeface="Segoe UI Black" panose="020B0A02040204020203" pitchFamily="34" charset="0"/>
              <a:cs typeface="Segoe UI Black" panose="020B0A02040204020203" pitchFamily="34" charset="0"/>
            </a:endParaRPr>
          </a:p>
        </p:txBody>
      </p:sp>
      <p:pic>
        <p:nvPicPr>
          <p:cNvPr id="82" name="Picture 8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93485" y="2126160"/>
            <a:ext cx="325724" cy="325724"/>
          </a:xfrm>
          <a:prstGeom prst="rect">
            <a:avLst/>
          </a:prstGeom>
        </p:spPr>
      </p:pic>
      <p:sp>
        <p:nvSpPr>
          <p:cNvPr id="31" name="Oval 30"/>
          <p:cNvSpPr/>
          <p:nvPr/>
        </p:nvSpPr>
        <p:spPr>
          <a:xfrm>
            <a:off x="3046598" y="1989652"/>
            <a:ext cx="598741" cy="59874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algn="ctr" defTabSz="914378"/>
            <a:endParaRPr lang="en-US" sz="2400" kern="0">
              <a:gradFill>
                <a:gsLst>
                  <a:gs pos="0">
                    <a:srgbClr val="FFFFFF"/>
                  </a:gs>
                  <a:gs pos="98000">
                    <a:srgbClr val="FFFFFF"/>
                  </a:gs>
                </a:gsLst>
                <a:lin ang="5400000" scaled="0"/>
              </a:gradFill>
              <a:ea typeface="Segoe UI Black" panose="020B0A02040204020203" pitchFamily="34" charset="0"/>
              <a:cs typeface="Segoe UI Black" panose="020B0A02040204020203" pitchFamily="34" charset="0"/>
            </a:endParaRPr>
          </a:p>
        </p:txBody>
      </p:sp>
      <p:pic>
        <p:nvPicPr>
          <p:cNvPr id="83" name="Picture 8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83106" y="2126160"/>
            <a:ext cx="325724" cy="325724"/>
          </a:xfrm>
          <a:prstGeom prst="rect">
            <a:avLst/>
          </a:prstGeom>
        </p:spPr>
      </p:pic>
      <p:pic>
        <p:nvPicPr>
          <p:cNvPr id="88" name="Picture 8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50558" y="3357173"/>
            <a:ext cx="298775" cy="299969"/>
          </a:xfrm>
          <a:prstGeom prst="rect">
            <a:avLst/>
          </a:prstGeom>
          <a:ln>
            <a:noFill/>
          </a:ln>
        </p:spPr>
      </p:pic>
      <p:pic>
        <p:nvPicPr>
          <p:cNvPr id="89" name="Picture 8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13741" y="3357173"/>
            <a:ext cx="298775" cy="299969"/>
          </a:xfrm>
          <a:prstGeom prst="rect">
            <a:avLst/>
          </a:prstGeom>
          <a:ln>
            <a:noFill/>
          </a:ln>
        </p:spPr>
      </p:pic>
      <p:grpSp>
        <p:nvGrpSpPr>
          <p:cNvPr id="18" name="Group 17"/>
          <p:cNvGrpSpPr/>
          <p:nvPr/>
        </p:nvGrpSpPr>
        <p:grpSpPr>
          <a:xfrm>
            <a:off x="5272023" y="3630057"/>
            <a:ext cx="664270" cy="399412"/>
            <a:chOff x="5272023" y="3789046"/>
            <a:chExt cx="865345" cy="520314"/>
          </a:xfrm>
        </p:grpSpPr>
        <p:sp>
          <p:nvSpPr>
            <p:cNvPr id="145" name="Oval 144"/>
            <p:cNvSpPr/>
            <p:nvPr/>
          </p:nvSpPr>
          <p:spPr>
            <a:xfrm>
              <a:off x="5413421" y="3789046"/>
              <a:ext cx="520314" cy="520314"/>
            </a:xfrm>
            <a:prstGeom prst="ellipse">
              <a:avLst/>
            </a:prstGeom>
            <a:solidFill>
              <a:srgbClr val="FF99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137160" rtlCol="0" anchor="ctr" anchorCtr="0"/>
            <a:lstStyle/>
            <a:p>
              <a:pPr algn="ctr" defTabSz="914378"/>
              <a:endParaRPr lang="en-US" sz="2400" kern="0">
                <a:gradFill>
                  <a:gsLst>
                    <a:gs pos="0">
                      <a:srgbClr val="FFFFFF"/>
                    </a:gs>
                    <a:gs pos="98000">
                      <a:srgbClr val="FFFFFF"/>
                    </a:gs>
                  </a:gsLst>
                  <a:lin ang="5400000" scaled="0"/>
                </a:gradFill>
                <a:ea typeface="Segoe UI Black" panose="020B0A02040204020203" pitchFamily="34" charset="0"/>
                <a:cs typeface="Segoe UI Black" panose="020B0A02040204020203" pitchFamily="34" charset="0"/>
              </a:endParaRPr>
            </a:p>
          </p:txBody>
        </p:sp>
        <p:pic>
          <p:nvPicPr>
            <p:cNvPr id="91" name="Picture 9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26635" y="3789046"/>
              <a:ext cx="487193" cy="487193"/>
            </a:xfrm>
            <a:prstGeom prst="rect">
              <a:avLst/>
            </a:prstGeom>
          </p:spPr>
        </p:pic>
        <p:sp>
          <p:nvSpPr>
            <p:cNvPr id="162" name="Rectangle 161"/>
            <p:cNvSpPr/>
            <p:nvPr/>
          </p:nvSpPr>
          <p:spPr>
            <a:xfrm rot="19807290">
              <a:off x="5272023" y="3969295"/>
              <a:ext cx="865345" cy="133388"/>
            </a:xfrm>
            <a:prstGeom prst="rect">
              <a:avLst/>
            </a:prstGeom>
            <a:solidFill>
              <a:srgbClr val="C0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grpSp>
      <p:grpSp>
        <p:nvGrpSpPr>
          <p:cNvPr id="14" name="Group 13"/>
          <p:cNvGrpSpPr/>
          <p:nvPr/>
        </p:nvGrpSpPr>
        <p:grpSpPr>
          <a:xfrm>
            <a:off x="6255927" y="3602631"/>
            <a:ext cx="664271" cy="396116"/>
            <a:chOff x="6255927" y="3762618"/>
            <a:chExt cx="865345" cy="516020"/>
          </a:xfrm>
        </p:grpSpPr>
        <p:sp>
          <p:nvSpPr>
            <p:cNvPr id="165" name="Rectangle 164"/>
            <p:cNvSpPr/>
            <p:nvPr/>
          </p:nvSpPr>
          <p:spPr>
            <a:xfrm rot="19807290">
              <a:off x="6255927" y="3947493"/>
              <a:ext cx="865345" cy="133388"/>
            </a:xfrm>
            <a:prstGeom prst="rect">
              <a:avLst/>
            </a:prstGeom>
            <a:solidFill>
              <a:srgbClr val="C0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pic>
          <p:nvPicPr>
            <p:cNvPr id="94" name="Picture 9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71674" y="3762618"/>
              <a:ext cx="513966" cy="516020"/>
            </a:xfrm>
            <a:prstGeom prst="rect">
              <a:avLst/>
            </a:prstGeom>
          </p:spPr>
        </p:pic>
        <p:sp>
          <p:nvSpPr>
            <p:cNvPr id="9" name="Rectangle 8"/>
            <p:cNvSpPr/>
            <p:nvPr/>
          </p:nvSpPr>
          <p:spPr>
            <a:xfrm>
              <a:off x="6578600" y="3968750"/>
              <a:ext cx="107950" cy="457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
          <p:nvSpPr>
            <p:cNvPr id="96" name="Rectangle 95"/>
            <p:cNvSpPr/>
            <p:nvPr/>
          </p:nvSpPr>
          <p:spPr>
            <a:xfrm>
              <a:off x="6578600" y="4032642"/>
              <a:ext cx="107950" cy="457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
          <p:nvSpPr>
            <p:cNvPr id="97" name="Rectangle 96"/>
            <p:cNvSpPr/>
            <p:nvPr/>
          </p:nvSpPr>
          <p:spPr>
            <a:xfrm>
              <a:off x="6768142" y="3968750"/>
              <a:ext cx="107950" cy="457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sp>
          <p:nvSpPr>
            <p:cNvPr id="98" name="Rectangle 97"/>
            <p:cNvSpPr/>
            <p:nvPr/>
          </p:nvSpPr>
          <p:spPr>
            <a:xfrm>
              <a:off x="6768142" y="4032642"/>
              <a:ext cx="107950" cy="457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GB" sz="1400" dirty="0">
                <a:solidFill>
                  <a:schemeClr val="bg1"/>
                </a:solidFill>
                <a:ea typeface="Segoe UI Black" panose="020B0A02040204020203" pitchFamily="34" charset="0"/>
                <a:cs typeface="Segoe UI Black" panose="020B0A02040204020203" pitchFamily="34" charset="0"/>
              </a:endParaRPr>
            </a:p>
          </p:txBody>
        </p:sp>
      </p:grpSp>
      <p:pic>
        <p:nvPicPr>
          <p:cNvPr id="110" name="Picture 10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015286">
            <a:off x="7315558" y="3654391"/>
            <a:ext cx="443977" cy="325316"/>
          </a:xfrm>
          <a:prstGeom prst="rect">
            <a:avLst/>
          </a:prstGeom>
        </p:spPr>
      </p:pic>
      <p:sp>
        <p:nvSpPr>
          <p:cNvPr id="117" name="Rectangle 116"/>
          <p:cNvSpPr/>
          <p:nvPr/>
        </p:nvSpPr>
        <p:spPr>
          <a:xfrm rot="19807290">
            <a:off x="7225084" y="3768424"/>
            <a:ext cx="664270" cy="102393"/>
          </a:xfrm>
          <a:prstGeom prst="rect">
            <a:avLst/>
          </a:prstGeom>
          <a:solidFill>
            <a:srgbClr val="C00000">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pic>
        <p:nvPicPr>
          <p:cNvPr id="50" name="Picture 49"/>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408512" y="3357173"/>
            <a:ext cx="316561" cy="315299"/>
          </a:xfrm>
          <a:prstGeom prst="rect">
            <a:avLst/>
          </a:prstGeom>
          <a:ln>
            <a:noFill/>
          </a:ln>
        </p:spPr>
      </p:pic>
    </p:spTree>
    <p:extLst>
      <p:ext uri="{BB962C8B-B14F-4D97-AF65-F5344CB8AC3E}">
        <p14:creationId xmlns:p14="http://schemas.microsoft.com/office/powerpoint/2010/main" val="247583605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5" name="Shape 2525"/>
          <p:cNvSpPr/>
          <p:nvPr/>
        </p:nvSpPr>
        <p:spPr>
          <a:xfrm>
            <a:off x="660644"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562" y="17673"/>
                  <a:pt x="11782" y="17453"/>
                  <a:pt x="11782" y="17182"/>
                </a:cubicBezTo>
                <a:cubicBezTo>
                  <a:pt x="11782" y="16911"/>
                  <a:pt x="11562" y="16691"/>
                  <a:pt x="11291" y="16691"/>
                </a:cubicBezTo>
                <a:cubicBezTo>
                  <a:pt x="11020" y="16691"/>
                  <a:pt x="10800" y="16911"/>
                  <a:pt x="10800" y="17182"/>
                </a:cubicBezTo>
                <a:cubicBezTo>
                  <a:pt x="10800" y="17453"/>
                  <a:pt x="11020" y="17673"/>
                  <a:pt x="11291" y="17673"/>
                </a:cubicBezTo>
                <a:moveTo>
                  <a:pt x="17673" y="18655"/>
                </a:moveTo>
                <a:lnTo>
                  <a:pt x="13745" y="18655"/>
                </a:lnTo>
                <a:lnTo>
                  <a:pt x="13745" y="12273"/>
                </a:lnTo>
                <a:cubicBezTo>
                  <a:pt x="13745" y="12002"/>
                  <a:pt x="13525" y="11782"/>
                  <a:pt x="13255" y="11782"/>
                </a:cubicBezTo>
                <a:lnTo>
                  <a:pt x="8345" y="11782"/>
                </a:lnTo>
                <a:cubicBezTo>
                  <a:pt x="8075" y="11782"/>
                  <a:pt x="7855" y="12002"/>
                  <a:pt x="7855" y="12273"/>
                </a:cubicBezTo>
                <a:lnTo>
                  <a:pt x="7855" y="18655"/>
                </a:lnTo>
                <a:lnTo>
                  <a:pt x="3927" y="18655"/>
                </a:lnTo>
                <a:lnTo>
                  <a:pt x="3927" y="8058"/>
                </a:lnTo>
                <a:lnTo>
                  <a:pt x="10800" y="1185"/>
                </a:lnTo>
                <a:lnTo>
                  <a:pt x="17673" y="8058"/>
                </a:lnTo>
                <a:cubicBezTo>
                  <a:pt x="17673" y="8058"/>
                  <a:pt x="17673" y="18655"/>
                  <a:pt x="17673" y="18655"/>
                </a:cubicBezTo>
                <a:close/>
                <a:moveTo>
                  <a:pt x="17673" y="20618"/>
                </a:moveTo>
                <a:lnTo>
                  <a:pt x="13745" y="20618"/>
                </a:lnTo>
                <a:lnTo>
                  <a:pt x="13745" y="19636"/>
                </a:lnTo>
                <a:lnTo>
                  <a:pt x="17673" y="19636"/>
                </a:lnTo>
                <a:cubicBezTo>
                  <a:pt x="17673" y="19636"/>
                  <a:pt x="17673" y="20618"/>
                  <a:pt x="17673" y="20618"/>
                </a:cubicBezTo>
                <a:close/>
                <a:moveTo>
                  <a:pt x="12764" y="20618"/>
                </a:moveTo>
                <a:lnTo>
                  <a:pt x="8836" y="20618"/>
                </a:lnTo>
                <a:lnTo>
                  <a:pt x="8836" y="12764"/>
                </a:lnTo>
                <a:lnTo>
                  <a:pt x="12764" y="12764"/>
                </a:lnTo>
                <a:cubicBezTo>
                  <a:pt x="12764" y="12764"/>
                  <a:pt x="12764" y="20618"/>
                  <a:pt x="12764" y="20618"/>
                </a:cubicBezTo>
                <a:close/>
                <a:moveTo>
                  <a:pt x="7855" y="20618"/>
                </a:moveTo>
                <a:lnTo>
                  <a:pt x="3927" y="20618"/>
                </a:lnTo>
                <a:lnTo>
                  <a:pt x="3927" y="19636"/>
                </a:lnTo>
                <a:lnTo>
                  <a:pt x="7855" y="19636"/>
                </a:lnTo>
                <a:cubicBezTo>
                  <a:pt x="7855" y="19636"/>
                  <a:pt x="7855" y="20618"/>
                  <a:pt x="7855" y="20618"/>
                </a:cubicBezTo>
                <a:close/>
                <a:moveTo>
                  <a:pt x="14727" y="1964"/>
                </a:moveTo>
                <a:lnTo>
                  <a:pt x="16691" y="1964"/>
                </a:lnTo>
                <a:lnTo>
                  <a:pt x="16691" y="5688"/>
                </a:lnTo>
                <a:lnTo>
                  <a:pt x="14727" y="3724"/>
                </a:lnTo>
                <a:cubicBezTo>
                  <a:pt x="14727" y="3724"/>
                  <a:pt x="14727" y="1964"/>
                  <a:pt x="14727" y="1964"/>
                </a:cubicBezTo>
                <a:close/>
                <a:moveTo>
                  <a:pt x="21456" y="10453"/>
                </a:moveTo>
                <a:lnTo>
                  <a:pt x="17673" y="6670"/>
                </a:lnTo>
                <a:lnTo>
                  <a:pt x="17673" y="1473"/>
                </a:lnTo>
                <a:cubicBezTo>
                  <a:pt x="17673" y="1202"/>
                  <a:pt x="17453" y="982"/>
                  <a:pt x="17182" y="982"/>
                </a:cubicBezTo>
                <a:lnTo>
                  <a:pt x="14236" y="982"/>
                </a:lnTo>
                <a:cubicBezTo>
                  <a:pt x="13966" y="982"/>
                  <a:pt x="13745" y="1202"/>
                  <a:pt x="13745" y="1473"/>
                </a:cubicBezTo>
                <a:lnTo>
                  <a:pt x="13745" y="2742"/>
                </a:lnTo>
                <a:lnTo>
                  <a:pt x="11147" y="144"/>
                </a:lnTo>
                <a:cubicBezTo>
                  <a:pt x="11058" y="55"/>
                  <a:pt x="10935" y="0"/>
                  <a:pt x="10800" y="0"/>
                </a:cubicBezTo>
                <a:cubicBezTo>
                  <a:pt x="10665" y="0"/>
                  <a:pt x="10542" y="55"/>
                  <a:pt x="10453" y="144"/>
                </a:cubicBezTo>
                <a:lnTo>
                  <a:pt x="144" y="10453"/>
                </a:lnTo>
                <a:cubicBezTo>
                  <a:pt x="55" y="10542"/>
                  <a:pt x="0" y="10665"/>
                  <a:pt x="0" y="10800"/>
                </a:cubicBezTo>
                <a:cubicBezTo>
                  <a:pt x="0" y="11072"/>
                  <a:pt x="220" y="11291"/>
                  <a:pt x="491" y="11291"/>
                </a:cubicBezTo>
                <a:cubicBezTo>
                  <a:pt x="626" y="11291"/>
                  <a:pt x="749" y="11236"/>
                  <a:pt x="838" y="11147"/>
                </a:cubicBezTo>
                <a:lnTo>
                  <a:pt x="2945" y="9040"/>
                </a:lnTo>
                <a:lnTo>
                  <a:pt x="2945" y="21109"/>
                </a:lnTo>
                <a:cubicBezTo>
                  <a:pt x="2945" y="21381"/>
                  <a:pt x="3166" y="21600"/>
                  <a:pt x="3436" y="21600"/>
                </a:cubicBezTo>
                <a:lnTo>
                  <a:pt x="18164" y="21600"/>
                </a:lnTo>
                <a:cubicBezTo>
                  <a:pt x="18434" y="21600"/>
                  <a:pt x="18655" y="21381"/>
                  <a:pt x="18655" y="21109"/>
                </a:cubicBezTo>
                <a:lnTo>
                  <a:pt x="18655" y="9040"/>
                </a:lnTo>
                <a:lnTo>
                  <a:pt x="20762" y="11147"/>
                </a:lnTo>
                <a:cubicBezTo>
                  <a:pt x="20851" y="11236"/>
                  <a:pt x="20974" y="11291"/>
                  <a:pt x="21109" y="11291"/>
                </a:cubicBezTo>
                <a:cubicBezTo>
                  <a:pt x="21380" y="11291"/>
                  <a:pt x="21600" y="11072"/>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6" name="Shape 2526"/>
          <p:cNvSpPr/>
          <p:nvPr/>
        </p:nvSpPr>
        <p:spPr>
          <a:xfrm>
            <a:off x="1060590"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4236" y="16752"/>
                </a:moveTo>
                <a:cubicBezTo>
                  <a:pt x="14001" y="16887"/>
                  <a:pt x="13921" y="17188"/>
                  <a:pt x="14057" y="17422"/>
                </a:cubicBezTo>
                <a:cubicBezTo>
                  <a:pt x="14192" y="17658"/>
                  <a:pt x="14493" y="17738"/>
                  <a:pt x="14727" y="17602"/>
                </a:cubicBezTo>
                <a:cubicBezTo>
                  <a:pt x="14962" y="17467"/>
                  <a:pt x="15042" y="17167"/>
                  <a:pt x="14907" y="16932"/>
                </a:cubicBezTo>
                <a:cubicBezTo>
                  <a:pt x="14771" y="16697"/>
                  <a:pt x="14472" y="16617"/>
                  <a:pt x="14236" y="16752"/>
                </a:cubicBezTo>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5218" y="10309"/>
                </a:moveTo>
                <a:lnTo>
                  <a:pt x="12694" y="10309"/>
                </a:lnTo>
                <a:cubicBezTo>
                  <a:pt x="12515" y="9624"/>
                  <a:pt x="11978" y="9084"/>
                  <a:pt x="11291" y="8906"/>
                </a:cubicBezTo>
                <a:lnTo>
                  <a:pt x="11291" y="3436"/>
                </a:lnTo>
                <a:cubicBezTo>
                  <a:pt x="11291" y="3166"/>
                  <a:pt x="11071" y="2945"/>
                  <a:pt x="10800" y="2945"/>
                </a:cubicBezTo>
                <a:cubicBezTo>
                  <a:pt x="10529" y="2945"/>
                  <a:pt x="10309" y="3166"/>
                  <a:pt x="10309" y="3436"/>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5218" y="11291"/>
                </a:lnTo>
                <a:cubicBezTo>
                  <a:pt x="15489" y="11291"/>
                  <a:pt x="15709" y="11072"/>
                  <a:pt x="15709" y="10800"/>
                </a:cubicBezTo>
                <a:cubicBezTo>
                  <a:pt x="15709" y="10529"/>
                  <a:pt x="15489" y="10309"/>
                  <a:pt x="15218" y="10309"/>
                </a:cubicBezTo>
                <a:moveTo>
                  <a:pt x="16932" y="6693"/>
                </a:moveTo>
                <a:cubicBezTo>
                  <a:pt x="16697" y="6829"/>
                  <a:pt x="16616" y="7129"/>
                  <a:pt x="16752" y="7364"/>
                </a:cubicBezTo>
                <a:cubicBezTo>
                  <a:pt x="16887" y="7599"/>
                  <a:pt x="17188" y="7679"/>
                  <a:pt x="17422" y="7543"/>
                </a:cubicBezTo>
                <a:cubicBezTo>
                  <a:pt x="17657" y="7408"/>
                  <a:pt x="17737" y="7108"/>
                  <a:pt x="17602" y="6873"/>
                </a:cubicBezTo>
                <a:cubicBezTo>
                  <a:pt x="17467" y="6638"/>
                  <a:pt x="17166" y="6557"/>
                  <a:pt x="16932" y="6693"/>
                </a:cubicBezTo>
                <a:moveTo>
                  <a:pt x="10800" y="17673"/>
                </a:moveTo>
                <a:cubicBezTo>
                  <a:pt x="10529" y="17673"/>
                  <a:pt x="10309" y="17893"/>
                  <a:pt x="10309" y="18164"/>
                </a:cubicBezTo>
                <a:cubicBezTo>
                  <a:pt x="10309" y="18435"/>
                  <a:pt x="10529" y="18655"/>
                  <a:pt x="10800" y="18655"/>
                </a:cubicBezTo>
                <a:cubicBezTo>
                  <a:pt x="11071" y="18655"/>
                  <a:pt x="11291" y="18435"/>
                  <a:pt x="11291" y="18164"/>
                </a:cubicBezTo>
                <a:cubicBezTo>
                  <a:pt x="11291" y="17893"/>
                  <a:pt x="11071" y="17673"/>
                  <a:pt x="10800" y="17673"/>
                </a:cubicBezTo>
                <a:moveTo>
                  <a:pt x="17422" y="14057"/>
                </a:moveTo>
                <a:cubicBezTo>
                  <a:pt x="17188" y="13921"/>
                  <a:pt x="16887" y="14001"/>
                  <a:pt x="16752" y="14236"/>
                </a:cubicBezTo>
                <a:cubicBezTo>
                  <a:pt x="16616" y="14472"/>
                  <a:pt x="16697" y="14772"/>
                  <a:pt x="16932" y="14907"/>
                </a:cubicBezTo>
                <a:cubicBezTo>
                  <a:pt x="17166" y="15043"/>
                  <a:pt x="17467" y="14962"/>
                  <a:pt x="17602" y="14727"/>
                </a:cubicBezTo>
                <a:cubicBezTo>
                  <a:pt x="17737" y="14492"/>
                  <a:pt x="17657" y="14192"/>
                  <a:pt x="17422" y="14057"/>
                </a:cubicBezTo>
                <a:moveTo>
                  <a:pt x="4668" y="6693"/>
                </a:moveTo>
                <a:cubicBezTo>
                  <a:pt x="4433" y="6557"/>
                  <a:pt x="4133" y="6638"/>
                  <a:pt x="3998" y="6873"/>
                </a:cubicBezTo>
                <a:cubicBezTo>
                  <a:pt x="3863" y="7108"/>
                  <a:pt x="3942" y="7408"/>
                  <a:pt x="4178" y="7543"/>
                </a:cubicBezTo>
                <a:cubicBezTo>
                  <a:pt x="4412" y="7679"/>
                  <a:pt x="4713" y="7599"/>
                  <a:pt x="4848" y="7364"/>
                </a:cubicBezTo>
                <a:cubicBezTo>
                  <a:pt x="4984" y="7129"/>
                  <a:pt x="4903" y="6829"/>
                  <a:pt x="4668" y="6693"/>
                </a:cubicBezTo>
                <a:moveTo>
                  <a:pt x="14236" y="4848"/>
                </a:moveTo>
                <a:cubicBezTo>
                  <a:pt x="14472" y="4984"/>
                  <a:pt x="14771" y="4903"/>
                  <a:pt x="14907" y="4669"/>
                </a:cubicBezTo>
                <a:cubicBezTo>
                  <a:pt x="15042" y="4434"/>
                  <a:pt x="14962" y="4134"/>
                  <a:pt x="14727" y="3998"/>
                </a:cubicBezTo>
                <a:cubicBezTo>
                  <a:pt x="14493" y="3863"/>
                  <a:pt x="14192" y="3943"/>
                  <a:pt x="14057" y="4178"/>
                </a:cubicBezTo>
                <a:cubicBezTo>
                  <a:pt x="13921" y="4412"/>
                  <a:pt x="14001" y="4713"/>
                  <a:pt x="14236" y="4848"/>
                </a:cubicBezTo>
                <a:moveTo>
                  <a:pt x="3436" y="10309"/>
                </a:moveTo>
                <a:cubicBezTo>
                  <a:pt x="3166" y="10309"/>
                  <a:pt x="2945" y="10529"/>
                  <a:pt x="2945" y="10800"/>
                </a:cubicBezTo>
                <a:cubicBezTo>
                  <a:pt x="2945" y="11072"/>
                  <a:pt x="3166" y="11291"/>
                  <a:pt x="3436" y="11291"/>
                </a:cubicBezTo>
                <a:cubicBezTo>
                  <a:pt x="3707" y="11291"/>
                  <a:pt x="3927" y="11072"/>
                  <a:pt x="3927" y="10800"/>
                </a:cubicBezTo>
                <a:cubicBezTo>
                  <a:pt x="3927" y="10529"/>
                  <a:pt x="3707" y="10309"/>
                  <a:pt x="3436" y="10309"/>
                </a:cubicBezTo>
                <a:moveTo>
                  <a:pt x="6873" y="3998"/>
                </a:moveTo>
                <a:cubicBezTo>
                  <a:pt x="6638" y="4134"/>
                  <a:pt x="6558" y="4434"/>
                  <a:pt x="6693" y="4669"/>
                </a:cubicBezTo>
                <a:cubicBezTo>
                  <a:pt x="6829" y="4903"/>
                  <a:pt x="7129" y="4984"/>
                  <a:pt x="7364" y="4848"/>
                </a:cubicBezTo>
                <a:cubicBezTo>
                  <a:pt x="7599" y="4713"/>
                  <a:pt x="7679" y="4412"/>
                  <a:pt x="7543" y="4178"/>
                </a:cubicBezTo>
                <a:cubicBezTo>
                  <a:pt x="7408" y="3943"/>
                  <a:pt x="7108" y="3863"/>
                  <a:pt x="6873" y="3998"/>
                </a:cubicBezTo>
                <a:moveTo>
                  <a:pt x="4178" y="14057"/>
                </a:moveTo>
                <a:cubicBezTo>
                  <a:pt x="3942" y="14192"/>
                  <a:pt x="3863" y="14492"/>
                  <a:pt x="3998" y="14727"/>
                </a:cubicBezTo>
                <a:cubicBezTo>
                  <a:pt x="4133" y="14962"/>
                  <a:pt x="4433" y="15043"/>
                  <a:pt x="4668" y="14907"/>
                </a:cubicBezTo>
                <a:cubicBezTo>
                  <a:pt x="4903" y="14772"/>
                  <a:pt x="4984" y="14472"/>
                  <a:pt x="4848" y="14236"/>
                </a:cubicBezTo>
                <a:cubicBezTo>
                  <a:pt x="4713" y="14001"/>
                  <a:pt x="4412" y="13921"/>
                  <a:pt x="4178" y="14057"/>
                </a:cubicBezTo>
                <a:moveTo>
                  <a:pt x="7364" y="16752"/>
                </a:moveTo>
                <a:cubicBezTo>
                  <a:pt x="7129" y="16617"/>
                  <a:pt x="6829" y="16697"/>
                  <a:pt x="6693" y="16932"/>
                </a:cubicBezTo>
                <a:cubicBezTo>
                  <a:pt x="6558" y="17167"/>
                  <a:pt x="6638" y="17467"/>
                  <a:pt x="6873" y="17602"/>
                </a:cubicBezTo>
                <a:cubicBezTo>
                  <a:pt x="7108" y="17738"/>
                  <a:pt x="7408" y="17658"/>
                  <a:pt x="7543" y="17422"/>
                </a:cubicBezTo>
                <a:cubicBezTo>
                  <a:pt x="7679" y="17188"/>
                  <a:pt x="7599" y="16887"/>
                  <a:pt x="7364" y="16752"/>
                </a:cubicBezTo>
                <a:moveTo>
                  <a:pt x="18164" y="10309"/>
                </a:moveTo>
                <a:cubicBezTo>
                  <a:pt x="17893" y="10309"/>
                  <a:pt x="17673" y="10529"/>
                  <a:pt x="17673" y="10800"/>
                </a:cubicBezTo>
                <a:cubicBezTo>
                  <a:pt x="17673" y="11072"/>
                  <a:pt x="17893" y="11291"/>
                  <a:pt x="18164" y="11291"/>
                </a:cubicBezTo>
                <a:cubicBezTo>
                  <a:pt x="18434" y="11291"/>
                  <a:pt x="18655" y="11072"/>
                  <a:pt x="18655" y="10800"/>
                </a:cubicBezTo>
                <a:cubicBezTo>
                  <a:pt x="18655" y="10529"/>
                  <a:pt x="18434" y="10309"/>
                  <a:pt x="18164"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7" name="Shape 2527"/>
          <p:cNvSpPr/>
          <p:nvPr/>
        </p:nvSpPr>
        <p:spPr>
          <a:xfrm>
            <a:off x="1460536" y="183208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782"/>
                </a:moveTo>
                <a:cubicBezTo>
                  <a:pt x="10258" y="11782"/>
                  <a:pt x="9818" y="11342"/>
                  <a:pt x="9818" y="10800"/>
                </a:cubicBezTo>
                <a:cubicBezTo>
                  <a:pt x="9818" y="10258"/>
                  <a:pt x="10258" y="9818"/>
                  <a:pt x="10800" y="9818"/>
                </a:cubicBezTo>
                <a:cubicBezTo>
                  <a:pt x="11342" y="9818"/>
                  <a:pt x="11782" y="10258"/>
                  <a:pt x="11782" y="10800"/>
                </a:cubicBezTo>
                <a:cubicBezTo>
                  <a:pt x="11782" y="11342"/>
                  <a:pt x="11342" y="11782"/>
                  <a:pt x="10800" y="11782"/>
                </a:cubicBezTo>
                <a:moveTo>
                  <a:pt x="14236" y="10309"/>
                </a:moveTo>
                <a:lnTo>
                  <a:pt x="12694" y="10309"/>
                </a:lnTo>
                <a:cubicBezTo>
                  <a:pt x="12516" y="9622"/>
                  <a:pt x="11979" y="9084"/>
                  <a:pt x="11291" y="8906"/>
                </a:cubicBezTo>
                <a:lnTo>
                  <a:pt x="11291" y="5400"/>
                </a:lnTo>
                <a:cubicBezTo>
                  <a:pt x="11291" y="5129"/>
                  <a:pt x="11071" y="4909"/>
                  <a:pt x="10800" y="4909"/>
                </a:cubicBezTo>
                <a:cubicBezTo>
                  <a:pt x="10529" y="4909"/>
                  <a:pt x="10309" y="5129"/>
                  <a:pt x="10309" y="5400"/>
                </a:cubicBezTo>
                <a:lnTo>
                  <a:pt x="10309" y="8906"/>
                </a:lnTo>
                <a:cubicBezTo>
                  <a:pt x="9464" y="9125"/>
                  <a:pt x="8836" y="9886"/>
                  <a:pt x="8836" y="10800"/>
                </a:cubicBezTo>
                <a:cubicBezTo>
                  <a:pt x="8836" y="11885"/>
                  <a:pt x="9716" y="12764"/>
                  <a:pt x="10800" y="12764"/>
                </a:cubicBezTo>
                <a:cubicBezTo>
                  <a:pt x="11714" y="12764"/>
                  <a:pt x="12476" y="12137"/>
                  <a:pt x="12694" y="11291"/>
                </a:cubicBezTo>
                <a:lnTo>
                  <a:pt x="14236" y="11291"/>
                </a:lnTo>
                <a:cubicBezTo>
                  <a:pt x="14507" y="11291"/>
                  <a:pt x="14727" y="11072"/>
                  <a:pt x="14727" y="10800"/>
                </a:cubicBezTo>
                <a:cubicBezTo>
                  <a:pt x="14727" y="10529"/>
                  <a:pt x="14507" y="10309"/>
                  <a:pt x="14236" y="10309"/>
                </a:cubicBezTo>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8655"/>
                </a:moveTo>
                <a:cubicBezTo>
                  <a:pt x="6462" y="18655"/>
                  <a:pt x="2945" y="15138"/>
                  <a:pt x="2945" y="10800"/>
                </a:cubicBezTo>
                <a:cubicBezTo>
                  <a:pt x="2945" y="6462"/>
                  <a:pt x="6462" y="2945"/>
                  <a:pt x="10800" y="2945"/>
                </a:cubicBezTo>
                <a:cubicBezTo>
                  <a:pt x="15138" y="2945"/>
                  <a:pt x="18655" y="6462"/>
                  <a:pt x="18655" y="10800"/>
                </a:cubicBezTo>
                <a:cubicBezTo>
                  <a:pt x="18655" y="15138"/>
                  <a:pt x="15138" y="18655"/>
                  <a:pt x="10800" y="18655"/>
                </a:cubicBezTo>
                <a:moveTo>
                  <a:pt x="10800" y="1964"/>
                </a:moveTo>
                <a:cubicBezTo>
                  <a:pt x="5920" y="1964"/>
                  <a:pt x="1964" y="5920"/>
                  <a:pt x="1964" y="10800"/>
                </a:cubicBezTo>
                <a:cubicBezTo>
                  <a:pt x="1964" y="15680"/>
                  <a:pt x="5920" y="19636"/>
                  <a:pt x="10800" y="19636"/>
                </a:cubicBezTo>
                <a:cubicBezTo>
                  <a:pt x="15680" y="19636"/>
                  <a:pt x="19636" y="15680"/>
                  <a:pt x="19636" y="10800"/>
                </a:cubicBezTo>
                <a:cubicBezTo>
                  <a:pt x="19636" y="5920"/>
                  <a:pt x="15680" y="1964"/>
                  <a:pt x="10800"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8" name="Shape 2528"/>
          <p:cNvSpPr/>
          <p:nvPr/>
        </p:nvSpPr>
        <p:spPr>
          <a:xfrm>
            <a:off x="1889050"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8"/>
                  <a:pt x="19645" y="20618"/>
                  <a:pt x="18900" y="20618"/>
                </a:cubicBezTo>
                <a:lnTo>
                  <a:pt x="2700" y="20618"/>
                </a:lnTo>
                <a:cubicBezTo>
                  <a:pt x="1955" y="20618"/>
                  <a:pt x="1350" y="20178"/>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4050" y="5891"/>
                </a:moveTo>
                <a:cubicBezTo>
                  <a:pt x="4050" y="3180"/>
                  <a:pt x="7072" y="982"/>
                  <a:pt x="10800" y="982"/>
                </a:cubicBezTo>
                <a:cubicBezTo>
                  <a:pt x="14528" y="982"/>
                  <a:pt x="17550" y="3180"/>
                  <a:pt x="17550" y="5891"/>
                </a:cubicBezTo>
                <a:lnTo>
                  <a:pt x="17550" y="8836"/>
                </a:lnTo>
                <a:lnTo>
                  <a:pt x="4050" y="8836"/>
                </a:lnTo>
                <a:cubicBezTo>
                  <a:pt x="4050" y="8836"/>
                  <a:pt x="4050" y="5891"/>
                  <a:pt x="4050" y="5891"/>
                </a:cubicBezTo>
                <a:close/>
                <a:moveTo>
                  <a:pt x="18900" y="8836"/>
                </a:moveTo>
                <a:lnTo>
                  <a:pt x="18900" y="5891"/>
                </a:lnTo>
                <a:cubicBezTo>
                  <a:pt x="18900" y="2638"/>
                  <a:pt x="15273" y="0"/>
                  <a:pt x="10800" y="0"/>
                </a:cubicBezTo>
                <a:cubicBezTo>
                  <a:pt x="6327" y="0"/>
                  <a:pt x="2700" y="2638"/>
                  <a:pt x="2700" y="5891"/>
                </a:cubicBez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moveTo>
                  <a:pt x="11475" y="15573"/>
                </a:moveTo>
                <a:lnTo>
                  <a:pt x="11475" y="16200"/>
                </a:lnTo>
                <a:cubicBezTo>
                  <a:pt x="11475" y="16472"/>
                  <a:pt x="11172" y="16691"/>
                  <a:pt x="10800" y="16691"/>
                </a:cubicBezTo>
                <a:cubicBezTo>
                  <a:pt x="10428" y="16691"/>
                  <a:pt x="10125" y="16472"/>
                  <a:pt x="10125" y="16200"/>
                </a:cubicBezTo>
                <a:lnTo>
                  <a:pt x="10125" y="15573"/>
                </a:lnTo>
                <a:cubicBezTo>
                  <a:pt x="9723" y="15403"/>
                  <a:pt x="9450" y="15090"/>
                  <a:pt x="9450" y="14727"/>
                </a:cubicBezTo>
                <a:cubicBezTo>
                  <a:pt x="9450" y="14186"/>
                  <a:pt x="10055" y="13745"/>
                  <a:pt x="10800" y="13745"/>
                </a:cubicBezTo>
                <a:cubicBezTo>
                  <a:pt x="11545" y="13745"/>
                  <a:pt x="12150" y="14186"/>
                  <a:pt x="12150" y="14727"/>
                </a:cubicBezTo>
                <a:cubicBezTo>
                  <a:pt x="12150" y="15090"/>
                  <a:pt x="11876" y="15403"/>
                  <a:pt x="11475" y="15573"/>
                </a:cubicBezTo>
                <a:moveTo>
                  <a:pt x="10800" y="12764"/>
                </a:moveTo>
                <a:cubicBezTo>
                  <a:pt x="9309" y="12764"/>
                  <a:pt x="8100" y="13643"/>
                  <a:pt x="8100" y="14727"/>
                </a:cubicBezTo>
                <a:cubicBezTo>
                  <a:pt x="8100" y="15232"/>
                  <a:pt x="8369" y="15687"/>
                  <a:pt x="8798" y="16034"/>
                </a:cubicBezTo>
                <a:cubicBezTo>
                  <a:pt x="8789" y="16089"/>
                  <a:pt x="8775" y="16144"/>
                  <a:pt x="8775" y="16200"/>
                </a:cubicBezTo>
                <a:cubicBezTo>
                  <a:pt x="8775" y="17014"/>
                  <a:pt x="9681" y="17673"/>
                  <a:pt x="10800" y="17673"/>
                </a:cubicBezTo>
                <a:cubicBezTo>
                  <a:pt x="11919" y="17673"/>
                  <a:pt x="12825" y="17014"/>
                  <a:pt x="12825" y="16200"/>
                </a:cubicBezTo>
                <a:cubicBezTo>
                  <a:pt x="12825" y="16144"/>
                  <a:pt x="12810" y="16089"/>
                  <a:pt x="12802" y="16034"/>
                </a:cubicBezTo>
                <a:cubicBezTo>
                  <a:pt x="13231" y="15686"/>
                  <a:pt x="13500" y="15232"/>
                  <a:pt x="13500" y="14727"/>
                </a:cubicBezTo>
                <a:cubicBezTo>
                  <a:pt x="13500" y="13643"/>
                  <a:pt x="12291" y="12764"/>
                  <a:pt x="108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29" name="Shape 2529"/>
          <p:cNvSpPr/>
          <p:nvPr/>
        </p:nvSpPr>
        <p:spPr>
          <a:xfrm>
            <a:off x="2288996" y="183208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1475" y="15573"/>
                </a:moveTo>
                <a:lnTo>
                  <a:pt x="11475" y="16200"/>
                </a:lnTo>
                <a:cubicBezTo>
                  <a:pt x="11475" y="16471"/>
                  <a:pt x="11172" y="16691"/>
                  <a:pt x="10800" y="16691"/>
                </a:cubicBezTo>
                <a:cubicBezTo>
                  <a:pt x="10428" y="16691"/>
                  <a:pt x="10125" y="16471"/>
                  <a:pt x="10125" y="16200"/>
                </a:cubicBezTo>
                <a:lnTo>
                  <a:pt x="10125" y="15573"/>
                </a:lnTo>
                <a:cubicBezTo>
                  <a:pt x="9723" y="15403"/>
                  <a:pt x="9450" y="15090"/>
                  <a:pt x="9450" y="14727"/>
                </a:cubicBezTo>
                <a:cubicBezTo>
                  <a:pt x="9450" y="14185"/>
                  <a:pt x="10055" y="13745"/>
                  <a:pt x="10800" y="13745"/>
                </a:cubicBezTo>
                <a:cubicBezTo>
                  <a:pt x="11545" y="13745"/>
                  <a:pt x="12150" y="14185"/>
                  <a:pt x="12150" y="14727"/>
                </a:cubicBezTo>
                <a:cubicBezTo>
                  <a:pt x="12150" y="15090"/>
                  <a:pt x="11876" y="15403"/>
                  <a:pt x="11475" y="15573"/>
                </a:cubicBezTo>
                <a:moveTo>
                  <a:pt x="10800" y="12764"/>
                </a:moveTo>
                <a:cubicBezTo>
                  <a:pt x="9309" y="12764"/>
                  <a:pt x="8100" y="13643"/>
                  <a:pt x="8100" y="14727"/>
                </a:cubicBezTo>
                <a:cubicBezTo>
                  <a:pt x="8100" y="15232"/>
                  <a:pt x="8369" y="15686"/>
                  <a:pt x="8798" y="16034"/>
                </a:cubicBezTo>
                <a:cubicBezTo>
                  <a:pt x="8789" y="16089"/>
                  <a:pt x="8775" y="16143"/>
                  <a:pt x="8775" y="16200"/>
                </a:cubicBezTo>
                <a:cubicBezTo>
                  <a:pt x="8775" y="17014"/>
                  <a:pt x="9681" y="17673"/>
                  <a:pt x="10800" y="17673"/>
                </a:cubicBezTo>
                <a:cubicBezTo>
                  <a:pt x="11919" y="17673"/>
                  <a:pt x="12825" y="17014"/>
                  <a:pt x="12825" y="16200"/>
                </a:cubicBezTo>
                <a:cubicBezTo>
                  <a:pt x="12825" y="16143"/>
                  <a:pt x="12810" y="16089"/>
                  <a:pt x="12802" y="16034"/>
                </a:cubicBezTo>
                <a:cubicBezTo>
                  <a:pt x="13231" y="15687"/>
                  <a:pt x="13500" y="15232"/>
                  <a:pt x="13500" y="14727"/>
                </a:cubicBezTo>
                <a:cubicBezTo>
                  <a:pt x="13500" y="13643"/>
                  <a:pt x="12291" y="12764"/>
                  <a:pt x="10800" y="12764"/>
                </a:cubicBezTo>
                <a:moveTo>
                  <a:pt x="20250" y="19636"/>
                </a:moveTo>
                <a:cubicBezTo>
                  <a:pt x="20250" y="20179"/>
                  <a:pt x="19645" y="20618"/>
                  <a:pt x="18900" y="20618"/>
                </a:cubicBezTo>
                <a:lnTo>
                  <a:pt x="2700" y="20618"/>
                </a:lnTo>
                <a:cubicBezTo>
                  <a:pt x="1955" y="20618"/>
                  <a:pt x="1350" y="20179"/>
                  <a:pt x="1350" y="19636"/>
                </a:cubicBezTo>
                <a:lnTo>
                  <a:pt x="1350" y="10800"/>
                </a:lnTo>
                <a:cubicBezTo>
                  <a:pt x="1350" y="10258"/>
                  <a:pt x="1955" y="9818"/>
                  <a:pt x="2700" y="9818"/>
                </a:cubicBezTo>
                <a:lnTo>
                  <a:pt x="18900" y="9818"/>
                </a:lnTo>
                <a:cubicBezTo>
                  <a:pt x="19645" y="9818"/>
                  <a:pt x="20250" y="10258"/>
                  <a:pt x="20250" y="10800"/>
                </a:cubicBezTo>
                <a:cubicBezTo>
                  <a:pt x="20250" y="10800"/>
                  <a:pt x="20250" y="19636"/>
                  <a:pt x="20250" y="19636"/>
                </a:cubicBezTo>
                <a:close/>
                <a:moveTo>
                  <a:pt x="18900" y="8836"/>
                </a:moveTo>
                <a:lnTo>
                  <a:pt x="18900" y="5891"/>
                </a:lnTo>
                <a:cubicBezTo>
                  <a:pt x="18900" y="2638"/>
                  <a:pt x="15273" y="0"/>
                  <a:pt x="10800" y="0"/>
                </a:cubicBezTo>
                <a:cubicBezTo>
                  <a:pt x="6327" y="0"/>
                  <a:pt x="2700" y="2638"/>
                  <a:pt x="2700" y="5891"/>
                </a:cubicBezTo>
                <a:cubicBezTo>
                  <a:pt x="2700" y="6162"/>
                  <a:pt x="3003" y="6382"/>
                  <a:pt x="3375" y="6382"/>
                </a:cubicBezTo>
                <a:cubicBezTo>
                  <a:pt x="3747" y="6382"/>
                  <a:pt x="4050" y="6162"/>
                  <a:pt x="4050" y="5891"/>
                </a:cubicBezTo>
                <a:cubicBezTo>
                  <a:pt x="4050" y="3180"/>
                  <a:pt x="7072" y="982"/>
                  <a:pt x="10800" y="982"/>
                </a:cubicBezTo>
                <a:cubicBezTo>
                  <a:pt x="14528" y="982"/>
                  <a:pt x="17550" y="3180"/>
                  <a:pt x="17550" y="5891"/>
                </a:cubicBezTo>
                <a:lnTo>
                  <a:pt x="17550" y="8836"/>
                </a:lnTo>
                <a:lnTo>
                  <a:pt x="2700" y="8836"/>
                </a:lnTo>
                <a:cubicBezTo>
                  <a:pt x="1209" y="8836"/>
                  <a:pt x="0" y="9716"/>
                  <a:pt x="0" y="10800"/>
                </a:cubicBezTo>
                <a:lnTo>
                  <a:pt x="0" y="19636"/>
                </a:lnTo>
                <a:cubicBezTo>
                  <a:pt x="0" y="20721"/>
                  <a:pt x="1209" y="21600"/>
                  <a:pt x="2700" y="21600"/>
                </a:cubicBezTo>
                <a:lnTo>
                  <a:pt x="18900" y="21600"/>
                </a:lnTo>
                <a:cubicBezTo>
                  <a:pt x="20391" y="21600"/>
                  <a:pt x="21600" y="20721"/>
                  <a:pt x="21600" y="19636"/>
                </a:cubicBezTo>
                <a:lnTo>
                  <a:pt x="21600" y="10800"/>
                </a:lnTo>
                <a:cubicBezTo>
                  <a:pt x="21600" y="9716"/>
                  <a:pt x="20391" y="8836"/>
                  <a:pt x="189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0" name="Shape 2530"/>
          <p:cNvSpPr/>
          <p:nvPr/>
        </p:nvSpPr>
        <p:spPr>
          <a:xfrm>
            <a:off x="2679418"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8"/>
                  <a:pt x="19862" y="20617"/>
                  <a:pt x="19200" y="20617"/>
                </a:cubicBezTo>
                <a:lnTo>
                  <a:pt x="6000" y="20617"/>
                </a:lnTo>
                <a:lnTo>
                  <a:pt x="6000" y="982"/>
                </a:lnTo>
                <a:lnTo>
                  <a:pt x="13200" y="982"/>
                </a:lnTo>
                <a:lnTo>
                  <a:pt x="13200" y="6872"/>
                </a:lnTo>
                <a:lnTo>
                  <a:pt x="15600" y="4909"/>
                </a:lnTo>
                <a:lnTo>
                  <a:pt x="18000" y="6872"/>
                </a:lnTo>
                <a:lnTo>
                  <a:pt x="18000" y="982"/>
                </a:lnTo>
                <a:lnTo>
                  <a:pt x="19200" y="982"/>
                </a:lnTo>
                <a:cubicBezTo>
                  <a:pt x="19862" y="982"/>
                  <a:pt x="20400" y="1422"/>
                  <a:pt x="20400" y="1964"/>
                </a:cubicBezTo>
                <a:cubicBezTo>
                  <a:pt x="20400" y="1964"/>
                  <a:pt x="20400" y="19636"/>
                  <a:pt x="20400" y="19636"/>
                </a:cubicBezTo>
                <a:close/>
                <a:moveTo>
                  <a:pt x="4800" y="20617"/>
                </a:moveTo>
                <a:lnTo>
                  <a:pt x="2400" y="20617"/>
                </a:lnTo>
                <a:cubicBezTo>
                  <a:pt x="1738" y="20617"/>
                  <a:pt x="1200" y="20178"/>
                  <a:pt x="1200" y="19636"/>
                </a:cubicBezTo>
                <a:lnTo>
                  <a:pt x="1200" y="1964"/>
                </a:lnTo>
                <a:cubicBezTo>
                  <a:pt x="1200" y="1422"/>
                  <a:pt x="1738" y="982"/>
                  <a:pt x="2400" y="982"/>
                </a:cubicBezTo>
                <a:lnTo>
                  <a:pt x="4800" y="982"/>
                </a:lnTo>
                <a:cubicBezTo>
                  <a:pt x="4800" y="982"/>
                  <a:pt x="4800" y="20617"/>
                  <a:pt x="4800" y="20617"/>
                </a:cubicBezTo>
                <a:close/>
                <a:moveTo>
                  <a:pt x="14400" y="982"/>
                </a:moveTo>
                <a:lnTo>
                  <a:pt x="16800" y="982"/>
                </a:lnTo>
                <a:lnTo>
                  <a:pt x="16800" y="4418"/>
                </a:lnTo>
                <a:lnTo>
                  <a:pt x="15600" y="3436"/>
                </a:lnTo>
                <a:lnTo>
                  <a:pt x="14400" y="4418"/>
                </a:lnTo>
                <a:cubicBezTo>
                  <a:pt x="14400" y="4418"/>
                  <a:pt x="14400" y="982"/>
                  <a:pt x="14400" y="982"/>
                </a:cubicBezTo>
                <a:close/>
                <a:moveTo>
                  <a:pt x="192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1" name="Shape 2531"/>
          <p:cNvSpPr/>
          <p:nvPr/>
        </p:nvSpPr>
        <p:spPr>
          <a:xfrm>
            <a:off x="3079363"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9636"/>
                </a:moveTo>
                <a:cubicBezTo>
                  <a:pt x="20400" y="20179"/>
                  <a:pt x="19862" y="20618"/>
                  <a:pt x="19200" y="20618"/>
                </a:cubicBezTo>
                <a:lnTo>
                  <a:pt x="7200" y="20618"/>
                </a:lnTo>
                <a:lnTo>
                  <a:pt x="7200" y="982"/>
                </a:lnTo>
                <a:lnTo>
                  <a:pt x="19200" y="982"/>
                </a:lnTo>
                <a:cubicBezTo>
                  <a:pt x="19862" y="982"/>
                  <a:pt x="20400" y="1422"/>
                  <a:pt x="20400" y="1964"/>
                </a:cubicBezTo>
                <a:cubicBezTo>
                  <a:pt x="20400" y="1964"/>
                  <a:pt x="20400" y="19636"/>
                  <a:pt x="20400" y="19636"/>
                </a:cubicBezTo>
                <a:close/>
                <a:moveTo>
                  <a:pt x="6000" y="20618"/>
                </a:moveTo>
                <a:lnTo>
                  <a:pt x="3600" y="20618"/>
                </a:lnTo>
                <a:cubicBezTo>
                  <a:pt x="2937" y="20618"/>
                  <a:pt x="2400" y="20179"/>
                  <a:pt x="2400" y="19636"/>
                </a:cubicBezTo>
                <a:lnTo>
                  <a:pt x="2400" y="18655"/>
                </a:lnTo>
                <a:lnTo>
                  <a:pt x="3000" y="18655"/>
                </a:lnTo>
                <a:cubicBezTo>
                  <a:pt x="3332" y="18655"/>
                  <a:pt x="3600" y="18435"/>
                  <a:pt x="3600" y="18164"/>
                </a:cubicBezTo>
                <a:cubicBezTo>
                  <a:pt x="3600" y="17893"/>
                  <a:pt x="3332" y="17673"/>
                  <a:pt x="3000" y="17673"/>
                </a:cubicBezTo>
                <a:lnTo>
                  <a:pt x="2400" y="17673"/>
                </a:lnTo>
                <a:lnTo>
                  <a:pt x="2400" y="15709"/>
                </a:lnTo>
                <a:lnTo>
                  <a:pt x="3000" y="15709"/>
                </a:lnTo>
                <a:cubicBezTo>
                  <a:pt x="3332" y="15709"/>
                  <a:pt x="3600" y="15490"/>
                  <a:pt x="3600" y="15218"/>
                </a:cubicBezTo>
                <a:cubicBezTo>
                  <a:pt x="3600" y="14947"/>
                  <a:pt x="3332" y="14727"/>
                  <a:pt x="3000" y="14727"/>
                </a:cubicBezTo>
                <a:lnTo>
                  <a:pt x="2400" y="14727"/>
                </a:lnTo>
                <a:lnTo>
                  <a:pt x="2400" y="12764"/>
                </a:lnTo>
                <a:lnTo>
                  <a:pt x="3000" y="12764"/>
                </a:lnTo>
                <a:cubicBezTo>
                  <a:pt x="3332" y="12764"/>
                  <a:pt x="3600" y="12544"/>
                  <a:pt x="3600" y="12273"/>
                </a:cubicBezTo>
                <a:cubicBezTo>
                  <a:pt x="3600" y="12002"/>
                  <a:pt x="3332" y="11782"/>
                  <a:pt x="3000" y="11782"/>
                </a:cubicBezTo>
                <a:lnTo>
                  <a:pt x="2400" y="11782"/>
                </a:lnTo>
                <a:lnTo>
                  <a:pt x="2400" y="9818"/>
                </a:lnTo>
                <a:lnTo>
                  <a:pt x="3000" y="9818"/>
                </a:lnTo>
                <a:cubicBezTo>
                  <a:pt x="3332" y="9818"/>
                  <a:pt x="3600" y="9599"/>
                  <a:pt x="3600" y="9327"/>
                </a:cubicBezTo>
                <a:cubicBezTo>
                  <a:pt x="3600" y="9056"/>
                  <a:pt x="3332" y="8836"/>
                  <a:pt x="3000" y="8836"/>
                </a:cubicBezTo>
                <a:lnTo>
                  <a:pt x="2400" y="8836"/>
                </a:lnTo>
                <a:lnTo>
                  <a:pt x="2400" y="6873"/>
                </a:lnTo>
                <a:lnTo>
                  <a:pt x="3000" y="6873"/>
                </a:lnTo>
                <a:cubicBezTo>
                  <a:pt x="3332" y="6873"/>
                  <a:pt x="3600" y="6653"/>
                  <a:pt x="3600" y="6382"/>
                </a:cubicBezTo>
                <a:cubicBezTo>
                  <a:pt x="3600" y="6111"/>
                  <a:pt x="3332" y="5891"/>
                  <a:pt x="3000" y="5891"/>
                </a:cubicBezTo>
                <a:lnTo>
                  <a:pt x="2400" y="5891"/>
                </a:lnTo>
                <a:lnTo>
                  <a:pt x="2400" y="3927"/>
                </a:lnTo>
                <a:lnTo>
                  <a:pt x="3000" y="3927"/>
                </a:lnTo>
                <a:cubicBezTo>
                  <a:pt x="3332" y="3927"/>
                  <a:pt x="3600" y="3708"/>
                  <a:pt x="3600" y="3436"/>
                </a:cubicBezTo>
                <a:cubicBezTo>
                  <a:pt x="3600" y="3166"/>
                  <a:pt x="3332" y="2945"/>
                  <a:pt x="3000" y="2945"/>
                </a:cubicBezTo>
                <a:lnTo>
                  <a:pt x="2400" y="2945"/>
                </a:lnTo>
                <a:lnTo>
                  <a:pt x="2400" y="1964"/>
                </a:lnTo>
                <a:cubicBezTo>
                  <a:pt x="2400" y="1422"/>
                  <a:pt x="2937" y="982"/>
                  <a:pt x="3600" y="982"/>
                </a:cubicBezTo>
                <a:lnTo>
                  <a:pt x="6000" y="982"/>
                </a:lnTo>
                <a:cubicBezTo>
                  <a:pt x="6000" y="982"/>
                  <a:pt x="6000" y="20618"/>
                  <a:pt x="6000" y="20618"/>
                </a:cubicBezTo>
                <a:close/>
                <a:moveTo>
                  <a:pt x="19200" y="0"/>
                </a:moveTo>
                <a:lnTo>
                  <a:pt x="3600" y="0"/>
                </a:lnTo>
                <a:cubicBezTo>
                  <a:pt x="2275" y="0"/>
                  <a:pt x="1200" y="879"/>
                  <a:pt x="1200" y="1964"/>
                </a:cubicBezTo>
                <a:lnTo>
                  <a:pt x="1200" y="2945"/>
                </a:lnTo>
                <a:lnTo>
                  <a:pt x="600" y="2945"/>
                </a:lnTo>
                <a:cubicBezTo>
                  <a:pt x="268" y="2945"/>
                  <a:pt x="0" y="3166"/>
                  <a:pt x="0" y="3436"/>
                </a:cubicBezTo>
                <a:cubicBezTo>
                  <a:pt x="0" y="3708"/>
                  <a:pt x="268" y="3927"/>
                  <a:pt x="600" y="3927"/>
                </a:cubicBezTo>
                <a:lnTo>
                  <a:pt x="1200" y="3927"/>
                </a:lnTo>
                <a:lnTo>
                  <a:pt x="1200" y="5891"/>
                </a:lnTo>
                <a:lnTo>
                  <a:pt x="600" y="5891"/>
                </a:lnTo>
                <a:cubicBezTo>
                  <a:pt x="268" y="5891"/>
                  <a:pt x="0" y="6111"/>
                  <a:pt x="0" y="6382"/>
                </a:cubicBezTo>
                <a:cubicBezTo>
                  <a:pt x="0" y="6653"/>
                  <a:pt x="268" y="6873"/>
                  <a:pt x="600" y="6873"/>
                </a:cubicBezTo>
                <a:lnTo>
                  <a:pt x="1200" y="6873"/>
                </a:lnTo>
                <a:lnTo>
                  <a:pt x="1200" y="8836"/>
                </a:lnTo>
                <a:lnTo>
                  <a:pt x="600" y="8836"/>
                </a:lnTo>
                <a:cubicBezTo>
                  <a:pt x="268" y="8836"/>
                  <a:pt x="0" y="9056"/>
                  <a:pt x="0" y="9327"/>
                </a:cubicBezTo>
                <a:cubicBezTo>
                  <a:pt x="0" y="9599"/>
                  <a:pt x="268" y="9818"/>
                  <a:pt x="600" y="9818"/>
                </a:cubicBezTo>
                <a:lnTo>
                  <a:pt x="1200" y="9818"/>
                </a:lnTo>
                <a:lnTo>
                  <a:pt x="1200" y="11782"/>
                </a:lnTo>
                <a:lnTo>
                  <a:pt x="600" y="11782"/>
                </a:lnTo>
                <a:cubicBezTo>
                  <a:pt x="268" y="11782"/>
                  <a:pt x="0" y="12002"/>
                  <a:pt x="0" y="12273"/>
                </a:cubicBezTo>
                <a:cubicBezTo>
                  <a:pt x="0" y="12544"/>
                  <a:pt x="268" y="12764"/>
                  <a:pt x="600" y="12764"/>
                </a:cubicBezTo>
                <a:lnTo>
                  <a:pt x="1200" y="12764"/>
                </a:lnTo>
                <a:lnTo>
                  <a:pt x="1200" y="14727"/>
                </a:lnTo>
                <a:lnTo>
                  <a:pt x="600" y="14727"/>
                </a:lnTo>
                <a:cubicBezTo>
                  <a:pt x="268" y="14727"/>
                  <a:pt x="0" y="14947"/>
                  <a:pt x="0" y="15218"/>
                </a:cubicBezTo>
                <a:cubicBezTo>
                  <a:pt x="0" y="15490"/>
                  <a:pt x="268" y="15709"/>
                  <a:pt x="600" y="15709"/>
                </a:cubicBezTo>
                <a:lnTo>
                  <a:pt x="1200" y="15709"/>
                </a:lnTo>
                <a:lnTo>
                  <a:pt x="1200" y="17673"/>
                </a:lnTo>
                <a:lnTo>
                  <a:pt x="600" y="17673"/>
                </a:lnTo>
                <a:cubicBezTo>
                  <a:pt x="268" y="17673"/>
                  <a:pt x="0" y="17893"/>
                  <a:pt x="0" y="18164"/>
                </a:cubicBezTo>
                <a:cubicBezTo>
                  <a:pt x="0" y="18435"/>
                  <a:pt x="268" y="18655"/>
                  <a:pt x="600" y="18655"/>
                </a:cubicBezTo>
                <a:lnTo>
                  <a:pt x="1200" y="18655"/>
                </a:lnTo>
                <a:lnTo>
                  <a:pt x="1200" y="19636"/>
                </a:lnTo>
                <a:cubicBezTo>
                  <a:pt x="1200" y="20721"/>
                  <a:pt x="2275" y="21600"/>
                  <a:pt x="3600" y="21600"/>
                </a:cubicBezTo>
                <a:lnTo>
                  <a:pt x="19200" y="21600"/>
                </a:lnTo>
                <a:cubicBezTo>
                  <a:pt x="20525" y="21600"/>
                  <a:pt x="21600" y="20721"/>
                  <a:pt x="21600" y="19636"/>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2" name="Shape 2532"/>
          <p:cNvSpPr/>
          <p:nvPr/>
        </p:nvSpPr>
        <p:spPr>
          <a:xfrm>
            <a:off x="3479309"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7" y="20618"/>
                  <a:pt x="1200" y="20179"/>
                  <a:pt x="1200" y="19636"/>
                </a:cubicBezTo>
                <a:lnTo>
                  <a:pt x="1200" y="1964"/>
                </a:lnTo>
                <a:cubicBezTo>
                  <a:pt x="1200" y="1422"/>
                  <a:pt x="1737" y="982"/>
                  <a:pt x="2400" y="982"/>
                </a:cubicBezTo>
                <a:lnTo>
                  <a:pt x="13200" y="982"/>
                </a:lnTo>
                <a:lnTo>
                  <a:pt x="13200" y="5891"/>
                </a:lnTo>
                <a:cubicBezTo>
                  <a:pt x="13200" y="6433"/>
                  <a:pt x="13738" y="6873"/>
                  <a:pt x="14400" y="6873"/>
                </a:cubicBezTo>
                <a:lnTo>
                  <a:pt x="20400" y="6873"/>
                </a:lnTo>
                <a:cubicBezTo>
                  <a:pt x="20400" y="6873"/>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4800" y="8836"/>
                </a:moveTo>
                <a:cubicBezTo>
                  <a:pt x="4800" y="9108"/>
                  <a:pt x="5068" y="9327"/>
                  <a:pt x="5400" y="9327"/>
                </a:cubicBezTo>
                <a:lnTo>
                  <a:pt x="16200" y="9327"/>
                </a:lnTo>
                <a:cubicBezTo>
                  <a:pt x="16532" y="9327"/>
                  <a:pt x="16800" y="9108"/>
                  <a:pt x="16800" y="8836"/>
                </a:cubicBezTo>
                <a:cubicBezTo>
                  <a:pt x="16800" y="8566"/>
                  <a:pt x="16532" y="8345"/>
                  <a:pt x="16200" y="8345"/>
                </a:cubicBezTo>
                <a:lnTo>
                  <a:pt x="5400" y="8345"/>
                </a:lnTo>
                <a:cubicBezTo>
                  <a:pt x="5068" y="8345"/>
                  <a:pt x="4800" y="8566"/>
                  <a:pt x="4800" y="8836"/>
                </a:cubicBezTo>
                <a:moveTo>
                  <a:pt x="16200" y="12273"/>
                </a:moveTo>
                <a:lnTo>
                  <a:pt x="5400" y="12273"/>
                </a:lnTo>
                <a:cubicBezTo>
                  <a:pt x="5068" y="12273"/>
                  <a:pt x="4800" y="12493"/>
                  <a:pt x="4800" y="12764"/>
                </a:cubicBezTo>
                <a:cubicBezTo>
                  <a:pt x="4800" y="13035"/>
                  <a:pt x="5068" y="13255"/>
                  <a:pt x="5400" y="13255"/>
                </a:cubicBezTo>
                <a:lnTo>
                  <a:pt x="16200" y="13255"/>
                </a:lnTo>
                <a:cubicBezTo>
                  <a:pt x="16532" y="13255"/>
                  <a:pt x="16800" y="13035"/>
                  <a:pt x="16800" y="12764"/>
                </a:cubicBezTo>
                <a:cubicBezTo>
                  <a:pt x="16800" y="12493"/>
                  <a:pt x="16532" y="12273"/>
                  <a:pt x="16200" y="12273"/>
                </a:cubicBezTo>
                <a:moveTo>
                  <a:pt x="5400" y="5400"/>
                </a:moveTo>
                <a:lnTo>
                  <a:pt x="8400" y="5400"/>
                </a:lnTo>
                <a:cubicBezTo>
                  <a:pt x="8732" y="5400"/>
                  <a:pt x="9000" y="5181"/>
                  <a:pt x="9000" y="4909"/>
                </a:cubicBezTo>
                <a:cubicBezTo>
                  <a:pt x="9000" y="4638"/>
                  <a:pt x="8732" y="4418"/>
                  <a:pt x="8400" y="4418"/>
                </a:cubicBezTo>
                <a:lnTo>
                  <a:pt x="5400" y="4418"/>
                </a:lnTo>
                <a:cubicBezTo>
                  <a:pt x="5068" y="4418"/>
                  <a:pt x="4800" y="4638"/>
                  <a:pt x="4800" y="4909"/>
                </a:cubicBezTo>
                <a:cubicBezTo>
                  <a:pt x="4800" y="5181"/>
                  <a:pt x="5068" y="5400"/>
                  <a:pt x="5400" y="5400"/>
                </a:cubicBezTo>
                <a:moveTo>
                  <a:pt x="12600" y="16200"/>
                </a:moveTo>
                <a:lnTo>
                  <a:pt x="5400" y="16200"/>
                </a:lnTo>
                <a:cubicBezTo>
                  <a:pt x="5068" y="16200"/>
                  <a:pt x="4800" y="16420"/>
                  <a:pt x="4800" y="16691"/>
                </a:cubicBezTo>
                <a:cubicBezTo>
                  <a:pt x="4800" y="16962"/>
                  <a:pt x="5068" y="17182"/>
                  <a:pt x="5400" y="17182"/>
                </a:cubicBezTo>
                <a:lnTo>
                  <a:pt x="12600" y="17182"/>
                </a:lnTo>
                <a:cubicBezTo>
                  <a:pt x="12932" y="17182"/>
                  <a:pt x="13200" y="16962"/>
                  <a:pt x="13200" y="16691"/>
                </a:cubicBezTo>
                <a:cubicBezTo>
                  <a:pt x="13200" y="16420"/>
                  <a:pt x="12932" y="16200"/>
                  <a:pt x="12600"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3" name="Shape 2533"/>
          <p:cNvSpPr/>
          <p:nvPr/>
        </p:nvSpPr>
        <p:spPr>
          <a:xfrm>
            <a:off x="3879256" y="1832084"/>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7"/>
                </a:lnTo>
                <a:lnTo>
                  <a:pt x="13929" y="8836"/>
                </a:lnTo>
                <a:cubicBezTo>
                  <a:pt x="13929" y="8836"/>
                  <a:pt x="10800" y="8836"/>
                  <a:pt x="10800" y="8836"/>
                </a:cubicBezTo>
                <a:close/>
                <a:moveTo>
                  <a:pt x="14400" y="19636"/>
                </a:moveTo>
                <a:cubicBezTo>
                  <a:pt x="14400" y="20179"/>
                  <a:pt x="13862" y="20618"/>
                  <a:pt x="13200" y="20618"/>
                </a:cubicBezTo>
                <a:lnTo>
                  <a:pt x="2400" y="20618"/>
                </a:lnTo>
                <a:cubicBezTo>
                  <a:pt x="1738" y="20618"/>
                  <a:pt x="1200" y="20179"/>
                  <a:pt x="1200" y="19636"/>
                </a:cubicBezTo>
                <a:lnTo>
                  <a:pt x="1200" y="6873"/>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3"/>
                </a:cubicBezTo>
                <a:lnTo>
                  <a:pt x="0" y="19636"/>
                </a:lnTo>
                <a:cubicBezTo>
                  <a:pt x="0" y="20721"/>
                  <a:pt x="1075" y="21600"/>
                  <a:pt x="2400" y="21600"/>
                </a:cubicBezTo>
                <a:lnTo>
                  <a:pt x="13200" y="21600"/>
                </a:lnTo>
                <a:cubicBezTo>
                  <a:pt x="14525" y="21600"/>
                  <a:pt x="15600" y="20721"/>
                  <a:pt x="15600" y="19636"/>
                </a:cubicBezTo>
                <a:lnTo>
                  <a:pt x="15600" y="8836"/>
                </a:lnTo>
                <a:lnTo>
                  <a:pt x="11400" y="4909"/>
                </a:lnTo>
                <a:cubicBezTo>
                  <a:pt x="11400" y="4909"/>
                  <a:pt x="2400" y="4909"/>
                  <a:pt x="2400" y="4909"/>
                </a:cubicBezTo>
                <a:close/>
                <a:moveTo>
                  <a:pt x="16800" y="3927"/>
                </a:moveTo>
                <a:lnTo>
                  <a:pt x="16800" y="1058"/>
                </a:lnTo>
                <a:lnTo>
                  <a:pt x="19929" y="3927"/>
                </a:lnTo>
                <a:cubicBezTo>
                  <a:pt x="19929" y="3927"/>
                  <a:pt x="16800" y="3927"/>
                  <a:pt x="16800" y="3927"/>
                </a:cubicBezTo>
                <a:close/>
                <a:moveTo>
                  <a:pt x="17400" y="0"/>
                </a:moveTo>
                <a:lnTo>
                  <a:pt x="8400" y="0"/>
                </a:lnTo>
                <a:cubicBezTo>
                  <a:pt x="7075" y="0"/>
                  <a:pt x="6000" y="879"/>
                  <a:pt x="6000" y="1964"/>
                </a:cubicBezTo>
                <a:lnTo>
                  <a:pt x="6000" y="3436"/>
                </a:lnTo>
                <a:cubicBezTo>
                  <a:pt x="6000" y="3708"/>
                  <a:pt x="6268" y="3927"/>
                  <a:pt x="6600" y="3927"/>
                </a:cubicBezTo>
                <a:cubicBezTo>
                  <a:pt x="6932"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8" y="15709"/>
                  <a:pt x="16800" y="15929"/>
                  <a:pt x="16800" y="16200"/>
                </a:cubicBezTo>
                <a:cubicBezTo>
                  <a:pt x="16800" y="16472"/>
                  <a:pt x="17068" y="16691"/>
                  <a:pt x="17400" y="16691"/>
                </a:cubicBezTo>
                <a:lnTo>
                  <a:pt x="19200" y="16691"/>
                </a:lnTo>
                <a:cubicBezTo>
                  <a:pt x="20525" y="16691"/>
                  <a:pt x="21600" y="15812"/>
                  <a:pt x="21600" y="14727"/>
                </a:cubicBezTo>
                <a:lnTo>
                  <a:pt x="21600" y="3927"/>
                </a:lnTo>
                <a:cubicBezTo>
                  <a:pt x="21600" y="3927"/>
                  <a:pt x="17400" y="0"/>
                  <a:pt x="17400" y="0"/>
                </a:cubicBezTo>
                <a:close/>
                <a:moveTo>
                  <a:pt x="3600" y="12273"/>
                </a:moveTo>
                <a:cubicBezTo>
                  <a:pt x="3600" y="12544"/>
                  <a:pt x="3868" y="12764"/>
                  <a:pt x="4200" y="12764"/>
                </a:cubicBezTo>
                <a:lnTo>
                  <a:pt x="11400" y="12764"/>
                </a:lnTo>
                <a:cubicBezTo>
                  <a:pt x="11732" y="12764"/>
                  <a:pt x="12000" y="12544"/>
                  <a:pt x="12000" y="12273"/>
                </a:cubicBezTo>
                <a:cubicBezTo>
                  <a:pt x="12000" y="12002"/>
                  <a:pt x="11732" y="11782"/>
                  <a:pt x="11400" y="11782"/>
                </a:cubicBezTo>
                <a:lnTo>
                  <a:pt x="4200" y="11782"/>
                </a:lnTo>
                <a:cubicBezTo>
                  <a:pt x="3868" y="11782"/>
                  <a:pt x="3600" y="12002"/>
                  <a:pt x="3600" y="12273"/>
                </a:cubicBezTo>
                <a:moveTo>
                  <a:pt x="4200" y="9818"/>
                </a:moveTo>
                <a:lnTo>
                  <a:pt x="6600" y="9818"/>
                </a:lnTo>
                <a:cubicBezTo>
                  <a:pt x="6932" y="9818"/>
                  <a:pt x="7200" y="9599"/>
                  <a:pt x="7200" y="9327"/>
                </a:cubicBezTo>
                <a:cubicBezTo>
                  <a:pt x="7200" y="9056"/>
                  <a:pt x="6932" y="8836"/>
                  <a:pt x="6600" y="8836"/>
                </a:cubicBezTo>
                <a:lnTo>
                  <a:pt x="4200" y="8836"/>
                </a:lnTo>
                <a:cubicBezTo>
                  <a:pt x="3868" y="8836"/>
                  <a:pt x="3600" y="9056"/>
                  <a:pt x="3600" y="9327"/>
                </a:cubicBezTo>
                <a:cubicBezTo>
                  <a:pt x="3600" y="9599"/>
                  <a:pt x="3868" y="9818"/>
                  <a:pt x="4200" y="9818"/>
                </a:cubicBezTo>
                <a:moveTo>
                  <a:pt x="9000" y="17673"/>
                </a:moveTo>
                <a:lnTo>
                  <a:pt x="4200" y="17673"/>
                </a:lnTo>
                <a:cubicBezTo>
                  <a:pt x="3868" y="17673"/>
                  <a:pt x="3600" y="17893"/>
                  <a:pt x="3600" y="18164"/>
                </a:cubicBezTo>
                <a:cubicBezTo>
                  <a:pt x="3600" y="18435"/>
                  <a:pt x="3868" y="18655"/>
                  <a:pt x="4200" y="18655"/>
                </a:cubicBezTo>
                <a:lnTo>
                  <a:pt x="9000" y="18655"/>
                </a:lnTo>
                <a:cubicBezTo>
                  <a:pt x="9332" y="18655"/>
                  <a:pt x="9600" y="18435"/>
                  <a:pt x="9600" y="18164"/>
                </a:cubicBezTo>
                <a:cubicBezTo>
                  <a:pt x="9600" y="17893"/>
                  <a:pt x="9332" y="17673"/>
                  <a:pt x="9000" y="17673"/>
                </a:cubicBezTo>
                <a:moveTo>
                  <a:pt x="11400" y="14727"/>
                </a:moveTo>
                <a:lnTo>
                  <a:pt x="4200" y="14727"/>
                </a:lnTo>
                <a:cubicBezTo>
                  <a:pt x="3868" y="14727"/>
                  <a:pt x="3600" y="14947"/>
                  <a:pt x="3600" y="15218"/>
                </a:cubicBezTo>
                <a:cubicBezTo>
                  <a:pt x="3600" y="15490"/>
                  <a:pt x="3868" y="15709"/>
                  <a:pt x="4200" y="15709"/>
                </a:cubicBezTo>
                <a:lnTo>
                  <a:pt x="11400" y="15709"/>
                </a:lnTo>
                <a:cubicBezTo>
                  <a:pt x="11732" y="15709"/>
                  <a:pt x="12000" y="15490"/>
                  <a:pt x="12000" y="15218"/>
                </a:cubicBezTo>
                <a:cubicBezTo>
                  <a:pt x="12000" y="14947"/>
                  <a:pt x="11732" y="14727"/>
                  <a:pt x="11400"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4" name="Shape 2534"/>
          <p:cNvSpPr/>
          <p:nvPr/>
        </p:nvSpPr>
        <p:spPr>
          <a:xfrm>
            <a:off x="4279201" y="1832085"/>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8"/>
                  <a:pt x="19862" y="20617"/>
                  <a:pt x="19200" y="20617"/>
                </a:cubicBezTo>
                <a:lnTo>
                  <a:pt x="2400" y="20617"/>
                </a:lnTo>
                <a:cubicBezTo>
                  <a:pt x="1738" y="20617"/>
                  <a:pt x="1200" y="20178"/>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0"/>
                  <a:pt x="1075" y="21600"/>
                  <a:pt x="2400" y="21600"/>
                </a:cubicBezTo>
                <a:lnTo>
                  <a:pt x="19200" y="21600"/>
                </a:lnTo>
                <a:cubicBezTo>
                  <a:pt x="20525" y="21600"/>
                  <a:pt x="21600" y="20720"/>
                  <a:pt x="21600" y="19636"/>
                </a:cubicBezTo>
                <a:lnTo>
                  <a:pt x="21600" y="5400"/>
                </a:lnTo>
                <a:cubicBezTo>
                  <a:pt x="21600" y="5400"/>
                  <a:pt x="15600" y="0"/>
                  <a:pt x="156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5" name="Shape 2535"/>
          <p:cNvSpPr/>
          <p:nvPr/>
        </p:nvSpPr>
        <p:spPr>
          <a:xfrm>
            <a:off x="679689" y="2232030"/>
            <a:ext cx="171406" cy="209503"/>
          </a:xfrm>
          <a:custGeom>
            <a:avLst/>
            <a:gdLst/>
            <a:ahLst/>
            <a:cxnLst>
              <a:cxn ang="0">
                <a:pos x="wd2" y="hd2"/>
              </a:cxn>
              <a:cxn ang="5400000">
                <a:pos x="wd2" y="hd2"/>
              </a:cxn>
              <a:cxn ang="10800000">
                <a:pos x="wd2" y="hd2"/>
              </a:cxn>
              <a:cxn ang="16200000">
                <a:pos x="wd2" y="hd2"/>
              </a:cxn>
            </a:cxnLst>
            <a:rect l="0" t="0" r="r" b="b"/>
            <a:pathLst>
              <a:path w="21600" h="21600" extrusionOk="0">
                <a:moveTo>
                  <a:pt x="10800" y="8836"/>
                </a:moveTo>
                <a:lnTo>
                  <a:pt x="10800" y="5966"/>
                </a:lnTo>
                <a:lnTo>
                  <a:pt x="13928" y="8836"/>
                </a:lnTo>
                <a:cubicBezTo>
                  <a:pt x="13928" y="8836"/>
                  <a:pt x="10800" y="8836"/>
                  <a:pt x="10800" y="8836"/>
                </a:cubicBezTo>
                <a:close/>
                <a:moveTo>
                  <a:pt x="14400" y="19636"/>
                </a:moveTo>
                <a:cubicBezTo>
                  <a:pt x="14400" y="20178"/>
                  <a:pt x="13862" y="20617"/>
                  <a:pt x="13200" y="20617"/>
                </a:cubicBezTo>
                <a:lnTo>
                  <a:pt x="2400" y="20617"/>
                </a:lnTo>
                <a:cubicBezTo>
                  <a:pt x="1738" y="20617"/>
                  <a:pt x="1200" y="20178"/>
                  <a:pt x="1200" y="19636"/>
                </a:cubicBezTo>
                <a:lnTo>
                  <a:pt x="1200" y="6872"/>
                </a:lnTo>
                <a:cubicBezTo>
                  <a:pt x="1200" y="6331"/>
                  <a:pt x="1738" y="5891"/>
                  <a:pt x="2400" y="5891"/>
                </a:cubicBezTo>
                <a:lnTo>
                  <a:pt x="9600" y="5891"/>
                </a:lnTo>
                <a:lnTo>
                  <a:pt x="9600" y="8836"/>
                </a:lnTo>
                <a:cubicBezTo>
                  <a:pt x="9600" y="9378"/>
                  <a:pt x="10138" y="9818"/>
                  <a:pt x="10800" y="9818"/>
                </a:cubicBezTo>
                <a:lnTo>
                  <a:pt x="14400" y="9818"/>
                </a:lnTo>
                <a:cubicBezTo>
                  <a:pt x="14400" y="9818"/>
                  <a:pt x="14400" y="19636"/>
                  <a:pt x="14400" y="19636"/>
                </a:cubicBezTo>
                <a:close/>
                <a:moveTo>
                  <a:pt x="2400" y="4909"/>
                </a:moveTo>
                <a:cubicBezTo>
                  <a:pt x="1075" y="4909"/>
                  <a:pt x="0" y="5788"/>
                  <a:pt x="0" y="6872"/>
                </a:cubicBezTo>
                <a:lnTo>
                  <a:pt x="0" y="19636"/>
                </a:lnTo>
                <a:cubicBezTo>
                  <a:pt x="0" y="20720"/>
                  <a:pt x="1075" y="21600"/>
                  <a:pt x="2400" y="21600"/>
                </a:cubicBezTo>
                <a:lnTo>
                  <a:pt x="13200" y="21600"/>
                </a:lnTo>
                <a:cubicBezTo>
                  <a:pt x="14525" y="21600"/>
                  <a:pt x="15600" y="20720"/>
                  <a:pt x="15600" y="19636"/>
                </a:cubicBezTo>
                <a:lnTo>
                  <a:pt x="15600" y="8836"/>
                </a:lnTo>
                <a:lnTo>
                  <a:pt x="11400" y="4909"/>
                </a:lnTo>
                <a:cubicBezTo>
                  <a:pt x="11400" y="4909"/>
                  <a:pt x="2400" y="4909"/>
                  <a:pt x="2400" y="4909"/>
                </a:cubicBezTo>
                <a:close/>
                <a:moveTo>
                  <a:pt x="16800" y="3927"/>
                </a:moveTo>
                <a:lnTo>
                  <a:pt x="16800" y="1058"/>
                </a:lnTo>
                <a:lnTo>
                  <a:pt x="19928" y="3927"/>
                </a:lnTo>
                <a:cubicBezTo>
                  <a:pt x="19928" y="3927"/>
                  <a:pt x="16800" y="3927"/>
                  <a:pt x="16800" y="3927"/>
                </a:cubicBezTo>
                <a:close/>
                <a:moveTo>
                  <a:pt x="17400" y="0"/>
                </a:moveTo>
                <a:lnTo>
                  <a:pt x="8400" y="0"/>
                </a:lnTo>
                <a:cubicBezTo>
                  <a:pt x="7075" y="0"/>
                  <a:pt x="6000" y="879"/>
                  <a:pt x="6000" y="1964"/>
                </a:cubicBezTo>
                <a:lnTo>
                  <a:pt x="6000" y="3436"/>
                </a:lnTo>
                <a:cubicBezTo>
                  <a:pt x="6000" y="3708"/>
                  <a:pt x="6269" y="3927"/>
                  <a:pt x="6600" y="3927"/>
                </a:cubicBezTo>
                <a:cubicBezTo>
                  <a:pt x="6931" y="3927"/>
                  <a:pt x="7200" y="3708"/>
                  <a:pt x="7200" y="3436"/>
                </a:cubicBezTo>
                <a:lnTo>
                  <a:pt x="7200" y="1964"/>
                </a:lnTo>
                <a:cubicBezTo>
                  <a:pt x="7200" y="1422"/>
                  <a:pt x="7738" y="982"/>
                  <a:pt x="8400" y="982"/>
                </a:cubicBezTo>
                <a:lnTo>
                  <a:pt x="15600" y="982"/>
                </a:lnTo>
                <a:lnTo>
                  <a:pt x="15600" y="3927"/>
                </a:lnTo>
                <a:cubicBezTo>
                  <a:pt x="15600" y="4469"/>
                  <a:pt x="16138" y="4909"/>
                  <a:pt x="16800" y="4909"/>
                </a:cubicBezTo>
                <a:lnTo>
                  <a:pt x="20400" y="4909"/>
                </a:lnTo>
                <a:lnTo>
                  <a:pt x="20400" y="14727"/>
                </a:lnTo>
                <a:cubicBezTo>
                  <a:pt x="20400" y="15269"/>
                  <a:pt x="19862" y="15709"/>
                  <a:pt x="19200" y="15709"/>
                </a:cubicBezTo>
                <a:lnTo>
                  <a:pt x="17400" y="15709"/>
                </a:lnTo>
                <a:cubicBezTo>
                  <a:pt x="17069" y="15709"/>
                  <a:pt x="16800" y="15929"/>
                  <a:pt x="16800" y="16199"/>
                </a:cubicBezTo>
                <a:cubicBezTo>
                  <a:pt x="16800" y="16471"/>
                  <a:pt x="17069" y="16690"/>
                  <a:pt x="17400" y="16690"/>
                </a:cubicBezTo>
                <a:lnTo>
                  <a:pt x="19200" y="16690"/>
                </a:lnTo>
                <a:cubicBezTo>
                  <a:pt x="20525" y="16690"/>
                  <a:pt x="21600" y="15811"/>
                  <a:pt x="21600" y="14727"/>
                </a:cubicBezTo>
                <a:lnTo>
                  <a:pt x="21600" y="3927"/>
                </a:lnTo>
                <a:cubicBezTo>
                  <a:pt x="21600" y="3927"/>
                  <a:pt x="17400" y="0"/>
                  <a:pt x="17400"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6" name="Shape 2536"/>
          <p:cNvSpPr/>
          <p:nvPr/>
        </p:nvSpPr>
        <p:spPr>
          <a:xfrm>
            <a:off x="1060590"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418" y="11782"/>
                </a:moveTo>
                <a:lnTo>
                  <a:pt x="14236" y="11782"/>
                </a:lnTo>
                <a:cubicBezTo>
                  <a:pt x="14507" y="11782"/>
                  <a:pt x="14727" y="11562"/>
                  <a:pt x="14727" y="11291"/>
                </a:cubicBezTo>
                <a:cubicBezTo>
                  <a:pt x="14727" y="11020"/>
                  <a:pt x="14507" y="10800"/>
                  <a:pt x="14236" y="10800"/>
                </a:cubicBezTo>
                <a:lnTo>
                  <a:pt x="4418" y="10800"/>
                </a:lnTo>
                <a:cubicBezTo>
                  <a:pt x="4147" y="10800"/>
                  <a:pt x="3927" y="11020"/>
                  <a:pt x="3927" y="11291"/>
                </a:cubicBezTo>
                <a:cubicBezTo>
                  <a:pt x="3927" y="11562"/>
                  <a:pt x="4147" y="11782"/>
                  <a:pt x="4418" y="11782"/>
                </a:cubicBezTo>
                <a:moveTo>
                  <a:pt x="20618" y="20618"/>
                </a:moveTo>
                <a:lnTo>
                  <a:pt x="5891" y="20618"/>
                </a:lnTo>
                <a:lnTo>
                  <a:pt x="5891" y="16200"/>
                </a:lnTo>
                <a:cubicBezTo>
                  <a:pt x="5891" y="15929"/>
                  <a:pt x="5671" y="15709"/>
                  <a:pt x="5400" y="15709"/>
                </a:cubicBezTo>
                <a:lnTo>
                  <a:pt x="982" y="15709"/>
                </a:lnTo>
                <a:lnTo>
                  <a:pt x="982" y="982"/>
                </a:lnTo>
                <a:lnTo>
                  <a:pt x="20618" y="982"/>
                </a:lnTo>
                <a:cubicBezTo>
                  <a:pt x="20618" y="982"/>
                  <a:pt x="20618" y="20618"/>
                  <a:pt x="20618" y="20618"/>
                </a:cubicBezTo>
                <a:close/>
                <a:moveTo>
                  <a:pt x="4909" y="20127"/>
                </a:moveTo>
                <a:lnTo>
                  <a:pt x="1473" y="16691"/>
                </a:lnTo>
                <a:lnTo>
                  <a:pt x="4909" y="16691"/>
                </a:lnTo>
                <a:cubicBezTo>
                  <a:pt x="4909" y="16691"/>
                  <a:pt x="4909" y="20127"/>
                  <a:pt x="4909" y="20127"/>
                </a:cubicBezTo>
                <a:close/>
                <a:moveTo>
                  <a:pt x="20618" y="0"/>
                </a:moveTo>
                <a:lnTo>
                  <a:pt x="982" y="0"/>
                </a:lnTo>
                <a:cubicBezTo>
                  <a:pt x="440" y="0"/>
                  <a:pt x="0" y="440"/>
                  <a:pt x="0" y="982"/>
                </a:cubicBezTo>
                <a:lnTo>
                  <a:pt x="0" y="16691"/>
                </a:lnTo>
                <a:lnTo>
                  <a:pt x="4909" y="21600"/>
                </a:lnTo>
                <a:lnTo>
                  <a:pt x="20618" y="21600"/>
                </a:lnTo>
                <a:cubicBezTo>
                  <a:pt x="21160" y="21600"/>
                  <a:pt x="21600" y="21161"/>
                  <a:pt x="21600" y="20618"/>
                </a:cubicBezTo>
                <a:lnTo>
                  <a:pt x="21600" y="982"/>
                </a:lnTo>
                <a:cubicBezTo>
                  <a:pt x="21600" y="440"/>
                  <a:pt x="21160" y="0"/>
                  <a:pt x="20618" y="0"/>
                </a:cubicBezTo>
                <a:moveTo>
                  <a:pt x="4418" y="8836"/>
                </a:moveTo>
                <a:lnTo>
                  <a:pt x="17182" y="8836"/>
                </a:lnTo>
                <a:cubicBezTo>
                  <a:pt x="17453" y="8836"/>
                  <a:pt x="17673" y="8617"/>
                  <a:pt x="17673" y="8345"/>
                </a:cubicBezTo>
                <a:cubicBezTo>
                  <a:pt x="17673" y="8075"/>
                  <a:pt x="17453" y="7855"/>
                  <a:pt x="17182" y="7855"/>
                </a:cubicBezTo>
                <a:lnTo>
                  <a:pt x="4418" y="7855"/>
                </a:lnTo>
                <a:cubicBezTo>
                  <a:pt x="4147" y="7855"/>
                  <a:pt x="3927" y="8075"/>
                  <a:pt x="3927" y="8345"/>
                </a:cubicBezTo>
                <a:cubicBezTo>
                  <a:pt x="3927" y="8617"/>
                  <a:pt x="4147" y="8836"/>
                  <a:pt x="4418" y="8836"/>
                </a:cubicBezTo>
                <a:moveTo>
                  <a:pt x="4418" y="5891"/>
                </a:moveTo>
                <a:lnTo>
                  <a:pt x="10309" y="5891"/>
                </a:lnTo>
                <a:cubicBezTo>
                  <a:pt x="10580" y="5891"/>
                  <a:pt x="10800" y="5672"/>
                  <a:pt x="10800" y="5400"/>
                </a:cubicBezTo>
                <a:cubicBezTo>
                  <a:pt x="10800" y="5129"/>
                  <a:pt x="10580" y="4909"/>
                  <a:pt x="10309" y="4909"/>
                </a:cubicBezTo>
                <a:lnTo>
                  <a:pt x="4418" y="4909"/>
                </a:lnTo>
                <a:cubicBezTo>
                  <a:pt x="4147" y="4909"/>
                  <a:pt x="3927" y="5129"/>
                  <a:pt x="3927" y="5400"/>
                </a:cubicBezTo>
                <a:cubicBezTo>
                  <a:pt x="3927" y="5672"/>
                  <a:pt x="4147"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7" name="Shape 2537"/>
          <p:cNvSpPr/>
          <p:nvPr/>
        </p:nvSpPr>
        <p:spPr>
          <a:xfrm>
            <a:off x="1479581"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3600" y="13745"/>
                </a:lnTo>
                <a:cubicBezTo>
                  <a:pt x="3269" y="13745"/>
                  <a:pt x="3000" y="13966"/>
                  <a:pt x="3000" y="14236"/>
                </a:cubicBezTo>
                <a:cubicBezTo>
                  <a:pt x="3000" y="14508"/>
                  <a:pt x="3269" y="14727"/>
                  <a:pt x="3600" y="14727"/>
                </a:cubicBezTo>
                <a:lnTo>
                  <a:pt x="14400" y="14727"/>
                </a:lnTo>
                <a:cubicBezTo>
                  <a:pt x="14731" y="14727"/>
                  <a:pt x="15000" y="14508"/>
                  <a:pt x="15000" y="14236"/>
                </a:cubicBezTo>
                <a:cubicBezTo>
                  <a:pt x="15000" y="13966"/>
                  <a:pt x="14731" y="13745"/>
                  <a:pt x="14400" y="13745"/>
                </a:cubicBezTo>
                <a:moveTo>
                  <a:pt x="3000" y="11291"/>
                </a:moveTo>
                <a:cubicBezTo>
                  <a:pt x="3000" y="11562"/>
                  <a:pt x="3269" y="11782"/>
                  <a:pt x="3600" y="11782"/>
                </a:cubicBezTo>
                <a:lnTo>
                  <a:pt x="18000" y="11782"/>
                </a:lnTo>
                <a:cubicBezTo>
                  <a:pt x="18331" y="11782"/>
                  <a:pt x="18600" y="11562"/>
                  <a:pt x="18600" y="11291"/>
                </a:cubicBezTo>
                <a:cubicBezTo>
                  <a:pt x="18600" y="11020"/>
                  <a:pt x="18331" y="10800"/>
                  <a:pt x="18000" y="10800"/>
                </a:cubicBezTo>
                <a:lnTo>
                  <a:pt x="3600" y="10800"/>
                </a:lnTo>
                <a:cubicBezTo>
                  <a:pt x="3269" y="10800"/>
                  <a:pt x="3000" y="11020"/>
                  <a:pt x="3000" y="11291"/>
                </a:cubicBezTo>
                <a:moveTo>
                  <a:pt x="20400" y="20618"/>
                </a:moveTo>
                <a:lnTo>
                  <a:pt x="6600" y="20618"/>
                </a:lnTo>
                <a:lnTo>
                  <a:pt x="1200" y="16200"/>
                </a:lnTo>
                <a:lnTo>
                  <a:pt x="1200" y="2945"/>
                </a:lnTo>
                <a:lnTo>
                  <a:pt x="4200" y="2945"/>
                </a:lnTo>
                <a:lnTo>
                  <a:pt x="4200" y="4418"/>
                </a:lnTo>
                <a:cubicBezTo>
                  <a:pt x="4200" y="4690"/>
                  <a:pt x="4469" y="4909"/>
                  <a:pt x="4800" y="4909"/>
                </a:cubicBezTo>
                <a:cubicBezTo>
                  <a:pt x="5131" y="4909"/>
                  <a:pt x="5400" y="4690"/>
                  <a:pt x="5400" y="4418"/>
                </a:cubicBezTo>
                <a:lnTo>
                  <a:pt x="5400" y="2945"/>
                </a:lnTo>
                <a:lnTo>
                  <a:pt x="6600" y="2945"/>
                </a:lnTo>
                <a:lnTo>
                  <a:pt x="6600" y="4418"/>
                </a:lnTo>
                <a:cubicBezTo>
                  <a:pt x="6600" y="4690"/>
                  <a:pt x="6869" y="4909"/>
                  <a:pt x="7200" y="4909"/>
                </a:cubicBezTo>
                <a:cubicBezTo>
                  <a:pt x="7531" y="4909"/>
                  <a:pt x="7800" y="4690"/>
                  <a:pt x="7800" y="4418"/>
                </a:cubicBezTo>
                <a:lnTo>
                  <a:pt x="7800" y="2945"/>
                </a:lnTo>
                <a:lnTo>
                  <a:pt x="9000" y="2945"/>
                </a:lnTo>
                <a:lnTo>
                  <a:pt x="9000" y="4418"/>
                </a:lnTo>
                <a:cubicBezTo>
                  <a:pt x="9000" y="4690"/>
                  <a:pt x="9269" y="4909"/>
                  <a:pt x="9600" y="4909"/>
                </a:cubicBezTo>
                <a:cubicBezTo>
                  <a:pt x="9931" y="4909"/>
                  <a:pt x="10200" y="4690"/>
                  <a:pt x="10200" y="4418"/>
                </a:cubicBezTo>
                <a:lnTo>
                  <a:pt x="10200" y="2945"/>
                </a:lnTo>
                <a:lnTo>
                  <a:pt x="11400" y="2945"/>
                </a:lnTo>
                <a:lnTo>
                  <a:pt x="11400" y="4418"/>
                </a:lnTo>
                <a:cubicBezTo>
                  <a:pt x="11400" y="4690"/>
                  <a:pt x="11669" y="4909"/>
                  <a:pt x="12000" y="4909"/>
                </a:cubicBezTo>
                <a:cubicBezTo>
                  <a:pt x="12331" y="4909"/>
                  <a:pt x="12600" y="4690"/>
                  <a:pt x="12600" y="4418"/>
                </a:cubicBezTo>
                <a:lnTo>
                  <a:pt x="12600" y="2945"/>
                </a:lnTo>
                <a:lnTo>
                  <a:pt x="13800" y="2945"/>
                </a:lnTo>
                <a:lnTo>
                  <a:pt x="13800" y="4418"/>
                </a:lnTo>
                <a:cubicBezTo>
                  <a:pt x="13800" y="4690"/>
                  <a:pt x="14069" y="4909"/>
                  <a:pt x="14400" y="4909"/>
                </a:cubicBezTo>
                <a:cubicBezTo>
                  <a:pt x="14731" y="4909"/>
                  <a:pt x="15000" y="4690"/>
                  <a:pt x="15000" y="4418"/>
                </a:cubicBezTo>
                <a:lnTo>
                  <a:pt x="15000" y="2945"/>
                </a:lnTo>
                <a:lnTo>
                  <a:pt x="16200" y="2945"/>
                </a:lnTo>
                <a:lnTo>
                  <a:pt x="16200" y="4418"/>
                </a:lnTo>
                <a:cubicBezTo>
                  <a:pt x="16200" y="4690"/>
                  <a:pt x="16469" y="4909"/>
                  <a:pt x="16800" y="4909"/>
                </a:cubicBezTo>
                <a:cubicBezTo>
                  <a:pt x="17131" y="4909"/>
                  <a:pt x="17400" y="4690"/>
                  <a:pt x="17400" y="4418"/>
                </a:cubicBezTo>
                <a:lnTo>
                  <a:pt x="17400" y="2945"/>
                </a:lnTo>
                <a:lnTo>
                  <a:pt x="20400" y="2945"/>
                </a:lnTo>
                <a:cubicBezTo>
                  <a:pt x="20400" y="2945"/>
                  <a:pt x="20400" y="20618"/>
                  <a:pt x="20400" y="20618"/>
                </a:cubicBezTo>
                <a:close/>
                <a:moveTo>
                  <a:pt x="1200" y="20618"/>
                </a:moveTo>
                <a:lnTo>
                  <a:pt x="1200" y="17673"/>
                </a:lnTo>
                <a:lnTo>
                  <a:pt x="4800" y="20618"/>
                </a:lnTo>
                <a:cubicBezTo>
                  <a:pt x="4800" y="20618"/>
                  <a:pt x="1200" y="20618"/>
                  <a:pt x="1200" y="20618"/>
                </a:cubicBezTo>
                <a:close/>
                <a:moveTo>
                  <a:pt x="20400" y="1964"/>
                </a:moveTo>
                <a:lnTo>
                  <a:pt x="17400" y="1964"/>
                </a:lnTo>
                <a:lnTo>
                  <a:pt x="17400" y="491"/>
                </a:lnTo>
                <a:cubicBezTo>
                  <a:pt x="17400" y="220"/>
                  <a:pt x="17131" y="0"/>
                  <a:pt x="16800" y="0"/>
                </a:cubicBezTo>
                <a:cubicBezTo>
                  <a:pt x="16469" y="0"/>
                  <a:pt x="16200" y="220"/>
                  <a:pt x="16200" y="491"/>
                </a:cubicBezTo>
                <a:lnTo>
                  <a:pt x="16200" y="1964"/>
                </a:lnTo>
                <a:lnTo>
                  <a:pt x="15000" y="1964"/>
                </a:lnTo>
                <a:lnTo>
                  <a:pt x="15000" y="491"/>
                </a:lnTo>
                <a:cubicBezTo>
                  <a:pt x="15000" y="220"/>
                  <a:pt x="14731" y="0"/>
                  <a:pt x="14400" y="0"/>
                </a:cubicBezTo>
                <a:cubicBezTo>
                  <a:pt x="14069" y="0"/>
                  <a:pt x="13800" y="220"/>
                  <a:pt x="13800" y="491"/>
                </a:cubicBezTo>
                <a:lnTo>
                  <a:pt x="13800" y="1964"/>
                </a:lnTo>
                <a:lnTo>
                  <a:pt x="12600" y="1964"/>
                </a:lnTo>
                <a:lnTo>
                  <a:pt x="12600" y="491"/>
                </a:lnTo>
                <a:cubicBezTo>
                  <a:pt x="12600" y="220"/>
                  <a:pt x="12331" y="0"/>
                  <a:pt x="12000" y="0"/>
                </a:cubicBezTo>
                <a:cubicBezTo>
                  <a:pt x="11669" y="0"/>
                  <a:pt x="11400" y="220"/>
                  <a:pt x="11400" y="491"/>
                </a:cubicBezTo>
                <a:lnTo>
                  <a:pt x="11400" y="1964"/>
                </a:lnTo>
                <a:lnTo>
                  <a:pt x="10200" y="1964"/>
                </a:lnTo>
                <a:lnTo>
                  <a:pt x="10200" y="491"/>
                </a:lnTo>
                <a:cubicBezTo>
                  <a:pt x="10200" y="220"/>
                  <a:pt x="9931" y="0"/>
                  <a:pt x="9600" y="0"/>
                </a:cubicBezTo>
                <a:cubicBezTo>
                  <a:pt x="9269" y="0"/>
                  <a:pt x="9000" y="220"/>
                  <a:pt x="9000" y="491"/>
                </a:cubicBezTo>
                <a:lnTo>
                  <a:pt x="9000" y="1964"/>
                </a:lnTo>
                <a:lnTo>
                  <a:pt x="7800" y="1964"/>
                </a:lnTo>
                <a:lnTo>
                  <a:pt x="7800" y="491"/>
                </a:lnTo>
                <a:cubicBezTo>
                  <a:pt x="7800" y="220"/>
                  <a:pt x="7531" y="0"/>
                  <a:pt x="7200" y="0"/>
                </a:cubicBezTo>
                <a:cubicBezTo>
                  <a:pt x="6869" y="0"/>
                  <a:pt x="6600" y="220"/>
                  <a:pt x="6600" y="491"/>
                </a:cubicBezTo>
                <a:lnTo>
                  <a:pt x="6600" y="1964"/>
                </a:lnTo>
                <a:lnTo>
                  <a:pt x="5400" y="1964"/>
                </a:lnTo>
                <a:lnTo>
                  <a:pt x="5400" y="491"/>
                </a:lnTo>
                <a:cubicBezTo>
                  <a:pt x="5400" y="220"/>
                  <a:pt x="5131" y="0"/>
                  <a:pt x="4800" y="0"/>
                </a:cubicBezTo>
                <a:cubicBezTo>
                  <a:pt x="4469" y="0"/>
                  <a:pt x="4200" y="220"/>
                  <a:pt x="4200" y="491"/>
                </a:cubicBezTo>
                <a:lnTo>
                  <a:pt x="4200" y="1964"/>
                </a:lnTo>
                <a:lnTo>
                  <a:pt x="1200" y="1964"/>
                </a:lnTo>
                <a:cubicBezTo>
                  <a:pt x="538" y="1964"/>
                  <a:pt x="0" y="2404"/>
                  <a:pt x="0" y="2945"/>
                </a:cubicBezTo>
                <a:lnTo>
                  <a:pt x="0" y="20618"/>
                </a:lnTo>
                <a:cubicBezTo>
                  <a:pt x="0" y="21161"/>
                  <a:pt x="538" y="21600"/>
                  <a:pt x="1200" y="21600"/>
                </a:cubicBezTo>
                <a:lnTo>
                  <a:pt x="20400" y="21600"/>
                </a:lnTo>
                <a:cubicBezTo>
                  <a:pt x="21062" y="21600"/>
                  <a:pt x="21600" y="21161"/>
                  <a:pt x="21600" y="20618"/>
                </a:cubicBezTo>
                <a:lnTo>
                  <a:pt x="21600" y="2945"/>
                </a:lnTo>
                <a:cubicBezTo>
                  <a:pt x="21600" y="2404"/>
                  <a:pt x="21062" y="1964"/>
                  <a:pt x="20400" y="1964"/>
                </a:cubicBezTo>
                <a:moveTo>
                  <a:pt x="3600" y="8836"/>
                </a:moveTo>
                <a:lnTo>
                  <a:pt x="10800" y="8836"/>
                </a:lnTo>
                <a:cubicBezTo>
                  <a:pt x="11131" y="8836"/>
                  <a:pt x="11400" y="8617"/>
                  <a:pt x="11400" y="8345"/>
                </a:cubicBezTo>
                <a:cubicBezTo>
                  <a:pt x="11400" y="8075"/>
                  <a:pt x="11131" y="7855"/>
                  <a:pt x="10800" y="7855"/>
                </a:cubicBezTo>
                <a:lnTo>
                  <a:pt x="3600" y="7855"/>
                </a:lnTo>
                <a:cubicBezTo>
                  <a:pt x="3269" y="7855"/>
                  <a:pt x="3000" y="8075"/>
                  <a:pt x="3000" y="8345"/>
                </a:cubicBezTo>
                <a:cubicBezTo>
                  <a:pt x="3000" y="8617"/>
                  <a:pt x="3269" y="8836"/>
                  <a:pt x="36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8" name="Shape 2538"/>
          <p:cNvSpPr/>
          <p:nvPr/>
        </p:nvSpPr>
        <p:spPr>
          <a:xfrm>
            <a:off x="1879527" y="22320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5891"/>
                </a:moveTo>
                <a:lnTo>
                  <a:pt x="1200" y="5891"/>
                </a:lnTo>
                <a:lnTo>
                  <a:pt x="1200" y="3927"/>
                </a:lnTo>
                <a:lnTo>
                  <a:pt x="6000" y="3927"/>
                </a:lnTo>
                <a:cubicBezTo>
                  <a:pt x="6000" y="4469"/>
                  <a:pt x="6538" y="4909"/>
                  <a:pt x="7200" y="4909"/>
                </a:cubicBezTo>
                <a:lnTo>
                  <a:pt x="14400" y="4909"/>
                </a:lnTo>
                <a:cubicBezTo>
                  <a:pt x="15062" y="4909"/>
                  <a:pt x="15600" y="4469"/>
                  <a:pt x="15600" y="3927"/>
                </a:cubicBezTo>
                <a:lnTo>
                  <a:pt x="20400" y="3927"/>
                </a:lnTo>
                <a:cubicBezTo>
                  <a:pt x="20400" y="3927"/>
                  <a:pt x="20400" y="5891"/>
                  <a:pt x="20400" y="5891"/>
                </a:cubicBezTo>
                <a:close/>
                <a:moveTo>
                  <a:pt x="20400" y="20618"/>
                </a:moveTo>
                <a:lnTo>
                  <a:pt x="1200" y="20618"/>
                </a:lnTo>
                <a:lnTo>
                  <a:pt x="1200" y="6873"/>
                </a:lnTo>
                <a:lnTo>
                  <a:pt x="20400" y="6873"/>
                </a:lnTo>
                <a:cubicBezTo>
                  <a:pt x="20400" y="6873"/>
                  <a:pt x="20400" y="20618"/>
                  <a:pt x="20400" y="20618"/>
                </a:cubicBezTo>
                <a:close/>
                <a:moveTo>
                  <a:pt x="7200" y="1964"/>
                </a:moveTo>
                <a:lnTo>
                  <a:pt x="14400" y="1964"/>
                </a:lnTo>
                <a:lnTo>
                  <a:pt x="14400" y="3927"/>
                </a:lnTo>
                <a:lnTo>
                  <a:pt x="7200" y="3927"/>
                </a:lnTo>
                <a:cubicBezTo>
                  <a:pt x="7200" y="3927"/>
                  <a:pt x="7200" y="1964"/>
                  <a:pt x="7200" y="1964"/>
                </a:cubicBezTo>
                <a:close/>
                <a:moveTo>
                  <a:pt x="20400" y="2945"/>
                </a:moveTo>
                <a:lnTo>
                  <a:pt x="15600" y="2945"/>
                </a:lnTo>
                <a:lnTo>
                  <a:pt x="15600" y="1964"/>
                </a:lnTo>
                <a:cubicBezTo>
                  <a:pt x="15600" y="1422"/>
                  <a:pt x="15062" y="982"/>
                  <a:pt x="14400" y="982"/>
                </a:cubicBezTo>
                <a:lnTo>
                  <a:pt x="12000" y="982"/>
                </a:lnTo>
                <a:cubicBezTo>
                  <a:pt x="12000" y="440"/>
                  <a:pt x="11462" y="0"/>
                  <a:pt x="10800" y="0"/>
                </a:cubicBezTo>
                <a:cubicBezTo>
                  <a:pt x="10138" y="0"/>
                  <a:pt x="9600" y="440"/>
                  <a:pt x="9600" y="982"/>
                </a:cubicBezTo>
                <a:lnTo>
                  <a:pt x="7200" y="982"/>
                </a:lnTo>
                <a:cubicBezTo>
                  <a:pt x="6538" y="982"/>
                  <a:pt x="6000" y="1422"/>
                  <a:pt x="6000" y="1964"/>
                </a:cubicBezTo>
                <a:lnTo>
                  <a:pt x="6000" y="2945"/>
                </a:lnTo>
                <a:lnTo>
                  <a:pt x="1200" y="2945"/>
                </a:lnTo>
                <a:cubicBezTo>
                  <a:pt x="538" y="2945"/>
                  <a:pt x="0" y="3386"/>
                  <a:pt x="0" y="3927"/>
                </a:cubicBezTo>
                <a:lnTo>
                  <a:pt x="0" y="20618"/>
                </a:lnTo>
                <a:cubicBezTo>
                  <a:pt x="0" y="21160"/>
                  <a:pt x="538" y="21600"/>
                  <a:pt x="1200" y="21600"/>
                </a:cubicBezTo>
                <a:lnTo>
                  <a:pt x="20400" y="21600"/>
                </a:lnTo>
                <a:cubicBezTo>
                  <a:pt x="21062" y="21600"/>
                  <a:pt x="21600" y="21160"/>
                  <a:pt x="21600" y="20618"/>
                </a:cubicBezTo>
                <a:lnTo>
                  <a:pt x="21600" y="3927"/>
                </a:lnTo>
                <a:cubicBezTo>
                  <a:pt x="21600" y="3386"/>
                  <a:pt x="21062" y="2945"/>
                  <a:pt x="20400" y="2945"/>
                </a:cubicBezTo>
                <a:moveTo>
                  <a:pt x="4200" y="16691"/>
                </a:moveTo>
                <a:lnTo>
                  <a:pt x="15000" y="16691"/>
                </a:lnTo>
                <a:cubicBezTo>
                  <a:pt x="15331" y="16691"/>
                  <a:pt x="15600" y="16472"/>
                  <a:pt x="15600" y="16200"/>
                </a:cubicBezTo>
                <a:cubicBezTo>
                  <a:pt x="15600" y="15929"/>
                  <a:pt x="15331" y="15709"/>
                  <a:pt x="15000" y="15709"/>
                </a:cubicBezTo>
                <a:lnTo>
                  <a:pt x="4200" y="15709"/>
                </a:lnTo>
                <a:cubicBezTo>
                  <a:pt x="3869" y="15709"/>
                  <a:pt x="3600" y="15929"/>
                  <a:pt x="3600" y="16200"/>
                </a:cubicBezTo>
                <a:cubicBezTo>
                  <a:pt x="3600" y="16472"/>
                  <a:pt x="3869" y="16691"/>
                  <a:pt x="4200" y="16691"/>
                </a:cubicBezTo>
                <a:moveTo>
                  <a:pt x="4200" y="13745"/>
                </a:moveTo>
                <a:lnTo>
                  <a:pt x="17400" y="13745"/>
                </a:lnTo>
                <a:cubicBezTo>
                  <a:pt x="17731" y="13745"/>
                  <a:pt x="18000" y="13526"/>
                  <a:pt x="18000" y="13255"/>
                </a:cubicBezTo>
                <a:cubicBezTo>
                  <a:pt x="18000" y="12984"/>
                  <a:pt x="17731" y="12764"/>
                  <a:pt x="17400" y="12764"/>
                </a:cubicBezTo>
                <a:lnTo>
                  <a:pt x="4200" y="12764"/>
                </a:lnTo>
                <a:cubicBezTo>
                  <a:pt x="3869" y="12764"/>
                  <a:pt x="3600" y="12984"/>
                  <a:pt x="3600" y="13255"/>
                </a:cubicBezTo>
                <a:cubicBezTo>
                  <a:pt x="3600" y="13526"/>
                  <a:pt x="3869" y="13745"/>
                  <a:pt x="4200" y="13745"/>
                </a:cubicBezTo>
                <a:moveTo>
                  <a:pt x="4200" y="10800"/>
                </a:moveTo>
                <a:lnTo>
                  <a:pt x="11400" y="10800"/>
                </a:lnTo>
                <a:cubicBezTo>
                  <a:pt x="11731" y="10800"/>
                  <a:pt x="12000" y="10581"/>
                  <a:pt x="12000" y="10309"/>
                </a:cubicBezTo>
                <a:cubicBezTo>
                  <a:pt x="12000" y="10038"/>
                  <a:pt x="11731" y="9818"/>
                  <a:pt x="11400" y="9818"/>
                </a:cubicBezTo>
                <a:lnTo>
                  <a:pt x="4200" y="9818"/>
                </a:lnTo>
                <a:cubicBezTo>
                  <a:pt x="3869" y="9818"/>
                  <a:pt x="3600" y="10038"/>
                  <a:pt x="3600" y="10309"/>
                </a:cubicBezTo>
                <a:cubicBezTo>
                  <a:pt x="3600" y="10581"/>
                  <a:pt x="3869" y="10800"/>
                  <a:pt x="42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39" name="Shape 2539"/>
          <p:cNvSpPr/>
          <p:nvPr/>
        </p:nvSpPr>
        <p:spPr>
          <a:xfrm>
            <a:off x="2260427" y="2265360"/>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6"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0" name="Shape 2540"/>
          <p:cNvSpPr/>
          <p:nvPr/>
        </p:nvSpPr>
        <p:spPr>
          <a:xfrm>
            <a:off x="2660374"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732" y="6661"/>
                </a:moveTo>
                <a:cubicBezTo>
                  <a:pt x="20540" y="6471"/>
                  <a:pt x="20228" y="6473"/>
                  <a:pt x="20038" y="6667"/>
                </a:cubicBezTo>
                <a:cubicBezTo>
                  <a:pt x="19903" y="6804"/>
                  <a:pt x="19870" y="7000"/>
                  <a:pt x="19929" y="7171"/>
                </a:cubicBezTo>
                <a:lnTo>
                  <a:pt x="19918" y="7175"/>
                </a:lnTo>
                <a:cubicBezTo>
                  <a:pt x="20365" y="8298"/>
                  <a:pt x="20618" y="9518"/>
                  <a:pt x="20618" y="10800"/>
                </a:cubicBezTo>
                <a:cubicBezTo>
                  <a:pt x="20618" y="16223"/>
                  <a:pt x="16223" y="20618"/>
                  <a:pt x="10800" y="20618"/>
                </a:cubicBezTo>
                <a:cubicBezTo>
                  <a:pt x="5378" y="20618"/>
                  <a:pt x="982" y="16223"/>
                  <a:pt x="982" y="10800"/>
                </a:cubicBezTo>
                <a:cubicBezTo>
                  <a:pt x="982" y="5377"/>
                  <a:pt x="5378" y="982"/>
                  <a:pt x="10800" y="982"/>
                </a:cubicBezTo>
                <a:cubicBezTo>
                  <a:pt x="13575" y="982"/>
                  <a:pt x="16077" y="2136"/>
                  <a:pt x="17862" y="3989"/>
                </a:cubicBezTo>
                <a:lnTo>
                  <a:pt x="17868" y="3982"/>
                </a:lnTo>
                <a:cubicBezTo>
                  <a:pt x="18062" y="4157"/>
                  <a:pt x="18359" y="4153"/>
                  <a:pt x="18544" y="3965"/>
                </a:cubicBezTo>
                <a:cubicBezTo>
                  <a:pt x="18734" y="3771"/>
                  <a:pt x="18732" y="3461"/>
                  <a:pt x="18539" y="3270"/>
                </a:cubicBezTo>
                <a:cubicBezTo>
                  <a:pt x="18520" y="3252"/>
                  <a:pt x="18496" y="3244"/>
                  <a:pt x="18476" y="3230"/>
                </a:cubicBezTo>
                <a:cubicBezTo>
                  <a:pt x="16521" y="1241"/>
                  <a:pt x="13810" y="0"/>
                  <a:pt x="10800" y="0"/>
                </a:cubicBezTo>
                <a:cubicBezTo>
                  <a:pt x="4835" y="0"/>
                  <a:pt x="0" y="4835"/>
                  <a:pt x="0" y="10800"/>
                </a:cubicBezTo>
                <a:cubicBezTo>
                  <a:pt x="0" y="16764"/>
                  <a:pt x="4835" y="21600"/>
                  <a:pt x="10800" y="21600"/>
                </a:cubicBezTo>
                <a:cubicBezTo>
                  <a:pt x="16765" y="21600"/>
                  <a:pt x="21600" y="16764"/>
                  <a:pt x="21600" y="10800"/>
                </a:cubicBezTo>
                <a:cubicBezTo>
                  <a:pt x="21600" y="9412"/>
                  <a:pt x="21329" y="8089"/>
                  <a:pt x="20851" y="6869"/>
                </a:cubicBezTo>
                <a:cubicBezTo>
                  <a:pt x="20828" y="6794"/>
                  <a:pt x="20793" y="6721"/>
                  <a:pt x="20732" y="6661"/>
                </a:cubicBezTo>
                <a:moveTo>
                  <a:pt x="10792" y="13534"/>
                </a:moveTo>
                <a:lnTo>
                  <a:pt x="6238" y="8980"/>
                </a:lnTo>
                <a:cubicBezTo>
                  <a:pt x="6149" y="8891"/>
                  <a:pt x="6027" y="8836"/>
                  <a:pt x="5891" y="8836"/>
                </a:cubicBezTo>
                <a:cubicBezTo>
                  <a:pt x="5620" y="8836"/>
                  <a:pt x="5400" y="9056"/>
                  <a:pt x="5400" y="9327"/>
                </a:cubicBezTo>
                <a:cubicBezTo>
                  <a:pt x="5400" y="9463"/>
                  <a:pt x="5455" y="9585"/>
                  <a:pt x="5544" y="9675"/>
                </a:cubicBezTo>
                <a:lnTo>
                  <a:pt x="10453" y="14583"/>
                </a:lnTo>
                <a:cubicBezTo>
                  <a:pt x="10542" y="14672"/>
                  <a:pt x="10664" y="14727"/>
                  <a:pt x="10800" y="14727"/>
                </a:cubicBezTo>
                <a:cubicBezTo>
                  <a:pt x="10940" y="14727"/>
                  <a:pt x="11064" y="14668"/>
                  <a:pt x="11154" y="14574"/>
                </a:cubicBezTo>
                <a:lnTo>
                  <a:pt x="11155" y="14576"/>
                </a:lnTo>
                <a:lnTo>
                  <a:pt x="19353" y="5988"/>
                </a:lnTo>
                <a:cubicBezTo>
                  <a:pt x="19353" y="5989"/>
                  <a:pt x="19354" y="5990"/>
                  <a:pt x="19354" y="5991"/>
                </a:cubicBezTo>
                <a:lnTo>
                  <a:pt x="20055" y="5255"/>
                </a:lnTo>
                <a:cubicBezTo>
                  <a:pt x="20055" y="5255"/>
                  <a:pt x="20054" y="5254"/>
                  <a:pt x="20054" y="5253"/>
                </a:cubicBezTo>
                <a:lnTo>
                  <a:pt x="21464" y="3775"/>
                </a:lnTo>
                <a:lnTo>
                  <a:pt x="21463" y="3774"/>
                </a:lnTo>
                <a:cubicBezTo>
                  <a:pt x="21547" y="3686"/>
                  <a:pt x="21600" y="3567"/>
                  <a:pt x="21600" y="3436"/>
                </a:cubicBezTo>
                <a:cubicBezTo>
                  <a:pt x="21600" y="3166"/>
                  <a:pt x="21380" y="2945"/>
                  <a:pt x="21109" y="2945"/>
                </a:cubicBezTo>
                <a:cubicBezTo>
                  <a:pt x="20969" y="2945"/>
                  <a:pt x="20844" y="3005"/>
                  <a:pt x="20755" y="3099"/>
                </a:cubicBezTo>
                <a:lnTo>
                  <a:pt x="20754" y="3097"/>
                </a:lnTo>
                <a:lnTo>
                  <a:pt x="19493" y="4419"/>
                </a:lnTo>
                <a:cubicBezTo>
                  <a:pt x="19492" y="4418"/>
                  <a:pt x="19491" y="4416"/>
                  <a:pt x="19490" y="4415"/>
                </a:cubicBezTo>
                <a:lnTo>
                  <a:pt x="18805" y="5133"/>
                </a:lnTo>
                <a:cubicBezTo>
                  <a:pt x="18806" y="5134"/>
                  <a:pt x="18807" y="5136"/>
                  <a:pt x="18807" y="5137"/>
                </a:cubicBezTo>
                <a:cubicBezTo>
                  <a:pt x="18807" y="5137"/>
                  <a:pt x="10792" y="13534"/>
                  <a:pt x="10792" y="1353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1" name="Shape 2541"/>
          <p:cNvSpPr/>
          <p:nvPr/>
        </p:nvSpPr>
        <p:spPr>
          <a:xfrm>
            <a:off x="3079363" y="2251076"/>
            <a:ext cx="171406" cy="171406"/>
          </a:xfrm>
          <a:custGeom>
            <a:avLst/>
            <a:gdLst/>
            <a:ahLst/>
            <a:cxnLst>
              <a:cxn ang="0">
                <a:pos x="wd2" y="hd2"/>
              </a:cxn>
              <a:cxn ang="5400000">
                <a:pos x="wd2" y="hd2"/>
              </a:cxn>
              <a:cxn ang="10800000">
                <a:pos x="wd2" y="hd2"/>
              </a:cxn>
              <a:cxn ang="16200000">
                <a:pos x="wd2" y="hd2"/>
              </a:cxn>
            </a:cxnLst>
            <a:rect l="0" t="0" r="r" b="b"/>
            <a:pathLst>
              <a:path w="21600" h="21600" extrusionOk="0">
                <a:moveTo>
                  <a:pt x="11648" y="10800"/>
                </a:moveTo>
                <a:lnTo>
                  <a:pt x="21424" y="1024"/>
                </a:lnTo>
                <a:cubicBezTo>
                  <a:pt x="21533" y="916"/>
                  <a:pt x="21600" y="766"/>
                  <a:pt x="21600" y="600"/>
                </a:cubicBezTo>
                <a:cubicBezTo>
                  <a:pt x="21600" y="269"/>
                  <a:pt x="21332" y="0"/>
                  <a:pt x="21000" y="0"/>
                </a:cubicBezTo>
                <a:cubicBezTo>
                  <a:pt x="20835" y="0"/>
                  <a:pt x="20685" y="67"/>
                  <a:pt x="20576" y="176"/>
                </a:cubicBezTo>
                <a:lnTo>
                  <a:pt x="10800" y="9952"/>
                </a:lnTo>
                <a:lnTo>
                  <a:pt x="1024" y="176"/>
                </a:lnTo>
                <a:cubicBezTo>
                  <a:pt x="916" y="67"/>
                  <a:pt x="766" y="0"/>
                  <a:pt x="600" y="0"/>
                </a:cubicBezTo>
                <a:cubicBezTo>
                  <a:pt x="268" y="0"/>
                  <a:pt x="0" y="269"/>
                  <a:pt x="0" y="600"/>
                </a:cubicBezTo>
                <a:cubicBezTo>
                  <a:pt x="0" y="766"/>
                  <a:pt x="67" y="916"/>
                  <a:pt x="176" y="1025"/>
                </a:cubicBezTo>
                <a:lnTo>
                  <a:pt x="9952" y="10800"/>
                </a:lnTo>
                <a:lnTo>
                  <a:pt x="176" y="20576"/>
                </a:lnTo>
                <a:cubicBezTo>
                  <a:pt x="67" y="20684"/>
                  <a:pt x="0" y="20834"/>
                  <a:pt x="0" y="21000"/>
                </a:cubicBezTo>
                <a:cubicBezTo>
                  <a:pt x="0" y="21332"/>
                  <a:pt x="268" y="21600"/>
                  <a:pt x="600" y="21600"/>
                </a:cubicBezTo>
                <a:cubicBezTo>
                  <a:pt x="766" y="21600"/>
                  <a:pt x="916" y="21533"/>
                  <a:pt x="1024" y="21424"/>
                </a:cubicBezTo>
                <a:lnTo>
                  <a:pt x="10800" y="11648"/>
                </a:lnTo>
                <a:lnTo>
                  <a:pt x="20576" y="21424"/>
                </a:lnTo>
                <a:cubicBezTo>
                  <a:pt x="20685" y="21533"/>
                  <a:pt x="20835" y="21600"/>
                  <a:pt x="21000" y="21600"/>
                </a:cubicBezTo>
                <a:cubicBezTo>
                  <a:pt x="21332" y="21600"/>
                  <a:pt x="21600" y="21332"/>
                  <a:pt x="21600" y="21000"/>
                </a:cubicBezTo>
                <a:cubicBezTo>
                  <a:pt x="21600" y="20834"/>
                  <a:pt x="21533" y="20684"/>
                  <a:pt x="21424" y="20576"/>
                </a:cubicBezTo>
                <a:cubicBezTo>
                  <a:pt x="21424" y="20576"/>
                  <a:pt x="11648" y="10800"/>
                  <a:pt x="11648"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2" name="Shape 2542"/>
          <p:cNvSpPr/>
          <p:nvPr/>
        </p:nvSpPr>
        <p:spPr>
          <a:xfrm>
            <a:off x="3460265"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4909"/>
                </a:moveTo>
                <a:lnTo>
                  <a:pt x="19636" y="4909"/>
                </a:lnTo>
                <a:lnTo>
                  <a:pt x="19636" y="3927"/>
                </a:lnTo>
                <a:lnTo>
                  <a:pt x="18655" y="3927"/>
                </a:lnTo>
                <a:cubicBezTo>
                  <a:pt x="18655" y="3927"/>
                  <a:pt x="18655" y="4909"/>
                  <a:pt x="18655" y="4909"/>
                </a:cubicBezTo>
                <a:close/>
                <a:moveTo>
                  <a:pt x="19636" y="12764"/>
                </a:moveTo>
                <a:lnTo>
                  <a:pt x="18655" y="12764"/>
                </a:lnTo>
                <a:lnTo>
                  <a:pt x="18655" y="13745"/>
                </a:lnTo>
                <a:lnTo>
                  <a:pt x="19636" y="13745"/>
                </a:lnTo>
                <a:cubicBezTo>
                  <a:pt x="19636" y="13745"/>
                  <a:pt x="19636" y="12764"/>
                  <a:pt x="19636" y="12764"/>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2"/>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10309"/>
                </a:moveTo>
                <a:lnTo>
                  <a:pt x="4909" y="10309"/>
                </a:lnTo>
                <a:lnTo>
                  <a:pt x="4909" y="982"/>
                </a:lnTo>
                <a:lnTo>
                  <a:pt x="16691" y="982"/>
                </a:lnTo>
                <a:cubicBezTo>
                  <a:pt x="16691" y="982"/>
                  <a:pt x="16691" y="10309"/>
                  <a:pt x="16691" y="10309"/>
                </a:cubicBezTo>
                <a:close/>
                <a:moveTo>
                  <a:pt x="16691" y="20618"/>
                </a:moveTo>
                <a:lnTo>
                  <a:pt x="4909" y="20618"/>
                </a:lnTo>
                <a:lnTo>
                  <a:pt x="4909" y="11291"/>
                </a:lnTo>
                <a:lnTo>
                  <a:pt x="16691" y="11291"/>
                </a:lnTo>
                <a:cubicBezTo>
                  <a:pt x="16691" y="11291"/>
                  <a:pt x="16691" y="20618"/>
                  <a:pt x="16691" y="20618"/>
                </a:cubicBezTo>
                <a:close/>
                <a:moveTo>
                  <a:pt x="3927" y="10309"/>
                </a:moveTo>
                <a:lnTo>
                  <a:pt x="982" y="10309"/>
                </a:lnTo>
                <a:lnTo>
                  <a:pt x="982" y="1964"/>
                </a:lnTo>
                <a:cubicBezTo>
                  <a:pt x="982" y="1422"/>
                  <a:pt x="1421" y="982"/>
                  <a:pt x="1964" y="982"/>
                </a:cubicBezTo>
                <a:lnTo>
                  <a:pt x="3927" y="982"/>
                </a:lnTo>
                <a:cubicBezTo>
                  <a:pt x="3927" y="982"/>
                  <a:pt x="3927" y="10309"/>
                  <a:pt x="3927" y="10309"/>
                </a:cubicBezTo>
                <a:close/>
                <a:moveTo>
                  <a:pt x="3927" y="20618"/>
                </a:moveTo>
                <a:lnTo>
                  <a:pt x="1964" y="20618"/>
                </a:lnTo>
                <a:cubicBezTo>
                  <a:pt x="1421"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9636" y="14727"/>
                </a:moveTo>
                <a:lnTo>
                  <a:pt x="18655" y="14727"/>
                </a:lnTo>
                <a:lnTo>
                  <a:pt x="18655" y="15709"/>
                </a:lnTo>
                <a:lnTo>
                  <a:pt x="19636" y="15709"/>
                </a:lnTo>
                <a:cubicBezTo>
                  <a:pt x="19636" y="15709"/>
                  <a:pt x="19636" y="14727"/>
                  <a:pt x="19636" y="14727"/>
                </a:cubicBezTo>
                <a:close/>
                <a:moveTo>
                  <a:pt x="18655" y="6873"/>
                </a:moveTo>
                <a:lnTo>
                  <a:pt x="19636" y="6873"/>
                </a:lnTo>
                <a:lnTo>
                  <a:pt x="19636" y="5891"/>
                </a:lnTo>
                <a:lnTo>
                  <a:pt x="18655" y="5891"/>
                </a:lnTo>
                <a:cubicBezTo>
                  <a:pt x="18655" y="5891"/>
                  <a:pt x="18655" y="6873"/>
                  <a:pt x="18655" y="6873"/>
                </a:cubicBezTo>
                <a:close/>
                <a:moveTo>
                  <a:pt x="18655" y="8836"/>
                </a:moveTo>
                <a:lnTo>
                  <a:pt x="19636" y="8836"/>
                </a:lnTo>
                <a:lnTo>
                  <a:pt x="19636" y="7855"/>
                </a:lnTo>
                <a:lnTo>
                  <a:pt x="18655" y="7855"/>
                </a:lnTo>
                <a:cubicBezTo>
                  <a:pt x="18655" y="7855"/>
                  <a:pt x="18655" y="8836"/>
                  <a:pt x="18655" y="8836"/>
                </a:cubicBezTo>
                <a:close/>
                <a:moveTo>
                  <a:pt x="19636" y="16691"/>
                </a:moveTo>
                <a:lnTo>
                  <a:pt x="18655" y="16691"/>
                </a:lnTo>
                <a:lnTo>
                  <a:pt x="18655" y="17673"/>
                </a:lnTo>
                <a:lnTo>
                  <a:pt x="19636" y="17673"/>
                </a:lnTo>
                <a:cubicBezTo>
                  <a:pt x="19636" y="17673"/>
                  <a:pt x="19636" y="16691"/>
                  <a:pt x="19636" y="16691"/>
                </a:cubicBezTo>
                <a:close/>
                <a:moveTo>
                  <a:pt x="19636" y="18655"/>
                </a:moveTo>
                <a:lnTo>
                  <a:pt x="18655" y="18655"/>
                </a:lnTo>
                <a:lnTo>
                  <a:pt x="18655" y="19636"/>
                </a:lnTo>
                <a:lnTo>
                  <a:pt x="19636" y="19636"/>
                </a:lnTo>
                <a:cubicBezTo>
                  <a:pt x="19636" y="19636"/>
                  <a:pt x="19636" y="18655"/>
                  <a:pt x="19636" y="18655"/>
                </a:cubicBezTo>
                <a:close/>
                <a:moveTo>
                  <a:pt x="2945" y="18655"/>
                </a:moveTo>
                <a:lnTo>
                  <a:pt x="1964" y="18655"/>
                </a:lnTo>
                <a:lnTo>
                  <a:pt x="1964" y="19636"/>
                </a:lnTo>
                <a:lnTo>
                  <a:pt x="2945" y="19636"/>
                </a:lnTo>
                <a:cubicBezTo>
                  <a:pt x="2945" y="19636"/>
                  <a:pt x="2945" y="18655"/>
                  <a:pt x="2945" y="18655"/>
                </a:cubicBezTo>
                <a:close/>
                <a:moveTo>
                  <a:pt x="2945" y="16691"/>
                </a:moveTo>
                <a:lnTo>
                  <a:pt x="1964" y="16691"/>
                </a:lnTo>
                <a:lnTo>
                  <a:pt x="1964" y="17673"/>
                </a:lnTo>
                <a:lnTo>
                  <a:pt x="2945" y="17673"/>
                </a:lnTo>
                <a:cubicBezTo>
                  <a:pt x="2945" y="17673"/>
                  <a:pt x="2945" y="16691"/>
                  <a:pt x="2945" y="16691"/>
                </a:cubicBezTo>
                <a:close/>
                <a:moveTo>
                  <a:pt x="1964" y="2945"/>
                </a:moveTo>
                <a:lnTo>
                  <a:pt x="2945" y="2945"/>
                </a:lnTo>
                <a:lnTo>
                  <a:pt x="2945" y="1964"/>
                </a:lnTo>
                <a:lnTo>
                  <a:pt x="1964" y="1964"/>
                </a:lnTo>
                <a:cubicBezTo>
                  <a:pt x="1964" y="1964"/>
                  <a:pt x="1964" y="2945"/>
                  <a:pt x="1964" y="2945"/>
                </a:cubicBezTo>
                <a:close/>
                <a:moveTo>
                  <a:pt x="2945" y="14727"/>
                </a:moveTo>
                <a:lnTo>
                  <a:pt x="1964" y="14727"/>
                </a:lnTo>
                <a:lnTo>
                  <a:pt x="1964" y="15709"/>
                </a:lnTo>
                <a:lnTo>
                  <a:pt x="2945" y="15709"/>
                </a:lnTo>
                <a:cubicBezTo>
                  <a:pt x="2945" y="15709"/>
                  <a:pt x="2945" y="14727"/>
                  <a:pt x="2945" y="14727"/>
                </a:cubicBezTo>
                <a:close/>
                <a:moveTo>
                  <a:pt x="2945" y="12764"/>
                </a:moveTo>
                <a:lnTo>
                  <a:pt x="1964" y="12764"/>
                </a:lnTo>
                <a:lnTo>
                  <a:pt x="1964" y="13745"/>
                </a:lnTo>
                <a:lnTo>
                  <a:pt x="2945" y="13745"/>
                </a:lnTo>
                <a:cubicBezTo>
                  <a:pt x="2945" y="13745"/>
                  <a:pt x="2945" y="12764"/>
                  <a:pt x="2945" y="12764"/>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moveTo>
                  <a:pt x="1964" y="8836"/>
                </a:moveTo>
                <a:lnTo>
                  <a:pt x="2945" y="8836"/>
                </a:lnTo>
                <a:lnTo>
                  <a:pt x="2945" y="7855"/>
                </a:lnTo>
                <a:lnTo>
                  <a:pt x="1964" y="7855"/>
                </a:lnTo>
                <a:cubicBezTo>
                  <a:pt x="1964" y="7855"/>
                  <a:pt x="1964" y="8836"/>
                  <a:pt x="1964"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3" name="Shape 2543"/>
          <p:cNvSpPr/>
          <p:nvPr/>
        </p:nvSpPr>
        <p:spPr>
          <a:xfrm>
            <a:off x="3860211"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8655"/>
                </a:moveTo>
                <a:lnTo>
                  <a:pt x="14727" y="18655"/>
                </a:lnTo>
                <a:lnTo>
                  <a:pt x="14727" y="19636"/>
                </a:lnTo>
                <a:lnTo>
                  <a:pt x="15709" y="19636"/>
                </a:lnTo>
                <a:cubicBezTo>
                  <a:pt x="15709" y="19636"/>
                  <a:pt x="15709" y="18655"/>
                  <a:pt x="15709" y="18655"/>
                </a:cubicBezTo>
                <a:close/>
                <a:moveTo>
                  <a:pt x="15709" y="14727"/>
                </a:moveTo>
                <a:lnTo>
                  <a:pt x="14727" y="14727"/>
                </a:lnTo>
                <a:lnTo>
                  <a:pt x="14727" y="15709"/>
                </a:lnTo>
                <a:lnTo>
                  <a:pt x="15709" y="15709"/>
                </a:lnTo>
                <a:cubicBezTo>
                  <a:pt x="15709" y="15709"/>
                  <a:pt x="15709" y="14727"/>
                  <a:pt x="15709" y="14727"/>
                </a:cubicBezTo>
                <a:close/>
                <a:moveTo>
                  <a:pt x="14727" y="10800"/>
                </a:moveTo>
                <a:lnTo>
                  <a:pt x="15709" y="10800"/>
                </a:lnTo>
                <a:lnTo>
                  <a:pt x="15709" y="9818"/>
                </a:lnTo>
                <a:lnTo>
                  <a:pt x="14727" y="9818"/>
                </a:lnTo>
                <a:cubicBezTo>
                  <a:pt x="14727" y="9818"/>
                  <a:pt x="14727" y="10800"/>
                  <a:pt x="14727" y="10800"/>
                </a:cubicBezTo>
                <a:close/>
                <a:moveTo>
                  <a:pt x="15709" y="16691"/>
                </a:moveTo>
                <a:lnTo>
                  <a:pt x="14727" y="16691"/>
                </a:lnTo>
                <a:lnTo>
                  <a:pt x="14727" y="17673"/>
                </a:lnTo>
                <a:lnTo>
                  <a:pt x="15709" y="17673"/>
                </a:lnTo>
                <a:cubicBezTo>
                  <a:pt x="15709" y="17673"/>
                  <a:pt x="15709" y="16691"/>
                  <a:pt x="15709" y="16691"/>
                </a:cubicBezTo>
                <a:close/>
                <a:moveTo>
                  <a:pt x="14727" y="8836"/>
                </a:moveTo>
                <a:lnTo>
                  <a:pt x="15709" y="8836"/>
                </a:lnTo>
                <a:lnTo>
                  <a:pt x="15709" y="7855"/>
                </a:lnTo>
                <a:lnTo>
                  <a:pt x="14727" y="7855"/>
                </a:lnTo>
                <a:cubicBezTo>
                  <a:pt x="14727" y="7855"/>
                  <a:pt x="14727" y="8836"/>
                  <a:pt x="14727" y="8836"/>
                </a:cubicBezTo>
                <a:close/>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1"/>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14727" y="6873"/>
                </a:moveTo>
                <a:lnTo>
                  <a:pt x="15709" y="6873"/>
                </a:lnTo>
                <a:lnTo>
                  <a:pt x="15709" y="5891"/>
                </a:lnTo>
                <a:lnTo>
                  <a:pt x="14727" y="5891"/>
                </a:lnTo>
                <a:cubicBezTo>
                  <a:pt x="14727" y="5891"/>
                  <a:pt x="14727" y="6873"/>
                  <a:pt x="14727" y="6873"/>
                </a:cubicBezTo>
                <a:close/>
                <a:moveTo>
                  <a:pt x="16691" y="12273"/>
                </a:moveTo>
                <a:lnTo>
                  <a:pt x="13745" y="12273"/>
                </a:lnTo>
                <a:lnTo>
                  <a:pt x="13745" y="4909"/>
                </a:lnTo>
                <a:lnTo>
                  <a:pt x="15709" y="4909"/>
                </a:lnTo>
                <a:cubicBezTo>
                  <a:pt x="16251" y="4909"/>
                  <a:pt x="16691" y="5349"/>
                  <a:pt x="16691" y="5891"/>
                </a:cubicBezTo>
                <a:cubicBezTo>
                  <a:pt x="16691" y="5891"/>
                  <a:pt x="16691" y="12273"/>
                  <a:pt x="16691" y="12273"/>
                </a:cubicBezTo>
                <a:close/>
                <a:moveTo>
                  <a:pt x="16691" y="19636"/>
                </a:moveTo>
                <a:cubicBezTo>
                  <a:pt x="16691" y="20178"/>
                  <a:pt x="16251" y="20618"/>
                  <a:pt x="15709" y="20618"/>
                </a:cubicBezTo>
                <a:lnTo>
                  <a:pt x="13745" y="20618"/>
                </a:lnTo>
                <a:lnTo>
                  <a:pt x="13745" y="13255"/>
                </a:lnTo>
                <a:lnTo>
                  <a:pt x="16691" y="13255"/>
                </a:lnTo>
                <a:cubicBezTo>
                  <a:pt x="16691" y="13255"/>
                  <a:pt x="16691" y="19636"/>
                  <a:pt x="16691" y="19636"/>
                </a:cubicBezTo>
                <a:close/>
                <a:moveTo>
                  <a:pt x="12764" y="12273"/>
                </a:moveTo>
                <a:lnTo>
                  <a:pt x="4909" y="12273"/>
                </a:lnTo>
                <a:lnTo>
                  <a:pt x="4909" y="4909"/>
                </a:lnTo>
                <a:lnTo>
                  <a:pt x="12764" y="4909"/>
                </a:lnTo>
                <a:cubicBezTo>
                  <a:pt x="12764" y="4909"/>
                  <a:pt x="12764" y="12273"/>
                  <a:pt x="12764" y="12273"/>
                </a:cubicBezTo>
                <a:close/>
                <a:moveTo>
                  <a:pt x="12764" y="20618"/>
                </a:moveTo>
                <a:lnTo>
                  <a:pt x="4909" y="20618"/>
                </a:lnTo>
                <a:lnTo>
                  <a:pt x="4909" y="13255"/>
                </a:lnTo>
                <a:lnTo>
                  <a:pt x="12764" y="13255"/>
                </a:lnTo>
                <a:cubicBezTo>
                  <a:pt x="12764" y="13255"/>
                  <a:pt x="12764" y="20618"/>
                  <a:pt x="12764" y="20618"/>
                </a:cubicBezTo>
                <a:close/>
                <a:moveTo>
                  <a:pt x="3927" y="12273"/>
                </a:moveTo>
                <a:lnTo>
                  <a:pt x="982" y="12273"/>
                </a:lnTo>
                <a:lnTo>
                  <a:pt x="982" y="5891"/>
                </a:lnTo>
                <a:cubicBezTo>
                  <a:pt x="982" y="5349"/>
                  <a:pt x="1422" y="4909"/>
                  <a:pt x="1964" y="4909"/>
                </a:cubicBezTo>
                <a:lnTo>
                  <a:pt x="3927" y="4909"/>
                </a:lnTo>
                <a:cubicBezTo>
                  <a:pt x="3927" y="4909"/>
                  <a:pt x="3927" y="12273"/>
                  <a:pt x="3927" y="12273"/>
                </a:cubicBezTo>
                <a:close/>
                <a:moveTo>
                  <a:pt x="3927" y="20618"/>
                </a:moveTo>
                <a:lnTo>
                  <a:pt x="1964" y="20618"/>
                </a:lnTo>
                <a:cubicBezTo>
                  <a:pt x="1422" y="20618"/>
                  <a:pt x="982" y="20178"/>
                  <a:pt x="982" y="19636"/>
                </a:cubicBezTo>
                <a:lnTo>
                  <a:pt x="982" y="13255"/>
                </a:lnTo>
                <a:lnTo>
                  <a:pt x="3927" y="13255"/>
                </a:lnTo>
                <a:cubicBezTo>
                  <a:pt x="3927" y="13255"/>
                  <a:pt x="3927" y="20618"/>
                  <a:pt x="3927" y="20618"/>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moveTo>
                  <a:pt x="1964" y="8836"/>
                </a:moveTo>
                <a:lnTo>
                  <a:pt x="2945" y="8836"/>
                </a:lnTo>
                <a:lnTo>
                  <a:pt x="2945" y="7855"/>
                </a:lnTo>
                <a:lnTo>
                  <a:pt x="1964" y="7855"/>
                </a:lnTo>
                <a:cubicBezTo>
                  <a:pt x="1964" y="7855"/>
                  <a:pt x="1964" y="8836"/>
                  <a:pt x="1964" y="8836"/>
                </a:cubicBezTo>
                <a:close/>
                <a:moveTo>
                  <a:pt x="1964" y="10800"/>
                </a:moveTo>
                <a:lnTo>
                  <a:pt x="2945" y="10800"/>
                </a:lnTo>
                <a:lnTo>
                  <a:pt x="2945" y="9818"/>
                </a:lnTo>
                <a:lnTo>
                  <a:pt x="1964" y="9818"/>
                </a:lnTo>
                <a:cubicBezTo>
                  <a:pt x="1964" y="9818"/>
                  <a:pt x="1964" y="10800"/>
                  <a:pt x="1964" y="10800"/>
                </a:cubicBezTo>
                <a:close/>
                <a:moveTo>
                  <a:pt x="2945" y="16691"/>
                </a:moveTo>
                <a:lnTo>
                  <a:pt x="1964" y="16691"/>
                </a:lnTo>
                <a:lnTo>
                  <a:pt x="1964" y="17673"/>
                </a:lnTo>
                <a:lnTo>
                  <a:pt x="2945" y="17673"/>
                </a:lnTo>
                <a:cubicBezTo>
                  <a:pt x="2945" y="17673"/>
                  <a:pt x="2945" y="16691"/>
                  <a:pt x="2945" y="16691"/>
                </a:cubicBezTo>
                <a:close/>
                <a:moveTo>
                  <a:pt x="1964" y="6873"/>
                </a:moveTo>
                <a:lnTo>
                  <a:pt x="2945" y="6873"/>
                </a:lnTo>
                <a:lnTo>
                  <a:pt x="2945" y="5891"/>
                </a:lnTo>
                <a:lnTo>
                  <a:pt x="1964" y="5891"/>
                </a:lnTo>
                <a:cubicBezTo>
                  <a:pt x="1964" y="5891"/>
                  <a:pt x="1964" y="6873"/>
                  <a:pt x="1964" y="6873"/>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4" name="Shape 2544"/>
          <p:cNvSpPr/>
          <p:nvPr/>
        </p:nvSpPr>
        <p:spPr>
          <a:xfrm>
            <a:off x="4260157" y="22320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8255"/>
                </a:moveTo>
                <a:lnTo>
                  <a:pt x="12837" y="10800"/>
                </a:lnTo>
                <a:lnTo>
                  <a:pt x="8836" y="13345"/>
                </a:lnTo>
                <a:cubicBezTo>
                  <a:pt x="8836" y="13345"/>
                  <a:pt x="8836" y="8255"/>
                  <a:pt x="8836" y="8255"/>
                </a:cubicBezTo>
                <a:close/>
                <a:moveTo>
                  <a:pt x="8345" y="14727"/>
                </a:moveTo>
                <a:cubicBezTo>
                  <a:pt x="8461" y="14727"/>
                  <a:pt x="8564" y="14681"/>
                  <a:pt x="8647" y="14614"/>
                </a:cubicBezTo>
                <a:lnTo>
                  <a:pt x="8652" y="14620"/>
                </a:lnTo>
                <a:lnTo>
                  <a:pt x="14052" y="11184"/>
                </a:lnTo>
                <a:lnTo>
                  <a:pt x="14047" y="11178"/>
                </a:lnTo>
                <a:cubicBezTo>
                  <a:pt x="14160" y="11088"/>
                  <a:pt x="14236" y="10955"/>
                  <a:pt x="14236" y="10800"/>
                </a:cubicBezTo>
                <a:cubicBezTo>
                  <a:pt x="14236" y="10645"/>
                  <a:pt x="14160" y="10512"/>
                  <a:pt x="14047" y="10422"/>
                </a:cubicBezTo>
                <a:lnTo>
                  <a:pt x="14052" y="10417"/>
                </a:lnTo>
                <a:lnTo>
                  <a:pt x="8652" y="6980"/>
                </a:lnTo>
                <a:lnTo>
                  <a:pt x="8647" y="6986"/>
                </a:lnTo>
                <a:cubicBezTo>
                  <a:pt x="8564" y="6919"/>
                  <a:pt x="8461" y="6873"/>
                  <a:pt x="8345" y="6873"/>
                </a:cubicBezTo>
                <a:cubicBezTo>
                  <a:pt x="8074" y="6873"/>
                  <a:pt x="7855" y="7093"/>
                  <a:pt x="7855" y="7364"/>
                </a:cubicBezTo>
                <a:lnTo>
                  <a:pt x="7855" y="14236"/>
                </a:lnTo>
                <a:cubicBezTo>
                  <a:pt x="7855" y="14507"/>
                  <a:pt x="8074" y="14727"/>
                  <a:pt x="8345" y="14727"/>
                </a:cubicBezTo>
                <a:moveTo>
                  <a:pt x="19636" y="18655"/>
                </a:moveTo>
                <a:lnTo>
                  <a:pt x="18655" y="18655"/>
                </a:lnTo>
                <a:lnTo>
                  <a:pt x="18655" y="19636"/>
                </a:lnTo>
                <a:lnTo>
                  <a:pt x="19636" y="19636"/>
                </a:lnTo>
                <a:cubicBezTo>
                  <a:pt x="19636" y="19636"/>
                  <a:pt x="19636" y="18655"/>
                  <a:pt x="19636" y="18655"/>
                </a:cubicBezTo>
                <a:close/>
                <a:moveTo>
                  <a:pt x="19636" y="14727"/>
                </a:moveTo>
                <a:lnTo>
                  <a:pt x="18655" y="14727"/>
                </a:lnTo>
                <a:lnTo>
                  <a:pt x="18655" y="15709"/>
                </a:lnTo>
                <a:lnTo>
                  <a:pt x="19636" y="15709"/>
                </a:lnTo>
                <a:cubicBezTo>
                  <a:pt x="19636" y="15709"/>
                  <a:pt x="19636" y="14727"/>
                  <a:pt x="19636" y="14727"/>
                </a:cubicBezTo>
                <a:close/>
                <a:moveTo>
                  <a:pt x="19636" y="12764"/>
                </a:moveTo>
                <a:lnTo>
                  <a:pt x="18655" y="12764"/>
                </a:lnTo>
                <a:lnTo>
                  <a:pt x="18655" y="13745"/>
                </a:lnTo>
                <a:lnTo>
                  <a:pt x="19636" y="13745"/>
                </a:lnTo>
                <a:cubicBezTo>
                  <a:pt x="19636" y="13745"/>
                  <a:pt x="19636" y="12764"/>
                  <a:pt x="19636" y="12764"/>
                </a:cubicBezTo>
                <a:close/>
                <a:moveTo>
                  <a:pt x="19636" y="16691"/>
                </a:moveTo>
                <a:lnTo>
                  <a:pt x="18655" y="16691"/>
                </a:lnTo>
                <a:lnTo>
                  <a:pt x="18655" y="17673"/>
                </a:lnTo>
                <a:lnTo>
                  <a:pt x="19636" y="17673"/>
                </a:lnTo>
                <a:cubicBezTo>
                  <a:pt x="19636" y="17673"/>
                  <a:pt x="19636" y="16691"/>
                  <a:pt x="19636" y="16691"/>
                </a:cubicBezTo>
                <a:close/>
                <a:moveTo>
                  <a:pt x="18655" y="2945"/>
                </a:moveTo>
                <a:lnTo>
                  <a:pt x="19636" y="2945"/>
                </a:lnTo>
                <a:lnTo>
                  <a:pt x="19636" y="1964"/>
                </a:lnTo>
                <a:lnTo>
                  <a:pt x="18655" y="1964"/>
                </a:lnTo>
                <a:cubicBezTo>
                  <a:pt x="18655" y="1964"/>
                  <a:pt x="18655" y="2945"/>
                  <a:pt x="18655" y="2945"/>
                </a:cubicBezTo>
                <a:close/>
                <a:moveTo>
                  <a:pt x="20618" y="10309"/>
                </a:moveTo>
                <a:lnTo>
                  <a:pt x="17673" y="10309"/>
                </a:lnTo>
                <a:lnTo>
                  <a:pt x="17673" y="982"/>
                </a:lnTo>
                <a:lnTo>
                  <a:pt x="19636" y="982"/>
                </a:lnTo>
                <a:cubicBezTo>
                  <a:pt x="20178" y="982"/>
                  <a:pt x="20618" y="1421"/>
                  <a:pt x="20618" y="1964"/>
                </a:cubicBezTo>
                <a:cubicBezTo>
                  <a:pt x="20618" y="1964"/>
                  <a:pt x="20618" y="10309"/>
                  <a:pt x="20618" y="10309"/>
                </a:cubicBezTo>
                <a:close/>
                <a:moveTo>
                  <a:pt x="20618" y="19636"/>
                </a:moveTo>
                <a:cubicBezTo>
                  <a:pt x="20618" y="20178"/>
                  <a:pt x="20178" y="20618"/>
                  <a:pt x="19636" y="20618"/>
                </a:cubicBezTo>
                <a:lnTo>
                  <a:pt x="17673" y="20618"/>
                </a:lnTo>
                <a:lnTo>
                  <a:pt x="17673" y="11291"/>
                </a:lnTo>
                <a:lnTo>
                  <a:pt x="20618" y="11291"/>
                </a:lnTo>
                <a:cubicBezTo>
                  <a:pt x="20618" y="11291"/>
                  <a:pt x="20618" y="19636"/>
                  <a:pt x="20618" y="19636"/>
                </a:cubicBezTo>
                <a:close/>
                <a:moveTo>
                  <a:pt x="16691" y="20618"/>
                </a:moveTo>
                <a:lnTo>
                  <a:pt x="4909" y="20618"/>
                </a:lnTo>
                <a:lnTo>
                  <a:pt x="4909" y="982"/>
                </a:lnTo>
                <a:lnTo>
                  <a:pt x="16691" y="982"/>
                </a:lnTo>
                <a:cubicBezTo>
                  <a:pt x="16691" y="982"/>
                  <a:pt x="16691" y="20618"/>
                  <a:pt x="16691" y="20618"/>
                </a:cubicBezTo>
                <a:close/>
                <a:moveTo>
                  <a:pt x="3927" y="10309"/>
                </a:moveTo>
                <a:lnTo>
                  <a:pt x="982" y="10309"/>
                </a:lnTo>
                <a:lnTo>
                  <a:pt x="982" y="1964"/>
                </a:lnTo>
                <a:cubicBezTo>
                  <a:pt x="982" y="1421"/>
                  <a:pt x="1422" y="982"/>
                  <a:pt x="1964" y="982"/>
                </a:cubicBezTo>
                <a:lnTo>
                  <a:pt x="3927" y="982"/>
                </a:lnTo>
                <a:cubicBezTo>
                  <a:pt x="3927" y="982"/>
                  <a:pt x="3927" y="10309"/>
                  <a:pt x="3927" y="10309"/>
                </a:cubicBezTo>
                <a:close/>
                <a:moveTo>
                  <a:pt x="3927" y="20618"/>
                </a:moveTo>
                <a:lnTo>
                  <a:pt x="1964" y="20618"/>
                </a:lnTo>
                <a:cubicBezTo>
                  <a:pt x="1422" y="20618"/>
                  <a:pt x="982" y="20178"/>
                  <a:pt x="982" y="19636"/>
                </a:cubicBezTo>
                <a:lnTo>
                  <a:pt x="982" y="11291"/>
                </a:lnTo>
                <a:lnTo>
                  <a:pt x="3927" y="11291"/>
                </a:lnTo>
                <a:cubicBezTo>
                  <a:pt x="3927" y="11291"/>
                  <a:pt x="3927" y="20618"/>
                  <a:pt x="3927" y="20618"/>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655" y="8836"/>
                </a:moveTo>
                <a:lnTo>
                  <a:pt x="19636" y="8836"/>
                </a:lnTo>
                <a:lnTo>
                  <a:pt x="19636" y="7855"/>
                </a:lnTo>
                <a:lnTo>
                  <a:pt x="18655" y="7855"/>
                </a:lnTo>
                <a:cubicBezTo>
                  <a:pt x="18655" y="7855"/>
                  <a:pt x="18655" y="8836"/>
                  <a:pt x="18655" y="8836"/>
                </a:cubicBezTo>
                <a:close/>
                <a:moveTo>
                  <a:pt x="18655" y="6873"/>
                </a:moveTo>
                <a:lnTo>
                  <a:pt x="19636" y="6873"/>
                </a:lnTo>
                <a:lnTo>
                  <a:pt x="19636" y="5891"/>
                </a:lnTo>
                <a:lnTo>
                  <a:pt x="18655" y="5891"/>
                </a:lnTo>
                <a:cubicBezTo>
                  <a:pt x="18655" y="5891"/>
                  <a:pt x="18655" y="6873"/>
                  <a:pt x="18655" y="6873"/>
                </a:cubicBezTo>
                <a:close/>
                <a:moveTo>
                  <a:pt x="18655" y="4909"/>
                </a:moveTo>
                <a:lnTo>
                  <a:pt x="19636" y="4909"/>
                </a:lnTo>
                <a:lnTo>
                  <a:pt x="19636" y="3927"/>
                </a:lnTo>
                <a:lnTo>
                  <a:pt x="18655" y="3927"/>
                </a:lnTo>
                <a:cubicBezTo>
                  <a:pt x="18655" y="3927"/>
                  <a:pt x="18655" y="4909"/>
                  <a:pt x="18655" y="4909"/>
                </a:cubicBezTo>
                <a:close/>
                <a:moveTo>
                  <a:pt x="1964" y="2945"/>
                </a:moveTo>
                <a:lnTo>
                  <a:pt x="2945" y="2945"/>
                </a:lnTo>
                <a:lnTo>
                  <a:pt x="2945" y="1964"/>
                </a:lnTo>
                <a:lnTo>
                  <a:pt x="1964" y="1964"/>
                </a:lnTo>
                <a:cubicBezTo>
                  <a:pt x="1964" y="1964"/>
                  <a:pt x="1964" y="2945"/>
                  <a:pt x="1964" y="2945"/>
                </a:cubicBezTo>
                <a:close/>
                <a:moveTo>
                  <a:pt x="1964" y="8836"/>
                </a:moveTo>
                <a:lnTo>
                  <a:pt x="2945" y="8836"/>
                </a:lnTo>
                <a:lnTo>
                  <a:pt x="2945" y="7855"/>
                </a:lnTo>
                <a:lnTo>
                  <a:pt x="1964" y="7855"/>
                </a:lnTo>
                <a:cubicBezTo>
                  <a:pt x="1964" y="7855"/>
                  <a:pt x="1964" y="8836"/>
                  <a:pt x="1964" y="8836"/>
                </a:cubicBezTo>
                <a:close/>
                <a:moveTo>
                  <a:pt x="2945" y="16691"/>
                </a:moveTo>
                <a:lnTo>
                  <a:pt x="1964" y="16691"/>
                </a:lnTo>
                <a:lnTo>
                  <a:pt x="1964" y="17673"/>
                </a:lnTo>
                <a:lnTo>
                  <a:pt x="2945" y="17673"/>
                </a:lnTo>
                <a:cubicBezTo>
                  <a:pt x="2945" y="17673"/>
                  <a:pt x="2945" y="16691"/>
                  <a:pt x="2945" y="16691"/>
                </a:cubicBezTo>
                <a:close/>
                <a:moveTo>
                  <a:pt x="2945" y="12764"/>
                </a:moveTo>
                <a:lnTo>
                  <a:pt x="1964" y="12764"/>
                </a:lnTo>
                <a:lnTo>
                  <a:pt x="1964" y="13745"/>
                </a:lnTo>
                <a:lnTo>
                  <a:pt x="2945" y="13745"/>
                </a:lnTo>
                <a:cubicBezTo>
                  <a:pt x="2945" y="13745"/>
                  <a:pt x="2945" y="12764"/>
                  <a:pt x="2945" y="12764"/>
                </a:cubicBezTo>
                <a:close/>
                <a:moveTo>
                  <a:pt x="2945" y="14727"/>
                </a:moveTo>
                <a:lnTo>
                  <a:pt x="1964" y="14727"/>
                </a:lnTo>
                <a:lnTo>
                  <a:pt x="1964" y="15709"/>
                </a:lnTo>
                <a:lnTo>
                  <a:pt x="2945" y="15709"/>
                </a:lnTo>
                <a:cubicBezTo>
                  <a:pt x="2945" y="15709"/>
                  <a:pt x="2945" y="14727"/>
                  <a:pt x="2945" y="14727"/>
                </a:cubicBezTo>
                <a:close/>
                <a:moveTo>
                  <a:pt x="2945" y="18655"/>
                </a:moveTo>
                <a:lnTo>
                  <a:pt x="1964" y="18655"/>
                </a:lnTo>
                <a:lnTo>
                  <a:pt x="1964" y="19636"/>
                </a:lnTo>
                <a:lnTo>
                  <a:pt x="2945" y="19636"/>
                </a:lnTo>
                <a:cubicBezTo>
                  <a:pt x="2945" y="19636"/>
                  <a:pt x="2945" y="18655"/>
                  <a:pt x="2945" y="18655"/>
                </a:cubicBezTo>
                <a:close/>
                <a:moveTo>
                  <a:pt x="1964" y="6873"/>
                </a:moveTo>
                <a:lnTo>
                  <a:pt x="2945" y="6873"/>
                </a:lnTo>
                <a:lnTo>
                  <a:pt x="2945" y="5891"/>
                </a:lnTo>
                <a:lnTo>
                  <a:pt x="1964" y="5891"/>
                </a:lnTo>
                <a:cubicBezTo>
                  <a:pt x="1964" y="5891"/>
                  <a:pt x="1964" y="6873"/>
                  <a:pt x="1964" y="6873"/>
                </a:cubicBezTo>
                <a:close/>
                <a:moveTo>
                  <a:pt x="1964" y="4909"/>
                </a:moveTo>
                <a:lnTo>
                  <a:pt x="2945" y="4909"/>
                </a:lnTo>
                <a:lnTo>
                  <a:pt x="2945" y="3927"/>
                </a:lnTo>
                <a:lnTo>
                  <a:pt x="1964" y="3927"/>
                </a:lnTo>
                <a:cubicBezTo>
                  <a:pt x="1964" y="3927"/>
                  <a:pt x="1964" y="4909"/>
                  <a:pt x="1964"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5" name="Shape 2545"/>
          <p:cNvSpPr/>
          <p:nvPr/>
        </p:nvSpPr>
        <p:spPr>
          <a:xfrm>
            <a:off x="66064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9"/>
                </a:moveTo>
                <a:cubicBezTo>
                  <a:pt x="5377" y="20619"/>
                  <a:pt x="982" y="16223"/>
                  <a:pt x="982" y="10800"/>
                </a:cubicBezTo>
                <a:cubicBezTo>
                  <a:pt x="982" y="5378"/>
                  <a:pt x="5377" y="982"/>
                  <a:pt x="10800" y="982"/>
                </a:cubicBezTo>
                <a:cubicBezTo>
                  <a:pt x="13336" y="982"/>
                  <a:pt x="15638" y="1950"/>
                  <a:pt x="17377" y="3529"/>
                </a:cubicBezTo>
                <a:lnTo>
                  <a:pt x="10453" y="10453"/>
                </a:lnTo>
                <a:cubicBezTo>
                  <a:pt x="10364" y="10542"/>
                  <a:pt x="10309" y="10665"/>
                  <a:pt x="10309" y="10800"/>
                </a:cubicBezTo>
                <a:cubicBezTo>
                  <a:pt x="10309" y="11072"/>
                  <a:pt x="10529" y="11291"/>
                  <a:pt x="10800" y="11291"/>
                </a:cubicBezTo>
                <a:lnTo>
                  <a:pt x="20594" y="11291"/>
                </a:lnTo>
                <a:cubicBezTo>
                  <a:pt x="20336" y="16484"/>
                  <a:pt x="16057" y="20619"/>
                  <a:pt x="10800" y="20619"/>
                </a:cubicBezTo>
                <a:moveTo>
                  <a:pt x="20594" y="10309"/>
                </a:moveTo>
                <a:lnTo>
                  <a:pt x="11985" y="10309"/>
                </a:lnTo>
                <a:lnTo>
                  <a:pt x="18071" y="4223"/>
                </a:lnTo>
                <a:cubicBezTo>
                  <a:pt x="19541" y="5852"/>
                  <a:pt x="20477" y="7971"/>
                  <a:pt x="20594" y="10309"/>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6" name="Shape 2546"/>
          <p:cNvSpPr/>
          <p:nvPr/>
        </p:nvSpPr>
        <p:spPr>
          <a:xfrm>
            <a:off x="1060590" y="2651021"/>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18655" y="20400"/>
                </a:lnTo>
                <a:lnTo>
                  <a:pt x="18655" y="1200"/>
                </a:lnTo>
                <a:lnTo>
                  <a:pt x="20618" y="1200"/>
                </a:lnTo>
                <a:cubicBezTo>
                  <a:pt x="20618" y="1200"/>
                  <a:pt x="20618" y="20400"/>
                  <a:pt x="20618" y="20400"/>
                </a:cubicBezTo>
                <a:close/>
                <a:moveTo>
                  <a:pt x="21109" y="0"/>
                </a:moveTo>
                <a:lnTo>
                  <a:pt x="18164" y="0"/>
                </a:lnTo>
                <a:cubicBezTo>
                  <a:pt x="17893" y="0"/>
                  <a:pt x="17673" y="269"/>
                  <a:pt x="17673" y="600"/>
                </a:cubicBezTo>
                <a:lnTo>
                  <a:pt x="17673" y="21000"/>
                </a:lnTo>
                <a:cubicBezTo>
                  <a:pt x="17673" y="21332"/>
                  <a:pt x="17893" y="21600"/>
                  <a:pt x="18164" y="21600"/>
                </a:cubicBezTo>
                <a:lnTo>
                  <a:pt x="21109" y="21600"/>
                </a:lnTo>
                <a:cubicBezTo>
                  <a:pt x="21380" y="21600"/>
                  <a:pt x="21600" y="21332"/>
                  <a:pt x="21600" y="21000"/>
                </a:cubicBezTo>
                <a:lnTo>
                  <a:pt x="21600" y="600"/>
                </a:lnTo>
                <a:cubicBezTo>
                  <a:pt x="21600" y="269"/>
                  <a:pt x="21380" y="0"/>
                  <a:pt x="21109" y="0"/>
                </a:cubicBezTo>
                <a:moveTo>
                  <a:pt x="8836" y="20400"/>
                </a:moveTo>
                <a:lnTo>
                  <a:pt x="6873" y="20400"/>
                </a:lnTo>
                <a:lnTo>
                  <a:pt x="6873" y="3600"/>
                </a:lnTo>
                <a:lnTo>
                  <a:pt x="8836" y="3600"/>
                </a:lnTo>
                <a:cubicBezTo>
                  <a:pt x="8836" y="3600"/>
                  <a:pt x="8836" y="20400"/>
                  <a:pt x="8836" y="20400"/>
                </a:cubicBezTo>
                <a:close/>
                <a:moveTo>
                  <a:pt x="9327" y="2400"/>
                </a:moveTo>
                <a:lnTo>
                  <a:pt x="6382" y="2400"/>
                </a:lnTo>
                <a:cubicBezTo>
                  <a:pt x="6111" y="2400"/>
                  <a:pt x="5891" y="2669"/>
                  <a:pt x="5891" y="3000"/>
                </a:cubicBezTo>
                <a:lnTo>
                  <a:pt x="5891" y="21000"/>
                </a:lnTo>
                <a:cubicBezTo>
                  <a:pt x="5891" y="21332"/>
                  <a:pt x="6111" y="21600"/>
                  <a:pt x="6382" y="21600"/>
                </a:cubicBezTo>
                <a:lnTo>
                  <a:pt x="9327" y="21600"/>
                </a:lnTo>
                <a:cubicBezTo>
                  <a:pt x="9598" y="21600"/>
                  <a:pt x="9818" y="21332"/>
                  <a:pt x="9818" y="21000"/>
                </a:cubicBezTo>
                <a:lnTo>
                  <a:pt x="9818" y="3000"/>
                </a:lnTo>
                <a:cubicBezTo>
                  <a:pt x="9818" y="2669"/>
                  <a:pt x="9598" y="2400"/>
                  <a:pt x="9327" y="2400"/>
                </a:cubicBezTo>
                <a:moveTo>
                  <a:pt x="14727" y="20400"/>
                </a:moveTo>
                <a:lnTo>
                  <a:pt x="12764" y="20400"/>
                </a:lnTo>
                <a:lnTo>
                  <a:pt x="12764" y="10800"/>
                </a:lnTo>
                <a:lnTo>
                  <a:pt x="14727" y="10800"/>
                </a:lnTo>
                <a:cubicBezTo>
                  <a:pt x="14727" y="10800"/>
                  <a:pt x="14727" y="20400"/>
                  <a:pt x="14727" y="20400"/>
                </a:cubicBezTo>
                <a:close/>
                <a:moveTo>
                  <a:pt x="15218" y="9600"/>
                </a:moveTo>
                <a:lnTo>
                  <a:pt x="12273" y="9600"/>
                </a:lnTo>
                <a:cubicBezTo>
                  <a:pt x="12002" y="9600"/>
                  <a:pt x="11782" y="9869"/>
                  <a:pt x="11782" y="10200"/>
                </a:cubicBezTo>
                <a:lnTo>
                  <a:pt x="11782" y="21000"/>
                </a:lnTo>
                <a:cubicBezTo>
                  <a:pt x="11782" y="21332"/>
                  <a:pt x="12002" y="21600"/>
                  <a:pt x="12273" y="21600"/>
                </a:cubicBezTo>
                <a:lnTo>
                  <a:pt x="15218" y="21600"/>
                </a:lnTo>
                <a:cubicBezTo>
                  <a:pt x="15489" y="21600"/>
                  <a:pt x="15709" y="21332"/>
                  <a:pt x="15709" y="21000"/>
                </a:cubicBezTo>
                <a:lnTo>
                  <a:pt x="15709" y="10200"/>
                </a:lnTo>
                <a:cubicBezTo>
                  <a:pt x="15709" y="9869"/>
                  <a:pt x="15489" y="9600"/>
                  <a:pt x="15218" y="9600"/>
                </a:cubicBezTo>
                <a:moveTo>
                  <a:pt x="2945" y="20400"/>
                </a:moveTo>
                <a:lnTo>
                  <a:pt x="982" y="20400"/>
                </a:lnTo>
                <a:lnTo>
                  <a:pt x="982" y="14400"/>
                </a:lnTo>
                <a:lnTo>
                  <a:pt x="2945" y="14400"/>
                </a:lnTo>
                <a:cubicBezTo>
                  <a:pt x="2945" y="14400"/>
                  <a:pt x="2945" y="20400"/>
                  <a:pt x="2945" y="20400"/>
                </a:cubicBezTo>
                <a:close/>
                <a:moveTo>
                  <a:pt x="3436" y="13200"/>
                </a:moveTo>
                <a:lnTo>
                  <a:pt x="491" y="13200"/>
                </a:lnTo>
                <a:cubicBezTo>
                  <a:pt x="220" y="13200"/>
                  <a:pt x="0" y="13469"/>
                  <a:pt x="0" y="13800"/>
                </a:cubicBezTo>
                <a:lnTo>
                  <a:pt x="0" y="21000"/>
                </a:lnTo>
                <a:cubicBezTo>
                  <a:pt x="0" y="21332"/>
                  <a:pt x="220" y="21600"/>
                  <a:pt x="491" y="21600"/>
                </a:cubicBezTo>
                <a:lnTo>
                  <a:pt x="3436" y="21600"/>
                </a:lnTo>
                <a:cubicBezTo>
                  <a:pt x="3707" y="21600"/>
                  <a:pt x="3927" y="21332"/>
                  <a:pt x="3927" y="21000"/>
                </a:cubicBezTo>
                <a:lnTo>
                  <a:pt x="3927" y="13800"/>
                </a:lnTo>
                <a:cubicBezTo>
                  <a:pt x="3927" y="13469"/>
                  <a:pt x="3707" y="13200"/>
                  <a:pt x="3436"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7" name="Shape 2547"/>
          <p:cNvSpPr/>
          <p:nvPr/>
        </p:nvSpPr>
        <p:spPr>
          <a:xfrm>
            <a:off x="1460536"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8" name="Shape 2548"/>
          <p:cNvSpPr/>
          <p:nvPr/>
        </p:nvSpPr>
        <p:spPr>
          <a:xfrm>
            <a:off x="1860482" y="2712918"/>
            <a:ext cx="209495" cy="47613"/>
          </a:xfrm>
          <a:custGeom>
            <a:avLst/>
            <a:gdLst/>
            <a:ahLst/>
            <a:cxnLst>
              <a:cxn ang="0">
                <a:pos x="wd2" y="hd2"/>
              </a:cxn>
              <a:cxn ang="5400000">
                <a:pos x="wd2" y="hd2"/>
              </a:cxn>
              <a:cxn ang="10800000">
                <a:pos x="wd2" y="hd2"/>
              </a:cxn>
              <a:cxn ang="16200000">
                <a:pos x="wd2" y="hd2"/>
              </a:cxn>
            </a:cxnLst>
            <a:rect l="0" t="0" r="r" b="b"/>
            <a:pathLst>
              <a:path w="21600" h="21600" extrusionOk="0">
                <a:moveTo>
                  <a:pt x="19145" y="17280"/>
                </a:moveTo>
                <a:cubicBezTo>
                  <a:pt x="18332" y="17280"/>
                  <a:pt x="17673" y="14380"/>
                  <a:pt x="17673" y="10800"/>
                </a:cubicBezTo>
                <a:cubicBezTo>
                  <a:pt x="17673" y="7224"/>
                  <a:pt x="18332" y="4320"/>
                  <a:pt x="19145" y="4320"/>
                </a:cubicBezTo>
                <a:cubicBezTo>
                  <a:pt x="19959" y="4320"/>
                  <a:pt x="20618" y="7224"/>
                  <a:pt x="20618" y="10800"/>
                </a:cubicBezTo>
                <a:cubicBezTo>
                  <a:pt x="20618" y="14380"/>
                  <a:pt x="19959" y="17280"/>
                  <a:pt x="19145" y="17280"/>
                </a:cubicBezTo>
                <a:moveTo>
                  <a:pt x="19145" y="0"/>
                </a:moveTo>
                <a:cubicBezTo>
                  <a:pt x="17790" y="0"/>
                  <a:pt x="16691" y="4837"/>
                  <a:pt x="16691" y="10800"/>
                </a:cubicBezTo>
                <a:cubicBezTo>
                  <a:pt x="16691" y="16766"/>
                  <a:pt x="17790" y="21600"/>
                  <a:pt x="19145" y="21600"/>
                </a:cubicBezTo>
                <a:cubicBezTo>
                  <a:pt x="20501" y="21600"/>
                  <a:pt x="21600" y="16766"/>
                  <a:pt x="21600" y="10800"/>
                </a:cubicBezTo>
                <a:cubicBezTo>
                  <a:pt x="21600" y="4837"/>
                  <a:pt x="20501" y="0"/>
                  <a:pt x="19145" y="0"/>
                </a:cubicBezTo>
                <a:moveTo>
                  <a:pt x="10800" y="17280"/>
                </a:moveTo>
                <a:cubicBezTo>
                  <a:pt x="9986" y="17280"/>
                  <a:pt x="9327" y="14380"/>
                  <a:pt x="9327" y="10800"/>
                </a:cubicBezTo>
                <a:cubicBezTo>
                  <a:pt x="9327" y="7224"/>
                  <a:pt x="9986" y="4320"/>
                  <a:pt x="10800" y="4320"/>
                </a:cubicBezTo>
                <a:cubicBezTo>
                  <a:pt x="11614" y="4320"/>
                  <a:pt x="12273" y="7224"/>
                  <a:pt x="12273" y="10800"/>
                </a:cubicBezTo>
                <a:cubicBezTo>
                  <a:pt x="12273" y="14380"/>
                  <a:pt x="11614" y="17280"/>
                  <a:pt x="10800" y="17280"/>
                </a:cubicBezTo>
                <a:moveTo>
                  <a:pt x="10800" y="0"/>
                </a:moveTo>
                <a:cubicBezTo>
                  <a:pt x="9444" y="0"/>
                  <a:pt x="8345" y="4837"/>
                  <a:pt x="8345" y="10800"/>
                </a:cubicBezTo>
                <a:cubicBezTo>
                  <a:pt x="8345" y="16766"/>
                  <a:pt x="9444" y="21600"/>
                  <a:pt x="10800" y="21600"/>
                </a:cubicBezTo>
                <a:cubicBezTo>
                  <a:pt x="12156" y="21600"/>
                  <a:pt x="13255" y="16766"/>
                  <a:pt x="13255" y="10800"/>
                </a:cubicBezTo>
                <a:cubicBezTo>
                  <a:pt x="13255" y="4837"/>
                  <a:pt x="12156" y="0"/>
                  <a:pt x="10800" y="0"/>
                </a:cubicBezTo>
                <a:moveTo>
                  <a:pt x="2455" y="17280"/>
                </a:moveTo>
                <a:cubicBezTo>
                  <a:pt x="1641" y="17280"/>
                  <a:pt x="982" y="14380"/>
                  <a:pt x="982" y="10800"/>
                </a:cubicBezTo>
                <a:cubicBezTo>
                  <a:pt x="982" y="7224"/>
                  <a:pt x="1641" y="4320"/>
                  <a:pt x="2455" y="4320"/>
                </a:cubicBezTo>
                <a:cubicBezTo>
                  <a:pt x="3268" y="4320"/>
                  <a:pt x="3927" y="7224"/>
                  <a:pt x="3927" y="10800"/>
                </a:cubicBezTo>
                <a:cubicBezTo>
                  <a:pt x="3927" y="14380"/>
                  <a:pt x="3268" y="17280"/>
                  <a:pt x="2455" y="17280"/>
                </a:cubicBezTo>
                <a:moveTo>
                  <a:pt x="2455" y="0"/>
                </a:moveTo>
                <a:cubicBezTo>
                  <a:pt x="1099" y="0"/>
                  <a:pt x="0" y="4837"/>
                  <a:pt x="0" y="10800"/>
                </a:cubicBezTo>
                <a:cubicBezTo>
                  <a:pt x="0" y="16766"/>
                  <a:pt x="1099" y="21600"/>
                  <a:pt x="2455" y="21600"/>
                </a:cubicBezTo>
                <a:cubicBezTo>
                  <a:pt x="3811" y="21600"/>
                  <a:pt x="4909" y="16766"/>
                  <a:pt x="4909" y="10800"/>
                </a:cubicBezTo>
                <a:cubicBezTo>
                  <a:pt x="4909" y="4837"/>
                  <a:pt x="3811" y="0"/>
                  <a:pt x="245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49" name="Shape 2549"/>
          <p:cNvSpPr/>
          <p:nvPr/>
        </p:nvSpPr>
        <p:spPr>
          <a:xfrm>
            <a:off x="2260427"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0800" y="11291"/>
                </a:moveTo>
                <a:cubicBezTo>
                  <a:pt x="10529" y="11291"/>
                  <a:pt x="10309" y="11072"/>
                  <a:pt x="10309" y="10800"/>
                </a:cubicBezTo>
                <a:cubicBezTo>
                  <a:pt x="10309" y="10529"/>
                  <a:pt x="10529" y="10309"/>
                  <a:pt x="10800" y="10309"/>
                </a:cubicBezTo>
                <a:cubicBezTo>
                  <a:pt x="11071" y="10309"/>
                  <a:pt x="11291" y="10529"/>
                  <a:pt x="11291" y="10800"/>
                </a:cubicBezTo>
                <a:cubicBezTo>
                  <a:pt x="11291" y="11072"/>
                  <a:pt x="11071" y="11291"/>
                  <a:pt x="10800" y="11291"/>
                </a:cubicBezTo>
                <a:moveTo>
                  <a:pt x="10800" y="9327"/>
                </a:moveTo>
                <a:cubicBezTo>
                  <a:pt x="9986" y="9327"/>
                  <a:pt x="9327" y="9987"/>
                  <a:pt x="9327" y="10800"/>
                </a:cubicBezTo>
                <a:cubicBezTo>
                  <a:pt x="9327" y="11614"/>
                  <a:pt x="9986" y="12273"/>
                  <a:pt x="10800" y="12273"/>
                </a:cubicBezTo>
                <a:cubicBezTo>
                  <a:pt x="11614" y="12273"/>
                  <a:pt x="12273" y="11614"/>
                  <a:pt x="12273" y="10800"/>
                </a:cubicBezTo>
                <a:cubicBezTo>
                  <a:pt x="12273" y="9987"/>
                  <a:pt x="11614" y="9327"/>
                  <a:pt x="10800" y="9327"/>
                </a:cubicBezTo>
                <a:moveTo>
                  <a:pt x="5400" y="11291"/>
                </a:moveTo>
                <a:cubicBezTo>
                  <a:pt x="5129" y="11291"/>
                  <a:pt x="4909" y="11072"/>
                  <a:pt x="4909" y="10800"/>
                </a:cubicBezTo>
                <a:cubicBezTo>
                  <a:pt x="4909" y="10529"/>
                  <a:pt x="5129" y="10309"/>
                  <a:pt x="5400" y="10309"/>
                </a:cubicBezTo>
                <a:cubicBezTo>
                  <a:pt x="5671" y="10309"/>
                  <a:pt x="5891" y="10529"/>
                  <a:pt x="5891" y="10800"/>
                </a:cubicBezTo>
                <a:cubicBezTo>
                  <a:pt x="5891" y="11072"/>
                  <a:pt x="5671" y="11291"/>
                  <a:pt x="5400" y="11291"/>
                </a:cubicBezTo>
                <a:moveTo>
                  <a:pt x="5400" y="9327"/>
                </a:moveTo>
                <a:cubicBezTo>
                  <a:pt x="4586" y="9327"/>
                  <a:pt x="3927" y="9987"/>
                  <a:pt x="3927" y="10800"/>
                </a:cubicBezTo>
                <a:cubicBezTo>
                  <a:pt x="3927" y="11614"/>
                  <a:pt x="4586" y="12273"/>
                  <a:pt x="5400" y="12273"/>
                </a:cubicBezTo>
                <a:cubicBezTo>
                  <a:pt x="6214" y="12273"/>
                  <a:pt x="6873" y="11614"/>
                  <a:pt x="6873" y="10800"/>
                </a:cubicBezTo>
                <a:cubicBezTo>
                  <a:pt x="6873" y="9987"/>
                  <a:pt x="6214" y="9327"/>
                  <a:pt x="5400" y="9327"/>
                </a:cubicBezTo>
                <a:moveTo>
                  <a:pt x="16200" y="11291"/>
                </a:moveTo>
                <a:cubicBezTo>
                  <a:pt x="15929" y="11291"/>
                  <a:pt x="15709" y="11072"/>
                  <a:pt x="15709" y="10800"/>
                </a:cubicBezTo>
                <a:cubicBezTo>
                  <a:pt x="15709" y="10529"/>
                  <a:pt x="15929" y="10309"/>
                  <a:pt x="16200" y="10309"/>
                </a:cubicBezTo>
                <a:cubicBezTo>
                  <a:pt x="16471" y="10309"/>
                  <a:pt x="16691" y="10529"/>
                  <a:pt x="16691" y="10800"/>
                </a:cubicBezTo>
                <a:cubicBezTo>
                  <a:pt x="16691" y="11072"/>
                  <a:pt x="16471" y="11291"/>
                  <a:pt x="16200" y="11291"/>
                </a:cubicBezTo>
                <a:moveTo>
                  <a:pt x="16200" y="9327"/>
                </a:moveTo>
                <a:cubicBezTo>
                  <a:pt x="15386" y="9327"/>
                  <a:pt x="14727" y="9987"/>
                  <a:pt x="14727" y="10800"/>
                </a:cubicBezTo>
                <a:cubicBezTo>
                  <a:pt x="14727" y="11614"/>
                  <a:pt x="15386" y="12273"/>
                  <a:pt x="16200" y="12273"/>
                </a:cubicBezTo>
                <a:cubicBezTo>
                  <a:pt x="17014" y="12273"/>
                  <a:pt x="17673" y="11614"/>
                  <a:pt x="17673" y="10800"/>
                </a:cubicBezTo>
                <a:cubicBezTo>
                  <a:pt x="17673" y="9987"/>
                  <a:pt x="17014" y="9327"/>
                  <a:pt x="16200"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0" name="Shape 2550"/>
          <p:cNvSpPr/>
          <p:nvPr/>
        </p:nvSpPr>
        <p:spPr>
          <a:xfrm>
            <a:off x="2660374"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7364"/>
                </a:moveTo>
                <a:cubicBezTo>
                  <a:pt x="20838" y="7364"/>
                  <a:pt x="20618" y="7584"/>
                  <a:pt x="20618" y="7855"/>
                </a:cubicBezTo>
                <a:lnTo>
                  <a:pt x="20618" y="18655"/>
                </a:lnTo>
                <a:cubicBezTo>
                  <a:pt x="20618" y="19739"/>
                  <a:pt x="19739" y="20618"/>
                  <a:pt x="18655" y="20618"/>
                </a:cubicBezTo>
                <a:lnTo>
                  <a:pt x="2945" y="20618"/>
                </a:lnTo>
                <a:cubicBezTo>
                  <a:pt x="1861" y="20618"/>
                  <a:pt x="982" y="19739"/>
                  <a:pt x="982" y="18655"/>
                </a:cubicBezTo>
                <a:lnTo>
                  <a:pt x="982" y="2945"/>
                </a:lnTo>
                <a:cubicBezTo>
                  <a:pt x="982" y="1861"/>
                  <a:pt x="1861" y="982"/>
                  <a:pt x="2945" y="982"/>
                </a:cubicBezTo>
                <a:lnTo>
                  <a:pt x="13745" y="982"/>
                </a:lnTo>
                <a:cubicBezTo>
                  <a:pt x="14017" y="982"/>
                  <a:pt x="14236" y="762"/>
                  <a:pt x="14236" y="491"/>
                </a:cubicBezTo>
                <a:cubicBezTo>
                  <a:pt x="14236" y="220"/>
                  <a:pt x="14017" y="0"/>
                  <a:pt x="13745" y="0"/>
                </a:cubicBezTo>
                <a:lnTo>
                  <a:pt x="2945" y="0"/>
                </a:lnTo>
                <a:cubicBezTo>
                  <a:pt x="1318" y="0"/>
                  <a:pt x="0" y="1319"/>
                  <a:pt x="0" y="2945"/>
                </a:cubicBezTo>
                <a:lnTo>
                  <a:pt x="0" y="18655"/>
                </a:lnTo>
                <a:cubicBezTo>
                  <a:pt x="0" y="20282"/>
                  <a:pt x="1318" y="21600"/>
                  <a:pt x="2945" y="21600"/>
                </a:cubicBezTo>
                <a:lnTo>
                  <a:pt x="18655" y="21600"/>
                </a:lnTo>
                <a:cubicBezTo>
                  <a:pt x="20282" y="21600"/>
                  <a:pt x="21600" y="20282"/>
                  <a:pt x="21600" y="18655"/>
                </a:cubicBezTo>
                <a:lnTo>
                  <a:pt x="21600" y="7855"/>
                </a:lnTo>
                <a:cubicBezTo>
                  <a:pt x="21600" y="7584"/>
                  <a:pt x="21380" y="7364"/>
                  <a:pt x="21109" y="7364"/>
                </a:cubicBezTo>
                <a:moveTo>
                  <a:pt x="7006" y="12764"/>
                </a:moveTo>
                <a:lnTo>
                  <a:pt x="8836" y="12764"/>
                </a:lnTo>
                <a:lnTo>
                  <a:pt x="8836" y="14594"/>
                </a:lnTo>
                <a:lnTo>
                  <a:pt x="6627" y="14973"/>
                </a:lnTo>
                <a:cubicBezTo>
                  <a:pt x="6627" y="14973"/>
                  <a:pt x="7006" y="12764"/>
                  <a:pt x="7006" y="12764"/>
                </a:cubicBezTo>
                <a:close/>
                <a:moveTo>
                  <a:pt x="16775" y="2742"/>
                </a:moveTo>
                <a:lnTo>
                  <a:pt x="18858" y="4825"/>
                </a:lnTo>
                <a:lnTo>
                  <a:pt x="9818" y="13865"/>
                </a:lnTo>
                <a:lnTo>
                  <a:pt x="9818" y="11782"/>
                </a:lnTo>
                <a:lnTo>
                  <a:pt x="7736" y="11782"/>
                </a:lnTo>
                <a:cubicBezTo>
                  <a:pt x="7736" y="11782"/>
                  <a:pt x="16775" y="2742"/>
                  <a:pt x="16775" y="2742"/>
                </a:cubicBezTo>
                <a:close/>
                <a:moveTo>
                  <a:pt x="18104" y="1414"/>
                </a:moveTo>
                <a:cubicBezTo>
                  <a:pt x="18371" y="1147"/>
                  <a:pt x="18739" y="982"/>
                  <a:pt x="19145" y="982"/>
                </a:cubicBezTo>
                <a:cubicBezTo>
                  <a:pt x="19959" y="982"/>
                  <a:pt x="20618" y="1642"/>
                  <a:pt x="20618" y="2455"/>
                </a:cubicBezTo>
                <a:cubicBezTo>
                  <a:pt x="20618" y="2861"/>
                  <a:pt x="20453" y="3230"/>
                  <a:pt x="20187" y="3496"/>
                </a:cubicBezTo>
                <a:lnTo>
                  <a:pt x="19552" y="4131"/>
                </a:lnTo>
                <a:lnTo>
                  <a:pt x="17469" y="2048"/>
                </a:lnTo>
                <a:cubicBezTo>
                  <a:pt x="17469" y="2048"/>
                  <a:pt x="18104" y="1414"/>
                  <a:pt x="18104" y="1414"/>
                </a:cubicBezTo>
                <a:close/>
                <a:moveTo>
                  <a:pt x="5400" y="16200"/>
                </a:moveTo>
                <a:lnTo>
                  <a:pt x="9590" y="15481"/>
                </a:lnTo>
                <a:lnTo>
                  <a:pt x="20881" y="4190"/>
                </a:lnTo>
                <a:cubicBezTo>
                  <a:pt x="21325" y="3746"/>
                  <a:pt x="21600" y="3133"/>
                  <a:pt x="21600" y="2455"/>
                </a:cubicBezTo>
                <a:cubicBezTo>
                  <a:pt x="21600" y="1099"/>
                  <a:pt x="20501" y="0"/>
                  <a:pt x="19145" y="0"/>
                </a:cubicBezTo>
                <a:cubicBezTo>
                  <a:pt x="18468" y="0"/>
                  <a:pt x="17854" y="275"/>
                  <a:pt x="17410" y="719"/>
                </a:cubicBezTo>
                <a:lnTo>
                  <a:pt x="6119" y="12010"/>
                </a:lnTo>
                <a:cubicBezTo>
                  <a:pt x="6119" y="12010"/>
                  <a:pt x="5400" y="16200"/>
                  <a:pt x="540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1" name="Shape 2551"/>
          <p:cNvSpPr/>
          <p:nvPr/>
        </p:nvSpPr>
        <p:spPr>
          <a:xfrm>
            <a:off x="3060320" y="263197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755" y="6010"/>
                </a:moveTo>
                <a:lnTo>
                  <a:pt x="18630" y="7136"/>
                </a:lnTo>
                <a:lnTo>
                  <a:pt x="14465" y="2970"/>
                </a:lnTo>
                <a:lnTo>
                  <a:pt x="15590" y="1845"/>
                </a:lnTo>
                <a:cubicBezTo>
                  <a:pt x="15590" y="1845"/>
                  <a:pt x="16391" y="982"/>
                  <a:pt x="17673" y="982"/>
                </a:cubicBezTo>
                <a:cubicBezTo>
                  <a:pt x="19300" y="982"/>
                  <a:pt x="20618" y="2300"/>
                  <a:pt x="20618" y="3927"/>
                </a:cubicBezTo>
                <a:cubicBezTo>
                  <a:pt x="20618" y="4741"/>
                  <a:pt x="20288" y="5477"/>
                  <a:pt x="19755" y="6010"/>
                </a:cubicBezTo>
                <a:moveTo>
                  <a:pt x="7364" y="18402"/>
                </a:moveTo>
                <a:lnTo>
                  <a:pt x="7364" y="14727"/>
                </a:lnTo>
                <a:cubicBezTo>
                  <a:pt x="7364" y="14456"/>
                  <a:pt x="7144" y="14236"/>
                  <a:pt x="6873" y="14236"/>
                </a:cubicBezTo>
                <a:lnTo>
                  <a:pt x="3198" y="14236"/>
                </a:lnTo>
                <a:lnTo>
                  <a:pt x="13770" y="3665"/>
                </a:lnTo>
                <a:lnTo>
                  <a:pt x="17935" y="7830"/>
                </a:lnTo>
                <a:cubicBezTo>
                  <a:pt x="17935" y="7830"/>
                  <a:pt x="7364" y="18402"/>
                  <a:pt x="7364" y="18402"/>
                </a:cubicBezTo>
                <a:close/>
                <a:moveTo>
                  <a:pt x="6382" y="19042"/>
                </a:moveTo>
                <a:lnTo>
                  <a:pt x="2945" y="19845"/>
                </a:lnTo>
                <a:lnTo>
                  <a:pt x="2945" y="18655"/>
                </a:lnTo>
                <a:lnTo>
                  <a:pt x="1755" y="18655"/>
                </a:lnTo>
                <a:lnTo>
                  <a:pt x="2558" y="15218"/>
                </a:lnTo>
                <a:lnTo>
                  <a:pt x="6382" y="15218"/>
                </a:lnTo>
                <a:cubicBezTo>
                  <a:pt x="6382" y="15218"/>
                  <a:pt x="6382" y="19042"/>
                  <a:pt x="6382" y="19042"/>
                </a:cubicBezTo>
                <a:close/>
                <a:moveTo>
                  <a:pt x="17673" y="0"/>
                </a:moveTo>
                <a:cubicBezTo>
                  <a:pt x="16588" y="0"/>
                  <a:pt x="15606" y="439"/>
                  <a:pt x="14896" y="1151"/>
                </a:cubicBezTo>
                <a:lnTo>
                  <a:pt x="1641" y="14405"/>
                </a:lnTo>
                <a:lnTo>
                  <a:pt x="0" y="21600"/>
                </a:lnTo>
                <a:lnTo>
                  <a:pt x="7195" y="19959"/>
                </a:lnTo>
                <a:lnTo>
                  <a:pt x="20449" y="6704"/>
                </a:lnTo>
                <a:cubicBezTo>
                  <a:pt x="21160" y="5994"/>
                  <a:pt x="21600" y="5012"/>
                  <a:pt x="21600" y="3927"/>
                </a:cubicBezTo>
                <a:cubicBezTo>
                  <a:pt x="21600" y="1758"/>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2" name="Shape 2552"/>
          <p:cNvSpPr/>
          <p:nvPr/>
        </p:nvSpPr>
        <p:spPr>
          <a:xfrm>
            <a:off x="3460265"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3" name="Shape 2553"/>
          <p:cNvSpPr/>
          <p:nvPr/>
        </p:nvSpPr>
        <p:spPr>
          <a:xfrm>
            <a:off x="3860211"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5709" y="8100"/>
                </a:moveTo>
                <a:cubicBezTo>
                  <a:pt x="14896" y="8100"/>
                  <a:pt x="14236" y="8826"/>
                  <a:pt x="14236" y="9720"/>
                </a:cubicBezTo>
                <a:cubicBezTo>
                  <a:pt x="14236" y="10615"/>
                  <a:pt x="14896" y="11340"/>
                  <a:pt x="15709" y="11340"/>
                </a:cubicBezTo>
                <a:cubicBezTo>
                  <a:pt x="16522" y="11340"/>
                  <a:pt x="17182" y="10615"/>
                  <a:pt x="17182" y="9720"/>
                </a:cubicBezTo>
                <a:cubicBezTo>
                  <a:pt x="17182" y="8826"/>
                  <a:pt x="16522" y="8100"/>
                  <a:pt x="15709" y="8100"/>
                </a:cubicBezTo>
                <a:moveTo>
                  <a:pt x="10800" y="18360"/>
                </a:moveTo>
                <a:cubicBezTo>
                  <a:pt x="9864" y="18360"/>
                  <a:pt x="8922" y="18237"/>
                  <a:pt x="7998" y="17995"/>
                </a:cubicBezTo>
                <a:cubicBezTo>
                  <a:pt x="7923" y="17975"/>
                  <a:pt x="7846" y="17965"/>
                  <a:pt x="7770" y="17965"/>
                </a:cubicBezTo>
                <a:cubicBezTo>
                  <a:pt x="7646" y="17965"/>
                  <a:pt x="7522" y="17991"/>
                  <a:pt x="7406" y="18043"/>
                </a:cubicBezTo>
                <a:lnTo>
                  <a:pt x="3352" y="19826"/>
                </a:lnTo>
                <a:lnTo>
                  <a:pt x="4013" y="16735"/>
                </a:lnTo>
                <a:cubicBezTo>
                  <a:pt x="4098" y="16339"/>
                  <a:pt x="3972" y="15924"/>
                  <a:pt x="3689" y="15662"/>
                </a:cubicBezTo>
                <a:cubicBezTo>
                  <a:pt x="1944" y="14045"/>
                  <a:pt x="982" y="11934"/>
                  <a:pt x="982" y="9720"/>
                </a:cubicBezTo>
                <a:cubicBezTo>
                  <a:pt x="982" y="4956"/>
                  <a:pt x="5387" y="1080"/>
                  <a:pt x="10800" y="1080"/>
                </a:cubicBezTo>
                <a:cubicBezTo>
                  <a:pt x="16214" y="1080"/>
                  <a:pt x="20618" y="4956"/>
                  <a:pt x="20618" y="9720"/>
                </a:cubicBezTo>
                <a:cubicBezTo>
                  <a:pt x="20618" y="14484"/>
                  <a:pt x="16214" y="18360"/>
                  <a:pt x="10800" y="18360"/>
                </a:cubicBezTo>
                <a:moveTo>
                  <a:pt x="10800" y="0"/>
                </a:moveTo>
                <a:cubicBezTo>
                  <a:pt x="4835" y="0"/>
                  <a:pt x="0" y="4352"/>
                  <a:pt x="0" y="9720"/>
                </a:cubicBezTo>
                <a:cubicBezTo>
                  <a:pt x="0" y="12353"/>
                  <a:pt x="1168" y="14738"/>
                  <a:pt x="3057" y="16488"/>
                </a:cubicBezTo>
                <a:lnTo>
                  <a:pt x="1964" y="21600"/>
                </a:lnTo>
                <a:lnTo>
                  <a:pt x="7770" y="19046"/>
                </a:lnTo>
                <a:cubicBezTo>
                  <a:pt x="8732" y="19298"/>
                  <a:pt x="9747" y="19440"/>
                  <a:pt x="10800" y="19440"/>
                </a:cubicBezTo>
                <a:cubicBezTo>
                  <a:pt x="16765" y="19440"/>
                  <a:pt x="21600" y="15089"/>
                  <a:pt x="21600" y="9720"/>
                </a:cubicBezTo>
                <a:cubicBezTo>
                  <a:pt x="21600" y="4352"/>
                  <a:pt x="16765" y="0"/>
                  <a:pt x="10800" y="0"/>
                </a:cubicBezTo>
                <a:moveTo>
                  <a:pt x="10800" y="8100"/>
                </a:moveTo>
                <a:cubicBezTo>
                  <a:pt x="9987" y="8100"/>
                  <a:pt x="9327" y="8826"/>
                  <a:pt x="9327" y="9720"/>
                </a:cubicBezTo>
                <a:cubicBezTo>
                  <a:pt x="9327" y="10615"/>
                  <a:pt x="9987" y="11340"/>
                  <a:pt x="10800" y="11340"/>
                </a:cubicBezTo>
                <a:cubicBezTo>
                  <a:pt x="11613" y="11340"/>
                  <a:pt x="12273" y="10615"/>
                  <a:pt x="12273" y="9720"/>
                </a:cubicBezTo>
                <a:cubicBezTo>
                  <a:pt x="12273" y="8826"/>
                  <a:pt x="11613" y="8100"/>
                  <a:pt x="10800" y="8100"/>
                </a:cubicBezTo>
                <a:moveTo>
                  <a:pt x="5891" y="8100"/>
                </a:moveTo>
                <a:cubicBezTo>
                  <a:pt x="5078" y="8100"/>
                  <a:pt x="4418" y="8826"/>
                  <a:pt x="4418" y="9720"/>
                </a:cubicBezTo>
                <a:cubicBezTo>
                  <a:pt x="4418" y="10615"/>
                  <a:pt x="5078" y="11340"/>
                  <a:pt x="5891" y="11340"/>
                </a:cubicBezTo>
                <a:cubicBezTo>
                  <a:pt x="6704" y="11340"/>
                  <a:pt x="7364" y="10615"/>
                  <a:pt x="7364" y="9720"/>
                </a:cubicBezTo>
                <a:cubicBezTo>
                  <a:pt x="7364" y="8826"/>
                  <a:pt x="6704" y="8100"/>
                  <a:pt x="5891"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4" name="Shape 2554"/>
          <p:cNvSpPr/>
          <p:nvPr/>
        </p:nvSpPr>
        <p:spPr>
          <a:xfrm>
            <a:off x="4260157" y="2641499"/>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855" y="18900"/>
                </a:moveTo>
                <a:cubicBezTo>
                  <a:pt x="7279" y="18900"/>
                  <a:pt x="6684" y="18827"/>
                  <a:pt x="6086" y="18683"/>
                </a:cubicBezTo>
                <a:cubicBezTo>
                  <a:pt x="6017" y="18666"/>
                  <a:pt x="5946" y="18658"/>
                  <a:pt x="5876" y="18658"/>
                </a:cubicBezTo>
                <a:cubicBezTo>
                  <a:pt x="5756" y="18658"/>
                  <a:pt x="5636" y="18682"/>
                  <a:pt x="5523" y="18729"/>
                </a:cubicBezTo>
                <a:lnTo>
                  <a:pt x="2957" y="19815"/>
                </a:lnTo>
                <a:lnTo>
                  <a:pt x="3365" y="18243"/>
                </a:lnTo>
                <a:cubicBezTo>
                  <a:pt x="3474" y="17827"/>
                  <a:pt x="3345" y="17380"/>
                  <a:pt x="3039" y="17108"/>
                </a:cubicBezTo>
                <a:cubicBezTo>
                  <a:pt x="1712" y="15926"/>
                  <a:pt x="982" y="14358"/>
                  <a:pt x="982" y="12690"/>
                </a:cubicBezTo>
                <a:cubicBezTo>
                  <a:pt x="982" y="9266"/>
                  <a:pt x="4065" y="6480"/>
                  <a:pt x="7855" y="6480"/>
                </a:cubicBezTo>
                <a:cubicBezTo>
                  <a:pt x="11644" y="6480"/>
                  <a:pt x="14727" y="9266"/>
                  <a:pt x="14727" y="12690"/>
                </a:cubicBezTo>
                <a:cubicBezTo>
                  <a:pt x="14727" y="16114"/>
                  <a:pt x="11644" y="18900"/>
                  <a:pt x="7855" y="18900"/>
                </a:cubicBezTo>
                <a:moveTo>
                  <a:pt x="7855" y="5400"/>
                </a:moveTo>
                <a:cubicBezTo>
                  <a:pt x="3517" y="5400"/>
                  <a:pt x="0" y="8664"/>
                  <a:pt x="0" y="12690"/>
                </a:cubicBezTo>
                <a:cubicBezTo>
                  <a:pt x="0" y="14758"/>
                  <a:pt x="932" y="16620"/>
                  <a:pt x="2422" y="17947"/>
                </a:cubicBezTo>
                <a:lnTo>
                  <a:pt x="1473" y="21600"/>
                </a:lnTo>
                <a:lnTo>
                  <a:pt x="5876" y="19738"/>
                </a:lnTo>
                <a:cubicBezTo>
                  <a:pt x="6509" y="19891"/>
                  <a:pt x="7169" y="19980"/>
                  <a:pt x="7855" y="19980"/>
                </a:cubicBezTo>
                <a:cubicBezTo>
                  <a:pt x="12192" y="19980"/>
                  <a:pt x="15709" y="16716"/>
                  <a:pt x="15709" y="12690"/>
                </a:cubicBezTo>
                <a:cubicBezTo>
                  <a:pt x="15709" y="8664"/>
                  <a:pt x="12192" y="5400"/>
                  <a:pt x="7855" y="5400"/>
                </a:cubicBezTo>
                <a:moveTo>
                  <a:pt x="21600" y="7290"/>
                </a:moveTo>
                <a:cubicBezTo>
                  <a:pt x="21600" y="3264"/>
                  <a:pt x="18084" y="0"/>
                  <a:pt x="13745" y="0"/>
                </a:cubicBezTo>
                <a:cubicBezTo>
                  <a:pt x="10506" y="0"/>
                  <a:pt x="7725" y="1821"/>
                  <a:pt x="6525" y="4422"/>
                </a:cubicBezTo>
                <a:cubicBezTo>
                  <a:pt x="6912" y="4367"/>
                  <a:pt x="7306" y="4332"/>
                  <a:pt x="7708" y="4326"/>
                </a:cubicBezTo>
                <a:cubicBezTo>
                  <a:pt x="8875" y="2394"/>
                  <a:pt x="11143" y="1080"/>
                  <a:pt x="13745" y="1080"/>
                </a:cubicBezTo>
                <a:cubicBezTo>
                  <a:pt x="17535" y="1080"/>
                  <a:pt x="20618" y="3866"/>
                  <a:pt x="20618" y="7290"/>
                </a:cubicBezTo>
                <a:cubicBezTo>
                  <a:pt x="20618" y="8958"/>
                  <a:pt x="19888" y="10526"/>
                  <a:pt x="18561" y="11707"/>
                </a:cubicBezTo>
                <a:cubicBezTo>
                  <a:pt x="18255" y="11980"/>
                  <a:pt x="18126" y="12428"/>
                  <a:pt x="18234" y="12843"/>
                </a:cubicBezTo>
                <a:lnTo>
                  <a:pt x="18643" y="14415"/>
                </a:lnTo>
                <a:lnTo>
                  <a:pt x="16613" y="13556"/>
                </a:lnTo>
                <a:cubicBezTo>
                  <a:pt x="16573" y="13922"/>
                  <a:pt x="16500" y="14278"/>
                  <a:pt x="16411" y="14628"/>
                </a:cubicBezTo>
                <a:lnTo>
                  <a:pt x="20127" y="16200"/>
                </a:lnTo>
                <a:lnTo>
                  <a:pt x="19178" y="12547"/>
                </a:lnTo>
                <a:cubicBezTo>
                  <a:pt x="20669" y="11220"/>
                  <a:pt x="21600" y="9358"/>
                  <a:pt x="21600" y="72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5" name="Shape 2555"/>
          <p:cNvSpPr/>
          <p:nvPr/>
        </p:nvSpPr>
        <p:spPr>
          <a:xfrm>
            <a:off x="66064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4221" y="3527"/>
                </a:lnTo>
                <a:cubicBezTo>
                  <a:pt x="5963" y="1950"/>
                  <a:pt x="8265" y="982"/>
                  <a:pt x="10800" y="982"/>
                </a:cubicBezTo>
                <a:cubicBezTo>
                  <a:pt x="16223" y="982"/>
                  <a:pt x="20618" y="5377"/>
                  <a:pt x="20618" y="10800"/>
                </a:cubicBezTo>
                <a:cubicBezTo>
                  <a:pt x="20618" y="13335"/>
                  <a:pt x="19650" y="15637"/>
                  <a:pt x="18073" y="17379"/>
                </a:cubicBezTo>
                <a:moveTo>
                  <a:pt x="10800" y="20618"/>
                </a:moveTo>
                <a:cubicBezTo>
                  <a:pt x="5377" y="20618"/>
                  <a:pt x="982" y="16223"/>
                  <a:pt x="982" y="10800"/>
                </a:cubicBezTo>
                <a:cubicBezTo>
                  <a:pt x="982" y="8266"/>
                  <a:pt x="1950" y="5963"/>
                  <a:pt x="3527" y="4221"/>
                </a:cubicBezTo>
                <a:lnTo>
                  <a:pt x="17379" y="18073"/>
                </a:lnTo>
                <a:cubicBezTo>
                  <a:pt x="15637" y="19650"/>
                  <a:pt x="13334"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6" name="Shape 2556"/>
          <p:cNvSpPr/>
          <p:nvPr/>
        </p:nvSpPr>
        <p:spPr>
          <a:xfrm>
            <a:off x="1060590"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7" name="Shape 2557"/>
          <p:cNvSpPr/>
          <p:nvPr/>
        </p:nvSpPr>
        <p:spPr>
          <a:xfrm>
            <a:off x="1460536"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91" y="6559"/>
                </a:moveTo>
                <a:cubicBezTo>
                  <a:pt x="12727" y="6341"/>
                  <a:pt x="12420" y="6172"/>
                  <a:pt x="12078" y="6058"/>
                </a:cubicBezTo>
                <a:cubicBezTo>
                  <a:pt x="11737" y="5946"/>
                  <a:pt x="11367" y="5889"/>
                  <a:pt x="10978" y="5889"/>
                </a:cubicBezTo>
                <a:cubicBezTo>
                  <a:pt x="10477" y="5889"/>
                  <a:pt x="10025" y="5967"/>
                  <a:pt x="9633" y="6120"/>
                </a:cubicBezTo>
                <a:cubicBezTo>
                  <a:pt x="9239" y="6275"/>
                  <a:pt x="8900" y="6494"/>
                  <a:pt x="8623" y="6771"/>
                </a:cubicBezTo>
                <a:cubicBezTo>
                  <a:pt x="8346" y="7049"/>
                  <a:pt x="8133" y="7392"/>
                  <a:pt x="7992" y="7788"/>
                </a:cubicBezTo>
                <a:cubicBezTo>
                  <a:pt x="7853" y="8180"/>
                  <a:pt x="7782" y="8620"/>
                  <a:pt x="7782" y="9096"/>
                </a:cubicBezTo>
                <a:lnTo>
                  <a:pt x="7782" y="9217"/>
                </a:lnTo>
                <a:lnTo>
                  <a:pt x="8880" y="9217"/>
                </a:lnTo>
                <a:lnTo>
                  <a:pt x="8877" y="9093"/>
                </a:lnTo>
                <a:cubicBezTo>
                  <a:pt x="8868" y="8767"/>
                  <a:pt x="8908" y="8461"/>
                  <a:pt x="8993" y="8187"/>
                </a:cubicBezTo>
                <a:cubicBezTo>
                  <a:pt x="9079" y="7914"/>
                  <a:pt x="9207" y="7675"/>
                  <a:pt x="9377" y="7473"/>
                </a:cubicBezTo>
                <a:cubicBezTo>
                  <a:pt x="9545" y="7274"/>
                  <a:pt x="9762" y="7115"/>
                  <a:pt x="10024" y="7000"/>
                </a:cubicBezTo>
                <a:cubicBezTo>
                  <a:pt x="10287" y="6884"/>
                  <a:pt x="10594" y="6827"/>
                  <a:pt x="10937" y="6827"/>
                </a:cubicBezTo>
                <a:cubicBezTo>
                  <a:pt x="11182" y="6827"/>
                  <a:pt x="11418" y="6868"/>
                  <a:pt x="11639" y="6950"/>
                </a:cubicBezTo>
                <a:cubicBezTo>
                  <a:pt x="11858" y="7032"/>
                  <a:pt x="12053" y="7146"/>
                  <a:pt x="12218" y="7289"/>
                </a:cubicBezTo>
                <a:cubicBezTo>
                  <a:pt x="12381" y="7431"/>
                  <a:pt x="12512" y="7605"/>
                  <a:pt x="12609" y="7808"/>
                </a:cubicBezTo>
                <a:cubicBezTo>
                  <a:pt x="12704" y="8011"/>
                  <a:pt x="12752" y="8236"/>
                  <a:pt x="12752" y="8478"/>
                </a:cubicBezTo>
                <a:cubicBezTo>
                  <a:pt x="12752" y="8797"/>
                  <a:pt x="12674" y="9089"/>
                  <a:pt x="12519" y="9350"/>
                </a:cubicBezTo>
                <a:cubicBezTo>
                  <a:pt x="12359" y="9618"/>
                  <a:pt x="12154" y="9865"/>
                  <a:pt x="11913" y="10082"/>
                </a:cubicBezTo>
                <a:cubicBezTo>
                  <a:pt x="11624" y="10337"/>
                  <a:pt x="11374" y="10568"/>
                  <a:pt x="11170" y="10771"/>
                </a:cubicBezTo>
                <a:cubicBezTo>
                  <a:pt x="10959" y="10979"/>
                  <a:pt x="10789" y="11200"/>
                  <a:pt x="10662" y="11428"/>
                </a:cubicBezTo>
                <a:cubicBezTo>
                  <a:pt x="10534" y="11657"/>
                  <a:pt x="10441" y="11916"/>
                  <a:pt x="10385" y="12199"/>
                </a:cubicBezTo>
                <a:cubicBezTo>
                  <a:pt x="10329" y="12478"/>
                  <a:pt x="10305" y="12827"/>
                  <a:pt x="10315" y="13237"/>
                </a:cubicBezTo>
                <a:lnTo>
                  <a:pt x="10318" y="13355"/>
                </a:lnTo>
                <a:lnTo>
                  <a:pt x="11407" y="13355"/>
                </a:lnTo>
                <a:lnTo>
                  <a:pt x="11410" y="13237"/>
                </a:lnTo>
                <a:cubicBezTo>
                  <a:pt x="11418" y="12838"/>
                  <a:pt x="11436" y="12531"/>
                  <a:pt x="11463" y="12322"/>
                </a:cubicBezTo>
                <a:cubicBezTo>
                  <a:pt x="11488" y="12125"/>
                  <a:pt x="11538" y="11956"/>
                  <a:pt x="11611" y="11821"/>
                </a:cubicBezTo>
                <a:cubicBezTo>
                  <a:pt x="11687" y="11684"/>
                  <a:pt x="11803" y="11541"/>
                  <a:pt x="11959" y="11399"/>
                </a:cubicBezTo>
                <a:cubicBezTo>
                  <a:pt x="12127" y="11245"/>
                  <a:pt x="12351" y="11031"/>
                  <a:pt x="12630" y="10762"/>
                </a:cubicBezTo>
                <a:cubicBezTo>
                  <a:pt x="12979" y="10441"/>
                  <a:pt x="13270" y="10102"/>
                  <a:pt x="13495" y="9753"/>
                </a:cubicBezTo>
                <a:cubicBezTo>
                  <a:pt x="13729" y="9393"/>
                  <a:pt x="13847" y="8952"/>
                  <a:pt x="13847" y="8439"/>
                </a:cubicBezTo>
                <a:cubicBezTo>
                  <a:pt x="13847" y="8038"/>
                  <a:pt x="13770" y="7675"/>
                  <a:pt x="13618" y="7362"/>
                </a:cubicBezTo>
                <a:cubicBezTo>
                  <a:pt x="13467" y="7050"/>
                  <a:pt x="13256" y="6780"/>
                  <a:pt x="12991" y="6559"/>
                </a:cubicBezTo>
                <a:moveTo>
                  <a:pt x="10179" y="15706"/>
                </a:moveTo>
                <a:lnTo>
                  <a:pt x="11558" y="15706"/>
                </a:lnTo>
                <a:lnTo>
                  <a:pt x="11558" y="14072"/>
                </a:lnTo>
                <a:lnTo>
                  <a:pt x="10179" y="14072"/>
                </a:lnTo>
                <a:cubicBezTo>
                  <a:pt x="10179" y="14072"/>
                  <a:pt x="10179" y="15706"/>
                  <a:pt x="10179" y="15706"/>
                </a:cubicBezTo>
                <a:close/>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4"/>
                  <a:pt x="4835" y="21600"/>
                  <a:pt x="10800" y="21600"/>
                </a:cubicBezTo>
                <a:cubicBezTo>
                  <a:pt x="16764" y="21600"/>
                  <a:pt x="21600" y="16764"/>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8" name="Shape 2558"/>
          <p:cNvSpPr/>
          <p:nvPr/>
        </p:nvSpPr>
        <p:spPr>
          <a:xfrm>
            <a:off x="1860482"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782" y="5891"/>
                </a:moveTo>
                <a:lnTo>
                  <a:pt x="9818" y="5891"/>
                </a:lnTo>
                <a:cubicBezTo>
                  <a:pt x="9547" y="5891"/>
                  <a:pt x="9327" y="6111"/>
                  <a:pt x="9327" y="6382"/>
                </a:cubicBezTo>
                <a:cubicBezTo>
                  <a:pt x="9327" y="6394"/>
                  <a:pt x="9334" y="6405"/>
                  <a:pt x="9334" y="6417"/>
                </a:cubicBezTo>
                <a:lnTo>
                  <a:pt x="9328" y="6417"/>
                </a:lnTo>
                <a:lnTo>
                  <a:pt x="9819" y="12308"/>
                </a:lnTo>
                <a:lnTo>
                  <a:pt x="9825" y="12307"/>
                </a:lnTo>
                <a:cubicBezTo>
                  <a:pt x="9844" y="12562"/>
                  <a:pt x="10050" y="12764"/>
                  <a:pt x="10309" y="12764"/>
                </a:cubicBezTo>
                <a:lnTo>
                  <a:pt x="11291" y="12764"/>
                </a:lnTo>
                <a:cubicBezTo>
                  <a:pt x="11550" y="12764"/>
                  <a:pt x="11756" y="12562"/>
                  <a:pt x="11775" y="12307"/>
                </a:cubicBezTo>
                <a:lnTo>
                  <a:pt x="11781" y="12308"/>
                </a:lnTo>
                <a:lnTo>
                  <a:pt x="12272" y="6417"/>
                </a:lnTo>
                <a:lnTo>
                  <a:pt x="12266" y="6417"/>
                </a:lnTo>
                <a:cubicBezTo>
                  <a:pt x="12267" y="6405"/>
                  <a:pt x="12273" y="6394"/>
                  <a:pt x="12273" y="6382"/>
                </a:cubicBezTo>
                <a:cubicBezTo>
                  <a:pt x="12273" y="6111"/>
                  <a:pt x="12053" y="5891"/>
                  <a:pt x="11782" y="5891"/>
                </a:cubicBezTo>
                <a:moveTo>
                  <a:pt x="10800" y="13745"/>
                </a:moveTo>
                <a:cubicBezTo>
                  <a:pt x="10258" y="13745"/>
                  <a:pt x="9818" y="14186"/>
                  <a:pt x="9818" y="14727"/>
                </a:cubicBezTo>
                <a:cubicBezTo>
                  <a:pt x="9818" y="15269"/>
                  <a:pt x="10258" y="15709"/>
                  <a:pt x="10800" y="15709"/>
                </a:cubicBezTo>
                <a:cubicBezTo>
                  <a:pt x="11342" y="15709"/>
                  <a:pt x="11782" y="15269"/>
                  <a:pt x="11782" y="14727"/>
                </a:cubicBezTo>
                <a:cubicBezTo>
                  <a:pt x="11782" y="14186"/>
                  <a:pt x="11342" y="13745"/>
                  <a:pt x="1080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59" name="Shape 2559"/>
          <p:cNvSpPr/>
          <p:nvPr/>
        </p:nvSpPr>
        <p:spPr>
          <a:xfrm>
            <a:off x="2260427"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0"/>
                  <a:pt x="982" y="16800"/>
                </a:cubicBezTo>
                <a:lnTo>
                  <a:pt x="2455" y="16800"/>
                </a:lnTo>
                <a:cubicBezTo>
                  <a:pt x="2725" y="16800"/>
                  <a:pt x="2945" y="16532"/>
                  <a:pt x="2945" y="16200"/>
                </a:cubicBezTo>
                <a:cubicBezTo>
                  <a:pt x="2945" y="15869"/>
                  <a:pt x="2725" y="15600"/>
                  <a:pt x="2455" y="15600"/>
                </a:cubicBezTo>
                <a:moveTo>
                  <a:pt x="20618" y="20400"/>
                </a:move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0" name="Shape 2560"/>
          <p:cNvSpPr/>
          <p:nvPr/>
        </p:nvSpPr>
        <p:spPr>
          <a:xfrm>
            <a:off x="2660374"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3745"/>
                </a:moveTo>
                <a:cubicBezTo>
                  <a:pt x="2726" y="13745"/>
                  <a:pt x="2945" y="13526"/>
                  <a:pt x="2945" y="13255"/>
                </a:cubicBezTo>
                <a:cubicBezTo>
                  <a:pt x="2945" y="12984"/>
                  <a:pt x="2726" y="12764"/>
                  <a:pt x="2455" y="12764"/>
                </a:cubicBezTo>
                <a:lnTo>
                  <a:pt x="982" y="12764"/>
                </a:lnTo>
                <a:lnTo>
                  <a:pt x="982" y="982"/>
                </a:lnTo>
                <a:lnTo>
                  <a:pt x="16691" y="982"/>
                </a:lnTo>
                <a:lnTo>
                  <a:pt x="16691" y="2455"/>
                </a:lnTo>
                <a:cubicBezTo>
                  <a:pt x="16691" y="2726"/>
                  <a:pt x="16910" y="2945"/>
                  <a:pt x="17182" y="2945"/>
                </a:cubicBezTo>
                <a:cubicBezTo>
                  <a:pt x="17453" y="2945"/>
                  <a:pt x="17673" y="2726"/>
                  <a:pt x="17673" y="2455"/>
                </a:cubicBezTo>
                <a:lnTo>
                  <a:pt x="17673" y="982"/>
                </a:lnTo>
                <a:cubicBezTo>
                  <a:pt x="17673" y="440"/>
                  <a:pt x="17233" y="0"/>
                  <a:pt x="16691" y="0"/>
                </a:cubicBezTo>
                <a:lnTo>
                  <a:pt x="982" y="0"/>
                </a:lnTo>
                <a:cubicBezTo>
                  <a:pt x="440" y="0"/>
                  <a:pt x="0" y="440"/>
                  <a:pt x="0" y="982"/>
                </a:cubicBezTo>
                <a:lnTo>
                  <a:pt x="0" y="16691"/>
                </a:lnTo>
                <a:cubicBezTo>
                  <a:pt x="0" y="17233"/>
                  <a:pt x="440" y="17673"/>
                  <a:pt x="982" y="17673"/>
                </a:cubicBezTo>
                <a:lnTo>
                  <a:pt x="2455" y="17673"/>
                </a:lnTo>
                <a:cubicBezTo>
                  <a:pt x="2726" y="17673"/>
                  <a:pt x="2945" y="17453"/>
                  <a:pt x="2945" y="17182"/>
                </a:cubicBezTo>
                <a:cubicBezTo>
                  <a:pt x="2945" y="16911"/>
                  <a:pt x="2726" y="16691"/>
                  <a:pt x="2455" y="16691"/>
                </a:cubicBezTo>
                <a:lnTo>
                  <a:pt x="982" y="16691"/>
                </a:lnTo>
                <a:lnTo>
                  <a:pt x="982" y="13745"/>
                </a:lnTo>
                <a:cubicBezTo>
                  <a:pt x="982" y="13745"/>
                  <a:pt x="2455" y="13745"/>
                  <a:pt x="2455" y="13745"/>
                </a:cubicBezTo>
                <a:close/>
                <a:moveTo>
                  <a:pt x="20618" y="16691"/>
                </a:moveTo>
                <a:lnTo>
                  <a:pt x="4909" y="16691"/>
                </a:lnTo>
                <a:lnTo>
                  <a:pt x="4909" y="4909"/>
                </a:lnTo>
                <a:lnTo>
                  <a:pt x="20618" y="4909"/>
                </a:lnTo>
                <a:cubicBezTo>
                  <a:pt x="20618" y="4909"/>
                  <a:pt x="20618" y="16691"/>
                  <a:pt x="20618" y="16691"/>
                </a:cubicBezTo>
                <a:close/>
                <a:moveTo>
                  <a:pt x="20618" y="20618"/>
                </a:moveTo>
                <a:lnTo>
                  <a:pt x="4909" y="20618"/>
                </a:lnTo>
                <a:lnTo>
                  <a:pt x="4909" y="17673"/>
                </a:lnTo>
                <a:lnTo>
                  <a:pt x="20618" y="17673"/>
                </a:lnTo>
                <a:cubicBezTo>
                  <a:pt x="20618" y="17673"/>
                  <a:pt x="20618" y="20618"/>
                  <a:pt x="20618" y="20618"/>
                </a:cubicBezTo>
                <a:close/>
                <a:moveTo>
                  <a:pt x="20618" y="3927"/>
                </a:moveTo>
                <a:lnTo>
                  <a:pt x="4909" y="3927"/>
                </a:lnTo>
                <a:cubicBezTo>
                  <a:pt x="4367" y="3927"/>
                  <a:pt x="3927" y="4367"/>
                  <a:pt x="3927" y="4909"/>
                </a:cubicBezTo>
                <a:lnTo>
                  <a:pt x="3927" y="20618"/>
                </a:lnTo>
                <a:cubicBezTo>
                  <a:pt x="3927" y="21160"/>
                  <a:pt x="4367" y="21600"/>
                  <a:pt x="4909" y="21600"/>
                </a:cubicBezTo>
                <a:lnTo>
                  <a:pt x="20618" y="21600"/>
                </a:lnTo>
                <a:cubicBezTo>
                  <a:pt x="21160" y="21600"/>
                  <a:pt x="21600" y="21160"/>
                  <a:pt x="21600" y="20618"/>
                </a:cubicBezTo>
                <a:lnTo>
                  <a:pt x="21600" y="4909"/>
                </a:lnTo>
                <a:cubicBezTo>
                  <a:pt x="21600" y="4367"/>
                  <a:pt x="21160" y="3927"/>
                  <a:pt x="20618"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1" name="Shape 2561"/>
          <p:cNvSpPr/>
          <p:nvPr/>
        </p:nvSpPr>
        <p:spPr>
          <a:xfrm>
            <a:off x="3060320" y="3050967"/>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455" y="3600"/>
                </a:moveTo>
                <a:lnTo>
                  <a:pt x="19145" y="3600"/>
                </a:lnTo>
                <a:cubicBezTo>
                  <a:pt x="19417" y="3600"/>
                  <a:pt x="19636" y="3332"/>
                  <a:pt x="19636" y="3000"/>
                </a:cubicBezTo>
                <a:cubicBezTo>
                  <a:pt x="19636" y="2669"/>
                  <a:pt x="19417" y="2400"/>
                  <a:pt x="19145" y="2400"/>
                </a:cubicBezTo>
                <a:lnTo>
                  <a:pt x="2455" y="2400"/>
                </a:lnTo>
                <a:cubicBezTo>
                  <a:pt x="2183" y="2400"/>
                  <a:pt x="1964" y="2669"/>
                  <a:pt x="1964" y="3000"/>
                </a:cubicBezTo>
                <a:cubicBezTo>
                  <a:pt x="1964" y="3332"/>
                  <a:pt x="2183" y="3600"/>
                  <a:pt x="2455" y="3600"/>
                </a:cubicBezTo>
                <a:moveTo>
                  <a:pt x="20618" y="20400"/>
                </a:moveTo>
                <a:lnTo>
                  <a:pt x="982" y="20400"/>
                </a:lnTo>
                <a:lnTo>
                  <a:pt x="982" y="6000"/>
                </a:lnTo>
                <a:lnTo>
                  <a:pt x="20618" y="6000"/>
                </a:lnTo>
                <a:cubicBezTo>
                  <a:pt x="20618" y="6000"/>
                  <a:pt x="20618" y="20400"/>
                  <a:pt x="20618" y="20400"/>
                </a:cubicBezTo>
                <a:close/>
                <a:moveTo>
                  <a:pt x="20618" y="4800"/>
                </a:moveTo>
                <a:lnTo>
                  <a:pt x="982" y="4800"/>
                </a:lnTo>
                <a:cubicBezTo>
                  <a:pt x="439" y="4800"/>
                  <a:pt x="0" y="5338"/>
                  <a:pt x="0" y="6000"/>
                </a:cubicBezTo>
                <a:lnTo>
                  <a:pt x="0" y="20400"/>
                </a:lnTo>
                <a:cubicBezTo>
                  <a:pt x="0" y="21062"/>
                  <a:pt x="439" y="21600"/>
                  <a:pt x="982" y="21600"/>
                </a:cubicBezTo>
                <a:lnTo>
                  <a:pt x="20618" y="21600"/>
                </a:lnTo>
                <a:cubicBezTo>
                  <a:pt x="21160" y="21600"/>
                  <a:pt x="21600" y="21062"/>
                  <a:pt x="21600" y="20400"/>
                </a:cubicBezTo>
                <a:lnTo>
                  <a:pt x="21600" y="6000"/>
                </a:lnTo>
                <a:cubicBezTo>
                  <a:pt x="21600" y="5338"/>
                  <a:pt x="21160" y="4800"/>
                  <a:pt x="20618" y="4800"/>
                </a:cubicBezTo>
                <a:moveTo>
                  <a:pt x="4418" y="1200"/>
                </a:moveTo>
                <a:lnTo>
                  <a:pt x="17182" y="1200"/>
                </a:lnTo>
                <a:cubicBezTo>
                  <a:pt x="17453" y="1200"/>
                  <a:pt x="17673" y="932"/>
                  <a:pt x="17673" y="600"/>
                </a:cubicBezTo>
                <a:cubicBezTo>
                  <a:pt x="17673" y="269"/>
                  <a:pt x="17453" y="0"/>
                  <a:pt x="17182" y="0"/>
                </a:cubicBezTo>
                <a:lnTo>
                  <a:pt x="4418" y="0"/>
                </a:lnTo>
                <a:cubicBezTo>
                  <a:pt x="4147" y="0"/>
                  <a:pt x="3927" y="269"/>
                  <a:pt x="3927" y="600"/>
                </a:cubicBezTo>
                <a:cubicBezTo>
                  <a:pt x="3927" y="932"/>
                  <a:pt x="4147" y="1200"/>
                  <a:pt x="4418" y="1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2" name="Shape 2562"/>
          <p:cNvSpPr/>
          <p:nvPr/>
        </p:nvSpPr>
        <p:spPr>
          <a:xfrm>
            <a:off x="3460265"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9"/>
                  <a:pt x="19636" y="20619"/>
                </a:cubicBezTo>
                <a:lnTo>
                  <a:pt x="1964" y="20619"/>
                </a:lnTo>
                <a:cubicBezTo>
                  <a:pt x="1421" y="20619"/>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4294" y="17673"/>
                </a:moveTo>
                <a:lnTo>
                  <a:pt x="8376" y="10732"/>
                </a:lnTo>
                <a:lnTo>
                  <a:pt x="10838" y="14425"/>
                </a:lnTo>
                <a:cubicBezTo>
                  <a:pt x="10862" y="14484"/>
                  <a:pt x="10898" y="14536"/>
                  <a:pt x="10942" y="14581"/>
                </a:cubicBezTo>
                <a:lnTo>
                  <a:pt x="10944" y="14583"/>
                </a:lnTo>
                <a:cubicBezTo>
                  <a:pt x="11033" y="14673"/>
                  <a:pt x="11155" y="14727"/>
                  <a:pt x="11291" y="14727"/>
                </a:cubicBezTo>
                <a:cubicBezTo>
                  <a:pt x="11427" y="14727"/>
                  <a:pt x="11549" y="14673"/>
                  <a:pt x="11638" y="14583"/>
                </a:cubicBezTo>
                <a:lnTo>
                  <a:pt x="13686" y="12536"/>
                </a:lnTo>
                <a:lnTo>
                  <a:pt x="17242" y="17673"/>
                </a:lnTo>
                <a:cubicBezTo>
                  <a:pt x="17242" y="17673"/>
                  <a:pt x="4294" y="17673"/>
                  <a:pt x="4294" y="17673"/>
                </a:cubicBezTo>
                <a:close/>
                <a:moveTo>
                  <a:pt x="18620" y="17982"/>
                </a:moveTo>
                <a:lnTo>
                  <a:pt x="18617" y="17978"/>
                </a:lnTo>
                <a:cubicBezTo>
                  <a:pt x="18590" y="17913"/>
                  <a:pt x="18551" y="17858"/>
                  <a:pt x="18501" y="17810"/>
                </a:cubicBezTo>
                <a:lnTo>
                  <a:pt x="14201" y="11600"/>
                </a:lnTo>
                <a:lnTo>
                  <a:pt x="14200" y="11601"/>
                </a:lnTo>
                <a:cubicBezTo>
                  <a:pt x="14127" y="11420"/>
                  <a:pt x="13952" y="11291"/>
                  <a:pt x="13745" y="11291"/>
                </a:cubicBezTo>
                <a:cubicBezTo>
                  <a:pt x="13610" y="11291"/>
                  <a:pt x="13488" y="11346"/>
                  <a:pt x="13398" y="11435"/>
                </a:cubicBezTo>
                <a:lnTo>
                  <a:pt x="11360" y="13473"/>
                </a:lnTo>
                <a:lnTo>
                  <a:pt x="8798" y="9630"/>
                </a:lnTo>
                <a:cubicBezTo>
                  <a:pt x="8724" y="9453"/>
                  <a:pt x="8550" y="9327"/>
                  <a:pt x="8345" y="9327"/>
                </a:cubicBezTo>
                <a:cubicBezTo>
                  <a:pt x="8175" y="9327"/>
                  <a:pt x="8033" y="9420"/>
                  <a:pt x="7945" y="9551"/>
                </a:cubicBezTo>
                <a:lnTo>
                  <a:pt x="7937" y="9546"/>
                </a:lnTo>
                <a:lnTo>
                  <a:pt x="3028" y="17891"/>
                </a:lnTo>
                <a:lnTo>
                  <a:pt x="3036" y="17897"/>
                </a:lnTo>
                <a:cubicBezTo>
                  <a:pt x="2983" y="17974"/>
                  <a:pt x="2945" y="18063"/>
                  <a:pt x="2945" y="18164"/>
                </a:cubicBezTo>
                <a:cubicBezTo>
                  <a:pt x="2945" y="18435"/>
                  <a:pt x="3165" y="18655"/>
                  <a:pt x="3436" y="18655"/>
                </a:cubicBezTo>
                <a:lnTo>
                  <a:pt x="18164" y="18655"/>
                </a:lnTo>
                <a:cubicBezTo>
                  <a:pt x="18435" y="18655"/>
                  <a:pt x="18655" y="18435"/>
                  <a:pt x="18655" y="18164"/>
                </a:cubicBezTo>
                <a:cubicBezTo>
                  <a:pt x="18655" y="18099"/>
                  <a:pt x="18640" y="18039"/>
                  <a:pt x="18618" y="17983"/>
                </a:cubicBezTo>
                <a:cubicBezTo>
                  <a:pt x="18618" y="17983"/>
                  <a:pt x="18620" y="17982"/>
                  <a:pt x="18620" y="17982"/>
                </a:cubicBezTo>
                <a:close/>
                <a:moveTo>
                  <a:pt x="5400" y="3927"/>
                </a:moveTo>
                <a:cubicBezTo>
                  <a:pt x="6213" y="3927"/>
                  <a:pt x="6873" y="4587"/>
                  <a:pt x="6873" y="5400"/>
                </a:cubicBezTo>
                <a:cubicBezTo>
                  <a:pt x="6873" y="6214"/>
                  <a:pt x="6213" y="6873"/>
                  <a:pt x="5400" y="6873"/>
                </a:cubicBezTo>
                <a:cubicBezTo>
                  <a:pt x="4587" y="6873"/>
                  <a:pt x="3927" y="6214"/>
                  <a:pt x="3927" y="5400"/>
                </a:cubicBezTo>
                <a:cubicBezTo>
                  <a:pt x="3927" y="4587"/>
                  <a:pt x="4587" y="3927"/>
                  <a:pt x="5400" y="3927"/>
                </a:cubicBezTo>
                <a:moveTo>
                  <a:pt x="5400" y="7855"/>
                </a:moveTo>
                <a:cubicBezTo>
                  <a:pt x="6756" y="7855"/>
                  <a:pt x="7855" y="6756"/>
                  <a:pt x="7855" y="5400"/>
                </a:cubicBezTo>
                <a:cubicBezTo>
                  <a:pt x="7855" y="4045"/>
                  <a:pt x="6756" y="2945"/>
                  <a:pt x="5400" y="2945"/>
                </a:cubicBezTo>
                <a:cubicBezTo>
                  <a:pt x="4044" y="2945"/>
                  <a:pt x="2945" y="4045"/>
                  <a:pt x="2945" y="5400"/>
                </a:cubicBezTo>
                <a:cubicBezTo>
                  <a:pt x="2945" y="6756"/>
                  <a:pt x="4044" y="7855"/>
                  <a:pt x="54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3" name="Shape 2563"/>
          <p:cNvSpPr/>
          <p:nvPr/>
        </p:nvSpPr>
        <p:spPr>
          <a:xfrm>
            <a:off x="3860211"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0"/>
                </a:moveTo>
                <a:lnTo>
                  <a:pt x="5891" y="0"/>
                </a:lnTo>
                <a:cubicBezTo>
                  <a:pt x="4806" y="0"/>
                  <a:pt x="3927" y="879"/>
                  <a:pt x="3927" y="1964"/>
                </a:cubicBezTo>
                <a:lnTo>
                  <a:pt x="3927" y="2455"/>
                </a:lnTo>
                <a:cubicBezTo>
                  <a:pt x="3927" y="2726"/>
                  <a:pt x="4147" y="2945"/>
                  <a:pt x="4418" y="2945"/>
                </a:cubicBezTo>
                <a:cubicBezTo>
                  <a:pt x="4690"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4" y="16691"/>
                  <a:pt x="18655" y="16911"/>
                  <a:pt x="18655" y="17182"/>
                </a:cubicBezTo>
                <a:cubicBezTo>
                  <a:pt x="18655" y="17453"/>
                  <a:pt x="18874" y="17673"/>
                  <a:pt x="19145" y="17673"/>
                </a:cubicBezTo>
                <a:lnTo>
                  <a:pt x="19636" y="17673"/>
                </a:lnTo>
                <a:cubicBezTo>
                  <a:pt x="20721" y="17673"/>
                  <a:pt x="21600" y="16794"/>
                  <a:pt x="21600" y="15709"/>
                </a:cubicBezTo>
                <a:lnTo>
                  <a:pt x="21600" y="1964"/>
                </a:lnTo>
                <a:cubicBezTo>
                  <a:pt x="21600" y="879"/>
                  <a:pt x="20721" y="0"/>
                  <a:pt x="19636" y="0"/>
                </a:cubicBezTo>
                <a:moveTo>
                  <a:pt x="4354" y="17673"/>
                </a:moveTo>
                <a:lnTo>
                  <a:pt x="7369" y="13149"/>
                </a:lnTo>
                <a:lnTo>
                  <a:pt x="8875" y="15407"/>
                </a:lnTo>
                <a:cubicBezTo>
                  <a:pt x="8949" y="15584"/>
                  <a:pt x="9123" y="15709"/>
                  <a:pt x="9327" y="15709"/>
                </a:cubicBezTo>
                <a:cubicBezTo>
                  <a:pt x="9463" y="15709"/>
                  <a:pt x="9586" y="15655"/>
                  <a:pt x="9674" y="15565"/>
                </a:cubicBezTo>
                <a:lnTo>
                  <a:pt x="11198" y="14042"/>
                </a:lnTo>
                <a:lnTo>
                  <a:pt x="13376" y="17673"/>
                </a:lnTo>
                <a:cubicBezTo>
                  <a:pt x="13376" y="17673"/>
                  <a:pt x="4354" y="17673"/>
                  <a:pt x="4354" y="17673"/>
                </a:cubicBezTo>
                <a:close/>
                <a:moveTo>
                  <a:pt x="14692" y="17982"/>
                </a:moveTo>
                <a:lnTo>
                  <a:pt x="14690" y="17977"/>
                </a:lnTo>
                <a:cubicBezTo>
                  <a:pt x="14685" y="17967"/>
                  <a:pt x="14677" y="17959"/>
                  <a:pt x="14673" y="17949"/>
                </a:cubicBezTo>
                <a:lnTo>
                  <a:pt x="11747" y="13073"/>
                </a:lnTo>
                <a:lnTo>
                  <a:pt x="11745" y="13073"/>
                </a:lnTo>
                <a:cubicBezTo>
                  <a:pt x="11673" y="12892"/>
                  <a:pt x="11498" y="12764"/>
                  <a:pt x="11291" y="12764"/>
                </a:cubicBezTo>
                <a:cubicBezTo>
                  <a:pt x="11155" y="12764"/>
                  <a:pt x="11033" y="12819"/>
                  <a:pt x="10944" y="12908"/>
                </a:cubicBezTo>
                <a:lnTo>
                  <a:pt x="9397" y="14454"/>
                </a:lnTo>
                <a:lnTo>
                  <a:pt x="7816" y="12084"/>
                </a:lnTo>
                <a:cubicBezTo>
                  <a:pt x="7742" y="11907"/>
                  <a:pt x="7568" y="11782"/>
                  <a:pt x="7364" y="11782"/>
                </a:cubicBezTo>
                <a:cubicBezTo>
                  <a:pt x="7193" y="11782"/>
                  <a:pt x="7051" y="11874"/>
                  <a:pt x="6963" y="12006"/>
                </a:cubicBezTo>
                <a:lnTo>
                  <a:pt x="6955" y="12000"/>
                </a:lnTo>
                <a:lnTo>
                  <a:pt x="3028" y="17891"/>
                </a:lnTo>
                <a:lnTo>
                  <a:pt x="3036" y="17897"/>
                </a:lnTo>
                <a:cubicBezTo>
                  <a:pt x="2983" y="17974"/>
                  <a:pt x="2945" y="18063"/>
                  <a:pt x="2945" y="18164"/>
                </a:cubicBezTo>
                <a:cubicBezTo>
                  <a:pt x="2945" y="18435"/>
                  <a:pt x="3165" y="18655"/>
                  <a:pt x="3436" y="18655"/>
                </a:cubicBezTo>
                <a:lnTo>
                  <a:pt x="14236" y="18655"/>
                </a:lnTo>
                <a:cubicBezTo>
                  <a:pt x="14508" y="18655"/>
                  <a:pt x="14727" y="18435"/>
                  <a:pt x="14727" y="18164"/>
                </a:cubicBezTo>
                <a:cubicBezTo>
                  <a:pt x="14727" y="18099"/>
                  <a:pt x="14713" y="18039"/>
                  <a:pt x="14691" y="17983"/>
                </a:cubicBezTo>
                <a:cubicBezTo>
                  <a:pt x="14691" y="17983"/>
                  <a:pt x="14692" y="17982"/>
                  <a:pt x="14692" y="17982"/>
                </a:cubicBezTo>
                <a:close/>
                <a:moveTo>
                  <a:pt x="4909" y="7855"/>
                </a:moveTo>
                <a:cubicBezTo>
                  <a:pt x="5451" y="7855"/>
                  <a:pt x="5891" y="8295"/>
                  <a:pt x="5891" y="8836"/>
                </a:cubicBezTo>
                <a:cubicBezTo>
                  <a:pt x="5891" y="9379"/>
                  <a:pt x="5451" y="9818"/>
                  <a:pt x="4909" y="9818"/>
                </a:cubicBezTo>
                <a:cubicBezTo>
                  <a:pt x="4367" y="9818"/>
                  <a:pt x="3927" y="9379"/>
                  <a:pt x="3927" y="8836"/>
                </a:cubicBezTo>
                <a:cubicBezTo>
                  <a:pt x="3927" y="8295"/>
                  <a:pt x="4367" y="7855"/>
                  <a:pt x="4909" y="7855"/>
                </a:cubicBezTo>
                <a:moveTo>
                  <a:pt x="4909" y="10800"/>
                </a:moveTo>
                <a:cubicBezTo>
                  <a:pt x="5994" y="10800"/>
                  <a:pt x="6873" y="9921"/>
                  <a:pt x="6873" y="8836"/>
                </a:cubicBezTo>
                <a:cubicBezTo>
                  <a:pt x="6873" y="7752"/>
                  <a:pt x="5994" y="6873"/>
                  <a:pt x="4909" y="6873"/>
                </a:cubicBezTo>
                <a:cubicBezTo>
                  <a:pt x="3825" y="6873"/>
                  <a:pt x="2945" y="7752"/>
                  <a:pt x="2945" y="8836"/>
                </a:cubicBezTo>
                <a:cubicBezTo>
                  <a:pt x="2945" y="9921"/>
                  <a:pt x="3825" y="10800"/>
                  <a:pt x="4909" y="10800"/>
                </a:cubicBezTo>
                <a:moveTo>
                  <a:pt x="16691" y="19636"/>
                </a:moveTo>
                <a:cubicBezTo>
                  <a:pt x="16691" y="20179"/>
                  <a:pt x="16251" y="20619"/>
                  <a:pt x="15709" y="20619"/>
                </a:cubicBezTo>
                <a:lnTo>
                  <a:pt x="1964" y="20619"/>
                </a:lnTo>
                <a:cubicBezTo>
                  <a:pt x="1422" y="20619"/>
                  <a:pt x="982" y="20179"/>
                  <a:pt x="982" y="19636"/>
                </a:cubicBezTo>
                <a:lnTo>
                  <a:pt x="982" y="5891"/>
                </a:lnTo>
                <a:cubicBezTo>
                  <a:pt x="982" y="5349"/>
                  <a:pt x="1422" y="4909"/>
                  <a:pt x="1964" y="4909"/>
                </a:cubicBezTo>
                <a:lnTo>
                  <a:pt x="15709" y="4909"/>
                </a:lnTo>
                <a:cubicBezTo>
                  <a:pt x="16251" y="4909"/>
                  <a:pt x="16691" y="5349"/>
                  <a:pt x="16691" y="5891"/>
                </a:cubicBezTo>
                <a:cubicBezTo>
                  <a:pt x="16691" y="5891"/>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4" name="Shape 2564"/>
          <p:cNvSpPr/>
          <p:nvPr/>
        </p:nvSpPr>
        <p:spPr>
          <a:xfrm>
            <a:off x="4260157" y="303192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10800"/>
                </a:moveTo>
                <a:lnTo>
                  <a:pt x="11782" y="10800"/>
                </a:lnTo>
                <a:lnTo>
                  <a:pt x="11782" y="12764"/>
                </a:lnTo>
                <a:lnTo>
                  <a:pt x="9818" y="12764"/>
                </a:lnTo>
                <a:cubicBezTo>
                  <a:pt x="9818" y="12764"/>
                  <a:pt x="9818" y="10800"/>
                  <a:pt x="9818" y="10800"/>
                </a:cubicBezTo>
                <a:close/>
                <a:moveTo>
                  <a:pt x="9327" y="13745"/>
                </a:moveTo>
                <a:lnTo>
                  <a:pt x="12273" y="13745"/>
                </a:lnTo>
                <a:cubicBezTo>
                  <a:pt x="12544" y="13745"/>
                  <a:pt x="12764" y="13526"/>
                  <a:pt x="12764" y="13255"/>
                </a:cubicBezTo>
                <a:lnTo>
                  <a:pt x="12764" y="10309"/>
                </a:lnTo>
                <a:cubicBezTo>
                  <a:pt x="12764" y="10038"/>
                  <a:pt x="12544" y="9818"/>
                  <a:pt x="12273" y="9818"/>
                </a:cubicBezTo>
                <a:lnTo>
                  <a:pt x="9327" y="9818"/>
                </a:lnTo>
                <a:cubicBezTo>
                  <a:pt x="9056" y="9818"/>
                  <a:pt x="8836" y="10038"/>
                  <a:pt x="8836" y="10309"/>
                </a:cubicBezTo>
                <a:lnTo>
                  <a:pt x="8836" y="13255"/>
                </a:lnTo>
                <a:cubicBezTo>
                  <a:pt x="8836" y="13526"/>
                  <a:pt x="9056" y="13745"/>
                  <a:pt x="9327" y="13745"/>
                </a:cubicBezTo>
                <a:moveTo>
                  <a:pt x="14727" y="15709"/>
                </a:moveTo>
                <a:lnTo>
                  <a:pt x="16691" y="15709"/>
                </a:lnTo>
                <a:lnTo>
                  <a:pt x="16691" y="17673"/>
                </a:lnTo>
                <a:lnTo>
                  <a:pt x="14727" y="17673"/>
                </a:lnTo>
                <a:cubicBezTo>
                  <a:pt x="14727" y="17673"/>
                  <a:pt x="14727" y="15709"/>
                  <a:pt x="14727" y="15709"/>
                </a:cubicBezTo>
                <a:close/>
                <a:moveTo>
                  <a:pt x="14236" y="18655"/>
                </a:moveTo>
                <a:lnTo>
                  <a:pt x="17182" y="18655"/>
                </a:lnTo>
                <a:cubicBezTo>
                  <a:pt x="17453" y="18655"/>
                  <a:pt x="17673" y="18435"/>
                  <a:pt x="17673" y="18164"/>
                </a:cubicBezTo>
                <a:lnTo>
                  <a:pt x="17673" y="15218"/>
                </a:lnTo>
                <a:cubicBezTo>
                  <a:pt x="17673" y="14947"/>
                  <a:pt x="17453" y="14727"/>
                  <a:pt x="17182" y="14727"/>
                </a:cubicBezTo>
                <a:lnTo>
                  <a:pt x="14236" y="14727"/>
                </a:lnTo>
                <a:cubicBezTo>
                  <a:pt x="13965" y="14727"/>
                  <a:pt x="13745" y="14947"/>
                  <a:pt x="13745" y="15218"/>
                </a:cubicBezTo>
                <a:lnTo>
                  <a:pt x="13745" y="18164"/>
                </a:lnTo>
                <a:cubicBezTo>
                  <a:pt x="13745" y="18435"/>
                  <a:pt x="13965" y="18655"/>
                  <a:pt x="14236" y="18655"/>
                </a:cubicBezTo>
                <a:moveTo>
                  <a:pt x="9818" y="5891"/>
                </a:moveTo>
                <a:lnTo>
                  <a:pt x="11782" y="5891"/>
                </a:lnTo>
                <a:lnTo>
                  <a:pt x="11782" y="7855"/>
                </a:lnTo>
                <a:lnTo>
                  <a:pt x="9818" y="7855"/>
                </a:lnTo>
                <a:cubicBezTo>
                  <a:pt x="9818" y="7855"/>
                  <a:pt x="9818" y="5891"/>
                  <a:pt x="9818" y="5891"/>
                </a:cubicBezTo>
                <a:close/>
                <a:moveTo>
                  <a:pt x="9327" y="8836"/>
                </a:moveTo>
                <a:lnTo>
                  <a:pt x="12273" y="8836"/>
                </a:lnTo>
                <a:cubicBezTo>
                  <a:pt x="12544" y="8836"/>
                  <a:pt x="12764" y="8617"/>
                  <a:pt x="12764" y="8345"/>
                </a:cubicBezTo>
                <a:lnTo>
                  <a:pt x="12764" y="5400"/>
                </a:lnTo>
                <a:cubicBezTo>
                  <a:pt x="12764" y="5129"/>
                  <a:pt x="12544" y="4909"/>
                  <a:pt x="12273" y="4909"/>
                </a:cubicBezTo>
                <a:lnTo>
                  <a:pt x="9327" y="4909"/>
                </a:lnTo>
                <a:cubicBezTo>
                  <a:pt x="9056" y="4909"/>
                  <a:pt x="8836" y="5129"/>
                  <a:pt x="8836" y="5400"/>
                </a:cubicBezTo>
                <a:lnTo>
                  <a:pt x="8836" y="8345"/>
                </a:lnTo>
                <a:cubicBezTo>
                  <a:pt x="8836" y="8617"/>
                  <a:pt x="9056" y="8836"/>
                  <a:pt x="9327" y="8836"/>
                </a:cubicBezTo>
                <a:moveTo>
                  <a:pt x="4909" y="15709"/>
                </a:moveTo>
                <a:lnTo>
                  <a:pt x="6873" y="15709"/>
                </a:lnTo>
                <a:lnTo>
                  <a:pt x="6873" y="17673"/>
                </a:lnTo>
                <a:lnTo>
                  <a:pt x="4909" y="17673"/>
                </a:lnTo>
                <a:cubicBezTo>
                  <a:pt x="4909" y="17673"/>
                  <a:pt x="4909" y="15709"/>
                  <a:pt x="4909" y="15709"/>
                </a:cubicBezTo>
                <a:close/>
                <a:moveTo>
                  <a:pt x="4418" y="18655"/>
                </a:moveTo>
                <a:lnTo>
                  <a:pt x="7364" y="18655"/>
                </a:lnTo>
                <a:cubicBezTo>
                  <a:pt x="7635" y="18655"/>
                  <a:pt x="7855" y="18435"/>
                  <a:pt x="7855" y="18164"/>
                </a:cubicBezTo>
                <a:lnTo>
                  <a:pt x="7855" y="15218"/>
                </a:lnTo>
                <a:cubicBezTo>
                  <a:pt x="7855" y="14947"/>
                  <a:pt x="7635" y="14727"/>
                  <a:pt x="7364" y="14727"/>
                </a:cubicBezTo>
                <a:lnTo>
                  <a:pt x="4418" y="14727"/>
                </a:lnTo>
                <a:cubicBezTo>
                  <a:pt x="4147" y="14727"/>
                  <a:pt x="3927" y="14947"/>
                  <a:pt x="3927" y="15218"/>
                </a:cubicBezTo>
                <a:lnTo>
                  <a:pt x="3927" y="18164"/>
                </a:lnTo>
                <a:cubicBezTo>
                  <a:pt x="3927" y="18435"/>
                  <a:pt x="4147" y="18655"/>
                  <a:pt x="4418" y="18655"/>
                </a:cubicBezTo>
                <a:moveTo>
                  <a:pt x="14727" y="10800"/>
                </a:moveTo>
                <a:lnTo>
                  <a:pt x="16691" y="10800"/>
                </a:lnTo>
                <a:lnTo>
                  <a:pt x="16691" y="12764"/>
                </a:lnTo>
                <a:lnTo>
                  <a:pt x="14727" y="12764"/>
                </a:lnTo>
                <a:cubicBezTo>
                  <a:pt x="14727" y="12764"/>
                  <a:pt x="14727" y="10800"/>
                  <a:pt x="14727" y="10800"/>
                </a:cubicBezTo>
                <a:close/>
                <a:moveTo>
                  <a:pt x="14236" y="13745"/>
                </a:moveTo>
                <a:lnTo>
                  <a:pt x="17182" y="13745"/>
                </a:lnTo>
                <a:cubicBezTo>
                  <a:pt x="17453" y="13745"/>
                  <a:pt x="17673" y="13526"/>
                  <a:pt x="17673" y="13255"/>
                </a:cubicBezTo>
                <a:lnTo>
                  <a:pt x="17673" y="10309"/>
                </a:lnTo>
                <a:cubicBezTo>
                  <a:pt x="17673" y="10038"/>
                  <a:pt x="17453" y="9818"/>
                  <a:pt x="17182" y="9818"/>
                </a:cubicBezTo>
                <a:lnTo>
                  <a:pt x="14236" y="9818"/>
                </a:lnTo>
                <a:cubicBezTo>
                  <a:pt x="13965" y="9818"/>
                  <a:pt x="13745" y="10038"/>
                  <a:pt x="13745" y="10309"/>
                </a:cubicBezTo>
                <a:lnTo>
                  <a:pt x="13745" y="13255"/>
                </a:lnTo>
                <a:cubicBezTo>
                  <a:pt x="13745" y="13526"/>
                  <a:pt x="13965" y="13745"/>
                  <a:pt x="14236" y="13745"/>
                </a:cubicBezTo>
                <a:moveTo>
                  <a:pt x="4909" y="10800"/>
                </a:moveTo>
                <a:lnTo>
                  <a:pt x="6873" y="10800"/>
                </a:lnTo>
                <a:lnTo>
                  <a:pt x="6873" y="12764"/>
                </a:lnTo>
                <a:lnTo>
                  <a:pt x="4909" y="12764"/>
                </a:lnTo>
                <a:cubicBezTo>
                  <a:pt x="4909" y="12764"/>
                  <a:pt x="4909" y="10800"/>
                  <a:pt x="4909" y="10800"/>
                </a:cubicBezTo>
                <a:close/>
                <a:moveTo>
                  <a:pt x="4418" y="13745"/>
                </a:moveTo>
                <a:lnTo>
                  <a:pt x="7364" y="13745"/>
                </a:lnTo>
                <a:cubicBezTo>
                  <a:pt x="7635" y="13745"/>
                  <a:pt x="7855" y="13526"/>
                  <a:pt x="7855" y="13255"/>
                </a:cubicBezTo>
                <a:lnTo>
                  <a:pt x="7855" y="10309"/>
                </a:lnTo>
                <a:cubicBezTo>
                  <a:pt x="7855" y="10038"/>
                  <a:pt x="7635" y="9818"/>
                  <a:pt x="7364" y="9818"/>
                </a:cubicBezTo>
                <a:lnTo>
                  <a:pt x="4418" y="9818"/>
                </a:lnTo>
                <a:cubicBezTo>
                  <a:pt x="4147" y="9818"/>
                  <a:pt x="3927" y="10038"/>
                  <a:pt x="3927" y="10309"/>
                </a:cubicBezTo>
                <a:lnTo>
                  <a:pt x="3927" y="13255"/>
                </a:lnTo>
                <a:cubicBezTo>
                  <a:pt x="3927" y="13526"/>
                  <a:pt x="4147" y="13745"/>
                  <a:pt x="4418" y="13745"/>
                </a:cubicBezTo>
                <a:moveTo>
                  <a:pt x="4909" y="5891"/>
                </a:moveTo>
                <a:lnTo>
                  <a:pt x="6873" y="5891"/>
                </a:lnTo>
                <a:lnTo>
                  <a:pt x="6873" y="7855"/>
                </a:lnTo>
                <a:lnTo>
                  <a:pt x="4909" y="7855"/>
                </a:lnTo>
                <a:cubicBezTo>
                  <a:pt x="4909" y="7855"/>
                  <a:pt x="4909" y="5891"/>
                  <a:pt x="4909" y="5891"/>
                </a:cubicBezTo>
                <a:close/>
                <a:moveTo>
                  <a:pt x="4418" y="8836"/>
                </a:moveTo>
                <a:lnTo>
                  <a:pt x="7364" y="8836"/>
                </a:lnTo>
                <a:cubicBezTo>
                  <a:pt x="7635" y="8836"/>
                  <a:pt x="7855" y="8617"/>
                  <a:pt x="7855" y="8345"/>
                </a:cubicBezTo>
                <a:lnTo>
                  <a:pt x="7855" y="5400"/>
                </a:lnTo>
                <a:cubicBezTo>
                  <a:pt x="7855" y="5129"/>
                  <a:pt x="7635" y="4909"/>
                  <a:pt x="7364" y="4909"/>
                </a:cubicBezTo>
                <a:lnTo>
                  <a:pt x="4418" y="4909"/>
                </a:lnTo>
                <a:cubicBezTo>
                  <a:pt x="4147" y="4909"/>
                  <a:pt x="3927" y="5129"/>
                  <a:pt x="3927" y="5400"/>
                </a:cubicBezTo>
                <a:lnTo>
                  <a:pt x="3927" y="8345"/>
                </a:lnTo>
                <a:cubicBezTo>
                  <a:pt x="3927" y="8617"/>
                  <a:pt x="4147" y="8836"/>
                  <a:pt x="4418" y="8836"/>
                </a:cubicBezTo>
                <a:moveTo>
                  <a:pt x="14727" y="5891"/>
                </a:moveTo>
                <a:lnTo>
                  <a:pt x="16691" y="5891"/>
                </a:lnTo>
                <a:lnTo>
                  <a:pt x="16691" y="7855"/>
                </a:lnTo>
                <a:lnTo>
                  <a:pt x="14727" y="7855"/>
                </a:lnTo>
                <a:cubicBezTo>
                  <a:pt x="14727" y="7855"/>
                  <a:pt x="14727" y="5891"/>
                  <a:pt x="14727" y="5891"/>
                </a:cubicBezTo>
                <a:close/>
                <a:moveTo>
                  <a:pt x="14236" y="8836"/>
                </a:moveTo>
                <a:lnTo>
                  <a:pt x="17182" y="8836"/>
                </a:lnTo>
                <a:cubicBezTo>
                  <a:pt x="17453" y="8836"/>
                  <a:pt x="17673" y="8617"/>
                  <a:pt x="17673" y="8345"/>
                </a:cubicBezTo>
                <a:lnTo>
                  <a:pt x="17673" y="5400"/>
                </a:lnTo>
                <a:cubicBezTo>
                  <a:pt x="17673" y="5129"/>
                  <a:pt x="17453" y="4909"/>
                  <a:pt x="17182" y="4909"/>
                </a:cubicBezTo>
                <a:lnTo>
                  <a:pt x="14236" y="4909"/>
                </a:lnTo>
                <a:cubicBezTo>
                  <a:pt x="13965" y="4909"/>
                  <a:pt x="13745" y="5129"/>
                  <a:pt x="13745" y="5400"/>
                </a:cubicBezTo>
                <a:lnTo>
                  <a:pt x="13745" y="8345"/>
                </a:lnTo>
                <a:cubicBezTo>
                  <a:pt x="13745" y="8617"/>
                  <a:pt x="13965" y="8836"/>
                  <a:pt x="14236" y="8836"/>
                </a:cubicBezTo>
                <a:moveTo>
                  <a:pt x="19636" y="1964"/>
                </a:moveTo>
                <a:lnTo>
                  <a:pt x="1964" y="1964"/>
                </a:lnTo>
                <a:lnTo>
                  <a:pt x="1964" y="982"/>
                </a:lnTo>
                <a:lnTo>
                  <a:pt x="19636" y="982"/>
                </a:lnTo>
                <a:cubicBezTo>
                  <a:pt x="19636" y="982"/>
                  <a:pt x="19636" y="1964"/>
                  <a:pt x="19636" y="1964"/>
                </a:cubicBezTo>
                <a:close/>
                <a:moveTo>
                  <a:pt x="19636" y="20618"/>
                </a:moveTo>
                <a:lnTo>
                  <a:pt x="12764" y="20618"/>
                </a:lnTo>
                <a:lnTo>
                  <a:pt x="12764" y="15218"/>
                </a:lnTo>
                <a:cubicBezTo>
                  <a:pt x="12764" y="14947"/>
                  <a:pt x="12544" y="14727"/>
                  <a:pt x="12273" y="14727"/>
                </a:cubicBezTo>
                <a:lnTo>
                  <a:pt x="9327" y="14727"/>
                </a:lnTo>
                <a:cubicBezTo>
                  <a:pt x="9056" y="14727"/>
                  <a:pt x="8836" y="14947"/>
                  <a:pt x="8836" y="15218"/>
                </a:cubicBezTo>
                <a:lnTo>
                  <a:pt x="8836" y="20618"/>
                </a:lnTo>
                <a:lnTo>
                  <a:pt x="1964" y="20618"/>
                </a:lnTo>
                <a:lnTo>
                  <a:pt x="1964" y="2945"/>
                </a:lnTo>
                <a:lnTo>
                  <a:pt x="19636" y="2945"/>
                </a:lnTo>
                <a:cubicBezTo>
                  <a:pt x="19636" y="2945"/>
                  <a:pt x="19636" y="20618"/>
                  <a:pt x="19636" y="20618"/>
                </a:cubicBezTo>
                <a:close/>
                <a:moveTo>
                  <a:pt x="11782" y="20618"/>
                </a:moveTo>
                <a:lnTo>
                  <a:pt x="9818" y="20618"/>
                </a:lnTo>
                <a:lnTo>
                  <a:pt x="9818" y="15709"/>
                </a:lnTo>
                <a:lnTo>
                  <a:pt x="11782" y="15709"/>
                </a:lnTo>
                <a:cubicBezTo>
                  <a:pt x="11782" y="15709"/>
                  <a:pt x="11782" y="20618"/>
                  <a:pt x="11782" y="20618"/>
                </a:cubicBezTo>
                <a:close/>
                <a:moveTo>
                  <a:pt x="21109" y="1964"/>
                </a:moveTo>
                <a:lnTo>
                  <a:pt x="20618" y="1964"/>
                </a:lnTo>
                <a:lnTo>
                  <a:pt x="20618" y="491"/>
                </a:lnTo>
                <a:cubicBezTo>
                  <a:pt x="20618" y="220"/>
                  <a:pt x="20399" y="0"/>
                  <a:pt x="20127" y="0"/>
                </a:cubicBezTo>
                <a:lnTo>
                  <a:pt x="1473" y="0"/>
                </a:lnTo>
                <a:cubicBezTo>
                  <a:pt x="1201" y="0"/>
                  <a:pt x="982" y="220"/>
                  <a:pt x="982" y="491"/>
                </a:cubicBezTo>
                <a:lnTo>
                  <a:pt x="982" y="1964"/>
                </a:lnTo>
                <a:lnTo>
                  <a:pt x="491" y="1964"/>
                </a:lnTo>
                <a:cubicBezTo>
                  <a:pt x="220" y="1964"/>
                  <a:pt x="0" y="2184"/>
                  <a:pt x="0" y="2455"/>
                </a:cubicBezTo>
                <a:cubicBezTo>
                  <a:pt x="0" y="2726"/>
                  <a:pt x="220" y="2945"/>
                  <a:pt x="491" y="2945"/>
                </a:cubicBezTo>
                <a:lnTo>
                  <a:pt x="982" y="2945"/>
                </a:lnTo>
                <a:lnTo>
                  <a:pt x="982" y="21109"/>
                </a:lnTo>
                <a:cubicBezTo>
                  <a:pt x="982" y="21381"/>
                  <a:pt x="1201" y="21600"/>
                  <a:pt x="1473" y="21600"/>
                </a:cubicBezTo>
                <a:lnTo>
                  <a:pt x="20127" y="21600"/>
                </a:lnTo>
                <a:cubicBezTo>
                  <a:pt x="20399" y="21600"/>
                  <a:pt x="20618" y="21381"/>
                  <a:pt x="20618" y="21109"/>
                </a:cubicBezTo>
                <a:lnTo>
                  <a:pt x="20618" y="2945"/>
                </a:lnTo>
                <a:lnTo>
                  <a:pt x="21109" y="2945"/>
                </a:lnTo>
                <a:cubicBezTo>
                  <a:pt x="21380" y="2945"/>
                  <a:pt x="21600" y="2726"/>
                  <a:pt x="21600" y="2455"/>
                </a:cubicBezTo>
                <a:cubicBezTo>
                  <a:pt x="21600" y="2184"/>
                  <a:pt x="21380" y="1964"/>
                  <a:pt x="21109"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5" name="Shape 2565"/>
          <p:cNvSpPr/>
          <p:nvPr/>
        </p:nvSpPr>
        <p:spPr>
          <a:xfrm>
            <a:off x="660644" y="3450913"/>
            <a:ext cx="209495" cy="171411"/>
          </a:xfrm>
          <a:custGeom>
            <a:avLst/>
            <a:gdLst/>
            <a:ahLst/>
            <a:cxnLst>
              <a:cxn ang="0">
                <a:pos x="wd2" y="hd2"/>
              </a:cxn>
              <a:cxn ang="5400000">
                <a:pos x="wd2" y="hd2"/>
              </a:cxn>
              <a:cxn ang="10800000">
                <a:pos x="wd2" y="hd2"/>
              </a:cxn>
              <a:cxn ang="16200000">
                <a:pos x="wd2" y="hd2"/>
              </a:cxn>
            </a:cxnLst>
            <a:rect l="0" t="0" r="r" b="b"/>
            <a:pathLst>
              <a:path w="21600" h="21600" extrusionOk="0">
                <a:moveTo>
                  <a:pt x="7855" y="8400"/>
                </a:moveTo>
                <a:lnTo>
                  <a:pt x="13745" y="8400"/>
                </a:lnTo>
                <a:lnTo>
                  <a:pt x="13745" y="9600"/>
                </a:lnTo>
                <a:lnTo>
                  <a:pt x="7855" y="9600"/>
                </a:lnTo>
                <a:cubicBezTo>
                  <a:pt x="7855" y="9600"/>
                  <a:pt x="7855" y="8400"/>
                  <a:pt x="7855" y="8400"/>
                </a:cubicBezTo>
                <a:close/>
                <a:moveTo>
                  <a:pt x="7855" y="10800"/>
                </a:moveTo>
                <a:lnTo>
                  <a:pt x="13745" y="10800"/>
                </a:lnTo>
                <a:cubicBezTo>
                  <a:pt x="14287" y="10800"/>
                  <a:pt x="14727" y="10262"/>
                  <a:pt x="14727" y="9600"/>
                </a:cubicBezTo>
                <a:lnTo>
                  <a:pt x="14727" y="8400"/>
                </a:lnTo>
                <a:cubicBezTo>
                  <a:pt x="14727" y="7737"/>
                  <a:pt x="14287" y="7200"/>
                  <a:pt x="13745" y="7200"/>
                </a:cubicBezTo>
                <a:lnTo>
                  <a:pt x="7855" y="7200"/>
                </a:lnTo>
                <a:cubicBezTo>
                  <a:pt x="7313" y="7200"/>
                  <a:pt x="6873" y="7737"/>
                  <a:pt x="6873" y="8400"/>
                </a:cubicBezTo>
                <a:lnTo>
                  <a:pt x="6873" y="9600"/>
                </a:lnTo>
                <a:cubicBezTo>
                  <a:pt x="6873" y="10262"/>
                  <a:pt x="7313" y="10800"/>
                  <a:pt x="7855" y="10800"/>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6" name="Shape 2566"/>
          <p:cNvSpPr/>
          <p:nvPr/>
        </p:nvSpPr>
        <p:spPr>
          <a:xfrm>
            <a:off x="1060590" y="3450914"/>
            <a:ext cx="209495" cy="171413"/>
          </a:xfrm>
          <a:custGeom>
            <a:avLst/>
            <a:gdLst/>
            <a:ahLst/>
            <a:cxnLst>
              <a:cxn ang="0">
                <a:pos x="wd2" y="hd2"/>
              </a:cxn>
              <a:cxn ang="5400000">
                <a:pos x="wd2" y="hd2"/>
              </a:cxn>
              <a:cxn ang="10800000">
                <a:pos x="wd2" y="hd2"/>
              </a:cxn>
              <a:cxn ang="16200000">
                <a:pos x="wd2" y="hd2"/>
              </a:cxn>
            </a:cxnLst>
            <a:rect l="0" t="0" r="r" b="b"/>
            <a:pathLst>
              <a:path w="21600" h="21600" extrusionOk="0">
                <a:moveTo>
                  <a:pt x="6382" y="12000"/>
                </a:moveTo>
                <a:cubicBezTo>
                  <a:pt x="6653" y="12000"/>
                  <a:pt x="6873" y="12268"/>
                  <a:pt x="6873" y="12599"/>
                </a:cubicBezTo>
                <a:cubicBezTo>
                  <a:pt x="6873" y="12931"/>
                  <a:pt x="6653" y="13199"/>
                  <a:pt x="6382" y="13199"/>
                </a:cubicBezTo>
                <a:cubicBezTo>
                  <a:pt x="6111" y="13199"/>
                  <a:pt x="5891" y="12931"/>
                  <a:pt x="5891" y="12599"/>
                </a:cubicBezTo>
                <a:cubicBezTo>
                  <a:pt x="5891" y="12268"/>
                  <a:pt x="6111" y="12000"/>
                  <a:pt x="6382" y="12000"/>
                </a:cubicBezTo>
                <a:moveTo>
                  <a:pt x="6382" y="14399"/>
                </a:moveTo>
                <a:cubicBezTo>
                  <a:pt x="7195" y="14399"/>
                  <a:pt x="7855" y="13594"/>
                  <a:pt x="7855" y="12599"/>
                </a:cubicBezTo>
                <a:cubicBezTo>
                  <a:pt x="7855" y="11606"/>
                  <a:pt x="7195" y="10800"/>
                  <a:pt x="6382" y="10800"/>
                </a:cubicBezTo>
                <a:cubicBezTo>
                  <a:pt x="5568" y="10800"/>
                  <a:pt x="4909" y="11606"/>
                  <a:pt x="4909" y="12599"/>
                </a:cubicBezTo>
                <a:cubicBezTo>
                  <a:pt x="4909" y="13594"/>
                  <a:pt x="5568" y="14399"/>
                  <a:pt x="6382" y="14399"/>
                </a:cubicBezTo>
                <a:moveTo>
                  <a:pt x="20618" y="3600"/>
                </a:moveTo>
                <a:lnTo>
                  <a:pt x="982" y="3600"/>
                </a:lnTo>
                <a:lnTo>
                  <a:pt x="982" y="1200"/>
                </a:lnTo>
                <a:lnTo>
                  <a:pt x="20618" y="1200"/>
                </a:lnTo>
                <a:cubicBezTo>
                  <a:pt x="20618" y="1200"/>
                  <a:pt x="20618" y="3600"/>
                  <a:pt x="20618" y="3600"/>
                </a:cubicBezTo>
                <a:close/>
                <a:moveTo>
                  <a:pt x="18655" y="20399"/>
                </a:moveTo>
                <a:lnTo>
                  <a:pt x="2945" y="20399"/>
                </a:lnTo>
                <a:lnTo>
                  <a:pt x="2945" y="4800"/>
                </a:lnTo>
                <a:lnTo>
                  <a:pt x="18655" y="4800"/>
                </a:lnTo>
                <a:cubicBezTo>
                  <a:pt x="18655" y="4800"/>
                  <a:pt x="18655" y="20399"/>
                  <a:pt x="18655" y="20399"/>
                </a:cubicBezTo>
                <a:close/>
                <a:moveTo>
                  <a:pt x="20618" y="0"/>
                </a:moveTo>
                <a:lnTo>
                  <a:pt x="982" y="0"/>
                </a:lnTo>
                <a:cubicBezTo>
                  <a:pt x="440" y="0"/>
                  <a:pt x="0" y="538"/>
                  <a:pt x="0" y="1200"/>
                </a:cubicBezTo>
                <a:lnTo>
                  <a:pt x="0" y="3600"/>
                </a:lnTo>
                <a:cubicBezTo>
                  <a:pt x="0" y="4263"/>
                  <a:pt x="440" y="4800"/>
                  <a:pt x="982" y="4800"/>
                </a:cubicBezTo>
                <a:lnTo>
                  <a:pt x="1964" y="4800"/>
                </a:lnTo>
                <a:lnTo>
                  <a:pt x="1964" y="20399"/>
                </a:lnTo>
                <a:cubicBezTo>
                  <a:pt x="1964" y="21062"/>
                  <a:pt x="2403" y="21600"/>
                  <a:pt x="2945" y="21600"/>
                </a:cubicBezTo>
                <a:lnTo>
                  <a:pt x="18655" y="21600"/>
                </a:lnTo>
                <a:cubicBezTo>
                  <a:pt x="19197" y="21600"/>
                  <a:pt x="19636" y="21062"/>
                  <a:pt x="19636" y="20399"/>
                </a:cubicBezTo>
                <a:lnTo>
                  <a:pt x="19636" y="4800"/>
                </a:lnTo>
                <a:lnTo>
                  <a:pt x="20618" y="4800"/>
                </a:lnTo>
                <a:cubicBezTo>
                  <a:pt x="21160" y="4800"/>
                  <a:pt x="21600" y="4263"/>
                  <a:pt x="21600" y="3600"/>
                </a:cubicBezTo>
                <a:lnTo>
                  <a:pt x="21600" y="1200"/>
                </a:lnTo>
                <a:cubicBezTo>
                  <a:pt x="21600" y="538"/>
                  <a:pt x="21160" y="0"/>
                  <a:pt x="20618" y="0"/>
                </a:cubicBezTo>
                <a:moveTo>
                  <a:pt x="10800" y="12000"/>
                </a:moveTo>
                <a:cubicBezTo>
                  <a:pt x="11071" y="12000"/>
                  <a:pt x="11291" y="12268"/>
                  <a:pt x="11291" y="12599"/>
                </a:cubicBezTo>
                <a:cubicBezTo>
                  <a:pt x="11291" y="12931"/>
                  <a:pt x="11071" y="13199"/>
                  <a:pt x="10800" y="13199"/>
                </a:cubicBezTo>
                <a:cubicBezTo>
                  <a:pt x="10529" y="13199"/>
                  <a:pt x="10309" y="12931"/>
                  <a:pt x="10309" y="12599"/>
                </a:cubicBezTo>
                <a:cubicBezTo>
                  <a:pt x="10309" y="12268"/>
                  <a:pt x="10529" y="12000"/>
                  <a:pt x="10800" y="12000"/>
                </a:cubicBezTo>
                <a:moveTo>
                  <a:pt x="10800" y="14399"/>
                </a:moveTo>
                <a:cubicBezTo>
                  <a:pt x="11614" y="14399"/>
                  <a:pt x="12273" y="13594"/>
                  <a:pt x="12273" y="12599"/>
                </a:cubicBezTo>
                <a:cubicBezTo>
                  <a:pt x="12273" y="11606"/>
                  <a:pt x="11614" y="10800"/>
                  <a:pt x="10800" y="10800"/>
                </a:cubicBezTo>
                <a:cubicBezTo>
                  <a:pt x="9986" y="10800"/>
                  <a:pt x="9327" y="11606"/>
                  <a:pt x="9327" y="12599"/>
                </a:cubicBezTo>
                <a:cubicBezTo>
                  <a:pt x="9327" y="13594"/>
                  <a:pt x="9986" y="14399"/>
                  <a:pt x="10800" y="14399"/>
                </a:cubicBezTo>
                <a:moveTo>
                  <a:pt x="15218" y="12000"/>
                </a:moveTo>
                <a:cubicBezTo>
                  <a:pt x="15489" y="12000"/>
                  <a:pt x="15709" y="12268"/>
                  <a:pt x="15709" y="12599"/>
                </a:cubicBezTo>
                <a:cubicBezTo>
                  <a:pt x="15709" y="12931"/>
                  <a:pt x="15489" y="13199"/>
                  <a:pt x="15218" y="13199"/>
                </a:cubicBezTo>
                <a:cubicBezTo>
                  <a:pt x="14947" y="13199"/>
                  <a:pt x="14727" y="12931"/>
                  <a:pt x="14727" y="12599"/>
                </a:cubicBezTo>
                <a:cubicBezTo>
                  <a:pt x="14727" y="12268"/>
                  <a:pt x="14947" y="12000"/>
                  <a:pt x="15218" y="12000"/>
                </a:cubicBezTo>
                <a:moveTo>
                  <a:pt x="15218" y="14399"/>
                </a:moveTo>
                <a:cubicBezTo>
                  <a:pt x="16032" y="14399"/>
                  <a:pt x="16691" y="13594"/>
                  <a:pt x="16691" y="12599"/>
                </a:cubicBezTo>
                <a:cubicBezTo>
                  <a:pt x="16691" y="11606"/>
                  <a:pt x="16032" y="10800"/>
                  <a:pt x="15218" y="10800"/>
                </a:cubicBezTo>
                <a:cubicBezTo>
                  <a:pt x="14405" y="10800"/>
                  <a:pt x="13745" y="11606"/>
                  <a:pt x="13745" y="12599"/>
                </a:cubicBezTo>
                <a:cubicBezTo>
                  <a:pt x="13745" y="13594"/>
                  <a:pt x="14405" y="14399"/>
                  <a:pt x="15218" y="14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7" name="Shape 2567"/>
          <p:cNvSpPr/>
          <p:nvPr/>
        </p:nvSpPr>
        <p:spPr>
          <a:xfrm>
            <a:off x="1460536"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11782"/>
                </a:moveTo>
                <a:cubicBezTo>
                  <a:pt x="7584" y="11782"/>
                  <a:pt x="7364" y="12001"/>
                  <a:pt x="7364" y="12272"/>
                </a:cubicBezTo>
                <a:cubicBezTo>
                  <a:pt x="7364" y="12408"/>
                  <a:pt x="7419" y="12531"/>
                  <a:pt x="7507" y="12619"/>
                </a:cubicBezTo>
                <a:lnTo>
                  <a:pt x="10453" y="15565"/>
                </a:lnTo>
                <a:cubicBezTo>
                  <a:pt x="10542" y="15654"/>
                  <a:pt x="10665" y="15709"/>
                  <a:pt x="10800" y="15709"/>
                </a:cubicBezTo>
                <a:cubicBezTo>
                  <a:pt x="10935" y="15709"/>
                  <a:pt x="11058" y="15654"/>
                  <a:pt x="11147" y="15565"/>
                </a:cubicBezTo>
                <a:lnTo>
                  <a:pt x="14093" y="12619"/>
                </a:lnTo>
                <a:cubicBezTo>
                  <a:pt x="14181" y="12531"/>
                  <a:pt x="14236" y="12408"/>
                  <a:pt x="14236" y="12272"/>
                </a:cubicBezTo>
                <a:cubicBezTo>
                  <a:pt x="14236" y="12001"/>
                  <a:pt x="14016" y="11782"/>
                  <a:pt x="13745" y="11782"/>
                </a:cubicBezTo>
                <a:cubicBezTo>
                  <a:pt x="13610" y="11782"/>
                  <a:pt x="13487" y="11837"/>
                  <a:pt x="13398" y="11925"/>
                </a:cubicBezTo>
                <a:lnTo>
                  <a:pt x="11291" y="14033"/>
                </a:lnTo>
                <a:lnTo>
                  <a:pt x="11291" y="492"/>
                </a:lnTo>
                <a:lnTo>
                  <a:pt x="11291" y="491"/>
                </a:lnTo>
                <a:cubicBezTo>
                  <a:pt x="11291" y="220"/>
                  <a:pt x="11071" y="0"/>
                  <a:pt x="10800" y="0"/>
                </a:cubicBezTo>
                <a:cubicBezTo>
                  <a:pt x="10529" y="0"/>
                  <a:pt x="10309" y="220"/>
                  <a:pt x="10309" y="491"/>
                </a:cubicBezTo>
                <a:lnTo>
                  <a:pt x="10309" y="14033"/>
                </a:lnTo>
                <a:lnTo>
                  <a:pt x="8202" y="11925"/>
                </a:lnTo>
                <a:cubicBezTo>
                  <a:pt x="8113" y="11837"/>
                  <a:pt x="7990"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8" name="Shape 2568"/>
          <p:cNvSpPr/>
          <p:nvPr/>
        </p:nvSpPr>
        <p:spPr>
          <a:xfrm>
            <a:off x="1860482" y="3431867"/>
            <a:ext cx="209495" cy="209503"/>
          </a:xfrm>
          <a:custGeom>
            <a:avLst/>
            <a:gdLst/>
            <a:ahLst/>
            <a:cxnLst>
              <a:cxn ang="0">
                <a:pos x="wd2" y="hd2"/>
              </a:cxn>
              <a:cxn ang="5400000">
                <a:pos x="wd2" y="hd2"/>
              </a:cxn>
              <a:cxn ang="10800000">
                <a:pos x="wd2" y="hd2"/>
              </a:cxn>
              <a:cxn ang="16200000">
                <a:pos x="wd2" y="hd2"/>
              </a:cxn>
            </a:cxnLst>
            <a:rect l="0" t="0" r="r" b="b"/>
            <a:pathLst>
              <a:path w="21600" h="21600" extrusionOk="0">
                <a:moveTo>
                  <a:pt x="20618" y="4909"/>
                </a:moveTo>
                <a:lnTo>
                  <a:pt x="12764" y="4909"/>
                </a:lnTo>
                <a:cubicBezTo>
                  <a:pt x="12493" y="4909"/>
                  <a:pt x="12273" y="5129"/>
                  <a:pt x="12273" y="5400"/>
                </a:cubicBezTo>
                <a:cubicBezTo>
                  <a:pt x="12273" y="5671"/>
                  <a:pt x="12493" y="5891"/>
                  <a:pt x="12764" y="5891"/>
                </a:cubicBezTo>
                <a:lnTo>
                  <a:pt x="20618" y="5891"/>
                </a:lnTo>
                <a:lnTo>
                  <a:pt x="20618" y="7854"/>
                </a:lnTo>
                <a:lnTo>
                  <a:pt x="12764" y="7854"/>
                </a:lnTo>
                <a:cubicBezTo>
                  <a:pt x="12493" y="7854"/>
                  <a:pt x="12273" y="8074"/>
                  <a:pt x="12273" y="8345"/>
                </a:cubicBezTo>
                <a:cubicBezTo>
                  <a:pt x="12273" y="8617"/>
                  <a:pt x="12493" y="8836"/>
                  <a:pt x="12764" y="8836"/>
                </a:cubicBezTo>
                <a:lnTo>
                  <a:pt x="18655" y="8836"/>
                </a:lnTo>
                <a:lnTo>
                  <a:pt x="18655" y="20617"/>
                </a:lnTo>
                <a:lnTo>
                  <a:pt x="2945" y="20617"/>
                </a:lnTo>
                <a:lnTo>
                  <a:pt x="2945" y="8836"/>
                </a:lnTo>
                <a:lnTo>
                  <a:pt x="8836" y="8836"/>
                </a:lnTo>
                <a:cubicBezTo>
                  <a:pt x="9107" y="8836"/>
                  <a:pt x="9327" y="8617"/>
                  <a:pt x="9327" y="8345"/>
                </a:cubicBezTo>
                <a:cubicBezTo>
                  <a:pt x="9327" y="8074"/>
                  <a:pt x="9107" y="7854"/>
                  <a:pt x="8836" y="7854"/>
                </a:cubicBezTo>
                <a:lnTo>
                  <a:pt x="982" y="7854"/>
                </a:lnTo>
                <a:lnTo>
                  <a:pt x="982" y="5891"/>
                </a:lnTo>
                <a:lnTo>
                  <a:pt x="8836" y="5891"/>
                </a:lnTo>
                <a:cubicBezTo>
                  <a:pt x="9107" y="5891"/>
                  <a:pt x="9327" y="5671"/>
                  <a:pt x="9327" y="5400"/>
                </a:cubicBezTo>
                <a:cubicBezTo>
                  <a:pt x="9327" y="5129"/>
                  <a:pt x="9107" y="4909"/>
                  <a:pt x="8836" y="4909"/>
                </a:cubicBezTo>
                <a:lnTo>
                  <a:pt x="982" y="4909"/>
                </a:lnTo>
                <a:cubicBezTo>
                  <a:pt x="440" y="4909"/>
                  <a:pt x="0" y="5349"/>
                  <a:pt x="0" y="5891"/>
                </a:cubicBezTo>
                <a:lnTo>
                  <a:pt x="0" y="7854"/>
                </a:lnTo>
                <a:cubicBezTo>
                  <a:pt x="0" y="8396"/>
                  <a:pt x="440" y="8836"/>
                  <a:pt x="982" y="8836"/>
                </a:cubicBezTo>
                <a:lnTo>
                  <a:pt x="1964" y="8836"/>
                </a:lnTo>
                <a:lnTo>
                  <a:pt x="1964" y="20617"/>
                </a:lnTo>
                <a:cubicBezTo>
                  <a:pt x="1964" y="21159"/>
                  <a:pt x="2403" y="21600"/>
                  <a:pt x="2945" y="21600"/>
                </a:cubicBezTo>
                <a:lnTo>
                  <a:pt x="18655" y="21600"/>
                </a:lnTo>
                <a:cubicBezTo>
                  <a:pt x="19197" y="21600"/>
                  <a:pt x="19636" y="21159"/>
                  <a:pt x="19636" y="20617"/>
                </a:cubicBezTo>
                <a:lnTo>
                  <a:pt x="19636" y="8836"/>
                </a:lnTo>
                <a:lnTo>
                  <a:pt x="20618" y="8836"/>
                </a:lnTo>
                <a:cubicBezTo>
                  <a:pt x="21160" y="8836"/>
                  <a:pt x="21600" y="8396"/>
                  <a:pt x="21600" y="7854"/>
                </a:cubicBezTo>
                <a:lnTo>
                  <a:pt x="21600" y="5891"/>
                </a:lnTo>
                <a:cubicBezTo>
                  <a:pt x="21600" y="5349"/>
                  <a:pt x="21160" y="4909"/>
                  <a:pt x="20618" y="4909"/>
                </a:cubicBezTo>
                <a:moveTo>
                  <a:pt x="7855" y="3927"/>
                </a:moveTo>
                <a:cubicBezTo>
                  <a:pt x="7990" y="3927"/>
                  <a:pt x="8113" y="3872"/>
                  <a:pt x="8202" y="3784"/>
                </a:cubicBezTo>
                <a:lnTo>
                  <a:pt x="10309" y="1676"/>
                </a:lnTo>
                <a:lnTo>
                  <a:pt x="10309" y="15218"/>
                </a:lnTo>
                <a:lnTo>
                  <a:pt x="10309" y="15218"/>
                </a:lnTo>
                <a:cubicBezTo>
                  <a:pt x="10309" y="15489"/>
                  <a:pt x="10529" y="15709"/>
                  <a:pt x="10800" y="15709"/>
                </a:cubicBezTo>
                <a:cubicBezTo>
                  <a:pt x="11071" y="15709"/>
                  <a:pt x="11291" y="15489"/>
                  <a:pt x="11291" y="15218"/>
                </a:cubicBezTo>
                <a:lnTo>
                  <a:pt x="11291" y="1676"/>
                </a:lnTo>
                <a:lnTo>
                  <a:pt x="13398" y="3784"/>
                </a:lnTo>
                <a:cubicBezTo>
                  <a:pt x="13487" y="3872"/>
                  <a:pt x="13610" y="3927"/>
                  <a:pt x="13745" y="3927"/>
                </a:cubicBezTo>
                <a:cubicBezTo>
                  <a:pt x="14016" y="3927"/>
                  <a:pt x="14236" y="3708"/>
                  <a:pt x="14236" y="3436"/>
                </a:cubicBezTo>
                <a:cubicBezTo>
                  <a:pt x="14236" y="3301"/>
                  <a:pt x="14181" y="3178"/>
                  <a:pt x="14093" y="3089"/>
                </a:cubicBezTo>
                <a:lnTo>
                  <a:pt x="11147" y="144"/>
                </a:lnTo>
                <a:cubicBezTo>
                  <a:pt x="11058" y="55"/>
                  <a:pt x="10935" y="0"/>
                  <a:pt x="10800" y="0"/>
                </a:cubicBezTo>
                <a:cubicBezTo>
                  <a:pt x="10665" y="0"/>
                  <a:pt x="10542" y="55"/>
                  <a:pt x="10453" y="144"/>
                </a:cubicBezTo>
                <a:lnTo>
                  <a:pt x="7507" y="3089"/>
                </a:lnTo>
                <a:cubicBezTo>
                  <a:pt x="7419" y="3178"/>
                  <a:pt x="7364" y="3301"/>
                  <a:pt x="7364" y="3436"/>
                </a:cubicBezTo>
                <a:cubicBezTo>
                  <a:pt x="7364" y="3708"/>
                  <a:pt x="7584" y="3927"/>
                  <a:pt x="7855"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69" name="Shape 2569"/>
          <p:cNvSpPr/>
          <p:nvPr/>
        </p:nvSpPr>
        <p:spPr>
          <a:xfrm>
            <a:off x="2260427" y="3431867"/>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20618" y="8836"/>
                </a:moveTo>
                <a:lnTo>
                  <a:pt x="982" y="8836"/>
                </a:lnTo>
                <a:lnTo>
                  <a:pt x="982" y="6873"/>
                </a:lnTo>
                <a:lnTo>
                  <a:pt x="20618" y="6873"/>
                </a:lnTo>
                <a:cubicBezTo>
                  <a:pt x="20618" y="6873"/>
                  <a:pt x="20618" y="8836"/>
                  <a:pt x="20618" y="8836"/>
                </a:cubicBezTo>
                <a:close/>
                <a:moveTo>
                  <a:pt x="18655" y="20618"/>
                </a:moveTo>
                <a:lnTo>
                  <a:pt x="2945" y="20618"/>
                </a:lnTo>
                <a:lnTo>
                  <a:pt x="2945" y="9818"/>
                </a:lnTo>
                <a:lnTo>
                  <a:pt x="18655" y="9818"/>
                </a:lnTo>
                <a:cubicBezTo>
                  <a:pt x="18655" y="9818"/>
                  <a:pt x="18655" y="20618"/>
                  <a:pt x="18655" y="20618"/>
                </a:cubicBezTo>
                <a:close/>
                <a:moveTo>
                  <a:pt x="3927" y="982"/>
                </a:moveTo>
                <a:lnTo>
                  <a:pt x="11782" y="982"/>
                </a:lnTo>
                <a:lnTo>
                  <a:pt x="11782" y="3436"/>
                </a:lnTo>
                <a:cubicBezTo>
                  <a:pt x="11782" y="3708"/>
                  <a:pt x="12002" y="3927"/>
                  <a:pt x="12273" y="3927"/>
                </a:cubicBezTo>
                <a:lnTo>
                  <a:pt x="14727" y="3927"/>
                </a:lnTo>
                <a:lnTo>
                  <a:pt x="14727" y="5891"/>
                </a:lnTo>
                <a:lnTo>
                  <a:pt x="3927" y="5891"/>
                </a:lnTo>
                <a:cubicBezTo>
                  <a:pt x="3927" y="5891"/>
                  <a:pt x="3927" y="982"/>
                  <a:pt x="3927" y="982"/>
                </a:cubicBezTo>
                <a:close/>
                <a:moveTo>
                  <a:pt x="12764" y="1473"/>
                </a:moveTo>
                <a:lnTo>
                  <a:pt x="14236" y="2945"/>
                </a:lnTo>
                <a:lnTo>
                  <a:pt x="12764" y="2945"/>
                </a:lnTo>
                <a:cubicBezTo>
                  <a:pt x="12764" y="2945"/>
                  <a:pt x="12764" y="1473"/>
                  <a:pt x="12764" y="1473"/>
                </a:cubicBezTo>
                <a:close/>
                <a:moveTo>
                  <a:pt x="17673" y="1964"/>
                </a:moveTo>
                <a:lnTo>
                  <a:pt x="17673" y="5891"/>
                </a:lnTo>
                <a:lnTo>
                  <a:pt x="15709" y="5891"/>
                </a:lnTo>
                <a:lnTo>
                  <a:pt x="15709" y="2945"/>
                </a:lnTo>
                <a:lnTo>
                  <a:pt x="14727" y="1964"/>
                </a:lnTo>
                <a:cubicBezTo>
                  <a:pt x="14727" y="1964"/>
                  <a:pt x="17673" y="1964"/>
                  <a:pt x="17673" y="1964"/>
                </a:cubicBezTo>
                <a:close/>
                <a:moveTo>
                  <a:pt x="20618" y="5891"/>
                </a:moveTo>
                <a:lnTo>
                  <a:pt x="18655" y="5891"/>
                </a:lnTo>
                <a:lnTo>
                  <a:pt x="18655" y="1964"/>
                </a:lnTo>
                <a:cubicBezTo>
                  <a:pt x="18655" y="1422"/>
                  <a:pt x="18215" y="982"/>
                  <a:pt x="17673" y="982"/>
                </a:cubicBezTo>
                <a:lnTo>
                  <a:pt x="13745" y="982"/>
                </a:lnTo>
                <a:lnTo>
                  <a:pt x="12764" y="0"/>
                </a:lnTo>
                <a:lnTo>
                  <a:pt x="3927" y="0"/>
                </a:lnTo>
                <a:cubicBezTo>
                  <a:pt x="3385" y="0"/>
                  <a:pt x="2945" y="440"/>
                  <a:pt x="2945" y="982"/>
                </a:cubicBezTo>
                <a:lnTo>
                  <a:pt x="2945" y="5891"/>
                </a:lnTo>
                <a:lnTo>
                  <a:pt x="982" y="5891"/>
                </a:lnTo>
                <a:cubicBezTo>
                  <a:pt x="440" y="5891"/>
                  <a:pt x="0" y="6331"/>
                  <a:pt x="0" y="6873"/>
                </a:cubicBezTo>
                <a:lnTo>
                  <a:pt x="0" y="8836"/>
                </a:lnTo>
                <a:cubicBezTo>
                  <a:pt x="0" y="9379"/>
                  <a:pt x="440" y="9818"/>
                  <a:pt x="982" y="9818"/>
                </a:cubicBezTo>
                <a:lnTo>
                  <a:pt x="1964" y="9818"/>
                </a:lnTo>
                <a:lnTo>
                  <a:pt x="1964" y="20618"/>
                </a:lnTo>
                <a:cubicBezTo>
                  <a:pt x="1964" y="21160"/>
                  <a:pt x="2403" y="21600"/>
                  <a:pt x="2945" y="21600"/>
                </a:cubicBezTo>
                <a:lnTo>
                  <a:pt x="18655" y="21600"/>
                </a:lnTo>
                <a:cubicBezTo>
                  <a:pt x="19197" y="21600"/>
                  <a:pt x="19636" y="21160"/>
                  <a:pt x="19636" y="20618"/>
                </a:cubicBezTo>
                <a:lnTo>
                  <a:pt x="19636" y="9818"/>
                </a:lnTo>
                <a:lnTo>
                  <a:pt x="20618" y="9818"/>
                </a:lnTo>
                <a:cubicBezTo>
                  <a:pt x="21160" y="9818"/>
                  <a:pt x="21600" y="9379"/>
                  <a:pt x="21600" y="8836"/>
                </a:cubicBezTo>
                <a:lnTo>
                  <a:pt x="21600" y="6873"/>
                </a:lnTo>
                <a:cubicBezTo>
                  <a:pt x="21600" y="6331"/>
                  <a:pt x="21160" y="5891"/>
                  <a:pt x="20618" y="5891"/>
                </a:cubicBezTo>
                <a:moveTo>
                  <a:pt x="7855" y="12763"/>
                </a:moveTo>
                <a:lnTo>
                  <a:pt x="13745" y="12763"/>
                </a:lnTo>
                <a:lnTo>
                  <a:pt x="13745" y="13745"/>
                </a:lnTo>
                <a:lnTo>
                  <a:pt x="7855" y="13745"/>
                </a:lnTo>
                <a:cubicBezTo>
                  <a:pt x="7855" y="13745"/>
                  <a:pt x="7855" y="12763"/>
                  <a:pt x="7855" y="12763"/>
                </a:cubicBezTo>
                <a:close/>
                <a:moveTo>
                  <a:pt x="7855" y="14727"/>
                </a:moveTo>
                <a:lnTo>
                  <a:pt x="13745" y="14727"/>
                </a:lnTo>
                <a:cubicBezTo>
                  <a:pt x="14287" y="14727"/>
                  <a:pt x="14727" y="14287"/>
                  <a:pt x="14727" y="13745"/>
                </a:cubicBezTo>
                <a:lnTo>
                  <a:pt x="14727" y="12763"/>
                </a:lnTo>
                <a:cubicBezTo>
                  <a:pt x="14727" y="12221"/>
                  <a:pt x="14287" y="11782"/>
                  <a:pt x="13745" y="11782"/>
                </a:cubicBezTo>
                <a:lnTo>
                  <a:pt x="7855" y="11782"/>
                </a:lnTo>
                <a:cubicBezTo>
                  <a:pt x="7313" y="11782"/>
                  <a:pt x="6873" y="12221"/>
                  <a:pt x="6873" y="12763"/>
                </a:cubicBezTo>
                <a:lnTo>
                  <a:pt x="6873" y="13745"/>
                </a:lnTo>
                <a:cubicBezTo>
                  <a:pt x="6873" y="14287"/>
                  <a:pt x="7313" y="14727"/>
                  <a:pt x="7855"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0" name="Shape 2570"/>
          <p:cNvSpPr/>
          <p:nvPr/>
        </p:nvSpPr>
        <p:spPr>
          <a:xfrm>
            <a:off x="2660374" y="3436629"/>
            <a:ext cx="209495" cy="204736"/>
          </a:xfrm>
          <a:custGeom>
            <a:avLst/>
            <a:gdLst/>
            <a:ahLst/>
            <a:cxnLst>
              <a:cxn ang="0">
                <a:pos x="wd2" y="hd2"/>
              </a:cxn>
              <a:cxn ang="5400000">
                <a:pos x="wd2" y="hd2"/>
              </a:cxn>
              <a:cxn ang="10800000">
                <a:pos x="wd2" y="hd2"/>
              </a:cxn>
              <a:cxn ang="16200000">
                <a:pos x="wd2" y="hd2"/>
              </a:cxn>
            </a:cxnLst>
            <a:rect l="0" t="0" r="r" b="b"/>
            <a:pathLst>
              <a:path w="21600" h="21319" extrusionOk="0">
                <a:moveTo>
                  <a:pt x="7530" y="4197"/>
                </a:moveTo>
                <a:lnTo>
                  <a:pt x="6680" y="3701"/>
                </a:lnTo>
                <a:lnTo>
                  <a:pt x="6189" y="4560"/>
                </a:lnTo>
                <a:lnTo>
                  <a:pt x="7040" y="5056"/>
                </a:lnTo>
                <a:cubicBezTo>
                  <a:pt x="7040" y="5056"/>
                  <a:pt x="7530" y="4197"/>
                  <a:pt x="7530" y="4197"/>
                </a:cubicBezTo>
                <a:close/>
                <a:moveTo>
                  <a:pt x="8512" y="2479"/>
                </a:moveTo>
                <a:lnTo>
                  <a:pt x="7662" y="1984"/>
                </a:lnTo>
                <a:lnTo>
                  <a:pt x="7171" y="2843"/>
                </a:lnTo>
                <a:lnTo>
                  <a:pt x="8021" y="3339"/>
                </a:lnTo>
                <a:cubicBezTo>
                  <a:pt x="8021" y="3339"/>
                  <a:pt x="8512" y="2479"/>
                  <a:pt x="8512" y="2479"/>
                </a:cubicBezTo>
                <a:close/>
                <a:moveTo>
                  <a:pt x="20618" y="8428"/>
                </a:moveTo>
                <a:lnTo>
                  <a:pt x="982" y="8428"/>
                </a:lnTo>
                <a:lnTo>
                  <a:pt x="982" y="6445"/>
                </a:lnTo>
                <a:lnTo>
                  <a:pt x="20618" y="6445"/>
                </a:lnTo>
                <a:cubicBezTo>
                  <a:pt x="20618" y="6445"/>
                  <a:pt x="20618" y="8428"/>
                  <a:pt x="20618" y="8428"/>
                </a:cubicBezTo>
                <a:close/>
                <a:moveTo>
                  <a:pt x="18655" y="20327"/>
                </a:moveTo>
                <a:lnTo>
                  <a:pt x="2945" y="20327"/>
                </a:lnTo>
                <a:lnTo>
                  <a:pt x="2945" y="9420"/>
                </a:lnTo>
                <a:lnTo>
                  <a:pt x="18655" y="9420"/>
                </a:lnTo>
                <a:cubicBezTo>
                  <a:pt x="18655" y="9420"/>
                  <a:pt x="18655" y="20327"/>
                  <a:pt x="18655" y="20327"/>
                </a:cubicBezTo>
                <a:close/>
                <a:moveTo>
                  <a:pt x="6811" y="1488"/>
                </a:moveTo>
                <a:cubicBezTo>
                  <a:pt x="7083" y="1014"/>
                  <a:pt x="7683" y="851"/>
                  <a:pt x="8153" y="1125"/>
                </a:cubicBezTo>
                <a:lnTo>
                  <a:pt x="9854" y="2117"/>
                </a:lnTo>
                <a:lnTo>
                  <a:pt x="7946" y="5454"/>
                </a:lnTo>
                <a:lnTo>
                  <a:pt x="5759" y="5454"/>
                </a:lnTo>
                <a:lnTo>
                  <a:pt x="5698" y="5419"/>
                </a:lnTo>
                <a:lnTo>
                  <a:pt x="5678" y="5454"/>
                </a:lnTo>
                <a:lnTo>
                  <a:pt x="4545" y="5454"/>
                </a:lnTo>
                <a:cubicBezTo>
                  <a:pt x="4545" y="5454"/>
                  <a:pt x="6811" y="1488"/>
                  <a:pt x="6811" y="1488"/>
                </a:cubicBezTo>
                <a:close/>
                <a:moveTo>
                  <a:pt x="15577" y="5454"/>
                </a:moveTo>
                <a:lnTo>
                  <a:pt x="9079" y="5454"/>
                </a:lnTo>
                <a:lnTo>
                  <a:pt x="10704" y="2612"/>
                </a:lnTo>
                <a:cubicBezTo>
                  <a:pt x="10704" y="2612"/>
                  <a:pt x="15577" y="5454"/>
                  <a:pt x="15577" y="5454"/>
                </a:cubicBezTo>
                <a:close/>
                <a:moveTo>
                  <a:pt x="15930" y="2759"/>
                </a:moveTo>
                <a:cubicBezTo>
                  <a:pt x="16454" y="2617"/>
                  <a:pt x="16991" y="2931"/>
                  <a:pt x="17132" y="3460"/>
                </a:cubicBezTo>
                <a:lnTo>
                  <a:pt x="17661" y="5454"/>
                </a:lnTo>
                <a:lnTo>
                  <a:pt x="17540" y="5454"/>
                </a:lnTo>
                <a:lnTo>
                  <a:pt x="16279" y="4718"/>
                </a:lnTo>
                <a:lnTo>
                  <a:pt x="16438" y="4674"/>
                </a:lnTo>
                <a:lnTo>
                  <a:pt x="16184" y="3716"/>
                </a:lnTo>
                <a:lnTo>
                  <a:pt x="15236" y="3973"/>
                </a:lnTo>
                <a:lnTo>
                  <a:pt x="15279" y="4135"/>
                </a:lnTo>
                <a:lnTo>
                  <a:pt x="14076" y="3434"/>
                </a:lnTo>
                <a:lnTo>
                  <a:pt x="14033" y="3272"/>
                </a:lnTo>
                <a:cubicBezTo>
                  <a:pt x="14033" y="3272"/>
                  <a:pt x="15930" y="2759"/>
                  <a:pt x="15930" y="2759"/>
                </a:cubicBezTo>
                <a:close/>
                <a:moveTo>
                  <a:pt x="20618" y="5454"/>
                </a:moveTo>
                <a:lnTo>
                  <a:pt x="18678" y="5454"/>
                </a:lnTo>
                <a:lnTo>
                  <a:pt x="18081" y="3203"/>
                </a:lnTo>
                <a:cubicBezTo>
                  <a:pt x="17800" y="2145"/>
                  <a:pt x="16724" y="1518"/>
                  <a:pt x="15676" y="1801"/>
                </a:cubicBezTo>
                <a:lnTo>
                  <a:pt x="12671" y="2615"/>
                </a:lnTo>
                <a:lnTo>
                  <a:pt x="8644" y="266"/>
                </a:lnTo>
                <a:cubicBezTo>
                  <a:pt x="7704" y="-281"/>
                  <a:pt x="6504" y="44"/>
                  <a:pt x="5961" y="992"/>
                </a:cubicBezTo>
                <a:lnTo>
                  <a:pt x="3410" y="5454"/>
                </a:lnTo>
                <a:lnTo>
                  <a:pt x="982" y="5454"/>
                </a:lnTo>
                <a:cubicBezTo>
                  <a:pt x="440" y="5454"/>
                  <a:pt x="0" y="5898"/>
                  <a:pt x="0" y="6445"/>
                </a:cubicBezTo>
                <a:lnTo>
                  <a:pt x="0" y="8428"/>
                </a:lnTo>
                <a:cubicBezTo>
                  <a:pt x="0" y="8977"/>
                  <a:pt x="440" y="9420"/>
                  <a:pt x="982" y="9420"/>
                </a:cubicBezTo>
                <a:lnTo>
                  <a:pt x="1964" y="9420"/>
                </a:lnTo>
                <a:lnTo>
                  <a:pt x="1964" y="20327"/>
                </a:lnTo>
                <a:cubicBezTo>
                  <a:pt x="1964" y="20875"/>
                  <a:pt x="2403" y="21319"/>
                  <a:pt x="2945" y="21319"/>
                </a:cubicBezTo>
                <a:lnTo>
                  <a:pt x="18655" y="21319"/>
                </a:lnTo>
                <a:cubicBezTo>
                  <a:pt x="19197" y="21319"/>
                  <a:pt x="19636" y="20875"/>
                  <a:pt x="19636" y="20327"/>
                </a:cubicBezTo>
                <a:lnTo>
                  <a:pt x="19636" y="9420"/>
                </a:lnTo>
                <a:lnTo>
                  <a:pt x="20618" y="9420"/>
                </a:lnTo>
                <a:cubicBezTo>
                  <a:pt x="21160" y="9420"/>
                  <a:pt x="21600" y="8977"/>
                  <a:pt x="21600" y="8428"/>
                </a:cubicBezTo>
                <a:lnTo>
                  <a:pt x="21600" y="6445"/>
                </a:lnTo>
                <a:cubicBezTo>
                  <a:pt x="21600" y="5898"/>
                  <a:pt x="21160" y="5454"/>
                  <a:pt x="20618" y="5454"/>
                </a:cubicBezTo>
                <a:moveTo>
                  <a:pt x="7855" y="12395"/>
                </a:moveTo>
                <a:lnTo>
                  <a:pt x="13745" y="12395"/>
                </a:lnTo>
                <a:lnTo>
                  <a:pt x="13745" y="13386"/>
                </a:lnTo>
                <a:lnTo>
                  <a:pt x="7855" y="13386"/>
                </a:lnTo>
                <a:cubicBezTo>
                  <a:pt x="7855" y="13386"/>
                  <a:pt x="7855" y="12395"/>
                  <a:pt x="7855" y="12395"/>
                </a:cubicBezTo>
                <a:close/>
                <a:moveTo>
                  <a:pt x="7855" y="14378"/>
                </a:moveTo>
                <a:lnTo>
                  <a:pt x="13745" y="14378"/>
                </a:lnTo>
                <a:cubicBezTo>
                  <a:pt x="14288" y="14378"/>
                  <a:pt x="14727" y="13934"/>
                  <a:pt x="14727" y="13386"/>
                </a:cubicBezTo>
                <a:lnTo>
                  <a:pt x="14727" y="12395"/>
                </a:lnTo>
                <a:cubicBezTo>
                  <a:pt x="14727" y="11847"/>
                  <a:pt x="14288" y="11403"/>
                  <a:pt x="13745" y="11403"/>
                </a:cubicBezTo>
                <a:lnTo>
                  <a:pt x="7855" y="11403"/>
                </a:lnTo>
                <a:cubicBezTo>
                  <a:pt x="7312" y="11403"/>
                  <a:pt x="6873" y="11847"/>
                  <a:pt x="6873" y="12395"/>
                </a:cubicBezTo>
                <a:lnTo>
                  <a:pt x="6873" y="13386"/>
                </a:lnTo>
                <a:cubicBezTo>
                  <a:pt x="6873" y="13934"/>
                  <a:pt x="7312" y="14378"/>
                  <a:pt x="7855" y="1437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1" name="Shape 2571"/>
          <p:cNvSpPr/>
          <p:nvPr/>
        </p:nvSpPr>
        <p:spPr>
          <a:xfrm>
            <a:off x="3060320"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2" name="Shape 2572"/>
          <p:cNvSpPr/>
          <p:nvPr/>
        </p:nvSpPr>
        <p:spPr>
          <a:xfrm>
            <a:off x="3460265"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9818" y="8836"/>
                </a:lnTo>
                <a:lnTo>
                  <a:pt x="9818" y="4909"/>
                </a:lnTo>
                <a:cubicBezTo>
                  <a:pt x="9818" y="4638"/>
                  <a:pt x="9599" y="4418"/>
                  <a:pt x="9327" y="4418"/>
                </a:cubicBezTo>
                <a:cubicBezTo>
                  <a:pt x="9056" y="4418"/>
                  <a:pt x="8836" y="4638"/>
                  <a:pt x="8836" y="4909"/>
                </a:cubicBezTo>
                <a:lnTo>
                  <a:pt x="8836" y="8836"/>
                </a:lnTo>
                <a:lnTo>
                  <a:pt x="4909" y="8836"/>
                </a:lnTo>
                <a:cubicBezTo>
                  <a:pt x="4638" y="8836"/>
                  <a:pt x="4418" y="9056"/>
                  <a:pt x="4418" y="9327"/>
                </a:cubicBezTo>
                <a:cubicBezTo>
                  <a:pt x="4418" y="9599"/>
                  <a:pt x="4638" y="9818"/>
                  <a:pt x="4909" y="9818"/>
                </a:cubicBezTo>
                <a:lnTo>
                  <a:pt x="8836" y="9818"/>
                </a:lnTo>
                <a:lnTo>
                  <a:pt x="8836" y="13745"/>
                </a:lnTo>
                <a:cubicBezTo>
                  <a:pt x="8836" y="14017"/>
                  <a:pt x="9056" y="14236"/>
                  <a:pt x="9327" y="14236"/>
                </a:cubicBezTo>
                <a:cubicBezTo>
                  <a:pt x="9599" y="14236"/>
                  <a:pt x="9818" y="14017"/>
                  <a:pt x="9818" y="13745"/>
                </a:cubicBezTo>
                <a:lnTo>
                  <a:pt x="9818" y="9818"/>
                </a:ln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3" name="Shape 2573"/>
          <p:cNvSpPr/>
          <p:nvPr/>
        </p:nvSpPr>
        <p:spPr>
          <a:xfrm>
            <a:off x="3860211" y="343186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17673"/>
                </a:moveTo>
                <a:cubicBezTo>
                  <a:pt x="4718" y="17673"/>
                  <a:pt x="982" y="13936"/>
                  <a:pt x="982" y="9327"/>
                </a:cubicBezTo>
                <a:cubicBezTo>
                  <a:pt x="982" y="4718"/>
                  <a:pt x="4718" y="982"/>
                  <a:pt x="9327" y="982"/>
                </a:cubicBezTo>
                <a:cubicBezTo>
                  <a:pt x="13936" y="982"/>
                  <a:pt x="17673" y="4718"/>
                  <a:pt x="17673" y="9327"/>
                </a:cubicBezTo>
                <a:cubicBezTo>
                  <a:pt x="17673" y="13936"/>
                  <a:pt x="13936" y="17673"/>
                  <a:pt x="9327" y="17673"/>
                </a:cubicBezTo>
                <a:moveTo>
                  <a:pt x="21456" y="20762"/>
                </a:moveTo>
                <a:lnTo>
                  <a:pt x="16253" y="15559"/>
                </a:lnTo>
                <a:cubicBezTo>
                  <a:pt x="17741" y="13907"/>
                  <a:pt x="18655" y="11726"/>
                  <a:pt x="18655" y="9327"/>
                </a:cubicBezTo>
                <a:cubicBezTo>
                  <a:pt x="18655" y="4176"/>
                  <a:pt x="14479" y="0"/>
                  <a:pt x="9327" y="0"/>
                </a:cubicBezTo>
                <a:cubicBezTo>
                  <a:pt x="4176" y="0"/>
                  <a:pt x="0" y="4176"/>
                  <a:pt x="0" y="9327"/>
                </a:cubicBezTo>
                <a:cubicBezTo>
                  <a:pt x="0" y="14479"/>
                  <a:pt x="4176" y="18655"/>
                  <a:pt x="9327" y="18655"/>
                </a:cubicBezTo>
                <a:cubicBezTo>
                  <a:pt x="11726" y="18655"/>
                  <a:pt x="13907" y="17742"/>
                  <a:pt x="15559" y="16253"/>
                </a:cubicBezTo>
                <a:lnTo>
                  <a:pt x="20762" y="21456"/>
                </a:lnTo>
                <a:cubicBezTo>
                  <a:pt x="20851" y="21546"/>
                  <a:pt x="20973" y="21600"/>
                  <a:pt x="21109" y="21600"/>
                </a:cubicBezTo>
                <a:cubicBezTo>
                  <a:pt x="21380" y="21600"/>
                  <a:pt x="21600" y="21381"/>
                  <a:pt x="21600" y="21109"/>
                </a:cubicBezTo>
                <a:cubicBezTo>
                  <a:pt x="21600" y="20974"/>
                  <a:pt x="21545" y="20851"/>
                  <a:pt x="21456" y="20762"/>
                </a:cubicBezTo>
                <a:moveTo>
                  <a:pt x="13745" y="8836"/>
                </a:moveTo>
                <a:lnTo>
                  <a:pt x="4909" y="8836"/>
                </a:lnTo>
                <a:cubicBezTo>
                  <a:pt x="4638" y="8836"/>
                  <a:pt x="4418" y="9056"/>
                  <a:pt x="4418" y="9327"/>
                </a:cubicBezTo>
                <a:cubicBezTo>
                  <a:pt x="4418" y="9599"/>
                  <a:pt x="4638" y="9818"/>
                  <a:pt x="4909" y="9818"/>
                </a:cubicBezTo>
                <a:lnTo>
                  <a:pt x="13745" y="9818"/>
                </a:lnTo>
                <a:cubicBezTo>
                  <a:pt x="14017" y="9818"/>
                  <a:pt x="14236" y="9599"/>
                  <a:pt x="14236" y="9327"/>
                </a:cubicBezTo>
                <a:cubicBezTo>
                  <a:pt x="14236" y="9056"/>
                  <a:pt x="14017" y="8836"/>
                  <a:pt x="1374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4" name="Shape 2574"/>
          <p:cNvSpPr/>
          <p:nvPr/>
        </p:nvSpPr>
        <p:spPr>
          <a:xfrm>
            <a:off x="4269680" y="3431868"/>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32" y="4909"/>
                  <a:pt x="1080" y="4030"/>
                  <a:pt x="1080" y="2945"/>
                </a:cubicBezTo>
                <a:cubicBezTo>
                  <a:pt x="1080" y="1861"/>
                  <a:pt x="5432" y="982"/>
                  <a:pt x="10800" y="982"/>
                </a:cubicBezTo>
                <a:cubicBezTo>
                  <a:pt x="16168" y="982"/>
                  <a:pt x="20520" y="1861"/>
                  <a:pt x="20520" y="2945"/>
                </a:cubicBezTo>
                <a:cubicBezTo>
                  <a:pt x="20520" y="4030"/>
                  <a:pt x="16168" y="4909"/>
                  <a:pt x="10800" y="4909"/>
                </a:cubicBezTo>
                <a:moveTo>
                  <a:pt x="16305" y="8659"/>
                </a:moveTo>
                <a:cubicBezTo>
                  <a:pt x="14130" y="10260"/>
                  <a:pt x="11880" y="11916"/>
                  <a:pt x="11880" y="14727"/>
                </a:cubicBezTo>
                <a:cubicBezTo>
                  <a:pt x="11880" y="17561"/>
                  <a:pt x="11880" y="19270"/>
                  <a:pt x="11642" y="20135"/>
                </a:cubicBezTo>
                <a:cubicBezTo>
                  <a:pt x="11522" y="20573"/>
                  <a:pt x="11509" y="20618"/>
                  <a:pt x="10800" y="20618"/>
                </a:cubicBezTo>
                <a:cubicBezTo>
                  <a:pt x="10091" y="20618"/>
                  <a:pt x="10078" y="20573"/>
                  <a:pt x="9957" y="20135"/>
                </a:cubicBezTo>
                <a:cubicBezTo>
                  <a:pt x="9818" y="19627"/>
                  <a:pt x="9761" y="18820"/>
                  <a:pt x="9738" y="17673"/>
                </a:cubicBezTo>
                <a:lnTo>
                  <a:pt x="10260" y="17673"/>
                </a:lnTo>
                <a:cubicBezTo>
                  <a:pt x="10558" y="17673"/>
                  <a:pt x="10800" y="17453"/>
                  <a:pt x="10800" y="17182"/>
                </a:cubicBezTo>
                <a:cubicBezTo>
                  <a:pt x="10800" y="16911"/>
                  <a:pt x="10558" y="16691"/>
                  <a:pt x="10260" y="16691"/>
                </a:cubicBezTo>
                <a:lnTo>
                  <a:pt x="9724" y="16691"/>
                </a:lnTo>
                <a:cubicBezTo>
                  <a:pt x="9722" y="16381"/>
                  <a:pt x="9721" y="16059"/>
                  <a:pt x="9721" y="15709"/>
                </a:cubicBezTo>
                <a:lnTo>
                  <a:pt x="10260" y="15709"/>
                </a:lnTo>
                <a:cubicBezTo>
                  <a:pt x="10558" y="15709"/>
                  <a:pt x="10800" y="15489"/>
                  <a:pt x="10800" y="15218"/>
                </a:cubicBezTo>
                <a:cubicBezTo>
                  <a:pt x="10800" y="14947"/>
                  <a:pt x="10558" y="14727"/>
                  <a:pt x="10260" y="14727"/>
                </a:cubicBezTo>
                <a:lnTo>
                  <a:pt x="9720" y="14727"/>
                </a:lnTo>
                <a:cubicBezTo>
                  <a:pt x="9720" y="11916"/>
                  <a:pt x="7470" y="10260"/>
                  <a:pt x="5295" y="8659"/>
                </a:cubicBezTo>
                <a:cubicBezTo>
                  <a:pt x="3543" y="7370"/>
                  <a:pt x="1872" y="6139"/>
                  <a:pt x="1294" y="4344"/>
                </a:cubicBezTo>
                <a:cubicBezTo>
                  <a:pt x="3119" y="5266"/>
                  <a:pt x="6691" y="5891"/>
                  <a:pt x="10800" y="5891"/>
                </a:cubicBezTo>
                <a:cubicBezTo>
                  <a:pt x="14905" y="5891"/>
                  <a:pt x="18475" y="5266"/>
                  <a:pt x="20302" y="4347"/>
                </a:cubicBezTo>
                <a:cubicBezTo>
                  <a:pt x="19721" y="6143"/>
                  <a:pt x="18053" y="7373"/>
                  <a:pt x="16305" y="8659"/>
                </a:cubicBezTo>
                <a:moveTo>
                  <a:pt x="10800" y="0"/>
                </a:moveTo>
                <a:cubicBezTo>
                  <a:pt x="4835" y="0"/>
                  <a:pt x="0" y="1319"/>
                  <a:pt x="0" y="2945"/>
                </a:cubicBezTo>
                <a:cubicBezTo>
                  <a:pt x="0" y="8836"/>
                  <a:pt x="8640" y="9818"/>
                  <a:pt x="8640" y="14727"/>
                </a:cubicBezTo>
                <a:lnTo>
                  <a:pt x="8640" y="15217"/>
                </a:lnTo>
                <a:lnTo>
                  <a:pt x="8640" y="15218"/>
                </a:lnTo>
                <a:lnTo>
                  <a:pt x="8640" y="15219"/>
                </a:lnTo>
                <a:cubicBezTo>
                  <a:pt x="8641" y="15938"/>
                  <a:pt x="8642" y="16572"/>
                  <a:pt x="8649" y="17142"/>
                </a:cubicBezTo>
                <a:cubicBezTo>
                  <a:pt x="8647" y="17155"/>
                  <a:pt x="8640" y="17168"/>
                  <a:pt x="8640" y="17182"/>
                </a:cubicBezTo>
                <a:cubicBezTo>
                  <a:pt x="8640" y="17199"/>
                  <a:pt x="8648" y="17212"/>
                  <a:pt x="8651" y="17230"/>
                </a:cubicBezTo>
                <a:cubicBezTo>
                  <a:pt x="8699" y="20896"/>
                  <a:pt x="8995" y="21600"/>
                  <a:pt x="10800" y="21600"/>
                </a:cubicBezTo>
                <a:cubicBezTo>
                  <a:pt x="12960" y="21600"/>
                  <a:pt x="12960" y="20618"/>
                  <a:pt x="12960" y="14727"/>
                </a:cubicBezTo>
                <a:cubicBezTo>
                  <a:pt x="12960" y="9818"/>
                  <a:pt x="21600" y="8836"/>
                  <a:pt x="21600" y="2945"/>
                </a:cubicBezTo>
                <a:cubicBezTo>
                  <a:pt x="21600" y="131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5" name="Shape 2575"/>
          <p:cNvSpPr/>
          <p:nvPr/>
        </p:nvSpPr>
        <p:spPr>
          <a:xfrm>
            <a:off x="66064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8655" y="14727"/>
                </a:lnTo>
                <a:lnTo>
                  <a:pt x="18655" y="12273"/>
                </a:lnTo>
                <a:cubicBezTo>
                  <a:pt x="18655" y="12002"/>
                  <a:pt x="18434" y="11782"/>
                  <a:pt x="18164" y="11782"/>
                </a:cubicBezTo>
                <a:cubicBezTo>
                  <a:pt x="17893" y="11782"/>
                  <a:pt x="17673" y="12002"/>
                  <a:pt x="17673" y="12273"/>
                </a:cubicBezTo>
                <a:lnTo>
                  <a:pt x="17673" y="14727"/>
                </a:lnTo>
                <a:lnTo>
                  <a:pt x="15218" y="14727"/>
                </a:lnTo>
                <a:cubicBezTo>
                  <a:pt x="14947" y="14727"/>
                  <a:pt x="14727" y="14947"/>
                  <a:pt x="14727" y="15218"/>
                </a:cubicBezTo>
                <a:cubicBezTo>
                  <a:pt x="14727" y="15490"/>
                  <a:pt x="14947" y="15709"/>
                  <a:pt x="15218" y="15709"/>
                </a:cubicBezTo>
                <a:lnTo>
                  <a:pt x="17673" y="15709"/>
                </a:lnTo>
                <a:lnTo>
                  <a:pt x="17673" y="18164"/>
                </a:lnTo>
                <a:cubicBezTo>
                  <a:pt x="17673" y="18435"/>
                  <a:pt x="17893" y="18655"/>
                  <a:pt x="18164" y="18655"/>
                </a:cubicBezTo>
                <a:cubicBezTo>
                  <a:pt x="18434" y="18655"/>
                  <a:pt x="18655" y="18435"/>
                  <a:pt x="18655" y="18164"/>
                </a:cubicBezTo>
                <a:lnTo>
                  <a:pt x="18655" y="15709"/>
                </a:ln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6" name="Shape 2576"/>
          <p:cNvSpPr/>
          <p:nvPr/>
        </p:nvSpPr>
        <p:spPr>
          <a:xfrm>
            <a:off x="106059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4727"/>
                </a:moveTo>
                <a:lnTo>
                  <a:pt x="15218" y="14727"/>
                </a:lnTo>
                <a:cubicBezTo>
                  <a:pt x="14947" y="14727"/>
                  <a:pt x="14727" y="14947"/>
                  <a:pt x="14727" y="15218"/>
                </a:cubicBezTo>
                <a:cubicBezTo>
                  <a:pt x="14727" y="15490"/>
                  <a:pt x="14947" y="15709"/>
                  <a:pt x="15218" y="15709"/>
                </a:cubicBezTo>
                <a:lnTo>
                  <a:pt x="21109" y="15709"/>
                </a:lnTo>
                <a:cubicBezTo>
                  <a:pt x="21380" y="15709"/>
                  <a:pt x="21600" y="15490"/>
                  <a:pt x="21600" y="15218"/>
                </a:cubicBezTo>
                <a:cubicBezTo>
                  <a:pt x="21600" y="14947"/>
                  <a:pt x="21380" y="14727"/>
                  <a:pt x="21109" y="14727"/>
                </a:cubicBezTo>
                <a:moveTo>
                  <a:pt x="14823" y="8659"/>
                </a:moveTo>
                <a:cubicBezTo>
                  <a:pt x="12845" y="10260"/>
                  <a:pt x="10800" y="11916"/>
                  <a:pt x="10800" y="14727"/>
                </a:cubicBezTo>
                <a:cubicBezTo>
                  <a:pt x="10800" y="17561"/>
                  <a:pt x="10800" y="19270"/>
                  <a:pt x="10584" y="20135"/>
                </a:cubicBezTo>
                <a:cubicBezTo>
                  <a:pt x="10474" y="20573"/>
                  <a:pt x="10463" y="20618"/>
                  <a:pt x="9818" y="20618"/>
                </a:cubicBezTo>
                <a:cubicBezTo>
                  <a:pt x="9173" y="20618"/>
                  <a:pt x="9162" y="20573"/>
                  <a:pt x="9052" y="20135"/>
                </a:cubicBezTo>
                <a:cubicBezTo>
                  <a:pt x="8926" y="19627"/>
                  <a:pt x="8874" y="18820"/>
                  <a:pt x="8853" y="17673"/>
                </a:cubicBezTo>
                <a:lnTo>
                  <a:pt x="9327" y="17673"/>
                </a:lnTo>
                <a:cubicBezTo>
                  <a:pt x="9598" y="17673"/>
                  <a:pt x="9818" y="17453"/>
                  <a:pt x="9818" y="17182"/>
                </a:cubicBezTo>
                <a:cubicBezTo>
                  <a:pt x="9818" y="16910"/>
                  <a:pt x="9598" y="16691"/>
                  <a:pt x="9327" y="16691"/>
                </a:cubicBezTo>
                <a:lnTo>
                  <a:pt x="8840" y="16691"/>
                </a:lnTo>
                <a:cubicBezTo>
                  <a:pt x="8838" y="16381"/>
                  <a:pt x="8837" y="16059"/>
                  <a:pt x="8837" y="15709"/>
                </a:cubicBezTo>
                <a:lnTo>
                  <a:pt x="9327" y="15709"/>
                </a:lnTo>
                <a:cubicBezTo>
                  <a:pt x="9598" y="15709"/>
                  <a:pt x="9818" y="15490"/>
                  <a:pt x="9818" y="15218"/>
                </a:cubicBezTo>
                <a:cubicBezTo>
                  <a:pt x="9818" y="14947"/>
                  <a:pt x="9598" y="14727"/>
                  <a:pt x="9327" y="14727"/>
                </a:cubicBezTo>
                <a:lnTo>
                  <a:pt x="8836" y="14727"/>
                </a:lnTo>
                <a:cubicBezTo>
                  <a:pt x="8836" y="11916"/>
                  <a:pt x="6791" y="10260"/>
                  <a:pt x="4813" y="8659"/>
                </a:cubicBezTo>
                <a:cubicBezTo>
                  <a:pt x="3221" y="7370"/>
                  <a:pt x="1702" y="6139"/>
                  <a:pt x="1176" y="4344"/>
                </a:cubicBezTo>
                <a:cubicBezTo>
                  <a:pt x="2835" y="5266"/>
                  <a:pt x="6083" y="5891"/>
                  <a:pt x="9818" y="5891"/>
                </a:cubicBezTo>
                <a:cubicBezTo>
                  <a:pt x="13550" y="5891"/>
                  <a:pt x="16795" y="5266"/>
                  <a:pt x="18456" y="4347"/>
                </a:cubicBezTo>
                <a:cubicBezTo>
                  <a:pt x="17928" y="6143"/>
                  <a:pt x="16412" y="7373"/>
                  <a:pt x="14823" y="8659"/>
                </a:cubicBezTo>
                <a:moveTo>
                  <a:pt x="982" y="2945"/>
                </a:moveTo>
                <a:cubicBezTo>
                  <a:pt x="982" y="1861"/>
                  <a:pt x="4938" y="982"/>
                  <a:pt x="9818" y="982"/>
                </a:cubicBezTo>
                <a:cubicBezTo>
                  <a:pt x="14698" y="982"/>
                  <a:pt x="18655" y="1861"/>
                  <a:pt x="18655" y="2945"/>
                </a:cubicBezTo>
                <a:cubicBezTo>
                  <a:pt x="18655" y="4031"/>
                  <a:pt x="14698" y="4909"/>
                  <a:pt x="9818" y="4909"/>
                </a:cubicBezTo>
                <a:cubicBezTo>
                  <a:pt x="4938" y="4909"/>
                  <a:pt x="982" y="4031"/>
                  <a:pt x="982" y="2945"/>
                </a:cubicBezTo>
                <a:moveTo>
                  <a:pt x="19636" y="2945"/>
                </a:moveTo>
                <a:cubicBezTo>
                  <a:pt x="19636" y="1319"/>
                  <a:pt x="15241" y="0"/>
                  <a:pt x="9818" y="0"/>
                </a:cubicBezTo>
                <a:cubicBezTo>
                  <a:pt x="4396" y="0"/>
                  <a:pt x="0" y="1319"/>
                  <a:pt x="0" y="2945"/>
                </a:cubicBezTo>
                <a:cubicBezTo>
                  <a:pt x="0" y="8836"/>
                  <a:pt x="7855" y="9818"/>
                  <a:pt x="7855" y="14727"/>
                </a:cubicBezTo>
                <a:cubicBezTo>
                  <a:pt x="7855" y="14900"/>
                  <a:pt x="7855" y="15053"/>
                  <a:pt x="7855" y="15217"/>
                </a:cubicBezTo>
                <a:cubicBezTo>
                  <a:pt x="7855" y="15217"/>
                  <a:pt x="7855" y="15218"/>
                  <a:pt x="7855" y="15218"/>
                </a:cubicBezTo>
                <a:cubicBezTo>
                  <a:pt x="7855" y="15219"/>
                  <a:pt x="7855" y="15219"/>
                  <a:pt x="7855" y="15219"/>
                </a:cubicBezTo>
                <a:cubicBezTo>
                  <a:pt x="7855" y="15938"/>
                  <a:pt x="7856" y="16572"/>
                  <a:pt x="7863" y="17142"/>
                </a:cubicBezTo>
                <a:cubicBezTo>
                  <a:pt x="7861" y="17155"/>
                  <a:pt x="7855" y="17168"/>
                  <a:pt x="7855" y="17182"/>
                </a:cubicBezTo>
                <a:cubicBezTo>
                  <a:pt x="7855" y="17199"/>
                  <a:pt x="7862" y="17212"/>
                  <a:pt x="7864" y="17229"/>
                </a:cubicBezTo>
                <a:cubicBezTo>
                  <a:pt x="7908" y="20896"/>
                  <a:pt x="8177" y="21600"/>
                  <a:pt x="9818" y="21600"/>
                </a:cubicBezTo>
                <a:cubicBezTo>
                  <a:pt x="11782" y="21600"/>
                  <a:pt x="11782" y="20618"/>
                  <a:pt x="11782" y="14727"/>
                </a:cubicBezTo>
                <a:cubicBezTo>
                  <a:pt x="11782" y="9818"/>
                  <a:pt x="19636" y="8836"/>
                  <a:pt x="19636"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7" name="Shape 2577"/>
          <p:cNvSpPr/>
          <p:nvPr/>
        </p:nvSpPr>
        <p:spPr>
          <a:xfrm>
            <a:off x="1470059" y="383181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20520" y="4979"/>
                </a:moveTo>
                <a:lnTo>
                  <a:pt x="7560" y="6792"/>
                </a:lnTo>
                <a:lnTo>
                  <a:pt x="7560" y="2876"/>
                </a:lnTo>
                <a:lnTo>
                  <a:pt x="20520" y="1063"/>
                </a:lnTo>
                <a:cubicBezTo>
                  <a:pt x="20520" y="1063"/>
                  <a:pt x="20520" y="4979"/>
                  <a:pt x="20520" y="4979"/>
                </a:cubicBezTo>
                <a:close/>
                <a:moveTo>
                  <a:pt x="18900" y="17673"/>
                </a:moveTo>
                <a:lnTo>
                  <a:pt x="16740" y="17673"/>
                </a:lnTo>
                <a:cubicBezTo>
                  <a:pt x="15845" y="17673"/>
                  <a:pt x="15120" y="17014"/>
                  <a:pt x="15120" y="16200"/>
                </a:cubicBezTo>
                <a:cubicBezTo>
                  <a:pt x="15120" y="15387"/>
                  <a:pt x="15845" y="14727"/>
                  <a:pt x="16740" y="14727"/>
                </a:cubicBezTo>
                <a:lnTo>
                  <a:pt x="18900" y="14727"/>
                </a:lnTo>
                <a:cubicBezTo>
                  <a:pt x="19795" y="14727"/>
                  <a:pt x="20520" y="15387"/>
                  <a:pt x="20520" y="16200"/>
                </a:cubicBezTo>
                <a:cubicBezTo>
                  <a:pt x="20520" y="17014"/>
                  <a:pt x="19795" y="17673"/>
                  <a:pt x="18900" y="17673"/>
                </a:cubicBezTo>
                <a:moveTo>
                  <a:pt x="4860" y="20618"/>
                </a:moveTo>
                <a:lnTo>
                  <a:pt x="2700" y="20618"/>
                </a:lnTo>
                <a:cubicBezTo>
                  <a:pt x="1805" y="20618"/>
                  <a:pt x="1080" y="19959"/>
                  <a:pt x="1080" y="19146"/>
                </a:cubicBezTo>
                <a:cubicBezTo>
                  <a:pt x="1080" y="18332"/>
                  <a:pt x="1805" y="17673"/>
                  <a:pt x="2700" y="17673"/>
                </a:cubicBezTo>
                <a:lnTo>
                  <a:pt x="4860" y="17673"/>
                </a:lnTo>
                <a:cubicBezTo>
                  <a:pt x="5755" y="17673"/>
                  <a:pt x="6480" y="18332"/>
                  <a:pt x="6480" y="19146"/>
                </a:cubicBezTo>
                <a:cubicBezTo>
                  <a:pt x="6480" y="19959"/>
                  <a:pt x="5755" y="20618"/>
                  <a:pt x="4860" y="20618"/>
                </a:cubicBezTo>
                <a:moveTo>
                  <a:pt x="21060" y="0"/>
                </a:moveTo>
                <a:cubicBezTo>
                  <a:pt x="21031" y="0"/>
                  <a:pt x="21006" y="11"/>
                  <a:pt x="20980" y="15"/>
                </a:cubicBezTo>
                <a:lnTo>
                  <a:pt x="20978" y="6"/>
                </a:lnTo>
                <a:lnTo>
                  <a:pt x="6938" y="1969"/>
                </a:lnTo>
                <a:lnTo>
                  <a:pt x="6940" y="1979"/>
                </a:lnTo>
                <a:cubicBezTo>
                  <a:pt x="6681" y="2016"/>
                  <a:pt x="6480" y="2210"/>
                  <a:pt x="6480" y="2455"/>
                </a:cubicBezTo>
                <a:lnTo>
                  <a:pt x="6480" y="17193"/>
                </a:lnTo>
                <a:cubicBezTo>
                  <a:pt x="6028" y="16882"/>
                  <a:pt x="5471" y="16691"/>
                  <a:pt x="4860" y="16691"/>
                </a:cubicBezTo>
                <a:lnTo>
                  <a:pt x="2700" y="16691"/>
                </a:lnTo>
                <a:cubicBezTo>
                  <a:pt x="1209" y="16691"/>
                  <a:pt x="0" y="17790"/>
                  <a:pt x="0" y="19146"/>
                </a:cubicBezTo>
                <a:cubicBezTo>
                  <a:pt x="0" y="20501"/>
                  <a:pt x="1209" y="21600"/>
                  <a:pt x="2700" y="21600"/>
                </a:cubicBezTo>
                <a:lnTo>
                  <a:pt x="4860" y="21600"/>
                </a:lnTo>
                <a:cubicBezTo>
                  <a:pt x="6352" y="21600"/>
                  <a:pt x="7560" y="20501"/>
                  <a:pt x="7560" y="19146"/>
                </a:cubicBezTo>
                <a:lnTo>
                  <a:pt x="7560" y="7785"/>
                </a:lnTo>
                <a:lnTo>
                  <a:pt x="20520" y="5972"/>
                </a:lnTo>
                <a:lnTo>
                  <a:pt x="20520" y="14248"/>
                </a:lnTo>
                <a:cubicBezTo>
                  <a:pt x="20068" y="13937"/>
                  <a:pt x="19511" y="13745"/>
                  <a:pt x="18900" y="13745"/>
                </a:cubicBezTo>
                <a:lnTo>
                  <a:pt x="16740" y="13745"/>
                </a:lnTo>
                <a:cubicBezTo>
                  <a:pt x="15249" y="13745"/>
                  <a:pt x="14040" y="14845"/>
                  <a:pt x="14040" y="16200"/>
                </a:cubicBezTo>
                <a:cubicBezTo>
                  <a:pt x="14040" y="17556"/>
                  <a:pt x="15249" y="18655"/>
                  <a:pt x="16740" y="18655"/>
                </a:cubicBezTo>
                <a:lnTo>
                  <a:pt x="18900" y="18655"/>
                </a:lnTo>
                <a:cubicBezTo>
                  <a:pt x="20392" y="18655"/>
                  <a:pt x="21600" y="17556"/>
                  <a:pt x="21600" y="16200"/>
                </a:cubicBezTo>
                <a:lnTo>
                  <a:pt x="21600" y="491"/>
                </a:lnTo>
                <a:cubicBezTo>
                  <a:pt x="21600" y="220"/>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8" name="Shape 2578"/>
          <p:cNvSpPr/>
          <p:nvPr/>
        </p:nvSpPr>
        <p:spPr>
          <a:xfrm>
            <a:off x="1898572" y="3831814"/>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5837"/>
                </a:moveTo>
                <a:lnTo>
                  <a:pt x="10800" y="4996"/>
                </a:lnTo>
                <a:lnTo>
                  <a:pt x="10800" y="1036"/>
                </a:lnTo>
                <a:lnTo>
                  <a:pt x="20057" y="1878"/>
                </a:lnTo>
                <a:cubicBezTo>
                  <a:pt x="20057" y="1878"/>
                  <a:pt x="20057" y="5837"/>
                  <a:pt x="20057" y="5837"/>
                </a:cubicBezTo>
                <a:close/>
                <a:moveTo>
                  <a:pt x="6943" y="20618"/>
                </a:moveTo>
                <a:lnTo>
                  <a:pt x="3857" y="20618"/>
                </a:lnTo>
                <a:cubicBezTo>
                  <a:pt x="2579" y="20618"/>
                  <a:pt x="1543" y="19959"/>
                  <a:pt x="1543" y="19146"/>
                </a:cubicBezTo>
                <a:cubicBezTo>
                  <a:pt x="1543" y="18332"/>
                  <a:pt x="2579" y="17673"/>
                  <a:pt x="3857" y="17673"/>
                </a:cubicBezTo>
                <a:lnTo>
                  <a:pt x="6943" y="17673"/>
                </a:lnTo>
                <a:cubicBezTo>
                  <a:pt x="8221" y="17673"/>
                  <a:pt x="9257" y="18332"/>
                  <a:pt x="9257" y="19146"/>
                </a:cubicBezTo>
                <a:cubicBezTo>
                  <a:pt x="9257" y="19959"/>
                  <a:pt x="8221" y="20618"/>
                  <a:pt x="6943" y="20618"/>
                </a:cubicBezTo>
                <a:moveTo>
                  <a:pt x="20829" y="982"/>
                </a:moveTo>
                <a:cubicBezTo>
                  <a:pt x="20788" y="982"/>
                  <a:pt x="20752" y="993"/>
                  <a:pt x="20714" y="997"/>
                </a:cubicBezTo>
                <a:lnTo>
                  <a:pt x="20711" y="988"/>
                </a:lnTo>
                <a:lnTo>
                  <a:pt x="10344" y="45"/>
                </a:lnTo>
                <a:cubicBezTo>
                  <a:pt x="10248" y="17"/>
                  <a:pt x="10141" y="0"/>
                  <a:pt x="10029" y="0"/>
                </a:cubicBezTo>
                <a:cubicBezTo>
                  <a:pt x="10002" y="0"/>
                  <a:pt x="9979" y="8"/>
                  <a:pt x="9954" y="10"/>
                </a:cubicBezTo>
                <a:lnTo>
                  <a:pt x="9911" y="6"/>
                </a:lnTo>
                <a:lnTo>
                  <a:pt x="9914" y="15"/>
                </a:lnTo>
                <a:cubicBezTo>
                  <a:pt x="9545" y="52"/>
                  <a:pt x="9257" y="246"/>
                  <a:pt x="9257" y="491"/>
                </a:cubicBezTo>
                <a:lnTo>
                  <a:pt x="9257" y="17193"/>
                </a:lnTo>
                <a:cubicBezTo>
                  <a:pt x="8612" y="16882"/>
                  <a:pt x="7815" y="16691"/>
                  <a:pt x="6943" y="16691"/>
                </a:cubicBezTo>
                <a:lnTo>
                  <a:pt x="3857" y="16691"/>
                </a:lnTo>
                <a:cubicBezTo>
                  <a:pt x="1727" y="16691"/>
                  <a:pt x="0" y="17790"/>
                  <a:pt x="0" y="19146"/>
                </a:cubicBezTo>
                <a:cubicBezTo>
                  <a:pt x="0" y="20501"/>
                  <a:pt x="1727" y="21600"/>
                  <a:pt x="3857" y="21600"/>
                </a:cubicBezTo>
                <a:lnTo>
                  <a:pt x="6943" y="21600"/>
                </a:lnTo>
                <a:cubicBezTo>
                  <a:pt x="9074" y="21600"/>
                  <a:pt x="10800" y="20501"/>
                  <a:pt x="10800" y="19146"/>
                </a:cubicBezTo>
                <a:lnTo>
                  <a:pt x="10800" y="5945"/>
                </a:lnTo>
                <a:lnTo>
                  <a:pt x="20513" y="6828"/>
                </a:lnTo>
                <a:cubicBezTo>
                  <a:pt x="20610" y="6855"/>
                  <a:pt x="20715" y="6873"/>
                  <a:pt x="20829" y="6873"/>
                </a:cubicBezTo>
                <a:cubicBezTo>
                  <a:pt x="20855" y="6873"/>
                  <a:pt x="20877" y="6865"/>
                  <a:pt x="20904" y="6864"/>
                </a:cubicBezTo>
                <a:lnTo>
                  <a:pt x="20946" y="6867"/>
                </a:lnTo>
                <a:lnTo>
                  <a:pt x="20943" y="6858"/>
                </a:lnTo>
                <a:cubicBezTo>
                  <a:pt x="21313" y="6822"/>
                  <a:pt x="21600" y="6627"/>
                  <a:pt x="21600" y="6382"/>
                </a:cubicBezTo>
                <a:lnTo>
                  <a:pt x="21600" y="1473"/>
                </a:lnTo>
                <a:cubicBezTo>
                  <a:pt x="21600" y="1202"/>
                  <a:pt x="21254" y="982"/>
                  <a:pt x="20829"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79" name="Shape 2579"/>
          <p:cNvSpPr/>
          <p:nvPr/>
        </p:nvSpPr>
        <p:spPr>
          <a:xfrm>
            <a:off x="226042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257" y="18984"/>
                </a:moveTo>
                <a:lnTo>
                  <a:pt x="11380" y="15408"/>
                </a:lnTo>
                <a:lnTo>
                  <a:pt x="10800" y="14983"/>
                </a:lnTo>
                <a:lnTo>
                  <a:pt x="10219" y="15408"/>
                </a:lnTo>
                <a:lnTo>
                  <a:pt x="5343" y="18984"/>
                </a:lnTo>
                <a:lnTo>
                  <a:pt x="7313" y="13075"/>
                </a:lnTo>
                <a:lnTo>
                  <a:pt x="7534" y="12411"/>
                </a:lnTo>
                <a:lnTo>
                  <a:pt x="6980" y="11985"/>
                </a:lnTo>
                <a:lnTo>
                  <a:pt x="2887" y="8836"/>
                </a:lnTo>
                <a:lnTo>
                  <a:pt x="8535" y="8836"/>
                </a:lnTo>
                <a:lnTo>
                  <a:pt x="8774" y="8199"/>
                </a:lnTo>
                <a:lnTo>
                  <a:pt x="10800" y="2796"/>
                </a:lnTo>
                <a:lnTo>
                  <a:pt x="12826" y="8199"/>
                </a:lnTo>
                <a:lnTo>
                  <a:pt x="13065" y="8836"/>
                </a:lnTo>
                <a:lnTo>
                  <a:pt x="18714" y="8836"/>
                </a:lnTo>
                <a:lnTo>
                  <a:pt x="14619" y="11985"/>
                </a:lnTo>
                <a:lnTo>
                  <a:pt x="14066" y="12411"/>
                </a:lnTo>
                <a:cubicBezTo>
                  <a:pt x="14066" y="12411"/>
                  <a:pt x="16257" y="18984"/>
                  <a:pt x="16257" y="18984"/>
                </a:cubicBezTo>
                <a:close/>
                <a:moveTo>
                  <a:pt x="21600" y="7855"/>
                </a:moveTo>
                <a:lnTo>
                  <a:pt x="13745" y="7855"/>
                </a:lnTo>
                <a:lnTo>
                  <a:pt x="10800" y="0"/>
                </a:lnTo>
                <a:lnTo>
                  <a:pt x="7855" y="7855"/>
                </a:lnTo>
                <a:lnTo>
                  <a:pt x="0" y="7855"/>
                </a:lnTo>
                <a:lnTo>
                  <a:pt x="6382" y="12764"/>
                </a:lnTo>
                <a:lnTo>
                  <a:pt x="3436" y="21600"/>
                </a:lnTo>
                <a:lnTo>
                  <a:pt x="10800" y="16200"/>
                </a:lnTo>
                <a:lnTo>
                  <a:pt x="18164" y="21600"/>
                </a:lnTo>
                <a:lnTo>
                  <a:pt x="15218" y="12764"/>
                </a:lnTo>
                <a:cubicBezTo>
                  <a:pt x="15218" y="12764"/>
                  <a:pt x="21600" y="7855"/>
                  <a:pt x="21600" y="78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0" name="Shape 2580"/>
          <p:cNvSpPr/>
          <p:nvPr/>
        </p:nvSpPr>
        <p:spPr>
          <a:xfrm>
            <a:off x="2660374"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445" y="15886"/>
                </a:moveTo>
                <a:lnTo>
                  <a:pt x="10478" y="18984"/>
                </a:lnTo>
                <a:lnTo>
                  <a:pt x="7944" y="17126"/>
                </a:lnTo>
                <a:lnTo>
                  <a:pt x="7364" y="16700"/>
                </a:lnTo>
                <a:lnTo>
                  <a:pt x="6783" y="17126"/>
                </a:lnTo>
                <a:lnTo>
                  <a:pt x="4249" y="18984"/>
                </a:lnTo>
                <a:lnTo>
                  <a:pt x="5283" y="15886"/>
                </a:lnTo>
                <a:lnTo>
                  <a:pt x="5505" y="15220"/>
                </a:lnTo>
                <a:lnTo>
                  <a:pt x="4946" y="14794"/>
                </a:lnTo>
                <a:lnTo>
                  <a:pt x="2908" y="13240"/>
                </a:lnTo>
                <a:lnTo>
                  <a:pt x="6037" y="13240"/>
                </a:lnTo>
                <a:lnTo>
                  <a:pt x="6275" y="12602"/>
                </a:lnTo>
                <a:lnTo>
                  <a:pt x="7364" y="9683"/>
                </a:lnTo>
                <a:lnTo>
                  <a:pt x="8452" y="12602"/>
                </a:lnTo>
                <a:lnTo>
                  <a:pt x="8690" y="13240"/>
                </a:lnTo>
                <a:lnTo>
                  <a:pt x="11820" y="13240"/>
                </a:lnTo>
                <a:lnTo>
                  <a:pt x="9781" y="14794"/>
                </a:lnTo>
                <a:lnTo>
                  <a:pt x="9223" y="15220"/>
                </a:lnTo>
                <a:cubicBezTo>
                  <a:pt x="9223" y="15220"/>
                  <a:pt x="9445" y="15886"/>
                  <a:pt x="9445" y="15886"/>
                </a:cubicBezTo>
                <a:close/>
                <a:moveTo>
                  <a:pt x="9372" y="12259"/>
                </a:moveTo>
                <a:lnTo>
                  <a:pt x="7364" y="6873"/>
                </a:lnTo>
                <a:lnTo>
                  <a:pt x="5355" y="12259"/>
                </a:lnTo>
                <a:lnTo>
                  <a:pt x="0" y="12259"/>
                </a:lnTo>
                <a:lnTo>
                  <a:pt x="4351" y="15575"/>
                </a:lnTo>
                <a:lnTo>
                  <a:pt x="2343" y="21600"/>
                </a:lnTo>
                <a:lnTo>
                  <a:pt x="7364" y="17918"/>
                </a:lnTo>
                <a:lnTo>
                  <a:pt x="12384" y="21600"/>
                </a:lnTo>
                <a:lnTo>
                  <a:pt x="10376" y="15575"/>
                </a:lnTo>
                <a:lnTo>
                  <a:pt x="14727" y="12259"/>
                </a:lnTo>
                <a:cubicBezTo>
                  <a:pt x="14727" y="12259"/>
                  <a:pt x="9372" y="12259"/>
                  <a:pt x="9372" y="12259"/>
                </a:cubicBezTo>
                <a:close/>
                <a:moveTo>
                  <a:pt x="16781" y="7308"/>
                </a:moveTo>
                <a:lnTo>
                  <a:pt x="16200" y="6883"/>
                </a:lnTo>
                <a:lnTo>
                  <a:pt x="15619" y="7308"/>
                </a:lnTo>
                <a:lnTo>
                  <a:pt x="14426" y="8184"/>
                </a:lnTo>
                <a:lnTo>
                  <a:pt x="14922" y="6693"/>
                </a:lnTo>
                <a:lnTo>
                  <a:pt x="15143" y="6031"/>
                </a:lnTo>
                <a:lnTo>
                  <a:pt x="14590" y="5605"/>
                </a:lnTo>
                <a:lnTo>
                  <a:pt x="13682" y="4905"/>
                </a:lnTo>
                <a:lnTo>
                  <a:pt x="15408" y="4905"/>
                </a:lnTo>
                <a:lnTo>
                  <a:pt x="15647" y="4267"/>
                </a:lnTo>
                <a:lnTo>
                  <a:pt x="16200" y="2793"/>
                </a:lnTo>
                <a:lnTo>
                  <a:pt x="16754" y="4267"/>
                </a:lnTo>
                <a:lnTo>
                  <a:pt x="16992" y="4905"/>
                </a:lnTo>
                <a:lnTo>
                  <a:pt x="18718" y="4905"/>
                </a:lnTo>
                <a:lnTo>
                  <a:pt x="17810" y="5605"/>
                </a:lnTo>
                <a:lnTo>
                  <a:pt x="17257" y="6031"/>
                </a:lnTo>
                <a:lnTo>
                  <a:pt x="17478" y="6693"/>
                </a:lnTo>
                <a:lnTo>
                  <a:pt x="17975" y="8184"/>
                </a:lnTo>
                <a:cubicBezTo>
                  <a:pt x="17975" y="8184"/>
                  <a:pt x="16781" y="7308"/>
                  <a:pt x="16781" y="7308"/>
                </a:cubicBezTo>
                <a:close/>
                <a:moveTo>
                  <a:pt x="21600" y="3922"/>
                </a:moveTo>
                <a:lnTo>
                  <a:pt x="17673" y="3922"/>
                </a:lnTo>
                <a:lnTo>
                  <a:pt x="16200" y="0"/>
                </a:lnTo>
                <a:lnTo>
                  <a:pt x="14727" y="3922"/>
                </a:lnTo>
                <a:lnTo>
                  <a:pt x="10800" y="3922"/>
                </a:lnTo>
                <a:lnTo>
                  <a:pt x="13991" y="6382"/>
                </a:lnTo>
                <a:lnTo>
                  <a:pt x="12518" y="10800"/>
                </a:lnTo>
                <a:lnTo>
                  <a:pt x="16200" y="8100"/>
                </a:lnTo>
                <a:lnTo>
                  <a:pt x="19882" y="10800"/>
                </a:lnTo>
                <a:lnTo>
                  <a:pt x="18409" y="6382"/>
                </a:lnTo>
                <a:cubicBezTo>
                  <a:pt x="18409" y="6382"/>
                  <a:pt x="21600" y="3922"/>
                  <a:pt x="21600" y="392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1" name="Shape 2581"/>
          <p:cNvSpPr/>
          <p:nvPr/>
        </p:nvSpPr>
        <p:spPr>
          <a:xfrm>
            <a:off x="3060320"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33" y="11950"/>
                </a:moveTo>
                <a:lnTo>
                  <a:pt x="12831" y="14044"/>
                </a:lnTo>
                <a:lnTo>
                  <a:pt x="11135" y="12801"/>
                </a:lnTo>
                <a:lnTo>
                  <a:pt x="10555" y="12375"/>
                </a:lnTo>
                <a:lnTo>
                  <a:pt x="9974" y="12801"/>
                </a:lnTo>
                <a:lnTo>
                  <a:pt x="8277" y="14044"/>
                </a:lnTo>
                <a:lnTo>
                  <a:pt x="8976" y="11950"/>
                </a:lnTo>
                <a:lnTo>
                  <a:pt x="9195" y="11291"/>
                </a:lnTo>
                <a:lnTo>
                  <a:pt x="8647" y="10864"/>
                </a:lnTo>
                <a:lnTo>
                  <a:pt x="7280" y="9801"/>
                </a:lnTo>
                <a:lnTo>
                  <a:pt x="9560" y="9801"/>
                </a:lnTo>
                <a:lnTo>
                  <a:pt x="9799" y="9167"/>
                </a:lnTo>
                <a:lnTo>
                  <a:pt x="10555" y="7167"/>
                </a:lnTo>
                <a:lnTo>
                  <a:pt x="11310" y="9167"/>
                </a:lnTo>
                <a:lnTo>
                  <a:pt x="11549" y="9801"/>
                </a:lnTo>
                <a:lnTo>
                  <a:pt x="13829" y="9801"/>
                </a:lnTo>
                <a:lnTo>
                  <a:pt x="12462" y="10864"/>
                </a:lnTo>
                <a:lnTo>
                  <a:pt x="11914" y="11291"/>
                </a:lnTo>
                <a:cubicBezTo>
                  <a:pt x="11914" y="11291"/>
                  <a:pt x="12133" y="11950"/>
                  <a:pt x="12133" y="11950"/>
                </a:cubicBezTo>
                <a:close/>
                <a:moveTo>
                  <a:pt x="12228" y="8820"/>
                </a:moveTo>
                <a:lnTo>
                  <a:pt x="10555" y="4388"/>
                </a:lnTo>
                <a:lnTo>
                  <a:pt x="8881" y="8820"/>
                </a:lnTo>
                <a:lnTo>
                  <a:pt x="4418" y="8820"/>
                </a:lnTo>
                <a:lnTo>
                  <a:pt x="8044" y="11639"/>
                </a:lnTo>
                <a:lnTo>
                  <a:pt x="6371" y="16660"/>
                </a:lnTo>
                <a:lnTo>
                  <a:pt x="10555" y="13592"/>
                </a:lnTo>
                <a:lnTo>
                  <a:pt x="14738" y="16660"/>
                </a:lnTo>
                <a:lnTo>
                  <a:pt x="13065" y="11639"/>
                </a:lnTo>
                <a:lnTo>
                  <a:pt x="16691" y="8820"/>
                </a:lnTo>
                <a:cubicBezTo>
                  <a:pt x="16691" y="8820"/>
                  <a:pt x="12228" y="8820"/>
                  <a:pt x="12228" y="8820"/>
                </a:cubicBezTo>
                <a:close/>
                <a:moveTo>
                  <a:pt x="10800" y="20618"/>
                </a:moveTo>
                <a:cubicBezTo>
                  <a:pt x="5378" y="20618"/>
                  <a:pt x="982" y="16223"/>
                  <a:pt x="982" y="10800"/>
                </a:cubicBezTo>
                <a:cubicBezTo>
                  <a:pt x="982" y="5377"/>
                  <a:pt x="5378" y="982"/>
                  <a:pt x="10800" y="982"/>
                </a:cubicBezTo>
                <a:cubicBezTo>
                  <a:pt x="16223" y="982"/>
                  <a:pt x="20618" y="5377"/>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2" name="Shape 2582"/>
          <p:cNvSpPr/>
          <p:nvPr/>
        </p:nvSpPr>
        <p:spPr>
          <a:xfrm>
            <a:off x="3460265"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4419"/>
                </a:moveTo>
                <a:lnTo>
                  <a:pt x="9327" y="4419"/>
                </a:lnTo>
                <a:cubicBezTo>
                  <a:pt x="9056" y="4419"/>
                  <a:pt x="8836" y="4638"/>
                  <a:pt x="8836" y="4909"/>
                </a:cubicBezTo>
                <a:cubicBezTo>
                  <a:pt x="8836" y="5181"/>
                  <a:pt x="9056" y="5400"/>
                  <a:pt x="9327" y="5400"/>
                </a:cubicBezTo>
                <a:lnTo>
                  <a:pt x="18164" y="5400"/>
                </a:lnTo>
                <a:cubicBezTo>
                  <a:pt x="18435" y="5400"/>
                  <a:pt x="18655" y="5181"/>
                  <a:pt x="18655" y="4909"/>
                </a:cubicBezTo>
                <a:cubicBezTo>
                  <a:pt x="18655" y="4638"/>
                  <a:pt x="18435" y="4419"/>
                  <a:pt x="18164" y="4419"/>
                </a:cubicBezTo>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8164" y="10310"/>
                </a:moveTo>
                <a:lnTo>
                  <a:pt x="9327" y="10310"/>
                </a:lnTo>
                <a:cubicBezTo>
                  <a:pt x="9056" y="10310"/>
                  <a:pt x="8836" y="10529"/>
                  <a:pt x="8836" y="10800"/>
                </a:cubicBezTo>
                <a:cubicBezTo>
                  <a:pt x="8836" y="11072"/>
                  <a:pt x="9056" y="11291"/>
                  <a:pt x="9327" y="11291"/>
                </a:cubicBezTo>
                <a:lnTo>
                  <a:pt x="18164" y="11291"/>
                </a:lnTo>
                <a:cubicBezTo>
                  <a:pt x="18435" y="11291"/>
                  <a:pt x="18655" y="11072"/>
                  <a:pt x="18655" y="10800"/>
                </a:cubicBezTo>
                <a:cubicBezTo>
                  <a:pt x="18655" y="10529"/>
                  <a:pt x="18435" y="10310"/>
                  <a:pt x="18164" y="10310"/>
                </a:cubicBezTo>
                <a:moveTo>
                  <a:pt x="5445" y="16155"/>
                </a:moveTo>
                <a:lnTo>
                  <a:pt x="4909" y="14728"/>
                </a:lnTo>
                <a:lnTo>
                  <a:pt x="4374" y="16155"/>
                </a:lnTo>
                <a:lnTo>
                  <a:pt x="2945" y="16155"/>
                </a:lnTo>
                <a:lnTo>
                  <a:pt x="4106" y="17048"/>
                </a:lnTo>
                <a:lnTo>
                  <a:pt x="3571" y="18655"/>
                </a:lnTo>
                <a:lnTo>
                  <a:pt x="4909" y="17673"/>
                </a:lnTo>
                <a:lnTo>
                  <a:pt x="6248" y="18655"/>
                </a:lnTo>
                <a:lnTo>
                  <a:pt x="5713" y="17048"/>
                </a:lnTo>
                <a:lnTo>
                  <a:pt x="6873" y="16155"/>
                </a:lnTo>
                <a:cubicBezTo>
                  <a:pt x="6873" y="16155"/>
                  <a:pt x="5445" y="16155"/>
                  <a:pt x="5445" y="16155"/>
                </a:cubicBezTo>
                <a:close/>
                <a:moveTo>
                  <a:pt x="4909" y="8836"/>
                </a:moveTo>
                <a:lnTo>
                  <a:pt x="4374" y="10265"/>
                </a:lnTo>
                <a:lnTo>
                  <a:pt x="2945" y="10265"/>
                </a:lnTo>
                <a:lnTo>
                  <a:pt x="4106" y="11157"/>
                </a:lnTo>
                <a:lnTo>
                  <a:pt x="3571" y="12764"/>
                </a:lnTo>
                <a:lnTo>
                  <a:pt x="4909" y="11782"/>
                </a:lnTo>
                <a:lnTo>
                  <a:pt x="6248" y="12764"/>
                </a:lnTo>
                <a:lnTo>
                  <a:pt x="5713" y="11157"/>
                </a:lnTo>
                <a:lnTo>
                  <a:pt x="6873" y="10265"/>
                </a:lnTo>
                <a:lnTo>
                  <a:pt x="5445" y="10265"/>
                </a:lnTo>
                <a:cubicBezTo>
                  <a:pt x="5445" y="10265"/>
                  <a:pt x="4909" y="8836"/>
                  <a:pt x="4909" y="8836"/>
                </a:cubicBezTo>
                <a:close/>
                <a:moveTo>
                  <a:pt x="4909" y="2945"/>
                </a:moveTo>
                <a:lnTo>
                  <a:pt x="4374" y="4374"/>
                </a:lnTo>
                <a:lnTo>
                  <a:pt x="2945" y="4374"/>
                </a:lnTo>
                <a:lnTo>
                  <a:pt x="4106" y="5266"/>
                </a:lnTo>
                <a:lnTo>
                  <a:pt x="3571" y="6873"/>
                </a:lnTo>
                <a:lnTo>
                  <a:pt x="4909" y="5891"/>
                </a:lnTo>
                <a:lnTo>
                  <a:pt x="6248" y="6873"/>
                </a:lnTo>
                <a:lnTo>
                  <a:pt x="5713" y="5266"/>
                </a:lnTo>
                <a:lnTo>
                  <a:pt x="6873" y="4374"/>
                </a:lnTo>
                <a:lnTo>
                  <a:pt x="5445" y="4374"/>
                </a:lnTo>
                <a:cubicBezTo>
                  <a:pt x="5445" y="4374"/>
                  <a:pt x="4909" y="2945"/>
                  <a:pt x="4909" y="2945"/>
                </a:cubicBezTo>
                <a:close/>
                <a:moveTo>
                  <a:pt x="18164" y="16200"/>
                </a:moveTo>
                <a:lnTo>
                  <a:pt x="9327" y="16200"/>
                </a:lnTo>
                <a:cubicBezTo>
                  <a:pt x="9056" y="16200"/>
                  <a:pt x="8836" y="16420"/>
                  <a:pt x="8836" y="16691"/>
                </a:cubicBezTo>
                <a:cubicBezTo>
                  <a:pt x="8836" y="16962"/>
                  <a:pt x="9056" y="17182"/>
                  <a:pt x="9327" y="17182"/>
                </a:cubicBezTo>
                <a:lnTo>
                  <a:pt x="18164" y="17182"/>
                </a:lnTo>
                <a:cubicBezTo>
                  <a:pt x="18435" y="17182"/>
                  <a:pt x="18655" y="16962"/>
                  <a:pt x="18655" y="16691"/>
                </a:cubicBezTo>
                <a:cubicBezTo>
                  <a:pt x="18655" y="16420"/>
                  <a:pt x="18435" y="16200"/>
                  <a:pt x="18164" y="16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3" name="Shape 2583"/>
          <p:cNvSpPr/>
          <p:nvPr/>
        </p:nvSpPr>
        <p:spPr>
          <a:xfrm>
            <a:off x="3860211"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17673"/>
                </a:moveTo>
                <a:cubicBezTo>
                  <a:pt x="11427" y="17673"/>
                  <a:pt x="11549" y="17618"/>
                  <a:pt x="11638" y="17529"/>
                </a:cubicBezTo>
                <a:lnTo>
                  <a:pt x="14583" y="14583"/>
                </a:lnTo>
                <a:cubicBezTo>
                  <a:pt x="14673" y="14495"/>
                  <a:pt x="14727" y="14372"/>
                  <a:pt x="14727" y="14236"/>
                </a:cubicBezTo>
                <a:cubicBezTo>
                  <a:pt x="14727" y="13966"/>
                  <a:pt x="14508" y="13745"/>
                  <a:pt x="14236" y="13745"/>
                </a:cubicBezTo>
                <a:cubicBezTo>
                  <a:pt x="14101" y="13745"/>
                  <a:pt x="13978" y="13801"/>
                  <a:pt x="13889" y="13890"/>
                </a:cubicBezTo>
                <a:lnTo>
                  <a:pt x="10944" y="16835"/>
                </a:lnTo>
                <a:cubicBezTo>
                  <a:pt x="10855" y="16924"/>
                  <a:pt x="10800" y="17047"/>
                  <a:pt x="10800" y="17183"/>
                </a:cubicBezTo>
                <a:cubicBezTo>
                  <a:pt x="10800" y="17453"/>
                  <a:pt x="11020" y="17673"/>
                  <a:pt x="11291" y="17673"/>
                </a:cubicBezTo>
                <a:moveTo>
                  <a:pt x="8980" y="14871"/>
                </a:moveTo>
                <a:cubicBezTo>
                  <a:pt x="8891" y="14961"/>
                  <a:pt x="8836" y="15083"/>
                  <a:pt x="8836" y="15218"/>
                </a:cubicBezTo>
                <a:cubicBezTo>
                  <a:pt x="8836" y="15490"/>
                  <a:pt x="9056" y="15709"/>
                  <a:pt x="9327" y="15709"/>
                </a:cubicBezTo>
                <a:cubicBezTo>
                  <a:pt x="9463" y="15709"/>
                  <a:pt x="9586" y="15655"/>
                  <a:pt x="9674" y="15565"/>
                </a:cubicBezTo>
                <a:lnTo>
                  <a:pt x="10656" y="14583"/>
                </a:lnTo>
                <a:cubicBezTo>
                  <a:pt x="10745" y="14495"/>
                  <a:pt x="10800" y="14372"/>
                  <a:pt x="10800" y="14236"/>
                </a:cubicBezTo>
                <a:cubicBezTo>
                  <a:pt x="10800" y="13966"/>
                  <a:pt x="10580" y="13745"/>
                  <a:pt x="10309" y="13745"/>
                </a:cubicBezTo>
                <a:cubicBezTo>
                  <a:pt x="10174" y="13745"/>
                  <a:pt x="10051" y="13801"/>
                  <a:pt x="9962" y="13890"/>
                </a:cubicBezTo>
                <a:cubicBezTo>
                  <a:pt x="9962" y="13890"/>
                  <a:pt x="8980" y="14871"/>
                  <a:pt x="8980" y="14871"/>
                </a:cubicBezTo>
                <a:close/>
                <a:moveTo>
                  <a:pt x="11291" y="20415"/>
                </a:moveTo>
                <a:lnTo>
                  <a:pt x="982" y="10106"/>
                </a:lnTo>
                <a:lnTo>
                  <a:pt x="982" y="1473"/>
                </a:lnTo>
                <a:cubicBezTo>
                  <a:pt x="982" y="1202"/>
                  <a:pt x="1201" y="982"/>
                  <a:pt x="1473" y="982"/>
                </a:cubicBezTo>
                <a:lnTo>
                  <a:pt x="10106" y="982"/>
                </a:lnTo>
                <a:lnTo>
                  <a:pt x="20415" y="11291"/>
                </a:lnTo>
                <a:cubicBezTo>
                  <a:pt x="20415" y="11291"/>
                  <a:pt x="11291" y="20415"/>
                  <a:pt x="11291" y="20415"/>
                </a:cubicBezTo>
                <a:close/>
                <a:moveTo>
                  <a:pt x="21456" y="10944"/>
                </a:moveTo>
                <a:lnTo>
                  <a:pt x="10656" y="144"/>
                </a:lnTo>
                <a:cubicBezTo>
                  <a:pt x="10567" y="55"/>
                  <a:pt x="10445" y="0"/>
                  <a:pt x="10309" y="0"/>
                </a:cubicBezTo>
                <a:lnTo>
                  <a:pt x="1473" y="0"/>
                </a:lnTo>
                <a:cubicBezTo>
                  <a:pt x="660" y="0"/>
                  <a:pt x="0" y="660"/>
                  <a:pt x="0" y="1473"/>
                </a:cubicBezTo>
                <a:lnTo>
                  <a:pt x="0" y="10310"/>
                </a:lnTo>
                <a:cubicBezTo>
                  <a:pt x="0" y="10445"/>
                  <a:pt x="55" y="10567"/>
                  <a:pt x="144" y="10656"/>
                </a:cubicBezTo>
                <a:lnTo>
                  <a:pt x="10944" y="21456"/>
                </a:lnTo>
                <a:cubicBezTo>
                  <a:pt x="11033" y="21546"/>
                  <a:pt x="11155" y="21600"/>
                  <a:pt x="11291" y="21600"/>
                </a:cubicBezTo>
                <a:cubicBezTo>
                  <a:pt x="11427" y="21600"/>
                  <a:pt x="11549" y="21546"/>
                  <a:pt x="11638" y="21456"/>
                </a:cubicBezTo>
                <a:lnTo>
                  <a:pt x="21456" y="11638"/>
                </a:lnTo>
                <a:cubicBezTo>
                  <a:pt x="21545" y="11549"/>
                  <a:pt x="21600" y="11427"/>
                  <a:pt x="21600" y="11291"/>
                </a:cubicBezTo>
                <a:cubicBezTo>
                  <a:pt x="21600" y="11156"/>
                  <a:pt x="21545" y="11033"/>
                  <a:pt x="21456" y="10944"/>
                </a:cubicBezTo>
                <a:moveTo>
                  <a:pt x="11782" y="13255"/>
                </a:moveTo>
                <a:cubicBezTo>
                  <a:pt x="11917" y="13255"/>
                  <a:pt x="12040" y="13200"/>
                  <a:pt x="12129" y="13111"/>
                </a:cubicBezTo>
                <a:lnTo>
                  <a:pt x="14093" y="11147"/>
                </a:lnTo>
                <a:cubicBezTo>
                  <a:pt x="14182" y="11058"/>
                  <a:pt x="14236" y="10936"/>
                  <a:pt x="14236" y="10800"/>
                </a:cubicBezTo>
                <a:cubicBezTo>
                  <a:pt x="14236" y="10529"/>
                  <a:pt x="14017" y="10310"/>
                  <a:pt x="13745" y="10310"/>
                </a:cubicBezTo>
                <a:cubicBezTo>
                  <a:pt x="13610" y="10310"/>
                  <a:pt x="13487" y="10364"/>
                  <a:pt x="13398" y="10453"/>
                </a:cubicBezTo>
                <a:lnTo>
                  <a:pt x="11435" y="12417"/>
                </a:lnTo>
                <a:cubicBezTo>
                  <a:pt x="11346" y="12506"/>
                  <a:pt x="11291" y="12629"/>
                  <a:pt x="11291" y="12764"/>
                </a:cubicBezTo>
                <a:cubicBezTo>
                  <a:pt x="11291" y="13035"/>
                  <a:pt x="11510" y="13255"/>
                  <a:pt x="11782" y="13255"/>
                </a:cubicBezTo>
                <a:moveTo>
                  <a:pt x="4418" y="4909"/>
                </a:moveTo>
                <a:cubicBezTo>
                  <a:pt x="4147" y="4909"/>
                  <a:pt x="3927" y="4690"/>
                  <a:pt x="3927" y="4418"/>
                </a:cubicBezTo>
                <a:cubicBezTo>
                  <a:pt x="3927" y="4147"/>
                  <a:pt x="4147" y="3927"/>
                  <a:pt x="4418" y="3927"/>
                </a:cubicBezTo>
                <a:cubicBezTo>
                  <a:pt x="4690" y="3927"/>
                  <a:pt x="4909" y="4147"/>
                  <a:pt x="4909" y="4418"/>
                </a:cubicBezTo>
                <a:cubicBezTo>
                  <a:pt x="4909" y="4690"/>
                  <a:pt x="4690" y="4909"/>
                  <a:pt x="4418" y="4909"/>
                </a:cubicBezTo>
                <a:moveTo>
                  <a:pt x="4418" y="2945"/>
                </a:moveTo>
                <a:cubicBezTo>
                  <a:pt x="3605" y="2945"/>
                  <a:pt x="2945" y="3605"/>
                  <a:pt x="2945" y="4418"/>
                </a:cubicBezTo>
                <a:cubicBezTo>
                  <a:pt x="2945" y="5232"/>
                  <a:pt x="3605" y="5891"/>
                  <a:pt x="4418" y="5891"/>
                </a:cubicBezTo>
                <a:cubicBezTo>
                  <a:pt x="5231" y="5891"/>
                  <a:pt x="5891" y="5232"/>
                  <a:pt x="5891" y="4418"/>
                </a:cubicBezTo>
                <a:cubicBezTo>
                  <a:pt x="5891" y="3605"/>
                  <a:pt x="5231" y="2945"/>
                  <a:pt x="4418"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4" name="Shape 2584"/>
          <p:cNvSpPr/>
          <p:nvPr/>
        </p:nvSpPr>
        <p:spPr>
          <a:xfrm>
            <a:off x="4260157" y="383181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309" y="17673"/>
                </a:moveTo>
                <a:cubicBezTo>
                  <a:pt x="10445" y="17673"/>
                  <a:pt x="10567" y="17618"/>
                  <a:pt x="10656" y="17529"/>
                </a:cubicBezTo>
                <a:lnTo>
                  <a:pt x="12620" y="15565"/>
                </a:lnTo>
                <a:cubicBezTo>
                  <a:pt x="12709" y="15477"/>
                  <a:pt x="12764" y="15354"/>
                  <a:pt x="12764" y="15218"/>
                </a:cubicBezTo>
                <a:cubicBezTo>
                  <a:pt x="12764" y="14947"/>
                  <a:pt x="12544" y="14728"/>
                  <a:pt x="12273" y="14728"/>
                </a:cubicBezTo>
                <a:cubicBezTo>
                  <a:pt x="12137" y="14728"/>
                  <a:pt x="12014" y="14782"/>
                  <a:pt x="11926" y="14871"/>
                </a:cubicBezTo>
                <a:lnTo>
                  <a:pt x="9962" y="16835"/>
                </a:lnTo>
                <a:cubicBezTo>
                  <a:pt x="9873" y="16924"/>
                  <a:pt x="9818" y="17046"/>
                  <a:pt x="9818" y="17183"/>
                </a:cubicBezTo>
                <a:cubicBezTo>
                  <a:pt x="9818" y="17453"/>
                  <a:pt x="10038" y="17673"/>
                  <a:pt x="10309" y="17673"/>
                </a:cubicBezTo>
                <a:moveTo>
                  <a:pt x="10309" y="20415"/>
                </a:moveTo>
                <a:lnTo>
                  <a:pt x="982" y="11088"/>
                </a:lnTo>
                <a:lnTo>
                  <a:pt x="982" y="4418"/>
                </a:lnTo>
                <a:cubicBezTo>
                  <a:pt x="982" y="4147"/>
                  <a:pt x="1201" y="3927"/>
                  <a:pt x="1473" y="3927"/>
                </a:cubicBezTo>
                <a:lnTo>
                  <a:pt x="8142" y="3927"/>
                </a:lnTo>
                <a:lnTo>
                  <a:pt x="17469" y="13255"/>
                </a:lnTo>
                <a:cubicBezTo>
                  <a:pt x="17469" y="13255"/>
                  <a:pt x="10309" y="20415"/>
                  <a:pt x="10309" y="20415"/>
                </a:cubicBezTo>
                <a:close/>
                <a:moveTo>
                  <a:pt x="8693" y="3090"/>
                </a:moveTo>
                <a:cubicBezTo>
                  <a:pt x="8604" y="3001"/>
                  <a:pt x="8481" y="2945"/>
                  <a:pt x="8345" y="2945"/>
                </a:cubicBezTo>
                <a:lnTo>
                  <a:pt x="1473" y="2945"/>
                </a:lnTo>
                <a:cubicBezTo>
                  <a:pt x="660" y="2945"/>
                  <a:pt x="0" y="3605"/>
                  <a:pt x="0" y="4418"/>
                </a:cubicBezTo>
                <a:lnTo>
                  <a:pt x="0" y="11291"/>
                </a:lnTo>
                <a:cubicBezTo>
                  <a:pt x="0" y="11427"/>
                  <a:pt x="55" y="11549"/>
                  <a:pt x="144" y="11638"/>
                </a:cubicBezTo>
                <a:lnTo>
                  <a:pt x="9962" y="21456"/>
                </a:lnTo>
                <a:cubicBezTo>
                  <a:pt x="10051" y="21546"/>
                  <a:pt x="10174" y="21600"/>
                  <a:pt x="10309" y="21600"/>
                </a:cubicBezTo>
                <a:cubicBezTo>
                  <a:pt x="10445" y="21600"/>
                  <a:pt x="10567" y="21546"/>
                  <a:pt x="10656" y="21456"/>
                </a:cubicBezTo>
                <a:lnTo>
                  <a:pt x="18511" y="13602"/>
                </a:lnTo>
                <a:cubicBezTo>
                  <a:pt x="18600" y="13513"/>
                  <a:pt x="18655" y="13390"/>
                  <a:pt x="18655" y="13255"/>
                </a:cubicBezTo>
                <a:cubicBezTo>
                  <a:pt x="18655" y="13119"/>
                  <a:pt x="18599" y="12997"/>
                  <a:pt x="18511" y="12908"/>
                </a:cubicBezTo>
                <a:cubicBezTo>
                  <a:pt x="18511" y="12908"/>
                  <a:pt x="8693" y="3090"/>
                  <a:pt x="8693" y="3090"/>
                </a:cubicBezTo>
                <a:close/>
                <a:moveTo>
                  <a:pt x="7855" y="15218"/>
                </a:moveTo>
                <a:cubicBezTo>
                  <a:pt x="7855" y="15490"/>
                  <a:pt x="8074" y="15709"/>
                  <a:pt x="8345" y="15709"/>
                </a:cubicBezTo>
                <a:cubicBezTo>
                  <a:pt x="8481" y="15709"/>
                  <a:pt x="8604" y="15655"/>
                  <a:pt x="8693" y="15565"/>
                </a:cubicBezTo>
                <a:lnTo>
                  <a:pt x="9183" y="15074"/>
                </a:lnTo>
                <a:cubicBezTo>
                  <a:pt x="9273" y="14986"/>
                  <a:pt x="9327" y="14863"/>
                  <a:pt x="9327" y="14728"/>
                </a:cubicBezTo>
                <a:cubicBezTo>
                  <a:pt x="9327" y="14456"/>
                  <a:pt x="9108" y="14236"/>
                  <a:pt x="8836" y="14236"/>
                </a:cubicBezTo>
                <a:cubicBezTo>
                  <a:pt x="8701" y="14236"/>
                  <a:pt x="8578" y="14291"/>
                  <a:pt x="8489" y="14381"/>
                </a:cubicBezTo>
                <a:lnTo>
                  <a:pt x="7998" y="14871"/>
                </a:lnTo>
                <a:cubicBezTo>
                  <a:pt x="7910" y="14961"/>
                  <a:pt x="7855" y="15083"/>
                  <a:pt x="7855" y="15218"/>
                </a:cubicBezTo>
                <a:moveTo>
                  <a:pt x="21456" y="9962"/>
                </a:moveTo>
                <a:lnTo>
                  <a:pt x="11638" y="144"/>
                </a:lnTo>
                <a:cubicBezTo>
                  <a:pt x="11549" y="55"/>
                  <a:pt x="11427" y="0"/>
                  <a:pt x="11291" y="0"/>
                </a:cubicBezTo>
                <a:lnTo>
                  <a:pt x="4418" y="0"/>
                </a:lnTo>
                <a:cubicBezTo>
                  <a:pt x="3605" y="0"/>
                  <a:pt x="2945" y="660"/>
                  <a:pt x="2945" y="1473"/>
                </a:cubicBezTo>
                <a:cubicBezTo>
                  <a:pt x="2945" y="1744"/>
                  <a:pt x="3165" y="1964"/>
                  <a:pt x="3436" y="1964"/>
                </a:cubicBezTo>
                <a:cubicBezTo>
                  <a:pt x="3708" y="1964"/>
                  <a:pt x="3927" y="1744"/>
                  <a:pt x="3927" y="1473"/>
                </a:cubicBezTo>
                <a:cubicBezTo>
                  <a:pt x="3927" y="1202"/>
                  <a:pt x="4147" y="982"/>
                  <a:pt x="4418" y="982"/>
                </a:cubicBezTo>
                <a:lnTo>
                  <a:pt x="11088" y="982"/>
                </a:lnTo>
                <a:lnTo>
                  <a:pt x="20415" y="10310"/>
                </a:lnTo>
                <a:lnTo>
                  <a:pt x="19289" y="11435"/>
                </a:lnTo>
                <a:cubicBezTo>
                  <a:pt x="19201" y="11524"/>
                  <a:pt x="19145" y="11646"/>
                  <a:pt x="19145" y="11782"/>
                </a:cubicBezTo>
                <a:cubicBezTo>
                  <a:pt x="19145" y="12053"/>
                  <a:pt x="19366" y="12273"/>
                  <a:pt x="19636" y="12273"/>
                </a:cubicBezTo>
                <a:cubicBezTo>
                  <a:pt x="19772" y="12273"/>
                  <a:pt x="19895" y="12218"/>
                  <a:pt x="19983" y="12129"/>
                </a:cubicBezTo>
                <a:lnTo>
                  <a:pt x="21456" y="10656"/>
                </a:lnTo>
                <a:cubicBezTo>
                  <a:pt x="21545" y="10567"/>
                  <a:pt x="21600" y="10445"/>
                  <a:pt x="21600" y="10310"/>
                </a:cubicBezTo>
                <a:cubicBezTo>
                  <a:pt x="21600" y="10174"/>
                  <a:pt x="21545" y="10051"/>
                  <a:pt x="21456" y="9962"/>
                </a:cubicBezTo>
                <a:moveTo>
                  <a:pt x="10309" y="13745"/>
                </a:moveTo>
                <a:cubicBezTo>
                  <a:pt x="10445" y="13745"/>
                  <a:pt x="10567" y="13691"/>
                  <a:pt x="10656" y="13602"/>
                </a:cubicBezTo>
                <a:lnTo>
                  <a:pt x="11638" y="12620"/>
                </a:lnTo>
                <a:cubicBezTo>
                  <a:pt x="11727" y="12531"/>
                  <a:pt x="11782" y="12408"/>
                  <a:pt x="11782" y="12273"/>
                </a:cubicBezTo>
                <a:cubicBezTo>
                  <a:pt x="11782" y="12002"/>
                  <a:pt x="11562" y="11782"/>
                  <a:pt x="11291" y="11782"/>
                </a:cubicBezTo>
                <a:cubicBezTo>
                  <a:pt x="11156" y="11782"/>
                  <a:pt x="11033" y="11837"/>
                  <a:pt x="10944" y="11926"/>
                </a:cubicBezTo>
                <a:lnTo>
                  <a:pt x="9962" y="12908"/>
                </a:lnTo>
                <a:cubicBezTo>
                  <a:pt x="9873" y="12997"/>
                  <a:pt x="9818" y="13119"/>
                  <a:pt x="9818" y="13255"/>
                </a:cubicBezTo>
                <a:cubicBezTo>
                  <a:pt x="9818" y="13526"/>
                  <a:pt x="10038" y="13745"/>
                  <a:pt x="10309" y="13745"/>
                </a:cubicBezTo>
                <a:moveTo>
                  <a:pt x="4418" y="7855"/>
                </a:moveTo>
                <a:cubicBezTo>
                  <a:pt x="4147" y="7855"/>
                  <a:pt x="3927" y="7635"/>
                  <a:pt x="3927" y="7364"/>
                </a:cubicBezTo>
                <a:cubicBezTo>
                  <a:pt x="3927" y="7093"/>
                  <a:pt x="4147" y="6873"/>
                  <a:pt x="4418" y="6873"/>
                </a:cubicBezTo>
                <a:cubicBezTo>
                  <a:pt x="4690" y="6873"/>
                  <a:pt x="4909" y="7093"/>
                  <a:pt x="4909" y="7364"/>
                </a:cubicBezTo>
                <a:cubicBezTo>
                  <a:pt x="4909" y="7635"/>
                  <a:pt x="4690" y="7855"/>
                  <a:pt x="4418" y="7855"/>
                </a:cubicBezTo>
                <a:moveTo>
                  <a:pt x="4418" y="5891"/>
                </a:moveTo>
                <a:cubicBezTo>
                  <a:pt x="3605" y="5891"/>
                  <a:pt x="2945" y="6551"/>
                  <a:pt x="2945" y="7364"/>
                </a:cubicBezTo>
                <a:cubicBezTo>
                  <a:pt x="2945" y="8177"/>
                  <a:pt x="3605" y="8837"/>
                  <a:pt x="4418" y="8837"/>
                </a:cubicBezTo>
                <a:cubicBezTo>
                  <a:pt x="5232" y="8837"/>
                  <a:pt x="5891" y="8177"/>
                  <a:pt x="5891" y="7364"/>
                </a:cubicBezTo>
                <a:cubicBezTo>
                  <a:pt x="5891" y="6551"/>
                  <a:pt x="5232" y="5891"/>
                  <a:pt x="44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5" name="Shape 2585"/>
          <p:cNvSpPr/>
          <p:nvPr/>
        </p:nvSpPr>
        <p:spPr>
          <a:xfrm>
            <a:off x="4707714"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000" y="14727"/>
                </a:moveTo>
                <a:lnTo>
                  <a:pt x="5400" y="14727"/>
                </a:lnTo>
                <a:cubicBezTo>
                  <a:pt x="5069" y="14727"/>
                  <a:pt x="4800" y="14947"/>
                  <a:pt x="4800" y="15218"/>
                </a:cubicBezTo>
                <a:cubicBezTo>
                  <a:pt x="4800" y="15490"/>
                  <a:pt x="5069" y="15709"/>
                  <a:pt x="5400" y="15709"/>
                </a:cubicBezTo>
                <a:lnTo>
                  <a:pt x="9000" y="15709"/>
                </a:lnTo>
                <a:cubicBezTo>
                  <a:pt x="9331" y="15709"/>
                  <a:pt x="9600" y="15490"/>
                  <a:pt x="9600" y="15218"/>
                </a:cubicBezTo>
                <a:cubicBezTo>
                  <a:pt x="9600" y="14947"/>
                  <a:pt x="9331" y="14727"/>
                  <a:pt x="9000" y="14727"/>
                </a:cubicBezTo>
                <a:moveTo>
                  <a:pt x="20400" y="2579"/>
                </a:moveTo>
                <a:cubicBezTo>
                  <a:pt x="18840" y="3757"/>
                  <a:pt x="15638" y="4614"/>
                  <a:pt x="12466" y="4845"/>
                </a:cubicBezTo>
                <a:cubicBezTo>
                  <a:pt x="12197" y="4307"/>
                  <a:pt x="11554" y="3927"/>
                  <a:pt x="10800" y="3927"/>
                </a:cubicBezTo>
                <a:cubicBezTo>
                  <a:pt x="10046" y="3927"/>
                  <a:pt x="9403" y="4307"/>
                  <a:pt x="9135" y="4845"/>
                </a:cubicBezTo>
                <a:cubicBezTo>
                  <a:pt x="5962" y="4614"/>
                  <a:pt x="2760" y="3757"/>
                  <a:pt x="1200" y="2579"/>
                </a:cubicBezTo>
                <a:lnTo>
                  <a:pt x="1200" y="1964"/>
                </a:lnTo>
                <a:cubicBezTo>
                  <a:pt x="1200" y="1422"/>
                  <a:pt x="1738" y="982"/>
                  <a:pt x="2400" y="982"/>
                </a:cubicBezTo>
                <a:lnTo>
                  <a:pt x="19200" y="982"/>
                </a:lnTo>
                <a:cubicBezTo>
                  <a:pt x="19862" y="982"/>
                  <a:pt x="20400" y="1422"/>
                  <a:pt x="20400" y="1964"/>
                </a:cubicBezTo>
                <a:cubicBezTo>
                  <a:pt x="20400" y="1964"/>
                  <a:pt x="20400" y="2579"/>
                  <a:pt x="20400" y="2579"/>
                </a:cubicBezTo>
                <a:close/>
                <a:moveTo>
                  <a:pt x="10200" y="5400"/>
                </a:moveTo>
                <a:cubicBezTo>
                  <a:pt x="10200" y="5129"/>
                  <a:pt x="10469" y="4909"/>
                  <a:pt x="10800" y="4909"/>
                </a:cubicBezTo>
                <a:cubicBezTo>
                  <a:pt x="11131" y="4909"/>
                  <a:pt x="11400" y="5129"/>
                  <a:pt x="11400" y="5400"/>
                </a:cubicBezTo>
                <a:cubicBezTo>
                  <a:pt x="11400" y="5672"/>
                  <a:pt x="11131" y="5891"/>
                  <a:pt x="10800" y="5891"/>
                </a:cubicBezTo>
                <a:cubicBezTo>
                  <a:pt x="10469" y="5891"/>
                  <a:pt x="10200" y="5672"/>
                  <a:pt x="10200" y="5400"/>
                </a:cubicBezTo>
                <a:moveTo>
                  <a:pt x="20400" y="19636"/>
                </a:moveTo>
                <a:cubicBezTo>
                  <a:pt x="20400" y="20178"/>
                  <a:pt x="19862" y="20619"/>
                  <a:pt x="19200" y="20619"/>
                </a:cubicBezTo>
                <a:lnTo>
                  <a:pt x="2400" y="20619"/>
                </a:lnTo>
                <a:cubicBezTo>
                  <a:pt x="1738" y="20619"/>
                  <a:pt x="1200" y="20178"/>
                  <a:pt x="1200" y="19636"/>
                </a:cubicBezTo>
                <a:lnTo>
                  <a:pt x="1200" y="3859"/>
                </a:lnTo>
                <a:cubicBezTo>
                  <a:pt x="3007" y="4894"/>
                  <a:pt x="6118" y="5617"/>
                  <a:pt x="9086" y="5827"/>
                </a:cubicBezTo>
                <a:cubicBezTo>
                  <a:pt x="9311" y="6431"/>
                  <a:pt x="9988" y="6873"/>
                  <a:pt x="10800" y="6873"/>
                </a:cubicBezTo>
                <a:cubicBezTo>
                  <a:pt x="11611" y="6873"/>
                  <a:pt x="12289" y="6431"/>
                  <a:pt x="12514" y="5827"/>
                </a:cubicBezTo>
                <a:cubicBezTo>
                  <a:pt x="15482" y="5617"/>
                  <a:pt x="18593" y="4894"/>
                  <a:pt x="20400" y="3859"/>
                </a:cubicBezTo>
                <a:cubicBezTo>
                  <a:pt x="20400" y="3859"/>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7800" y="16691"/>
                </a:moveTo>
                <a:lnTo>
                  <a:pt x="5400" y="16691"/>
                </a:lnTo>
                <a:cubicBezTo>
                  <a:pt x="5069" y="16691"/>
                  <a:pt x="4800" y="16911"/>
                  <a:pt x="4800" y="17182"/>
                </a:cubicBezTo>
                <a:cubicBezTo>
                  <a:pt x="4800" y="17453"/>
                  <a:pt x="5069" y="17673"/>
                  <a:pt x="5400" y="17673"/>
                </a:cubicBezTo>
                <a:lnTo>
                  <a:pt x="7800" y="17673"/>
                </a:lnTo>
                <a:cubicBezTo>
                  <a:pt x="8131" y="17673"/>
                  <a:pt x="8400" y="17453"/>
                  <a:pt x="8400" y="17182"/>
                </a:cubicBezTo>
                <a:cubicBezTo>
                  <a:pt x="8400" y="16911"/>
                  <a:pt x="8131" y="16691"/>
                  <a:pt x="78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6" name="Shape 2586"/>
          <p:cNvSpPr/>
          <p:nvPr/>
        </p:nvSpPr>
        <p:spPr>
          <a:xfrm>
            <a:off x="5107660" y="1832092"/>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600" y="6076"/>
                </a:moveTo>
                <a:cubicBezTo>
                  <a:pt x="14428" y="7109"/>
                  <a:pt x="12685" y="7649"/>
                  <a:pt x="10071" y="7803"/>
                </a:cubicBezTo>
                <a:cubicBezTo>
                  <a:pt x="9806" y="7259"/>
                  <a:pt x="9160" y="6873"/>
                  <a:pt x="8400" y="6873"/>
                </a:cubicBezTo>
                <a:cubicBezTo>
                  <a:pt x="7640" y="6873"/>
                  <a:pt x="6994" y="7259"/>
                  <a:pt x="6729" y="7803"/>
                </a:cubicBezTo>
                <a:cubicBezTo>
                  <a:pt x="4115" y="7649"/>
                  <a:pt x="2372" y="7109"/>
                  <a:pt x="1200" y="6076"/>
                </a:cubicBezTo>
                <a:lnTo>
                  <a:pt x="1200" y="5891"/>
                </a:lnTo>
                <a:cubicBezTo>
                  <a:pt x="1200" y="5349"/>
                  <a:pt x="1738" y="4909"/>
                  <a:pt x="2400" y="4909"/>
                </a:cubicBezTo>
                <a:lnTo>
                  <a:pt x="14400" y="4909"/>
                </a:lnTo>
                <a:cubicBezTo>
                  <a:pt x="15062" y="4909"/>
                  <a:pt x="15600" y="5349"/>
                  <a:pt x="15600" y="5891"/>
                </a:cubicBezTo>
                <a:cubicBezTo>
                  <a:pt x="15600" y="5891"/>
                  <a:pt x="15600" y="6076"/>
                  <a:pt x="15600" y="6076"/>
                </a:cubicBezTo>
                <a:close/>
                <a:moveTo>
                  <a:pt x="7800" y="8346"/>
                </a:moveTo>
                <a:cubicBezTo>
                  <a:pt x="7800" y="8074"/>
                  <a:pt x="8069" y="7855"/>
                  <a:pt x="8400" y="7855"/>
                </a:cubicBezTo>
                <a:cubicBezTo>
                  <a:pt x="8731" y="7855"/>
                  <a:pt x="9000" y="8074"/>
                  <a:pt x="9000" y="8346"/>
                </a:cubicBezTo>
                <a:cubicBezTo>
                  <a:pt x="9000" y="8617"/>
                  <a:pt x="8731" y="8836"/>
                  <a:pt x="8400" y="8836"/>
                </a:cubicBezTo>
                <a:cubicBezTo>
                  <a:pt x="8069" y="8836"/>
                  <a:pt x="7800" y="8617"/>
                  <a:pt x="7800" y="8346"/>
                </a:cubicBezTo>
                <a:moveTo>
                  <a:pt x="15600" y="19636"/>
                </a:moveTo>
                <a:cubicBezTo>
                  <a:pt x="15600" y="20179"/>
                  <a:pt x="15062" y="20619"/>
                  <a:pt x="14400" y="20619"/>
                </a:cubicBezTo>
                <a:lnTo>
                  <a:pt x="2400" y="20619"/>
                </a:lnTo>
                <a:cubicBezTo>
                  <a:pt x="1738" y="20619"/>
                  <a:pt x="1200" y="20179"/>
                  <a:pt x="1200" y="19636"/>
                </a:cubicBezTo>
                <a:lnTo>
                  <a:pt x="1200" y="7318"/>
                </a:lnTo>
                <a:cubicBezTo>
                  <a:pt x="2658" y="8244"/>
                  <a:pt x="4301" y="8666"/>
                  <a:pt x="6693" y="8790"/>
                </a:cubicBezTo>
                <a:cubicBezTo>
                  <a:pt x="6924" y="9385"/>
                  <a:pt x="7597" y="9819"/>
                  <a:pt x="8400" y="9819"/>
                </a:cubicBezTo>
                <a:cubicBezTo>
                  <a:pt x="9203" y="9819"/>
                  <a:pt x="9875" y="9385"/>
                  <a:pt x="10108" y="8790"/>
                </a:cubicBezTo>
                <a:cubicBezTo>
                  <a:pt x="12499" y="8666"/>
                  <a:pt x="14142" y="8244"/>
                  <a:pt x="15600" y="7318"/>
                </a:cubicBezTo>
                <a:cubicBezTo>
                  <a:pt x="15600" y="7318"/>
                  <a:pt x="15600" y="19636"/>
                  <a:pt x="15600" y="19636"/>
                </a:cubicBezTo>
                <a:close/>
                <a:moveTo>
                  <a:pt x="14400" y="3927"/>
                </a:moveTo>
                <a:lnTo>
                  <a:pt x="2400" y="3927"/>
                </a:lnTo>
                <a:cubicBezTo>
                  <a:pt x="1075" y="3927"/>
                  <a:pt x="0" y="4806"/>
                  <a:pt x="0" y="5891"/>
                </a:cubicBezTo>
                <a:lnTo>
                  <a:pt x="0" y="19636"/>
                </a:lnTo>
                <a:cubicBezTo>
                  <a:pt x="0" y="20721"/>
                  <a:pt x="1075" y="21600"/>
                  <a:pt x="2400" y="21600"/>
                </a:cubicBezTo>
                <a:lnTo>
                  <a:pt x="14400" y="21600"/>
                </a:lnTo>
                <a:cubicBezTo>
                  <a:pt x="15725" y="21600"/>
                  <a:pt x="16800" y="20721"/>
                  <a:pt x="16800" y="19636"/>
                </a:cubicBezTo>
                <a:lnTo>
                  <a:pt x="16800" y="5891"/>
                </a:lnTo>
                <a:cubicBezTo>
                  <a:pt x="16800" y="4806"/>
                  <a:pt x="15725" y="3927"/>
                  <a:pt x="14400" y="3927"/>
                </a:cubicBezTo>
                <a:moveTo>
                  <a:pt x="5400" y="17673"/>
                </a:moveTo>
                <a:lnTo>
                  <a:pt x="4200" y="17673"/>
                </a:lnTo>
                <a:cubicBezTo>
                  <a:pt x="3869" y="17673"/>
                  <a:pt x="3600" y="17893"/>
                  <a:pt x="3600" y="18164"/>
                </a:cubicBezTo>
                <a:cubicBezTo>
                  <a:pt x="3600" y="18435"/>
                  <a:pt x="3869" y="18655"/>
                  <a:pt x="4200" y="18655"/>
                </a:cubicBezTo>
                <a:lnTo>
                  <a:pt x="5400" y="18655"/>
                </a:lnTo>
                <a:cubicBezTo>
                  <a:pt x="5731" y="18655"/>
                  <a:pt x="6000" y="18435"/>
                  <a:pt x="6000" y="18164"/>
                </a:cubicBezTo>
                <a:cubicBezTo>
                  <a:pt x="6000" y="17893"/>
                  <a:pt x="5731" y="17673"/>
                  <a:pt x="5400" y="17673"/>
                </a:cubicBezTo>
                <a:moveTo>
                  <a:pt x="6600" y="15709"/>
                </a:moveTo>
                <a:lnTo>
                  <a:pt x="4200" y="15709"/>
                </a:lnTo>
                <a:cubicBezTo>
                  <a:pt x="3869" y="15709"/>
                  <a:pt x="3600" y="15929"/>
                  <a:pt x="3600" y="16200"/>
                </a:cubicBezTo>
                <a:cubicBezTo>
                  <a:pt x="3600" y="16472"/>
                  <a:pt x="3869" y="16691"/>
                  <a:pt x="4200" y="16691"/>
                </a:cubicBezTo>
                <a:lnTo>
                  <a:pt x="6600" y="16691"/>
                </a:lnTo>
                <a:cubicBezTo>
                  <a:pt x="6931" y="16691"/>
                  <a:pt x="7200" y="16472"/>
                  <a:pt x="7200" y="16200"/>
                </a:cubicBezTo>
                <a:cubicBezTo>
                  <a:pt x="7200" y="15929"/>
                  <a:pt x="6931" y="15709"/>
                  <a:pt x="6600" y="15709"/>
                </a:cubicBezTo>
                <a:moveTo>
                  <a:pt x="19200" y="0"/>
                </a:moveTo>
                <a:lnTo>
                  <a:pt x="7200" y="0"/>
                </a:lnTo>
                <a:cubicBezTo>
                  <a:pt x="5875" y="0"/>
                  <a:pt x="4800" y="879"/>
                  <a:pt x="4800" y="1964"/>
                </a:cubicBezTo>
                <a:lnTo>
                  <a:pt x="4800" y="2455"/>
                </a:lnTo>
                <a:cubicBezTo>
                  <a:pt x="4800" y="2726"/>
                  <a:pt x="5069" y="2945"/>
                  <a:pt x="5400" y="2945"/>
                </a:cubicBezTo>
                <a:cubicBezTo>
                  <a:pt x="5731" y="2945"/>
                  <a:pt x="6000" y="2726"/>
                  <a:pt x="6000" y="2455"/>
                </a:cubicBezTo>
                <a:lnTo>
                  <a:pt x="6000" y="1964"/>
                </a:lnTo>
                <a:cubicBezTo>
                  <a:pt x="6000" y="1422"/>
                  <a:pt x="6538" y="982"/>
                  <a:pt x="7200" y="982"/>
                </a:cubicBezTo>
                <a:lnTo>
                  <a:pt x="19200" y="982"/>
                </a:lnTo>
                <a:cubicBezTo>
                  <a:pt x="19862" y="982"/>
                  <a:pt x="20400" y="1422"/>
                  <a:pt x="20400" y="1964"/>
                </a:cubicBezTo>
                <a:lnTo>
                  <a:pt x="20400" y="15709"/>
                </a:lnTo>
                <a:cubicBezTo>
                  <a:pt x="20400" y="16252"/>
                  <a:pt x="19862" y="16691"/>
                  <a:pt x="19200" y="16691"/>
                </a:cubicBezTo>
                <a:lnTo>
                  <a:pt x="18600" y="16691"/>
                </a:lnTo>
                <a:cubicBezTo>
                  <a:pt x="18269" y="16691"/>
                  <a:pt x="18000" y="16911"/>
                  <a:pt x="18000" y="17182"/>
                </a:cubicBezTo>
                <a:cubicBezTo>
                  <a:pt x="18000" y="17453"/>
                  <a:pt x="18269" y="17673"/>
                  <a:pt x="18600" y="17673"/>
                </a:cubicBezTo>
                <a:lnTo>
                  <a:pt x="19200" y="17673"/>
                </a:lnTo>
                <a:cubicBezTo>
                  <a:pt x="20525" y="17673"/>
                  <a:pt x="21600" y="16794"/>
                  <a:pt x="21600" y="15709"/>
                </a:cubicBezTo>
                <a:lnTo>
                  <a:pt x="21600" y="1964"/>
                </a:lnTo>
                <a:cubicBezTo>
                  <a:pt x="21600" y="879"/>
                  <a:pt x="20525" y="0"/>
                  <a:pt x="192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7" name="Shape 2587"/>
          <p:cNvSpPr/>
          <p:nvPr/>
        </p:nvSpPr>
        <p:spPr>
          <a:xfrm>
            <a:off x="5488562"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81" y="19846"/>
                </a:moveTo>
                <a:lnTo>
                  <a:pt x="9413" y="12882"/>
                </a:lnTo>
                <a:lnTo>
                  <a:pt x="19655" y="2640"/>
                </a:lnTo>
                <a:cubicBezTo>
                  <a:pt x="19655" y="2640"/>
                  <a:pt x="12281" y="19846"/>
                  <a:pt x="12281" y="19846"/>
                </a:cubicBezTo>
                <a:close/>
                <a:moveTo>
                  <a:pt x="1755" y="9320"/>
                </a:moveTo>
                <a:lnTo>
                  <a:pt x="18960" y="1945"/>
                </a:lnTo>
                <a:lnTo>
                  <a:pt x="8719" y="12187"/>
                </a:lnTo>
                <a:cubicBezTo>
                  <a:pt x="8719" y="12187"/>
                  <a:pt x="1755" y="9320"/>
                  <a:pt x="1755" y="9320"/>
                </a:cubicBezTo>
                <a:close/>
                <a:moveTo>
                  <a:pt x="21600" y="491"/>
                </a:moveTo>
                <a:cubicBezTo>
                  <a:pt x="21600" y="220"/>
                  <a:pt x="21380" y="0"/>
                  <a:pt x="21109" y="0"/>
                </a:cubicBezTo>
                <a:cubicBezTo>
                  <a:pt x="21034" y="0"/>
                  <a:pt x="20964" y="20"/>
                  <a:pt x="20900" y="52"/>
                </a:cubicBezTo>
                <a:lnTo>
                  <a:pt x="20898" y="48"/>
                </a:lnTo>
                <a:lnTo>
                  <a:pt x="302" y="8875"/>
                </a:lnTo>
                <a:cubicBezTo>
                  <a:pt x="301" y="8875"/>
                  <a:pt x="299" y="8876"/>
                  <a:pt x="297" y="8877"/>
                </a:cubicBezTo>
                <a:lnTo>
                  <a:pt x="280" y="8885"/>
                </a:lnTo>
                <a:lnTo>
                  <a:pt x="281" y="8887"/>
                </a:lnTo>
                <a:cubicBezTo>
                  <a:pt x="116" y="8967"/>
                  <a:pt x="0" y="9132"/>
                  <a:pt x="0" y="9327"/>
                </a:cubicBezTo>
                <a:cubicBezTo>
                  <a:pt x="0" y="9550"/>
                  <a:pt x="151" y="9731"/>
                  <a:pt x="355" y="9791"/>
                </a:cubicBezTo>
                <a:lnTo>
                  <a:pt x="353" y="9799"/>
                </a:lnTo>
                <a:lnTo>
                  <a:pt x="8462" y="13138"/>
                </a:lnTo>
                <a:lnTo>
                  <a:pt x="11801" y="21248"/>
                </a:lnTo>
                <a:lnTo>
                  <a:pt x="11809" y="21245"/>
                </a:lnTo>
                <a:cubicBezTo>
                  <a:pt x="11869" y="21449"/>
                  <a:pt x="12050" y="21600"/>
                  <a:pt x="12273" y="21600"/>
                </a:cubicBezTo>
                <a:cubicBezTo>
                  <a:pt x="12468" y="21600"/>
                  <a:pt x="12634" y="21484"/>
                  <a:pt x="12713" y="21319"/>
                </a:cubicBezTo>
                <a:lnTo>
                  <a:pt x="12716" y="21320"/>
                </a:lnTo>
                <a:lnTo>
                  <a:pt x="12723" y="21303"/>
                </a:lnTo>
                <a:cubicBezTo>
                  <a:pt x="12724" y="21301"/>
                  <a:pt x="12725" y="21300"/>
                  <a:pt x="12725" y="21298"/>
                </a:cubicBezTo>
                <a:lnTo>
                  <a:pt x="21553" y="702"/>
                </a:lnTo>
                <a:lnTo>
                  <a:pt x="21547" y="699"/>
                </a:lnTo>
                <a:cubicBezTo>
                  <a:pt x="21578" y="636"/>
                  <a:pt x="21600" y="567"/>
                  <a:pt x="21600" y="491"/>
                </a:cubicBezTo>
                <a:moveTo>
                  <a:pt x="7855" y="16200"/>
                </a:moveTo>
                <a:cubicBezTo>
                  <a:pt x="7719" y="16200"/>
                  <a:pt x="7596" y="16255"/>
                  <a:pt x="7507" y="16344"/>
                </a:cubicBezTo>
                <a:lnTo>
                  <a:pt x="6035" y="17817"/>
                </a:lnTo>
                <a:cubicBezTo>
                  <a:pt x="5946" y="17905"/>
                  <a:pt x="5891" y="18029"/>
                  <a:pt x="5891" y="18164"/>
                </a:cubicBezTo>
                <a:cubicBezTo>
                  <a:pt x="5891" y="18435"/>
                  <a:pt x="6111" y="18655"/>
                  <a:pt x="6382" y="18655"/>
                </a:cubicBezTo>
                <a:cubicBezTo>
                  <a:pt x="6517" y="18655"/>
                  <a:pt x="6640" y="18600"/>
                  <a:pt x="6729" y="18511"/>
                </a:cubicBezTo>
                <a:lnTo>
                  <a:pt x="8202" y="17038"/>
                </a:lnTo>
                <a:cubicBezTo>
                  <a:pt x="8291" y="16950"/>
                  <a:pt x="8345" y="16827"/>
                  <a:pt x="8345" y="16691"/>
                </a:cubicBezTo>
                <a:cubicBezTo>
                  <a:pt x="8345" y="16420"/>
                  <a:pt x="8126" y="16200"/>
                  <a:pt x="7855" y="16200"/>
                </a:cubicBezTo>
                <a:moveTo>
                  <a:pt x="7855" y="14237"/>
                </a:moveTo>
                <a:cubicBezTo>
                  <a:pt x="7855" y="13966"/>
                  <a:pt x="7635" y="13745"/>
                  <a:pt x="7364" y="13745"/>
                </a:cubicBezTo>
                <a:cubicBezTo>
                  <a:pt x="7228" y="13745"/>
                  <a:pt x="7105" y="13801"/>
                  <a:pt x="7017" y="13889"/>
                </a:cubicBezTo>
                <a:lnTo>
                  <a:pt x="2107" y="18798"/>
                </a:lnTo>
                <a:cubicBezTo>
                  <a:pt x="2019" y="18888"/>
                  <a:pt x="1964" y="19011"/>
                  <a:pt x="1964" y="19145"/>
                </a:cubicBezTo>
                <a:cubicBezTo>
                  <a:pt x="1964" y="19417"/>
                  <a:pt x="2184" y="19636"/>
                  <a:pt x="2455" y="19636"/>
                </a:cubicBezTo>
                <a:cubicBezTo>
                  <a:pt x="2590" y="19636"/>
                  <a:pt x="2713" y="19582"/>
                  <a:pt x="2802" y="19493"/>
                </a:cubicBezTo>
                <a:lnTo>
                  <a:pt x="7711" y="14583"/>
                </a:lnTo>
                <a:cubicBezTo>
                  <a:pt x="7800" y="14495"/>
                  <a:pt x="7855" y="14372"/>
                  <a:pt x="7855" y="14237"/>
                </a:cubicBezTo>
                <a:moveTo>
                  <a:pt x="4765" y="14583"/>
                </a:moveTo>
                <a:lnTo>
                  <a:pt x="5256" y="14093"/>
                </a:lnTo>
                <a:cubicBezTo>
                  <a:pt x="5345" y="14004"/>
                  <a:pt x="5400" y="13881"/>
                  <a:pt x="5400" y="13745"/>
                </a:cubicBezTo>
                <a:cubicBezTo>
                  <a:pt x="5400" y="13475"/>
                  <a:pt x="5180" y="13255"/>
                  <a:pt x="4909" y="13255"/>
                </a:cubicBezTo>
                <a:cubicBezTo>
                  <a:pt x="4774" y="13255"/>
                  <a:pt x="4651" y="13310"/>
                  <a:pt x="4562" y="13398"/>
                </a:cubicBezTo>
                <a:lnTo>
                  <a:pt x="4071" y="13889"/>
                </a:lnTo>
                <a:cubicBezTo>
                  <a:pt x="3982" y="13979"/>
                  <a:pt x="3927" y="14101"/>
                  <a:pt x="3927" y="14237"/>
                </a:cubicBezTo>
                <a:cubicBezTo>
                  <a:pt x="3927" y="14507"/>
                  <a:pt x="4147" y="14727"/>
                  <a:pt x="4418" y="14727"/>
                </a:cubicBezTo>
                <a:cubicBezTo>
                  <a:pt x="4554" y="14727"/>
                  <a:pt x="4676" y="14673"/>
                  <a:pt x="4765" y="1458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8" name="Shape 2588"/>
          <p:cNvSpPr/>
          <p:nvPr/>
        </p:nvSpPr>
        <p:spPr>
          <a:xfrm>
            <a:off x="5888507"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89" name="Shape 2589"/>
          <p:cNvSpPr/>
          <p:nvPr/>
        </p:nvSpPr>
        <p:spPr>
          <a:xfrm>
            <a:off x="6288453" y="1841613"/>
            <a:ext cx="209495" cy="190458"/>
          </a:xfrm>
          <a:custGeom>
            <a:avLst/>
            <a:gdLst/>
            <a:ahLst/>
            <a:cxnLst>
              <a:cxn ang="0">
                <a:pos x="wd2" y="hd2"/>
              </a:cxn>
              <a:cxn ang="5400000">
                <a:pos x="wd2" y="hd2"/>
              </a:cxn>
              <a:cxn ang="10800000">
                <a:pos x="wd2" y="hd2"/>
              </a:cxn>
              <a:cxn ang="16200000">
                <a:pos x="wd2" y="hd2"/>
              </a:cxn>
            </a:cxnLst>
            <a:rect l="0" t="0" r="r" b="b"/>
            <a:pathLst>
              <a:path w="21600" h="21600" extrusionOk="0">
                <a:moveTo>
                  <a:pt x="6382" y="15119"/>
                </a:moveTo>
                <a:cubicBezTo>
                  <a:pt x="7195" y="15119"/>
                  <a:pt x="7855" y="14394"/>
                  <a:pt x="7855" y="13500"/>
                </a:cubicBezTo>
                <a:cubicBezTo>
                  <a:pt x="7855" y="12605"/>
                  <a:pt x="7195" y="11880"/>
                  <a:pt x="6382" y="11880"/>
                </a:cubicBezTo>
                <a:cubicBezTo>
                  <a:pt x="5568" y="11880"/>
                  <a:pt x="4909" y="12605"/>
                  <a:pt x="4909" y="13500"/>
                </a:cubicBezTo>
                <a:cubicBezTo>
                  <a:pt x="4909" y="14394"/>
                  <a:pt x="5568" y="15119"/>
                  <a:pt x="6382" y="15119"/>
                </a:cubicBezTo>
                <a:moveTo>
                  <a:pt x="2455" y="3240"/>
                </a:moveTo>
                <a:cubicBezTo>
                  <a:pt x="2725" y="3240"/>
                  <a:pt x="2945" y="2999"/>
                  <a:pt x="2945" y="2700"/>
                </a:cubicBezTo>
                <a:cubicBezTo>
                  <a:pt x="2945" y="2402"/>
                  <a:pt x="2725" y="2160"/>
                  <a:pt x="2455" y="2160"/>
                </a:cubicBezTo>
                <a:cubicBezTo>
                  <a:pt x="2184" y="2160"/>
                  <a:pt x="1964" y="2402"/>
                  <a:pt x="1964" y="2700"/>
                </a:cubicBezTo>
                <a:cubicBezTo>
                  <a:pt x="1964" y="2999"/>
                  <a:pt x="2184" y="3240"/>
                  <a:pt x="2455" y="3240"/>
                </a:cubicBezTo>
                <a:moveTo>
                  <a:pt x="3927" y="8100"/>
                </a:moveTo>
                <a:cubicBezTo>
                  <a:pt x="3927" y="6609"/>
                  <a:pt x="5026" y="5400"/>
                  <a:pt x="6382" y="5400"/>
                </a:cubicBezTo>
                <a:cubicBezTo>
                  <a:pt x="7738" y="5400"/>
                  <a:pt x="8836" y="6609"/>
                  <a:pt x="8836" y="8100"/>
                </a:cubicBezTo>
                <a:lnTo>
                  <a:pt x="8836" y="13500"/>
                </a:lnTo>
                <a:cubicBezTo>
                  <a:pt x="8836" y="14991"/>
                  <a:pt x="7738" y="16199"/>
                  <a:pt x="6382" y="16199"/>
                </a:cubicBezTo>
                <a:cubicBezTo>
                  <a:pt x="5026" y="16199"/>
                  <a:pt x="3927" y="14991"/>
                  <a:pt x="3927" y="13500"/>
                </a:cubicBezTo>
                <a:cubicBezTo>
                  <a:pt x="3927" y="13500"/>
                  <a:pt x="3927" y="8100"/>
                  <a:pt x="3927" y="8100"/>
                </a:cubicBezTo>
                <a:close/>
                <a:moveTo>
                  <a:pt x="2945" y="13500"/>
                </a:moveTo>
                <a:cubicBezTo>
                  <a:pt x="2945" y="15587"/>
                  <a:pt x="4484" y="17279"/>
                  <a:pt x="6382" y="17279"/>
                </a:cubicBezTo>
                <a:cubicBezTo>
                  <a:pt x="8280" y="17279"/>
                  <a:pt x="9818" y="15587"/>
                  <a:pt x="9818" y="13500"/>
                </a:cubicBezTo>
                <a:lnTo>
                  <a:pt x="9818" y="8100"/>
                </a:lnTo>
                <a:cubicBezTo>
                  <a:pt x="9818" y="6012"/>
                  <a:pt x="8280" y="4320"/>
                  <a:pt x="6382" y="4320"/>
                </a:cubicBezTo>
                <a:cubicBezTo>
                  <a:pt x="4484" y="4320"/>
                  <a:pt x="2945" y="6012"/>
                  <a:pt x="2945" y="8100"/>
                </a:cubicBezTo>
                <a:cubicBezTo>
                  <a:pt x="2945" y="8100"/>
                  <a:pt x="2945" y="13500"/>
                  <a:pt x="2945" y="13500"/>
                </a:cubicBezTo>
                <a:close/>
                <a:moveTo>
                  <a:pt x="2455" y="19439"/>
                </a:moveTo>
                <a:cubicBezTo>
                  <a:pt x="2725" y="19439"/>
                  <a:pt x="2945" y="19198"/>
                  <a:pt x="2945" y="18899"/>
                </a:cubicBezTo>
                <a:cubicBezTo>
                  <a:pt x="2945" y="18601"/>
                  <a:pt x="2725" y="18359"/>
                  <a:pt x="2455" y="18359"/>
                </a:cubicBezTo>
                <a:cubicBezTo>
                  <a:pt x="2184" y="18359"/>
                  <a:pt x="1964" y="18601"/>
                  <a:pt x="1964" y="18899"/>
                </a:cubicBezTo>
                <a:cubicBezTo>
                  <a:pt x="1964" y="19198"/>
                  <a:pt x="2184" y="19439"/>
                  <a:pt x="2455" y="19439"/>
                </a:cubicBezTo>
                <a:moveTo>
                  <a:pt x="20618" y="20519"/>
                </a:moveTo>
                <a:lnTo>
                  <a:pt x="982" y="20519"/>
                </a:lnTo>
                <a:lnTo>
                  <a:pt x="982" y="1080"/>
                </a:lnTo>
                <a:lnTo>
                  <a:pt x="20618" y="1080"/>
                </a:lnTo>
                <a:cubicBezTo>
                  <a:pt x="20618" y="1080"/>
                  <a:pt x="20618" y="20519"/>
                  <a:pt x="20618" y="20519"/>
                </a:cubicBezTo>
                <a:close/>
                <a:moveTo>
                  <a:pt x="20618" y="0"/>
                </a:moveTo>
                <a:lnTo>
                  <a:pt x="982" y="0"/>
                </a:lnTo>
                <a:cubicBezTo>
                  <a:pt x="440" y="0"/>
                  <a:pt x="0" y="484"/>
                  <a:pt x="0" y="1080"/>
                </a:cubicBezTo>
                <a:lnTo>
                  <a:pt x="0" y="20519"/>
                </a:lnTo>
                <a:cubicBezTo>
                  <a:pt x="0" y="21115"/>
                  <a:pt x="440" y="21600"/>
                  <a:pt x="982" y="21600"/>
                </a:cubicBezTo>
                <a:lnTo>
                  <a:pt x="20618" y="21600"/>
                </a:lnTo>
                <a:cubicBezTo>
                  <a:pt x="21160" y="21600"/>
                  <a:pt x="21600" y="21115"/>
                  <a:pt x="21600" y="20519"/>
                </a:cubicBezTo>
                <a:lnTo>
                  <a:pt x="21600" y="1080"/>
                </a:lnTo>
                <a:cubicBezTo>
                  <a:pt x="21600" y="484"/>
                  <a:pt x="21160" y="0"/>
                  <a:pt x="20618" y="0"/>
                </a:cubicBezTo>
                <a:moveTo>
                  <a:pt x="19145" y="3240"/>
                </a:moveTo>
                <a:cubicBezTo>
                  <a:pt x="19416" y="3240"/>
                  <a:pt x="19636" y="2999"/>
                  <a:pt x="19636" y="2700"/>
                </a:cubicBezTo>
                <a:cubicBezTo>
                  <a:pt x="19636" y="2402"/>
                  <a:pt x="19416" y="2160"/>
                  <a:pt x="19145" y="2160"/>
                </a:cubicBezTo>
                <a:cubicBezTo>
                  <a:pt x="18875" y="2160"/>
                  <a:pt x="18655" y="2402"/>
                  <a:pt x="18655" y="2700"/>
                </a:cubicBezTo>
                <a:cubicBezTo>
                  <a:pt x="18655" y="2999"/>
                  <a:pt x="18875" y="3240"/>
                  <a:pt x="19145" y="3240"/>
                </a:cubicBezTo>
                <a:moveTo>
                  <a:pt x="12764" y="8100"/>
                </a:moveTo>
                <a:cubicBezTo>
                  <a:pt x="12764" y="6609"/>
                  <a:pt x="13863" y="5400"/>
                  <a:pt x="15218" y="5400"/>
                </a:cubicBezTo>
                <a:cubicBezTo>
                  <a:pt x="16574" y="5400"/>
                  <a:pt x="17673" y="6609"/>
                  <a:pt x="17673" y="8100"/>
                </a:cubicBezTo>
                <a:lnTo>
                  <a:pt x="17673" y="13500"/>
                </a:lnTo>
                <a:cubicBezTo>
                  <a:pt x="17673" y="14991"/>
                  <a:pt x="16574" y="16199"/>
                  <a:pt x="15218" y="16199"/>
                </a:cubicBezTo>
                <a:cubicBezTo>
                  <a:pt x="13863" y="16199"/>
                  <a:pt x="12764" y="14991"/>
                  <a:pt x="12764" y="13500"/>
                </a:cubicBezTo>
                <a:cubicBezTo>
                  <a:pt x="12764" y="13500"/>
                  <a:pt x="12764" y="8100"/>
                  <a:pt x="12764" y="8100"/>
                </a:cubicBezTo>
                <a:close/>
                <a:moveTo>
                  <a:pt x="15218" y="17279"/>
                </a:moveTo>
                <a:cubicBezTo>
                  <a:pt x="17116" y="17279"/>
                  <a:pt x="18655" y="15587"/>
                  <a:pt x="18655" y="13500"/>
                </a:cubicBezTo>
                <a:lnTo>
                  <a:pt x="18655" y="8100"/>
                </a:lnTo>
                <a:cubicBezTo>
                  <a:pt x="18655" y="6012"/>
                  <a:pt x="17116" y="4320"/>
                  <a:pt x="15218" y="4320"/>
                </a:cubicBezTo>
                <a:cubicBezTo>
                  <a:pt x="13320" y="4320"/>
                  <a:pt x="11782" y="6012"/>
                  <a:pt x="11782" y="8100"/>
                </a:cubicBezTo>
                <a:lnTo>
                  <a:pt x="11782" y="13500"/>
                </a:lnTo>
                <a:cubicBezTo>
                  <a:pt x="11782" y="15587"/>
                  <a:pt x="13320" y="17279"/>
                  <a:pt x="15218" y="17279"/>
                </a:cubicBezTo>
                <a:moveTo>
                  <a:pt x="15218" y="9720"/>
                </a:moveTo>
                <a:cubicBezTo>
                  <a:pt x="16032" y="9720"/>
                  <a:pt x="16691" y="8995"/>
                  <a:pt x="16691" y="8100"/>
                </a:cubicBezTo>
                <a:cubicBezTo>
                  <a:pt x="16691" y="7206"/>
                  <a:pt x="16032" y="6480"/>
                  <a:pt x="15218" y="6480"/>
                </a:cubicBezTo>
                <a:cubicBezTo>
                  <a:pt x="14405" y="6480"/>
                  <a:pt x="13745" y="7206"/>
                  <a:pt x="13745" y="8100"/>
                </a:cubicBezTo>
                <a:cubicBezTo>
                  <a:pt x="13745" y="8995"/>
                  <a:pt x="14405" y="9720"/>
                  <a:pt x="15218" y="9720"/>
                </a:cubicBezTo>
                <a:moveTo>
                  <a:pt x="19145" y="18359"/>
                </a:moveTo>
                <a:cubicBezTo>
                  <a:pt x="18875" y="18359"/>
                  <a:pt x="18655" y="18601"/>
                  <a:pt x="18655" y="18899"/>
                </a:cubicBezTo>
                <a:cubicBezTo>
                  <a:pt x="18655" y="19198"/>
                  <a:pt x="18875" y="19439"/>
                  <a:pt x="19145" y="19439"/>
                </a:cubicBezTo>
                <a:cubicBezTo>
                  <a:pt x="19416" y="19439"/>
                  <a:pt x="19636" y="19198"/>
                  <a:pt x="19636" y="18899"/>
                </a:cubicBezTo>
                <a:cubicBezTo>
                  <a:pt x="19636" y="18601"/>
                  <a:pt x="19416" y="18359"/>
                  <a:pt x="19145" y="1835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0" name="Shape 2590"/>
          <p:cNvSpPr/>
          <p:nvPr/>
        </p:nvSpPr>
        <p:spPr>
          <a:xfrm>
            <a:off x="6688399"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9"/>
                  <a:pt x="19636" y="20619"/>
                </a:cubicBezTo>
                <a:lnTo>
                  <a:pt x="1964" y="20619"/>
                </a:lnTo>
                <a:cubicBezTo>
                  <a:pt x="1422" y="20619"/>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5" y="6382"/>
                </a:moveTo>
                <a:cubicBezTo>
                  <a:pt x="7313" y="6382"/>
                  <a:pt x="6873" y="5943"/>
                  <a:pt x="6873" y="5400"/>
                </a:cubicBezTo>
                <a:cubicBezTo>
                  <a:pt x="6873" y="4858"/>
                  <a:pt x="7313" y="4418"/>
                  <a:pt x="7855" y="4418"/>
                </a:cubicBezTo>
                <a:cubicBezTo>
                  <a:pt x="8396" y="4418"/>
                  <a:pt x="8836" y="4858"/>
                  <a:pt x="8836" y="5400"/>
                </a:cubicBezTo>
                <a:cubicBezTo>
                  <a:pt x="8836" y="5943"/>
                  <a:pt x="8396" y="6382"/>
                  <a:pt x="7855" y="6382"/>
                </a:cubicBezTo>
                <a:moveTo>
                  <a:pt x="18164" y="4909"/>
                </a:moveTo>
                <a:lnTo>
                  <a:pt x="9749" y="4909"/>
                </a:lnTo>
                <a:cubicBezTo>
                  <a:pt x="9530" y="4064"/>
                  <a:pt x="8768" y="3436"/>
                  <a:pt x="7855" y="3436"/>
                </a:cubicBezTo>
                <a:cubicBezTo>
                  <a:pt x="6941" y="3436"/>
                  <a:pt x="6180" y="4064"/>
                  <a:pt x="5960" y="4909"/>
                </a:cubicBezTo>
                <a:lnTo>
                  <a:pt x="3436" y="4909"/>
                </a:lnTo>
                <a:cubicBezTo>
                  <a:pt x="3165" y="4909"/>
                  <a:pt x="2945" y="5129"/>
                  <a:pt x="2945" y="5400"/>
                </a:cubicBezTo>
                <a:cubicBezTo>
                  <a:pt x="2945" y="5672"/>
                  <a:pt x="3165" y="5891"/>
                  <a:pt x="3436" y="5891"/>
                </a:cubicBezTo>
                <a:lnTo>
                  <a:pt x="5960" y="5891"/>
                </a:lnTo>
                <a:cubicBezTo>
                  <a:pt x="6180" y="6737"/>
                  <a:pt x="6941" y="7364"/>
                  <a:pt x="7855" y="7364"/>
                </a:cubicBezTo>
                <a:cubicBezTo>
                  <a:pt x="8768" y="7364"/>
                  <a:pt x="9530" y="6737"/>
                  <a:pt x="9749" y="5891"/>
                </a:cubicBezTo>
                <a:lnTo>
                  <a:pt x="18164" y="5891"/>
                </a:lnTo>
                <a:cubicBezTo>
                  <a:pt x="18435" y="5891"/>
                  <a:pt x="18655" y="5672"/>
                  <a:pt x="18655" y="5400"/>
                </a:cubicBezTo>
                <a:cubicBezTo>
                  <a:pt x="18655" y="5129"/>
                  <a:pt x="18435" y="4909"/>
                  <a:pt x="18164" y="4909"/>
                </a:cubicBezTo>
                <a:moveTo>
                  <a:pt x="14727" y="11782"/>
                </a:moveTo>
                <a:cubicBezTo>
                  <a:pt x="14186" y="11782"/>
                  <a:pt x="13745" y="11342"/>
                  <a:pt x="13745" y="10800"/>
                </a:cubicBezTo>
                <a:cubicBezTo>
                  <a:pt x="13745" y="10258"/>
                  <a:pt x="14186" y="9818"/>
                  <a:pt x="14727" y="9818"/>
                </a:cubicBezTo>
                <a:cubicBezTo>
                  <a:pt x="15269" y="9818"/>
                  <a:pt x="15709" y="10258"/>
                  <a:pt x="15709" y="10800"/>
                </a:cubicBezTo>
                <a:cubicBezTo>
                  <a:pt x="15709" y="11342"/>
                  <a:pt x="15269" y="11782"/>
                  <a:pt x="14727" y="11782"/>
                </a:cubicBezTo>
                <a:moveTo>
                  <a:pt x="18164" y="10310"/>
                </a:moveTo>
                <a:lnTo>
                  <a:pt x="16621" y="10310"/>
                </a:lnTo>
                <a:cubicBezTo>
                  <a:pt x="16402" y="9464"/>
                  <a:pt x="15641" y="8836"/>
                  <a:pt x="14727" y="8836"/>
                </a:cubicBezTo>
                <a:cubicBezTo>
                  <a:pt x="13814" y="8836"/>
                  <a:pt x="13052" y="9464"/>
                  <a:pt x="12833" y="10310"/>
                </a:cubicBezTo>
                <a:lnTo>
                  <a:pt x="3436" y="10310"/>
                </a:lnTo>
                <a:cubicBezTo>
                  <a:pt x="3165" y="10310"/>
                  <a:pt x="2945" y="10529"/>
                  <a:pt x="2945" y="10800"/>
                </a:cubicBezTo>
                <a:cubicBezTo>
                  <a:pt x="2945" y="11072"/>
                  <a:pt x="3165" y="11291"/>
                  <a:pt x="3436" y="11291"/>
                </a:cubicBezTo>
                <a:lnTo>
                  <a:pt x="12833" y="11291"/>
                </a:lnTo>
                <a:cubicBezTo>
                  <a:pt x="13052" y="12137"/>
                  <a:pt x="13814" y="12764"/>
                  <a:pt x="14727" y="12764"/>
                </a:cubicBezTo>
                <a:cubicBezTo>
                  <a:pt x="15641" y="12764"/>
                  <a:pt x="16402" y="12137"/>
                  <a:pt x="16621" y="11291"/>
                </a:cubicBezTo>
                <a:lnTo>
                  <a:pt x="18164" y="11291"/>
                </a:lnTo>
                <a:cubicBezTo>
                  <a:pt x="18435" y="11291"/>
                  <a:pt x="18655" y="11072"/>
                  <a:pt x="18655" y="10800"/>
                </a:cubicBezTo>
                <a:cubicBezTo>
                  <a:pt x="18655" y="10529"/>
                  <a:pt x="18435" y="10310"/>
                  <a:pt x="18164" y="10310"/>
                </a:cubicBezTo>
                <a:moveTo>
                  <a:pt x="9818" y="17182"/>
                </a:moveTo>
                <a:cubicBezTo>
                  <a:pt x="9276" y="17182"/>
                  <a:pt x="8836" y="16743"/>
                  <a:pt x="8836" y="16200"/>
                </a:cubicBezTo>
                <a:cubicBezTo>
                  <a:pt x="8836" y="15658"/>
                  <a:pt x="9276" y="15218"/>
                  <a:pt x="9818" y="15218"/>
                </a:cubicBezTo>
                <a:cubicBezTo>
                  <a:pt x="10360" y="15218"/>
                  <a:pt x="10800" y="15658"/>
                  <a:pt x="10800" y="16200"/>
                </a:cubicBezTo>
                <a:cubicBezTo>
                  <a:pt x="10800" y="16743"/>
                  <a:pt x="10360" y="17182"/>
                  <a:pt x="9818" y="17182"/>
                </a:cubicBezTo>
                <a:moveTo>
                  <a:pt x="18164" y="15709"/>
                </a:moveTo>
                <a:lnTo>
                  <a:pt x="11712" y="15709"/>
                </a:lnTo>
                <a:cubicBezTo>
                  <a:pt x="11493" y="14863"/>
                  <a:pt x="10732" y="14237"/>
                  <a:pt x="9818" y="14237"/>
                </a:cubicBezTo>
                <a:cubicBezTo>
                  <a:pt x="8904" y="14237"/>
                  <a:pt x="8143" y="14863"/>
                  <a:pt x="7924" y="15709"/>
                </a:cubicBezTo>
                <a:lnTo>
                  <a:pt x="3436" y="15709"/>
                </a:lnTo>
                <a:cubicBezTo>
                  <a:pt x="3165" y="15709"/>
                  <a:pt x="2945" y="15929"/>
                  <a:pt x="2945" y="16200"/>
                </a:cubicBezTo>
                <a:cubicBezTo>
                  <a:pt x="2945" y="16472"/>
                  <a:pt x="3165" y="16691"/>
                  <a:pt x="3436" y="16691"/>
                </a:cubicBezTo>
                <a:lnTo>
                  <a:pt x="7924" y="16691"/>
                </a:lnTo>
                <a:cubicBezTo>
                  <a:pt x="8143" y="17537"/>
                  <a:pt x="8904" y="18164"/>
                  <a:pt x="9818" y="18164"/>
                </a:cubicBezTo>
                <a:cubicBezTo>
                  <a:pt x="10732" y="18164"/>
                  <a:pt x="11493" y="17537"/>
                  <a:pt x="11712" y="16691"/>
                </a:cubicBezTo>
                <a:lnTo>
                  <a:pt x="18164" y="16691"/>
                </a:lnTo>
                <a:cubicBezTo>
                  <a:pt x="18435" y="16691"/>
                  <a:pt x="18655" y="16472"/>
                  <a:pt x="18655" y="16200"/>
                </a:cubicBezTo>
                <a:cubicBezTo>
                  <a:pt x="18655" y="15929"/>
                  <a:pt x="18435" y="15709"/>
                  <a:pt x="18164"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1" name="Shape 2591"/>
          <p:cNvSpPr/>
          <p:nvPr/>
        </p:nvSpPr>
        <p:spPr>
          <a:xfrm>
            <a:off x="7088345"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8631" y="14727"/>
                  <a:pt x="6873" y="12969"/>
                  <a:pt x="6873" y="10800"/>
                </a:cubicBezTo>
                <a:cubicBezTo>
                  <a:pt x="6873" y="8631"/>
                  <a:pt x="8631" y="6873"/>
                  <a:pt x="10800" y="6873"/>
                </a:cubicBezTo>
                <a:cubicBezTo>
                  <a:pt x="12969" y="6873"/>
                  <a:pt x="14727" y="8631"/>
                  <a:pt x="14727" y="10800"/>
                </a:cubicBezTo>
                <a:cubicBezTo>
                  <a:pt x="14727" y="12969"/>
                  <a:pt x="12969" y="14727"/>
                  <a:pt x="10800" y="14727"/>
                </a:cubicBezTo>
                <a:moveTo>
                  <a:pt x="10800" y="5891"/>
                </a:moveTo>
                <a:cubicBezTo>
                  <a:pt x="8088" y="5891"/>
                  <a:pt x="5891" y="8089"/>
                  <a:pt x="5891" y="10800"/>
                </a:cubicBezTo>
                <a:cubicBezTo>
                  <a:pt x="5891" y="13512"/>
                  <a:pt x="8088" y="15709"/>
                  <a:pt x="10800" y="15709"/>
                </a:cubicBezTo>
                <a:cubicBezTo>
                  <a:pt x="13512" y="15709"/>
                  <a:pt x="15709" y="13512"/>
                  <a:pt x="15709" y="10800"/>
                </a:cubicBezTo>
                <a:cubicBezTo>
                  <a:pt x="15709" y="8089"/>
                  <a:pt x="13512" y="5891"/>
                  <a:pt x="10800" y="5891"/>
                </a:cubicBezTo>
                <a:moveTo>
                  <a:pt x="20618" y="12013"/>
                </a:moveTo>
                <a:cubicBezTo>
                  <a:pt x="20614" y="12014"/>
                  <a:pt x="20611" y="12016"/>
                  <a:pt x="20607" y="12016"/>
                </a:cubicBezTo>
                <a:lnTo>
                  <a:pt x="19602" y="12268"/>
                </a:lnTo>
                <a:cubicBezTo>
                  <a:pt x="19256" y="12354"/>
                  <a:pt x="18984" y="12622"/>
                  <a:pt x="18892" y="12966"/>
                </a:cubicBezTo>
                <a:cubicBezTo>
                  <a:pt x="18703" y="13672"/>
                  <a:pt x="18421" y="14351"/>
                  <a:pt x="18053" y="14986"/>
                </a:cubicBezTo>
                <a:cubicBezTo>
                  <a:pt x="17873" y="15295"/>
                  <a:pt x="17876" y="15677"/>
                  <a:pt x="18060" y="15984"/>
                </a:cubicBezTo>
                <a:lnTo>
                  <a:pt x="18601" y="16885"/>
                </a:lnTo>
                <a:lnTo>
                  <a:pt x="16886" y="18600"/>
                </a:lnTo>
                <a:cubicBezTo>
                  <a:pt x="16882" y="18599"/>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1" y="18415"/>
                  <a:pt x="6617" y="18049"/>
                </a:cubicBezTo>
                <a:cubicBezTo>
                  <a:pt x="6465" y="17961"/>
                  <a:pt x="6296" y="17917"/>
                  <a:pt x="6127" y="17917"/>
                </a:cubicBezTo>
                <a:cubicBezTo>
                  <a:pt x="5951" y="17917"/>
                  <a:pt x="5777" y="17964"/>
                  <a:pt x="5621" y="18057"/>
                </a:cubicBezTo>
                <a:lnTo>
                  <a:pt x="4725" y="18595"/>
                </a:lnTo>
                <a:cubicBezTo>
                  <a:pt x="4722" y="18597"/>
                  <a:pt x="4718" y="18599"/>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3"/>
                </a:cubicBezTo>
                <a:lnTo>
                  <a:pt x="982" y="9587"/>
                </a:lnTo>
                <a:lnTo>
                  <a:pt x="1998" y="9333"/>
                </a:lnTo>
                <a:cubicBezTo>
                  <a:pt x="2343" y="9246"/>
                  <a:pt x="2616" y="8979"/>
                  <a:pt x="2708" y="8634"/>
                </a:cubicBezTo>
                <a:cubicBezTo>
                  <a:pt x="2897" y="7928"/>
                  <a:pt x="3179" y="7249"/>
                  <a:pt x="3548" y="6615"/>
                </a:cubicBezTo>
                <a:cubicBezTo>
                  <a:pt x="3727" y="6305"/>
                  <a:pt x="3724" y="5923"/>
                  <a:pt x="3540" y="5617"/>
                </a:cubicBezTo>
                <a:lnTo>
                  <a:pt x="3005" y="4725"/>
                </a:lnTo>
                <a:cubicBezTo>
                  <a:pt x="3004" y="4722"/>
                  <a:pt x="3002" y="4718"/>
                  <a:pt x="3000" y="4715"/>
                </a:cubicBezTo>
                <a:lnTo>
                  <a:pt x="4715" y="3000"/>
                </a:lnTo>
                <a:lnTo>
                  <a:pt x="5621" y="3544"/>
                </a:lnTo>
                <a:cubicBezTo>
                  <a:pt x="5777" y="3636"/>
                  <a:pt x="5951" y="3683"/>
                  <a:pt x="6127" y="3683"/>
                </a:cubicBezTo>
                <a:cubicBezTo>
                  <a:pt x="6296" y="3683"/>
                  <a:pt x="6465" y="3639"/>
                  <a:pt x="6618" y="3551"/>
                </a:cubicBezTo>
                <a:cubicBezTo>
                  <a:pt x="7251" y="3185"/>
                  <a:pt x="7929" y="2904"/>
                  <a:pt x="8632" y="2717"/>
                </a:cubicBezTo>
                <a:cubicBezTo>
                  <a:pt x="8976" y="2624"/>
                  <a:pt x="9244" y="2353"/>
                  <a:pt x="9331" y="2007"/>
                </a:cubicBezTo>
                <a:lnTo>
                  <a:pt x="9587" y="982"/>
                </a:lnTo>
                <a:lnTo>
                  <a:pt x="12012" y="982"/>
                </a:lnTo>
                <a:cubicBezTo>
                  <a:pt x="12014" y="986"/>
                  <a:pt x="12015" y="989"/>
                  <a:pt x="12016" y="993"/>
                </a:cubicBezTo>
                <a:lnTo>
                  <a:pt x="12269" y="2007"/>
                </a:lnTo>
                <a:cubicBezTo>
                  <a:pt x="12356" y="2353"/>
                  <a:pt x="12624" y="2624"/>
                  <a:pt x="12968" y="2717"/>
                </a:cubicBezTo>
                <a:cubicBezTo>
                  <a:pt x="13671" y="2904"/>
                  <a:pt x="14348" y="3185"/>
                  <a:pt x="14982" y="3551"/>
                </a:cubicBezTo>
                <a:cubicBezTo>
                  <a:pt x="15134" y="3639"/>
                  <a:pt x="15304" y="3683"/>
                  <a:pt x="15473" y="3683"/>
                </a:cubicBezTo>
                <a:cubicBezTo>
                  <a:pt x="15648" y="3683"/>
                  <a:pt x="15822" y="3636"/>
                  <a:pt x="15978" y="3544"/>
                </a:cubicBezTo>
                <a:lnTo>
                  <a:pt x="16884" y="3000"/>
                </a:lnTo>
                <a:lnTo>
                  <a:pt x="18600" y="4715"/>
                </a:lnTo>
                <a:cubicBezTo>
                  <a:pt x="18598" y="4718"/>
                  <a:pt x="18597" y="4722"/>
                  <a:pt x="18595" y="4726"/>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3"/>
                  <a:pt x="20618" y="12013"/>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8"/>
                  <a:pt x="17136" y="1969"/>
                  <a:pt x="16975" y="1969"/>
                </a:cubicBezTo>
                <a:cubicBezTo>
                  <a:pt x="16778" y="1969"/>
                  <a:pt x="16572" y="2043"/>
                  <a:pt x="16400" y="2145"/>
                </a:cubicBezTo>
                <a:lnTo>
                  <a:pt x="15473" y="2702"/>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2"/>
                </a:cubicBezTo>
                <a:lnTo>
                  <a:pt x="5200" y="2145"/>
                </a:lnTo>
                <a:cubicBezTo>
                  <a:pt x="5028" y="2043"/>
                  <a:pt x="4822" y="1969"/>
                  <a:pt x="4625" y="1969"/>
                </a:cubicBezTo>
                <a:cubicBezTo>
                  <a:pt x="4464" y="1969"/>
                  <a:pt x="4308" y="2018"/>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3"/>
                  <a:pt x="0" y="9360"/>
                </a:cubicBezTo>
                <a:lnTo>
                  <a:pt x="0" y="12240"/>
                </a:lnTo>
                <a:cubicBezTo>
                  <a:pt x="0" y="12638"/>
                  <a:pt x="367" y="12848"/>
                  <a:pt x="720" y="12960"/>
                </a:cubicBezTo>
                <a:lnTo>
                  <a:pt x="1759" y="13220"/>
                </a:lnTo>
                <a:cubicBezTo>
                  <a:pt x="1973" y="14021"/>
                  <a:pt x="2292" y="14778"/>
                  <a:pt x="2698" y="15478"/>
                </a:cubicBezTo>
                <a:lnTo>
                  <a:pt x="2145" y="16400"/>
                </a:lnTo>
                <a:cubicBezTo>
                  <a:pt x="1959" y="16714"/>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4"/>
                  <a:pt x="19455" y="16400"/>
                </a:cubicBezTo>
                <a:lnTo>
                  <a:pt x="18902" y="15478"/>
                </a:lnTo>
                <a:cubicBezTo>
                  <a:pt x="19308" y="14778"/>
                  <a:pt x="19626" y="14021"/>
                  <a:pt x="19841" y="13220"/>
                </a:cubicBezTo>
                <a:lnTo>
                  <a:pt x="20880" y="12960"/>
                </a:lnTo>
                <a:cubicBezTo>
                  <a:pt x="21233" y="12848"/>
                  <a:pt x="21600" y="12638"/>
                  <a:pt x="21600" y="12240"/>
                </a:cubicBezTo>
                <a:lnTo>
                  <a:pt x="21600" y="9360"/>
                </a:lnTo>
                <a:cubicBezTo>
                  <a:pt x="21600" y="8963"/>
                  <a:pt x="21233" y="8730"/>
                  <a:pt x="20880" y="86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2" name="Shape 2592"/>
          <p:cNvSpPr/>
          <p:nvPr/>
        </p:nvSpPr>
        <p:spPr>
          <a:xfrm>
            <a:off x="7488291"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012"/>
                </a:moveTo>
                <a:cubicBezTo>
                  <a:pt x="20614" y="12014"/>
                  <a:pt x="20611" y="12016"/>
                  <a:pt x="20607" y="12016"/>
                </a:cubicBezTo>
                <a:lnTo>
                  <a:pt x="19602" y="12268"/>
                </a:lnTo>
                <a:cubicBezTo>
                  <a:pt x="19256" y="12354"/>
                  <a:pt x="18984" y="12622"/>
                  <a:pt x="18892" y="12966"/>
                </a:cubicBezTo>
                <a:cubicBezTo>
                  <a:pt x="18703" y="13672"/>
                  <a:pt x="18421" y="14352"/>
                  <a:pt x="18053" y="14986"/>
                </a:cubicBezTo>
                <a:cubicBezTo>
                  <a:pt x="17873" y="15295"/>
                  <a:pt x="17876" y="15677"/>
                  <a:pt x="18060" y="15984"/>
                </a:cubicBezTo>
                <a:lnTo>
                  <a:pt x="18601" y="16885"/>
                </a:lnTo>
                <a:lnTo>
                  <a:pt x="16886" y="18600"/>
                </a:lnTo>
                <a:cubicBezTo>
                  <a:pt x="16882" y="18598"/>
                  <a:pt x="16878" y="18597"/>
                  <a:pt x="16875" y="18595"/>
                </a:cubicBezTo>
                <a:lnTo>
                  <a:pt x="15978" y="18057"/>
                </a:lnTo>
                <a:cubicBezTo>
                  <a:pt x="15822" y="17964"/>
                  <a:pt x="15648" y="17917"/>
                  <a:pt x="15473" y="17917"/>
                </a:cubicBezTo>
                <a:cubicBezTo>
                  <a:pt x="15304" y="17917"/>
                  <a:pt x="15134" y="17961"/>
                  <a:pt x="14982" y="18049"/>
                </a:cubicBezTo>
                <a:cubicBezTo>
                  <a:pt x="14348" y="18415"/>
                  <a:pt x="13671" y="18696"/>
                  <a:pt x="12968" y="18884"/>
                </a:cubicBezTo>
                <a:cubicBezTo>
                  <a:pt x="12624" y="18976"/>
                  <a:pt x="12356" y="19248"/>
                  <a:pt x="12269" y="19594"/>
                </a:cubicBezTo>
                <a:lnTo>
                  <a:pt x="12016" y="20607"/>
                </a:lnTo>
                <a:cubicBezTo>
                  <a:pt x="12015" y="20611"/>
                  <a:pt x="12014" y="20614"/>
                  <a:pt x="12012" y="20619"/>
                </a:cubicBezTo>
                <a:lnTo>
                  <a:pt x="9587" y="20619"/>
                </a:lnTo>
                <a:lnTo>
                  <a:pt x="9331" y="19594"/>
                </a:lnTo>
                <a:cubicBezTo>
                  <a:pt x="9244" y="19248"/>
                  <a:pt x="8976" y="18976"/>
                  <a:pt x="8632" y="18884"/>
                </a:cubicBezTo>
                <a:cubicBezTo>
                  <a:pt x="7929" y="18696"/>
                  <a:pt x="7252" y="18415"/>
                  <a:pt x="6617" y="18049"/>
                </a:cubicBezTo>
                <a:cubicBezTo>
                  <a:pt x="6465" y="17961"/>
                  <a:pt x="6296" y="17917"/>
                  <a:pt x="6127" y="17917"/>
                </a:cubicBezTo>
                <a:cubicBezTo>
                  <a:pt x="5951" y="17917"/>
                  <a:pt x="5777" y="17964"/>
                  <a:pt x="5621" y="18057"/>
                </a:cubicBezTo>
                <a:lnTo>
                  <a:pt x="4725" y="18595"/>
                </a:lnTo>
                <a:cubicBezTo>
                  <a:pt x="4722" y="18597"/>
                  <a:pt x="4718" y="18598"/>
                  <a:pt x="4714" y="18600"/>
                </a:cubicBezTo>
                <a:lnTo>
                  <a:pt x="3000" y="16885"/>
                </a:lnTo>
                <a:lnTo>
                  <a:pt x="3540" y="15984"/>
                </a:lnTo>
                <a:cubicBezTo>
                  <a:pt x="3724" y="15677"/>
                  <a:pt x="3727" y="15295"/>
                  <a:pt x="3548" y="14986"/>
                </a:cubicBezTo>
                <a:cubicBezTo>
                  <a:pt x="3179" y="14351"/>
                  <a:pt x="2897" y="13672"/>
                  <a:pt x="2708" y="12966"/>
                </a:cubicBezTo>
                <a:cubicBezTo>
                  <a:pt x="2616" y="12622"/>
                  <a:pt x="2343" y="12354"/>
                  <a:pt x="1998" y="12268"/>
                </a:cubicBezTo>
                <a:lnTo>
                  <a:pt x="993" y="12016"/>
                </a:lnTo>
                <a:cubicBezTo>
                  <a:pt x="989" y="12016"/>
                  <a:pt x="986" y="12014"/>
                  <a:pt x="982" y="12012"/>
                </a:cubicBezTo>
                <a:lnTo>
                  <a:pt x="982" y="9587"/>
                </a:lnTo>
                <a:lnTo>
                  <a:pt x="1998" y="9333"/>
                </a:lnTo>
                <a:cubicBezTo>
                  <a:pt x="2343" y="9246"/>
                  <a:pt x="2616" y="8979"/>
                  <a:pt x="2708" y="8634"/>
                </a:cubicBezTo>
                <a:cubicBezTo>
                  <a:pt x="2897" y="7929"/>
                  <a:pt x="3179" y="7249"/>
                  <a:pt x="3548" y="6615"/>
                </a:cubicBezTo>
                <a:cubicBezTo>
                  <a:pt x="3727" y="6305"/>
                  <a:pt x="3724" y="5923"/>
                  <a:pt x="3540" y="5617"/>
                </a:cubicBezTo>
                <a:lnTo>
                  <a:pt x="3005" y="4725"/>
                </a:lnTo>
                <a:cubicBezTo>
                  <a:pt x="3004" y="4722"/>
                  <a:pt x="3002" y="4719"/>
                  <a:pt x="3000" y="4715"/>
                </a:cubicBezTo>
                <a:lnTo>
                  <a:pt x="4715" y="3000"/>
                </a:lnTo>
                <a:lnTo>
                  <a:pt x="5621" y="3543"/>
                </a:lnTo>
                <a:cubicBezTo>
                  <a:pt x="5777" y="3637"/>
                  <a:pt x="5951" y="3683"/>
                  <a:pt x="6127" y="3683"/>
                </a:cubicBezTo>
                <a:cubicBezTo>
                  <a:pt x="6296" y="3683"/>
                  <a:pt x="6465" y="3639"/>
                  <a:pt x="6618" y="3552"/>
                </a:cubicBezTo>
                <a:cubicBezTo>
                  <a:pt x="7251" y="3185"/>
                  <a:pt x="7929" y="2904"/>
                  <a:pt x="8632" y="2717"/>
                </a:cubicBezTo>
                <a:cubicBezTo>
                  <a:pt x="8976" y="2624"/>
                  <a:pt x="9244" y="2352"/>
                  <a:pt x="9331" y="2006"/>
                </a:cubicBezTo>
                <a:lnTo>
                  <a:pt x="9587" y="982"/>
                </a:lnTo>
                <a:lnTo>
                  <a:pt x="12012" y="982"/>
                </a:lnTo>
                <a:cubicBezTo>
                  <a:pt x="12014" y="986"/>
                  <a:pt x="12015" y="989"/>
                  <a:pt x="12016" y="993"/>
                </a:cubicBezTo>
                <a:lnTo>
                  <a:pt x="12269" y="2006"/>
                </a:lnTo>
                <a:cubicBezTo>
                  <a:pt x="12356" y="2352"/>
                  <a:pt x="12624" y="2624"/>
                  <a:pt x="12968" y="2717"/>
                </a:cubicBezTo>
                <a:cubicBezTo>
                  <a:pt x="13671" y="2904"/>
                  <a:pt x="14348" y="3185"/>
                  <a:pt x="14982" y="3552"/>
                </a:cubicBezTo>
                <a:cubicBezTo>
                  <a:pt x="15134" y="3639"/>
                  <a:pt x="15304" y="3683"/>
                  <a:pt x="15473" y="3683"/>
                </a:cubicBezTo>
                <a:cubicBezTo>
                  <a:pt x="15648" y="3683"/>
                  <a:pt x="15822" y="3637"/>
                  <a:pt x="15978" y="3543"/>
                </a:cubicBezTo>
                <a:lnTo>
                  <a:pt x="16884" y="3000"/>
                </a:lnTo>
                <a:lnTo>
                  <a:pt x="18600" y="4715"/>
                </a:lnTo>
                <a:cubicBezTo>
                  <a:pt x="18598" y="4719"/>
                  <a:pt x="18597" y="4722"/>
                  <a:pt x="18595" y="4725"/>
                </a:cubicBezTo>
                <a:lnTo>
                  <a:pt x="18060" y="5616"/>
                </a:lnTo>
                <a:cubicBezTo>
                  <a:pt x="17876" y="5923"/>
                  <a:pt x="17873" y="6305"/>
                  <a:pt x="18053" y="6615"/>
                </a:cubicBezTo>
                <a:cubicBezTo>
                  <a:pt x="18421" y="7249"/>
                  <a:pt x="18703" y="7928"/>
                  <a:pt x="18892" y="8634"/>
                </a:cubicBezTo>
                <a:cubicBezTo>
                  <a:pt x="18984" y="8979"/>
                  <a:pt x="19256" y="9246"/>
                  <a:pt x="19602" y="9333"/>
                </a:cubicBezTo>
                <a:lnTo>
                  <a:pt x="20618" y="9587"/>
                </a:lnTo>
                <a:cubicBezTo>
                  <a:pt x="20618" y="9587"/>
                  <a:pt x="20618" y="12012"/>
                  <a:pt x="20618" y="12012"/>
                </a:cubicBezTo>
                <a:close/>
                <a:moveTo>
                  <a:pt x="20880" y="8641"/>
                </a:moveTo>
                <a:lnTo>
                  <a:pt x="19841" y="8380"/>
                </a:lnTo>
                <a:cubicBezTo>
                  <a:pt x="19626" y="7580"/>
                  <a:pt x="19308" y="6822"/>
                  <a:pt x="18902" y="6122"/>
                </a:cubicBezTo>
                <a:lnTo>
                  <a:pt x="19455" y="5200"/>
                </a:lnTo>
                <a:cubicBezTo>
                  <a:pt x="19625" y="4871"/>
                  <a:pt x="19736" y="4463"/>
                  <a:pt x="19455" y="4182"/>
                </a:cubicBezTo>
                <a:lnTo>
                  <a:pt x="17419" y="2145"/>
                </a:lnTo>
                <a:cubicBezTo>
                  <a:pt x="17292" y="2019"/>
                  <a:pt x="17136" y="1968"/>
                  <a:pt x="16975" y="1968"/>
                </a:cubicBezTo>
                <a:cubicBezTo>
                  <a:pt x="16778" y="1968"/>
                  <a:pt x="16572" y="2043"/>
                  <a:pt x="16400" y="2145"/>
                </a:cubicBezTo>
                <a:lnTo>
                  <a:pt x="15473" y="2701"/>
                </a:lnTo>
                <a:cubicBezTo>
                  <a:pt x="14775" y="2298"/>
                  <a:pt x="14020" y="1982"/>
                  <a:pt x="13222" y="1768"/>
                </a:cubicBezTo>
                <a:lnTo>
                  <a:pt x="12960" y="720"/>
                </a:lnTo>
                <a:cubicBezTo>
                  <a:pt x="12848" y="367"/>
                  <a:pt x="12638" y="0"/>
                  <a:pt x="12240" y="0"/>
                </a:cubicBezTo>
                <a:lnTo>
                  <a:pt x="9360" y="0"/>
                </a:lnTo>
                <a:cubicBezTo>
                  <a:pt x="8962" y="0"/>
                  <a:pt x="8730" y="367"/>
                  <a:pt x="8640" y="720"/>
                </a:cubicBezTo>
                <a:lnTo>
                  <a:pt x="8378" y="1768"/>
                </a:lnTo>
                <a:cubicBezTo>
                  <a:pt x="7580" y="1982"/>
                  <a:pt x="6825" y="2298"/>
                  <a:pt x="6127" y="2701"/>
                </a:cubicBezTo>
                <a:lnTo>
                  <a:pt x="5200" y="2145"/>
                </a:lnTo>
                <a:cubicBezTo>
                  <a:pt x="5028" y="2043"/>
                  <a:pt x="4822" y="1968"/>
                  <a:pt x="4625" y="1968"/>
                </a:cubicBezTo>
                <a:cubicBezTo>
                  <a:pt x="4464" y="1968"/>
                  <a:pt x="4308" y="2019"/>
                  <a:pt x="4181" y="2145"/>
                </a:cubicBezTo>
                <a:lnTo>
                  <a:pt x="2145" y="4182"/>
                </a:lnTo>
                <a:cubicBezTo>
                  <a:pt x="1864" y="4463"/>
                  <a:pt x="1975" y="4871"/>
                  <a:pt x="2145" y="5200"/>
                </a:cubicBezTo>
                <a:lnTo>
                  <a:pt x="2698" y="6122"/>
                </a:lnTo>
                <a:cubicBezTo>
                  <a:pt x="2292" y="6822"/>
                  <a:pt x="1973" y="7580"/>
                  <a:pt x="1759" y="8380"/>
                </a:cubicBezTo>
                <a:lnTo>
                  <a:pt x="720" y="8641"/>
                </a:lnTo>
                <a:cubicBezTo>
                  <a:pt x="367" y="8730"/>
                  <a:pt x="0" y="8962"/>
                  <a:pt x="0" y="9361"/>
                </a:cubicBezTo>
                <a:lnTo>
                  <a:pt x="0" y="12240"/>
                </a:lnTo>
                <a:cubicBezTo>
                  <a:pt x="0" y="12638"/>
                  <a:pt x="367" y="12848"/>
                  <a:pt x="720" y="12960"/>
                </a:cubicBezTo>
                <a:lnTo>
                  <a:pt x="1759" y="13220"/>
                </a:lnTo>
                <a:cubicBezTo>
                  <a:pt x="1973" y="14021"/>
                  <a:pt x="2292" y="14778"/>
                  <a:pt x="2698" y="15479"/>
                </a:cubicBezTo>
                <a:lnTo>
                  <a:pt x="2145" y="16400"/>
                </a:lnTo>
                <a:cubicBezTo>
                  <a:pt x="1959" y="16713"/>
                  <a:pt x="1864" y="17137"/>
                  <a:pt x="2145" y="17419"/>
                </a:cubicBezTo>
                <a:lnTo>
                  <a:pt x="4181" y="19455"/>
                </a:lnTo>
                <a:cubicBezTo>
                  <a:pt x="4305" y="19579"/>
                  <a:pt x="4454" y="19627"/>
                  <a:pt x="4610" y="19627"/>
                </a:cubicBezTo>
                <a:cubicBezTo>
                  <a:pt x="4807" y="19627"/>
                  <a:pt x="5016" y="19550"/>
                  <a:pt x="5200" y="19455"/>
                </a:cubicBezTo>
                <a:lnTo>
                  <a:pt x="6127" y="18899"/>
                </a:lnTo>
                <a:cubicBezTo>
                  <a:pt x="6825" y="19302"/>
                  <a:pt x="7580" y="19619"/>
                  <a:pt x="8378" y="19832"/>
                </a:cubicBezTo>
                <a:lnTo>
                  <a:pt x="8640" y="20880"/>
                </a:lnTo>
                <a:cubicBezTo>
                  <a:pt x="8730" y="21233"/>
                  <a:pt x="8962" y="21600"/>
                  <a:pt x="9360" y="21600"/>
                </a:cubicBezTo>
                <a:lnTo>
                  <a:pt x="12240" y="21600"/>
                </a:lnTo>
                <a:cubicBezTo>
                  <a:pt x="12638" y="21600"/>
                  <a:pt x="12848" y="21233"/>
                  <a:pt x="12960" y="20880"/>
                </a:cubicBezTo>
                <a:lnTo>
                  <a:pt x="13222" y="19832"/>
                </a:lnTo>
                <a:cubicBezTo>
                  <a:pt x="14020" y="19619"/>
                  <a:pt x="14775" y="19302"/>
                  <a:pt x="15473" y="18899"/>
                </a:cubicBezTo>
                <a:lnTo>
                  <a:pt x="16400" y="19455"/>
                </a:lnTo>
                <a:cubicBezTo>
                  <a:pt x="16584" y="19550"/>
                  <a:pt x="16793" y="19627"/>
                  <a:pt x="16990" y="19627"/>
                </a:cubicBezTo>
                <a:cubicBezTo>
                  <a:pt x="17146" y="19627"/>
                  <a:pt x="17294" y="19579"/>
                  <a:pt x="17419" y="19455"/>
                </a:cubicBezTo>
                <a:lnTo>
                  <a:pt x="19455" y="17419"/>
                </a:lnTo>
                <a:cubicBezTo>
                  <a:pt x="19736" y="17137"/>
                  <a:pt x="19641" y="16713"/>
                  <a:pt x="19455" y="16400"/>
                </a:cubicBezTo>
                <a:lnTo>
                  <a:pt x="18902" y="15479"/>
                </a:lnTo>
                <a:cubicBezTo>
                  <a:pt x="19308" y="14778"/>
                  <a:pt x="19626" y="14021"/>
                  <a:pt x="19841" y="13220"/>
                </a:cubicBezTo>
                <a:lnTo>
                  <a:pt x="20880" y="12960"/>
                </a:lnTo>
                <a:cubicBezTo>
                  <a:pt x="21233" y="12848"/>
                  <a:pt x="21600" y="12638"/>
                  <a:pt x="21600" y="12240"/>
                </a:cubicBezTo>
                <a:lnTo>
                  <a:pt x="21600" y="9361"/>
                </a:lnTo>
                <a:cubicBezTo>
                  <a:pt x="21600" y="8962"/>
                  <a:pt x="21233" y="8730"/>
                  <a:pt x="20880" y="8641"/>
                </a:cubicBezTo>
                <a:moveTo>
                  <a:pt x="15709" y="10800"/>
                </a:moveTo>
                <a:cubicBezTo>
                  <a:pt x="15709" y="13346"/>
                  <a:pt x="13771" y="15438"/>
                  <a:pt x="11291" y="15685"/>
                </a:cubicBezTo>
                <a:lnTo>
                  <a:pt x="11291" y="12694"/>
                </a:lnTo>
                <a:cubicBezTo>
                  <a:pt x="12137" y="12476"/>
                  <a:pt x="12764" y="11714"/>
                  <a:pt x="12764" y="10800"/>
                </a:cubicBezTo>
                <a:cubicBezTo>
                  <a:pt x="12764" y="10630"/>
                  <a:pt x="12735" y="10468"/>
                  <a:pt x="12694" y="10310"/>
                </a:cubicBezTo>
                <a:lnTo>
                  <a:pt x="15308" y="8857"/>
                </a:lnTo>
                <a:cubicBezTo>
                  <a:pt x="15565" y="9453"/>
                  <a:pt x="15709" y="10110"/>
                  <a:pt x="15709" y="10800"/>
                </a:cubicBezTo>
                <a:moveTo>
                  <a:pt x="9818" y="10800"/>
                </a:moveTo>
                <a:cubicBezTo>
                  <a:pt x="9818" y="10258"/>
                  <a:pt x="10258" y="9818"/>
                  <a:pt x="10800" y="9818"/>
                </a:cubicBezTo>
                <a:cubicBezTo>
                  <a:pt x="11342" y="9818"/>
                  <a:pt x="11782" y="10258"/>
                  <a:pt x="11782" y="10800"/>
                </a:cubicBezTo>
                <a:cubicBezTo>
                  <a:pt x="11782" y="11342"/>
                  <a:pt x="11342" y="11782"/>
                  <a:pt x="10800" y="11782"/>
                </a:cubicBezTo>
                <a:cubicBezTo>
                  <a:pt x="10258" y="11782"/>
                  <a:pt x="9818" y="11342"/>
                  <a:pt x="9818" y="10800"/>
                </a:cubicBezTo>
                <a:moveTo>
                  <a:pt x="10309" y="15685"/>
                </a:moveTo>
                <a:cubicBezTo>
                  <a:pt x="7829" y="15438"/>
                  <a:pt x="5891" y="13346"/>
                  <a:pt x="5891" y="10800"/>
                </a:cubicBezTo>
                <a:cubicBezTo>
                  <a:pt x="5891" y="10110"/>
                  <a:pt x="6035" y="9453"/>
                  <a:pt x="6292" y="8857"/>
                </a:cubicBezTo>
                <a:lnTo>
                  <a:pt x="8906" y="10310"/>
                </a:lnTo>
                <a:cubicBezTo>
                  <a:pt x="8865" y="10468"/>
                  <a:pt x="8836" y="10630"/>
                  <a:pt x="8836" y="10800"/>
                </a:cubicBezTo>
                <a:cubicBezTo>
                  <a:pt x="8836" y="11714"/>
                  <a:pt x="9463" y="12476"/>
                  <a:pt x="10309" y="12694"/>
                </a:cubicBezTo>
                <a:cubicBezTo>
                  <a:pt x="10309" y="12694"/>
                  <a:pt x="10309" y="15685"/>
                  <a:pt x="10309" y="15685"/>
                </a:cubicBezTo>
                <a:close/>
                <a:moveTo>
                  <a:pt x="10800" y="5891"/>
                </a:moveTo>
                <a:cubicBezTo>
                  <a:pt x="12470" y="5891"/>
                  <a:pt x="13942" y="6727"/>
                  <a:pt x="14829" y="8000"/>
                </a:cubicBezTo>
                <a:lnTo>
                  <a:pt x="12220" y="9450"/>
                </a:lnTo>
                <a:cubicBezTo>
                  <a:pt x="11862" y="9074"/>
                  <a:pt x="11360" y="8836"/>
                  <a:pt x="10800" y="8836"/>
                </a:cubicBezTo>
                <a:cubicBezTo>
                  <a:pt x="10240" y="8836"/>
                  <a:pt x="9738" y="9074"/>
                  <a:pt x="9380" y="9450"/>
                </a:cubicBezTo>
                <a:lnTo>
                  <a:pt x="6771" y="8000"/>
                </a:lnTo>
                <a:cubicBezTo>
                  <a:pt x="7658" y="6727"/>
                  <a:pt x="9130"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3" name="Shape 2593"/>
          <p:cNvSpPr/>
          <p:nvPr/>
        </p:nvSpPr>
        <p:spPr>
          <a:xfrm>
            <a:off x="7888237" y="183209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8095"/>
                </a:moveTo>
                <a:lnTo>
                  <a:pt x="20091" y="8640"/>
                </a:lnTo>
                <a:cubicBezTo>
                  <a:pt x="19294" y="8426"/>
                  <a:pt x="18482" y="8322"/>
                  <a:pt x="17675" y="8322"/>
                </a:cubicBezTo>
                <a:lnTo>
                  <a:pt x="17150" y="7377"/>
                </a:lnTo>
                <a:cubicBezTo>
                  <a:pt x="17052" y="7203"/>
                  <a:pt x="16911" y="7035"/>
                  <a:pt x="16741" y="6937"/>
                </a:cubicBezTo>
                <a:cubicBezTo>
                  <a:pt x="16601" y="6856"/>
                  <a:pt x="16442" y="6822"/>
                  <a:pt x="16268" y="6868"/>
                </a:cubicBezTo>
                <a:lnTo>
                  <a:pt x="13487" y="7613"/>
                </a:lnTo>
                <a:cubicBezTo>
                  <a:pt x="13102" y="7716"/>
                  <a:pt x="12995" y="8125"/>
                  <a:pt x="12977" y="8495"/>
                </a:cubicBezTo>
                <a:lnTo>
                  <a:pt x="12996" y="9570"/>
                </a:lnTo>
                <a:cubicBezTo>
                  <a:pt x="12293" y="9973"/>
                  <a:pt x="11639" y="10471"/>
                  <a:pt x="11053" y="11057"/>
                </a:cubicBezTo>
                <a:lnTo>
                  <a:pt x="10023" y="10762"/>
                </a:lnTo>
                <a:cubicBezTo>
                  <a:pt x="9673" y="10664"/>
                  <a:pt x="9239" y="10682"/>
                  <a:pt x="9040" y="11026"/>
                </a:cubicBezTo>
                <a:lnTo>
                  <a:pt x="7600" y="13520"/>
                </a:lnTo>
                <a:cubicBezTo>
                  <a:pt x="7401" y="13864"/>
                  <a:pt x="7614" y="14229"/>
                  <a:pt x="7863" y="14504"/>
                </a:cubicBezTo>
                <a:lnTo>
                  <a:pt x="8633" y="15248"/>
                </a:lnTo>
                <a:cubicBezTo>
                  <a:pt x="8419" y="16049"/>
                  <a:pt x="8315" y="16864"/>
                  <a:pt x="8317" y="17674"/>
                </a:cubicBezTo>
                <a:lnTo>
                  <a:pt x="7377" y="18196"/>
                </a:lnTo>
                <a:cubicBezTo>
                  <a:pt x="7060" y="18373"/>
                  <a:pt x="6765" y="18693"/>
                  <a:pt x="6868" y="19077"/>
                </a:cubicBezTo>
                <a:lnTo>
                  <a:pt x="7281" y="20619"/>
                </a:lnTo>
                <a:lnTo>
                  <a:pt x="1964" y="20619"/>
                </a:lnTo>
                <a:cubicBezTo>
                  <a:pt x="1422" y="20619"/>
                  <a:pt x="982" y="20178"/>
                  <a:pt x="982" y="19636"/>
                </a:cubicBezTo>
                <a:lnTo>
                  <a:pt x="982" y="11291"/>
                </a:lnTo>
                <a:lnTo>
                  <a:pt x="1931" y="11291"/>
                </a:lnTo>
                <a:cubicBezTo>
                  <a:pt x="2328" y="11291"/>
                  <a:pt x="2538" y="10924"/>
                  <a:pt x="2651" y="10571"/>
                </a:cubicBezTo>
                <a:lnTo>
                  <a:pt x="2913" y="9523"/>
                </a:lnTo>
                <a:cubicBezTo>
                  <a:pt x="3711" y="9310"/>
                  <a:pt x="4466" y="8993"/>
                  <a:pt x="5164" y="8590"/>
                </a:cubicBezTo>
                <a:lnTo>
                  <a:pt x="6091" y="9146"/>
                </a:lnTo>
                <a:cubicBezTo>
                  <a:pt x="6275" y="9241"/>
                  <a:pt x="6484" y="9317"/>
                  <a:pt x="6681" y="9317"/>
                </a:cubicBezTo>
                <a:cubicBezTo>
                  <a:pt x="6837" y="9317"/>
                  <a:pt x="6985" y="9270"/>
                  <a:pt x="7110" y="9146"/>
                </a:cubicBezTo>
                <a:lnTo>
                  <a:pt x="9146" y="7109"/>
                </a:lnTo>
                <a:cubicBezTo>
                  <a:pt x="9427" y="6828"/>
                  <a:pt x="9332" y="6404"/>
                  <a:pt x="9146" y="6091"/>
                </a:cubicBezTo>
                <a:lnTo>
                  <a:pt x="8593" y="5169"/>
                </a:lnTo>
                <a:cubicBezTo>
                  <a:pt x="8999" y="4469"/>
                  <a:pt x="9317" y="3711"/>
                  <a:pt x="9531" y="2911"/>
                </a:cubicBezTo>
                <a:lnTo>
                  <a:pt x="10571" y="2651"/>
                </a:lnTo>
                <a:cubicBezTo>
                  <a:pt x="10924" y="2538"/>
                  <a:pt x="11291" y="2328"/>
                  <a:pt x="11291" y="1931"/>
                </a:cubicBezTo>
                <a:lnTo>
                  <a:pt x="11291" y="982"/>
                </a:lnTo>
                <a:lnTo>
                  <a:pt x="19636" y="982"/>
                </a:lnTo>
                <a:cubicBezTo>
                  <a:pt x="20178" y="982"/>
                  <a:pt x="20618" y="1421"/>
                  <a:pt x="20618" y="1964"/>
                </a:cubicBezTo>
                <a:cubicBezTo>
                  <a:pt x="20618" y="1964"/>
                  <a:pt x="20618" y="8095"/>
                  <a:pt x="20618" y="8095"/>
                </a:cubicBezTo>
                <a:close/>
                <a:moveTo>
                  <a:pt x="20618" y="12594"/>
                </a:moveTo>
                <a:cubicBezTo>
                  <a:pt x="19750" y="12088"/>
                  <a:pt x="18750" y="11782"/>
                  <a:pt x="17673" y="11782"/>
                </a:cubicBezTo>
                <a:cubicBezTo>
                  <a:pt x="14419" y="11782"/>
                  <a:pt x="11782" y="14419"/>
                  <a:pt x="11782" y="17673"/>
                </a:cubicBezTo>
                <a:cubicBezTo>
                  <a:pt x="11782" y="18751"/>
                  <a:pt x="12088" y="19750"/>
                  <a:pt x="12594" y="20619"/>
                </a:cubicBezTo>
                <a:lnTo>
                  <a:pt x="8298" y="20619"/>
                </a:lnTo>
                <a:lnTo>
                  <a:pt x="7875" y="19042"/>
                </a:lnTo>
                <a:lnTo>
                  <a:pt x="8794" y="18532"/>
                </a:lnTo>
                <a:cubicBezTo>
                  <a:pt x="9106" y="18358"/>
                  <a:pt x="9299" y="18028"/>
                  <a:pt x="9299" y="17671"/>
                </a:cubicBezTo>
                <a:cubicBezTo>
                  <a:pt x="9298" y="16938"/>
                  <a:pt x="9392" y="16208"/>
                  <a:pt x="9582" y="15502"/>
                </a:cubicBezTo>
                <a:cubicBezTo>
                  <a:pt x="9674" y="15158"/>
                  <a:pt x="9572" y="14791"/>
                  <a:pt x="9316" y="14543"/>
                </a:cubicBezTo>
                <a:lnTo>
                  <a:pt x="8572" y="13823"/>
                </a:lnTo>
                <a:cubicBezTo>
                  <a:pt x="8569" y="13820"/>
                  <a:pt x="8566" y="13817"/>
                  <a:pt x="8564" y="13813"/>
                </a:cubicBezTo>
                <a:lnTo>
                  <a:pt x="9776" y="11713"/>
                </a:lnTo>
                <a:lnTo>
                  <a:pt x="10783" y="12001"/>
                </a:lnTo>
                <a:cubicBezTo>
                  <a:pt x="11126" y="12099"/>
                  <a:pt x="11495" y="12003"/>
                  <a:pt x="11748" y="11751"/>
                </a:cubicBezTo>
                <a:cubicBezTo>
                  <a:pt x="12264" y="11234"/>
                  <a:pt x="12848" y="10787"/>
                  <a:pt x="13485" y="10421"/>
                </a:cubicBezTo>
                <a:cubicBezTo>
                  <a:pt x="13794" y="10243"/>
                  <a:pt x="13983" y="9911"/>
                  <a:pt x="13977" y="9554"/>
                </a:cubicBezTo>
                <a:lnTo>
                  <a:pt x="13960" y="8514"/>
                </a:lnTo>
                <a:lnTo>
                  <a:pt x="13960" y="8503"/>
                </a:lnTo>
                <a:lnTo>
                  <a:pt x="16304" y="7875"/>
                </a:lnTo>
                <a:lnTo>
                  <a:pt x="16817" y="8799"/>
                </a:lnTo>
                <a:cubicBezTo>
                  <a:pt x="16905" y="8958"/>
                  <a:pt x="17032" y="9085"/>
                  <a:pt x="17184" y="9172"/>
                </a:cubicBezTo>
                <a:cubicBezTo>
                  <a:pt x="17330" y="9257"/>
                  <a:pt x="17499" y="9304"/>
                  <a:pt x="17675" y="9304"/>
                </a:cubicBezTo>
                <a:cubicBezTo>
                  <a:pt x="18407" y="9304"/>
                  <a:pt x="19135" y="9399"/>
                  <a:pt x="19837" y="9589"/>
                </a:cubicBezTo>
                <a:cubicBezTo>
                  <a:pt x="20106" y="9660"/>
                  <a:pt x="20389" y="9611"/>
                  <a:pt x="20618" y="9464"/>
                </a:cubicBezTo>
                <a:cubicBezTo>
                  <a:pt x="20618" y="9464"/>
                  <a:pt x="20618" y="12594"/>
                  <a:pt x="20618" y="12594"/>
                </a:cubicBezTo>
                <a:close/>
                <a:moveTo>
                  <a:pt x="20618" y="15475"/>
                </a:moveTo>
                <a:lnTo>
                  <a:pt x="19093" y="16323"/>
                </a:lnTo>
                <a:cubicBezTo>
                  <a:pt x="18735" y="15946"/>
                  <a:pt x="18233" y="15709"/>
                  <a:pt x="17673" y="15709"/>
                </a:cubicBezTo>
                <a:cubicBezTo>
                  <a:pt x="17113" y="15709"/>
                  <a:pt x="16610" y="15946"/>
                  <a:pt x="16253" y="16323"/>
                </a:cubicBezTo>
                <a:lnTo>
                  <a:pt x="13643" y="14873"/>
                </a:lnTo>
                <a:cubicBezTo>
                  <a:pt x="14530" y="13599"/>
                  <a:pt x="16003" y="12764"/>
                  <a:pt x="17673" y="12764"/>
                </a:cubicBezTo>
                <a:cubicBezTo>
                  <a:pt x="18783" y="12764"/>
                  <a:pt x="19798" y="13141"/>
                  <a:pt x="20618" y="13764"/>
                </a:cubicBezTo>
                <a:cubicBezTo>
                  <a:pt x="20618" y="13764"/>
                  <a:pt x="20618" y="15475"/>
                  <a:pt x="20618" y="15475"/>
                </a:cubicBezTo>
                <a:close/>
                <a:moveTo>
                  <a:pt x="20618" y="19636"/>
                </a:moveTo>
                <a:cubicBezTo>
                  <a:pt x="20618" y="20178"/>
                  <a:pt x="20178" y="20619"/>
                  <a:pt x="19636" y="20619"/>
                </a:cubicBezTo>
                <a:lnTo>
                  <a:pt x="18164" y="20619"/>
                </a:lnTo>
                <a:lnTo>
                  <a:pt x="18164" y="19567"/>
                </a:lnTo>
                <a:cubicBezTo>
                  <a:pt x="19009" y="19348"/>
                  <a:pt x="19636" y="18587"/>
                  <a:pt x="19636" y="17673"/>
                </a:cubicBezTo>
                <a:cubicBezTo>
                  <a:pt x="19636" y="17502"/>
                  <a:pt x="19608" y="17339"/>
                  <a:pt x="19567" y="17182"/>
                </a:cubicBezTo>
                <a:lnTo>
                  <a:pt x="20618" y="16598"/>
                </a:lnTo>
                <a:cubicBezTo>
                  <a:pt x="20618" y="16598"/>
                  <a:pt x="20618" y="19636"/>
                  <a:pt x="20618" y="19636"/>
                </a:cubicBezTo>
                <a:close/>
                <a:moveTo>
                  <a:pt x="16691" y="17673"/>
                </a:moveTo>
                <a:cubicBezTo>
                  <a:pt x="16691" y="17131"/>
                  <a:pt x="17131" y="16691"/>
                  <a:pt x="17673" y="16691"/>
                </a:cubicBezTo>
                <a:cubicBezTo>
                  <a:pt x="18214" y="16691"/>
                  <a:pt x="18655" y="17131"/>
                  <a:pt x="18655" y="17673"/>
                </a:cubicBezTo>
                <a:cubicBezTo>
                  <a:pt x="18655" y="18215"/>
                  <a:pt x="18214" y="18655"/>
                  <a:pt x="17673" y="18655"/>
                </a:cubicBezTo>
                <a:cubicBezTo>
                  <a:pt x="17131" y="18655"/>
                  <a:pt x="16691" y="18215"/>
                  <a:pt x="16691" y="17673"/>
                </a:cubicBezTo>
                <a:moveTo>
                  <a:pt x="17182" y="20619"/>
                </a:moveTo>
                <a:lnTo>
                  <a:pt x="13757" y="20619"/>
                </a:lnTo>
                <a:cubicBezTo>
                  <a:pt x="13138" y="19797"/>
                  <a:pt x="12764" y="18781"/>
                  <a:pt x="12764" y="17673"/>
                </a:cubicBezTo>
                <a:cubicBezTo>
                  <a:pt x="12764" y="16982"/>
                  <a:pt x="12907" y="16326"/>
                  <a:pt x="13165" y="15730"/>
                </a:cubicBezTo>
                <a:lnTo>
                  <a:pt x="15779" y="17182"/>
                </a:lnTo>
                <a:cubicBezTo>
                  <a:pt x="15738" y="17339"/>
                  <a:pt x="15709" y="17502"/>
                  <a:pt x="15709" y="17673"/>
                </a:cubicBezTo>
                <a:cubicBezTo>
                  <a:pt x="15709" y="18587"/>
                  <a:pt x="16336" y="19348"/>
                  <a:pt x="17182" y="19567"/>
                </a:cubicBezTo>
                <a:cubicBezTo>
                  <a:pt x="17182" y="19567"/>
                  <a:pt x="17182" y="20619"/>
                  <a:pt x="17182" y="20619"/>
                </a:cubicBezTo>
                <a:close/>
                <a:moveTo>
                  <a:pt x="982" y="5376"/>
                </a:moveTo>
                <a:cubicBezTo>
                  <a:pt x="3301" y="5145"/>
                  <a:pt x="5145" y="3301"/>
                  <a:pt x="5375" y="982"/>
                </a:cubicBezTo>
                <a:lnTo>
                  <a:pt x="10309" y="982"/>
                </a:lnTo>
                <a:lnTo>
                  <a:pt x="10309" y="1703"/>
                </a:lnTo>
                <a:cubicBezTo>
                  <a:pt x="10305" y="1705"/>
                  <a:pt x="10302" y="1706"/>
                  <a:pt x="10298" y="1707"/>
                </a:cubicBezTo>
                <a:lnTo>
                  <a:pt x="9293" y="1958"/>
                </a:lnTo>
                <a:cubicBezTo>
                  <a:pt x="8947" y="2045"/>
                  <a:pt x="8675" y="2313"/>
                  <a:pt x="8583" y="2657"/>
                </a:cubicBezTo>
                <a:cubicBezTo>
                  <a:pt x="8394" y="3363"/>
                  <a:pt x="8112" y="4042"/>
                  <a:pt x="7744" y="4676"/>
                </a:cubicBezTo>
                <a:cubicBezTo>
                  <a:pt x="7564" y="4986"/>
                  <a:pt x="7567" y="5368"/>
                  <a:pt x="7751" y="5674"/>
                </a:cubicBezTo>
                <a:lnTo>
                  <a:pt x="8292" y="6575"/>
                </a:lnTo>
                <a:lnTo>
                  <a:pt x="6576" y="8291"/>
                </a:lnTo>
                <a:cubicBezTo>
                  <a:pt x="6573" y="8290"/>
                  <a:pt x="6569" y="8288"/>
                  <a:pt x="6566" y="8286"/>
                </a:cubicBezTo>
                <a:lnTo>
                  <a:pt x="5669" y="7748"/>
                </a:lnTo>
                <a:cubicBezTo>
                  <a:pt x="5513" y="7655"/>
                  <a:pt x="5339" y="7608"/>
                  <a:pt x="5164" y="7608"/>
                </a:cubicBezTo>
                <a:cubicBezTo>
                  <a:pt x="4995" y="7608"/>
                  <a:pt x="4825" y="7652"/>
                  <a:pt x="4673" y="7739"/>
                </a:cubicBezTo>
                <a:cubicBezTo>
                  <a:pt x="4039" y="8106"/>
                  <a:pt x="3362" y="8387"/>
                  <a:pt x="2659" y="8575"/>
                </a:cubicBezTo>
                <a:cubicBezTo>
                  <a:pt x="2315" y="8666"/>
                  <a:pt x="2047" y="8938"/>
                  <a:pt x="1960" y="9285"/>
                </a:cubicBezTo>
                <a:lnTo>
                  <a:pt x="1707" y="10298"/>
                </a:lnTo>
                <a:cubicBezTo>
                  <a:pt x="1706" y="10302"/>
                  <a:pt x="1705" y="10305"/>
                  <a:pt x="1703" y="10310"/>
                </a:cubicBezTo>
                <a:lnTo>
                  <a:pt x="982" y="10310"/>
                </a:lnTo>
                <a:cubicBezTo>
                  <a:pt x="982" y="10310"/>
                  <a:pt x="982" y="5376"/>
                  <a:pt x="982" y="5376"/>
                </a:cubicBezTo>
                <a:close/>
                <a:moveTo>
                  <a:pt x="982" y="1964"/>
                </a:moveTo>
                <a:cubicBezTo>
                  <a:pt x="982" y="1421"/>
                  <a:pt x="1422" y="982"/>
                  <a:pt x="1964" y="982"/>
                </a:cubicBezTo>
                <a:lnTo>
                  <a:pt x="4384" y="982"/>
                </a:lnTo>
                <a:cubicBezTo>
                  <a:pt x="4162" y="2758"/>
                  <a:pt x="2758" y="4162"/>
                  <a:pt x="982" y="4384"/>
                </a:cubicBezTo>
                <a:cubicBezTo>
                  <a:pt x="982" y="4384"/>
                  <a:pt x="982" y="1964"/>
                  <a:pt x="982" y="1964"/>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4" name="Shape 2594"/>
          <p:cNvSpPr/>
          <p:nvPr/>
        </p:nvSpPr>
        <p:spPr>
          <a:xfrm>
            <a:off x="8288182" y="185113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3436" y="8400"/>
                </a:moveTo>
                <a:lnTo>
                  <a:pt x="18164" y="8400"/>
                </a:lnTo>
                <a:cubicBezTo>
                  <a:pt x="18435" y="8400"/>
                  <a:pt x="18655" y="8132"/>
                  <a:pt x="18655" y="7800"/>
                </a:cubicBezTo>
                <a:cubicBezTo>
                  <a:pt x="18655" y="7468"/>
                  <a:pt x="18435" y="7200"/>
                  <a:pt x="18164" y="7200"/>
                </a:cubicBezTo>
                <a:lnTo>
                  <a:pt x="3436" y="7200"/>
                </a:lnTo>
                <a:cubicBezTo>
                  <a:pt x="3165" y="7200"/>
                  <a:pt x="2945" y="7468"/>
                  <a:pt x="2945" y="7800"/>
                </a:cubicBezTo>
                <a:cubicBezTo>
                  <a:pt x="2945" y="8132"/>
                  <a:pt x="3165" y="8400"/>
                  <a:pt x="3436" y="8400"/>
                </a:cubicBezTo>
                <a:moveTo>
                  <a:pt x="3436" y="10800"/>
                </a:moveTo>
                <a:lnTo>
                  <a:pt x="18164" y="10800"/>
                </a:lnTo>
                <a:cubicBezTo>
                  <a:pt x="18435" y="10800"/>
                  <a:pt x="18655" y="10532"/>
                  <a:pt x="18655" y="10200"/>
                </a:cubicBezTo>
                <a:cubicBezTo>
                  <a:pt x="18655" y="9868"/>
                  <a:pt x="18435" y="9600"/>
                  <a:pt x="18164" y="9600"/>
                </a:cubicBezTo>
                <a:lnTo>
                  <a:pt x="3436" y="9600"/>
                </a:lnTo>
                <a:cubicBezTo>
                  <a:pt x="3165" y="9600"/>
                  <a:pt x="2945" y="9868"/>
                  <a:pt x="2945" y="10200"/>
                </a:cubicBezTo>
                <a:cubicBezTo>
                  <a:pt x="2945" y="10532"/>
                  <a:pt x="3165" y="10800"/>
                  <a:pt x="3436" y="10800"/>
                </a:cubicBezTo>
                <a:moveTo>
                  <a:pt x="3436" y="13200"/>
                </a:moveTo>
                <a:lnTo>
                  <a:pt x="13255" y="13200"/>
                </a:lnTo>
                <a:cubicBezTo>
                  <a:pt x="13526" y="13200"/>
                  <a:pt x="13745" y="12931"/>
                  <a:pt x="13745" y="12601"/>
                </a:cubicBezTo>
                <a:cubicBezTo>
                  <a:pt x="13745" y="12268"/>
                  <a:pt x="13526" y="12000"/>
                  <a:pt x="13255" y="12000"/>
                </a:cubicBezTo>
                <a:lnTo>
                  <a:pt x="3436" y="12000"/>
                </a:lnTo>
                <a:cubicBezTo>
                  <a:pt x="3165" y="12000"/>
                  <a:pt x="2945" y="12268"/>
                  <a:pt x="2945" y="12601"/>
                </a:cubicBezTo>
                <a:cubicBezTo>
                  <a:pt x="2945" y="12931"/>
                  <a:pt x="3165" y="13200"/>
                  <a:pt x="3436" y="13200"/>
                </a:cubicBezTo>
                <a:moveTo>
                  <a:pt x="20618" y="19200"/>
                </a:moveTo>
                <a:lnTo>
                  <a:pt x="18114" y="19200"/>
                </a:lnTo>
                <a:cubicBezTo>
                  <a:pt x="17887" y="17831"/>
                  <a:pt x="16897" y="16800"/>
                  <a:pt x="15709" y="16800"/>
                </a:cubicBezTo>
                <a:cubicBezTo>
                  <a:pt x="14522" y="16800"/>
                  <a:pt x="13532" y="17831"/>
                  <a:pt x="13304" y="19200"/>
                </a:cubicBezTo>
                <a:lnTo>
                  <a:pt x="8296" y="19200"/>
                </a:lnTo>
                <a:cubicBezTo>
                  <a:pt x="8068" y="17831"/>
                  <a:pt x="7078" y="16800"/>
                  <a:pt x="5891" y="16800"/>
                </a:cubicBezTo>
                <a:cubicBezTo>
                  <a:pt x="4703" y="16800"/>
                  <a:pt x="3713" y="17831"/>
                  <a:pt x="3486" y="19200"/>
                </a:cubicBezTo>
                <a:lnTo>
                  <a:pt x="982" y="19200"/>
                </a:lnTo>
                <a:lnTo>
                  <a:pt x="982" y="1200"/>
                </a:lnTo>
                <a:lnTo>
                  <a:pt x="20618" y="1200"/>
                </a:lnTo>
                <a:cubicBezTo>
                  <a:pt x="20618" y="1200"/>
                  <a:pt x="20618" y="19200"/>
                  <a:pt x="20618" y="19200"/>
                </a:cubicBezTo>
                <a:close/>
                <a:moveTo>
                  <a:pt x="20618" y="0"/>
                </a:moveTo>
                <a:lnTo>
                  <a:pt x="982" y="0"/>
                </a:lnTo>
                <a:cubicBezTo>
                  <a:pt x="440" y="0"/>
                  <a:pt x="0" y="538"/>
                  <a:pt x="0" y="1200"/>
                </a:cubicBezTo>
                <a:lnTo>
                  <a:pt x="0" y="19200"/>
                </a:lnTo>
                <a:cubicBezTo>
                  <a:pt x="0" y="19862"/>
                  <a:pt x="440" y="20400"/>
                  <a:pt x="982" y="20400"/>
                </a:cubicBezTo>
                <a:lnTo>
                  <a:pt x="3927" y="20400"/>
                </a:lnTo>
                <a:cubicBezTo>
                  <a:pt x="4199" y="20400"/>
                  <a:pt x="4418" y="20132"/>
                  <a:pt x="4418" y="19800"/>
                </a:cubicBezTo>
                <a:cubicBezTo>
                  <a:pt x="4418" y="18807"/>
                  <a:pt x="5078" y="18000"/>
                  <a:pt x="5891" y="18000"/>
                </a:cubicBezTo>
                <a:cubicBezTo>
                  <a:pt x="6704" y="18000"/>
                  <a:pt x="7364" y="18807"/>
                  <a:pt x="7364" y="19800"/>
                </a:cubicBezTo>
                <a:cubicBezTo>
                  <a:pt x="7364" y="20132"/>
                  <a:pt x="7583" y="20400"/>
                  <a:pt x="7855" y="20400"/>
                </a:cubicBezTo>
                <a:lnTo>
                  <a:pt x="13745" y="20400"/>
                </a:lnTo>
                <a:cubicBezTo>
                  <a:pt x="14017" y="20400"/>
                  <a:pt x="14236" y="20132"/>
                  <a:pt x="14236" y="19800"/>
                </a:cubicBezTo>
                <a:cubicBezTo>
                  <a:pt x="14236" y="18807"/>
                  <a:pt x="14896" y="18000"/>
                  <a:pt x="15709" y="18000"/>
                </a:cubicBezTo>
                <a:cubicBezTo>
                  <a:pt x="16523" y="18000"/>
                  <a:pt x="17182" y="18807"/>
                  <a:pt x="17182" y="19800"/>
                </a:cubicBezTo>
                <a:cubicBezTo>
                  <a:pt x="17182" y="20132"/>
                  <a:pt x="17401" y="20400"/>
                  <a:pt x="17673" y="20400"/>
                </a:cubicBezTo>
                <a:lnTo>
                  <a:pt x="20618" y="20400"/>
                </a:lnTo>
                <a:cubicBezTo>
                  <a:pt x="21160" y="20400"/>
                  <a:pt x="21600" y="19862"/>
                  <a:pt x="21600" y="19200"/>
                </a:cubicBezTo>
                <a:lnTo>
                  <a:pt x="21600" y="1200"/>
                </a:lnTo>
                <a:cubicBezTo>
                  <a:pt x="21600" y="538"/>
                  <a:pt x="21160" y="0"/>
                  <a:pt x="20618" y="0"/>
                </a:cubicBezTo>
                <a:moveTo>
                  <a:pt x="5891" y="19200"/>
                </a:moveTo>
                <a:cubicBezTo>
                  <a:pt x="5620" y="19200"/>
                  <a:pt x="5400" y="19468"/>
                  <a:pt x="5400" y="19800"/>
                </a:cubicBezTo>
                <a:lnTo>
                  <a:pt x="5400" y="21000"/>
                </a:lnTo>
                <a:cubicBezTo>
                  <a:pt x="5400" y="21332"/>
                  <a:pt x="5620" y="21600"/>
                  <a:pt x="5891" y="21600"/>
                </a:cubicBezTo>
                <a:cubicBezTo>
                  <a:pt x="6162" y="21600"/>
                  <a:pt x="6382" y="21332"/>
                  <a:pt x="6382" y="21000"/>
                </a:cubicBezTo>
                <a:lnTo>
                  <a:pt x="6382" y="19800"/>
                </a:lnTo>
                <a:cubicBezTo>
                  <a:pt x="6382" y="19468"/>
                  <a:pt x="6162" y="19200"/>
                  <a:pt x="5891" y="19200"/>
                </a:cubicBezTo>
                <a:moveTo>
                  <a:pt x="3436" y="6000"/>
                </a:moveTo>
                <a:lnTo>
                  <a:pt x="18164" y="6000"/>
                </a:lnTo>
                <a:cubicBezTo>
                  <a:pt x="18435" y="6000"/>
                  <a:pt x="18655" y="5732"/>
                  <a:pt x="18655" y="5400"/>
                </a:cubicBezTo>
                <a:cubicBezTo>
                  <a:pt x="18655" y="5069"/>
                  <a:pt x="18435" y="4800"/>
                  <a:pt x="18164" y="4800"/>
                </a:cubicBezTo>
                <a:lnTo>
                  <a:pt x="3436" y="4800"/>
                </a:lnTo>
                <a:cubicBezTo>
                  <a:pt x="3165" y="4800"/>
                  <a:pt x="2945" y="5069"/>
                  <a:pt x="2945" y="5400"/>
                </a:cubicBezTo>
                <a:cubicBezTo>
                  <a:pt x="2945" y="5732"/>
                  <a:pt x="3165" y="6000"/>
                  <a:pt x="3436" y="6000"/>
                </a:cubicBezTo>
                <a:moveTo>
                  <a:pt x="15709" y="19200"/>
                </a:moveTo>
                <a:cubicBezTo>
                  <a:pt x="15438" y="19200"/>
                  <a:pt x="15218" y="19468"/>
                  <a:pt x="15218" y="19800"/>
                </a:cubicBezTo>
                <a:lnTo>
                  <a:pt x="15218" y="21000"/>
                </a:lnTo>
                <a:cubicBezTo>
                  <a:pt x="15218" y="21332"/>
                  <a:pt x="15438" y="21600"/>
                  <a:pt x="15709" y="21600"/>
                </a:cubicBezTo>
                <a:cubicBezTo>
                  <a:pt x="15980" y="21600"/>
                  <a:pt x="16200" y="21332"/>
                  <a:pt x="16200" y="21000"/>
                </a:cubicBezTo>
                <a:lnTo>
                  <a:pt x="16200" y="19800"/>
                </a:lnTo>
                <a:cubicBezTo>
                  <a:pt x="16200" y="19468"/>
                  <a:pt x="15980" y="19200"/>
                  <a:pt x="15709" y="19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5" name="Shape 2595"/>
          <p:cNvSpPr/>
          <p:nvPr/>
        </p:nvSpPr>
        <p:spPr>
          <a:xfrm>
            <a:off x="4688671"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7364" y="14040"/>
                </a:moveTo>
                <a:lnTo>
                  <a:pt x="14236" y="14040"/>
                </a:lnTo>
                <a:cubicBezTo>
                  <a:pt x="14507" y="14040"/>
                  <a:pt x="14727" y="13799"/>
                  <a:pt x="14727" y="13500"/>
                </a:cubicBezTo>
                <a:cubicBezTo>
                  <a:pt x="14727" y="13202"/>
                  <a:pt x="14507" y="12960"/>
                  <a:pt x="14236" y="12960"/>
                </a:cubicBezTo>
                <a:lnTo>
                  <a:pt x="7364" y="12960"/>
                </a:lnTo>
                <a:cubicBezTo>
                  <a:pt x="7093" y="12960"/>
                  <a:pt x="6873" y="13202"/>
                  <a:pt x="6873" y="13500"/>
                </a:cubicBezTo>
                <a:cubicBezTo>
                  <a:pt x="6873" y="13799"/>
                  <a:pt x="7093" y="14040"/>
                  <a:pt x="7364" y="14040"/>
                </a:cubicBezTo>
                <a:moveTo>
                  <a:pt x="7364" y="11880"/>
                </a:moveTo>
                <a:lnTo>
                  <a:pt x="18164" y="11880"/>
                </a:lnTo>
                <a:cubicBezTo>
                  <a:pt x="18434" y="11880"/>
                  <a:pt x="18655" y="11639"/>
                  <a:pt x="18655" y="11340"/>
                </a:cubicBezTo>
                <a:cubicBezTo>
                  <a:pt x="18655" y="11042"/>
                  <a:pt x="18434" y="10800"/>
                  <a:pt x="18164" y="10800"/>
                </a:cubicBezTo>
                <a:lnTo>
                  <a:pt x="7364" y="10800"/>
                </a:lnTo>
                <a:cubicBezTo>
                  <a:pt x="7093" y="10800"/>
                  <a:pt x="6873" y="11042"/>
                  <a:pt x="6873" y="11340"/>
                </a:cubicBezTo>
                <a:cubicBezTo>
                  <a:pt x="6873" y="11639"/>
                  <a:pt x="7093" y="11880"/>
                  <a:pt x="7364" y="11880"/>
                </a:cubicBezTo>
                <a:moveTo>
                  <a:pt x="20618" y="19440"/>
                </a:moveTo>
                <a:lnTo>
                  <a:pt x="18605" y="19440"/>
                </a:lnTo>
                <a:cubicBezTo>
                  <a:pt x="18378" y="18208"/>
                  <a:pt x="17387" y="17280"/>
                  <a:pt x="16200" y="17280"/>
                </a:cubicBezTo>
                <a:cubicBezTo>
                  <a:pt x="15013" y="17280"/>
                  <a:pt x="14022" y="18208"/>
                  <a:pt x="13795" y="19440"/>
                </a:cubicBezTo>
                <a:lnTo>
                  <a:pt x="11732" y="19440"/>
                </a:lnTo>
                <a:cubicBezTo>
                  <a:pt x="11505" y="18208"/>
                  <a:pt x="10515" y="17280"/>
                  <a:pt x="9327" y="17280"/>
                </a:cubicBezTo>
                <a:cubicBezTo>
                  <a:pt x="8140" y="17280"/>
                  <a:pt x="7150" y="18208"/>
                  <a:pt x="6922" y="19440"/>
                </a:cubicBezTo>
                <a:lnTo>
                  <a:pt x="4909" y="19440"/>
                </a:lnTo>
                <a:lnTo>
                  <a:pt x="4909" y="5400"/>
                </a:lnTo>
                <a:lnTo>
                  <a:pt x="20618" y="5400"/>
                </a:lnTo>
                <a:cubicBezTo>
                  <a:pt x="20618" y="5400"/>
                  <a:pt x="20618" y="19440"/>
                  <a:pt x="20618" y="19440"/>
                </a:cubicBezTo>
                <a:close/>
                <a:moveTo>
                  <a:pt x="20618" y="4320"/>
                </a:moveTo>
                <a:lnTo>
                  <a:pt x="4909" y="4320"/>
                </a:lnTo>
                <a:cubicBezTo>
                  <a:pt x="4367" y="4320"/>
                  <a:pt x="3927" y="4804"/>
                  <a:pt x="3927" y="5400"/>
                </a:cubicBezTo>
                <a:lnTo>
                  <a:pt x="3927" y="19440"/>
                </a:lnTo>
                <a:cubicBezTo>
                  <a:pt x="3927" y="20036"/>
                  <a:pt x="4367" y="20520"/>
                  <a:pt x="4909" y="20520"/>
                </a:cubicBezTo>
                <a:lnTo>
                  <a:pt x="7364" y="20520"/>
                </a:lnTo>
                <a:cubicBezTo>
                  <a:pt x="7634" y="20520"/>
                  <a:pt x="7855" y="20279"/>
                  <a:pt x="7855" y="19980"/>
                </a:cubicBezTo>
                <a:cubicBezTo>
                  <a:pt x="7855" y="19085"/>
                  <a:pt x="8514" y="18360"/>
                  <a:pt x="9327" y="18360"/>
                </a:cubicBezTo>
                <a:cubicBezTo>
                  <a:pt x="10141" y="18360"/>
                  <a:pt x="10800" y="19085"/>
                  <a:pt x="10800" y="19980"/>
                </a:cubicBezTo>
                <a:cubicBezTo>
                  <a:pt x="10800" y="20279"/>
                  <a:pt x="11020" y="20520"/>
                  <a:pt x="11291" y="20520"/>
                </a:cubicBezTo>
                <a:lnTo>
                  <a:pt x="14236" y="20520"/>
                </a:lnTo>
                <a:cubicBezTo>
                  <a:pt x="14507" y="20520"/>
                  <a:pt x="14727" y="20279"/>
                  <a:pt x="14727" y="19980"/>
                </a:cubicBezTo>
                <a:cubicBezTo>
                  <a:pt x="14727" y="19085"/>
                  <a:pt x="15386" y="18360"/>
                  <a:pt x="16200" y="18360"/>
                </a:cubicBezTo>
                <a:cubicBezTo>
                  <a:pt x="17014" y="18360"/>
                  <a:pt x="17673" y="19085"/>
                  <a:pt x="17673" y="19980"/>
                </a:cubicBezTo>
                <a:cubicBezTo>
                  <a:pt x="17673" y="20279"/>
                  <a:pt x="17893" y="20520"/>
                  <a:pt x="18164" y="20520"/>
                </a:cubicBezTo>
                <a:lnTo>
                  <a:pt x="20618" y="20520"/>
                </a:lnTo>
                <a:cubicBezTo>
                  <a:pt x="21160" y="20520"/>
                  <a:pt x="21600" y="20036"/>
                  <a:pt x="21600" y="19440"/>
                </a:cubicBezTo>
                <a:lnTo>
                  <a:pt x="21600" y="5400"/>
                </a:lnTo>
                <a:cubicBezTo>
                  <a:pt x="21600" y="4804"/>
                  <a:pt x="21160" y="4320"/>
                  <a:pt x="20618" y="4320"/>
                </a:cubicBezTo>
                <a:moveTo>
                  <a:pt x="7364" y="9720"/>
                </a:moveTo>
                <a:lnTo>
                  <a:pt x="18164" y="9720"/>
                </a:lnTo>
                <a:cubicBezTo>
                  <a:pt x="18434" y="9720"/>
                  <a:pt x="18655" y="9479"/>
                  <a:pt x="18655" y="9180"/>
                </a:cubicBezTo>
                <a:cubicBezTo>
                  <a:pt x="18655" y="8882"/>
                  <a:pt x="18434" y="8640"/>
                  <a:pt x="18164" y="8640"/>
                </a:cubicBezTo>
                <a:lnTo>
                  <a:pt x="7364" y="8640"/>
                </a:lnTo>
                <a:cubicBezTo>
                  <a:pt x="7093" y="8640"/>
                  <a:pt x="6873" y="8882"/>
                  <a:pt x="6873" y="9180"/>
                </a:cubicBezTo>
                <a:cubicBezTo>
                  <a:pt x="6873" y="9479"/>
                  <a:pt x="7093" y="9720"/>
                  <a:pt x="7364" y="9720"/>
                </a:cubicBezTo>
                <a:moveTo>
                  <a:pt x="9327" y="19440"/>
                </a:moveTo>
                <a:cubicBezTo>
                  <a:pt x="9056" y="19440"/>
                  <a:pt x="8836" y="19682"/>
                  <a:pt x="8836" y="19980"/>
                </a:cubicBezTo>
                <a:lnTo>
                  <a:pt x="8836" y="21060"/>
                </a:lnTo>
                <a:cubicBezTo>
                  <a:pt x="8836" y="21359"/>
                  <a:pt x="9056" y="21600"/>
                  <a:pt x="9327" y="21600"/>
                </a:cubicBezTo>
                <a:cubicBezTo>
                  <a:pt x="9598" y="21600"/>
                  <a:pt x="9818" y="21359"/>
                  <a:pt x="9818" y="21060"/>
                </a:cubicBezTo>
                <a:lnTo>
                  <a:pt x="9818" y="19980"/>
                </a:lnTo>
                <a:cubicBezTo>
                  <a:pt x="9818" y="19682"/>
                  <a:pt x="9598" y="19440"/>
                  <a:pt x="9327" y="19440"/>
                </a:cubicBezTo>
                <a:moveTo>
                  <a:pt x="2455" y="15120"/>
                </a:moveTo>
                <a:lnTo>
                  <a:pt x="982" y="15120"/>
                </a:lnTo>
                <a:lnTo>
                  <a:pt x="982" y="1080"/>
                </a:lnTo>
                <a:lnTo>
                  <a:pt x="16691" y="1080"/>
                </a:lnTo>
                <a:lnTo>
                  <a:pt x="16691" y="2700"/>
                </a:lnTo>
                <a:cubicBezTo>
                  <a:pt x="16691" y="2999"/>
                  <a:pt x="16911" y="3240"/>
                  <a:pt x="17182" y="3240"/>
                </a:cubicBezTo>
                <a:cubicBezTo>
                  <a:pt x="17453" y="3240"/>
                  <a:pt x="17673" y="2999"/>
                  <a:pt x="17673" y="2700"/>
                </a:cubicBezTo>
                <a:lnTo>
                  <a:pt x="17673" y="1080"/>
                </a:lnTo>
                <a:cubicBezTo>
                  <a:pt x="17673" y="484"/>
                  <a:pt x="17233" y="0"/>
                  <a:pt x="16691" y="0"/>
                </a:cubicBezTo>
                <a:lnTo>
                  <a:pt x="982" y="0"/>
                </a:lnTo>
                <a:cubicBezTo>
                  <a:pt x="440" y="0"/>
                  <a:pt x="0" y="484"/>
                  <a:pt x="0" y="1080"/>
                </a:cubicBezTo>
                <a:lnTo>
                  <a:pt x="0" y="15120"/>
                </a:lnTo>
                <a:cubicBezTo>
                  <a:pt x="0" y="15716"/>
                  <a:pt x="440" y="16201"/>
                  <a:pt x="982" y="16201"/>
                </a:cubicBezTo>
                <a:lnTo>
                  <a:pt x="2455" y="16201"/>
                </a:lnTo>
                <a:cubicBezTo>
                  <a:pt x="2725" y="16201"/>
                  <a:pt x="2945" y="15959"/>
                  <a:pt x="2945" y="15660"/>
                </a:cubicBezTo>
                <a:cubicBezTo>
                  <a:pt x="2945" y="15362"/>
                  <a:pt x="2725" y="15120"/>
                  <a:pt x="2455" y="15120"/>
                </a:cubicBezTo>
                <a:moveTo>
                  <a:pt x="16200" y="19440"/>
                </a:moveTo>
                <a:cubicBezTo>
                  <a:pt x="15929" y="19440"/>
                  <a:pt x="15709" y="19682"/>
                  <a:pt x="15709" y="19980"/>
                </a:cubicBezTo>
                <a:lnTo>
                  <a:pt x="15709" y="21060"/>
                </a:lnTo>
                <a:cubicBezTo>
                  <a:pt x="15709" y="21359"/>
                  <a:pt x="15929" y="21600"/>
                  <a:pt x="16200" y="21600"/>
                </a:cubicBezTo>
                <a:cubicBezTo>
                  <a:pt x="16471" y="21600"/>
                  <a:pt x="16691" y="21359"/>
                  <a:pt x="16691" y="21060"/>
                </a:cubicBezTo>
                <a:lnTo>
                  <a:pt x="16691" y="19980"/>
                </a:lnTo>
                <a:cubicBezTo>
                  <a:pt x="16691" y="19682"/>
                  <a:pt x="16471" y="19440"/>
                  <a:pt x="16200" y="194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6" name="Shape 2596"/>
          <p:cNvSpPr/>
          <p:nvPr/>
        </p:nvSpPr>
        <p:spPr>
          <a:xfrm>
            <a:off x="5088616" y="226060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5400"/>
                </a:moveTo>
                <a:lnTo>
                  <a:pt x="9327" y="5400"/>
                </a:lnTo>
                <a:cubicBezTo>
                  <a:pt x="9598" y="5400"/>
                  <a:pt x="9818" y="5098"/>
                  <a:pt x="9818" y="4725"/>
                </a:cubicBezTo>
                <a:cubicBezTo>
                  <a:pt x="9818" y="4353"/>
                  <a:pt x="9598" y="4050"/>
                  <a:pt x="9327" y="4050"/>
                </a:cubicBezTo>
                <a:lnTo>
                  <a:pt x="3436" y="4050"/>
                </a:lnTo>
                <a:cubicBezTo>
                  <a:pt x="3166" y="4050"/>
                  <a:pt x="2945" y="4353"/>
                  <a:pt x="2945" y="4725"/>
                </a:cubicBezTo>
                <a:cubicBezTo>
                  <a:pt x="2945" y="5098"/>
                  <a:pt x="3166" y="5400"/>
                  <a:pt x="3436" y="5400"/>
                </a:cubicBezTo>
                <a:moveTo>
                  <a:pt x="3436" y="8100"/>
                </a:moveTo>
                <a:lnTo>
                  <a:pt x="7364" y="8100"/>
                </a:lnTo>
                <a:cubicBezTo>
                  <a:pt x="7634" y="8100"/>
                  <a:pt x="7855" y="7798"/>
                  <a:pt x="7855" y="7425"/>
                </a:cubicBezTo>
                <a:cubicBezTo>
                  <a:pt x="7855" y="7053"/>
                  <a:pt x="7634" y="6750"/>
                  <a:pt x="7364" y="6750"/>
                </a:cubicBezTo>
                <a:lnTo>
                  <a:pt x="3436" y="6750"/>
                </a:lnTo>
                <a:cubicBezTo>
                  <a:pt x="3166" y="6750"/>
                  <a:pt x="2945" y="7053"/>
                  <a:pt x="2945" y="7425"/>
                </a:cubicBezTo>
                <a:cubicBezTo>
                  <a:pt x="2945" y="7798"/>
                  <a:pt x="3166" y="8100"/>
                  <a:pt x="3436" y="8100"/>
                </a:cubicBezTo>
                <a:moveTo>
                  <a:pt x="3436" y="10800"/>
                </a:moveTo>
                <a:lnTo>
                  <a:pt x="9327" y="10800"/>
                </a:lnTo>
                <a:cubicBezTo>
                  <a:pt x="9598" y="10800"/>
                  <a:pt x="9818" y="10498"/>
                  <a:pt x="9818" y="10125"/>
                </a:cubicBezTo>
                <a:cubicBezTo>
                  <a:pt x="9818" y="9753"/>
                  <a:pt x="9598" y="9450"/>
                  <a:pt x="9327" y="9450"/>
                </a:cubicBezTo>
                <a:lnTo>
                  <a:pt x="3436" y="9450"/>
                </a:lnTo>
                <a:cubicBezTo>
                  <a:pt x="3166" y="9450"/>
                  <a:pt x="2945" y="9753"/>
                  <a:pt x="2945" y="10125"/>
                </a:cubicBezTo>
                <a:cubicBezTo>
                  <a:pt x="2945" y="10498"/>
                  <a:pt x="3166" y="10800"/>
                  <a:pt x="3436" y="10800"/>
                </a:cubicBezTo>
                <a:moveTo>
                  <a:pt x="20618" y="20250"/>
                </a:moveTo>
                <a:lnTo>
                  <a:pt x="15709" y="20250"/>
                </a:lnTo>
                <a:lnTo>
                  <a:pt x="15709" y="17551"/>
                </a:lnTo>
                <a:lnTo>
                  <a:pt x="16691" y="17551"/>
                </a:lnTo>
                <a:cubicBezTo>
                  <a:pt x="16962" y="17551"/>
                  <a:pt x="17182" y="17248"/>
                  <a:pt x="17182" y="16875"/>
                </a:cubicBezTo>
                <a:cubicBezTo>
                  <a:pt x="17182" y="16503"/>
                  <a:pt x="16962" y="16200"/>
                  <a:pt x="16691" y="16200"/>
                </a:cubicBezTo>
                <a:lnTo>
                  <a:pt x="13745" y="16200"/>
                </a:lnTo>
                <a:cubicBezTo>
                  <a:pt x="13475" y="16200"/>
                  <a:pt x="13255" y="16503"/>
                  <a:pt x="13255" y="16875"/>
                </a:cubicBezTo>
                <a:cubicBezTo>
                  <a:pt x="13255" y="17248"/>
                  <a:pt x="13475" y="17551"/>
                  <a:pt x="13745" y="17551"/>
                </a:cubicBezTo>
                <a:lnTo>
                  <a:pt x="14727" y="17551"/>
                </a:lnTo>
                <a:lnTo>
                  <a:pt x="14727" y="20250"/>
                </a:lnTo>
                <a:lnTo>
                  <a:pt x="6873" y="20250"/>
                </a:lnTo>
                <a:lnTo>
                  <a:pt x="6873" y="17551"/>
                </a:lnTo>
                <a:lnTo>
                  <a:pt x="7855" y="17551"/>
                </a:lnTo>
                <a:cubicBezTo>
                  <a:pt x="8125" y="17551"/>
                  <a:pt x="8345" y="17248"/>
                  <a:pt x="8345" y="16875"/>
                </a:cubicBezTo>
                <a:cubicBezTo>
                  <a:pt x="8345" y="16503"/>
                  <a:pt x="8125" y="16200"/>
                  <a:pt x="7855" y="16200"/>
                </a:cubicBezTo>
                <a:lnTo>
                  <a:pt x="4909" y="16200"/>
                </a:lnTo>
                <a:cubicBezTo>
                  <a:pt x="4638" y="16200"/>
                  <a:pt x="4418" y="16503"/>
                  <a:pt x="4418" y="16875"/>
                </a:cubicBezTo>
                <a:cubicBezTo>
                  <a:pt x="4418" y="17248"/>
                  <a:pt x="4638" y="17551"/>
                  <a:pt x="4909" y="17551"/>
                </a:cubicBezTo>
                <a:lnTo>
                  <a:pt x="5891" y="17551"/>
                </a:lnTo>
                <a:lnTo>
                  <a:pt x="5891" y="20250"/>
                </a:lnTo>
                <a:lnTo>
                  <a:pt x="982" y="20250"/>
                </a:lnTo>
                <a:lnTo>
                  <a:pt x="982" y="1350"/>
                </a:lnTo>
                <a:lnTo>
                  <a:pt x="20618" y="1350"/>
                </a:lnTo>
                <a:cubicBezTo>
                  <a:pt x="20618" y="13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3436" y="13500"/>
                </a:moveTo>
                <a:lnTo>
                  <a:pt x="7364" y="13500"/>
                </a:lnTo>
                <a:cubicBezTo>
                  <a:pt x="7634" y="13500"/>
                  <a:pt x="7855" y="13198"/>
                  <a:pt x="7855" y="12825"/>
                </a:cubicBezTo>
                <a:cubicBezTo>
                  <a:pt x="7855" y="12452"/>
                  <a:pt x="7634" y="12150"/>
                  <a:pt x="7364" y="12150"/>
                </a:cubicBezTo>
                <a:lnTo>
                  <a:pt x="3436" y="12150"/>
                </a:lnTo>
                <a:cubicBezTo>
                  <a:pt x="3166" y="12150"/>
                  <a:pt x="2945" y="12452"/>
                  <a:pt x="2945" y="12825"/>
                </a:cubicBezTo>
                <a:cubicBezTo>
                  <a:pt x="2945" y="13198"/>
                  <a:pt x="3166" y="13500"/>
                  <a:pt x="3436" y="13500"/>
                </a:cubicBezTo>
                <a:moveTo>
                  <a:pt x="12273" y="5400"/>
                </a:moveTo>
                <a:lnTo>
                  <a:pt x="16200" y="5400"/>
                </a:lnTo>
                <a:cubicBezTo>
                  <a:pt x="16471" y="5400"/>
                  <a:pt x="16691" y="5098"/>
                  <a:pt x="16691" y="4725"/>
                </a:cubicBezTo>
                <a:cubicBezTo>
                  <a:pt x="16691" y="4353"/>
                  <a:pt x="16471" y="4050"/>
                  <a:pt x="16200" y="4050"/>
                </a:cubicBezTo>
                <a:lnTo>
                  <a:pt x="12273" y="4050"/>
                </a:lnTo>
                <a:cubicBezTo>
                  <a:pt x="12002" y="4050"/>
                  <a:pt x="11782" y="4353"/>
                  <a:pt x="11782" y="4725"/>
                </a:cubicBezTo>
                <a:cubicBezTo>
                  <a:pt x="11782" y="5098"/>
                  <a:pt x="12002" y="5400"/>
                  <a:pt x="12273" y="5400"/>
                </a:cubicBezTo>
                <a:moveTo>
                  <a:pt x="12273" y="10800"/>
                </a:moveTo>
                <a:lnTo>
                  <a:pt x="16200" y="10800"/>
                </a:lnTo>
                <a:cubicBezTo>
                  <a:pt x="16471" y="10800"/>
                  <a:pt x="16691" y="10498"/>
                  <a:pt x="16691" y="10125"/>
                </a:cubicBezTo>
                <a:cubicBezTo>
                  <a:pt x="16691" y="9753"/>
                  <a:pt x="16471" y="9450"/>
                  <a:pt x="16200" y="9450"/>
                </a:cubicBezTo>
                <a:lnTo>
                  <a:pt x="12273" y="9450"/>
                </a:lnTo>
                <a:cubicBezTo>
                  <a:pt x="12002" y="9450"/>
                  <a:pt x="11782" y="9753"/>
                  <a:pt x="11782" y="10125"/>
                </a:cubicBezTo>
                <a:cubicBezTo>
                  <a:pt x="11782" y="10498"/>
                  <a:pt x="12002" y="10800"/>
                  <a:pt x="12273" y="10800"/>
                </a:cubicBezTo>
                <a:moveTo>
                  <a:pt x="12273" y="13500"/>
                </a:moveTo>
                <a:lnTo>
                  <a:pt x="18164" y="13500"/>
                </a:lnTo>
                <a:cubicBezTo>
                  <a:pt x="18434" y="13500"/>
                  <a:pt x="18655" y="13198"/>
                  <a:pt x="18655" y="12825"/>
                </a:cubicBezTo>
                <a:cubicBezTo>
                  <a:pt x="18655" y="12452"/>
                  <a:pt x="18434" y="12150"/>
                  <a:pt x="18164" y="12150"/>
                </a:cubicBezTo>
                <a:lnTo>
                  <a:pt x="12273" y="12150"/>
                </a:lnTo>
                <a:cubicBezTo>
                  <a:pt x="12002" y="12150"/>
                  <a:pt x="11782" y="12452"/>
                  <a:pt x="11782" y="12825"/>
                </a:cubicBezTo>
                <a:cubicBezTo>
                  <a:pt x="11782" y="13198"/>
                  <a:pt x="12002" y="13500"/>
                  <a:pt x="12273" y="13500"/>
                </a:cubicBezTo>
                <a:moveTo>
                  <a:pt x="12273" y="8100"/>
                </a:moveTo>
                <a:lnTo>
                  <a:pt x="18164" y="8100"/>
                </a:lnTo>
                <a:cubicBezTo>
                  <a:pt x="18434" y="8100"/>
                  <a:pt x="18655" y="7798"/>
                  <a:pt x="18655" y="7425"/>
                </a:cubicBezTo>
                <a:cubicBezTo>
                  <a:pt x="18655" y="7053"/>
                  <a:pt x="18434" y="6750"/>
                  <a:pt x="18164" y="6750"/>
                </a:cubicBezTo>
                <a:lnTo>
                  <a:pt x="12273" y="6750"/>
                </a:lnTo>
                <a:cubicBezTo>
                  <a:pt x="12002" y="6750"/>
                  <a:pt x="11782" y="7053"/>
                  <a:pt x="11782" y="7425"/>
                </a:cubicBezTo>
                <a:cubicBezTo>
                  <a:pt x="11782" y="7798"/>
                  <a:pt x="12002" y="8100"/>
                  <a:pt x="12273"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7" name="Shape 2597"/>
          <p:cNvSpPr/>
          <p:nvPr/>
        </p:nvSpPr>
        <p:spPr>
          <a:xfrm>
            <a:off x="548856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7364" y="9600"/>
                </a:moveTo>
                <a:lnTo>
                  <a:pt x="11291" y="9600"/>
                </a:lnTo>
                <a:cubicBezTo>
                  <a:pt x="11562" y="9600"/>
                  <a:pt x="11782" y="9332"/>
                  <a:pt x="11782" y="9000"/>
                </a:cubicBezTo>
                <a:cubicBezTo>
                  <a:pt x="11782" y="8669"/>
                  <a:pt x="11562" y="8400"/>
                  <a:pt x="11291" y="8400"/>
                </a:cubicBezTo>
                <a:lnTo>
                  <a:pt x="7364" y="8400"/>
                </a:lnTo>
                <a:cubicBezTo>
                  <a:pt x="7093" y="8400"/>
                  <a:pt x="6873" y="8669"/>
                  <a:pt x="6873" y="9000"/>
                </a:cubicBezTo>
                <a:cubicBezTo>
                  <a:pt x="6873" y="9332"/>
                  <a:pt x="7093" y="9600"/>
                  <a:pt x="7364" y="9600"/>
                </a:cubicBezTo>
                <a:moveTo>
                  <a:pt x="7364" y="12000"/>
                </a:moveTo>
                <a:lnTo>
                  <a:pt x="9327" y="12000"/>
                </a:lnTo>
                <a:cubicBezTo>
                  <a:pt x="9598" y="12000"/>
                  <a:pt x="9818" y="11732"/>
                  <a:pt x="9818" y="11400"/>
                </a:cubicBezTo>
                <a:cubicBezTo>
                  <a:pt x="9818" y="11069"/>
                  <a:pt x="9598" y="10800"/>
                  <a:pt x="9327" y="10800"/>
                </a:cubicBezTo>
                <a:lnTo>
                  <a:pt x="7364" y="10800"/>
                </a:lnTo>
                <a:cubicBezTo>
                  <a:pt x="7093" y="10800"/>
                  <a:pt x="6873" y="11069"/>
                  <a:pt x="6873" y="11400"/>
                </a:cubicBezTo>
                <a:cubicBezTo>
                  <a:pt x="6873" y="11732"/>
                  <a:pt x="7093" y="12000"/>
                  <a:pt x="7364" y="12000"/>
                </a:cubicBezTo>
                <a:moveTo>
                  <a:pt x="20618" y="20400"/>
                </a:moveTo>
                <a:lnTo>
                  <a:pt x="16691" y="20400"/>
                </a:lnTo>
                <a:lnTo>
                  <a:pt x="16691" y="19200"/>
                </a:lnTo>
                <a:lnTo>
                  <a:pt x="17182" y="19200"/>
                </a:lnTo>
                <a:cubicBezTo>
                  <a:pt x="17453" y="19200"/>
                  <a:pt x="17673" y="18932"/>
                  <a:pt x="17673" y="18600"/>
                </a:cubicBezTo>
                <a:cubicBezTo>
                  <a:pt x="17673" y="18269"/>
                  <a:pt x="17453" y="18000"/>
                  <a:pt x="17182" y="18000"/>
                </a:cubicBezTo>
                <a:lnTo>
                  <a:pt x="15218" y="18000"/>
                </a:lnTo>
                <a:cubicBezTo>
                  <a:pt x="14947" y="18000"/>
                  <a:pt x="14727" y="18269"/>
                  <a:pt x="14727" y="18600"/>
                </a:cubicBezTo>
                <a:cubicBezTo>
                  <a:pt x="14727" y="18932"/>
                  <a:pt x="14947" y="19200"/>
                  <a:pt x="15218" y="19200"/>
                </a:cubicBezTo>
                <a:lnTo>
                  <a:pt x="15709" y="19200"/>
                </a:lnTo>
                <a:lnTo>
                  <a:pt x="15709" y="20400"/>
                </a:lnTo>
                <a:lnTo>
                  <a:pt x="9818" y="20400"/>
                </a:lnTo>
                <a:lnTo>
                  <a:pt x="9818" y="19200"/>
                </a:lnTo>
                <a:lnTo>
                  <a:pt x="10309" y="19200"/>
                </a:lnTo>
                <a:cubicBezTo>
                  <a:pt x="10580" y="19200"/>
                  <a:pt x="10800" y="18932"/>
                  <a:pt x="10800" y="18600"/>
                </a:cubicBezTo>
                <a:cubicBezTo>
                  <a:pt x="10800" y="18269"/>
                  <a:pt x="10580" y="18000"/>
                  <a:pt x="10309" y="18000"/>
                </a:cubicBezTo>
                <a:lnTo>
                  <a:pt x="8345" y="18000"/>
                </a:lnTo>
                <a:cubicBezTo>
                  <a:pt x="8075" y="18000"/>
                  <a:pt x="7855" y="18269"/>
                  <a:pt x="7855" y="18600"/>
                </a:cubicBezTo>
                <a:cubicBezTo>
                  <a:pt x="7855" y="18932"/>
                  <a:pt x="8075" y="19200"/>
                  <a:pt x="8345" y="19200"/>
                </a:cubicBezTo>
                <a:lnTo>
                  <a:pt x="8836" y="19200"/>
                </a:lnTo>
                <a:lnTo>
                  <a:pt x="8836" y="20400"/>
                </a:lnTo>
                <a:lnTo>
                  <a:pt x="4909" y="20400"/>
                </a:lnTo>
                <a:lnTo>
                  <a:pt x="4909" y="6000"/>
                </a:lnTo>
                <a:lnTo>
                  <a:pt x="20618" y="6000"/>
                </a:lnTo>
                <a:cubicBezTo>
                  <a:pt x="20618" y="6000"/>
                  <a:pt x="20618" y="20400"/>
                  <a:pt x="20618" y="20400"/>
                </a:cubicBezTo>
                <a:close/>
                <a:moveTo>
                  <a:pt x="20618" y="4800"/>
                </a:moveTo>
                <a:lnTo>
                  <a:pt x="4909" y="4800"/>
                </a:lnTo>
                <a:cubicBezTo>
                  <a:pt x="4367" y="4800"/>
                  <a:pt x="3927" y="5338"/>
                  <a:pt x="3927" y="6000"/>
                </a:cubicBezTo>
                <a:lnTo>
                  <a:pt x="3927" y="20400"/>
                </a:lnTo>
                <a:cubicBezTo>
                  <a:pt x="3927" y="21062"/>
                  <a:pt x="4367" y="21600"/>
                  <a:pt x="4909" y="21600"/>
                </a:cubicBezTo>
                <a:lnTo>
                  <a:pt x="20618" y="21600"/>
                </a:lnTo>
                <a:cubicBezTo>
                  <a:pt x="21160" y="21600"/>
                  <a:pt x="21600" y="21062"/>
                  <a:pt x="21600" y="20400"/>
                </a:cubicBezTo>
                <a:lnTo>
                  <a:pt x="21600" y="6000"/>
                </a:lnTo>
                <a:cubicBezTo>
                  <a:pt x="21600" y="5338"/>
                  <a:pt x="21160" y="4800"/>
                  <a:pt x="20618" y="4800"/>
                </a:cubicBezTo>
                <a:moveTo>
                  <a:pt x="7364" y="14400"/>
                </a:moveTo>
                <a:lnTo>
                  <a:pt x="11291" y="14400"/>
                </a:lnTo>
                <a:cubicBezTo>
                  <a:pt x="11562" y="14400"/>
                  <a:pt x="11782" y="14132"/>
                  <a:pt x="11782" y="13800"/>
                </a:cubicBezTo>
                <a:cubicBezTo>
                  <a:pt x="11782" y="13469"/>
                  <a:pt x="11562" y="13200"/>
                  <a:pt x="11291" y="13200"/>
                </a:cubicBezTo>
                <a:lnTo>
                  <a:pt x="7364" y="13200"/>
                </a:lnTo>
                <a:cubicBezTo>
                  <a:pt x="7093" y="13200"/>
                  <a:pt x="6873" y="13469"/>
                  <a:pt x="6873" y="13800"/>
                </a:cubicBezTo>
                <a:cubicBezTo>
                  <a:pt x="6873" y="14132"/>
                  <a:pt x="7093" y="14400"/>
                  <a:pt x="7364" y="14400"/>
                </a:cubicBezTo>
                <a:moveTo>
                  <a:pt x="2455" y="15600"/>
                </a:moveTo>
                <a:lnTo>
                  <a:pt x="982" y="15600"/>
                </a:lnTo>
                <a:lnTo>
                  <a:pt x="982" y="1200"/>
                </a:lnTo>
                <a:lnTo>
                  <a:pt x="16691" y="1200"/>
                </a:lnTo>
                <a:lnTo>
                  <a:pt x="16691" y="3000"/>
                </a:lnTo>
                <a:cubicBezTo>
                  <a:pt x="16691" y="3332"/>
                  <a:pt x="16911" y="3600"/>
                  <a:pt x="17182" y="3600"/>
                </a:cubicBezTo>
                <a:cubicBezTo>
                  <a:pt x="17453" y="3600"/>
                  <a:pt x="17673" y="3332"/>
                  <a:pt x="17673" y="3000"/>
                </a:cubicBezTo>
                <a:lnTo>
                  <a:pt x="17673" y="1200"/>
                </a:lnTo>
                <a:cubicBezTo>
                  <a:pt x="17673" y="538"/>
                  <a:pt x="17233" y="0"/>
                  <a:pt x="16691" y="0"/>
                </a:cubicBezTo>
                <a:lnTo>
                  <a:pt x="982" y="0"/>
                </a:lnTo>
                <a:cubicBezTo>
                  <a:pt x="440" y="0"/>
                  <a:pt x="0" y="538"/>
                  <a:pt x="0" y="1200"/>
                </a:cubicBezTo>
                <a:lnTo>
                  <a:pt x="0" y="15600"/>
                </a:lnTo>
                <a:cubicBezTo>
                  <a:pt x="0" y="16262"/>
                  <a:pt x="440" y="16801"/>
                  <a:pt x="982" y="16801"/>
                </a:cubicBezTo>
                <a:lnTo>
                  <a:pt x="2455" y="16801"/>
                </a:lnTo>
                <a:cubicBezTo>
                  <a:pt x="2725" y="16801"/>
                  <a:pt x="2945" y="16532"/>
                  <a:pt x="2945" y="16200"/>
                </a:cubicBezTo>
                <a:cubicBezTo>
                  <a:pt x="2945" y="15869"/>
                  <a:pt x="2725" y="15600"/>
                  <a:pt x="2455" y="15600"/>
                </a:cubicBezTo>
                <a:moveTo>
                  <a:pt x="14236" y="14400"/>
                </a:moveTo>
                <a:lnTo>
                  <a:pt x="16200" y="14400"/>
                </a:lnTo>
                <a:cubicBezTo>
                  <a:pt x="16471" y="14400"/>
                  <a:pt x="16691" y="14132"/>
                  <a:pt x="16691" y="13800"/>
                </a:cubicBezTo>
                <a:cubicBezTo>
                  <a:pt x="16691" y="13469"/>
                  <a:pt x="16471" y="13200"/>
                  <a:pt x="16200" y="13200"/>
                </a:cubicBezTo>
                <a:lnTo>
                  <a:pt x="14236" y="13200"/>
                </a:lnTo>
                <a:cubicBezTo>
                  <a:pt x="13966" y="13200"/>
                  <a:pt x="13745" y="13469"/>
                  <a:pt x="13745" y="13800"/>
                </a:cubicBezTo>
                <a:cubicBezTo>
                  <a:pt x="13745" y="14132"/>
                  <a:pt x="13966" y="14400"/>
                  <a:pt x="14236" y="14400"/>
                </a:cubicBezTo>
                <a:moveTo>
                  <a:pt x="14236" y="9600"/>
                </a:moveTo>
                <a:lnTo>
                  <a:pt x="16200" y="9600"/>
                </a:lnTo>
                <a:cubicBezTo>
                  <a:pt x="16471" y="9600"/>
                  <a:pt x="16691" y="9332"/>
                  <a:pt x="16691" y="9000"/>
                </a:cubicBezTo>
                <a:cubicBezTo>
                  <a:pt x="16691" y="8669"/>
                  <a:pt x="16471" y="8400"/>
                  <a:pt x="16200" y="8400"/>
                </a:cubicBezTo>
                <a:lnTo>
                  <a:pt x="14236" y="8400"/>
                </a:lnTo>
                <a:cubicBezTo>
                  <a:pt x="13966" y="8400"/>
                  <a:pt x="13745" y="8669"/>
                  <a:pt x="13745" y="9000"/>
                </a:cubicBezTo>
                <a:cubicBezTo>
                  <a:pt x="13745" y="9332"/>
                  <a:pt x="13966" y="9600"/>
                  <a:pt x="14236" y="9600"/>
                </a:cubicBezTo>
                <a:moveTo>
                  <a:pt x="14236" y="12000"/>
                </a:moveTo>
                <a:lnTo>
                  <a:pt x="18164" y="12000"/>
                </a:lnTo>
                <a:cubicBezTo>
                  <a:pt x="18434" y="12000"/>
                  <a:pt x="18655" y="11732"/>
                  <a:pt x="18655" y="11400"/>
                </a:cubicBezTo>
                <a:cubicBezTo>
                  <a:pt x="18655" y="11069"/>
                  <a:pt x="18434" y="10800"/>
                  <a:pt x="18164" y="10800"/>
                </a:cubicBezTo>
                <a:lnTo>
                  <a:pt x="14236" y="10800"/>
                </a:lnTo>
                <a:cubicBezTo>
                  <a:pt x="13966" y="10800"/>
                  <a:pt x="13745" y="11069"/>
                  <a:pt x="13745" y="11400"/>
                </a:cubicBezTo>
                <a:cubicBezTo>
                  <a:pt x="13745" y="11732"/>
                  <a:pt x="13966" y="12000"/>
                  <a:pt x="14236"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8" name="Shape 2598"/>
          <p:cNvSpPr/>
          <p:nvPr/>
        </p:nvSpPr>
        <p:spPr>
          <a:xfrm>
            <a:off x="5888507"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6873" y="8400"/>
                </a:moveTo>
                <a:lnTo>
                  <a:pt x="10800" y="8400"/>
                </a:lnTo>
                <a:lnTo>
                  <a:pt x="10800" y="12001"/>
                </a:lnTo>
                <a:lnTo>
                  <a:pt x="6873" y="12001"/>
                </a:lnTo>
                <a:cubicBezTo>
                  <a:pt x="6873" y="12001"/>
                  <a:pt x="6873" y="8400"/>
                  <a:pt x="6873" y="8400"/>
                </a:cubicBezTo>
                <a:close/>
                <a:moveTo>
                  <a:pt x="6382" y="13200"/>
                </a:moveTo>
                <a:lnTo>
                  <a:pt x="11291" y="13200"/>
                </a:lnTo>
                <a:cubicBezTo>
                  <a:pt x="11562" y="13200"/>
                  <a:pt x="11782" y="12932"/>
                  <a:pt x="11782" y="12600"/>
                </a:cubicBezTo>
                <a:lnTo>
                  <a:pt x="11782" y="7800"/>
                </a:lnTo>
                <a:cubicBezTo>
                  <a:pt x="11782" y="7469"/>
                  <a:pt x="11562" y="7200"/>
                  <a:pt x="11291" y="7200"/>
                </a:cubicBezTo>
                <a:lnTo>
                  <a:pt x="6382" y="7200"/>
                </a:lnTo>
                <a:cubicBezTo>
                  <a:pt x="6111" y="7200"/>
                  <a:pt x="5891" y="7469"/>
                  <a:pt x="5891" y="7800"/>
                </a:cubicBezTo>
                <a:lnTo>
                  <a:pt x="5891" y="12600"/>
                </a:lnTo>
                <a:cubicBezTo>
                  <a:pt x="5891" y="12932"/>
                  <a:pt x="6111" y="13200"/>
                  <a:pt x="6382" y="13200"/>
                </a:cubicBezTo>
                <a:moveTo>
                  <a:pt x="6382" y="4800"/>
                </a:moveTo>
                <a:cubicBezTo>
                  <a:pt x="6653" y="4800"/>
                  <a:pt x="6873" y="4531"/>
                  <a:pt x="6873" y="4200"/>
                </a:cubicBezTo>
                <a:cubicBezTo>
                  <a:pt x="6873" y="3868"/>
                  <a:pt x="6653" y="3600"/>
                  <a:pt x="6382" y="3600"/>
                </a:cubicBezTo>
                <a:cubicBezTo>
                  <a:pt x="6111" y="3600"/>
                  <a:pt x="5891" y="3868"/>
                  <a:pt x="5891" y="4200"/>
                </a:cubicBezTo>
                <a:cubicBezTo>
                  <a:pt x="5891" y="4531"/>
                  <a:pt x="6111" y="4800"/>
                  <a:pt x="6382" y="4800"/>
                </a:cubicBezTo>
                <a:moveTo>
                  <a:pt x="20618" y="20400"/>
                </a:moveTo>
                <a:lnTo>
                  <a:pt x="2945" y="20400"/>
                </a:lnTo>
                <a:cubicBezTo>
                  <a:pt x="1861" y="20400"/>
                  <a:pt x="982" y="19325"/>
                  <a:pt x="982" y="18000"/>
                </a:cubicBezTo>
                <a:lnTo>
                  <a:pt x="982" y="4800"/>
                </a:lnTo>
                <a:lnTo>
                  <a:pt x="2945" y="4800"/>
                </a:lnTo>
                <a:lnTo>
                  <a:pt x="2945" y="17400"/>
                </a:lnTo>
                <a:cubicBezTo>
                  <a:pt x="2945" y="17732"/>
                  <a:pt x="3166" y="18000"/>
                  <a:pt x="3436" y="18000"/>
                </a:cubicBezTo>
                <a:cubicBezTo>
                  <a:pt x="3707" y="18000"/>
                  <a:pt x="3927" y="17732"/>
                  <a:pt x="3927" y="17400"/>
                </a:cubicBezTo>
                <a:lnTo>
                  <a:pt x="3927" y="1200"/>
                </a:lnTo>
                <a:lnTo>
                  <a:pt x="20618" y="1200"/>
                </a:lnTo>
                <a:cubicBezTo>
                  <a:pt x="20618" y="1200"/>
                  <a:pt x="20618" y="20400"/>
                  <a:pt x="20618" y="20400"/>
                </a:cubicBezTo>
                <a:close/>
                <a:moveTo>
                  <a:pt x="20618" y="0"/>
                </a:moveTo>
                <a:lnTo>
                  <a:pt x="3927" y="0"/>
                </a:lnTo>
                <a:cubicBezTo>
                  <a:pt x="3385" y="0"/>
                  <a:pt x="2945" y="538"/>
                  <a:pt x="2945" y="1200"/>
                </a:cubicBezTo>
                <a:lnTo>
                  <a:pt x="2945" y="3600"/>
                </a:lnTo>
                <a:lnTo>
                  <a:pt x="982" y="3600"/>
                </a:lnTo>
                <a:cubicBezTo>
                  <a:pt x="440" y="3600"/>
                  <a:pt x="0" y="4138"/>
                  <a:pt x="0" y="4800"/>
                </a:cubicBezTo>
                <a:lnTo>
                  <a:pt x="0" y="18000"/>
                </a:lnTo>
                <a:cubicBezTo>
                  <a:pt x="0" y="19988"/>
                  <a:pt x="1319" y="21600"/>
                  <a:pt x="2945" y="21600"/>
                </a:cubicBezTo>
                <a:lnTo>
                  <a:pt x="20618" y="21600"/>
                </a:lnTo>
                <a:cubicBezTo>
                  <a:pt x="21160" y="21600"/>
                  <a:pt x="21600" y="21062"/>
                  <a:pt x="21600" y="20400"/>
                </a:cubicBezTo>
                <a:lnTo>
                  <a:pt x="21600" y="1200"/>
                </a:lnTo>
                <a:cubicBezTo>
                  <a:pt x="21600" y="538"/>
                  <a:pt x="21160" y="0"/>
                  <a:pt x="20618" y="0"/>
                </a:cubicBezTo>
                <a:moveTo>
                  <a:pt x="6382" y="18000"/>
                </a:moveTo>
                <a:lnTo>
                  <a:pt x="18164" y="18000"/>
                </a:lnTo>
                <a:cubicBezTo>
                  <a:pt x="18434" y="18000"/>
                  <a:pt x="18655" y="17732"/>
                  <a:pt x="18655" y="17400"/>
                </a:cubicBezTo>
                <a:cubicBezTo>
                  <a:pt x="18655" y="17068"/>
                  <a:pt x="18434" y="16801"/>
                  <a:pt x="18164" y="16801"/>
                </a:cubicBezTo>
                <a:lnTo>
                  <a:pt x="6382" y="16801"/>
                </a:lnTo>
                <a:cubicBezTo>
                  <a:pt x="6111" y="16801"/>
                  <a:pt x="5891" y="17068"/>
                  <a:pt x="5891" y="17400"/>
                </a:cubicBezTo>
                <a:cubicBezTo>
                  <a:pt x="5891" y="17732"/>
                  <a:pt x="6111" y="18000"/>
                  <a:pt x="6382" y="18000"/>
                </a:cubicBezTo>
                <a:moveTo>
                  <a:pt x="6382" y="15600"/>
                </a:moveTo>
                <a:lnTo>
                  <a:pt x="18164" y="15600"/>
                </a:lnTo>
                <a:cubicBezTo>
                  <a:pt x="18434" y="15600"/>
                  <a:pt x="18655" y="15332"/>
                  <a:pt x="18655" y="15000"/>
                </a:cubicBezTo>
                <a:cubicBezTo>
                  <a:pt x="18655" y="14668"/>
                  <a:pt x="18434" y="14401"/>
                  <a:pt x="18164" y="14401"/>
                </a:cubicBezTo>
                <a:lnTo>
                  <a:pt x="6382" y="14401"/>
                </a:lnTo>
                <a:cubicBezTo>
                  <a:pt x="6111" y="14401"/>
                  <a:pt x="5891" y="14668"/>
                  <a:pt x="5891" y="15000"/>
                </a:cubicBezTo>
                <a:cubicBezTo>
                  <a:pt x="5891" y="15332"/>
                  <a:pt x="6111" y="15600"/>
                  <a:pt x="6382" y="15600"/>
                </a:cubicBezTo>
                <a:moveTo>
                  <a:pt x="8345" y="4800"/>
                </a:moveTo>
                <a:cubicBezTo>
                  <a:pt x="8616" y="4800"/>
                  <a:pt x="8836" y="4531"/>
                  <a:pt x="8836" y="4200"/>
                </a:cubicBezTo>
                <a:cubicBezTo>
                  <a:pt x="8836" y="3868"/>
                  <a:pt x="8616" y="3600"/>
                  <a:pt x="8345" y="3600"/>
                </a:cubicBezTo>
                <a:cubicBezTo>
                  <a:pt x="8075" y="3600"/>
                  <a:pt x="7855" y="3868"/>
                  <a:pt x="7855" y="4200"/>
                </a:cubicBezTo>
                <a:cubicBezTo>
                  <a:pt x="7855" y="4531"/>
                  <a:pt x="8075" y="4800"/>
                  <a:pt x="8345" y="4800"/>
                </a:cubicBezTo>
                <a:moveTo>
                  <a:pt x="18164" y="7200"/>
                </a:moveTo>
                <a:lnTo>
                  <a:pt x="14236" y="7200"/>
                </a:lnTo>
                <a:cubicBezTo>
                  <a:pt x="13966" y="7200"/>
                  <a:pt x="13745" y="7469"/>
                  <a:pt x="13745" y="7800"/>
                </a:cubicBezTo>
                <a:cubicBezTo>
                  <a:pt x="13745" y="8132"/>
                  <a:pt x="13966" y="8400"/>
                  <a:pt x="14236" y="8400"/>
                </a:cubicBezTo>
                <a:lnTo>
                  <a:pt x="18164" y="8400"/>
                </a:lnTo>
                <a:cubicBezTo>
                  <a:pt x="18434" y="8400"/>
                  <a:pt x="18655" y="8132"/>
                  <a:pt x="18655" y="7800"/>
                </a:cubicBezTo>
                <a:cubicBezTo>
                  <a:pt x="18655" y="7469"/>
                  <a:pt x="18434" y="7200"/>
                  <a:pt x="18164" y="7200"/>
                </a:cubicBezTo>
                <a:moveTo>
                  <a:pt x="18164" y="12001"/>
                </a:moveTo>
                <a:lnTo>
                  <a:pt x="14236" y="12001"/>
                </a:lnTo>
                <a:cubicBezTo>
                  <a:pt x="13966" y="12001"/>
                  <a:pt x="13745" y="12268"/>
                  <a:pt x="13745" y="12600"/>
                </a:cubicBezTo>
                <a:cubicBezTo>
                  <a:pt x="13745" y="12932"/>
                  <a:pt x="13966" y="13200"/>
                  <a:pt x="14236" y="13200"/>
                </a:cubicBezTo>
                <a:lnTo>
                  <a:pt x="18164" y="13200"/>
                </a:lnTo>
                <a:cubicBezTo>
                  <a:pt x="18434" y="13200"/>
                  <a:pt x="18655" y="12932"/>
                  <a:pt x="18655" y="12600"/>
                </a:cubicBezTo>
                <a:cubicBezTo>
                  <a:pt x="18655" y="12268"/>
                  <a:pt x="18434" y="12001"/>
                  <a:pt x="18164" y="12001"/>
                </a:cubicBezTo>
                <a:moveTo>
                  <a:pt x="18164" y="9600"/>
                </a:moveTo>
                <a:lnTo>
                  <a:pt x="14236" y="9600"/>
                </a:lnTo>
                <a:cubicBezTo>
                  <a:pt x="13966" y="9600"/>
                  <a:pt x="13745" y="9869"/>
                  <a:pt x="13745" y="10200"/>
                </a:cubicBezTo>
                <a:cubicBezTo>
                  <a:pt x="13745" y="10532"/>
                  <a:pt x="13966" y="10800"/>
                  <a:pt x="14236" y="10800"/>
                </a:cubicBezTo>
                <a:lnTo>
                  <a:pt x="18164" y="10800"/>
                </a:lnTo>
                <a:cubicBezTo>
                  <a:pt x="18434" y="10800"/>
                  <a:pt x="18655" y="10532"/>
                  <a:pt x="18655" y="10200"/>
                </a:cubicBezTo>
                <a:cubicBezTo>
                  <a:pt x="18655" y="9869"/>
                  <a:pt x="18434" y="9600"/>
                  <a:pt x="18164" y="9600"/>
                </a:cubicBezTo>
                <a:moveTo>
                  <a:pt x="18164" y="4800"/>
                </a:moveTo>
                <a:cubicBezTo>
                  <a:pt x="18434" y="4800"/>
                  <a:pt x="18655" y="4531"/>
                  <a:pt x="18655" y="4200"/>
                </a:cubicBezTo>
                <a:cubicBezTo>
                  <a:pt x="18655" y="3868"/>
                  <a:pt x="18434" y="3600"/>
                  <a:pt x="18164" y="3600"/>
                </a:cubicBezTo>
                <a:cubicBezTo>
                  <a:pt x="17893" y="3600"/>
                  <a:pt x="17673" y="3868"/>
                  <a:pt x="17673" y="4200"/>
                </a:cubicBezTo>
                <a:cubicBezTo>
                  <a:pt x="17673" y="4531"/>
                  <a:pt x="17893" y="4800"/>
                  <a:pt x="18164" y="4800"/>
                </a:cubicBezTo>
                <a:moveTo>
                  <a:pt x="16200" y="4800"/>
                </a:moveTo>
                <a:cubicBezTo>
                  <a:pt x="16471" y="4800"/>
                  <a:pt x="16691" y="4531"/>
                  <a:pt x="16691" y="4200"/>
                </a:cubicBezTo>
                <a:cubicBezTo>
                  <a:pt x="16691" y="3868"/>
                  <a:pt x="16471" y="3600"/>
                  <a:pt x="16200" y="3600"/>
                </a:cubicBezTo>
                <a:cubicBezTo>
                  <a:pt x="15929" y="3600"/>
                  <a:pt x="15709" y="3868"/>
                  <a:pt x="15709" y="4200"/>
                </a:cubicBezTo>
                <a:cubicBezTo>
                  <a:pt x="15709" y="4531"/>
                  <a:pt x="15929" y="4800"/>
                  <a:pt x="16200" y="4800"/>
                </a:cubicBezTo>
                <a:moveTo>
                  <a:pt x="10309" y="4800"/>
                </a:moveTo>
                <a:lnTo>
                  <a:pt x="14236" y="4800"/>
                </a:lnTo>
                <a:cubicBezTo>
                  <a:pt x="14507" y="4800"/>
                  <a:pt x="14727" y="4531"/>
                  <a:pt x="14727" y="4200"/>
                </a:cubicBezTo>
                <a:cubicBezTo>
                  <a:pt x="14727" y="3868"/>
                  <a:pt x="14507" y="3600"/>
                  <a:pt x="14236" y="3600"/>
                </a:cubicBezTo>
                <a:lnTo>
                  <a:pt x="10309" y="3600"/>
                </a:lnTo>
                <a:cubicBezTo>
                  <a:pt x="10038" y="3600"/>
                  <a:pt x="9818" y="3868"/>
                  <a:pt x="9818" y="4200"/>
                </a:cubicBezTo>
                <a:cubicBezTo>
                  <a:pt x="9818" y="4531"/>
                  <a:pt x="10038" y="4800"/>
                  <a:pt x="10309"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599" name="Shape 2599"/>
          <p:cNvSpPr/>
          <p:nvPr/>
        </p:nvSpPr>
        <p:spPr>
          <a:xfrm>
            <a:off x="6288453"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7855"/>
                </a:moveTo>
                <a:cubicBezTo>
                  <a:pt x="6653" y="7855"/>
                  <a:pt x="6873" y="7635"/>
                  <a:pt x="6873" y="7364"/>
                </a:cubicBezTo>
                <a:cubicBezTo>
                  <a:pt x="6873" y="7092"/>
                  <a:pt x="6653" y="6873"/>
                  <a:pt x="6382" y="6873"/>
                </a:cubicBezTo>
                <a:cubicBezTo>
                  <a:pt x="6111" y="6873"/>
                  <a:pt x="5891" y="7092"/>
                  <a:pt x="5891" y="7364"/>
                </a:cubicBezTo>
                <a:cubicBezTo>
                  <a:pt x="5891" y="7635"/>
                  <a:pt x="6111" y="7855"/>
                  <a:pt x="6382" y="7855"/>
                </a:cubicBezTo>
                <a:moveTo>
                  <a:pt x="6873" y="10800"/>
                </a:moveTo>
                <a:lnTo>
                  <a:pt x="10800" y="10800"/>
                </a:lnTo>
                <a:lnTo>
                  <a:pt x="10800" y="13746"/>
                </a:lnTo>
                <a:lnTo>
                  <a:pt x="6873" y="13746"/>
                </a:lnTo>
                <a:cubicBezTo>
                  <a:pt x="6873" y="13746"/>
                  <a:pt x="6873" y="10800"/>
                  <a:pt x="6873" y="10800"/>
                </a:cubicBezTo>
                <a:close/>
                <a:moveTo>
                  <a:pt x="6382" y="14727"/>
                </a:moveTo>
                <a:lnTo>
                  <a:pt x="11291" y="14727"/>
                </a:lnTo>
                <a:cubicBezTo>
                  <a:pt x="11562" y="14727"/>
                  <a:pt x="11782" y="14508"/>
                  <a:pt x="11782" y="14236"/>
                </a:cubicBezTo>
                <a:lnTo>
                  <a:pt x="11782" y="10309"/>
                </a:lnTo>
                <a:cubicBezTo>
                  <a:pt x="11782" y="10038"/>
                  <a:pt x="11562" y="9818"/>
                  <a:pt x="11291" y="9818"/>
                </a:cubicBezTo>
                <a:lnTo>
                  <a:pt x="6382" y="9818"/>
                </a:lnTo>
                <a:cubicBezTo>
                  <a:pt x="6111" y="9818"/>
                  <a:pt x="5891" y="10038"/>
                  <a:pt x="5891" y="10309"/>
                </a:cubicBezTo>
                <a:lnTo>
                  <a:pt x="5891" y="14236"/>
                </a:lnTo>
                <a:cubicBezTo>
                  <a:pt x="5891" y="14508"/>
                  <a:pt x="6111" y="14727"/>
                  <a:pt x="6382" y="14727"/>
                </a:cubicBezTo>
                <a:moveTo>
                  <a:pt x="8345" y="7855"/>
                </a:moveTo>
                <a:cubicBezTo>
                  <a:pt x="8616" y="7855"/>
                  <a:pt x="8836" y="7635"/>
                  <a:pt x="8836" y="7364"/>
                </a:cubicBezTo>
                <a:cubicBezTo>
                  <a:pt x="8836" y="7092"/>
                  <a:pt x="8616" y="6873"/>
                  <a:pt x="8345" y="6873"/>
                </a:cubicBezTo>
                <a:cubicBezTo>
                  <a:pt x="8075" y="6873"/>
                  <a:pt x="7855" y="7092"/>
                  <a:pt x="7855" y="7364"/>
                </a:cubicBezTo>
                <a:cubicBezTo>
                  <a:pt x="7855" y="7635"/>
                  <a:pt x="8075" y="7855"/>
                  <a:pt x="8345" y="7855"/>
                </a:cubicBezTo>
                <a:moveTo>
                  <a:pt x="20618" y="20618"/>
                </a:moveTo>
                <a:lnTo>
                  <a:pt x="2945" y="20618"/>
                </a:lnTo>
                <a:cubicBezTo>
                  <a:pt x="1861" y="20618"/>
                  <a:pt x="982" y="19739"/>
                  <a:pt x="982" y="18655"/>
                </a:cubicBezTo>
                <a:lnTo>
                  <a:pt x="982" y="7855"/>
                </a:lnTo>
                <a:lnTo>
                  <a:pt x="2945" y="7855"/>
                </a:lnTo>
                <a:lnTo>
                  <a:pt x="2945" y="18164"/>
                </a:lnTo>
                <a:cubicBezTo>
                  <a:pt x="2945" y="18435"/>
                  <a:pt x="3166" y="18655"/>
                  <a:pt x="3436" y="18655"/>
                </a:cubicBezTo>
                <a:cubicBezTo>
                  <a:pt x="3707" y="18655"/>
                  <a:pt x="3927" y="18435"/>
                  <a:pt x="3927" y="18164"/>
                </a:cubicBezTo>
                <a:lnTo>
                  <a:pt x="3927" y="4909"/>
                </a:lnTo>
                <a:lnTo>
                  <a:pt x="20618" y="4909"/>
                </a:lnTo>
                <a:cubicBezTo>
                  <a:pt x="20618" y="4909"/>
                  <a:pt x="20618" y="20618"/>
                  <a:pt x="20618" y="20618"/>
                </a:cubicBezTo>
                <a:close/>
                <a:moveTo>
                  <a:pt x="20618" y="3927"/>
                </a:moveTo>
                <a:lnTo>
                  <a:pt x="3927" y="3927"/>
                </a:lnTo>
                <a:cubicBezTo>
                  <a:pt x="3385" y="3927"/>
                  <a:pt x="2945" y="4367"/>
                  <a:pt x="2945" y="4909"/>
                </a:cubicBezTo>
                <a:lnTo>
                  <a:pt x="2945" y="6873"/>
                </a:lnTo>
                <a:lnTo>
                  <a:pt x="982" y="6873"/>
                </a:lnTo>
                <a:cubicBezTo>
                  <a:pt x="440" y="6873"/>
                  <a:pt x="0" y="7313"/>
                  <a:pt x="0" y="7855"/>
                </a:cubicBezTo>
                <a:lnTo>
                  <a:pt x="0" y="18655"/>
                </a:lnTo>
                <a:cubicBezTo>
                  <a:pt x="0" y="20282"/>
                  <a:pt x="1319" y="21600"/>
                  <a:pt x="2945" y="21600"/>
                </a:cubicBezTo>
                <a:lnTo>
                  <a:pt x="20618" y="21600"/>
                </a:lnTo>
                <a:cubicBezTo>
                  <a:pt x="21160" y="21600"/>
                  <a:pt x="21600" y="21160"/>
                  <a:pt x="21600" y="20618"/>
                </a:cubicBezTo>
                <a:lnTo>
                  <a:pt x="21600" y="4909"/>
                </a:lnTo>
                <a:cubicBezTo>
                  <a:pt x="21600" y="4367"/>
                  <a:pt x="21160" y="3927"/>
                  <a:pt x="20618" y="3927"/>
                </a:cubicBezTo>
                <a:moveTo>
                  <a:pt x="6382" y="16691"/>
                </a:moveTo>
                <a:lnTo>
                  <a:pt x="18164" y="16691"/>
                </a:lnTo>
                <a:cubicBezTo>
                  <a:pt x="18434" y="16691"/>
                  <a:pt x="18655" y="16472"/>
                  <a:pt x="18655" y="16200"/>
                </a:cubicBezTo>
                <a:cubicBezTo>
                  <a:pt x="18655" y="15929"/>
                  <a:pt x="18434" y="15710"/>
                  <a:pt x="18164" y="15710"/>
                </a:cubicBezTo>
                <a:lnTo>
                  <a:pt x="6382" y="15710"/>
                </a:lnTo>
                <a:cubicBezTo>
                  <a:pt x="6111" y="15710"/>
                  <a:pt x="5891" y="15929"/>
                  <a:pt x="5891" y="16200"/>
                </a:cubicBezTo>
                <a:cubicBezTo>
                  <a:pt x="5891" y="16472"/>
                  <a:pt x="6111" y="16691"/>
                  <a:pt x="6382" y="16691"/>
                </a:cubicBezTo>
                <a:moveTo>
                  <a:pt x="10309" y="7855"/>
                </a:moveTo>
                <a:lnTo>
                  <a:pt x="14236" y="7855"/>
                </a:lnTo>
                <a:cubicBezTo>
                  <a:pt x="14507" y="7855"/>
                  <a:pt x="14727" y="7635"/>
                  <a:pt x="14727" y="7364"/>
                </a:cubicBezTo>
                <a:cubicBezTo>
                  <a:pt x="14727" y="7092"/>
                  <a:pt x="14507" y="6873"/>
                  <a:pt x="14236" y="6873"/>
                </a:cubicBezTo>
                <a:lnTo>
                  <a:pt x="10309" y="6873"/>
                </a:lnTo>
                <a:cubicBezTo>
                  <a:pt x="10038" y="6873"/>
                  <a:pt x="9818" y="7092"/>
                  <a:pt x="9818" y="7364"/>
                </a:cubicBezTo>
                <a:cubicBezTo>
                  <a:pt x="9818" y="7635"/>
                  <a:pt x="10038" y="7855"/>
                  <a:pt x="10309" y="7855"/>
                </a:cubicBezTo>
                <a:moveTo>
                  <a:pt x="6382" y="18655"/>
                </a:moveTo>
                <a:lnTo>
                  <a:pt x="18164" y="18655"/>
                </a:lnTo>
                <a:cubicBezTo>
                  <a:pt x="18434" y="18655"/>
                  <a:pt x="18655" y="18435"/>
                  <a:pt x="18655" y="18164"/>
                </a:cubicBezTo>
                <a:cubicBezTo>
                  <a:pt x="18655" y="17893"/>
                  <a:pt x="18434" y="17673"/>
                  <a:pt x="18164" y="17673"/>
                </a:cubicBezTo>
                <a:lnTo>
                  <a:pt x="6382" y="17673"/>
                </a:lnTo>
                <a:cubicBezTo>
                  <a:pt x="6111" y="17673"/>
                  <a:pt x="5891" y="17893"/>
                  <a:pt x="5891" y="18164"/>
                </a:cubicBezTo>
                <a:cubicBezTo>
                  <a:pt x="5891" y="18435"/>
                  <a:pt x="6111" y="18655"/>
                  <a:pt x="6382" y="18655"/>
                </a:cubicBezTo>
                <a:moveTo>
                  <a:pt x="4909" y="2945"/>
                </a:moveTo>
                <a:lnTo>
                  <a:pt x="20127" y="2945"/>
                </a:lnTo>
                <a:cubicBezTo>
                  <a:pt x="20398" y="2945"/>
                  <a:pt x="20618" y="2726"/>
                  <a:pt x="20618" y="2455"/>
                </a:cubicBezTo>
                <a:cubicBezTo>
                  <a:pt x="20618" y="2184"/>
                  <a:pt x="20398" y="1964"/>
                  <a:pt x="20127" y="1964"/>
                </a:cubicBezTo>
                <a:lnTo>
                  <a:pt x="4909" y="1964"/>
                </a:lnTo>
                <a:cubicBezTo>
                  <a:pt x="4638" y="1964"/>
                  <a:pt x="4418" y="2184"/>
                  <a:pt x="4418" y="2455"/>
                </a:cubicBezTo>
                <a:cubicBezTo>
                  <a:pt x="4418" y="2726"/>
                  <a:pt x="4638" y="2945"/>
                  <a:pt x="4909" y="2945"/>
                </a:cubicBezTo>
                <a:moveTo>
                  <a:pt x="18164" y="11783"/>
                </a:moveTo>
                <a:lnTo>
                  <a:pt x="14236" y="11783"/>
                </a:lnTo>
                <a:cubicBezTo>
                  <a:pt x="13966" y="11783"/>
                  <a:pt x="13745" y="12001"/>
                  <a:pt x="13745" y="12273"/>
                </a:cubicBezTo>
                <a:cubicBezTo>
                  <a:pt x="13745" y="12544"/>
                  <a:pt x="13966" y="12764"/>
                  <a:pt x="14236" y="12764"/>
                </a:cubicBezTo>
                <a:lnTo>
                  <a:pt x="18164" y="12764"/>
                </a:lnTo>
                <a:cubicBezTo>
                  <a:pt x="18434" y="12764"/>
                  <a:pt x="18655" y="12544"/>
                  <a:pt x="18655" y="12273"/>
                </a:cubicBezTo>
                <a:cubicBezTo>
                  <a:pt x="18655" y="12001"/>
                  <a:pt x="18434" y="11783"/>
                  <a:pt x="18164" y="11783"/>
                </a:cubicBezTo>
                <a:moveTo>
                  <a:pt x="6382" y="982"/>
                </a:moveTo>
                <a:lnTo>
                  <a:pt x="19145" y="982"/>
                </a:lnTo>
                <a:cubicBezTo>
                  <a:pt x="19416" y="982"/>
                  <a:pt x="19636" y="762"/>
                  <a:pt x="19636" y="491"/>
                </a:cubicBezTo>
                <a:cubicBezTo>
                  <a:pt x="19636" y="220"/>
                  <a:pt x="19416" y="0"/>
                  <a:pt x="19145" y="0"/>
                </a:cubicBezTo>
                <a:lnTo>
                  <a:pt x="6382" y="0"/>
                </a:lnTo>
                <a:cubicBezTo>
                  <a:pt x="6111" y="0"/>
                  <a:pt x="5891" y="220"/>
                  <a:pt x="5891" y="491"/>
                </a:cubicBezTo>
                <a:cubicBezTo>
                  <a:pt x="5891" y="762"/>
                  <a:pt x="6111" y="982"/>
                  <a:pt x="6382" y="982"/>
                </a:cubicBezTo>
                <a:moveTo>
                  <a:pt x="18164" y="13746"/>
                </a:moveTo>
                <a:lnTo>
                  <a:pt x="14236" y="13746"/>
                </a:lnTo>
                <a:cubicBezTo>
                  <a:pt x="13966" y="13746"/>
                  <a:pt x="13745" y="13965"/>
                  <a:pt x="13745" y="14236"/>
                </a:cubicBezTo>
                <a:cubicBezTo>
                  <a:pt x="13745" y="14508"/>
                  <a:pt x="13966" y="14727"/>
                  <a:pt x="14236" y="14727"/>
                </a:cubicBezTo>
                <a:lnTo>
                  <a:pt x="18164" y="14727"/>
                </a:lnTo>
                <a:cubicBezTo>
                  <a:pt x="18434" y="14727"/>
                  <a:pt x="18655" y="14508"/>
                  <a:pt x="18655" y="14236"/>
                </a:cubicBezTo>
                <a:cubicBezTo>
                  <a:pt x="18655" y="13965"/>
                  <a:pt x="18434" y="13746"/>
                  <a:pt x="18164" y="13746"/>
                </a:cubicBezTo>
                <a:moveTo>
                  <a:pt x="16200" y="7855"/>
                </a:moveTo>
                <a:cubicBezTo>
                  <a:pt x="16471" y="7855"/>
                  <a:pt x="16691" y="7635"/>
                  <a:pt x="16691" y="7364"/>
                </a:cubicBezTo>
                <a:cubicBezTo>
                  <a:pt x="16691" y="7092"/>
                  <a:pt x="16471" y="6873"/>
                  <a:pt x="16200" y="6873"/>
                </a:cubicBezTo>
                <a:cubicBezTo>
                  <a:pt x="15929" y="6873"/>
                  <a:pt x="15709" y="7092"/>
                  <a:pt x="15709" y="7364"/>
                </a:cubicBezTo>
                <a:cubicBezTo>
                  <a:pt x="15709" y="7635"/>
                  <a:pt x="15929" y="7855"/>
                  <a:pt x="16200" y="7855"/>
                </a:cubicBezTo>
                <a:moveTo>
                  <a:pt x="18164" y="7855"/>
                </a:moveTo>
                <a:cubicBezTo>
                  <a:pt x="18434" y="7855"/>
                  <a:pt x="18655" y="7635"/>
                  <a:pt x="18655" y="7364"/>
                </a:cubicBezTo>
                <a:cubicBezTo>
                  <a:pt x="18655" y="7092"/>
                  <a:pt x="18434" y="6873"/>
                  <a:pt x="18164" y="6873"/>
                </a:cubicBezTo>
                <a:cubicBezTo>
                  <a:pt x="17893" y="6873"/>
                  <a:pt x="17673" y="7092"/>
                  <a:pt x="17673" y="7364"/>
                </a:cubicBezTo>
                <a:cubicBezTo>
                  <a:pt x="17673" y="7635"/>
                  <a:pt x="17893" y="7855"/>
                  <a:pt x="18164" y="7855"/>
                </a:cubicBezTo>
                <a:moveTo>
                  <a:pt x="18164" y="9818"/>
                </a:moveTo>
                <a:lnTo>
                  <a:pt x="14236" y="9818"/>
                </a:lnTo>
                <a:cubicBezTo>
                  <a:pt x="13966" y="9818"/>
                  <a:pt x="13745" y="10038"/>
                  <a:pt x="13745" y="10309"/>
                </a:cubicBezTo>
                <a:cubicBezTo>
                  <a:pt x="13745" y="10581"/>
                  <a:pt x="13966" y="10800"/>
                  <a:pt x="14236" y="10800"/>
                </a:cubicBezTo>
                <a:lnTo>
                  <a:pt x="18164" y="10800"/>
                </a:lnTo>
                <a:cubicBezTo>
                  <a:pt x="18434" y="10800"/>
                  <a:pt x="18655" y="10581"/>
                  <a:pt x="18655" y="10309"/>
                </a:cubicBezTo>
                <a:cubicBezTo>
                  <a:pt x="18655" y="10038"/>
                  <a:pt x="18434" y="9818"/>
                  <a:pt x="18164"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0" name="Shape 2600"/>
          <p:cNvSpPr/>
          <p:nvPr/>
        </p:nvSpPr>
        <p:spPr>
          <a:xfrm>
            <a:off x="6688399"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11291" y="10309"/>
                </a:lnTo>
                <a:lnTo>
                  <a:pt x="11291" y="5401"/>
                </a:lnTo>
                <a:cubicBezTo>
                  <a:pt x="11291" y="5129"/>
                  <a:pt x="11071" y="4909"/>
                  <a:pt x="10800" y="4909"/>
                </a:cubicBezTo>
                <a:cubicBezTo>
                  <a:pt x="10529" y="4909"/>
                  <a:pt x="10309" y="5129"/>
                  <a:pt x="10309" y="5401"/>
                </a:cubicBezTo>
                <a:lnTo>
                  <a:pt x="10309" y="10309"/>
                </a:lnTo>
                <a:lnTo>
                  <a:pt x="5400" y="10309"/>
                </a:lnTo>
                <a:cubicBezTo>
                  <a:pt x="5129" y="10309"/>
                  <a:pt x="4909" y="10529"/>
                  <a:pt x="4909" y="10800"/>
                </a:cubicBezTo>
                <a:cubicBezTo>
                  <a:pt x="4909" y="11072"/>
                  <a:pt x="5129" y="11292"/>
                  <a:pt x="5400" y="11292"/>
                </a:cubicBezTo>
                <a:lnTo>
                  <a:pt x="10309" y="11292"/>
                </a:lnTo>
                <a:lnTo>
                  <a:pt x="10309" y="16200"/>
                </a:lnTo>
                <a:cubicBezTo>
                  <a:pt x="10309" y="16472"/>
                  <a:pt x="10529" y="16691"/>
                  <a:pt x="10800" y="16691"/>
                </a:cubicBezTo>
                <a:cubicBezTo>
                  <a:pt x="11071" y="16691"/>
                  <a:pt x="11291" y="16472"/>
                  <a:pt x="11291" y="16200"/>
                </a:cubicBezTo>
                <a:lnTo>
                  <a:pt x="11291" y="11292"/>
                </a:ln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1" name="Shape 2601"/>
          <p:cNvSpPr/>
          <p:nvPr/>
        </p:nvSpPr>
        <p:spPr>
          <a:xfrm>
            <a:off x="7088345" y="223203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6200" y="10309"/>
                </a:moveTo>
                <a:lnTo>
                  <a:pt x="5400" y="10309"/>
                </a:lnTo>
                <a:cubicBezTo>
                  <a:pt x="5129" y="10309"/>
                  <a:pt x="4909" y="10529"/>
                  <a:pt x="4909" y="10800"/>
                </a:cubicBezTo>
                <a:cubicBezTo>
                  <a:pt x="4909" y="11072"/>
                  <a:pt x="5129" y="11292"/>
                  <a:pt x="5400" y="11292"/>
                </a:cubicBezTo>
                <a:lnTo>
                  <a:pt x="16200" y="11292"/>
                </a:lnTo>
                <a:cubicBezTo>
                  <a:pt x="16471" y="11292"/>
                  <a:pt x="16691" y="11072"/>
                  <a:pt x="16691" y="10800"/>
                </a:cubicBezTo>
                <a:cubicBezTo>
                  <a:pt x="16691" y="10529"/>
                  <a:pt x="16471" y="10309"/>
                  <a:pt x="16200"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2" name="Shape 2602"/>
          <p:cNvSpPr/>
          <p:nvPr/>
        </p:nvSpPr>
        <p:spPr>
          <a:xfrm>
            <a:off x="7488291"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400" y="6001"/>
                </a:moveTo>
                <a:lnTo>
                  <a:pt x="8345" y="6001"/>
                </a:lnTo>
                <a:cubicBezTo>
                  <a:pt x="8617" y="6001"/>
                  <a:pt x="8836" y="5732"/>
                  <a:pt x="8836" y="5400"/>
                </a:cubicBezTo>
                <a:cubicBezTo>
                  <a:pt x="8836" y="5069"/>
                  <a:pt x="8617" y="4800"/>
                  <a:pt x="8345" y="4800"/>
                </a:cubicBezTo>
                <a:lnTo>
                  <a:pt x="5400" y="4800"/>
                </a:lnTo>
                <a:cubicBezTo>
                  <a:pt x="5129" y="4800"/>
                  <a:pt x="4909" y="5069"/>
                  <a:pt x="4909" y="5400"/>
                </a:cubicBezTo>
                <a:cubicBezTo>
                  <a:pt x="4909" y="5732"/>
                  <a:pt x="5129" y="6001"/>
                  <a:pt x="5400" y="6001"/>
                </a:cubicBezTo>
                <a:moveTo>
                  <a:pt x="20618" y="20400"/>
                </a:moveTo>
                <a:lnTo>
                  <a:pt x="18655" y="20400"/>
                </a:lnTo>
                <a:lnTo>
                  <a:pt x="18655" y="18000"/>
                </a:lnTo>
                <a:cubicBezTo>
                  <a:pt x="18926" y="18000"/>
                  <a:pt x="19145" y="17732"/>
                  <a:pt x="19145" y="17400"/>
                </a:cubicBezTo>
                <a:cubicBezTo>
                  <a:pt x="19145" y="17069"/>
                  <a:pt x="18926" y="16801"/>
                  <a:pt x="18655" y="16801"/>
                </a:cubicBezTo>
                <a:lnTo>
                  <a:pt x="18655" y="3601"/>
                </a:lnTo>
                <a:lnTo>
                  <a:pt x="20618" y="3601"/>
                </a:lnTo>
                <a:cubicBezTo>
                  <a:pt x="20618" y="3601"/>
                  <a:pt x="20618" y="20400"/>
                  <a:pt x="20618" y="20400"/>
                </a:cubicBezTo>
                <a:close/>
                <a:moveTo>
                  <a:pt x="17673" y="16801"/>
                </a:moveTo>
                <a:cubicBezTo>
                  <a:pt x="17401" y="16801"/>
                  <a:pt x="17182" y="17069"/>
                  <a:pt x="17182" y="17400"/>
                </a:cubicBezTo>
                <a:cubicBezTo>
                  <a:pt x="17182" y="17732"/>
                  <a:pt x="17401" y="18000"/>
                  <a:pt x="17673" y="18000"/>
                </a:cubicBezTo>
                <a:lnTo>
                  <a:pt x="17673" y="20400"/>
                </a:lnTo>
                <a:lnTo>
                  <a:pt x="3927" y="20400"/>
                </a:lnTo>
                <a:lnTo>
                  <a:pt x="3927" y="18000"/>
                </a:lnTo>
                <a:cubicBezTo>
                  <a:pt x="4199" y="18000"/>
                  <a:pt x="4418" y="17732"/>
                  <a:pt x="4418" y="17400"/>
                </a:cubicBezTo>
                <a:cubicBezTo>
                  <a:pt x="4418" y="17069"/>
                  <a:pt x="4199" y="16801"/>
                  <a:pt x="3927" y="16801"/>
                </a:cubicBezTo>
                <a:lnTo>
                  <a:pt x="3927" y="3601"/>
                </a:lnTo>
                <a:lnTo>
                  <a:pt x="17673" y="3601"/>
                </a:lnTo>
                <a:cubicBezTo>
                  <a:pt x="17673" y="3601"/>
                  <a:pt x="17673" y="16801"/>
                  <a:pt x="17673" y="16801"/>
                </a:cubicBezTo>
                <a:close/>
                <a:moveTo>
                  <a:pt x="2945" y="16801"/>
                </a:moveTo>
                <a:cubicBezTo>
                  <a:pt x="2674" y="16801"/>
                  <a:pt x="2455" y="17069"/>
                  <a:pt x="2455" y="17400"/>
                </a:cubicBezTo>
                <a:cubicBezTo>
                  <a:pt x="2455" y="17732"/>
                  <a:pt x="2674" y="18000"/>
                  <a:pt x="2945" y="18000"/>
                </a:cubicBezTo>
                <a:lnTo>
                  <a:pt x="2945" y="20400"/>
                </a:lnTo>
                <a:lnTo>
                  <a:pt x="982" y="20400"/>
                </a:lnTo>
                <a:lnTo>
                  <a:pt x="982" y="3601"/>
                </a:lnTo>
                <a:lnTo>
                  <a:pt x="2945" y="3601"/>
                </a:lnTo>
                <a:cubicBezTo>
                  <a:pt x="2945" y="3601"/>
                  <a:pt x="2945" y="16801"/>
                  <a:pt x="2945" y="16801"/>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39" y="2400"/>
                  <a:pt x="0" y="2938"/>
                  <a:pt x="0" y="3601"/>
                </a:cubicBezTo>
                <a:lnTo>
                  <a:pt x="0" y="20400"/>
                </a:lnTo>
                <a:cubicBezTo>
                  <a:pt x="0" y="21063"/>
                  <a:pt x="439" y="21600"/>
                  <a:pt x="982" y="21600"/>
                </a:cubicBezTo>
                <a:lnTo>
                  <a:pt x="20618" y="21600"/>
                </a:lnTo>
                <a:cubicBezTo>
                  <a:pt x="21160" y="21600"/>
                  <a:pt x="21600" y="21063"/>
                  <a:pt x="21600" y="20400"/>
                </a:cubicBezTo>
                <a:lnTo>
                  <a:pt x="21600" y="3601"/>
                </a:lnTo>
                <a:cubicBezTo>
                  <a:pt x="21600" y="2938"/>
                  <a:pt x="21160" y="2400"/>
                  <a:pt x="20618" y="2400"/>
                </a:cubicBezTo>
                <a:moveTo>
                  <a:pt x="5400" y="8400"/>
                </a:moveTo>
                <a:lnTo>
                  <a:pt x="6382" y="8400"/>
                </a:lnTo>
                <a:cubicBezTo>
                  <a:pt x="6653" y="8400"/>
                  <a:pt x="6873" y="8132"/>
                  <a:pt x="6873" y="7800"/>
                </a:cubicBezTo>
                <a:cubicBezTo>
                  <a:pt x="6873" y="7469"/>
                  <a:pt x="6653" y="7200"/>
                  <a:pt x="6382" y="7200"/>
                </a:cubicBezTo>
                <a:lnTo>
                  <a:pt x="5400" y="7200"/>
                </a:lnTo>
                <a:cubicBezTo>
                  <a:pt x="5129" y="7200"/>
                  <a:pt x="4909" y="7469"/>
                  <a:pt x="4909" y="7800"/>
                </a:cubicBezTo>
                <a:cubicBezTo>
                  <a:pt x="4909" y="8132"/>
                  <a:pt x="5129" y="8400"/>
                  <a:pt x="5400"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3" name="Shape 2603"/>
          <p:cNvSpPr/>
          <p:nvPr/>
        </p:nvSpPr>
        <p:spPr>
          <a:xfrm>
            <a:off x="7888237" y="224156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6691" y="20520"/>
                </a:moveTo>
                <a:lnTo>
                  <a:pt x="14727" y="20520"/>
                </a:lnTo>
                <a:lnTo>
                  <a:pt x="14727" y="18360"/>
                </a:lnTo>
                <a:cubicBezTo>
                  <a:pt x="14999" y="18360"/>
                  <a:pt x="15218" y="18119"/>
                  <a:pt x="15218" y="17820"/>
                </a:cubicBezTo>
                <a:cubicBezTo>
                  <a:pt x="15218" y="17522"/>
                  <a:pt x="14999" y="17280"/>
                  <a:pt x="14727" y="17280"/>
                </a:cubicBezTo>
                <a:lnTo>
                  <a:pt x="14727" y="7560"/>
                </a:lnTo>
                <a:lnTo>
                  <a:pt x="16691" y="7560"/>
                </a:lnTo>
                <a:cubicBezTo>
                  <a:pt x="16691" y="7560"/>
                  <a:pt x="16691" y="20520"/>
                  <a:pt x="16691" y="20520"/>
                </a:cubicBezTo>
                <a:close/>
                <a:moveTo>
                  <a:pt x="13745" y="17280"/>
                </a:moveTo>
                <a:cubicBezTo>
                  <a:pt x="13474" y="17280"/>
                  <a:pt x="13255" y="17522"/>
                  <a:pt x="13255" y="17820"/>
                </a:cubicBezTo>
                <a:cubicBezTo>
                  <a:pt x="13255" y="18119"/>
                  <a:pt x="13474" y="18360"/>
                  <a:pt x="13745" y="18360"/>
                </a:cubicBezTo>
                <a:lnTo>
                  <a:pt x="13745" y="20520"/>
                </a:lnTo>
                <a:lnTo>
                  <a:pt x="3927" y="20520"/>
                </a:lnTo>
                <a:lnTo>
                  <a:pt x="3927" y="18360"/>
                </a:lnTo>
                <a:cubicBezTo>
                  <a:pt x="4199" y="18360"/>
                  <a:pt x="4418" y="18119"/>
                  <a:pt x="4418" y="17820"/>
                </a:cubicBezTo>
                <a:cubicBezTo>
                  <a:pt x="4418" y="17522"/>
                  <a:pt x="4199" y="17280"/>
                  <a:pt x="3927" y="17280"/>
                </a:cubicBezTo>
                <a:lnTo>
                  <a:pt x="3927" y="7560"/>
                </a:lnTo>
                <a:lnTo>
                  <a:pt x="13745" y="7560"/>
                </a:lnTo>
                <a:cubicBezTo>
                  <a:pt x="13745" y="7560"/>
                  <a:pt x="13745" y="17280"/>
                  <a:pt x="13745" y="17280"/>
                </a:cubicBezTo>
                <a:close/>
                <a:moveTo>
                  <a:pt x="2945" y="17280"/>
                </a:moveTo>
                <a:cubicBezTo>
                  <a:pt x="2674" y="17280"/>
                  <a:pt x="2455" y="17522"/>
                  <a:pt x="2455" y="17820"/>
                </a:cubicBezTo>
                <a:cubicBezTo>
                  <a:pt x="2455" y="18119"/>
                  <a:pt x="2674" y="18360"/>
                  <a:pt x="2945" y="18360"/>
                </a:cubicBezTo>
                <a:lnTo>
                  <a:pt x="2945" y="20520"/>
                </a:lnTo>
                <a:lnTo>
                  <a:pt x="982" y="20520"/>
                </a:lnTo>
                <a:lnTo>
                  <a:pt x="982" y="7560"/>
                </a:lnTo>
                <a:lnTo>
                  <a:pt x="2945" y="7560"/>
                </a:lnTo>
                <a:cubicBezTo>
                  <a:pt x="2945" y="7560"/>
                  <a:pt x="2945" y="17280"/>
                  <a:pt x="2945" y="17280"/>
                </a:cubicBezTo>
                <a:close/>
                <a:moveTo>
                  <a:pt x="7855" y="5400"/>
                </a:moveTo>
                <a:lnTo>
                  <a:pt x="9818" y="5400"/>
                </a:lnTo>
                <a:cubicBezTo>
                  <a:pt x="10360" y="5400"/>
                  <a:pt x="10800" y="5884"/>
                  <a:pt x="10800" y="6481"/>
                </a:cubicBezTo>
                <a:lnTo>
                  <a:pt x="6873" y="6481"/>
                </a:lnTo>
                <a:cubicBezTo>
                  <a:pt x="6873" y="5884"/>
                  <a:pt x="7313" y="5400"/>
                  <a:pt x="7855" y="5400"/>
                </a:cubicBezTo>
                <a:moveTo>
                  <a:pt x="16691" y="6481"/>
                </a:moveTo>
                <a:lnTo>
                  <a:pt x="11782" y="6481"/>
                </a:lnTo>
                <a:cubicBezTo>
                  <a:pt x="11782" y="5287"/>
                  <a:pt x="10903" y="4321"/>
                  <a:pt x="9818" y="4321"/>
                </a:cubicBezTo>
                <a:lnTo>
                  <a:pt x="7855" y="4321"/>
                </a:lnTo>
                <a:cubicBezTo>
                  <a:pt x="6770" y="4321"/>
                  <a:pt x="5891" y="5287"/>
                  <a:pt x="5891" y="6481"/>
                </a:cubicBezTo>
                <a:lnTo>
                  <a:pt x="982" y="6481"/>
                </a:lnTo>
                <a:cubicBezTo>
                  <a:pt x="440" y="6481"/>
                  <a:pt x="0" y="6964"/>
                  <a:pt x="0" y="7560"/>
                </a:cubicBezTo>
                <a:lnTo>
                  <a:pt x="0" y="20520"/>
                </a:lnTo>
                <a:cubicBezTo>
                  <a:pt x="0" y="21116"/>
                  <a:pt x="440" y="21600"/>
                  <a:pt x="982" y="21600"/>
                </a:cubicBezTo>
                <a:lnTo>
                  <a:pt x="16691" y="21600"/>
                </a:lnTo>
                <a:cubicBezTo>
                  <a:pt x="17233" y="21600"/>
                  <a:pt x="17673" y="21116"/>
                  <a:pt x="17673" y="20520"/>
                </a:cubicBezTo>
                <a:lnTo>
                  <a:pt x="17673" y="7560"/>
                </a:lnTo>
                <a:cubicBezTo>
                  <a:pt x="17673" y="6964"/>
                  <a:pt x="17233" y="6481"/>
                  <a:pt x="16691" y="6481"/>
                </a:cubicBezTo>
                <a:moveTo>
                  <a:pt x="10800" y="2161"/>
                </a:moveTo>
                <a:cubicBezTo>
                  <a:pt x="10800" y="1564"/>
                  <a:pt x="11240" y="1080"/>
                  <a:pt x="11782" y="1080"/>
                </a:cubicBezTo>
                <a:lnTo>
                  <a:pt x="13745" y="1080"/>
                </a:lnTo>
                <a:cubicBezTo>
                  <a:pt x="14287" y="1080"/>
                  <a:pt x="14727" y="1564"/>
                  <a:pt x="14727" y="2161"/>
                </a:cubicBezTo>
                <a:cubicBezTo>
                  <a:pt x="14727" y="2161"/>
                  <a:pt x="10800" y="2161"/>
                  <a:pt x="10800" y="2161"/>
                </a:cubicBezTo>
                <a:close/>
                <a:moveTo>
                  <a:pt x="20618" y="2161"/>
                </a:moveTo>
                <a:lnTo>
                  <a:pt x="15709" y="2161"/>
                </a:lnTo>
                <a:cubicBezTo>
                  <a:pt x="15709" y="967"/>
                  <a:pt x="14830" y="0"/>
                  <a:pt x="13745" y="0"/>
                </a:cubicBezTo>
                <a:lnTo>
                  <a:pt x="11782" y="0"/>
                </a:lnTo>
                <a:cubicBezTo>
                  <a:pt x="10697" y="0"/>
                  <a:pt x="9818" y="967"/>
                  <a:pt x="9818" y="2161"/>
                </a:cubicBezTo>
                <a:lnTo>
                  <a:pt x="4909" y="2161"/>
                </a:lnTo>
                <a:cubicBezTo>
                  <a:pt x="4367" y="2161"/>
                  <a:pt x="3927" y="2644"/>
                  <a:pt x="3927" y="3240"/>
                </a:cubicBezTo>
                <a:lnTo>
                  <a:pt x="3927" y="4860"/>
                </a:lnTo>
                <a:cubicBezTo>
                  <a:pt x="3927" y="5159"/>
                  <a:pt x="4147" y="5400"/>
                  <a:pt x="4418" y="5400"/>
                </a:cubicBezTo>
                <a:cubicBezTo>
                  <a:pt x="4690" y="5400"/>
                  <a:pt x="4909" y="5159"/>
                  <a:pt x="4909" y="4860"/>
                </a:cubicBezTo>
                <a:lnTo>
                  <a:pt x="4909" y="3240"/>
                </a:lnTo>
                <a:lnTo>
                  <a:pt x="20618" y="3240"/>
                </a:lnTo>
                <a:lnTo>
                  <a:pt x="20618" y="16201"/>
                </a:lnTo>
                <a:lnTo>
                  <a:pt x="19145" y="16201"/>
                </a:lnTo>
                <a:cubicBezTo>
                  <a:pt x="18874" y="16201"/>
                  <a:pt x="18655" y="16442"/>
                  <a:pt x="18655" y="16740"/>
                </a:cubicBezTo>
                <a:cubicBezTo>
                  <a:pt x="18655" y="17039"/>
                  <a:pt x="18874" y="17280"/>
                  <a:pt x="19145" y="17280"/>
                </a:cubicBezTo>
                <a:lnTo>
                  <a:pt x="20618" y="17280"/>
                </a:lnTo>
                <a:cubicBezTo>
                  <a:pt x="21160" y="17280"/>
                  <a:pt x="21600" y="16796"/>
                  <a:pt x="21600" y="16201"/>
                </a:cubicBezTo>
                <a:lnTo>
                  <a:pt x="21600" y="3240"/>
                </a:lnTo>
                <a:cubicBezTo>
                  <a:pt x="21600" y="2644"/>
                  <a:pt x="21160" y="2161"/>
                  <a:pt x="20618" y="2161"/>
                </a:cubicBezTo>
                <a:moveTo>
                  <a:pt x="5400" y="11881"/>
                </a:moveTo>
                <a:lnTo>
                  <a:pt x="6382" y="11881"/>
                </a:lnTo>
                <a:cubicBezTo>
                  <a:pt x="6653" y="11881"/>
                  <a:pt x="6873" y="11639"/>
                  <a:pt x="6873" y="11341"/>
                </a:cubicBezTo>
                <a:cubicBezTo>
                  <a:pt x="6873" y="11042"/>
                  <a:pt x="6653" y="10800"/>
                  <a:pt x="6382" y="10800"/>
                </a:cubicBezTo>
                <a:lnTo>
                  <a:pt x="5400" y="10800"/>
                </a:lnTo>
                <a:cubicBezTo>
                  <a:pt x="5129" y="10800"/>
                  <a:pt x="4909" y="11042"/>
                  <a:pt x="4909" y="11341"/>
                </a:cubicBezTo>
                <a:cubicBezTo>
                  <a:pt x="4909" y="11639"/>
                  <a:pt x="5129" y="11881"/>
                  <a:pt x="5400" y="11881"/>
                </a:cubicBezTo>
                <a:moveTo>
                  <a:pt x="5400" y="9720"/>
                </a:moveTo>
                <a:lnTo>
                  <a:pt x="8345" y="9720"/>
                </a:lnTo>
                <a:cubicBezTo>
                  <a:pt x="8617" y="9720"/>
                  <a:pt x="8836" y="9479"/>
                  <a:pt x="8836" y="9181"/>
                </a:cubicBezTo>
                <a:cubicBezTo>
                  <a:pt x="8836" y="8882"/>
                  <a:pt x="8617" y="8640"/>
                  <a:pt x="8345" y="8640"/>
                </a:cubicBezTo>
                <a:lnTo>
                  <a:pt x="5400" y="8640"/>
                </a:lnTo>
                <a:cubicBezTo>
                  <a:pt x="5129" y="8640"/>
                  <a:pt x="4909" y="8882"/>
                  <a:pt x="4909" y="9181"/>
                </a:cubicBezTo>
                <a:cubicBezTo>
                  <a:pt x="4909" y="9479"/>
                  <a:pt x="5129" y="9720"/>
                  <a:pt x="5400"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4" name="Shape 2604"/>
          <p:cNvSpPr/>
          <p:nvPr/>
        </p:nvSpPr>
        <p:spPr>
          <a:xfrm>
            <a:off x="8288182" y="225108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17673" y="9600"/>
                </a:lnTo>
                <a:lnTo>
                  <a:pt x="17673" y="8400"/>
                </a:lnTo>
                <a:cubicBezTo>
                  <a:pt x="17673" y="7738"/>
                  <a:pt x="17233" y="7200"/>
                  <a:pt x="16691" y="7200"/>
                </a:cubicBezTo>
                <a:lnTo>
                  <a:pt x="14727" y="7200"/>
                </a:lnTo>
                <a:cubicBezTo>
                  <a:pt x="14186" y="7200"/>
                  <a:pt x="13745" y="7738"/>
                  <a:pt x="13745" y="8400"/>
                </a:cubicBezTo>
                <a:lnTo>
                  <a:pt x="13745" y="9600"/>
                </a:lnTo>
                <a:lnTo>
                  <a:pt x="7855" y="9600"/>
                </a:lnTo>
                <a:lnTo>
                  <a:pt x="7855" y="8400"/>
                </a:lnTo>
                <a:cubicBezTo>
                  <a:pt x="7855" y="7738"/>
                  <a:pt x="7414" y="7200"/>
                  <a:pt x="6873" y="7200"/>
                </a:cubicBezTo>
                <a:lnTo>
                  <a:pt x="4909" y="7200"/>
                </a:lnTo>
                <a:cubicBezTo>
                  <a:pt x="4367" y="7200"/>
                  <a:pt x="3927" y="7738"/>
                  <a:pt x="3927" y="8400"/>
                </a:cubicBezTo>
                <a:lnTo>
                  <a:pt x="3927" y="9600"/>
                </a:lnTo>
                <a:lnTo>
                  <a:pt x="982" y="9600"/>
                </a:lnTo>
                <a:lnTo>
                  <a:pt x="982" y="3601"/>
                </a:lnTo>
                <a:lnTo>
                  <a:pt x="20618" y="3601"/>
                </a:lnTo>
                <a:cubicBezTo>
                  <a:pt x="20618" y="3601"/>
                  <a:pt x="20618" y="9600"/>
                  <a:pt x="20618" y="9600"/>
                </a:cubicBezTo>
                <a:close/>
                <a:moveTo>
                  <a:pt x="14727" y="8400"/>
                </a:moveTo>
                <a:lnTo>
                  <a:pt x="16691" y="8400"/>
                </a:lnTo>
                <a:lnTo>
                  <a:pt x="16691" y="12001"/>
                </a:lnTo>
                <a:lnTo>
                  <a:pt x="14727" y="12001"/>
                </a:lnTo>
                <a:cubicBezTo>
                  <a:pt x="14727" y="12001"/>
                  <a:pt x="14727" y="8400"/>
                  <a:pt x="14727" y="8400"/>
                </a:cubicBezTo>
                <a:close/>
                <a:moveTo>
                  <a:pt x="4909" y="8400"/>
                </a:moveTo>
                <a:lnTo>
                  <a:pt x="6873" y="8400"/>
                </a:lnTo>
                <a:lnTo>
                  <a:pt x="6873" y="12001"/>
                </a:lnTo>
                <a:lnTo>
                  <a:pt x="4909" y="12001"/>
                </a:lnTo>
                <a:cubicBezTo>
                  <a:pt x="4909" y="12001"/>
                  <a:pt x="4909" y="8400"/>
                  <a:pt x="4909" y="8400"/>
                </a:cubicBezTo>
                <a:close/>
                <a:moveTo>
                  <a:pt x="19636" y="20400"/>
                </a:moveTo>
                <a:lnTo>
                  <a:pt x="1964" y="20400"/>
                </a:lnTo>
                <a:lnTo>
                  <a:pt x="1964" y="10800"/>
                </a:lnTo>
                <a:lnTo>
                  <a:pt x="3927" y="10800"/>
                </a:lnTo>
                <a:lnTo>
                  <a:pt x="3927" y="12001"/>
                </a:lnTo>
                <a:cubicBezTo>
                  <a:pt x="3927" y="12662"/>
                  <a:pt x="4367" y="13200"/>
                  <a:pt x="4909" y="13200"/>
                </a:cubicBezTo>
                <a:lnTo>
                  <a:pt x="6873" y="13200"/>
                </a:lnTo>
                <a:cubicBezTo>
                  <a:pt x="7414" y="13200"/>
                  <a:pt x="7855" y="12662"/>
                  <a:pt x="7855" y="12001"/>
                </a:cubicBezTo>
                <a:lnTo>
                  <a:pt x="7855" y="10800"/>
                </a:lnTo>
                <a:lnTo>
                  <a:pt x="13745" y="10800"/>
                </a:lnTo>
                <a:lnTo>
                  <a:pt x="13745" y="12001"/>
                </a:lnTo>
                <a:cubicBezTo>
                  <a:pt x="13745" y="12662"/>
                  <a:pt x="14186" y="13200"/>
                  <a:pt x="14727" y="13200"/>
                </a:cubicBezTo>
                <a:lnTo>
                  <a:pt x="16691" y="13200"/>
                </a:lnTo>
                <a:cubicBezTo>
                  <a:pt x="17233" y="13200"/>
                  <a:pt x="17673" y="12662"/>
                  <a:pt x="17673" y="12001"/>
                </a:cubicBezTo>
                <a:lnTo>
                  <a:pt x="17673" y="10800"/>
                </a:lnTo>
                <a:lnTo>
                  <a:pt x="19636" y="10800"/>
                </a:lnTo>
                <a:cubicBezTo>
                  <a:pt x="19636" y="10800"/>
                  <a:pt x="19636" y="20400"/>
                  <a:pt x="19636" y="20400"/>
                </a:cubicBezTo>
                <a:close/>
                <a:moveTo>
                  <a:pt x="8836" y="1200"/>
                </a:moveTo>
                <a:lnTo>
                  <a:pt x="12764" y="1200"/>
                </a:lnTo>
                <a:cubicBezTo>
                  <a:pt x="13305" y="1200"/>
                  <a:pt x="13745" y="1738"/>
                  <a:pt x="13745" y="2400"/>
                </a:cubicBezTo>
                <a:lnTo>
                  <a:pt x="7855" y="2400"/>
                </a:lnTo>
                <a:cubicBezTo>
                  <a:pt x="7855" y="1738"/>
                  <a:pt x="8295" y="1200"/>
                  <a:pt x="8836" y="1200"/>
                </a:cubicBezTo>
                <a:moveTo>
                  <a:pt x="20618" y="2400"/>
                </a:moveTo>
                <a:lnTo>
                  <a:pt x="14727" y="2400"/>
                </a:lnTo>
                <a:cubicBezTo>
                  <a:pt x="14727" y="1075"/>
                  <a:pt x="13848" y="0"/>
                  <a:pt x="12764" y="0"/>
                </a:cubicBezTo>
                <a:lnTo>
                  <a:pt x="8836" y="0"/>
                </a:lnTo>
                <a:cubicBezTo>
                  <a:pt x="7752" y="0"/>
                  <a:pt x="6873" y="1075"/>
                  <a:pt x="6873" y="2400"/>
                </a:cubicBezTo>
                <a:lnTo>
                  <a:pt x="982" y="2400"/>
                </a:lnTo>
                <a:cubicBezTo>
                  <a:pt x="440" y="2400"/>
                  <a:pt x="0" y="2938"/>
                  <a:pt x="0" y="3601"/>
                </a:cubicBezTo>
                <a:lnTo>
                  <a:pt x="0" y="9600"/>
                </a:lnTo>
                <a:cubicBezTo>
                  <a:pt x="0" y="10262"/>
                  <a:pt x="440" y="10800"/>
                  <a:pt x="982" y="10800"/>
                </a:cubicBezTo>
                <a:lnTo>
                  <a:pt x="982" y="20400"/>
                </a:lnTo>
                <a:cubicBezTo>
                  <a:pt x="982" y="21062"/>
                  <a:pt x="1422" y="21600"/>
                  <a:pt x="1964" y="21600"/>
                </a:cubicBezTo>
                <a:lnTo>
                  <a:pt x="19636" y="21600"/>
                </a:lnTo>
                <a:cubicBezTo>
                  <a:pt x="20178" y="21600"/>
                  <a:pt x="20618" y="21062"/>
                  <a:pt x="20618" y="20400"/>
                </a:cubicBezTo>
                <a:lnTo>
                  <a:pt x="20618" y="10800"/>
                </a:lnTo>
                <a:cubicBezTo>
                  <a:pt x="21160" y="10800"/>
                  <a:pt x="21600" y="10262"/>
                  <a:pt x="21600" y="9600"/>
                </a:cubicBezTo>
                <a:lnTo>
                  <a:pt x="21600" y="3601"/>
                </a:lnTo>
                <a:cubicBezTo>
                  <a:pt x="21600" y="2938"/>
                  <a:pt x="21160" y="2400"/>
                  <a:pt x="20618" y="2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5" name="Shape 2605"/>
          <p:cNvSpPr/>
          <p:nvPr/>
        </p:nvSpPr>
        <p:spPr>
          <a:xfrm>
            <a:off x="4688669" y="2631983"/>
            <a:ext cx="209595" cy="209589"/>
          </a:xfrm>
          <a:custGeom>
            <a:avLst/>
            <a:gdLst/>
            <a:ahLst/>
            <a:cxnLst>
              <a:cxn ang="0">
                <a:pos x="wd2" y="hd2"/>
              </a:cxn>
              <a:cxn ang="5400000">
                <a:pos x="wd2" y="hd2"/>
              </a:cxn>
              <a:cxn ang="10800000">
                <a:pos x="wd2" y="hd2"/>
              </a:cxn>
              <a:cxn ang="16200000">
                <a:pos x="wd2" y="hd2"/>
              </a:cxn>
            </a:cxnLst>
            <a:rect l="0" t="0" r="r" b="b"/>
            <a:pathLst>
              <a:path w="21410" h="21410" extrusionOk="0">
                <a:moveTo>
                  <a:pt x="20437" y="20437"/>
                </a:moveTo>
                <a:lnTo>
                  <a:pt x="17519" y="20437"/>
                </a:lnTo>
                <a:lnTo>
                  <a:pt x="17519" y="18978"/>
                </a:lnTo>
                <a:cubicBezTo>
                  <a:pt x="17519" y="18710"/>
                  <a:pt x="17301" y="18492"/>
                  <a:pt x="17033" y="18492"/>
                </a:cubicBezTo>
                <a:lnTo>
                  <a:pt x="15574" y="18492"/>
                </a:lnTo>
                <a:lnTo>
                  <a:pt x="15574" y="17033"/>
                </a:lnTo>
                <a:cubicBezTo>
                  <a:pt x="15574" y="16764"/>
                  <a:pt x="15356" y="16546"/>
                  <a:pt x="15087" y="16546"/>
                </a:cubicBezTo>
                <a:lnTo>
                  <a:pt x="13344" y="16546"/>
                </a:lnTo>
                <a:lnTo>
                  <a:pt x="10309" y="13497"/>
                </a:lnTo>
                <a:cubicBezTo>
                  <a:pt x="10221" y="13409"/>
                  <a:pt x="10100" y="13354"/>
                  <a:pt x="9965" y="13354"/>
                </a:cubicBezTo>
                <a:cubicBezTo>
                  <a:pt x="9819" y="13354"/>
                  <a:pt x="9693" y="13422"/>
                  <a:pt x="9604" y="13524"/>
                </a:cubicBezTo>
                <a:lnTo>
                  <a:pt x="8815" y="14312"/>
                </a:lnTo>
                <a:cubicBezTo>
                  <a:pt x="8435" y="14692"/>
                  <a:pt x="7820" y="14692"/>
                  <a:pt x="7441" y="14312"/>
                </a:cubicBezTo>
                <a:lnTo>
                  <a:pt x="1256" y="8128"/>
                </a:lnTo>
                <a:cubicBezTo>
                  <a:pt x="877" y="7748"/>
                  <a:pt x="877" y="7133"/>
                  <a:pt x="1256" y="6753"/>
                </a:cubicBezTo>
                <a:lnTo>
                  <a:pt x="6754" y="1255"/>
                </a:lnTo>
                <a:cubicBezTo>
                  <a:pt x="7133" y="876"/>
                  <a:pt x="7749" y="876"/>
                  <a:pt x="8128" y="1255"/>
                </a:cubicBezTo>
                <a:lnTo>
                  <a:pt x="14312" y="7440"/>
                </a:lnTo>
                <a:cubicBezTo>
                  <a:pt x="14691" y="7820"/>
                  <a:pt x="14691" y="8435"/>
                  <a:pt x="14312" y="8815"/>
                </a:cubicBezTo>
                <a:lnTo>
                  <a:pt x="13539" y="9588"/>
                </a:lnTo>
                <a:cubicBezTo>
                  <a:pt x="13437" y="9677"/>
                  <a:pt x="13370" y="9804"/>
                  <a:pt x="13370" y="9950"/>
                </a:cubicBezTo>
                <a:cubicBezTo>
                  <a:pt x="13370" y="10084"/>
                  <a:pt x="13424" y="10206"/>
                  <a:pt x="13513" y="10294"/>
                </a:cubicBezTo>
                <a:lnTo>
                  <a:pt x="20437" y="17234"/>
                </a:lnTo>
                <a:cubicBezTo>
                  <a:pt x="20437" y="17234"/>
                  <a:pt x="20437" y="20437"/>
                  <a:pt x="20437" y="20437"/>
                </a:cubicBezTo>
                <a:close/>
                <a:moveTo>
                  <a:pt x="21268" y="16689"/>
                </a:moveTo>
                <a:lnTo>
                  <a:pt x="14547" y="9954"/>
                </a:lnTo>
                <a:lnTo>
                  <a:pt x="14999" y="9502"/>
                </a:lnTo>
                <a:cubicBezTo>
                  <a:pt x="15758" y="8743"/>
                  <a:pt x="15758" y="7512"/>
                  <a:pt x="14999" y="6753"/>
                </a:cubicBezTo>
                <a:lnTo>
                  <a:pt x="8815" y="569"/>
                </a:lnTo>
                <a:cubicBezTo>
                  <a:pt x="8056" y="-190"/>
                  <a:pt x="6825" y="-190"/>
                  <a:pt x="6066" y="569"/>
                </a:cubicBezTo>
                <a:lnTo>
                  <a:pt x="569" y="6066"/>
                </a:lnTo>
                <a:cubicBezTo>
                  <a:pt x="-190" y="6825"/>
                  <a:pt x="-190" y="8056"/>
                  <a:pt x="569" y="8815"/>
                </a:cubicBezTo>
                <a:lnTo>
                  <a:pt x="6754" y="14999"/>
                </a:lnTo>
                <a:cubicBezTo>
                  <a:pt x="7513" y="15758"/>
                  <a:pt x="8743" y="15758"/>
                  <a:pt x="9502" y="14999"/>
                </a:cubicBezTo>
                <a:lnTo>
                  <a:pt x="9968" y="14533"/>
                </a:lnTo>
                <a:lnTo>
                  <a:pt x="12798" y="17376"/>
                </a:lnTo>
                <a:cubicBezTo>
                  <a:pt x="12886" y="17465"/>
                  <a:pt x="13008" y="17519"/>
                  <a:pt x="13142" y="17519"/>
                </a:cubicBezTo>
                <a:lnTo>
                  <a:pt x="14601" y="17519"/>
                </a:lnTo>
                <a:lnTo>
                  <a:pt x="14601" y="18978"/>
                </a:lnTo>
                <a:cubicBezTo>
                  <a:pt x="14601" y="19247"/>
                  <a:pt x="14819" y="19464"/>
                  <a:pt x="15087" y="19464"/>
                </a:cubicBezTo>
                <a:lnTo>
                  <a:pt x="16546" y="19464"/>
                </a:lnTo>
                <a:lnTo>
                  <a:pt x="16546" y="20924"/>
                </a:lnTo>
                <a:cubicBezTo>
                  <a:pt x="16546" y="21193"/>
                  <a:pt x="16764" y="21410"/>
                  <a:pt x="17033" y="21410"/>
                </a:cubicBezTo>
                <a:lnTo>
                  <a:pt x="20924" y="21410"/>
                </a:lnTo>
                <a:cubicBezTo>
                  <a:pt x="21192" y="21410"/>
                  <a:pt x="21410" y="21193"/>
                  <a:pt x="21410" y="20924"/>
                </a:cubicBezTo>
                <a:lnTo>
                  <a:pt x="21410" y="17033"/>
                </a:lnTo>
                <a:cubicBezTo>
                  <a:pt x="21410" y="16899"/>
                  <a:pt x="21356" y="16777"/>
                  <a:pt x="21268" y="16689"/>
                </a:cubicBezTo>
                <a:moveTo>
                  <a:pt x="6819" y="7791"/>
                </a:moveTo>
                <a:cubicBezTo>
                  <a:pt x="6282" y="7791"/>
                  <a:pt x="5846" y="7356"/>
                  <a:pt x="5846" y="6819"/>
                </a:cubicBezTo>
                <a:cubicBezTo>
                  <a:pt x="5846" y="6282"/>
                  <a:pt x="6282" y="5846"/>
                  <a:pt x="6819" y="5846"/>
                </a:cubicBezTo>
                <a:cubicBezTo>
                  <a:pt x="7356" y="5846"/>
                  <a:pt x="7792" y="6282"/>
                  <a:pt x="7792" y="6819"/>
                </a:cubicBezTo>
                <a:cubicBezTo>
                  <a:pt x="7792" y="7356"/>
                  <a:pt x="7356" y="7791"/>
                  <a:pt x="6819" y="7791"/>
                </a:cubicBezTo>
                <a:moveTo>
                  <a:pt x="6819" y="4873"/>
                </a:moveTo>
                <a:cubicBezTo>
                  <a:pt x="5745" y="4873"/>
                  <a:pt x="4874" y="5744"/>
                  <a:pt x="4874" y="6819"/>
                </a:cubicBezTo>
                <a:cubicBezTo>
                  <a:pt x="4874" y="7893"/>
                  <a:pt x="5745" y="8765"/>
                  <a:pt x="6819" y="8765"/>
                </a:cubicBezTo>
                <a:cubicBezTo>
                  <a:pt x="7893" y="8765"/>
                  <a:pt x="8765" y="7893"/>
                  <a:pt x="8765" y="6819"/>
                </a:cubicBezTo>
                <a:cubicBezTo>
                  <a:pt x="8765" y="5744"/>
                  <a:pt x="7893" y="4873"/>
                  <a:pt x="6819" y="4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6" name="Shape 2606"/>
          <p:cNvSpPr/>
          <p:nvPr/>
        </p:nvSpPr>
        <p:spPr>
          <a:xfrm>
            <a:off x="5088616"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309"/>
                </a:moveTo>
                <a:cubicBezTo>
                  <a:pt x="10800" y="10581"/>
                  <a:pt x="10580" y="10800"/>
                  <a:pt x="10309" y="10800"/>
                </a:cubicBezTo>
                <a:cubicBezTo>
                  <a:pt x="10038" y="10800"/>
                  <a:pt x="9818" y="10581"/>
                  <a:pt x="9818" y="10309"/>
                </a:cubicBezTo>
                <a:cubicBezTo>
                  <a:pt x="9818" y="10038"/>
                  <a:pt x="10038" y="9818"/>
                  <a:pt x="10309" y="9818"/>
                </a:cubicBezTo>
                <a:cubicBezTo>
                  <a:pt x="10580" y="9818"/>
                  <a:pt x="10800" y="10038"/>
                  <a:pt x="10800" y="10309"/>
                </a:cubicBezTo>
                <a:moveTo>
                  <a:pt x="20618" y="20618"/>
                </a:moveTo>
                <a:lnTo>
                  <a:pt x="18655" y="20618"/>
                </a:lnTo>
                <a:lnTo>
                  <a:pt x="18655" y="19145"/>
                </a:lnTo>
                <a:cubicBezTo>
                  <a:pt x="18655" y="18875"/>
                  <a:pt x="18434" y="18655"/>
                  <a:pt x="18164" y="18655"/>
                </a:cubicBezTo>
                <a:lnTo>
                  <a:pt x="16691" y="18655"/>
                </a:lnTo>
                <a:lnTo>
                  <a:pt x="16691" y="17182"/>
                </a:lnTo>
                <a:cubicBezTo>
                  <a:pt x="16691" y="16911"/>
                  <a:pt x="16471" y="16691"/>
                  <a:pt x="16200" y="16691"/>
                </a:cubicBezTo>
                <a:lnTo>
                  <a:pt x="14441" y="16691"/>
                </a:lnTo>
                <a:lnTo>
                  <a:pt x="12850" y="15086"/>
                </a:lnTo>
                <a:cubicBezTo>
                  <a:pt x="12761" y="14997"/>
                  <a:pt x="12639" y="14943"/>
                  <a:pt x="12503" y="14943"/>
                </a:cubicBezTo>
                <a:cubicBezTo>
                  <a:pt x="12356" y="14943"/>
                  <a:pt x="12228" y="15010"/>
                  <a:pt x="12138" y="15113"/>
                </a:cubicBezTo>
                <a:lnTo>
                  <a:pt x="11833" y="15418"/>
                </a:lnTo>
                <a:cubicBezTo>
                  <a:pt x="11450" y="15801"/>
                  <a:pt x="10829" y="15801"/>
                  <a:pt x="10445" y="15418"/>
                </a:cubicBezTo>
                <a:lnTo>
                  <a:pt x="6167" y="11139"/>
                </a:lnTo>
                <a:cubicBezTo>
                  <a:pt x="5784" y="10756"/>
                  <a:pt x="5784" y="10136"/>
                  <a:pt x="6167" y="9752"/>
                </a:cubicBezTo>
                <a:lnTo>
                  <a:pt x="9752" y="6167"/>
                </a:lnTo>
                <a:cubicBezTo>
                  <a:pt x="10135" y="5784"/>
                  <a:pt x="10756" y="5784"/>
                  <a:pt x="11139" y="6167"/>
                </a:cubicBezTo>
                <a:lnTo>
                  <a:pt x="11761" y="6789"/>
                </a:lnTo>
                <a:cubicBezTo>
                  <a:pt x="11699" y="7609"/>
                  <a:pt x="11457" y="8377"/>
                  <a:pt x="11069" y="9054"/>
                </a:cubicBezTo>
                <a:cubicBezTo>
                  <a:pt x="10847" y="8919"/>
                  <a:pt x="10588" y="8837"/>
                  <a:pt x="10309" y="8837"/>
                </a:cubicBezTo>
                <a:cubicBezTo>
                  <a:pt x="9496" y="8837"/>
                  <a:pt x="8836" y="9496"/>
                  <a:pt x="8836" y="10309"/>
                </a:cubicBezTo>
                <a:cubicBezTo>
                  <a:pt x="8836" y="11123"/>
                  <a:pt x="9496" y="11782"/>
                  <a:pt x="10309" y="11782"/>
                </a:cubicBezTo>
                <a:cubicBezTo>
                  <a:pt x="11123" y="11782"/>
                  <a:pt x="11782" y="11123"/>
                  <a:pt x="11782" y="10309"/>
                </a:cubicBezTo>
                <a:cubicBezTo>
                  <a:pt x="11782" y="10156"/>
                  <a:pt x="11752" y="10012"/>
                  <a:pt x="11709" y="9873"/>
                </a:cubicBezTo>
                <a:cubicBezTo>
                  <a:pt x="12146" y="9210"/>
                  <a:pt x="12466" y="8463"/>
                  <a:pt x="12631" y="7659"/>
                </a:cubicBezTo>
                <a:lnTo>
                  <a:pt x="15417" y="10446"/>
                </a:lnTo>
                <a:cubicBezTo>
                  <a:pt x="15800" y="10829"/>
                  <a:pt x="15800" y="11450"/>
                  <a:pt x="15417" y="11833"/>
                </a:cubicBezTo>
                <a:lnTo>
                  <a:pt x="15128" y="12122"/>
                </a:lnTo>
                <a:cubicBezTo>
                  <a:pt x="15025" y="12213"/>
                  <a:pt x="14957" y="12341"/>
                  <a:pt x="14957" y="12487"/>
                </a:cubicBezTo>
                <a:cubicBezTo>
                  <a:pt x="14957" y="12623"/>
                  <a:pt x="15013" y="12746"/>
                  <a:pt x="15101" y="12835"/>
                </a:cubicBezTo>
                <a:lnTo>
                  <a:pt x="20618" y="18367"/>
                </a:lnTo>
                <a:cubicBezTo>
                  <a:pt x="20618" y="18367"/>
                  <a:pt x="20618" y="20618"/>
                  <a:pt x="20618" y="20618"/>
                </a:cubicBezTo>
                <a:close/>
                <a:moveTo>
                  <a:pt x="5343" y="11673"/>
                </a:moveTo>
                <a:cubicBezTo>
                  <a:pt x="2859" y="11190"/>
                  <a:pt x="982" y="9008"/>
                  <a:pt x="982" y="6383"/>
                </a:cubicBezTo>
                <a:cubicBezTo>
                  <a:pt x="982" y="3400"/>
                  <a:pt x="3399" y="982"/>
                  <a:pt x="6382" y="982"/>
                </a:cubicBezTo>
                <a:cubicBezTo>
                  <a:pt x="9011" y="982"/>
                  <a:pt x="11198" y="2862"/>
                  <a:pt x="11681" y="5349"/>
                </a:cubicBezTo>
                <a:cubicBezTo>
                  <a:pt x="10910" y="4719"/>
                  <a:pt x="9777" y="4755"/>
                  <a:pt x="9058" y="5473"/>
                </a:cubicBezTo>
                <a:lnTo>
                  <a:pt x="5474" y="9058"/>
                </a:lnTo>
                <a:cubicBezTo>
                  <a:pt x="4757" y="9775"/>
                  <a:pt x="4719" y="10904"/>
                  <a:pt x="5343" y="11673"/>
                </a:cubicBezTo>
                <a:moveTo>
                  <a:pt x="21456" y="17817"/>
                </a:moveTo>
                <a:lnTo>
                  <a:pt x="16142" y="12488"/>
                </a:lnTo>
                <a:cubicBezTo>
                  <a:pt x="16874" y="11720"/>
                  <a:pt x="16865" y="10507"/>
                  <a:pt x="16111" y="9752"/>
                </a:cubicBezTo>
                <a:lnTo>
                  <a:pt x="12763" y="6404"/>
                </a:lnTo>
                <a:cubicBezTo>
                  <a:pt x="12763" y="6396"/>
                  <a:pt x="12764" y="6389"/>
                  <a:pt x="12764" y="6383"/>
                </a:cubicBezTo>
                <a:cubicBezTo>
                  <a:pt x="12764" y="2857"/>
                  <a:pt x="9907" y="0"/>
                  <a:pt x="6382" y="0"/>
                </a:cubicBezTo>
                <a:cubicBezTo>
                  <a:pt x="2857" y="0"/>
                  <a:pt x="0" y="2857"/>
                  <a:pt x="0" y="6383"/>
                </a:cubicBezTo>
                <a:cubicBezTo>
                  <a:pt x="0" y="9907"/>
                  <a:pt x="2857" y="12764"/>
                  <a:pt x="6382" y="12764"/>
                </a:cubicBezTo>
                <a:cubicBezTo>
                  <a:pt x="6389" y="12764"/>
                  <a:pt x="6396" y="12763"/>
                  <a:pt x="6403" y="12763"/>
                </a:cubicBezTo>
                <a:lnTo>
                  <a:pt x="9752" y="16111"/>
                </a:lnTo>
                <a:cubicBezTo>
                  <a:pt x="10511" y="16870"/>
                  <a:pt x="11735" y="16875"/>
                  <a:pt x="12503" y="16130"/>
                </a:cubicBezTo>
                <a:lnTo>
                  <a:pt x="13889" y="17529"/>
                </a:lnTo>
                <a:cubicBezTo>
                  <a:pt x="13978" y="17618"/>
                  <a:pt x="14101" y="17673"/>
                  <a:pt x="14236" y="17673"/>
                </a:cubicBezTo>
                <a:lnTo>
                  <a:pt x="15709" y="17673"/>
                </a:lnTo>
                <a:lnTo>
                  <a:pt x="15709" y="19145"/>
                </a:lnTo>
                <a:cubicBezTo>
                  <a:pt x="15709" y="19417"/>
                  <a:pt x="15929" y="19636"/>
                  <a:pt x="16200" y="19636"/>
                </a:cubicBezTo>
                <a:lnTo>
                  <a:pt x="17673" y="19636"/>
                </a:lnTo>
                <a:lnTo>
                  <a:pt x="17673" y="21109"/>
                </a:lnTo>
                <a:cubicBezTo>
                  <a:pt x="17673" y="21381"/>
                  <a:pt x="17893" y="21600"/>
                  <a:pt x="18164" y="21600"/>
                </a:cubicBezTo>
                <a:lnTo>
                  <a:pt x="21109" y="21600"/>
                </a:lnTo>
                <a:cubicBezTo>
                  <a:pt x="21380" y="21600"/>
                  <a:pt x="21600" y="21381"/>
                  <a:pt x="21600" y="21109"/>
                </a:cubicBezTo>
                <a:lnTo>
                  <a:pt x="21600" y="18164"/>
                </a:lnTo>
                <a:cubicBezTo>
                  <a:pt x="21600" y="18029"/>
                  <a:pt x="21545" y="17906"/>
                  <a:pt x="21456" y="178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7" name="Shape 2607"/>
          <p:cNvSpPr/>
          <p:nvPr/>
        </p:nvSpPr>
        <p:spPr>
          <a:xfrm>
            <a:off x="5488562"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538"/>
                  <a:pt x="1422" y="18000"/>
                  <a:pt x="1964" y="18000"/>
                </a:cubicBezTo>
                <a:lnTo>
                  <a:pt x="19636" y="18000"/>
                </a:lnTo>
                <a:cubicBezTo>
                  <a:pt x="20178" y="18000"/>
                  <a:pt x="20618" y="18538"/>
                  <a:pt x="20618" y="19200"/>
                </a:cubicBezTo>
                <a:cubicBezTo>
                  <a:pt x="20618" y="19862"/>
                  <a:pt x="20178" y="20400"/>
                  <a:pt x="19636" y="20400"/>
                </a:cubicBezTo>
                <a:moveTo>
                  <a:pt x="19636" y="16800"/>
                </a:moveTo>
                <a:lnTo>
                  <a:pt x="1964" y="16800"/>
                </a:lnTo>
                <a:cubicBezTo>
                  <a:pt x="879" y="16800"/>
                  <a:pt x="0" y="17874"/>
                  <a:pt x="0" y="19200"/>
                </a:cubicBezTo>
                <a:cubicBezTo>
                  <a:pt x="0" y="20526"/>
                  <a:pt x="879" y="21600"/>
                  <a:pt x="1964" y="21600"/>
                </a:cubicBezTo>
                <a:lnTo>
                  <a:pt x="19636" y="21600"/>
                </a:lnTo>
                <a:cubicBezTo>
                  <a:pt x="20721" y="21600"/>
                  <a:pt x="21600" y="20526"/>
                  <a:pt x="21600" y="19200"/>
                </a:cubicBezTo>
                <a:cubicBezTo>
                  <a:pt x="21600" y="17874"/>
                  <a:pt x="20721" y="16800"/>
                  <a:pt x="19636" y="16800"/>
                </a:cubicBezTo>
                <a:moveTo>
                  <a:pt x="1964" y="1200"/>
                </a:moveTo>
                <a:lnTo>
                  <a:pt x="19636" y="1200"/>
                </a:lnTo>
                <a:cubicBezTo>
                  <a:pt x="20178" y="1200"/>
                  <a:pt x="20618" y="1737"/>
                  <a:pt x="20618" y="2399"/>
                </a:cubicBezTo>
                <a:cubicBezTo>
                  <a:pt x="20618" y="3063"/>
                  <a:pt x="20178" y="3599"/>
                  <a:pt x="19636" y="3599"/>
                </a:cubicBezTo>
                <a:lnTo>
                  <a:pt x="1964" y="3599"/>
                </a:lnTo>
                <a:cubicBezTo>
                  <a:pt x="1422" y="3599"/>
                  <a:pt x="982" y="3063"/>
                  <a:pt x="982" y="2399"/>
                </a:cubicBezTo>
                <a:cubicBezTo>
                  <a:pt x="982" y="1737"/>
                  <a:pt x="1422" y="1200"/>
                  <a:pt x="1964" y="1200"/>
                </a:cubicBezTo>
                <a:moveTo>
                  <a:pt x="1964" y="4799"/>
                </a:moveTo>
                <a:lnTo>
                  <a:pt x="19636" y="4799"/>
                </a:lnTo>
                <a:cubicBezTo>
                  <a:pt x="20721" y="4799"/>
                  <a:pt x="21600" y="3725"/>
                  <a:pt x="21600" y="2399"/>
                </a:cubicBezTo>
                <a:cubicBezTo>
                  <a:pt x="21600" y="1074"/>
                  <a:pt x="20721" y="0"/>
                  <a:pt x="19636" y="0"/>
                </a:cubicBezTo>
                <a:lnTo>
                  <a:pt x="1964" y="0"/>
                </a:lnTo>
                <a:cubicBezTo>
                  <a:pt x="879" y="0"/>
                  <a:pt x="0" y="1074"/>
                  <a:pt x="0" y="2399"/>
                </a:cubicBezTo>
                <a:cubicBezTo>
                  <a:pt x="0" y="3725"/>
                  <a:pt x="879" y="4799"/>
                  <a:pt x="1964" y="4799"/>
                </a:cubicBezTo>
                <a:moveTo>
                  <a:pt x="19636" y="12000"/>
                </a:moveTo>
                <a:lnTo>
                  <a:pt x="1964" y="12000"/>
                </a:lnTo>
                <a:cubicBezTo>
                  <a:pt x="1422" y="12000"/>
                  <a:pt x="982" y="11463"/>
                  <a:pt x="982" y="10800"/>
                </a:cubicBezTo>
                <a:cubicBezTo>
                  <a:pt x="982" y="10137"/>
                  <a:pt x="1422" y="9600"/>
                  <a:pt x="1964" y="9600"/>
                </a:cubicBezTo>
                <a:lnTo>
                  <a:pt x="19636" y="9600"/>
                </a:lnTo>
                <a:cubicBezTo>
                  <a:pt x="20178" y="9600"/>
                  <a:pt x="20618" y="10137"/>
                  <a:pt x="20618" y="10800"/>
                </a:cubicBezTo>
                <a:cubicBezTo>
                  <a:pt x="20618" y="11463"/>
                  <a:pt x="20178" y="12000"/>
                  <a:pt x="19636" y="12000"/>
                </a:cubicBezTo>
                <a:moveTo>
                  <a:pt x="19636" y="8400"/>
                </a:moveTo>
                <a:lnTo>
                  <a:pt x="1964" y="8400"/>
                </a:lnTo>
                <a:cubicBezTo>
                  <a:pt x="879" y="8400"/>
                  <a:pt x="0" y="9474"/>
                  <a:pt x="0" y="10800"/>
                </a:cubicBezTo>
                <a:cubicBezTo>
                  <a:pt x="0" y="12125"/>
                  <a:pt x="879" y="13200"/>
                  <a:pt x="1964" y="13200"/>
                </a:cubicBezTo>
                <a:lnTo>
                  <a:pt x="19636" y="13200"/>
                </a:lnTo>
                <a:cubicBezTo>
                  <a:pt x="20721" y="13200"/>
                  <a:pt x="21600" y="12125"/>
                  <a:pt x="21600" y="10800"/>
                </a:cubicBezTo>
                <a:cubicBezTo>
                  <a:pt x="21600" y="9474"/>
                  <a:pt x="20721" y="8400"/>
                  <a:pt x="19636"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8" name="Shape 2608"/>
          <p:cNvSpPr/>
          <p:nvPr/>
        </p:nvSpPr>
        <p:spPr>
          <a:xfrm>
            <a:off x="5888507"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09" name="Shape 2609"/>
          <p:cNvSpPr/>
          <p:nvPr/>
        </p:nvSpPr>
        <p:spPr>
          <a:xfrm>
            <a:off x="6288453" y="265102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1109" y="13200"/>
                </a:moveTo>
                <a:lnTo>
                  <a:pt x="5400" y="13200"/>
                </a:lnTo>
                <a:cubicBezTo>
                  <a:pt x="5129" y="13200"/>
                  <a:pt x="4909" y="13469"/>
                  <a:pt x="4909" y="13800"/>
                </a:cubicBezTo>
                <a:cubicBezTo>
                  <a:pt x="4909" y="14132"/>
                  <a:pt x="5129" y="14400"/>
                  <a:pt x="5400" y="14400"/>
                </a:cubicBezTo>
                <a:lnTo>
                  <a:pt x="21109" y="14400"/>
                </a:lnTo>
                <a:cubicBezTo>
                  <a:pt x="21380" y="14400"/>
                  <a:pt x="21600" y="14132"/>
                  <a:pt x="21600" y="13800"/>
                </a:cubicBezTo>
                <a:cubicBezTo>
                  <a:pt x="21600" y="13469"/>
                  <a:pt x="21380" y="13200"/>
                  <a:pt x="21109" y="13200"/>
                </a:cubicBezTo>
                <a:moveTo>
                  <a:pt x="21109" y="7200"/>
                </a:moveTo>
                <a:lnTo>
                  <a:pt x="5400" y="7200"/>
                </a:lnTo>
                <a:cubicBezTo>
                  <a:pt x="5129" y="7200"/>
                  <a:pt x="4909" y="7469"/>
                  <a:pt x="4909" y="7800"/>
                </a:cubicBezTo>
                <a:cubicBezTo>
                  <a:pt x="4909" y="8132"/>
                  <a:pt x="5129" y="8401"/>
                  <a:pt x="5400" y="8401"/>
                </a:cubicBezTo>
                <a:lnTo>
                  <a:pt x="21109" y="8401"/>
                </a:lnTo>
                <a:cubicBezTo>
                  <a:pt x="21380" y="8401"/>
                  <a:pt x="21600" y="8132"/>
                  <a:pt x="21600" y="7800"/>
                </a:cubicBezTo>
                <a:cubicBezTo>
                  <a:pt x="21600" y="7469"/>
                  <a:pt x="21380" y="7200"/>
                  <a:pt x="21109" y="7200"/>
                </a:cubicBezTo>
                <a:moveTo>
                  <a:pt x="1473" y="0"/>
                </a:moveTo>
                <a:cubicBezTo>
                  <a:pt x="659" y="0"/>
                  <a:pt x="0" y="807"/>
                  <a:pt x="0" y="1800"/>
                </a:cubicBezTo>
                <a:cubicBezTo>
                  <a:pt x="0" y="2794"/>
                  <a:pt x="659" y="3600"/>
                  <a:pt x="1473" y="3600"/>
                </a:cubicBezTo>
                <a:cubicBezTo>
                  <a:pt x="2286" y="3600"/>
                  <a:pt x="2945" y="2794"/>
                  <a:pt x="2945" y="1800"/>
                </a:cubicBezTo>
                <a:cubicBezTo>
                  <a:pt x="2945" y="807"/>
                  <a:pt x="2286" y="0"/>
                  <a:pt x="1473" y="0"/>
                </a:cubicBezTo>
                <a:moveTo>
                  <a:pt x="21109" y="19200"/>
                </a:moveTo>
                <a:lnTo>
                  <a:pt x="5400" y="19200"/>
                </a:lnTo>
                <a:cubicBezTo>
                  <a:pt x="5129" y="19200"/>
                  <a:pt x="4909" y="19469"/>
                  <a:pt x="4909" y="19800"/>
                </a:cubicBezTo>
                <a:cubicBezTo>
                  <a:pt x="4909" y="20132"/>
                  <a:pt x="5129" y="20400"/>
                  <a:pt x="5400" y="20400"/>
                </a:cubicBezTo>
                <a:lnTo>
                  <a:pt x="21109" y="20400"/>
                </a:lnTo>
                <a:cubicBezTo>
                  <a:pt x="21380" y="20400"/>
                  <a:pt x="21600" y="20132"/>
                  <a:pt x="21600" y="19800"/>
                </a:cubicBezTo>
                <a:cubicBezTo>
                  <a:pt x="21600" y="19469"/>
                  <a:pt x="21380" y="19200"/>
                  <a:pt x="21109" y="19200"/>
                </a:cubicBezTo>
                <a:moveTo>
                  <a:pt x="5400" y="2400"/>
                </a:moveTo>
                <a:lnTo>
                  <a:pt x="21109" y="2400"/>
                </a:lnTo>
                <a:cubicBezTo>
                  <a:pt x="21380" y="2400"/>
                  <a:pt x="21600" y="2132"/>
                  <a:pt x="21600" y="1800"/>
                </a:cubicBezTo>
                <a:cubicBezTo>
                  <a:pt x="21600" y="1469"/>
                  <a:pt x="21380" y="1200"/>
                  <a:pt x="21109" y="1200"/>
                </a:cubicBezTo>
                <a:lnTo>
                  <a:pt x="5400" y="1200"/>
                </a:lnTo>
                <a:cubicBezTo>
                  <a:pt x="5129" y="1200"/>
                  <a:pt x="4909" y="1469"/>
                  <a:pt x="4909" y="1800"/>
                </a:cubicBezTo>
                <a:cubicBezTo>
                  <a:pt x="4909" y="2132"/>
                  <a:pt x="5129" y="2400"/>
                  <a:pt x="5400" y="2400"/>
                </a:cubicBezTo>
                <a:moveTo>
                  <a:pt x="1473" y="18000"/>
                </a:moveTo>
                <a:cubicBezTo>
                  <a:pt x="659" y="18000"/>
                  <a:pt x="0" y="18806"/>
                  <a:pt x="0" y="19800"/>
                </a:cubicBezTo>
                <a:cubicBezTo>
                  <a:pt x="0" y="20794"/>
                  <a:pt x="659" y="21600"/>
                  <a:pt x="1473" y="21600"/>
                </a:cubicBezTo>
                <a:cubicBezTo>
                  <a:pt x="2286" y="21600"/>
                  <a:pt x="2945" y="20794"/>
                  <a:pt x="2945" y="19800"/>
                </a:cubicBezTo>
                <a:cubicBezTo>
                  <a:pt x="2945" y="18806"/>
                  <a:pt x="2286" y="18000"/>
                  <a:pt x="1473" y="18000"/>
                </a:cubicBezTo>
                <a:moveTo>
                  <a:pt x="1473" y="6000"/>
                </a:moveTo>
                <a:cubicBezTo>
                  <a:pt x="659" y="6000"/>
                  <a:pt x="0" y="6807"/>
                  <a:pt x="0" y="7800"/>
                </a:cubicBezTo>
                <a:cubicBezTo>
                  <a:pt x="0" y="8794"/>
                  <a:pt x="659" y="9600"/>
                  <a:pt x="1473" y="9600"/>
                </a:cubicBezTo>
                <a:cubicBezTo>
                  <a:pt x="2286" y="9600"/>
                  <a:pt x="2945" y="8794"/>
                  <a:pt x="2945" y="7800"/>
                </a:cubicBezTo>
                <a:cubicBezTo>
                  <a:pt x="2945" y="6807"/>
                  <a:pt x="2286" y="6000"/>
                  <a:pt x="1473" y="6000"/>
                </a:cubicBezTo>
                <a:moveTo>
                  <a:pt x="1473" y="12000"/>
                </a:moveTo>
                <a:cubicBezTo>
                  <a:pt x="659" y="12000"/>
                  <a:pt x="0" y="12807"/>
                  <a:pt x="0" y="13800"/>
                </a:cubicBezTo>
                <a:cubicBezTo>
                  <a:pt x="0" y="14794"/>
                  <a:pt x="659" y="15600"/>
                  <a:pt x="1473" y="15600"/>
                </a:cubicBezTo>
                <a:cubicBezTo>
                  <a:pt x="2286" y="15600"/>
                  <a:pt x="2945" y="14794"/>
                  <a:pt x="2945" y="13800"/>
                </a:cubicBezTo>
                <a:cubicBezTo>
                  <a:pt x="2945" y="12807"/>
                  <a:pt x="2286" y="12000"/>
                  <a:pt x="1473"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0" name="Shape 2610"/>
          <p:cNvSpPr/>
          <p:nvPr/>
        </p:nvSpPr>
        <p:spPr>
          <a:xfrm>
            <a:off x="6688399" y="2651029"/>
            <a:ext cx="209495" cy="171401"/>
          </a:xfrm>
          <a:custGeom>
            <a:avLst/>
            <a:gdLst/>
            <a:ahLst/>
            <a:cxnLst>
              <a:cxn ang="0">
                <a:pos x="wd2" y="hd2"/>
              </a:cxn>
              <a:cxn ang="5400000">
                <a:pos x="wd2" y="hd2"/>
              </a:cxn>
              <a:cxn ang="10800000">
                <a:pos x="wd2" y="hd2"/>
              </a:cxn>
              <a:cxn ang="16200000">
                <a:pos x="wd2" y="hd2"/>
              </a:cxn>
            </a:cxnLst>
            <a:rect l="0" t="0" r="r" b="b"/>
            <a:pathLst>
              <a:path w="21600" h="21600" extrusionOk="0">
                <a:moveTo>
                  <a:pt x="20618" y="6000"/>
                </a:moveTo>
                <a:lnTo>
                  <a:pt x="982" y="6000"/>
                </a:lnTo>
                <a:lnTo>
                  <a:pt x="982" y="2399"/>
                </a:lnTo>
                <a:cubicBezTo>
                  <a:pt x="982" y="1737"/>
                  <a:pt x="1422" y="1200"/>
                  <a:pt x="1964" y="1200"/>
                </a:cubicBezTo>
                <a:lnTo>
                  <a:pt x="6873" y="1200"/>
                </a:lnTo>
                <a:cubicBezTo>
                  <a:pt x="8345" y="1200"/>
                  <a:pt x="8345" y="3600"/>
                  <a:pt x="10800" y="3600"/>
                </a:cubicBezTo>
                <a:lnTo>
                  <a:pt x="19636" y="3600"/>
                </a:lnTo>
                <a:cubicBezTo>
                  <a:pt x="20178" y="3600"/>
                  <a:pt x="20618" y="4137"/>
                  <a:pt x="20618" y="4800"/>
                </a:cubicBezTo>
                <a:cubicBezTo>
                  <a:pt x="20618" y="4800"/>
                  <a:pt x="20618" y="6000"/>
                  <a:pt x="20618" y="6000"/>
                </a:cubicBezTo>
                <a:close/>
                <a:moveTo>
                  <a:pt x="20618" y="19200"/>
                </a:moveTo>
                <a:cubicBezTo>
                  <a:pt x="20618" y="19863"/>
                  <a:pt x="20178" y="20400"/>
                  <a:pt x="19636" y="20400"/>
                </a:cubicBezTo>
                <a:lnTo>
                  <a:pt x="1964" y="20400"/>
                </a:lnTo>
                <a:cubicBezTo>
                  <a:pt x="1422" y="20400"/>
                  <a:pt x="982" y="19863"/>
                  <a:pt x="982" y="19200"/>
                </a:cubicBezTo>
                <a:lnTo>
                  <a:pt x="982" y="7200"/>
                </a:lnTo>
                <a:lnTo>
                  <a:pt x="20618" y="7200"/>
                </a:lnTo>
                <a:cubicBezTo>
                  <a:pt x="20618" y="7200"/>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800"/>
                </a:lnTo>
                <a:cubicBezTo>
                  <a:pt x="21600" y="3474"/>
                  <a:pt x="20721" y="2399"/>
                  <a:pt x="19636" y="239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1" name="Shape 2611"/>
          <p:cNvSpPr/>
          <p:nvPr/>
        </p:nvSpPr>
        <p:spPr>
          <a:xfrm>
            <a:off x="7088345" y="264150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2" name="Shape 2612"/>
          <p:cNvSpPr/>
          <p:nvPr/>
        </p:nvSpPr>
        <p:spPr>
          <a:xfrm>
            <a:off x="7488291" y="2651028"/>
            <a:ext cx="209495" cy="171399"/>
          </a:xfrm>
          <a:custGeom>
            <a:avLst/>
            <a:gdLst/>
            <a:ahLst/>
            <a:cxnLst>
              <a:cxn ang="0">
                <a:pos x="wd2" y="hd2"/>
              </a:cxn>
              <a:cxn ang="5400000">
                <a:pos x="wd2" y="hd2"/>
              </a:cxn>
              <a:cxn ang="10800000">
                <a:pos x="wd2" y="hd2"/>
              </a:cxn>
              <a:cxn ang="16200000">
                <a:pos x="wd2" y="hd2"/>
              </a:cxn>
            </a:cxnLst>
            <a:rect l="0" t="0" r="r" b="b"/>
            <a:pathLst>
              <a:path w="21600" h="21600" extrusionOk="0">
                <a:moveTo>
                  <a:pt x="10800" y="13200"/>
                </a:moveTo>
                <a:cubicBezTo>
                  <a:pt x="11071" y="13200"/>
                  <a:pt x="11291" y="13469"/>
                  <a:pt x="11291" y="13800"/>
                </a:cubicBezTo>
                <a:cubicBezTo>
                  <a:pt x="11291" y="14132"/>
                  <a:pt x="11071" y="14400"/>
                  <a:pt x="10800" y="14400"/>
                </a:cubicBezTo>
                <a:cubicBezTo>
                  <a:pt x="10529" y="14400"/>
                  <a:pt x="10309" y="14132"/>
                  <a:pt x="10309" y="13800"/>
                </a:cubicBezTo>
                <a:cubicBezTo>
                  <a:pt x="10309" y="13469"/>
                  <a:pt x="10529" y="13200"/>
                  <a:pt x="10800" y="13200"/>
                </a:cubicBezTo>
                <a:moveTo>
                  <a:pt x="10800" y="15600"/>
                </a:moveTo>
                <a:cubicBezTo>
                  <a:pt x="11613" y="15600"/>
                  <a:pt x="12273" y="14794"/>
                  <a:pt x="12273" y="13800"/>
                </a:cubicBezTo>
                <a:cubicBezTo>
                  <a:pt x="12273" y="12806"/>
                  <a:pt x="11613" y="12000"/>
                  <a:pt x="10800" y="12000"/>
                </a:cubicBezTo>
                <a:cubicBezTo>
                  <a:pt x="9987" y="12000"/>
                  <a:pt x="9327" y="12806"/>
                  <a:pt x="9327" y="13800"/>
                </a:cubicBezTo>
                <a:cubicBezTo>
                  <a:pt x="9327" y="14794"/>
                  <a:pt x="9987" y="15600"/>
                  <a:pt x="10800" y="15600"/>
                </a:cubicBezTo>
                <a:moveTo>
                  <a:pt x="5400" y="13200"/>
                </a:moveTo>
                <a:cubicBezTo>
                  <a:pt x="5671" y="13200"/>
                  <a:pt x="5891" y="13469"/>
                  <a:pt x="5891" y="13800"/>
                </a:cubicBezTo>
                <a:cubicBezTo>
                  <a:pt x="5891" y="14132"/>
                  <a:pt x="5671" y="14400"/>
                  <a:pt x="5400" y="14400"/>
                </a:cubicBezTo>
                <a:cubicBezTo>
                  <a:pt x="5129" y="14400"/>
                  <a:pt x="4909" y="14132"/>
                  <a:pt x="4909" y="13800"/>
                </a:cubicBezTo>
                <a:cubicBezTo>
                  <a:pt x="4909" y="13469"/>
                  <a:pt x="5129" y="13200"/>
                  <a:pt x="5400" y="13200"/>
                </a:cubicBezTo>
                <a:moveTo>
                  <a:pt x="5400" y="15600"/>
                </a:moveTo>
                <a:cubicBezTo>
                  <a:pt x="6213" y="15600"/>
                  <a:pt x="6873" y="14794"/>
                  <a:pt x="6873" y="13800"/>
                </a:cubicBezTo>
                <a:cubicBezTo>
                  <a:pt x="6873" y="12806"/>
                  <a:pt x="6213" y="12000"/>
                  <a:pt x="5400" y="12000"/>
                </a:cubicBezTo>
                <a:cubicBezTo>
                  <a:pt x="4587" y="12000"/>
                  <a:pt x="3927" y="12806"/>
                  <a:pt x="3927" y="13800"/>
                </a:cubicBezTo>
                <a:cubicBezTo>
                  <a:pt x="3927" y="14794"/>
                  <a:pt x="4587" y="15600"/>
                  <a:pt x="5400" y="15600"/>
                </a:cubicBezTo>
                <a:moveTo>
                  <a:pt x="20618" y="6000"/>
                </a:moveTo>
                <a:lnTo>
                  <a:pt x="982" y="6000"/>
                </a:lnTo>
                <a:lnTo>
                  <a:pt x="982" y="2399"/>
                </a:lnTo>
                <a:cubicBezTo>
                  <a:pt x="982" y="1737"/>
                  <a:pt x="1421" y="1200"/>
                  <a:pt x="1964" y="1200"/>
                </a:cubicBezTo>
                <a:lnTo>
                  <a:pt x="6873" y="1200"/>
                </a:lnTo>
                <a:cubicBezTo>
                  <a:pt x="8345" y="1200"/>
                  <a:pt x="8345" y="3600"/>
                  <a:pt x="10800" y="3600"/>
                </a:cubicBezTo>
                <a:lnTo>
                  <a:pt x="19636" y="3600"/>
                </a:lnTo>
                <a:cubicBezTo>
                  <a:pt x="20178" y="3600"/>
                  <a:pt x="20618" y="4137"/>
                  <a:pt x="20618" y="4799"/>
                </a:cubicBezTo>
                <a:cubicBezTo>
                  <a:pt x="20618" y="4799"/>
                  <a:pt x="20618" y="6000"/>
                  <a:pt x="20618" y="6000"/>
                </a:cubicBezTo>
                <a:close/>
                <a:moveTo>
                  <a:pt x="20618" y="19200"/>
                </a:moveTo>
                <a:cubicBezTo>
                  <a:pt x="20618" y="19862"/>
                  <a:pt x="20178" y="20400"/>
                  <a:pt x="19636" y="20400"/>
                </a:cubicBezTo>
                <a:lnTo>
                  <a:pt x="1964" y="20400"/>
                </a:lnTo>
                <a:cubicBezTo>
                  <a:pt x="1421" y="20400"/>
                  <a:pt x="982" y="19862"/>
                  <a:pt x="982" y="19200"/>
                </a:cubicBezTo>
                <a:lnTo>
                  <a:pt x="982" y="7199"/>
                </a:lnTo>
                <a:lnTo>
                  <a:pt x="20618" y="7199"/>
                </a:lnTo>
                <a:cubicBezTo>
                  <a:pt x="20618" y="7199"/>
                  <a:pt x="20618" y="19200"/>
                  <a:pt x="20618" y="19200"/>
                </a:cubicBezTo>
                <a:close/>
                <a:moveTo>
                  <a:pt x="19636" y="2399"/>
                </a:moveTo>
                <a:lnTo>
                  <a:pt x="10800" y="2399"/>
                </a:lnTo>
                <a:cubicBezTo>
                  <a:pt x="8836" y="2399"/>
                  <a:pt x="8836" y="0"/>
                  <a:pt x="6873" y="0"/>
                </a:cubicBezTo>
                <a:lnTo>
                  <a:pt x="1964" y="0"/>
                </a:lnTo>
                <a:cubicBezTo>
                  <a:pt x="879" y="0"/>
                  <a:pt x="0" y="1074"/>
                  <a:pt x="0" y="2399"/>
                </a:cubicBezTo>
                <a:lnTo>
                  <a:pt x="0" y="19200"/>
                </a:lnTo>
                <a:cubicBezTo>
                  <a:pt x="0" y="20526"/>
                  <a:pt x="879" y="21600"/>
                  <a:pt x="1964" y="21600"/>
                </a:cubicBezTo>
                <a:lnTo>
                  <a:pt x="19636" y="21600"/>
                </a:lnTo>
                <a:cubicBezTo>
                  <a:pt x="20721" y="21600"/>
                  <a:pt x="21600" y="20526"/>
                  <a:pt x="21600" y="19200"/>
                </a:cubicBezTo>
                <a:lnTo>
                  <a:pt x="21600" y="4799"/>
                </a:lnTo>
                <a:cubicBezTo>
                  <a:pt x="21600" y="3474"/>
                  <a:pt x="20721" y="2399"/>
                  <a:pt x="19636" y="2399"/>
                </a:cubicBezTo>
                <a:moveTo>
                  <a:pt x="16200" y="13200"/>
                </a:moveTo>
                <a:cubicBezTo>
                  <a:pt x="16471" y="13200"/>
                  <a:pt x="16691" y="13469"/>
                  <a:pt x="16691" y="13800"/>
                </a:cubicBezTo>
                <a:cubicBezTo>
                  <a:pt x="16691" y="14132"/>
                  <a:pt x="16471" y="14400"/>
                  <a:pt x="16200" y="14400"/>
                </a:cubicBezTo>
                <a:cubicBezTo>
                  <a:pt x="15929" y="14400"/>
                  <a:pt x="15709" y="14132"/>
                  <a:pt x="15709" y="13800"/>
                </a:cubicBezTo>
                <a:cubicBezTo>
                  <a:pt x="15709" y="13469"/>
                  <a:pt x="15929" y="13200"/>
                  <a:pt x="16200" y="13200"/>
                </a:cubicBezTo>
                <a:moveTo>
                  <a:pt x="16200" y="15600"/>
                </a:moveTo>
                <a:cubicBezTo>
                  <a:pt x="17013" y="15600"/>
                  <a:pt x="17673" y="14794"/>
                  <a:pt x="17673" y="13800"/>
                </a:cubicBezTo>
                <a:cubicBezTo>
                  <a:pt x="17673" y="12806"/>
                  <a:pt x="17013" y="12000"/>
                  <a:pt x="16200" y="12000"/>
                </a:cubicBezTo>
                <a:cubicBezTo>
                  <a:pt x="15387" y="12000"/>
                  <a:pt x="14727" y="12806"/>
                  <a:pt x="14727" y="13800"/>
                </a:cubicBezTo>
                <a:cubicBezTo>
                  <a:pt x="14727" y="14794"/>
                  <a:pt x="15387" y="15600"/>
                  <a:pt x="16200" y="15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3" name="Shape 2613"/>
          <p:cNvSpPr/>
          <p:nvPr/>
        </p:nvSpPr>
        <p:spPr>
          <a:xfrm>
            <a:off x="7888237"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636" y="1964"/>
                </a:moveTo>
                <a:lnTo>
                  <a:pt x="10800" y="1964"/>
                </a:lnTo>
                <a:cubicBezTo>
                  <a:pt x="8836" y="1964"/>
                  <a:pt x="8836" y="0"/>
                  <a:pt x="6873" y="0"/>
                </a:cubicBezTo>
                <a:lnTo>
                  <a:pt x="1964" y="0"/>
                </a:lnTo>
                <a:cubicBezTo>
                  <a:pt x="879" y="0"/>
                  <a:pt x="0" y="879"/>
                  <a:pt x="0" y="1964"/>
                </a:cubicBezTo>
                <a:lnTo>
                  <a:pt x="0" y="15709"/>
                </a:lnTo>
                <a:cubicBezTo>
                  <a:pt x="0" y="16794"/>
                  <a:pt x="879" y="17673"/>
                  <a:pt x="1964" y="17673"/>
                </a:cubicBezTo>
                <a:lnTo>
                  <a:pt x="6599" y="17673"/>
                </a:lnTo>
                <a:cubicBezTo>
                  <a:pt x="6257" y="17372"/>
                  <a:pt x="5941" y="17046"/>
                  <a:pt x="5656" y="16691"/>
                </a:cubicBezTo>
                <a:lnTo>
                  <a:pt x="1964" y="16691"/>
                </a:lnTo>
                <a:cubicBezTo>
                  <a:pt x="1422" y="16691"/>
                  <a:pt x="982" y="16252"/>
                  <a:pt x="982" y="15709"/>
                </a:cubicBezTo>
                <a:lnTo>
                  <a:pt x="982" y="5891"/>
                </a:lnTo>
                <a:lnTo>
                  <a:pt x="6599" y="5891"/>
                </a:lnTo>
                <a:cubicBezTo>
                  <a:pt x="7023" y="5517"/>
                  <a:pt x="7484" y="5185"/>
                  <a:pt x="7982" y="4909"/>
                </a:cubicBezTo>
                <a:lnTo>
                  <a:pt x="982" y="4909"/>
                </a:lnTo>
                <a:lnTo>
                  <a:pt x="982" y="1964"/>
                </a:lnTo>
                <a:cubicBezTo>
                  <a:pt x="982" y="1422"/>
                  <a:pt x="1422" y="982"/>
                  <a:pt x="1964" y="982"/>
                </a:cubicBezTo>
                <a:lnTo>
                  <a:pt x="6873" y="982"/>
                </a:lnTo>
                <a:cubicBezTo>
                  <a:pt x="8345" y="982"/>
                  <a:pt x="8345" y="2946"/>
                  <a:pt x="10800" y="2946"/>
                </a:cubicBezTo>
                <a:lnTo>
                  <a:pt x="19636" y="2946"/>
                </a:lnTo>
                <a:cubicBezTo>
                  <a:pt x="20178" y="2946"/>
                  <a:pt x="20618" y="3385"/>
                  <a:pt x="20618" y="3927"/>
                </a:cubicBezTo>
                <a:lnTo>
                  <a:pt x="20618" y="4909"/>
                </a:lnTo>
                <a:lnTo>
                  <a:pt x="15582" y="4909"/>
                </a:lnTo>
                <a:cubicBezTo>
                  <a:pt x="16080" y="5185"/>
                  <a:pt x="16541" y="5517"/>
                  <a:pt x="16965" y="5891"/>
                </a:cubicBezTo>
                <a:lnTo>
                  <a:pt x="20618" y="5891"/>
                </a:lnTo>
                <a:lnTo>
                  <a:pt x="20618" y="15709"/>
                </a:lnTo>
                <a:cubicBezTo>
                  <a:pt x="20618" y="16252"/>
                  <a:pt x="20178" y="16691"/>
                  <a:pt x="19636" y="16691"/>
                </a:cubicBezTo>
                <a:lnTo>
                  <a:pt x="18766" y="16691"/>
                </a:lnTo>
                <a:lnTo>
                  <a:pt x="19738" y="17663"/>
                </a:lnTo>
                <a:cubicBezTo>
                  <a:pt x="20774" y="17609"/>
                  <a:pt x="21600" y="16759"/>
                  <a:pt x="21600" y="15709"/>
                </a:cubicBezTo>
                <a:lnTo>
                  <a:pt x="21600" y="3927"/>
                </a:lnTo>
                <a:cubicBezTo>
                  <a:pt x="21600" y="2843"/>
                  <a:pt x="20721" y="1964"/>
                  <a:pt x="19636" y="1964"/>
                </a:cubicBezTo>
                <a:moveTo>
                  <a:pt x="11782" y="17673"/>
                </a:moveTo>
                <a:cubicBezTo>
                  <a:pt x="8529" y="17673"/>
                  <a:pt x="5891" y="15036"/>
                  <a:pt x="5891" y="11782"/>
                </a:cubicBezTo>
                <a:cubicBezTo>
                  <a:pt x="5891" y="8529"/>
                  <a:pt x="8529" y="5891"/>
                  <a:pt x="11782" y="5891"/>
                </a:cubicBezTo>
                <a:cubicBezTo>
                  <a:pt x="15035" y="5891"/>
                  <a:pt x="17673" y="8529"/>
                  <a:pt x="17673" y="11782"/>
                </a:cubicBezTo>
                <a:cubicBezTo>
                  <a:pt x="17673" y="15036"/>
                  <a:pt x="15035" y="17673"/>
                  <a:pt x="11782" y="17673"/>
                </a:cubicBezTo>
                <a:moveTo>
                  <a:pt x="16972" y="16278"/>
                </a:moveTo>
                <a:cubicBezTo>
                  <a:pt x="18018" y="15072"/>
                  <a:pt x="18655" y="13503"/>
                  <a:pt x="18655" y="11782"/>
                </a:cubicBezTo>
                <a:cubicBezTo>
                  <a:pt x="18655" y="7987"/>
                  <a:pt x="15578" y="4910"/>
                  <a:pt x="11782" y="4910"/>
                </a:cubicBezTo>
                <a:cubicBezTo>
                  <a:pt x="7986" y="4910"/>
                  <a:pt x="4909" y="7987"/>
                  <a:pt x="4909" y="11782"/>
                </a:cubicBezTo>
                <a:cubicBezTo>
                  <a:pt x="4909" y="15578"/>
                  <a:pt x="7986" y="18655"/>
                  <a:pt x="11782" y="18655"/>
                </a:cubicBezTo>
                <a:cubicBezTo>
                  <a:pt x="13503" y="18655"/>
                  <a:pt x="15072" y="18017"/>
                  <a:pt x="16278" y="16972"/>
                </a:cubicBezTo>
                <a:lnTo>
                  <a:pt x="16972" y="17666"/>
                </a:lnTo>
                <a:cubicBezTo>
                  <a:pt x="16969" y="17668"/>
                  <a:pt x="16967" y="17671"/>
                  <a:pt x="16965" y="17673"/>
                </a:cubicBezTo>
                <a:lnTo>
                  <a:pt x="16979" y="17673"/>
                </a:lnTo>
                <a:lnTo>
                  <a:pt x="20762" y="21457"/>
                </a:lnTo>
                <a:cubicBezTo>
                  <a:pt x="20851" y="21546"/>
                  <a:pt x="20974" y="21600"/>
                  <a:pt x="21109" y="21600"/>
                </a:cubicBezTo>
                <a:cubicBezTo>
                  <a:pt x="21380" y="21600"/>
                  <a:pt x="21600" y="21381"/>
                  <a:pt x="21600" y="21109"/>
                </a:cubicBezTo>
                <a:cubicBezTo>
                  <a:pt x="21600" y="20974"/>
                  <a:pt x="21545" y="20851"/>
                  <a:pt x="21456" y="20762"/>
                </a:cubicBezTo>
                <a:cubicBezTo>
                  <a:pt x="21456" y="20762"/>
                  <a:pt x="16972" y="16278"/>
                  <a:pt x="16972" y="1627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4" name="Shape 2614"/>
          <p:cNvSpPr/>
          <p:nvPr/>
        </p:nvSpPr>
        <p:spPr>
          <a:xfrm>
            <a:off x="8288182" y="263198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5" name="Shape 2615"/>
          <p:cNvSpPr/>
          <p:nvPr/>
        </p:nvSpPr>
        <p:spPr>
          <a:xfrm>
            <a:off x="468867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93" y="17878"/>
                </a:moveTo>
                <a:cubicBezTo>
                  <a:pt x="16514" y="16546"/>
                  <a:pt x="15177" y="15812"/>
                  <a:pt x="14084" y="15323"/>
                </a:cubicBezTo>
                <a:cubicBezTo>
                  <a:pt x="13842" y="15214"/>
                  <a:pt x="13687" y="15099"/>
                  <a:pt x="13598" y="14990"/>
                </a:cubicBezTo>
                <a:cubicBezTo>
                  <a:pt x="15238" y="14959"/>
                  <a:pt x="16521" y="14237"/>
                  <a:pt x="16581" y="14203"/>
                </a:cubicBezTo>
                <a:cubicBezTo>
                  <a:pt x="16751" y="14106"/>
                  <a:pt x="16846" y="13918"/>
                  <a:pt x="16826" y="13724"/>
                </a:cubicBezTo>
                <a:cubicBezTo>
                  <a:pt x="16807" y="13546"/>
                  <a:pt x="16693" y="13394"/>
                  <a:pt x="16530" y="13325"/>
                </a:cubicBezTo>
                <a:cubicBezTo>
                  <a:pt x="16461" y="13275"/>
                  <a:pt x="15663" y="12629"/>
                  <a:pt x="15663" y="9051"/>
                </a:cubicBezTo>
                <a:cubicBezTo>
                  <a:pt x="15663" y="5000"/>
                  <a:pt x="14115" y="2945"/>
                  <a:pt x="11061" y="2945"/>
                </a:cubicBezTo>
                <a:cubicBezTo>
                  <a:pt x="8481" y="2945"/>
                  <a:pt x="5845" y="3642"/>
                  <a:pt x="5845" y="8806"/>
                </a:cubicBezTo>
                <a:cubicBezTo>
                  <a:pt x="5845" y="12555"/>
                  <a:pt x="5219" y="13278"/>
                  <a:pt x="5122" y="13367"/>
                </a:cubicBezTo>
                <a:cubicBezTo>
                  <a:pt x="4957" y="13416"/>
                  <a:pt x="4826" y="13551"/>
                  <a:pt x="4784" y="13723"/>
                </a:cubicBezTo>
                <a:cubicBezTo>
                  <a:pt x="4734" y="13935"/>
                  <a:pt x="4828" y="14153"/>
                  <a:pt x="5015" y="14262"/>
                </a:cubicBezTo>
                <a:cubicBezTo>
                  <a:pt x="6396" y="15064"/>
                  <a:pt x="7482" y="15136"/>
                  <a:pt x="8065" y="15091"/>
                </a:cubicBezTo>
                <a:cubicBezTo>
                  <a:pt x="7994" y="15151"/>
                  <a:pt x="7850" y="15241"/>
                  <a:pt x="7564" y="15335"/>
                </a:cubicBezTo>
                <a:cubicBezTo>
                  <a:pt x="6211" y="15776"/>
                  <a:pt x="4766" y="16807"/>
                  <a:pt x="3958" y="17834"/>
                </a:cubicBezTo>
                <a:cubicBezTo>
                  <a:pt x="2125" y="16050"/>
                  <a:pt x="982" y="13560"/>
                  <a:pt x="982" y="10800"/>
                </a:cubicBezTo>
                <a:cubicBezTo>
                  <a:pt x="982" y="5377"/>
                  <a:pt x="5377" y="982"/>
                  <a:pt x="10800" y="982"/>
                </a:cubicBezTo>
                <a:cubicBezTo>
                  <a:pt x="16222" y="982"/>
                  <a:pt x="20618" y="5377"/>
                  <a:pt x="20618" y="10800"/>
                </a:cubicBezTo>
                <a:cubicBezTo>
                  <a:pt x="20618" y="13584"/>
                  <a:pt x="19454" y="16092"/>
                  <a:pt x="17593" y="17878"/>
                </a:cubicBezTo>
                <a:moveTo>
                  <a:pt x="10800" y="20618"/>
                </a:moveTo>
                <a:cubicBezTo>
                  <a:pt x="8489" y="20618"/>
                  <a:pt x="6370" y="19815"/>
                  <a:pt x="4693" y="18480"/>
                </a:cubicBezTo>
                <a:cubicBezTo>
                  <a:pt x="5360" y="17604"/>
                  <a:pt x="6693" y="16652"/>
                  <a:pt x="7869" y="16268"/>
                </a:cubicBezTo>
                <a:cubicBezTo>
                  <a:pt x="8578" y="16037"/>
                  <a:pt x="8988" y="15688"/>
                  <a:pt x="9087" y="15232"/>
                </a:cubicBezTo>
                <a:cubicBezTo>
                  <a:pt x="9214" y="14656"/>
                  <a:pt x="8775" y="14230"/>
                  <a:pt x="8725" y="14183"/>
                </a:cubicBezTo>
                <a:cubicBezTo>
                  <a:pt x="8597" y="14065"/>
                  <a:pt x="8412" y="14025"/>
                  <a:pt x="8246" y="14075"/>
                </a:cubicBezTo>
                <a:cubicBezTo>
                  <a:pt x="8208" y="14086"/>
                  <a:pt x="7406" y="14309"/>
                  <a:pt x="6089" y="13714"/>
                </a:cubicBezTo>
                <a:cubicBezTo>
                  <a:pt x="6486" y="13026"/>
                  <a:pt x="6826" y="11618"/>
                  <a:pt x="6826" y="8806"/>
                </a:cubicBezTo>
                <a:cubicBezTo>
                  <a:pt x="6826" y="4301"/>
                  <a:pt x="8829" y="3928"/>
                  <a:pt x="11061" y="3928"/>
                </a:cubicBezTo>
                <a:cubicBezTo>
                  <a:pt x="12615" y="3928"/>
                  <a:pt x="14681" y="4458"/>
                  <a:pt x="14681" y="9051"/>
                </a:cubicBezTo>
                <a:cubicBezTo>
                  <a:pt x="14681" y="11662"/>
                  <a:pt x="15092" y="12966"/>
                  <a:pt x="15499" y="13617"/>
                </a:cubicBezTo>
                <a:cubicBezTo>
                  <a:pt x="14943" y="13829"/>
                  <a:pt x="14058" y="14076"/>
                  <a:pt x="13097" y="13993"/>
                </a:cubicBezTo>
                <a:cubicBezTo>
                  <a:pt x="12883" y="13971"/>
                  <a:pt x="12690" y="14092"/>
                  <a:pt x="12605" y="14285"/>
                </a:cubicBezTo>
                <a:cubicBezTo>
                  <a:pt x="12420" y="14704"/>
                  <a:pt x="12408" y="15649"/>
                  <a:pt x="13683" y="16219"/>
                </a:cubicBezTo>
                <a:cubicBezTo>
                  <a:pt x="14677" y="16664"/>
                  <a:pt x="15893" y="17331"/>
                  <a:pt x="16850" y="18522"/>
                </a:cubicBezTo>
                <a:cubicBezTo>
                  <a:pt x="15182" y="19831"/>
                  <a:pt x="13085"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6" name="Shape 2616"/>
          <p:cNvSpPr/>
          <p:nvPr/>
        </p:nvSpPr>
        <p:spPr>
          <a:xfrm>
            <a:off x="5088616" y="3041451"/>
            <a:ext cx="209495" cy="190498"/>
          </a:xfrm>
          <a:custGeom>
            <a:avLst/>
            <a:gdLst/>
            <a:ahLst/>
            <a:cxnLst>
              <a:cxn ang="0">
                <a:pos x="wd2" y="hd2"/>
              </a:cxn>
              <a:cxn ang="5400000">
                <a:pos x="wd2" y="hd2"/>
              </a:cxn>
              <a:cxn ang="10800000">
                <a:pos x="wd2" y="hd2"/>
              </a:cxn>
              <a:cxn ang="16200000">
                <a:pos x="wd2" y="hd2"/>
              </a:cxn>
            </a:cxnLst>
            <a:rect l="0" t="0" r="r" b="b"/>
            <a:pathLst>
              <a:path w="21600" h="21600" extrusionOk="0">
                <a:moveTo>
                  <a:pt x="1016" y="20520"/>
                </a:moveTo>
                <a:cubicBezTo>
                  <a:pt x="1258" y="18675"/>
                  <a:pt x="2752" y="17923"/>
                  <a:pt x="4191" y="17361"/>
                </a:cubicBezTo>
                <a:cubicBezTo>
                  <a:pt x="5156" y="17087"/>
                  <a:pt x="6884" y="15971"/>
                  <a:pt x="6884" y="13567"/>
                </a:cubicBezTo>
                <a:cubicBezTo>
                  <a:pt x="6884" y="11510"/>
                  <a:pt x="6113" y="10507"/>
                  <a:pt x="5698" y="9969"/>
                </a:cubicBezTo>
                <a:cubicBezTo>
                  <a:pt x="5646" y="9902"/>
                  <a:pt x="5599" y="9842"/>
                  <a:pt x="5562" y="9786"/>
                </a:cubicBezTo>
                <a:cubicBezTo>
                  <a:pt x="5550" y="9769"/>
                  <a:pt x="5538" y="9752"/>
                  <a:pt x="5526" y="9735"/>
                </a:cubicBezTo>
                <a:cubicBezTo>
                  <a:pt x="5491" y="9662"/>
                  <a:pt x="5297" y="9177"/>
                  <a:pt x="5553" y="8011"/>
                </a:cubicBezTo>
                <a:cubicBezTo>
                  <a:pt x="5604" y="7777"/>
                  <a:pt x="5583" y="7531"/>
                  <a:pt x="5493" y="7312"/>
                </a:cubicBezTo>
                <a:cubicBezTo>
                  <a:pt x="5249" y="6721"/>
                  <a:pt x="4603" y="5151"/>
                  <a:pt x="5035" y="3988"/>
                </a:cubicBezTo>
                <a:cubicBezTo>
                  <a:pt x="5619" y="2411"/>
                  <a:pt x="6140" y="2099"/>
                  <a:pt x="7085" y="1642"/>
                </a:cubicBezTo>
                <a:cubicBezTo>
                  <a:pt x="7132" y="1619"/>
                  <a:pt x="7177" y="1592"/>
                  <a:pt x="7220" y="1562"/>
                </a:cubicBezTo>
                <a:cubicBezTo>
                  <a:pt x="7458" y="1393"/>
                  <a:pt x="8233" y="1080"/>
                  <a:pt x="9029" y="1080"/>
                </a:cubicBezTo>
                <a:cubicBezTo>
                  <a:pt x="9467" y="1080"/>
                  <a:pt x="9840" y="1172"/>
                  <a:pt x="10137" y="1353"/>
                </a:cubicBezTo>
                <a:cubicBezTo>
                  <a:pt x="10491" y="1569"/>
                  <a:pt x="10825" y="1968"/>
                  <a:pt x="11308" y="3213"/>
                </a:cubicBezTo>
                <a:cubicBezTo>
                  <a:pt x="11991" y="4974"/>
                  <a:pt x="11820" y="6477"/>
                  <a:pt x="11347" y="7186"/>
                </a:cubicBezTo>
                <a:cubicBezTo>
                  <a:pt x="11175" y="7442"/>
                  <a:pt x="11116" y="7769"/>
                  <a:pt x="11184" y="8078"/>
                </a:cubicBezTo>
                <a:cubicBezTo>
                  <a:pt x="11422" y="9164"/>
                  <a:pt x="11247" y="9602"/>
                  <a:pt x="11210" y="9679"/>
                </a:cubicBezTo>
                <a:cubicBezTo>
                  <a:pt x="11181" y="9712"/>
                  <a:pt x="11153" y="9748"/>
                  <a:pt x="11129" y="9786"/>
                </a:cubicBezTo>
                <a:cubicBezTo>
                  <a:pt x="11091" y="9842"/>
                  <a:pt x="11044" y="9902"/>
                  <a:pt x="10992" y="9969"/>
                </a:cubicBezTo>
                <a:cubicBezTo>
                  <a:pt x="10578" y="10507"/>
                  <a:pt x="9806" y="11510"/>
                  <a:pt x="9806" y="13567"/>
                </a:cubicBezTo>
                <a:cubicBezTo>
                  <a:pt x="9806" y="15972"/>
                  <a:pt x="11535" y="17087"/>
                  <a:pt x="12500" y="17361"/>
                </a:cubicBezTo>
                <a:cubicBezTo>
                  <a:pt x="13925" y="17916"/>
                  <a:pt x="15432" y="18665"/>
                  <a:pt x="15675" y="20520"/>
                </a:cubicBezTo>
                <a:cubicBezTo>
                  <a:pt x="15675" y="20520"/>
                  <a:pt x="1016" y="20520"/>
                  <a:pt x="1016" y="20520"/>
                </a:cubicBezTo>
                <a:close/>
                <a:moveTo>
                  <a:pt x="12782" y="16326"/>
                </a:moveTo>
                <a:cubicBezTo>
                  <a:pt x="12782" y="16326"/>
                  <a:pt x="10788" y="15813"/>
                  <a:pt x="10788" y="13567"/>
                </a:cubicBezTo>
                <a:cubicBezTo>
                  <a:pt x="10788" y="11595"/>
                  <a:pt x="11607" y="10900"/>
                  <a:pt x="11923" y="10420"/>
                </a:cubicBezTo>
                <a:cubicBezTo>
                  <a:pt x="11923" y="10420"/>
                  <a:pt x="12573" y="9806"/>
                  <a:pt x="12138" y="7825"/>
                </a:cubicBezTo>
                <a:cubicBezTo>
                  <a:pt x="12863" y="6740"/>
                  <a:pt x="12999" y="4821"/>
                  <a:pt x="12211" y="2789"/>
                </a:cubicBezTo>
                <a:cubicBezTo>
                  <a:pt x="11716" y="1514"/>
                  <a:pt x="11279" y="815"/>
                  <a:pt x="10613" y="409"/>
                </a:cubicBezTo>
                <a:cubicBezTo>
                  <a:pt x="10124" y="111"/>
                  <a:pt x="9569" y="0"/>
                  <a:pt x="9029" y="0"/>
                </a:cubicBezTo>
                <a:cubicBezTo>
                  <a:pt x="8023" y="0"/>
                  <a:pt x="7070" y="384"/>
                  <a:pt x="6690" y="653"/>
                </a:cubicBezTo>
                <a:cubicBezTo>
                  <a:pt x="5576" y="1192"/>
                  <a:pt x="4828" y="1688"/>
                  <a:pt x="4126" y="3579"/>
                </a:cubicBezTo>
                <a:cubicBezTo>
                  <a:pt x="3556" y="5114"/>
                  <a:pt x="4241" y="6891"/>
                  <a:pt x="4598" y="7757"/>
                </a:cubicBezTo>
                <a:cubicBezTo>
                  <a:pt x="4163" y="9739"/>
                  <a:pt x="4767" y="10420"/>
                  <a:pt x="4767" y="10420"/>
                </a:cubicBezTo>
                <a:cubicBezTo>
                  <a:pt x="5083" y="10900"/>
                  <a:pt x="5903" y="11595"/>
                  <a:pt x="5903" y="13567"/>
                </a:cubicBezTo>
                <a:cubicBezTo>
                  <a:pt x="5903" y="15813"/>
                  <a:pt x="3909" y="16326"/>
                  <a:pt x="3909" y="16326"/>
                </a:cubicBezTo>
                <a:cubicBezTo>
                  <a:pt x="2642" y="16817"/>
                  <a:pt x="0" y="17821"/>
                  <a:pt x="0" y="21060"/>
                </a:cubicBezTo>
                <a:cubicBezTo>
                  <a:pt x="0" y="21060"/>
                  <a:pt x="0" y="21600"/>
                  <a:pt x="491" y="21600"/>
                </a:cubicBezTo>
                <a:lnTo>
                  <a:pt x="16200" y="21600"/>
                </a:lnTo>
                <a:cubicBezTo>
                  <a:pt x="16691" y="21600"/>
                  <a:pt x="16691" y="21060"/>
                  <a:pt x="16691" y="21060"/>
                </a:cubicBezTo>
                <a:cubicBezTo>
                  <a:pt x="16691" y="17821"/>
                  <a:pt x="14048" y="16817"/>
                  <a:pt x="12782" y="16326"/>
                </a:cubicBezTo>
                <a:moveTo>
                  <a:pt x="18035" y="15774"/>
                </a:moveTo>
                <a:cubicBezTo>
                  <a:pt x="18035" y="15774"/>
                  <a:pt x="16217" y="15312"/>
                  <a:pt x="16217" y="13291"/>
                </a:cubicBezTo>
                <a:cubicBezTo>
                  <a:pt x="16217" y="11515"/>
                  <a:pt x="17087" y="10890"/>
                  <a:pt x="17376" y="10458"/>
                </a:cubicBezTo>
                <a:cubicBezTo>
                  <a:pt x="17376" y="10458"/>
                  <a:pt x="17968" y="9906"/>
                  <a:pt x="17572" y="8122"/>
                </a:cubicBezTo>
                <a:cubicBezTo>
                  <a:pt x="18232" y="7146"/>
                  <a:pt x="18387" y="5419"/>
                  <a:pt x="17669" y="3590"/>
                </a:cubicBezTo>
                <a:cubicBezTo>
                  <a:pt x="17218" y="2442"/>
                  <a:pt x="16666" y="1814"/>
                  <a:pt x="16059" y="1449"/>
                </a:cubicBezTo>
                <a:cubicBezTo>
                  <a:pt x="15612" y="1180"/>
                  <a:pt x="15107" y="1081"/>
                  <a:pt x="14614" y="1081"/>
                </a:cubicBezTo>
                <a:cubicBezTo>
                  <a:pt x="13880" y="1081"/>
                  <a:pt x="13182" y="1301"/>
                  <a:pt x="12753" y="1514"/>
                </a:cubicBezTo>
                <a:cubicBezTo>
                  <a:pt x="12878" y="1781"/>
                  <a:pt x="12997" y="2064"/>
                  <a:pt x="13115" y="2366"/>
                </a:cubicBezTo>
                <a:cubicBezTo>
                  <a:pt x="13131" y="2409"/>
                  <a:pt x="13143" y="2453"/>
                  <a:pt x="13159" y="2496"/>
                </a:cubicBezTo>
                <a:cubicBezTo>
                  <a:pt x="13436" y="2360"/>
                  <a:pt x="13994" y="2160"/>
                  <a:pt x="14614" y="2160"/>
                </a:cubicBezTo>
                <a:cubicBezTo>
                  <a:pt x="15001" y="2160"/>
                  <a:pt x="15328" y="2239"/>
                  <a:pt x="15588" y="2396"/>
                </a:cubicBezTo>
                <a:cubicBezTo>
                  <a:pt x="15893" y="2579"/>
                  <a:pt x="16347" y="2947"/>
                  <a:pt x="16767" y="4019"/>
                </a:cubicBezTo>
                <a:cubicBezTo>
                  <a:pt x="17366" y="5541"/>
                  <a:pt x="17207" y="6853"/>
                  <a:pt x="16784" y="7478"/>
                </a:cubicBezTo>
                <a:cubicBezTo>
                  <a:pt x="16610" y="7736"/>
                  <a:pt x="16549" y="8067"/>
                  <a:pt x="16618" y="8379"/>
                </a:cubicBezTo>
                <a:cubicBezTo>
                  <a:pt x="16817" y="9273"/>
                  <a:pt x="16689" y="9648"/>
                  <a:pt x="16656" y="9723"/>
                </a:cubicBezTo>
                <a:cubicBezTo>
                  <a:pt x="16631" y="9754"/>
                  <a:pt x="16607" y="9786"/>
                  <a:pt x="16584" y="9820"/>
                </a:cubicBezTo>
                <a:cubicBezTo>
                  <a:pt x="16565" y="9848"/>
                  <a:pt x="16497" y="9929"/>
                  <a:pt x="16447" y="9988"/>
                </a:cubicBezTo>
                <a:cubicBezTo>
                  <a:pt x="16023" y="10488"/>
                  <a:pt x="15236" y="11419"/>
                  <a:pt x="15236" y="13291"/>
                </a:cubicBezTo>
                <a:cubicBezTo>
                  <a:pt x="15236" y="15520"/>
                  <a:pt x="16851" y="16555"/>
                  <a:pt x="17757" y="16810"/>
                </a:cubicBezTo>
                <a:cubicBezTo>
                  <a:pt x="19050" y="17307"/>
                  <a:pt x="20311" y="17926"/>
                  <a:pt x="20570" y="19440"/>
                </a:cubicBezTo>
                <a:lnTo>
                  <a:pt x="17464" y="19440"/>
                </a:lnTo>
                <a:cubicBezTo>
                  <a:pt x="17553" y="19773"/>
                  <a:pt x="17615" y="20132"/>
                  <a:pt x="17645" y="20520"/>
                </a:cubicBezTo>
                <a:lnTo>
                  <a:pt x="21152" y="20520"/>
                </a:lnTo>
                <a:cubicBezTo>
                  <a:pt x="21600" y="20520"/>
                  <a:pt x="21600" y="20034"/>
                  <a:pt x="21600" y="20034"/>
                </a:cubicBezTo>
                <a:cubicBezTo>
                  <a:pt x="21600" y="17119"/>
                  <a:pt x="19191" y="16215"/>
                  <a:pt x="18035" y="157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7" name="Shape 2617"/>
          <p:cNvSpPr/>
          <p:nvPr/>
        </p:nvSpPr>
        <p:spPr>
          <a:xfrm>
            <a:off x="5488562" y="3050974"/>
            <a:ext cx="209495" cy="171425"/>
          </a:xfrm>
          <a:custGeom>
            <a:avLst/>
            <a:gdLst/>
            <a:ahLst/>
            <a:cxnLst>
              <a:cxn ang="0">
                <a:pos x="wd2" y="hd2"/>
              </a:cxn>
              <a:cxn ang="5400000">
                <a:pos x="wd2" y="hd2"/>
              </a:cxn>
              <a:cxn ang="10800000">
                <a:pos x="wd2" y="hd2"/>
              </a:cxn>
              <a:cxn ang="16200000">
                <a:pos x="wd2" y="hd2"/>
              </a:cxn>
            </a:cxnLst>
            <a:rect l="0" t="0" r="r" b="b"/>
            <a:pathLst>
              <a:path w="21600" h="21600" extrusionOk="0">
                <a:moveTo>
                  <a:pt x="4457" y="20400"/>
                </a:moveTo>
                <a:cubicBezTo>
                  <a:pt x="4686" y="18711"/>
                  <a:pt x="5897" y="18036"/>
                  <a:pt x="7134" y="17493"/>
                </a:cubicBezTo>
                <a:lnTo>
                  <a:pt x="7173" y="17477"/>
                </a:lnTo>
                <a:cubicBezTo>
                  <a:pt x="8055" y="17190"/>
                  <a:pt x="9626" y="16039"/>
                  <a:pt x="9626" y="13569"/>
                </a:cubicBezTo>
                <a:cubicBezTo>
                  <a:pt x="9626" y="11474"/>
                  <a:pt x="8932" y="10452"/>
                  <a:pt x="8558" y="9902"/>
                </a:cubicBezTo>
                <a:cubicBezTo>
                  <a:pt x="8484" y="9791"/>
                  <a:pt x="8394" y="9649"/>
                  <a:pt x="8414" y="9680"/>
                </a:cubicBezTo>
                <a:cubicBezTo>
                  <a:pt x="8384" y="9599"/>
                  <a:pt x="8237" y="9129"/>
                  <a:pt x="8449" y="8035"/>
                </a:cubicBezTo>
                <a:cubicBezTo>
                  <a:pt x="8549" y="7522"/>
                  <a:pt x="8380" y="7241"/>
                  <a:pt x="8380" y="7241"/>
                </a:cubicBezTo>
                <a:cubicBezTo>
                  <a:pt x="8112" y="6505"/>
                  <a:pt x="7614" y="5133"/>
                  <a:pt x="7988" y="4025"/>
                </a:cubicBezTo>
                <a:cubicBezTo>
                  <a:pt x="8490" y="2492"/>
                  <a:pt x="8935" y="2190"/>
                  <a:pt x="9741" y="1747"/>
                </a:cubicBezTo>
                <a:cubicBezTo>
                  <a:pt x="9788" y="1721"/>
                  <a:pt x="9834" y="1691"/>
                  <a:pt x="9877" y="1657"/>
                </a:cubicBezTo>
                <a:cubicBezTo>
                  <a:pt x="10029" y="1535"/>
                  <a:pt x="10674" y="1200"/>
                  <a:pt x="11403" y="1200"/>
                </a:cubicBezTo>
                <a:cubicBezTo>
                  <a:pt x="11768" y="1200"/>
                  <a:pt x="12075" y="1285"/>
                  <a:pt x="12318" y="1454"/>
                </a:cubicBezTo>
                <a:cubicBezTo>
                  <a:pt x="12610" y="1655"/>
                  <a:pt x="12890" y="2039"/>
                  <a:pt x="13313" y="3271"/>
                </a:cubicBezTo>
                <a:cubicBezTo>
                  <a:pt x="14101" y="5469"/>
                  <a:pt x="13602" y="6698"/>
                  <a:pt x="13350" y="7124"/>
                </a:cubicBezTo>
                <a:cubicBezTo>
                  <a:pt x="13183" y="7407"/>
                  <a:pt x="13126" y="7764"/>
                  <a:pt x="13191" y="8102"/>
                </a:cubicBezTo>
                <a:cubicBezTo>
                  <a:pt x="13386" y="9109"/>
                  <a:pt x="13260" y="9534"/>
                  <a:pt x="13227" y="9619"/>
                </a:cubicBezTo>
                <a:cubicBezTo>
                  <a:pt x="13219" y="9631"/>
                  <a:pt x="13101" y="9814"/>
                  <a:pt x="13041" y="9902"/>
                </a:cubicBezTo>
                <a:cubicBezTo>
                  <a:pt x="12668" y="10452"/>
                  <a:pt x="11973" y="11474"/>
                  <a:pt x="11973" y="13569"/>
                </a:cubicBezTo>
                <a:cubicBezTo>
                  <a:pt x="11973" y="16039"/>
                  <a:pt x="13545" y="17190"/>
                  <a:pt x="14427" y="17477"/>
                </a:cubicBezTo>
                <a:lnTo>
                  <a:pt x="14466" y="17493"/>
                </a:lnTo>
                <a:cubicBezTo>
                  <a:pt x="15703" y="18036"/>
                  <a:pt x="16914" y="18711"/>
                  <a:pt x="17143" y="20400"/>
                </a:cubicBezTo>
                <a:cubicBezTo>
                  <a:pt x="17143" y="20400"/>
                  <a:pt x="4457" y="20400"/>
                  <a:pt x="4457" y="20400"/>
                </a:cubicBezTo>
                <a:close/>
                <a:moveTo>
                  <a:pt x="14715" y="16328"/>
                </a:moveTo>
                <a:cubicBezTo>
                  <a:pt x="14715" y="16328"/>
                  <a:pt x="12955" y="15815"/>
                  <a:pt x="12955" y="13569"/>
                </a:cubicBezTo>
                <a:cubicBezTo>
                  <a:pt x="12955" y="11596"/>
                  <a:pt x="13678" y="10901"/>
                  <a:pt x="13957" y="10421"/>
                </a:cubicBezTo>
                <a:cubicBezTo>
                  <a:pt x="13957" y="10421"/>
                  <a:pt x="14531" y="9807"/>
                  <a:pt x="14146" y="7826"/>
                </a:cubicBezTo>
                <a:cubicBezTo>
                  <a:pt x="14787" y="6740"/>
                  <a:pt x="14995" y="4972"/>
                  <a:pt x="14211" y="2789"/>
                </a:cubicBezTo>
                <a:cubicBezTo>
                  <a:pt x="13774" y="1514"/>
                  <a:pt x="13389" y="815"/>
                  <a:pt x="12801" y="409"/>
                </a:cubicBezTo>
                <a:cubicBezTo>
                  <a:pt x="12370" y="110"/>
                  <a:pt x="11880" y="0"/>
                  <a:pt x="11403" y="0"/>
                </a:cubicBezTo>
                <a:cubicBezTo>
                  <a:pt x="10516" y="0"/>
                  <a:pt x="9675" y="384"/>
                  <a:pt x="9339" y="653"/>
                </a:cubicBezTo>
                <a:cubicBezTo>
                  <a:pt x="8357" y="1192"/>
                  <a:pt x="7697" y="1688"/>
                  <a:pt x="7077" y="3579"/>
                </a:cubicBezTo>
                <a:cubicBezTo>
                  <a:pt x="6540" y="5168"/>
                  <a:pt x="7179" y="6892"/>
                  <a:pt x="7494" y="7758"/>
                </a:cubicBezTo>
                <a:cubicBezTo>
                  <a:pt x="7110" y="9740"/>
                  <a:pt x="7642" y="10421"/>
                  <a:pt x="7642" y="10421"/>
                </a:cubicBezTo>
                <a:cubicBezTo>
                  <a:pt x="7922" y="10901"/>
                  <a:pt x="8644" y="11596"/>
                  <a:pt x="8644" y="13569"/>
                </a:cubicBezTo>
                <a:cubicBezTo>
                  <a:pt x="8644" y="15815"/>
                  <a:pt x="6885" y="16328"/>
                  <a:pt x="6885" y="16328"/>
                </a:cubicBezTo>
                <a:cubicBezTo>
                  <a:pt x="5768" y="16819"/>
                  <a:pt x="3436" y="17760"/>
                  <a:pt x="3436" y="21000"/>
                </a:cubicBezTo>
                <a:cubicBezTo>
                  <a:pt x="3436" y="21000"/>
                  <a:pt x="3436" y="21600"/>
                  <a:pt x="3927" y="21600"/>
                </a:cubicBezTo>
                <a:lnTo>
                  <a:pt x="17673" y="21600"/>
                </a:lnTo>
                <a:cubicBezTo>
                  <a:pt x="18164" y="21600"/>
                  <a:pt x="18164" y="21000"/>
                  <a:pt x="18164" y="21000"/>
                </a:cubicBezTo>
                <a:cubicBezTo>
                  <a:pt x="18164" y="17760"/>
                  <a:pt x="15832" y="16819"/>
                  <a:pt x="14715" y="16328"/>
                </a:cubicBezTo>
                <a:moveTo>
                  <a:pt x="19516" y="15006"/>
                </a:moveTo>
                <a:cubicBezTo>
                  <a:pt x="19516" y="15006"/>
                  <a:pt x="18416" y="14701"/>
                  <a:pt x="18416" y="12954"/>
                </a:cubicBezTo>
                <a:cubicBezTo>
                  <a:pt x="18416" y="11419"/>
                  <a:pt x="18794" y="10879"/>
                  <a:pt x="19017" y="10506"/>
                </a:cubicBezTo>
                <a:cubicBezTo>
                  <a:pt x="19017" y="10506"/>
                  <a:pt x="19443" y="9975"/>
                  <a:pt x="19136" y="8435"/>
                </a:cubicBezTo>
                <a:cubicBezTo>
                  <a:pt x="19388" y="7760"/>
                  <a:pt x="19900" y="6419"/>
                  <a:pt x="19470" y="5184"/>
                </a:cubicBezTo>
                <a:cubicBezTo>
                  <a:pt x="18974" y="3714"/>
                  <a:pt x="18645" y="3327"/>
                  <a:pt x="17860" y="2908"/>
                </a:cubicBezTo>
                <a:cubicBezTo>
                  <a:pt x="17591" y="2699"/>
                  <a:pt x="16918" y="2400"/>
                  <a:pt x="16208" y="2400"/>
                </a:cubicBezTo>
                <a:cubicBezTo>
                  <a:pt x="15873" y="2400"/>
                  <a:pt x="15531" y="2473"/>
                  <a:pt x="15218" y="2647"/>
                </a:cubicBezTo>
                <a:cubicBezTo>
                  <a:pt x="15343" y="3035"/>
                  <a:pt x="15449" y="3420"/>
                  <a:pt x="15525" y="3799"/>
                </a:cubicBezTo>
                <a:cubicBezTo>
                  <a:pt x="15537" y="3790"/>
                  <a:pt x="15550" y="3779"/>
                  <a:pt x="15563" y="3770"/>
                </a:cubicBezTo>
                <a:cubicBezTo>
                  <a:pt x="15730" y="3657"/>
                  <a:pt x="15948" y="3600"/>
                  <a:pt x="16208" y="3600"/>
                </a:cubicBezTo>
                <a:cubicBezTo>
                  <a:pt x="16716" y="3600"/>
                  <a:pt x="17211" y="3825"/>
                  <a:pt x="17332" y="3919"/>
                </a:cubicBezTo>
                <a:cubicBezTo>
                  <a:pt x="17375" y="3953"/>
                  <a:pt x="17421" y="3983"/>
                  <a:pt x="17467" y="4008"/>
                </a:cubicBezTo>
                <a:cubicBezTo>
                  <a:pt x="17950" y="4265"/>
                  <a:pt x="18131" y="4362"/>
                  <a:pt x="18562" y="5641"/>
                </a:cubicBezTo>
                <a:cubicBezTo>
                  <a:pt x="18822" y="6387"/>
                  <a:pt x="18452" y="7378"/>
                  <a:pt x="18253" y="7911"/>
                </a:cubicBezTo>
                <a:cubicBezTo>
                  <a:pt x="18161" y="8156"/>
                  <a:pt x="18130" y="8457"/>
                  <a:pt x="18182" y="8718"/>
                </a:cubicBezTo>
                <a:cubicBezTo>
                  <a:pt x="18316" y="9392"/>
                  <a:pt x="18254" y="9706"/>
                  <a:pt x="18232" y="9784"/>
                </a:cubicBezTo>
                <a:cubicBezTo>
                  <a:pt x="18230" y="9788"/>
                  <a:pt x="18227" y="9793"/>
                  <a:pt x="18224" y="9798"/>
                </a:cubicBezTo>
                <a:lnTo>
                  <a:pt x="18191" y="9853"/>
                </a:lnTo>
                <a:cubicBezTo>
                  <a:pt x="17926" y="10290"/>
                  <a:pt x="17434" y="11106"/>
                  <a:pt x="17434" y="12954"/>
                </a:cubicBezTo>
                <a:cubicBezTo>
                  <a:pt x="17434" y="15019"/>
                  <a:pt x="18570" y="15933"/>
                  <a:pt x="19229" y="16155"/>
                </a:cubicBezTo>
                <a:cubicBezTo>
                  <a:pt x="19856" y="16429"/>
                  <a:pt x="20435" y="16859"/>
                  <a:pt x="20582" y="17999"/>
                </a:cubicBezTo>
                <a:lnTo>
                  <a:pt x="18459" y="18000"/>
                </a:lnTo>
                <a:cubicBezTo>
                  <a:pt x="18647" y="18353"/>
                  <a:pt x="18802" y="18755"/>
                  <a:pt x="18920" y="19200"/>
                </a:cubicBezTo>
                <a:lnTo>
                  <a:pt x="21109" y="19199"/>
                </a:lnTo>
                <a:cubicBezTo>
                  <a:pt x="21600" y="19199"/>
                  <a:pt x="21600" y="18599"/>
                  <a:pt x="21600" y="18599"/>
                </a:cubicBezTo>
                <a:cubicBezTo>
                  <a:pt x="21600" y="16199"/>
                  <a:pt x="20410" y="15388"/>
                  <a:pt x="19516" y="15006"/>
                </a:cubicBezTo>
                <a:moveTo>
                  <a:pt x="2371" y="16155"/>
                </a:moveTo>
                <a:cubicBezTo>
                  <a:pt x="3030" y="15933"/>
                  <a:pt x="4166" y="15019"/>
                  <a:pt x="4166" y="12954"/>
                </a:cubicBezTo>
                <a:cubicBezTo>
                  <a:pt x="4166" y="11106"/>
                  <a:pt x="3673" y="10290"/>
                  <a:pt x="3409" y="9853"/>
                </a:cubicBezTo>
                <a:lnTo>
                  <a:pt x="3376" y="9798"/>
                </a:lnTo>
                <a:cubicBezTo>
                  <a:pt x="3373" y="9793"/>
                  <a:pt x="3370" y="9788"/>
                  <a:pt x="3367" y="9784"/>
                </a:cubicBezTo>
                <a:cubicBezTo>
                  <a:pt x="3346" y="9706"/>
                  <a:pt x="3283" y="9392"/>
                  <a:pt x="3418" y="8718"/>
                </a:cubicBezTo>
                <a:cubicBezTo>
                  <a:pt x="3470" y="8457"/>
                  <a:pt x="3439" y="8156"/>
                  <a:pt x="3347" y="7911"/>
                </a:cubicBezTo>
                <a:cubicBezTo>
                  <a:pt x="3148" y="7378"/>
                  <a:pt x="2778" y="6387"/>
                  <a:pt x="3038" y="5641"/>
                </a:cubicBezTo>
                <a:cubicBezTo>
                  <a:pt x="3469" y="4362"/>
                  <a:pt x="3649" y="4265"/>
                  <a:pt x="4133" y="4008"/>
                </a:cubicBezTo>
                <a:cubicBezTo>
                  <a:pt x="4180" y="3983"/>
                  <a:pt x="4225" y="3953"/>
                  <a:pt x="4268" y="3919"/>
                </a:cubicBezTo>
                <a:cubicBezTo>
                  <a:pt x="4389" y="3825"/>
                  <a:pt x="4884" y="3600"/>
                  <a:pt x="5392" y="3600"/>
                </a:cubicBezTo>
                <a:cubicBezTo>
                  <a:pt x="5636" y="3600"/>
                  <a:pt x="5839" y="3655"/>
                  <a:pt x="6002" y="3755"/>
                </a:cubicBezTo>
                <a:cubicBezTo>
                  <a:pt x="6045" y="3548"/>
                  <a:pt x="6096" y="3341"/>
                  <a:pt x="6165" y="3134"/>
                </a:cubicBezTo>
                <a:cubicBezTo>
                  <a:pt x="6225" y="2950"/>
                  <a:pt x="6289" y="2793"/>
                  <a:pt x="6351" y="2630"/>
                </a:cubicBezTo>
                <a:cubicBezTo>
                  <a:pt x="6046" y="2468"/>
                  <a:pt x="5716" y="2400"/>
                  <a:pt x="5392" y="2400"/>
                </a:cubicBezTo>
                <a:cubicBezTo>
                  <a:pt x="4682" y="2400"/>
                  <a:pt x="4009" y="2699"/>
                  <a:pt x="3740" y="2908"/>
                </a:cubicBezTo>
                <a:cubicBezTo>
                  <a:pt x="2955" y="3327"/>
                  <a:pt x="2625" y="3714"/>
                  <a:pt x="2130" y="5184"/>
                </a:cubicBezTo>
                <a:cubicBezTo>
                  <a:pt x="1700" y="6419"/>
                  <a:pt x="2212" y="7760"/>
                  <a:pt x="2464" y="8435"/>
                </a:cubicBezTo>
                <a:cubicBezTo>
                  <a:pt x="2156" y="9975"/>
                  <a:pt x="2583" y="10506"/>
                  <a:pt x="2583" y="10506"/>
                </a:cubicBezTo>
                <a:cubicBezTo>
                  <a:pt x="2806" y="10879"/>
                  <a:pt x="3185" y="11419"/>
                  <a:pt x="3185" y="12954"/>
                </a:cubicBezTo>
                <a:cubicBezTo>
                  <a:pt x="3185" y="14701"/>
                  <a:pt x="2084" y="15006"/>
                  <a:pt x="2084" y="15006"/>
                </a:cubicBezTo>
                <a:cubicBezTo>
                  <a:pt x="1191" y="15388"/>
                  <a:pt x="0" y="16199"/>
                  <a:pt x="0" y="18599"/>
                </a:cubicBezTo>
                <a:cubicBezTo>
                  <a:pt x="0" y="18599"/>
                  <a:pt x="0" y="19199"/>
                  <a:pt x="491" y="19199"/>
                </a:cubicBezTo>
                <a:lnTo>
                  <a:pt x="2680" y="19200"/>
                </a:lnTo>
                <a:cubicBezTo>
                  <a:pt x="2798" y="18755"/>
                  <a:pt x="2952" y="18353"/>
                  <a:pt x="3141" y="18000"/>
                </a:cubicBezTo>
                <a:lnTo>
                  <a:pt x="1018" y="17999"/>
                </a:lnTo>
                <a:cubicBezTo>
                  <a:pt x="1165" y="16859"/>
                  <a:pt x="1744" y="16429"/>
                  <a:pt x="2371" y="161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8" name="Shape 2618"/>
          <p:cNvSpPr/>
          <p:nvPr/>
        </p:nvSpPr>
        <p:spPr>
          <a:xfrm>
            <a:off x="5888507" y="3031930"/>
            <a:ext cx="209476" cy="209505"/>
          </a:xfrm>
          <a:custGeom>
            <a:avLst/>
            <a:gdLst/>
            <a:ahLst/>
            <a:cxnLst>
              <a:cxn ang="0">
                <a:pos x="wd2" y="hd2"/>
              </a:cxn>
              <a:cxn ang="5400000">
                <a:pos x="wd2" y="hd2"/>
              </a:cxn>
              <a:cxn ang="10800000">
                <a:pos x="wd2" y="hd2"/>
              </a:cxn>
              <a:cxn ang="16200000">
                <a:pos x="wd2" y="hd2"/>
              </a:cxn>
            </a:cxnLst>
            <a:rect l="0" t="0" r="r" b="b"/>
            <a:pathLst>
              <a:path w="21278" h="21600" extrusionOk="0">
                <a:moveTo>
                  <a:pt x="2560" y="18308"/>
                </a:moveTo>
                <a:cubicBezTo>
                  <a:pt x="2472" y="18397"/>
                  <a:pt x="2418" y="18520"/>
                  <a:pt x="2418" y="18655"/>
                </a:cubicBezTo>
                <a:cubicBezTo>
                  <a:pt x="2418" y="18926"/>
                  <a:pt x="2635" y="19146"/>
                  <a:pt x="2902" y="19146"/>
                </a:cubicBezTo>
                <a:cubicBezTo>
                  <a:pt x="3169" y="19146"/>
                  <a:pt x="3385" y="18926"/>
                  <a:pt x="3385" y="18655"/>
                </a:cubicBezTo>
                <a:cubicBezTo>
                  <a:pt x="3385" y="18384"/>
                  <a:pt x="3169" y="18164"/>
                  <a:pt x="2902" y="18164"/>
                </a:cubicBezTo>
                <a:cubicBezTo>
                  <a:pt x="2768" y="18164"/>
                  <a:pt x="2647" y="18219"/>
                  <a:pt x="2560" y="18308"/>
                </a:cubicBezTo>
                <a:moveTo>
                  <a:pt x="20499" y="4279"/>
                </a:moveTo>
                <a:lnTo>
                  <a:pt x="20091" y="4692"/>
                </a:lnTo>
                <a:lnTo>
                  <a:pt x="20088" y="4688"/>
                </a:lnTo>
                <a:lnTo>
                  <a:pt x="17670" y="7143"/>
                </a:lnTo>
                <a:lnTo>
                  <a:pt x="17664" y="7137"/>
                </a:lnTo>
                <a:cubicBezTo>
                  <a:pt x="17227" y="7580"/>
                  <a:pt x="16624" y="7853"/>
                  <a:pt x="15958" y="7853"/>
                </a:cubicBezTo>
                <a:cubicBezTo>
                  <a:pt x="14624" y="7853"/>
                  <a:pt x="13543" y="6755"/>
                  <a:pt x="13543" y="5401"/>
                </a:cubicBezTo>
                <a:cubicBezTo>
                  <a:pt x="13543" y="4725"/>
                  <a:pt x="13813" y="4113"/>
                  <a:pt x="14248" y="3670"/>
                </a:cubicBezTo>
                <a:lnTo>
                  <a:pt x="13563" y="2975"/>
                </a:lnTo>
                <a:cubicBezTo>
                  <a:pt x="12951" y="3596"/>
                  <a:pt x="12571" y="4452"/>
                  <a:pt x="12571" y="5401"/>
                </a:cubicBezTo>
                <a:cubicBezTo>
                  <a:pt x="12571" y="7300"/>
                  <a:pt x="14087" y="8840"/>
                  <a:pt x="15958" y="8840"/>
                </a:cubicBezTo>
                <a:cubicBezTo>
                  <a:pt x="16893" y="8840"/>
                  <a:pt x="17737" y="8454"/>
                  <a:pt x="18348" y="7832"/>
                </a:cubicBezTo>
                <a:lnTo>
                  <a:pt x="18353" y="7837"/>
                </a:lnTo>
                <a:lnTo>
                  <a:pt x="20152" y="6011"/>
                </a:lnTo>
                <a:cubicBezTo>
                  <a:pt x="20516" y="7368"/>
                  <a:pt x="20343" y="8670"/>
                  <a:pt x="19540" y="9505"/>
                </a:cubicBezTo>
                <a:lnTo>
                  <a:pt x="16947" y="12198"/>
                </a:lnTo>
                <a:cubicBezTo>
                  <a:pt x="16605" y="12553"/>
                  <a:pt x="16104" y="12766"/>
                  <a:pt x="15610" y="12766"/>
                </a:cubicBezTo>
                <a:cubicBezTo>
                  <a:pt x="15590" y="12765"/>
                  <a:pt x="13953" y="12652"/>
                  <a:pt x="12318" y="11611"/>
                </a:cubicBezTo>
                <a:lnTo>
                  <a:pt x="12314" y="11620"/>
                </a:lnTo>
                <a:cubicBezTo>
                  <a:pt x="12239" y="11572"/>
                  <a:pt x="12155" y="11537"/>
                  <a:pt x="12060" y="11537"/>
                </a:cubicBezTo>
                <a:cubicBezTo>
                  <a:pt x="11897" y="11537"/>
                  <a:pt x="11759" y="11625"/>
                  <a:pt x="11671" y="11753"/>
                </a:cubicBezTo>
                <a:lnTo>
                  <a:pt x="11654" y="11742"/>
                </a:lnTo>
                <a:lnTo>
                  <a:pt x="4270" y="20043"/>
                </a:lnTo>
                <a:cubicBezTo>
                  <a:pt x="3919" y="20399"/>
                  <a:pt x="3436" y="20618"/>
                  <a:pt x="2902" y="20618"/>
                </a:cubicBezTo>
                <a:cubicBezTo>
                  <a:pt x="1833" y="20618"/>
                  <a:pt x="967" y="19740"/>
                  <a:pt x="967" y="18655"/>
                </a:cubicBezTo>
                <a:cubicBezTo>
                  <a:pt x="967" y="18113"/>
                  <a:pt x="1184" y="17622"/>
                  <a:pt x="1534" y="17267"/>
                </a:cubicBezTo>
                <a:lnTo>
                  <a:pt x="9684" y="9801"/>
                </a:lnTo>
                <a:lnTo>
                  <a:pt x="9671" y="9786"/>
                </a:lnTo>
                <a:cubicBezTo>
                  <a:pt x="9796" y="9698"/>
                  <a:pt x="9884" y="9557"/>
                  <a:pt x="9884" y="9389"/>
                </a:cubicBezTo>
                <a:cubicBezTo>
                  <a:pt x="9884" y="9283"/>
                  <a:pt x="9844" y="9190"/>
                  <a:pt x="9787" y="9110"/>
                </a:cubicBezTo>
                <a:lnTo>
                  <a:pt x="9790" y="9107"/>
                </a:lnTo>
                <a:cubicBezTo>
                  <a:pt x="8390" y="7219"/>
                  <a:pt x="8340" y="5816"/>
                  <a:pt x="9546" y="4488"/>
                </a:cubicBezTo>
                <a:lnTo>
                  <a:pt x="12130" y="1805"/>
                </a:lnTo>
                <a:cubicBezTo>
                  <a:pt x="12785" y="1125"/>
                  <a:pt x="13641" y="982"/>
                  <a:pt x="14244" y="982"/>
                </a:cubicBezTo>
                <a:lnTo>
                  <a:pt x="14246" y="982"/>
                </a:lnTo>
                <a:cubicBezTo>
                  <a:pt x="14611" y="982"/>
                  <a:pt x="14988" y="1037"/>
                  <a:pt x="15366" y="1136"/>
                </a:cubicBezTo>
                <a:lnTo>
                  <a:pt x="13559" y="2970"/>
                </a:lnTo>
                <a:lnTo>
                  <a:pt x="14243" y="3664"/>
                </a:lnTo>
                <a:lnTo>
                  <a:pt x="16661" y="1210"/>
                </a:lnTo>
                <a:lnTo>
                  <a:pt x="16657" y="1206"/>
                </a:lnTo>
                <a:lnTo>
                  <a:pt x="17082" y="775"/>
                </a:lnTo>
                <a:cubicBezTo>
                  <a:pt x="16139" y="269"/>
                  <a:pt x="15160" y="0"/>
                  <a:pt x="14246" y="0"/>
                </a:cubicBezTo>
                <a:lnTo>
                  <a:pt x="14244" y="0"/>
                </a:lnTo>
                <a:cubicBezTo>
                  <a:pt x="13167" y="0"/>
                  <a:pt x="12182" y="361"/>
                  <a:pt x="11460" y="1111"/>
                </a:cubicBezTo>
                <a:lnTo>
                  <a:pt x="8867" y="3804"/>
                </a:lnTo>
                <a:cubicBezTo>
                  <a:pt x="7163" y="5672"/>
                  <a:pt x="7613" y="7584"/>
                  <a:pt x="8769" y="9315"/>
                </a:cubicBezTo>
                <a:lnTo>
                  <a:pt x="850" y="16572"/>
                </a:lnTo>
                <a:cubicBezTo>
                  <a:pt x="325" y="17106"/>
                  <a:pt x="0" y="17842"/>
                  <a:pt x="0" y="18655"/>
                </a:cubicBezTo>
                <a:cubicBezTo>
                  <a:pt x="0" y="20282"/>
                  <a:pt x="1299" y="21600"/>
                  <a:pt x="2902" y="21600"/>
                </a:cubicBezTo>
                <a:cubicBezTo>
                  <a:pt x="3703" y="21600"/>
                  <a:pt x="4429" y="21271"/>
                  <a:pt x="4954" y="20738"/>
                </a:cubicBezTo>
                <a:lnTo>
                  <a:pt x="12160" y="12652"/>
                </a:lnTo>
                <a:cubicBezTo>
                  <a:pt x="13800" y="13590"/>
                  <a:pt x="15363" y="13747"/>
                  <a:pt x="15606" y="13747"/>
                </a:cubicBezTo>
                <a:cubicBezTo>
                  <a:pt x="16313" y="13747"/>
                  <a:pt x="17067" y="13463"/>
                  <a:pt x="17617" y="12892"/>
                </a:cubicBezTo>
                <a:lnTo>
                  <a:pt x="20209" y="10198"/>
                </a:lnTo>
                <a:cubicBezTo>
                  <a:pt x="21560" y="8795"/>
                  <a:pt x="21600" y="6433"/>
                  <a:pt x="20499" y="427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19" name="Shape 2619"/>
          <p:cNvSpPr/>
          <p:nvPr/>
        </p:nvSpPr>
        <p:spPr>
          <a:xfrm>
            <a:off x="6288453" y="3031930"/>
            <a:ext cx="209495" cy="209494"/>
          </a:xfrm>
          <a:custGeom>
            <a:avLst/>
            <a:gdLst/>
            <a:ahLst/>
            <a:cxnLst>
              <a:cxn ang="0">
                <a:pos x="wd2" y="hd2"/>
              </a:cxn>
              <a:cxn ang="5400000">
                <a:pos x="wd2" y="hd2"/>
              </a:cxn>
              <a:cxn ang="10800000">
                <a:pos x="wd2" y="hd2"/>
              </a:cxn>
              <a:cxn ang="16200000">
                <a:pos x="wd2" y="hd2"/>
              </a:cxn>
            </a:cxnLst>
            <a:rect l="0" t="0" r="r" b="b"/>
            <a:pathLst>
              <a:path w="21600" h="21583" extrusionOk="0">
                <a:moveTo>
                  <a:pt x="12364" y="11941"/>
                </a:moveTo>
                <a:lnTo>
                  <a:pt x="13062" y="14033"/>
                </a:lnTo>
                <a:lnTo>
                  <a:pt x="11365" y="12790"/>
                </a:lnTo>
                <a:lnTo>
                  <a:pt x="10785" y="12365"/>
                </a:lnTo>
                <a:lnTo>
                  <a:pt x="10205" y="12790"/>
                </a:lnTo>
                <a:lnTo>
                  <a:pt x="8508" y="14033"/>
                </a:lnTo>
                <a:lnTo>
                  <a:pt x="9206" y="11941"/>
                </a:lnTo>
                <a:lnTo>
                  <a:pt x="9426" y="11282"/>
                </a:lnTo>
                <a:lnTo>
                  <a:pt x="8877" y="10856"/>
                </a:lnTo>
                <a:lnTo>
                  <a:pt x="7511" y="9794"/>
                </a:lnTo>
                <a:lnTo>
                  <a:pt x="9790" y="9794"/>
                </a:lnTo>
                <a:lnTo>
                  <a:pt x="10030" y="9160"/>
                </a:lnTo>
                <a:lnTo>
                  <a:pt x="10785" y="7162"/>
                </a:lnTo>
                <a:lnTo>
                  <a:pt x="11540" y="9160"/>
                </a:lnTo>
                <a:lnTo>
                  <a:pt x="11779" y="9794"/>
                </a:lnTo>
                <a:lnTo>
                  <a:pt x="14059" y="9794"/>
                </a:lnTo>
                <a:lnTo>
                  <a:pt x="12692" y="10856"/>
                </a:lnTo>
                <a:lnTo>
                  <a:pt x="12144" y="11282"/>
                </a:lnTo>
                <a:cubicBezTo>
                  <a:pt x="12144" y="11282"/>
                  <a:pt x="12364" y="11941"/>
                  <a:pt x="12364" y="11941"/>
                </a:cubicBezTo>
                <a:close/>
                <a:moveTo>
                  <a:pt x="12458" y="8813"/>
                </a:moveTo>
                <a:lnTo>
                  <a:pt x="10785" y="4384"/>
                </a:lnTo>
                <a:lnTo>
                  <a:pt x="9111" y="8813"/>
                </a:lnTo>
                <a:lnTo>
                  <a:pt x="4649" y="8813"/>
                </a:lnTo>
                <a:lnTo>
                  <a:pt x="8275" y="11631"/>
                </a:lnTo>
                <a:lnTo>
                  <a:pt x="6601" y="16647"/>
                </a:lnTo>
                <a:lnTo>
                  <a:pt x="10785" y="13582"/>
                </a:lnTo>
                <a:lnTo>
                  <a:pt x="14969" y="16647"/>
                </a:lnTo>
                <a:lnTo>
                  <a:pt x="13295" y="11631"/>
                </a:lnTo>
                <a:lnTo>
                  <a:pt x="16921" y="8813"/>
                </a:lnTo>
                <a:cubicBezTo>
                  <a:pt x="16921" y="8813"/>
                  <a:pt x="12458" y="8813"/>
                  <a:pt x="12458" y="8813"/>
                </a:cubicBezTo>
                <a:close/>
                <a:moveTo>
                  <a:pt x="10800" y="20592"/>
                </a:moveTo>
                <a:cubicBezTo>
                  <a:pt x="9796" y="20381"/>
                  <a:pt x="982" y="17399"/>
                  <a:pt x="982" y="12263"/>
                </a:cubicBezTo>
                <a:cubicBezTo>
                  <a:pt x="982" y="7469"/>
                  <a:pt x="2322" y="2919"/>
                  <a:pt x="2778" y="1179"/>
                </a:cubicBezTo>
                <a:cubicBezTo>
                  <a:pt x="4022" y="1719"/>
                  <a:pt x="7232" y="2943"/>
                  <a:pt x="10800" y="2943"/>
                </a:cubicBezTo>
                <a:cubicBezTo>
                  <a:pt x="14368" y="2943"/>
                  <a:pt x="17579" y="1719"/>
                  <a:pt x="18823" y="1179"/>
                </a:cubicBezTo>
                <a:cubicBezTo>
                  <a:pt x="19278" y="2918"/>
                  <a:pt x="20618" y="7466"/>
                  <a:pt x="20618" y="12263"/>
                </a:cubicBezTo>
                <a:cubicBezTo>
                  <a:pt x="20618" y="17393"/>
                  <a:pt x="11803" y="20381"/>
                  <a:pt x="10800" y="20592"/>
                </a:cubicBezTo>
                <a:moveTo>
                  <a:pt x="19618" y="356"/>
                </a:moveTo>
                <a:cubicBezTo>
                  <a:pt x="19577" y="216"/>
                  <a:pt x="19477" y="101"/>
                  <a:pt x="19343" y="42"/>
                </a:cubicBezTo>
                <a:cubicBezTo>
                  <a:pt x="19210" y="-17"/>
                  <a:pt x="19057" y="-13"/>
                  <a:pt x="18926" y="52"/>
                </a:cubicBezTo>
                <a:cubicBezTo>
                  <a:pt x="18888" y="71"/>
                  <a:pt x="15053" y="1962"/>
                  <a:pt x="10800" y="1962"/>
                </a:cubicBezTo>
                <a:cubicBezTo>
                  <a:pt x="6556" y="1962"/>
                  <a:pt x="2712" y="71"/>
                  <a:pt x="2674" y="52"/>
                </a:cubicBezTo>
                <a:cubicBezTo>
                  <a:pt x="2543" y="-13"/>
                  <a:pt x="2391" y="-17"/>
                  <a:pt x="2257" y="42"/>
                </a:cubicBezTo>
                <a:cubicBezTo>
                  <a:pt x="2124" y="101"/>
                  <a:pt x="2023" y="216"/>
                  <a:pt x="1983" y="356"/>
                </a:cubicBezTo>
                <a:cubicBezTo>
                  <a:pt x="1963" y="426"/>
                  <a:pt x="0" y="6376"/>
                  <a:pt x="0" y="12263"/>
                </a:cubicBezTo>
                <a:cubicBezTo>
                  <a:pt x="0" y="18484"/>
                  <a:pt x="10271" y="21491"/>
                  <a:pt x="10708" y="21575"/>
                </a:cubicBezTo>
                <a:cubicBezTo>
                  <a:pt x="10739" y="21580"/>
                  <a:pt x="10770" y="21583"/>
                  <a:pt x="10800" y="21583"/>
                </a:cubicBezTo>
                <a:cubicBezTo>
                  <a:pt x="10831" y="21583"/>
                  <a:pt x="10862" y="21580"/>
                  <a:pt x="10892" y="21575"/>
                </a:cubicBezTo>
                <a:cubicBezTo>
                  <a:pt x="11329" y="21491"/>
                  <a:pt x="21600" y="18484"/>
                  <a:pt x="21600" y="12263"/>
                </a:cubicBezTo>
                <a:cubicBezTo>
                  <a:pt x="21600" y="6376"/>
                  <a:pt x="19637" y="426"/>
                  <a:pt x="19618" y="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0" name="Shape 2620"/>
          <p:cNvSpPr/>
          <p:nvPr/>
        </p:nvSpPr>
        <p:spPr>
          <a:xfrm>
            <a:off x="6688399" y="3041452"/>
            <a:ext cx="209495" cy="190523"/>
          </a:xfrm>
          <a:custGeom>
            <a:avLst/>
            <a:gdLst/>
            <a:ahLst/>
            <a:cxnLst>
              <a:cxn ang="0">
                <a:pos x="wd2" y="hd2"/>
              </a:cxn>
              <a:cxn ang="5400000">
                <a:pos x="wd2" y="hd2"/>
              </a:cxn>
              <a:cxn ang="10800000">
                <a:pos x="wd2" y="hd2"/>
              </a:cxn>
              <a:cxn ang="16200000">
                <a:pos x="wd2" y="hd2"/>
              </a:cxn>
            </a:cxnLst>
            <a:rect l="0" t="0" r="r" b="b"/>
            <a:pathLst>
              <a:path w="21600" h="21144" extrusionOk="0">
                <a:moveTo>
                  <a:pt x="20618" y="7406"/>
                </a:moveTo>
                <a:lnTo>
                  <a:pt x="13580" y="7406"/>
                </a:lnTo>
                <a:cubicBezTo>
                  <a:pt x="13156" y="6803"/>
                  <a:pt x="12718" y="6095"/>
                  <a:pt x="12319" y="5293"/>
                </a:cubicBezTo>
                <a:lnTo>
                  <a:pt x="20618" y="5293"/>
                </a:lnTo>
                <a:cubicBezTo>
                  <a:pt x="20618" y="5293"/>
                  <a:pt x="20618" y="7406"/>
                  <a:pt x="20618" y="7406"/>
                </a:cubicBezTo>
                <a:close/>
                <a:moveTo>
                  <a:pt x="19636" y="13747"/>
                </a:moveTo>
                <a:lnTo>
                  <a:pt x="11291" y="13747"/>
                </a:lnTo>
                <a:lnTo>
                  <a:pt x="11291" y="8463"/>
                </a:lnTo>
                <a:lnTo>
                  <a:pt x="13090" y="8463"/>
                </a:lnTo>
                <a:cubicBezTo>
                  <a:pt x="14022" y="9712"/>
                  <a:pt x="14815" y="10437"/>
                  <a:pt x="14882" y="10497"/>
                </a:cubicBezTo>
                <a:cubicBezTo>
                  <a:pt x="15009" y="10610"/>
                  <a:pt x="15174" y="10644"/>
                  <a:pt x="15323" y="10601"/>
                </a:cubicBezTo>
                <a:cubicBezTo>
                  <a:pt x="15418" y="10574"/>
                  <a:pt x="15505" y="10516"/>
                  <a:pt x="15573" y="10429"/>
                </a:cubicBezTo>
                <a:cubicBezTo>
                  <a:pt x="15746" y="10205"/>
                  <a:pt x="15718" y="9871"/>
                  <a:pt x="15510" y="9684"/>
                </a:cubicBezTo>
                <a:cubicBezTo>
                  <a:pt x="15498" y="9674"/>
                  <a:pt x="15023" y="9238"/>
                  <a:pt x="14383" y="8463"/>
                </a:cubicBezTo>
                <a:lnTo>
                  <a:pt x="19636" y="8463"/>
                </a:lnTo>
                <a:cubicBezTo>
                  <a:pt x="19636" y="8463"/>
                  <a:pt x="19636" y="13747"/>
                  <a:pt x="19636" y="13747"/>
                </a:cubicBezTo>
                <a:close/>
                <a:moveTo>
                  <a:pt x="19636" y="20087"/>
                </a:moveTo>
                <a:lnTo>
                  <a:pt x="11291" y="20087"/>
                </a:lnTo>
                <a:lnTo>
                  <a:pt x="11291" y="14803"/>
                </a:lnTo>
                <a:lnTo>
                  <a:pt x="19636" y="14803"/>
                </a:lnTo>
                <a:cubicBezTo>
                  <a:pt x="19636" y="14803"/>
                  <a:pt x="19636" y="20087"/>
                  <a:pt x="19636" y="20087"/>
                </a:cubicBezTo>
                <a:close/>
                <a:moveTo>
                  <a:pt x="11291" y="5461"/>
                </a:moveTo>
                <a:cubicBezTo>
                  <a:pt x="11626" y="6178"/>
                  <a:pt x="11991" y="6828"/>
                  <a:pt x="12360" y="7406"/>
                </a:cubicBezTo>
                <a:lnTo>
                  <a:pt x="11291" y="7406"/>
                </a:lnTo>
                <a:cubicBezTo>
                  <a:pt x="11291" y="7406"/>
                  <a:pt x="11291" y="5461"/>
                  <a:pt x="11291" y="5461"/>
                </a:cubicBezTo>
                <a:close/>
                <a:moveTo>
                  <a:pt x="12871" y="1481"/>
                </a:moveTo>
                <a:cubicBezTo>
                  <a:pt x="14045" y="751"/>
                  <a:pt x="15436" y="979"/>
                  <a:pt x="15979" y="1990"/>
                </a:cubicBezTo>
                <a:cubicBezTo>
                  <a:pt x="16343" y="2668"/>
                  <a:pt x="16223" y="3523"/>
                  <a:pt x="15755" y="4236"/>
                </a:cubicBezTo>
                <a:lnTo>
                  <a:pt x="11845" y="4236"/>
                </a:lnTo>
                <a:cubicBezTo>
                  <a:pt x="11740" y="3975"/>
                  <a:pt x="11641" y="3708"/>
                  <a:pt x="11550" y="3432"/>
                </a:cubicBezTo>
                <a:cubicBezTo>
                  <a:pt x="11653" y="2691"/>
                  <a:pt x="12120" y="1947"/>
                  <a:pt x="12871" y="1481"/>
                </a:cubicBezTo>
                <a:moveTo>
                  <a:pt x="10309" y="7406"/>
                </a:moveTo>
                <a:lnTo>
                  <a:pt x="9224" y="7406"/>
                </a:lnTo>
                <a:cubicBezTo>
                  <a:pt x="9600" y="6819"/>
                  <a:pt x="9970" y="6158"/>
                  <a:pt x="10309" y="5429"/>
                </a:cubicBezTo>
                <a:cubicBezTo>
                  <a:pt x="10309" y="5429"/>
                  <a:pt x="10309" y="7406"/>
                  <a:pt x="10309" y="7406"/>
                </a:cubicBezTo>
                <a:close/>
                <a:moveTo>
                  <a:pt x="10309" y="13747"/>
                </a:moveTo>
                <a:lnTo>
                  <a:pt x="1964" y="13747"/>
                </a:lnTo>
                <a:lnTo>
                  <a:pt x="1964" y="8463"/>
                </a:lnTo>
                <a:lnTo>
                  <a:pt x="7202" y="8463"/>
                </a:lnTo>
                <a:cubicBezTo>
                  <a:pt x="6563" y="9238"/>
                  <a:pt x="6087" y="9674"/>
                  <a:pt x="6075" y="9684"/>
                </a:cubicBezTo>
                <a:cubicBezTo>
                  <a:pt x="5867" y="9871"/>
                  <a:pt x="5839" y="10205"/>
                  <a:pt x="6012" y="10429"/>
                </a:cubicBezTo>
                <a:cubicBezTo>
                  <a:pt x="6080" y="10516"/>
                  <a:pt x="6167" y="10574"/>
                  <a:pt x="6261" y="10601"/>
                </a:cubicBezTo>
                <a:cubicBezTo>
                  <a:pt x="6411" y="10644"/>
                  <a:pt x="6575" y="10610"/>
                  <a:pt x="6703" y="10497"/>
                </a:cubicBezTo>
                <a:cubicBezTo>
                  <a:pt x="6770" y="10437"/>
                  <a:pt x="7563" y="9712"/>
                  <a:pt x="8495" y="8463"/>
                </a:cubicBezTo>
                <a:lnTo>
                  <a:pt x="10309" y="8463"/>
                </a:lnTo>
                <a:cubicBezTo>
                  <a:pt x="10309" y="8463"/>
                  <a:pt x="10309" y="13747"/>
                  <a:pt x="10309" y="13747"/>
                </a:cubicBezTo>
                <a:close/>
                <a:moveTo>
                  <a:pt x="10309" y="20087"/>
                </a:moveTo>
                <a:lnTo>
                  <a:pt x="1964" y="20087"/>
                </a:lnTo>
                <a:lnTo>
                  <a:pt x="1964" y="14803"/>
                </a:lnTo>
                <a:lnTo>
                  <a:pt x="10309" y="14803"/>
                </a:lnTo>
                <a:cubicBezTo>
                  <a:pt x="10309" y="14803"/>
                  <a:pt x="10309" y="20087"/>
                  <a:pt x="10309" y="20087"/>
                </a:cubicBezTo>
                <a:close/>
                <a:moveTo>
                  <a:pt x="982" y="7406"/>
                </a:moveTo>
                <a:lnTo>
                  <a:pt x="982" y="5293"/>
                </a:lnTo>
                <a:lnTo>
                  <a:pt x="9266" y="5293"/>
                </a:lnTo>
                <a:cubicBezTo>
                  <a:pt x="8867" y="6095"/>
                  <a:pt x="8429" y="6803"/>
                  <a:pt x="8005" y="7406"/>
                </a:cubicBezTo>
                <a:cubicBezTo>
                  <a:pt x="8005" y="7406"/>
                  <a:pt x="982" y="7406"/>
                  <a:pt x="982" y="7406"/>
                </a:cubicBezTo>
                <a:close/>
                <a:moveTo>
                  <a:pt x="5606" y="1990"/>
                </a:moveTo>
                <a:cubicBezTo>
                  <a:pt x="6148" y="980"/>
                  <a:pt x="7540" y="751"/>
                  <a:pt x="8714" y="1481"/>
                </a:cubicBezTo>
                <a:cubicBezTo>
                  <a:pt x="9465" y="1948"/>
                  <a:pt x="9931" y="2692"/>
                  <a:pt x="10035" y="3433"/>
                </a:cubicBezTo>
                <a:cubicBezTo>
                  <a:pt x="9944" y="3708"/>
                  <a:pt x="9845" y="3975"/>
                  <a:pt x="9740" y="4236"/>
                </a:cubicBezTo>
                <a:lnTo>
                  <a:pt x="5830" y="4236"/>
                </a:lnTo>
                <a:cubicBezTo>
                  <a:pt x="5362" y="3523"/>
                  <a:pt x="5242" y="2668"/>
                  <a:pt x="5606" y="1990"/>
                </a:cubicBezTo>
                <a:moveTo>
                  <a:pt x="20618" y="4236"/>
                </a:moveTo>
                <a:lnTo>
                  <a:pt x="16874" y="4236"/>
                </a:lnTo>
                <a:cubicBezTo>
                  <a:pt x="17259" y="3325"/>
                  <a:pt x="17284" y="2310"/>
                  <a:pt x="16829" y="1461"/>
                </a:cubicBezTo>
                <a:cubicBezTo>
                  <a:pt x="16015" y="-54"/>
                  <a:pt x="14024" y="-456"/>
                  <a:pt x="12380" y="565"/>
                </a:cubicBezTo>
                <a:cubicBezTo>
                  <a:pt x="11747" y="959"/>
                  <a:pt x="11277" y="1511"/>
                  <a:pt x="10965" y="2122"/>
                </a:cubicBezTo>
                <a:cubicBezTo>
                  <a:pt x="10949" y="2115"/>
                  <a:pt x="10937" y="2103"/>
                  <a:pt x="10920" y="2098"/>
                </a:cubicBezTo>
                <a:cubicBezTo>
                  <a:pt x="10909" y="2095"/>
                  <a:pt x="10899" y="2097"/>
                  <a:pt x="10888" y="2095"/>
                </a:cubicBezTo>
                <a:cubicBezTo>
                  <a:pt x="10861" y="2089"/>
                  <a:pt x="10834" y="2089"/>
                  <a:pt x="10806" y="2088"/>
                </a:cubicBezTo>
                <a:cubicBezTo>
                  <a:pt x="10782" y="2089"/>
                  <a:pt x="10759" y="2089"/>
                  <a:pt x="10735" y="2093"/>
                </a:cubicBezTo>
                <a:cubicBezTo>
                  <a:pt x="10712" y="2096"/>
                  <a:pt x="10689" y="2090"/>
                  <a:pt x="10665" y="2098"/>
                </a:cubicBezTo>
                <a:cubicBezTo>
                  <a:pt x="10648" y="2103"/>
                  <a:pt x="10636" y="2115"/>
                  <a:pt x="10620" y="2122"/>
                </a:cubicBezTo>
                <a:cubicBezTo>
                  <a:pt x="10307" y="1511"/>
                  <a:pt x="9837" y="959"/>
                  <a:pt x="9205" y="566"/>
                </a:cubicBezTo>
                <a:cubicBezTo>
                  <a:pt x="7561" y="-456"/>
                  <a:pt x="5569" y="-54"/>
                  <a:pt x="4755" y="1461"/>
                </a:cubicBezTo>
                <a:cubicBezTo>
                  <a:pt x="4301" y="2310"/>
                  <a:pt x="4325" y="3325"/>
                  <a:pt x="4711" y="4236"/>
                </a:cubicBezTo>
                <a:lnTo>
                  <a:pt x="982" y="4236"/>
                </a:lnTo>
                <a:cubicBezTo>
                  <a:pt x="440" y="4236"/>
                  <a:pt x="0" y="4709"/>
                  <a:pt x="0" y="5293"/>
                </a:cubicBezTo>
                <a:lnTo>
                  <a:pt x="0" y="7406"/>
                </a:lnTo>
                <a:cubicBezTo>
                  <a:pt x="0" y="7990"/>
                  <a:pt x="440" y="8463"/>
                  <a:pt x="982" y="8463"/>
                </a:cubicBezTo>
                <a:lnTo>
                  <a:pt x="982" y="20087"/>
                </a:lnTo>
                <a:cubicBezTo>
                  <a:pt x="982" y="20671"/>
                  <a:pt x="1422" y="21144"/>
                  <a:pt x="1964" y="21144"/>
                </a:cubicBezTo>
                <a:lnTo>
                  <a:pt x="19636" y="21144"/>
                </a:lnTo>
                <a:cubicBezTo>
                  <a:pt x="20178" y="21144"/>
                  <a:pt x="20618" y="20671"/>
                  <a:pt x="20618" y="20087"/>
                </a:cubicBezTo>
                <a:lnTo>
                  <a:pt x="20618" y="8463"/>
                </a:lnTo>
                <a:cubicBezTo>
                  <a:pt x="21160" y="8463"/>
                  <a:pt x="21600" y="7990"/>
                  <a:pt x="21600" y="7406"/>
                </a:cubicBezTo>
                <a:lnTo>
                  <a:pt x="21600" y="5293"/>
                </a:lnTo>
                <a:cubicBezTo>
                  <a:pt x="21600" y="4709"/>
                  <a:pt x="21160" y="4236"/>
                  <a:pt x="20618" y="42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1" name="Shape 2621"/>
          <p:cNvSpPr/>
          <p:nvPr/>
        </p:nvSpPr>
        <p:spPr>
          <a:xfrm>
            <a:off x="7088345" y="3070019"/>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800" y="20057"/>
                </a:moveTo>
                <a:cubicBezTo>
                  <a:pt x="5378" y="20057"/>
                  <a:pt x="982" y="13445"/>
                  <a:pt x="982" y="10800"/>
                </a:cubicBezTo>
                <a:cubicBezTo>
                  <a:pt x="982" y="8155"/>
                  <a:pt x="5378" y="1543"/>
                  <a:pt x="10800" y="1543"/>
                </a:cubicBezTo>
                <a:cubicBezTo>
                  <a:pt x="16223" y="1543"/>
                  <a:pt x="20618" y="8155"/>
                  <a:pt x="20618" y="10800"/>
                </a:cubicBezTo>
                <a:cubicBezTo>
                  <a:pt x="20618" y="13445"/>
                  <a:pt x="16223" y="20057"/>
                  <a:pt x="10800" y="20057"/>
                </a:cubicBezTo>
                <a:moveTo>
                  <a:pt x="10800" y="0"/>
                </a:moveTo>
                <a:cubicBezTo>
                  <a:pt x="4835" y="0"/>
                  <a:pt x="0" y="7714"/>
                  <a:pt x="0" y="10800"/>
                </a:cubicBezTo>
                <a:cubicBezTo>
                  <a:pt x="0" y="13886"/>
                  <a:pt x="4835" y="21600"/>
                  <a:pt x="10800" y="21600"/>
                </a:cubicBezTo>
                <a:cubicBezTo>
                  <a:pt x="16765" y="21600"/>
                  <a:pt x="21600" y="13886"/>
                  <a:pt x="21600" y="10800"/>
                </a:cubicBezTo>
                <a:cubicBezTo>
                  <a:pt x="21600" y="7714"/>
                  <a:pt x="16765" y="0"/>
                  <a:pt x="10800" y="0"/>
                </a:cubicBezTo>
                <a:moveTo>
                  <a:pt x="10800" y="16971"/>
                </a:moveTo>
                <a:cubicBezTo>
                  <a:pt x="8631" y="16971"/>
                  <a:pt x="6873" y="14209"/>
                  <a:pt x="6873" y="10800"/>
                </a:cubicBezTo>
                <a:cubicBezTo>
                  <a:pt x="6873" y="7392"/>
                  <a:pt x="8631" y="4629"/>
                  <a:pt x="10800" y="4629"/>
                </a:cubicBezTo>
                <a:cubicBezTo>
                  <a:pt x="12969" y="4629"/>
                  <a:pt x="14727" y="7392"/>
                  <a:pt x="14727" y="10800"/>
                </a:cubicBezTo>
                <a:cubicBezTo>
                  <a:pt x="14727" y="14209"/>
                  <a:pt x="12969" y="16971"/>
                  <a:pt x="10800" y="16971"/>
                </a:cubicBezTo>
                <a:moveTo>
                  <a:pt x="10800" y="3087"/>
                </a:moveTo>
                <a:cubicBezTo>
                  <a:pt x="8088" y="3087"/>
                  <a:pt x="5891" y="6540"/>
                  <a:pt x="5891" y="10800"/>
                </a:cubicBezTo>
                <a:cubicBezTo>
                  <a:pt x="5891" y="15061"/>
                  <a:pt x="8088" y="18514"/>
                  <a:pt x="10800" y="18514"/>
                </a:cubicBezTo>
                <a:cubicBezTo>
                  <a:pt x="13512" y="18514"/>
                  <a:pt x="15709" y="15061"/>
                  <a:pt x="15709" y="10800"/>
                </a:cubicBezTo>
                <a:cubicBezTo>
                  <a:pt x="15709" y="6540"/>
                  <a:pt x="13512" y="3087"/>
                  <a:pt x="10800" y="3087"/>
                </a:cubicBezTo>
                <a:moveTo>
                  <a:pt x="10800" y="8486"/>
                </a:moveTo>
                <a:cubicBezTo>
                  <a:pt x="9987" y="8486"/>
                  <a:pt x="9327" y="9523"/>
                  <a:pt x="9327" y="10800"/>
                </a:cubicBezTo>
                <a:cubicBezTo>
                  <a:pt x="9327" y="12078"/>
                  <a:pt x="9987" y="13114"/>
                  <a:pt x="10800" y="13114"/>
                </a:cubicBezTo>
                <a:cubicBezTo>
                  <a:pt x="11613" y="13114"/>
                  <a:pt x="12273" y="12078"/>
                  <a:pt x="12273" y="10800"/>
                </a:cubicBezTo>
                <a:cubicBezTo>
                  <a:pt x="12273" y="9523"/>
                  <a:pt x="11613" y="8486"/>
                  <a:pt x="10800" y="84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2" name="Shape 2622"/>
          <p:cNvSpPr/>
          <p:nvPr/>
        </p:nvSpPr>
        <p:spPr>
          <a:xfrm>
            <a:off x="7488291"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9" y="17044"/>
                </a:moveTo>
                <a:cubicBezTo>
                  <a:pt x="9428" y="17174"/>
                  <a:pt x="9252" y="17274"/>
                  <a:pt x="9050" y="17344"/>
                </a:cubicBezTo>
                <a:cubicBezTo>
                  <a:pt x="8849" y="17415"/>
                  <a:pt x="8636" y="17450"/>
                  <a:pt x="8413" y="17450"/>
                </a:cubicBezTo>
                <a:cubicBezTo>
                  <a:pt x="7887" y="17450"/>
                  <a:pt x="7488" y="17288"/>
                  <a:pt x="7214" y="16966"/>
                </a:cubicBezTo>
                <a:cubicBezTo>
                  <a:pt x="6941" y="16644"/>
                  <a:pt x="6797" y="16226"/>
                  <a:pt x="6782" y="15715"/>
                </a:cubicBezTo>
                <a:lnTo>
                  <a:pt x="5864" y="15715"/>
                </a:lnTo>
                <a:cubicBezTo>
                  <a:pt x="5857" y="16122"/>
                  <a:pt x="5913" y="16486"/>
                  <a:pt x="6032" y="16805"/>
                </a:cubicBezTo>
                <a:cubicBezTo>
                  <a:pt x="6151" y="17123"/>
                  <a:pt x="6321" y="17393"/>
                  <a:pt x="6545" y="17611"/>
                </a:cubicBezTo>
                <a:cubicBezTo>
                  <a:pt x="6767" y="17830"/>
                  <a:pt x="7038" y="17995"/>
                  <a:pt x="7355" y="18106"/>
                </a:cubicBezTo>
                <a:cubicBezTo>
                  <a:pt x="7671" y="18218"/>
                  <a:pt x="8024" y="18273"/>
                  <a:pt x="8413" y="18273"/>
                </a:cubicBezTo>
                <a:cubicBezTo>
                  <a:pt x="8773" y="18273"/>
                  <a:pt x="9113" y="18223"/>
                  <a:pt x="9434" y="18123"/>
                </a:cubicBezTo>
                <a:cubicBezTo>
                  <a:pt x="9754" y="18023"/>
                  <a:pt x="10033" y="17873"/>
                  <a:pt x="10271" y="17672"/>
                </a:cubicBezTo>
                <a:cubicBezTo>
                  <a:pt x="10509" y="17472"/>
                  <a:pt x="10697" y="17222"/>
                  <a:pt x="10837" y="16922"/>
                </a:cubicBezTo>
                <a:cubicBezTo>
                  <a:pt x="10978" y="16621"/>
                  <a:pt x="11048" y="16275"/>
                  <a:pt x="11048" y="15881"/>
                </a:cubicBezTo>
                <a:cubicBezTo>
                  <a:pt x="11048" y="15407"/>
                  <a:pt x="10935" y="14995"/>
                  <a:pt x="10708" y="14646"/>
                </a:cubicBezTo>
                <a:cubicBezTo>
                  <a:pt x="10481" y="14298"/>
                  <a:pt x="10134" y="14072"/>
                  <a:pt x="9666" y="13968"/>
                </a:cubicBezTo>
                <a:lnTo>
                  <a:pt x="9666" y="13946"/>
                </a:lnTo>
                <a:cubicBezTo>
                  <a:pt x="9968" y="13805"/>
                  <a:pt x="10220" y="13597"/>
                  <a:pt x="10422" y="13323"/>
                </a:cubicBezTo>
                <a:cubicBezTo>
                  <a:pt x="10624" y="13048"/>
                  <a:pt x="10724" y="12734"/>
                  <a:pt x="10724" y="12377"/>
                </a:cubicBezTo>
                <a:cubicBezTo>
                  <a:pt x="10724" y="12014"/>
                  <a:pt x="10665" y="11698"/>
                  <a:pt x="10546" y="11432"/>
                </a:cubicBezTo>
                <a:cubicBezTo>
                  <a:pt x="10427" y="11165"/>
                  <a:pt x="10263" y="10946"/>
                  <a:pt x="10055" y="10776"/>
                </a:cubicBezTo>
                <a:cubicBezTo>
                  <a:pt x="9846" y="10605"/>
                  <a:pt x="9599" y="10477"/>
                  <a:pt x="9315" y="10392"/>
                </a:cubicBezTo>
                <a:cubicBezTo>
                  <a:pt x="9030" y="10306"/>
                  <a:pt x="8722" y="10264"/>
                  <a:pt x="8391" y="10264"/>
                </a:cubicBezTo>
                <a:cubicBezTo>
                  <a:pt x="8010" y="10264"/>
                  <a:pt x="7673" y="10326"/>
                  <a:pt x="7382" y="10453"/>
                </a:cubicBezTo>
                <a:cubicBezTo>
                  <a:pt x="7090" y="10579"/>
                  <a:pt x="6847" y="10753"/>
                  <a:pt x="6653" y="10976"/>
                </a:cubicBezTo>
                <a:cubicBezTo>
                  <a:pt x="6459" y="11198"/>
                  <a:pt x="6309" y="11466"/>
                  <a:pt x="6204" y="11777"/>
                </a:cubicBezTo>
                <a:cubicBezTo>
                  <a:pt x="6100" y="12088"/>
                  <a:pt x="6040" y="12433"/>
                  <a:pt x="6026" y="12811"/>
                </a:cubicBezTo>
                <a:lnTo>
                  <a:pt x="6944" y="12811"/>
                </a:lnTo>
                <a:cubicBezTo>
                  <a:pt x="6944" y="12581"/>
                  <a:pt x="6972" y="12363"/>
                  <a:pt x="7031" y="12155"/>
                </a:cubicBezTo>
                <a:cubicBezTo>
                  <a:pt x="7088" y="11947"/>
                  <a:pt x="7177" y="11766"/>
                  <a:pt x="7296" y="11610"/>
                </a:cubicBezTo>
                <a:cubicBezTo>
                  <a:pt x="7414" y="11454"/>
                  <a:pt x="7565" y="11330"/>
                  <a:pt x="7749" y="11237"/>
                </a:cubicBezTo>
                <a:cubicBezTo>
                  <a:pt x="7932" y="11144"/>
                  <a:pt x="8147" y="11098"/>
                  <a:pt x="8391" y="11098"/>
                </a:cubicBezTo>
                <a:cubicBezTo>
                  <a:pt x="8780" y="11098"/>
                  <a:pt x="9104" y="11204"/>
                  <a:pt x="9364" y="11415"/>
                </a:cubicBezTo>
                <a:cubicBezTo>
                  <a:pt x="9623" y="11627"/>
                  <a:pt x="9752" y="11943"/>
                  <a:pt x="9752" y="12366"/>
                </a:cubicBezTo>
                <a:cubicBezTo>
                  <a:pt x="9752" y="12574"/>
                  <a:pt x="9713" y="12759"/>
                  <a:pt x="9634" y="12922"/>
                </a:cubicBezTo>
                <a:cubicBezTo>
                  <a:pt x="9554" y="13086"/>
                  <a:pt x="9448" y="13221"/>
                  <a:pt x="9315" y="13329"/>
                </a:cubicBezTo>
                <a:cubicBezTo>
                  <a:pt x="9182" y="13436"/>
                  <a:pt x="9027" y="13517"/>
                  <a:pt x="8851" y="13574"/>
                </a:cubicBezTo>
                <a:cubicBezTo>
                  <a:pt x="8674" y="13629"/>
                  <a:pt x="8488" y="13657"/>
                  <a:pt x="8294" y="13657"/>
                </a:cubicBezTo>
                <a:lnTo>
                  <a:pt x="7992" y="13657"/>
                </a:lnTo>
                <a:cubicBezTo>
                  <a:pt x="7963" y="13657"/>
                  <a:pt x="7930" y="13653"/>
                  <a:pt x="7895" y="13645"/>
                </a:cubicBezTo>
                <a:lnTo>
                  <a:pt x="7895" y="14447"/>
                </a:lnTo>
                <a:cubicBezTo>
                  <a:pt x="8067" y="14424"/>
                  <a:pt x="8251" y="14413"/>
                  <a:pt x="8445" y="14413"/>
                </a:cubicBezTo>
                <a:cubicBezTo>
                  <a:pt x="8676" y="14413"/>
                  <a:pt x="8890" y="14444"/>
                  <a:pt x="9088" y="14507"/>
                </a:cubicBezTo>
                <a:cubicBezTo>
                  <a:pt x="9286" y="14571"/>
                  <a:pt x="9457" y="14667"/>
                  <a:pt x="9601" y="14797"/>
                </a:cubicBezTo>
                <a:cubicBezTo>
                  <a:pt x="9745" y="14927"/>
                  <a:pt x="9860" y="15086"/>
                  <a:pt x="9947" y="15275"/>
                </a:cubicBezTo>
                <a:cubicBezTo>
                  <a:pt x="10033" y="15464"/>
                  <a:pt x="10076" y="15682"/>
                  <a:pt x="10076" y="15926"/>
                </a:cubicBezTo>
                <a:cubicBezTo>
                  <a:pt x="10076" y="16163"/>
                  <a:pt x="10031" y="16377"/>
                  <a:pt x="9941" y="16565"/>
                </a:cubicBezTo>
                <a:cubicBezTo>
                  <a:pt x="9851" y="16754"/>
                  <a:pt x="9731" y="16914"/>
                  <a:pt x="9579" y="17044"/>
                </a:cubicBezTo>
                <a:moveTo>
                  <a:pt x="14257" y="18151"/>
                </a:moveTo>
                <a:lnTo>
                  <a:pt x="15175" y="18151"/>
                </a:lnTo>
                <a:lnTo>
                  <a:pt x="15175" y="10264"/>
                </a:lnTo>
                <a:lnTo>
                  <a:pt x="14473" y="10264"/>
                </a:lnTo>
                <a:cubicBezTo>
                  <a:pt x="14422" y="10561"/>
                  <a:pt x="14329" y="10805"/>
                  <a:pt x="14192" y="10998"/>
                </a:cubicBezTo>
                <a:cubicBezTo>
                  <a:pt x="14055" y="11191"/>
                  <a:pt x="13888" y="11343"/>
                  <a:pt x="13690" y="11454"/>
                </a:cubicBezTo>
                <a:cubicBezTo>
                  <a:pt x="13492" y="11565"/>
                  <a:pt x="13271" y="11641"/>
                  <a:pt x="13026" y="11682"/>
                </a:cubicBezTo>
                <a:cubicBezTo>
                  <a:pt x="12781" y="11723"/>
                  <a:pt x="12529" y="11743"/>
                  <a:pt x="12270" y="11743"/>
                </a:cubicBezTo>
                <a:lnTo>
                  <a:pt x="12270" y="12499"/>
                </a:lnTo>
                <a:lnTo>
                  <a:pt x="14257" y="12499"/>
                </a:lnTo>
                <a:cubicBezTo>
                  <a:pt x="14257" y="12499"/>
                  <a:pt x="14257" y="18151"/>
                  <a:pt x="14257" y="18151"/>
                </a:cubicBezTo>
                <a:close/>
                <a:moveTo>
                  <a:pt x="20618" y="6873"/>
                </a:moveTo>
                <a:lnTo>
                  <a:pt x="982" y="6873"/>
                </a:lnTo>
                <a:lnTo>
                  <a:pt x="982" y="3928"/>
                </a:lnTo>
                <a:cubicBezTo>
                  <a:pt x="982" y="3385"/>
                  <a:pt x="1421"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9" y="2945"/>
                  <a:pt x="20618" y="3385"/>
                  <a:pt x="20618" y="3928"/>
                </a:cubicBezTo>
                <a:cubicBezTo>
                  <a:pt x="20618" y="3928"/>
                  <a:pt x="20618" y="6873"/>
                  <a:pt x="20618" y="6873"/>
                </a:cubicBezTo>
                <a:close/>
                <a:moveTo>
                  <a:pt x="20618" y="19636"/>
                </a:moveTo>
                <a:cubicBezTo>
                  <a:pt x="20618" y="20179"/>
                  <a:pt x="20179" y="20618"/>
                  <a:pt x="19636" y="20618"/>
                </a:cubicBezTo>
                <a:lnTo>
                  <a:pt x="1964" y="20618"/>
                </a:lnTo>
                <a:cubicBezTo>
                  <a:pt x="1421" y="20618"/>
                  <a:pt x="982" y="20179"/>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3" name="Shape 2623"/>
          <p:cNvSpPr/>
          <p:nvPr/>
        </p:nvSpPr>
        <p:spPr>
          <a:xfrm>
            <a:off x="7888237"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364" y="13255"/>
                </a:moveTo>
                <a:lnTo>
                  <a:pt x="5400" y="13255"/>
                </a:lnTo>
                <a:lnTo>
                  <a:pt x="5400" y="15218"/>
                </a:lnTo>
                <a:lnTo>
                  <a:pt x="7364" y="15218"/>
                </a:lnTo>
                <a:cubicBezTo>
                  <a:pt x="7364" y="15218"/>
                  <a:pt x="7364" y="13255"/>
                  <a:pt x="7364" y="13255"/>
                </a:cubicBezTo>
                <a:close/>
                <a:moveTo>
                  <a:pt x="7364" y="16691"/>
                </a:moveTo>
                <a:lnTo>
                  <a:pt x="5400" y="16691"/>
                </a:lnTo>
                <a:lnTo>
                  <a:pt x="5400" y="18655"/>
                </a:lnTo>
                <a:lnTo>
                  <a:pt x="7364" y="18655"/>
                </a:lnTo>
                <a:cubicBezTo>
                  <a:pt x="7364" y="18655"/>
                  <a:pt x="7364" y="16691"/>
                  <a:pt x="7364" y="16691"/>
                </a:cubicBezTo>
                <a:close/>
                <a:moveTo>
                  <a:pt x="7364" y="9818"/>
                </a:moveTo>
                <a:lnTo>
                  <a:pt x="5400" y="9818"/>
                </a:lnTo>
                <a:lnTo>
                  <a:pt x="5400" y="11782"/>
                </a:lnTo>
                <a:lnTo>
                  <a:pt x="7364" y="11782"/>
                </a:lnTo>
                <a:cubicBezTo>
                  <a:pt x="7364" y="11782"/>
                  <a:pt x="7364" y="9818"/>
                  <a:pt x="7364" y="9818"/>
                </a:cubicBezTo>
                <a:close/>
                <a:moveTo>
                  <a:pt x="4418" y="16691"/>
                </a:moveTo>
                <a:lnTo>
                  <a:pt x="2455" y="16691"/>
                </a:lnTo>
                <a:lnTo>
                  <a:pt x="2455" y="18655"/>
                </a:lnTo>
                <a:lnTo>
                  <a:pt x="4418" y="18655"/>
                </a:lnTo>
                <a:cubicBezTo>
                  <a:pt x="4418" y="18655"/>
                  <a:pt x="4418" y="16691"/>
                  <a:pt x="4418" y="16691"/>
                </a:cubicBezTo>
                <a:close/>
                <a:moveTo>
                  <a:pt x="20618" y="6873"/>
                </a:moveTo>
                <a:lnTo>
                  <a:pt x="982" y="6873"/>
                </a:lnTo>
                <a:lnTo>
                  <a:pt x="982" y="3928"/>
                </a:lnTo>
                <a:cubicBezTo>
                  <a:pt x="982" y="3385"/>
                  <a:pt x="1422" y="2945"/>
                  <a:pt x="1964" y="2945"/>
                </a:cubicBezTo>
                <a:lnTo>
                  <a:pt x="3927" y="2945"/>
                </a:lnTo>
                <a:lnTo>
                  <a:pt x="3927" y="4418"/>
                </a:lnTo>
                <a:cubicBezTo>
                  <a:pt x="3927" y="4690"/>
                  <a:pt x="4147" y="4909"/>
                  <a:pt x="4418" y="4909"/>
                </a:cubicBezTo>
                <a:cubicBezTo>
                  <a:pt x="4690" y="4909"/>
                  <a:pt x="4909" y="4690"/>
                  <a:pt x="4909" y="4418"/>
                </a:cubicBezTo>
                <a:lnTo>
                  <a:pt x="4909" y="2945"/>
                </a:lnTo>
                <a:lnTo>
                  <a:pt x="16691" y="2945"/>
                </a:lnTo>
                <a:lnTo>
                  <a:pt x="16691" y="4418"/>
                </a:lnTo>
                <a:cubicBezTo>
                  <a:pt x="16691" y="4690"/>
                  <a:pt x="16910" y="4909"/>
                  <a:pt x="17182" y="4909"/>
                </a:cubicBezTo>
                <a:cubicBezTo>
                  <a:pt x="17453" y="4909"/>
                  <a:pt x="17673" y="4690"/>
                  <a:pt x="17673" y="4418"/>
                </a:cubicBezTo>
                <a:lnTo>
                  <a:pt x="17673" y="2945"/>
                </a:lnTo>
                <a:lnTo>
                  <a:pt x="19636" y="2945"/>
                </a:lnTo>
                <a:cubicBezTo>
                  <a:pt x="20178" y="2945"/>
                  <a:pt x="20618" y="3385"/>
                  <a:pt x="20618" y="3928"/>
                </a:cubicBezTo>
                <a:cubicBezTo>
                  <a:pt x="20618" y="3928"/>
                  <a:pt x="20618" y="6873"/>
                  <a:pt x="20618" y="6873"/>
                </a:cubicBezTo>
                <a:close/>
                <a:moveTo>
                  <a:pt x="20618" y="19636"/>
                </a:moveTo>
                <a:cubicBezTo>
                  <a:pt x="20618" y="20178"/>
                  <a:pt x="20178" y="20618"/>
                  <a:pt x="19636" y="20618"/>
                </a:cubicBezTo>
                <a:lnTo>
                  <a:pt x="1964" y="20618"/>
                </a:lnTo>
                <a:cubicBezTo>
                  <a:pt x="1422" y="20618"/>
                  <a:pt x="982" y="20178"/>
                  <a:pt x="982" y="19636"/>
                </a:cubicBezTo>
                <a:lnTo>
                  <a:pt x="982" y="7855"/>
                </a:lnTo>
                <a:lnTo>
                  <a:pt x="20618" y="7855"/>
                </a:lnTo>
                <a:cubicBezTo>
                  <a:pt x="20618" y="7855"/>
                  <a:pt x="20618" y="19636"/>
                  <a:pt x="20618" y="19636"/>
                </a:cubicBezTo>
                <a:close/>
                <a:moveTo>
                  <a:pt x="19636" y="1964"/>
                </a:moveTo>
                <a:lnTo>
                  <a:pt x="17673" y="1964"/>
                </a:lnTo>
                <a:lnTo>
                  <a:pt x="17673" y="491"/>
                </a:lnTo>
                <a:cubicBezTo>
                  <a:pt x="17673" y="220"/>
                  <a:pt x="17453" y="0"/>
                  <a:pt x="17182" y="0"/>
                </a:cubicBezTo>
                <a:cubicBezTo>
                  <a:pt x="16910" y="0"/>
                  <a:pt x="16691" y="220"/>
                  <a:pt x="16691" y="491"/>
                </a:cubicBezTo>
                <a:lnTo>
                  <a:pt x="16691" y="1964"/>
                </a:lnTo>
                <a:lnTo>
                  <a:pt x="4909" y="1964"/>
                </a:lnTo>
                <a:lnTo>
                  <a:pt x="4909" y="491"/>
                </a:lnTo>
                <a:cubicBezTo>
                  <a:pt x="4909" y="220"/>
                  <a:pt x="4690" y="0"/>
                  <a:pt x="4418" y="0"/>
                </a:cubicBezTo>
                <a:cubicBezTo>
                  <a:pt x="4147" y="0"/>
                  <a:pt x="3927" y="220"/>
                  <a:pt x="3927" y="491"/>
                </a:cubicBezTo>
                <a:lnTo>
                  <a:pt x="3927" y="1964"/>
                </a:lnTo>
                <a:lnTo>
                  <a:pt x="1964" y="1964"/>
                </a:lnTo>
                <a:cubicBezTo>
                  <a:pt x="879" y="1964"/>
                  <a:pt x="0" y="2843"/>
                  <a:pt x="0" y="3928"/>
                </a:cubicBezTo>
                <a:lnTo>
                  <a:pt x="0" y="19636"/>
                </a:lnTo>
                <a:cubicBezTo>
                  <a:pt x="0" y="20721"/>
                  <a:pt x="879" y="21600"/>
                  <a:pt x="1964" y="21600"/>
                </a:cubicBezTo>
                <a:lnTo>
                  <a:pt x="19636" y="21600"/>
                </a:lnTo>
                <a:cubicBezTo>
                  <a:pt x="20721" y="21600"/>
                  <a:pt x="21600" y="20721"/>
                  <a:pt x="21600" y="19636"/>
                </a:cubicBezTo>
                <a:lnTo>
                  <a:pt x="21600" y="3928"/>
                </a:lnTo>
                <a:cubicBezTo>
                  <a:pt x="21600" y="2843"/>
                  <a:pt x="20721" y="1964"/>
                  <a:pt x="19636" y="1964"/>
                </a:cubicBezTo>
                <a:moveTo>
                  <a:pt x="4418" y="9818"/>
                </a:moveTo>
                <a:lnTo>
                  <a:pt x="2455" y="9818"/>
                </a:lnTo>
                <a:lnTo>
                  <a:pt x="2455" y="11782"/>
                </a:lnTo>
                <a:lnTo>
                  <a:pt x="4418" y="11782"/>
                </a:lnTo>
                <a:cubicBezTo>
                  <a:pt x="4418" y="11782"/>
                  <a:pt x="4418" y="9818"/>
                  <a:pt x="4418" y="9818"/>
                </a:cubicBezTo>
                <a:close/>
                <a:moveTo>
                  <a:pt x="4418" y="13255"/>
                </a:moveTo>
                <a:lnTo>
                  <a:pt x="2455" y="13255"/>
                </a:lnTo>
                <a:lnTo>
                  <a:pt x="2455" y="15218"/>
                </a:lnTo>
                <a:lnTo>
                  <a:pt x="4418" y="15218"/>
                </a:lnTo>
                <a:cubicBezTo>
                  <a:pt x="4418" y="15218"/>
                  <a:pt x="4418" y="13255"/>
                  <a:pt x="4418" y="13255"/>
                </a:cubicBezTo>
                <a:close/>
                <a:moveTo>
                  <a:pt x="10309" y="16691"/>
                </a:moveTo>
                <a:lnTo>
                  <a:pt x="8345" y="16691"/>
                </a:lnTo>
                <a:lnTo>
                  <a:pt x="8345" y="18655"/>
                </a:lnTo>
                <a:lnTo>
                  <a:pt x="10309" y="18655"/>
                </a:lnTo>
                <a:cubicBezTo>
                  <a:pt x="10309" y="18655"/>
                  <a:pt x="10309" y="16691"/>
                  <a:pt x="10309" y="16691"/>
                </a:cubicBezTo>
                <a:close/>
                <a:moveTo>
                  <a:pt x="10309" y="9818"/>
                </a:moveTo>
                <a:lnTo>
                  <a:pt x="8345" y="9818"/>
                </a:lnTo>
                <a:lnTo>
                  <a:pt x="8345" y="11782"/>
                </a:lnTo>
                <a:lnTo>
                  <a:pt x="10309" y="11782"/>
                </a:lnTo>
                <a:cubicBezTo>
                  <a:pt x="10309" y="11782"/>
                  <a:pt x="10309" y="9818"/>
                  <a:pt x="10309" y="9818"/>
                </a:cubicBezTo>
                <a:close/>
                <a:moveTo>
                  <a:pt x="10309" y="13255"/>
                </a:moveTo>
                <a:lnTo>
                  <a:pt x="8345" y="13255"/>
                </a:lnTo>
                <a:lnTo>
                  <a:pt x="8345" y="15218"/>
                </a:lnTo>
                <a:lnTo>
                  <a:pt x="10309" y="15218"/>
                </a:lnTo>
                <a:cubicBezTo>
                  <a:pt x="10309" y="15218"/>
                  <a:pt x="10309" y="13255"/>
                  <a:pt x="10309" y="13255"/>
                </a:cubicBezTo>
                <a:close/>
                <a:moveTo>
                  <a:pt x="19145" y="13255"/>
                </a:moveTo>
                <a:lnTo>
                  <a:pt x="17182" y="13255"/>
                </a:lnTo>
                <a:lnTo>
                  <a:pt x="17182" y="15218"/>
                </a:lnTo>
                <a:lnTo>
                  <a:pt x="19145" y="15218"/>
                </a:lnTo>
                <a:cubicBezTo>
                  <a:pt x="19145" y="15218"/>
                  <a:pt x="19145" y="13255"/>
                  <a:pt x="19145" y="13255"/>
                </a:cubicBezTo>
                <a:close/>
                <a:moveTo>
                  <a:pt x="16200" y="13255"/>
                </a:moveTo>
                <a:lnTo>
                  <a:pt x="14236" y="13255"/>
                </a:lnTo>
                <a:lnTo>
                  <a:pt x="14236" y="15218"/>
                </a:lnTo>
                <a:lnTo>
                  <a:pt x="16200" y="15218"/>
                </a:lnTo>
                <a:cubicBezTo>
                  <a:pt x="16200" y="15218"/>
                  <a:pt x="16200" y="13255"/>
                  <a:pt x="16200" y="13255"/>
                </a:cubicBezTo>
                <a:close/>
                <a:moveTo>
                  <a:pt x="19145" y="9818"/>
                </a:moveTo>
                <a:lnTo>
                  <a:pt x="17182" y="9818"/>
                </a:lnTo>
                <a:lnTo>
                  <a:pt x="17182" y="11782"/>
                </a:lnTo>
                <a:lnTo>
                  <a:pt x="19145" y="11782"/>
                </a:lnTo>
                <a:cubicBezTo>
                  <a:pt x="19145" y="11782"/>
                  <a:pt x="19145" y="9818"/>
                  <a:pt x="19145" y="9818"/>
                </a:cubicBezTo>
                <a:close/>
                <a:moveTo>
                  <a:pt x="16200" y="9818"/>
                </a:moveTo>
                <a:lnTo>
                  <a:pt x="14236" y="9818"/>
                </a:lnTo>
                <a:lnTo>
                  <a:pt x="14236" y="11782"/>
                </a:lnTo>
                <a:lnTo>
                  <a:pt x="16200" y="11782"/>
                </a:lnTo>
                <a:cubicBezTo>
                  <a:pt x="16200" y="11782"/>
                  <a:pt x="16200" y="9818"/>
                  <a:pt x="16200" y="9818"/>
                </a:cubicBezTo>
                <a:close/>
                <a:moveTo>
                  <a:pt x="13255" y="16691"/>
                </a:moveTo>
                <a:lnTo>
                  <a:pt x="11291" y="16691"/>
                </a:lnTo>
                <a:lnTo>
                  <a:pt x="11291" y="18655"/>
                </a:lnTo>
                <a:lnTo>
                  <a:pt x="13255" y="18655"/>
                </a:lnTo>
                <a:cubicBezTo>
                  <a:pt x="13255" y="18655"/>
                  <a:pt x="13255" y="16691"/>
                  <a:pt x="13255" y="16691"/>
                </a:cubicBezTo>
                <a:close/>
                <a:moveTo>
                  <a:pt x="13255" y="9818"/>
                </a:moveTo>
                <a:lnTo>
                  <a:pt x="11291" y="9818"/>
                </a:lnTo>
                <a:lnTo>
                  <a:pt x="11291" y="11782"/>
                </a:lnTo>
                <a:lnTo>
                  <a:pt x="13255" y="11782"/>
                </a:lnTo>
                <a:cubicBezTo>
                  <a:pt x="13255" y="11782"/>
                  <a:pt x="13255" y="9818"/>
                  <a:pt x="13255" y="9818"/>
                </a:cubicBezTo>
                <a:close/>
                <a:moveTo>
                  <a:pt x="13255" y="13255"/>
                </a:moveTo>
                <a:lnTo>
                  <a:pt x="11291" y="13255"/>
                </a:lnTo>
                <a:lnTo>
                  <a:pt x="11291" y="15218"/>
                </a:lnTo>
                <a:lnTo>
                  <a:pt x="13255" y="15218"/>
                </a:lnTo>
                <a:cubicBezTo>
                  <a:pt x="13255" y="15218"/>
                  <a:pt x="13255" y="13255"/>
                  <a:pt x="13255" y="1325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4" name="Shape 2624"/>
          <p:cNvSpPr/>
          <p:nvPr/>
        </p:nvSpPr>
        <p:spPr>
          <a:xfrm>
            <a:off x="8288182" y="303193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2" y="6873"/>
                </a:moveTo>
                <a:lnTo>
                  <a:pt x="20618" y="6873"/>
                </a:lnTo>
                <a:lnTo>
                  <a:pt x="20618" y="7855"/>
                </a:lnTo>
                <a:lnTo>
                  <a:pt x="982" y="7855"/>
                </a:lnTo>
                <a:cubicBezTo>
                  <a:pt x="982" y="7855"/>
                  <a:pt x="982" y="6873"/>
                  <a:pt x="982" y="6873"/>
                </a:cubicBezTo>
                <a:close/>
                <a:moveTo>
                  <a:pt x="16691" y="8836"/>
                </a:moveTo>
                <a:lnTo>
                  <a:pt x="18655" y="8836"/>
                </a:lnTo>
                <a:lnTo>
                  <a:pt x="18655" y="17673"/>
                </a:lnTo>
                <a:lnTo>
                  <a:pt x="16691" y="17673"/>
                </a:lnTo>
                <a:cubicBezTo>
                  <a:pt x="16691" y="17673"/>
                  <a:pt x="16691" y="8836"/>
                  <a:pt x="16691" y="8836"/>
                </a:cubicBezTo>
                <a:close/>
                <a:moveTo>
                  <a:pt x="13745" y="8836"/>
                </a:moveTo>
                <a:lnTo>
                  <a:pt x="15709" y="8836"/>
                </a:lnTo>
                <a:lnTo>
                  <a:pt x="15709" y="17673"/>
                </a:lnTo>
                <a:lnTo>
                  <a:pt x="13745" y="17673"/>
                </a:lnTo>
                <a:cubicBezTo>
                  <a:pt x="13745" y="17673"/>
                  <a:pt x="13745" y="8836"/>
                  <a:pt x="13745" y="8836"/>
                </a:cubicBezTo>
                <a:close/>
                <a:moveTo>
                  <a:pt x="8836" y="8836"/>
                </a:moveTo>
                <a:lnTo>
                  <a:pt x="12764" y="8836"/>
                </a:lnTo>
                <a:lnTo>
                  <a:pt x="12764" y="17673"/>
                </a:lnTo>
                <a:lnTo>
                  <a:pt x="8836" y="17673"/>
                </a:lnTo>
                <a:cubicBezTo>
                  <a:pt x="8836" y="17673"/>
                  <a:pt x="8836" y="8836"/>
                  <a:pt x="8836" y="8836"/>
                </a:cubicBezTo>
                <a:close/>
                <a:moveTo>
                  <a:pt x="5891" y="8836"/>
                </a:moveTo>
                <a:lnTo>
                  <a:pt x="7855" y="8836"/>
                </a:lnTo>
                <a:lnTo>
                  <a:pt x="7855" y="17673"/>
                </a:lnTo>
                <a:lnTo>
                  <a:pt x="5891" y="17673"/>
                </a:lnTo>
                <a:cubicBezTo>
                  <a:pt x="5891" y="17673"/>
                  <a:pt x="5891" y="8836"/>
                  <a:pt x="5891" y="8836"/>
                </a:cubicBezTo>
                <a:close/>
                <a:moveTo>
                  <a:pt x="2945" y="8836"/>
                </a:moveTo>
                <a:lnTo>
                  <a:pt x="4909" y="8836"/>
                </a:lnTo>
                <a:lnTo>
                  <a:pt x="4909" y="17673"/>
                </a:lnTo>
                <a:lnTo>
                  <a:pt x="2945" y="17673"/>
                </a:lnTo>
                <a:cubicBezTo>
                  <a:pt x="2945" y="17673"/>
                  <a:pt x="2945" y="8836"/>
                  <a:pt x="2945" y="8836"/>
                </a:cubicBezTo>
                <a:close/>
                <a:moveTo>
                  <a:pt x="19773" y="18655"/>
                </a:moveTo>
                <a:lnTo>
                  <a:pt x="20428" y="20618"/>
                </a:lnTo>
                <a:lnTo>
                  <a:pt x="1172" y="20618"/>
                </a:lnTo>
                <a:lnTo>
                  <a:pt x="1827" y="18655"/>
                </a:lnTo>
                <a:cubicBezTo>
                  <a:pt x="1827" y="18655"/>
                  <a:pt x="19773" y="18655"/>
                  <a:pt x="19773" y="18655"/>
                </a:cubicBezTo>
                <a:close/>
                <a:moveTo>
                  <a:pt x="10800" y="1056"/>
                </a:moveTo>
                <a:lnTo>
                  <a:pt x="19261" y="5891"/>
                </a:lnTo>
                <a:lnTo>
                  <a:pt x="2339" y="5891"/>
                </a:lnTo>
                <a:cubicBezTo>
                  <a:pt x="2339" y="5891"/>
                  <a:pt x="10800" y="1056"/>
                  <a:pt x="10800" y="1056"/>
                </a:cubicBezTo>
                <a:close/>
                <a:moveTo>
                  <a:pt x="21109" y="8836"/>
                </a:moveTo>
                <a:cubicBezTo>
                  <a:pt x="21380" y="8836"/>
                  <a:pt x="21600" y="8617"/>
                  <a:pt x="21600" y="8345"/>
                </a:cubicBezTo>
                <a:lnTo>
                  <a:pt x="21600" y="6382"/>
                </a:lnTo>
                <a:cubicBezTo>
                  <a:pt x="21600" y="6200"/>
                  <a:pt x="21496" y="6047"/>
                  <a:pt x="21349" y="5963"/>
                </a:cubicBezTo>
                <a:lnTo>
                  <a:pt x="21353" y="5956"/>
                </a:lnTo>
                <a:lnTo>
                  <a:pt x="11044" y="65"/>
                </a:lnTo>
                <a:lnTo>
                  <a:pt x="11040" y="72"/>
                </a:lnTo>
                <a:cubicBezTo>
                  <a:pt x="10968" y="30"/>
                  <a:pt x="10889" y="0"/>
                  <a:pt x="10800" y="0"/>
                </a:cubicBezTo>
                <a:cubicBezTo>
                  <a:pt x="10711" y="0"/>
                  <a:pt x="10632" y="30"/>
                  <a:pt x="10560" y="72"/>
                </a:cubicBezTo>
                <a:lnTo>
                  <a:pt x="10556" y="65"/>
                </a:lnTo>
                <a:lnTo>
                  <a:pt x="247" y="5956"/>
                </a:lnTo>
                <a:lnTo>
                  <a:pt x="251" y="5963"/>
                </a:lnTo>
                <a:cubicBezTo>
                  <a:pt x="104" y="6047"/>
                  <a:pt x="0" y="6200"/>
                  <a:pt x="0" y="6382"/>
                </a:cubicBezTo>
                <a:lnTo>
                  <a:pt x="0" y="8345"/>
                </a:lnTo>
                <a:cubicBezTo>
                  <a:pt x="0" y="8617"/>
                  <a:pt x="220" y="8836"/>
                  <a:pt x="491" y="8836"/>
                </a:cubicBezTo>
                <a:lnTo>
                  <a:pt x="1964" y="8836"/>
                </a:lnTo>
                <a:lnTo>
                  <a:pt x="1964" y="17673"/>
                </a:lnTo>
                <a:lnTo>
                  <a:pt x="1473" y="17673"/>
                </a:lnTo>
                <a:cubicBezTo>
                  <a:pt x="1256" y="17673"/>
                  <a:pt x="1078" y="17816"/>
                  <a:pt x="1013" y="18010"/>
                </a:cubicBezTo>
                <a:lnTo>
                  <a:pt x="1007" y="18009"/>
                </a:lnTo>
                <a:lnTo>
                  <a:pt x="25" y="20954"/>
                </a:lnTo>
                <a:lnTo>
                  <a:pt x="31" y="20955"/>
                </a:lnTo>
                <a:cubicBezTo>
                  <a:pt x="14" y="21005"/>
                  <a:pt x="0" y="21055"/>
                  <a:pt x="0" y="21109"/>
                </a:cubicBezTo>
                <a:cubicBezTo>
                  <a:pt x="0" y="21381"/>
                  <a:pt x="220" y="21600"/>
                  <a:pt x="491" y="21600"/>
                </a:cubicBezTo>
                <a:lnTo>
                  <a:pt x="21109" y="21600"/>
                </a:lnTo>
                <a:cubicBezTo>
                  <a:pt x="21380" y="21600"/>
                  <a:pt x="21600" y="21381"/>
                  <a:pt x="21600" y="21109"/>
                </a:cubicBezTo>
                <a:cubicBezTo>
                  <a:pt x="21600" y="21055"/>
                  <a:pt x="21586" y="21005"/>
                  <a:pt x="21569" y="20955"/>
                </a:cubicBezTo>
                <a:lnTo>
                  <a:pt x="21575" y="20954"/>
                </a:lnTo>
                <a:lnTo>
                  <a:pt x="20593" y="18009"/>
                </a:lnTo>
                <a:lnTo>
                  <a:pt x="20587" y="18010"/>
                </a:lnTo>
                <a:cubicBezTo>
                  <a:pt x="20522" y="17816"/>
                  <a:pt x="20344" y="17673"/>
                  <a:pt x="20127" y="17673"/>
                </a:cubicBezTo>
                <a:lnTo>
                  <a:pt x="19636" y="17673"/>
                </a:lnTo>
                <a:lnTo>
                  <a:pt x="19636" y="8836"/>
                </a:lnTo>
                <a:cubicBezTo>
                  <a:pt x="19636" y="8836"/>
                  <a:pt x="21109" y="8836"/>
                  <a:pt x="21109" y="88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5" name="Shape 2625"/>
          <p:cNvSpPr/>
          <p:nvPr/>
        </p:nvSpPr>
        <p:spPr>
          <a:xfrm>
            <a:off x="4688671"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5" y="18796"/>
                  <a:pt x="1048" y="18734"/>
                </a:cubicBezTo>
                <a:cubicBezTo>
                  <a:pt x="1065" y="18712"/>
                  <a:pt x="1048" y="18729"/>
                  <a:pt x="1078" y="18673"/>
                </a:cubicBezTo>
                <a:lnTo>
                  <a:pt x="9914" y="1873"/>
                </a:lnTo>
                <a:cubicBezTo>
                  <a:pt x="9930" y="1843"/>
                  <a:pt x="9944" y="1813"/>
                  <a:pt x="9957" y="1783"/>
                </a:cubicBezTo>
                <a:cubicBezTo>
                  <a:pt x="9960" y="1778"/>
                  <a:pt x="10234" y="1200"/>
                  <a:pt x="10800" y="1200"/>
                </a:cubicBezTo>
                <a:cubicBezTo>
                  <a:pt x="11366" y="1200"/>
                  <a:pt x="11588" y="1654"/>
                  <a:pt x="11617" y="1719"/>
                </a:cubicBezTo>
                <a:cubicBezTo>
                  <a:pt x="11641" y="1792"/>
                  <a:pt x="11650" y="1806"/>
                  <a:pt x="11686" y="1873"/>
                </a:cubicBezTo>
                <a:lnTo>
                  <a:pt x="20522" y="18673"/>
                </a:lnTo>
                <a:cubicBezTo>
                  <a:pt x="20535" y="18697"/>
                  <a:pt x="20548" y="18720"/>
                  <a:pt x="20562" y="18744"/>
                </a:cubicBezTo>
                <a:cubicBezTo>
                  <a:pt x="20576" y="18785"/>
                  <a:pt x="20618" y="18928"/>
                  <a:pt x="20618" y="19200"/>
                </a:cubicBezTo>
                <a:cubicBezTo>
                  <a:pt x="20618" y="19862"/>
                  <a:pt x="20177" y="20400"/>
                  <a:pt x="19636" y="20400"/>
                </a:cubicBezTo>
                <a:moveTo>
                  <a:pt x="21348" y="18023"/>
                </a:moveTo>
                <a:lnTo>
                  <a:pt x="12511" y="1223"/>
                </a:lnTo>
                <a:cubicBezTo>
                  <a:pt x="12511" y="1223"/>
                  <a:pt x="12058" y="0"/>
                  <a:pt x="10800" y="0"/>
                </a:cubicBezTo>
                <a:cubicBezTo>
                  <a:pt x="9616" y="0"/>
                  <a:pt x="9089" y="1223"/>
                  <a:pt x="9089" y="1223"/>
                </a:cubicBezTo>
                <a:lnTo>
                  <a:pt x="252" y="18023"/>
                </a:lnTo>
                <a:cubicBezTo>
                  <a:pt x="252" y="18023"/>
                  <a:pt x="0" y="18421"/>
                  <a:pt x="0" y="19200"/>
                </a:cubicBezTo>
                <a:cubicBezTo>
                  <a:pt x="0" y="20526"/>
                  <a:pt x="879" y="21600"/>
                  <a:pt x="1964" y="21600"/>
                </a:cubicBezTo>
                <a:lnTo>
                  <a:pt x="19636" y="21600"/>
                </a:lnTo>
                <a:cubicBezTo>
                  <a:pt x="20721" y="21600"/>
                  <a:pt x="21600" y="20526"/>
                  <a:pt x="21600" y="19200"/>
                </a:cubicBezTo>
                <a:cubicBezTo>
                  <a:pt x="21600" y="18362"/>
                  <a:pt x="21348" y="18023"/>
                  <a:pt x="21348" y="18023"/>
                </a:cubicBezTo>
                <a:moveTo>
                  <a:pt x="10800" y="15600"/>
                </a:moveTo>
                <a:cubicBezTo>
                  <a:pt x="10258" y="15600"/>
                  <a:pt x="9818" y="16138"/>
                  <a:pt x="9818" y="16800"/>
                </a:cubicBezTo>
                <a:cubicBezTo>
                  <a:pt x="9818" y="17462"/>
                  <a:pt x="10258" y="18000"/>
                  <a:pt x="10800" y="18000"/>
                </a:cubicBezTo>
                <a:cubicBezTo>
                  <a:pt x="11342" y="18000"/>
                  <a:pt x="11782" y="17462"/>
                  <a:pt x="11782" y="16800"/>
                </a:cubicBezTo>
                <a:cubicBezTo>
                  <a:pt x="11782" y="16138"/>
                  <a:pt x="11342" y="15600"/>
                  <a:pt x="10800" y="15600"/>
                </a:cubicBezTo>
                <a:moveTo>
                  <a:pt x="10800" y="6000"/>
                </a:moveTo>
                <a:cubicBezTo>
                  <a:pt x="10258" y="6000"/>
                  <a:pt x="9818" y="6538"/>
                  <a:pt x="9818" y="7200"/>
                </a:cubicBezTo>
                <a:lnTo>
                  <a:pt x="10309" y="13800"/>
                </a:lnTo>
                <a:cubicBezTo>
                  <a:pt x="10309" y="14132"/>
                  <a:pt x="10529" y="14400"/>
                  <a:pt x="10800" y="14400"/>
                </a:cubicBezTo>
                <a:cubicBezTo>
                  <a:pt x="11071" y="14400"/>
                  <a:pt x="11291" y="14132"/>
                  <a:pt x="11291" y="13800"/>
                </a:cubicBezTo>
                <a:lnTo>
                  <a:pt x="11782" y="7200"/>
                </a:lnTo>
                <a:cubicBezTo>
                  <a:pt x="11782" y="6538"/>
                  <a:pt x="11342" y="6000"/>
                  <a:pt x="10800" y="6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6" name="Shape 2626"/>
          <p:cNvSpPr/>
          <p:nvPr/>
        </p:nvSpPr>
        <p:spPr>
          <a:xfrm>
            <a:off x="5107660"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7222" y="18655"/>
                </a:moveTo>
                <a:cubicBezTo>
                  <a:pt x="7553" y="18644"/>
                  <a:pt x="7811" y="18417"/>
                  <a:pt x="7799" y="18146"/>
                </a:cubicBezTo>
                <a:lnTo>
                  <a:pt x="6916" y="6377"/>
                </a:lnTo>
                <a:cubicBezTo>
                  <a:pt x="6904" y="6106"/>
                  <a:pt x="6626" y="5895"/>
                  <a:pt x="6295" y="5904"/>
                </a:cubicBezTo>
                <a:cubicBezTo>
                  <a:pt x="5963" y="5915"/>
                  <a:pt x="5705" y="6142"/>
                  <a:pt x="5717" y="6413"/>
                </a:cubicBezTo>
                <a:lnTo>
                  <a:pt x="6601" y="18182"/>
                </a:lnTo>
                <a:cubicBezTo>
                  <a:pt x="6613" y="18453"/>
                  <a:pt x="6891" y="18664"/>
                  <a:pt x="7222" y="18655"/>
                </a:cubicBezTo>
                <a:moveTo>
                  <a:pt x="17400" y="19636"/>
                </a:moveTo>
                <a:cubicBezTo>
                  <a:pt x="17319" y="20154"/>
                  <a:pt x="16862" y="20618"/>
                  <a:pt x="16200" y="20618"/>
                </a:cubicBezTo>
                <a:lnTo>
                  <a:pt x="5400" y="20618"/>
                </a:lnTo>
                <a:cubicBezTo>
                  <a:pt x="4737" y="20618"/>
                  <a:pt x="4291" y="20160"/>
                  <a:pt x="4200" y="19636"/>
                </a:cubicBezTo>
                <a:lnTo>
                  <a:pt x="3000" y="3927"/>
                </a:lnTo>
                <a:lnTo>
                  <a:pt x="18600" y="3927"/>
                </a:lnTo>
                <a:cubicBezTo>
                  <a:pt x="18600" y="3927"/>
                  <a:pt x="17400" y="19636"/>
                  <a:pt x="17400" y="19636"/>
                </a:cubicBezTo>
                <a:close/>
                <a:moveTo>
                  <a:pt x="7800" y="983"/>
                </a:moveTo>
                <a:lnTo>
                  <a:pt x="13800" y="983"/>
                </a:lnTo>
                <a:lnTo>
                  <a:pt x="13800" y="2945"/>
                </a:lnTo>
                <a:lnTo>
                  <a:pt x="7800" y="2945"/>
                </a:lnTo>
                <a:cubicBezTo>
                  <a:pt x="7800" y="2945"/>
                  <a:pt x="7800" y="983"/>
                  <a:pt x="7800" y="983"/>
                </a:cubicBezTo>
                <a:close/>
                <a:moveTo>
                  <a:pt x="21000" y="2945"/>
                </a:moveTo>
                <a:lnTo>
                  <a:pt x="15000" y="2945"/>
                </a:lnTo>
                <a:lnTo>
                  <a:pt x="15000" y="983"/>
                </a:lnTo>
                <a:cubicBezTo>
                  <a:pt x="15000" y="440"/>
                  <a:pt x="14462" y="0"/>
                  <a:pt x="13800" y="0"/>
                </a:cubicBezTo>
                <a:lnTo>
                  <a:pt x="7800" y="0"/>
                </a:lnTo>
                <a:cubicBezTo>
                  <a:pt x="7137" y="0"/>
                  <a:pt x="6600" y="440"/>
                  <a:pt x="6600" y="983"/>
                </a:cubicBezTo>
                <a:lnTo>
                  <a:pt x="6600" y="2945"/>
                </a:lnTo>
                <a:lnTo>
                  <a:pt x="600" y="2945"/>
                </a:lnTo>
                <a:cubicBezTo>
                  <a:pt x="269" y="2945"/>
                  <a:pt x="0" y="3166"/>
                  <a:pt x="0" y="3437"/>
                </a:cubicBezTo>
                <a:cubicBezTo>
                  <a:pt x="0" y="3708"/>
                  <a:pt x="269" y="3927"/>
                  <a:pt x="600" y="3927"/>
                </a:cubicBezTo>
                <a:lnTo>
                  <a:pt x="1800" y="3927"/>
                </a:lnTo>
                <a:lnTo>
                  <a:pt x="3000" y="19636"/>
                </a:lnTo>
                <a:cubicBezTo>
                  <a:pt x="3193" y="20711"/>
                  <a:pt x="4075" y="21600"/>
                  <a:pt x="5400" y="21600"/>
                </a:cubicBezTo>
                <a:lnTo>
                  <a:pt x="16200" y="21600"/>
                </a:lnTo>
                <a:cubicBezTo>
                  <a:pt x="17525" y="21600"/>
                  <a:pt x="18374" y="20700"/>
                  <a:pt x="18600" y="19636"/>
                </a:cubicBezTo>
                <a:lnTo>
                  <a:pt x="19800" y="3927"/>
                </a:lnTo>
                <a:lnTo>
                  <a:pt x="21000" y="3927"/>
                </a:lnTo>
                <a:cubicBezTo>
                  <a:pt x="21331" y="3927"/>
                  <a:pt x="21600" y="3708"/>
                  <a:pt x="21600" y="3437"/>
                </a:cubicBezTo>
                <a:cubicBezTo>
                  <a:pt x="21600" y="3166"/>
                  <a:pt x="21331" y="2945"/>
                  <a:pt x="21000" y="2945"/>
                </a:cubicBezTo>
                <a:moveTo>
                  <a:pt x="14380" y="18654"/>
                </a:moveTo>
                <a:cubicBezTo>
                  <a:pt x="14711" y="18664"/>
                  <a:pt x="14989" y="18452"/>
                  <a:pt x="15001" y="18181"/>
                </a:cubicBezTo>
                <a:lnTo>
                  <a:pt x="15871" y="6413"/>
                </a:lnTo>
                <a:cubicBezTo>
                  <a:pt x="15883" y="6142"/>
                  <a:pt x="15625" y="5914"/>
                  <a:pt x="15294" y="5904"/>
                </a:cubicBezTo>
                <a:cubicBezTo>
                  <a:pt x="14962" y="5895"/>
                  <a:pt x="14684" y="6106"/>
                  <a:pt x="14672" y="6377"/>
                </a:cubicBezTo>
                <a:lnTo>
                  <a:pt x="13802" y="18146"/>
                </a:lnTo>
                <a:cubicBezTo>
                  <a:pt x="13790" y="18417"/>
                  <a:pt x="14049" y="18644"/>
                  <a:pt x="14380" y="18654"/>
                </a:cubicBezTo>
                <a:moveTo>
                  <a:pt x="10800" y="18655"/>
                </a:moveTo>
                <a:cubicBezTo>
                  <a:pt x="11131" y="18655"/>
                  <a:pt x="11400" y="18435"/>
                  <a:pt x="11400" y="18164"/>
                </a:cubicBezTo>
                <a:lnTo>
                  <a:pt x="11400" y="6382"/>
                </a:lnTo>
                <a:cubicBezTo>
                  <a:pt x="11400" y="6110"/>
                  <a:pt x="11131" y="5891"/>
                  <a:pt x="10800" y="5891"/>
                </a:cubicBezTo>
                <a:cubicBezTo>
                  <a:pt x="10469" y="5891"/>
                  <a:pt x="10200" y="6110"/>
                  <a:pt x="10200" y="6382"/>
                </a:cubicBezTo>
                <a:lnTo>
                  <a:pt x="10200" y="18164"/>
                </a:lnTo>
                <a:cubicBezTo>
                  <a:pt x="10200" y="18435"/>
                  <a:pt x="10469"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7" name="Shape 2627"/>
          <p:cNvSpPr/>
          <p:nvPr/>
        </p:nvSpPr>
        <p:spPr>
          <a:xfrm>
            <a:off x="5521891" y="3431875"/>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8720" y="19636"/>
                </a:moveTo>
                <a:cubicBezTo>
                  <a:pt x="18623" y="20154"/>
                  <a:pt x="18075" y="20618"/>
                  <a:pt x="17280" y="20618"/>
                </a:cubicBezTo>
                <a:lnTo>
                  <a:pt x="4320" y="20618"/>
                </a:lnTo>
                <a:cubicBezTo>
                  <a:pt x="3525" y="20618"/>
                  <a:pt x="2989" y="20160"/>
                  <a:pt x="2880" y="19636"/>
                </a:cubicBezTo>
                <a:lnTo>
                  <a:pt x="1483" y="3927"/>
                </a:lnTo>
                <a:lnTo>
                  <a:pt x="20117" y="3927"/>
                </a:lnTo>
                <a:cubicBezTo>
                  <a:pt x="20117" y="3927"/>
                  <a:pt x="18720" y="19636"/>
                  <a:pt x="18720" y="19636"/>
                </a:cubicBezTo>
                <a:close/>
                <a:moveTo>
                  <a:pt x="4529" y="2227"/>
                </a:moveTo>
                <a:cubicBezTo>
                  <a:pt x="4971" y="2122"/>
                  <a:pt x="5311" y="1878"/>
                  <a:pt x="5440" y="1571"/>
                </a:cubicBezTo>
                <a:cubicBezTo>
                  <a:pt x="5563" y="1278"/>
                  <a:pt x="6084" y="982"/>
                  <a:pt x="6840" y="982"/>
                </a:cubicBezTo>
                <a:cubicBezTo>
                  <a:pt x="7596" y="982"/>
                  <a:pt x="8117" y="1094"/>
                  <a:pt x="8240" y="1387"/>
                </a:cubicBezTo>
                <a:cubicBezTo>
                  <a:pt x="8286" y="1495"/>
                  <a:pt x="8358" y="1598"/>
                  <a:pt x="8454" y="1688"/>
                </a:cubicBezTo>
                <a:cubicBezTo>
                  <a:pt x="8957" y="2167"/>
                  <a:pt x="9732" y="2442"/>
                  <a:pt x="10577" y="2442"/>
                </a:cubicBezTo>
                <a:cubicBezTo>
                  <a:pt x="11235" y="2442"/>
                  <a:pt x="11854" y="2268"/>
                  <a:pt x="12300" y="1947"/>
                </a:cubicBezTo>
                <a:cubicBezTo>
                  <a:pt x="12697" y="1647"/>
                  <a:pt x="13446" y="1473"/>
                  <a:pt x="14760" y="1473"/>
                </a:cubicBezTo>
                <a:cubicBezTo>
                  <a:pt x="16059" y="1473"/>
                  <a:pt x="16752" y="1940"/>
                  <a:pt x="16920" y="2209"/>
                </a:cubicBezTo>
                <a:cubicBezTo>
                  <a:pt x="17107" y="2509"/>
                  <a:pt x="17391" y="2750"/>
                  <a:pt x="17688" y="2945"/>
                </a:cubicBezTo>
                <a:lnTo>
                  <a:pt x="2830" y="2945"/>
                </a:lnTo>
                <a:cubicBezTo>
                  <a:pt x="3170" y="2668"/>
                  <a:pt x="3770" y="2408"/>
                  <a:pt x="4529" y="2227"/>
                </a:cubicBezTo>
                <a:moveTo>
                  <a:pt x="20880" y="2945"/>
                </a:moveTo>
                <a:lnTo>
                  <a:pt x="19676" y="2945"/>
                </a:lnTo>
                <a:cubicBezTo>
                  <a:pt x="19217" y="2693"/>
                  <a:pt x="18780" y="2403"/>
                  <a:pt x="18405" y="1964"/>
                </a:cubicBezTo>
                <a:cubicBezTo>
                  <a:pt x="17787" y="1241"/>
                  <a:pt x="16749" y="491"/>
                  <a:pt x="14760" y="491"/>
                </a:cubicBezTo>
                <a:cubicBezTo>
                  <a:pt x="13012" y="491"/>
                  <a:pt x="11880" y="798"/>
                  <a:pt x="11231" y="1289"/>
                </a:cubicBezTo>
                <a:cubicBezTo>
                  <a:pt x="11081" y="1397"/>
                  <a:pt x="10839" y="1461"/>
                  <a:pt x="10577" y="1461"/>
                </a:cubicBezTo>
                <a:cubicBezTo>
                  <a:pt x="10245" y="1461"/>
                  <a:pt x="9879" y="1359"/>
                  <a:pt x="9624" y="1116"/>
                </a:cubicBezTo>
                <a:cubicBezTo>
                  <a:pt x="9310" y="370"/>
                  <a:pt x="8188" y="0"/>
                  <a:pt x="6840" y="0"/>
                </a:cubicBezTo>
                <a:cubicBezTo>
                  <a:pt x="5492" y="0"/>
                  <a:pt x="4370" y="554"/>
                  <a:pt x="4056" y="1300"/>
                </a:cubicBezTo>
                <a:cubicBezTo>
                  <a:pt x="2613" y="1643"/>
                  <a:pt x="1555" y="2238"/>
                  <a:pt x="1211" y="2945"/>
                </a:cubicBezTo>
                <a:lnTo>
                  <a:pt x="720" y="2945"/>
                </a:lnTo>
                <a:cubicBezTo>
                  <a:pt x="323" y="2945"/>
                  <a:pt x="0" y="3165"/>
                  <a:pt x="0" y="3436"/>
                </a:cubicBezTo>
                <a:lnTo>
                  <a:pt x="0" y="3437"/>
                </a:lnTo>
                <a:lnTo>
                  <a:pt x="1440" y="19636"/>
                </a:lnTo>
                <a:cubicBezTo>
                  <a:pt x="1672" y="20711"/>
                  <a:pt x="2730" y="21600"/>
                  <a:pt x="4320" y="21600"/>
                </a:cubicBezTo>
                <a:lnTo>
                  <a:pt x="17280" y="21600"/>
                </a:lnTo>
                <a:cubicBezTo>
                  <a:pt x="18870" y="21600"/>
                  <a:pt x="19890" y="20700"/>
                  <a:pt x="20160" y="19636"/>
                </a:cubicBezTo>
                <a:lnTo>
                  <a:pt x="21600" y="3437"/>
                </a:lnTo>
                <a:lnTo>
                  <a:pt x="21600" y="3436"/>
                </a:lnTo>
                <a:cubicBezTo>
                  <a:pt x="21600" y="3165"/>
                  <a:pt x="21277" y="2945"/>
                  <a:pt x="20880" y="2945"/>
                </a:cubicBezTo>
                <a:moveTo>
                  <a:pt x="6507" y="18655"/>
                </a:moveTo>
                <a:cubicBezTo>
                  <a:pt x="6904" y="18644"/>
                  <a:pt x="7214" y="18417"/>
                  <a:pt x="7200" y="18146"/>
                </a:cubicBezTo>
                <a:lnTo>
                  <a:pt x="6139" y="6377"/>
                </a:lnTo>
                <a:cubicBezTo>
                  <a:pt x="6125" y="6106"/>
                  <a:pt x="5791" y="5895"/>
                  <a:pt x="5394" y="5904"/>
                </a:cubicBezTo>
                <a:cubicBezTo>
                  <a:pt x="4996" y="5915"/>
                  <a:pt x="4686" y="6142"/>
                  <a:pt x="4700" y="6413"/>
                </a:cubicBezTo>
                <a:lnTo>
                  <a:pt x="5761" y="18182"/>
                </a:lnTo>
                <a:cubicBezTo>
                  <a:pt x="5775" y="18453"/>
                  <a:pt x="6109" y="18664"/>
                  <a:pt x="6507" y="18655"/>
                </a:cubicBezTo>
                <a:moveTo>
                  <a:pt x="10800" y="18655"/>
                </a:moveTo>
                <a:cubicBezTo>
                  <a:pt x="11197" y="18655"/>
                  <a:pt x="11520" y="18435"/>
                  <a:pt x="11520" y="18164"/>
                </a:cubicBezTo>
                <a:lnTo>
                  <a:pt x="11520" y="6382"/>
                </a:lnTo>
                <a:cubicBezTo>
                  <a:pt x="11520" y="6110"/>
                  <a:pt x="11197" y="5891"/>
                  <a:pt x="10800" y="5891"/>
                </a:cubicBezTo>
                <a:cubicBezTo>
                  <a:pt x="10403" y="5891"/>
                  <a:pt x="10080" y="6110"/>
                  <a:pt x="10080" y="6382"/>
                </a:cubicBezTo>
                <a:lnTo>
                  <a:pt x="10080" y="18164"/>
                </a:lnTo>
                <a:cubicBezTo>
                  <a:pt x="10080" y="18435"/>
                  <a:pt x="10403" y="18655"/>
                  <a:pt x="10800" y="18655"/>
                </a:cubicBezTo>
                <a:moveTo>
                  <a:pt x="15095" y="18654"/>
                </a:moveTo>
                <a:cubicBezTo>
                  <a:pt x="15494" y="18664"/>
                  <a:pt x="15827" y="18452"/>
                  <a:pt x="15841" y="18181"/>
                </a:cubicBezTo>
                <a:lnTo>
                  <a:pt x="16886" y="6413"/>
                </a:lnTo>
                <a:cubicBezTo>
                  <a:pt x="16900" y="6142"/>
                  <a:pt x="16590" y="5914"/>
                  <a:pt x="16192" y="5904"/>
                </a:cubicBezTo>
                <a:cubicBezTo>
                  <a:pt x="15795" y="5895"/>
                  <a:pt x="15461" y="6106"/>
                  <a:pt x="15447" y="6377"/>
                </a:cubicBezTo>
                <a:lnTo>
                  <a:pt x="14402" y="18146"/>
                </a:lnTo>
                <a:cubicBezTo>
                  <a:pt x="14388" y="18417"/>
                  <a:pt x="14699" y="18644"/>
                  <a:pt x="15095" y="1865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8" name="Shape 2628"/>
          <p:cNvSpPr/>
          <p:nvPr/>
        </p:nvSpPr>
        <p:spPr>
          <a:xfrm>
            <a:off x="588850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5" y="20618"/>
                </a:moveTo>
                <a:cubicBezTo>
                  <a:pt x="15830" y="20618"/>
                  <a:pt x="15230" y="20482"/>
                  <a:pt x="14664" y="20214"/>
                </a:cubicBezTo>
                <a:cubicBezTo>
                  <a:pt x="14611" y="20189"/>
                  <a:pt x="14556" y="20170"/>
                  <a:pt x="14501" y="20155"/>
                </a:cubicBezTo>
                <a:cubicBezTo>
                  <a:pt x="8920" y="17308"/>
                  <a:pt x="4296" y="12685"/>
                  <a:pt x="1448" y="7105"/>
                </a:cubicBezTo>
                <a:cubicBezTo>
                  <a:pt x="1432" y="7048"/>
                  <a:pt x="1412" y="6991"/>
                  <a:pt x="1386" y="6936"/>
                </a:cubicBezTo>
                <a:cubicBezTo>
                  <a:pt x="1118" y="6369"/>
                  <a:pt x="982" y="5770"/>
                  <a:pt x="982" y="5155"/>
                </a:cubicBezTo>
                <a:cubicBezTo>
                  <a:pt x="982" y="2774"/>
                  <a:pt x="3067" y="982"/>
                  <a:pt x="4418" y="982"/>
                </a:cubicBezTo>
                <a:cubicBezTo>
                  <a:pt x="4595" y="982"/>
                  <a:pt x="4712" y="1072"/>
                  <a:pt x="4765" y="1126"/>
                </a:cubicBezTo>
                <a:cubicBezTo>
                  <a:pt x="4777" y="1139"/>
                  <a:pt x="4800" y="1164"/>
                  <a:pt x="4832" y="1216"/>
                </a:cubicBezTo>
                <a:cubicBezTo>
                  <a:pt x="4849" y="1244"/>
                  <a:pt x="4868" y="1271"/>
                  <a:pt x="4888" y="1297"/>
                </a:cubicBezTo>
                <a:lnTo>
                  <a:pt x="8121" y="5453"/>
                </a:lnTo>
                <a:cubicBezTo>
                  <a:pt x="8146" y="5485"/>
                  <a:pt x="8173" y="5515"/>
                  <a:pt x="8202" y="5544"/>
                </a:cubicBezTo>
                <a:cubicBezTo>
                  <a:pt x="8255" y="5598"/>
                  <a:pt x="8345" y="5715"/>
                  <a:pt x="8345" y="5891"/>
                </a:cubicBezTo>
                <a:cubicBezTo>
                  <a:pt x="8345" y="5978"/>
                  <a:pt x="8321" y="6060"/>
                  <a:pt x="8274" y="6135"/>
                </a:cubicBezTo>
                <a:lnTo>
                  <a:pt x="7180" y="7221"/>
                </a:lnTo>
                <a:cubicBezTo>
                  <a:pt x="7175" y="7226"/>
                  <a:pt x="7170" y="7231"/>
                  <a:pt x="7165" y="7236"/>
                </a:cubicBezTo>
                <a:cubicBezTo>
                  <a:pt x="6769" y="7609"/>
                  <a:pt x="6543" y="8126"/>
                  <a:pt x="6543" y="8668"/>
                </a:cubicBezTo>
                <a:cubicBezTo>
                  <a:pt x="6543" y="9175"/>
                  <a:pt x="6740" y="9658"/>
                  <a:pt x="7082" y="10020"/>
                </a:cubicBezTo>
                <a:cubicBezTo>
                  <a:pt x="7094" y="10040"/>
                  <a:pt x="7107" y="10059"/>
                  <a:pt x="7121" y="10078"/>
                </a:cubicBezTo>
                <a:cubicBezTo>
                  <a:pt x="8327" y="11745"/>
                  <a:pt x="9810" y="13222"/>
                  <a:pt x="11528" y="14469"/>
                </a:cubicBezTo>
                <a:cubicBezTo>
                  <a:pt x="11541" y="14478"/>
                  <a:pt x="11555" y="14487"/>
                  <a:pt x="11568" y="14496"/>
                </a:cubicBezTo>
                <a:cubicBezTo>
                  <a:pt x="11931" y="14844"/>
                  <a:pt x="12418" y="15045"/>
                  <a:pt x="12928" y="15045"/>
                </a:cubicBezTo>
                <a:cubicBezTo>
                  <a:pt x="13440" y="15045"/>
                  <a:pt x="13934" y="14840"/>
                  <a:pt x="14301" y="14479"/>
                </a:cubicBezTo>
                <a:cubicBezTo>
                  <a:pt x="14320" y="14463"/>
                  <a:pt x="14338" y="14446"/>
                  <a:pt x="14356" y="14427"/>
                </a:cubicBezTo>
                <a:lnTo>
                  <a:pt x="15456" y="13320"/>
                </a:lnTo>
                <a:cubicBezTo>
                  <a:pt x="15533" y="13271"/>
                  <a:pt x="15615" y="13247"/>
                  <a:pt x="15701" y="13247"/>
                </a:cubicBezTo>
                <a:cubicBezTo>
                  <a:pt x="15878" y="13247"/>
                  <a:pt x="15995" y="13337"/>
                  <a:pt x="16048" y="13391"/>
                </a:cubicBezTo>
                <a:cubicBezTo>
                  <a:pt x="16077" y="13420"/>
                  <a:pt x="16108" y="13447"/>
                  <a:pt x="16140" y="13472"/>
                </a:cubicBezTo>
                <a:lnTo>
                  <a:pt x="20296" y="16704"/>
                </a:lnTo>
                <a:cubicBezTo>
                  <a:pt x="20323" y="16725"/>
                  <a:pt x="20351" y="16744"/>
                  <a:pt x="20379" y="16762"/>
                </a:cubicBezTo>
                <a:cubicBezTo>
                  <a:pt x="20431" y="16795"/>
                  <a:pt x="20455" y="16816"/>
                  <a:pt x="20466" y="16827"/>
                </a:cubicBezTo>
                <a:cubicBezTo>
                  <a:pt x="20520" y="16881"/>
                  <a:pt x="20610" y="16997"/>
                  <a:pt x="20610" y="17174"/>
                </a:cubicBezTo>
                <a:cubicBezTo>
                  <a:pt x="20610" y="17207"/>
                  <a:pt x="20612" y="17240"/>
                  <a:pt x="20616" y="17273"/>
                </a:cubicBezTo>
                <a:cubicBezTo>
                  <a:pt x="20539" y="18625"/>
                  <a:pt x="18774" y="20618"/>
                  <a:pt x="16445" y="20618"/>
                </a:cubicBezTo>
                <a:moveTo>
                  <a:pt x="21600" y="17174"/>
                </a:moveTo>
                <a:lnTo>
                  <a:pt x="21592" y="17174"/>
                </a:lnTo>
                <a:cubicBezTo>
                  <a:pt x="21592" y="16768"/>
                  <a:pt x="21427" y="16399"/>
                  <a:pt x="21161" y="16133"/>
                </a:cubicBezTo>
                <a:cubicBezTo>
                  <a:pt x="21082" y="16054"/>
                  <a:pt x="20994" y="15988"/>
                  <a:pt x="20899" y="15929"/>
                </a:cubicBezTo>
                <a:lnTo>
                  <a:pt x="16743" y="12697"/>
                </a:lnTo>
                <a:cubicBezTo>
                  <a:pt x="16476" y="12430"/>
                  <a:pt x="16108" y="12265"/>
                  <a:pt x="15701" y="12265"/>
                </a:cubicBezTo>
                <a:cubicBezTo>
                  <a:pt x="15368" y="12265"/>
                  <a:pt x="15065" y="12380"/>
                  <a:pt x="14819" y="12567"/>
                </a:cubicBezTo>
                <a:lnTo>
                  <a:pt x="13659" y="13736"/>
                </a:lnTo>
                <a:lnTo>
                  <a:pt x="13656" y="13733"/>
                </a:lnTo>
                <a:cubicBezTo>
                  <a:pt x="13477" y="13934"/>
                  <a:pt x="13218" y="14063"/>
                  <a:pt x="12928" y="14063"/>
                </a:cubicBezTo>
                <a:cubicBezTo>
                  <a:pt x="12595" y="14063"/>
                  <a:pt x="12303" y="13897"/>
                  <a:pt x="12125" y="13645"/>
                </a:cubicBezTo>
                <a:cubicBezTo>
                  <a:pt x="12119" y="13654"/>
                  <a:pt x="12111" y="13663"/>
                  <a:pt x="12104" y="13674"/>
                </a:cubicBezTo>
                <a:cubicBezTo>
                  <a:pt x="10500" y="12510"/>
                  <a:pt x="9078" y="11108"/>
                  <a:pt x="7916" y="9502"/>
                </a:cubicBezTo>
                <a:cubicBezTo>
                  <a:pt x="7927" y="9495"/>
                  <a:pt x="7937" y="9486"/>
                  <a:pt x="7949" y="9479"/>
                </a:cubicBezTo>
                <a:cubicBezTo>
                  <a:pt x="7693" y="9299"/>
                  <a:pt x="7525" y="9004"/>
                  <a:pt x="7525" y="8668"/>
                </a:cubicBezTo>
                <a:cubicBezTo>
                  <a:pt x="7525" y="8367"/>
                  <a:pt x="7662" y="8101"/>
                  <a:pt x="7873" y="7920"/>
                </a:cubicBezTo>
                <a:lnTo>
                  <a:pt x="7872" y="7918"/>
                </a:lnTo>
                <a:lnTo>
                  <a:pt x="9026" y="6773"/>
                </a:lnTo>
                <a:cubicBezTo>
                  <a:pt x="9213" y="6528"/>
                  <a:pt x="9327" y="6224"/>
                  <a:pt x="9327" y="5891"/>
                </a:cubicBezTo>
                <a:cubicBezTo>
                  <a:pt x="9327" y="5485"/>
                  <a:pt x="9162" y="5116"/>
                  <a:pt x="8896" y="4850"/>
                </a:cubicBezTo>
                <a:lnTo>
                  <a:pt x="5663" y="693"/>
                </a:lnTo>
                <a:cubicBezTo>
                  <a:pt x="5604" y="599"/>
                  <a:pt x="5538" y="510"/>
                  <a:pt x="5459" y="432"/>
                </a:cubicBezTo>
                <a:cubicBezTo>
                  <a:pt x="5193" y="165"/>
                  <a:pt x="4825" y="0"/>
                  <a:pt x="4418" y="0"/>
                </a:cubicBezTo>
                <a:cubicBezTo>
                  <a:pt x="2455" y="0"/>
                  <a:pt x="0" y="2308"/>
                  <a:pt x="0" y="5155"/>
                </a:cubicBezTo>
                <a:cubicBezTo>
                  <a:pt x="0" y="5943"/>
                  <a:pt x="183" y="6688"/>
                  <a:pt x="499" y="7356"/>
                </a:cubicBezTo>
                <a:lnTo>
                  <a:pt x="483" y="7373"/>
                </a:lnTo>
                <a:cubicBezTo>
                  <a:pt x="3436" y="13255"/>
                  <a:pt x="8345" y="18164"/>
                  <a:pt x="14228" y="21117"/>
                </a:cubicBezTo>
                <a:lnTo>
                  <a:pt x="14244" y="21101"/>
                </a:lnTo>
                <a:cubicBezTo>
                  <a:pt x="14912" y="21418"/>
                  <a:pt x="15657" y="21600"/>
                  <a:pt x="16445" y="21600"/>
                </a:cubicBezTo>
                <a:cubicBezTo>
                  <a:pt x="19292" y="21600"/>
                  <a:pt x="21600" y="19145"/>
                  <a:pt x="21600" y="17182"/>
                </a:cubicBezTo>
                <a:cubicBezTo>
                  <a:pt x="21600" y="17179"/>
                  <a:pt x="21600" y="17177"/>
                  <a:pt x="21600" y="1717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29" name="Shape 2629"/>
          <p:cNvSpPr/>
          <p:nvPr/>
        </p:nvSpPr>
        <p:spPr>
          <a:xfrm>
            <a:off x="6288453" y="3431875"/>
            <a:ext cx="209554" cy="209495"/>
          </a:xfrm>
          <a:custGeom>
            <a:avLst/>
            <a:gdLst/>
            <a:ahLst/>
            <a:cxnLst>
              <a:cxn ang="0">
                <a:pos x="wd2" y="hd2"/>
              </a:cxn>
              <a:cxn ang="5400000">
                <a:pos x="wd2" y="hd2"/>
              </a:cxn>
              <a:cxn ang="10800000">
                <a:pos x="wd2" y="hd2"/>
              </a:cxn>
              <a:cxn ang="16200000">
                <a:pos x="wd2" y="hd2"/>
              </a:cxn>
            </a:cxnLst>
            <a:rect l="0" t="0" r="r" b="b"/>
            <a:pathLst>
              <a:path w="21600" h="21600" extrusionOk="0">
                <a:moveTo>
                  <a:pt x="16441" y="20618"/>
                </a:moveTo>
                <a:cubicBezTo>
                  <a:pt x="15826" y="20618"/>
                  <a:pt x="15226" y="20482"/>
                  <a:pt x="14660" y="20214"/>
                </a:cubicBezTo>
                <a:cubicBezTo>
                  <a:pt x="14607" y="20189"/>
                  <a:pt x="14552" y="20170"/>
                  <a:pt x="14497" y="20155"/>
                </a:cubicBezTo>
                <a:cubicBezTo>
                  <a:pt x="8918" y="17308"/>
                  <a:pt x="4295" y="12685"/>
                  <a:pt x="1448" y="7105"/>
                </a:cubicBezTo>
                <a:cubicBezTo>
                  <a:pt x="1432" y="7048"/>
                  <a:pt x="1412" y="6991"/>
                  <a:pt x="1386" y="6936"/>
                </a:cubicBezTo>
                <a:cubicBezTo>
                  <a:pt x="1117" y="6369"/>
                  <a:pt x="982" y="5770"/>
                  <a:pt x="982" y="5155"/>
                </a:cubicBezTo>
                <a:cubicBezTo>
                  <a:pt x="982" y="2774"/>
                  <a:pt x="3066" y="982"/>
                  <a:pt x="4417" y="982"/>
                </a:cubicBezTo>
                <a:cubicBezTo>
                  <a:pt x="4594" y="982"/>
                  <a:pt x="4711" y="1072"/>
                  <a:pt x="4764" y="1126"/>
                </a:cubicBezTo>
                <a:cubicBezTo>
                  <a:pt x="4776" y="1139"/>
                  <a:pt x="4798" y="1164"/>
                  <a:pt x="4831" y="1216"/>
                </a:cubicBezTo>
                <a:cubicBezTo>
                  <a:pt x="4848" y="1244"/>
                  <a:pt x="4867" y="1271"/>
                  <a:pt x="4887" y="1297"/>
                </a:cubicBezTo>
                <a:lnTo>
                  <a:pt x="8118" y="5453"/>
                </a:lnTo>
                <a:cubicBezTo>
                  <a:pt x="8143" y="5485"/>
                  <a:pt x="8170" y="5515"/>
                  <a:pt x="8199" y="5544"/>
                </a:cubicBezTo>
                <a:cubicBezTo>
                  <a:pt x="8253" y="5598"/>
                  <a:pt x="8343" y="5715"/>
                  <a:pt x="8343" y="5891"/>
                </a:cubicBezTo>
                <a:cubicBezTo>
                  <a:pt x="8343" y="5978"/>
                  <a:pt x="8319" y="6060"/>
                  <a:pt x="8272" y="6135"/>
                </a:cubicBezTo>
                <a:lnTo>
                  <a:pt x="7178" y="7221"/>
                </a:lnTo>
                <a:cubicBezTo>
                  <a:pt x="7173" y="7226"/>
                  <a:pt x="7168" y="7231"/>
                  <a:pt x="7163" y="7236"/>
                </a:cubicBezTo>
                <a:cubicBezTo>
                  <a:pt x="6767" y="7609"/>
                  <a:pt x="6541" y="8126"/>
                  <a:pt x="6541" y="8668"/>
                </a:cubicBezTo>
                <a:cubicBezTo>
                  <a:pt x="6541" y="9175"/>
                  <a:pt x="6738" y="9658"/>
                  <a:pt x="7080" y="10020"/>
                </a:cubicBezTo>
                <a:cubicBezTo>
                  <a:pt x="7092" y="10040"/>
                  <a:pt x="7105" y="10059"/>
                  <a:pt x="7119" y="10078"/>
                </a:cubicBezTo>
                <a:cubicBezTo>
                  <a:pt x="8325" y="11745"/>
                  <a:pt x="9807" y="13222"/>
                  <a:pt x="11525" y="14469"/>
                </a:cubicBezTo>
                <a:cubicBezTo>
                  <a:pt x="11538" y="14478"/>
                  <a:pt x="11551" y="14487"/>
                  <a:pt x="11565" y="14496"/>
                </a:cubicBezTo>
                <a:cubicBezTo>
                  <a:pt x="11928" y="14844"/>
                  <a:pt x="12414" y="15045"/>
                  <a:pt x="12924" y="15045"/>
                </a:cubicBezTo>
                <a:cubicBezTo>
                  <a:pt x="13436" y="15045"/>
                  <a:pt x="13930" y="14840"/>
                  <a:pt x="14297" y="14479"/>
                </a:cubicBezTo>
                <a:cubicBezTo>
                  <a:pt x="14316" y="14463"/>
                  <a:pt x="14335" y="14446"/>
                  <a:pt x="14352" y="14427"/>
                </a:cubicBezTo>
                <a:lnTo>
                  <a:pt x="15451" y="13320"/>
                </a:lnTo>
                <a:cubicBezTo>
                  <a:pt x="15529" y="13271"/>
                  <a:pt x="15611" y="13247"/>
                  <a:pt x="15697" y="13247"/>
                </a:cubicBezTo>
                <a:cubicBezTo>
                  <a:pt x="15874" y="13247"/>
                  <a:pt x="15990" y="13337"/>
                  <a:pt x="16044" y="13391"/>
                </a:cubicBezTo>
                <a:cubicBezTo>
                  <a:pt x="16073" y="13420"/>
                  <a:pt x="16103" y="13447"/>
                  <a:pt x="16135" y="13472"/>
                </a:cubicBezTo>
                <a:lnTo>
                  <a:pt x="20291" y="16704"/>
                </a:lnTo>
                <a:cubicBezTo>
                  <a:pt x="20317" y="16725"/>
                  <a:pt x="20345" y="16744"/>
                  <a:pt x="20374" y="16762"/>
                </a:cubicBezTo>
                <a:cubicBezTo>
                  <a:pt x="20426" y="16795"/>
                  <a:pt x="20449" y="16816"/>
                  <a:pt x="20461" y="16827"/>
                </a:cubicBezTo>
                <a:cubicBezTo>
                  <a:pt x="20515" y="16881"/>
                  <a:pt x="20605" y="16997"/>
                  <a:pt x="20605" y="17174"/>
                </a:cubicBezTo>
                <a:cubicBezTo>
                  <a:pt x="20605" y="17207"/>
                  <a:pt x="20606" y="17240"/>
                  <a:pt x="20610" y="17273"/>
                </a:cubicBezTo>
                <a:cubicBezTo>
                  <a:pt x="20533" y="18625"/>
                  <a:pt x="18769" y="20618"/>
                  <a:pt x="16441" y="20618"/>
                </a:cubicBezTo>
                <a:moveTo>
                  <a:pt x="21586" y="17174"/>
                </a:moveTo>
                <a:cubicBezTo>
                  <a:pt x="21586" y="16768"/>
                  <a:pt x="21421" y="16399"/>
                  <a:pt x="21155" y="16133"/>
                </a:cubicBezTo>
                <a:cubicBezTo>
                  <a:pt x="21077" y="16054"/>
                  <a:pt x="20988" y="15988"/>
                  <a:pt x="20893" y="15929"/>
                </a:cubicBezTo>
                <a:lnTo>
                  <a:pt x="16738" y="12697"/>
                </a:lnTo>
                <a:cubicBezTo>
                  <a:pt x="16471" y="12430"/>
                  <a:pt x="16104" y="12265"/>
                  <a:pt x="15697" y="12265"/>
                </a:cubicBezTo>
                <a:cubicBezTo>
                  <a:pt x="15364" y="12265"/>
                  <a:pt x="15060" y="12380"/>
                  <a:pt x="14815" y="12567"/>
                </a:cubicBezTo>
                <a:lnTo>
                  <a:pt x="13655" y="13736"/>
                </a:lnTo>
                <a:lnTo>
                  <a:pt x="13652" y="13733"/>
                </a:lnTo>
                <a:cubicBezTo>
                  <a:pt x="13473" y="13934"/>
                  <a:pt x="13214" y="14063"/>
                  <a:pt x="12924" y="14063"/>
                </a:cubicBezTo>
                <a:cubicBezTo>
                  <a:pt x="12592" y="14063"/>
                  <a:pt x="12300" y="13897"/>
                  <a:pt x="12122" y="13645"/>
                </a:cubicBezTo>
                <a:cubicBezTo>
                  <a:pt x="12116" y="13654"/>
                  <a:pt x="12107" y="13663"/>
                  <a:pt x="12101" y="13674"/>
                </a:cubicBezTo>
                <a:cubicBezTo>
                  <a:pt x="10497" y="12510"/>
                  <a:pt x="9076" y="11108"/>
                  <a:pt x="7914" y="9502"/>
                </a:cubicBezTo>
                <a:cubicBezTo>
                  <a:pt x="7925" y="9495"/>
                  <a:pt x="7935" y="9486"/>
                  <a:pt x="7947" y="9479"/>
                </a:cubicBezTo>
                <a:cubicBezTo>
                  <a:pt x="7691" y="9299"/>
                  <a:pt x="7523" y="9004"/>
                  <a:pt x="7523" y="8668"/>
                </a:cubicBezTo>
                <a:cubicBezTo>
                  <a:pt x="7523" y="8367"/>
                  <a:pt x="7659" y="8101"/>
                  <a:pt x="7871" y="7920"/>
                </a:cubicBezTo>
                <a:lnTo>
                  <a:pt x="7870" y="7918"/>
                </a:lnTo>
                <a:lnTo>
                  <a:pt x="9023" y="6773"/>
                </a:lnTo>
                <a:cubicBezTo>
                  <a:pt x="9211" y="6528"/>
                  <a:pt x="9325" y="6224"/>
                  <a:pt x="9325" y="5891"/>
                </a:cubicBezTo>
                <a:cubicBezTo>
                  <a:pt x="9325" y="5485"/>
                  <a:pt x="9160" y="5116"/>
                  <a:pt x="8893" y="4850"/>
                </a:cubicBezTo>
                <a:lnTo>
                  <a:pt x="5662" y="693"/>
                </a:lnTo>
                <a:cubicBezTo>
                  <a:pt x="5603" y="599"/>
                  <a:pt x="5537" y="510"/>
                  <a:pt x="5458" y="432"/>
                </a:cubicBezTo>
                <a:cubicBezTo>
                  <a:pt x="5191" y="165"/>
                  <a:pt x="4823" y="0"/>
                  <a:pt x="4417" y="0"/>
                </a:cubicBezTo>
                <a:cubicBezTo>
                  <a:pt x="2454" y="0"/>
                  <a:pt x="0" y="2308"/>
                  <a:pt x="0" y="5155"/>
                </a:cubicBezTo>
                <a:cubicBezTo>
                  <a:pt x="0" y="5943"/>
                  <a:pt x="183" y="6688"/>
                  <a:pt x="499" y="7356"/>
                </a:cubicBezTo>
                <a:lnTo>
                  <a:pt x="482" y="7373"/>
                </a:lnTo>
                <a:cubicBezTo>
                  <a:pt x="3435" y="13255"/>
                  <a:pt x="8343" y="18164"/>
                  <a:pt x="14224" y="21117"/>
                </a:cubicBezTo>
                <a:lnTo>
                  <a:pt x="14240" y="21101"/>
                </a:lnTo>
                <a:cubicBezTo>
                  <a:pt x="14908" y="21418"/>
                  <a:pt x="15652" y="21600"/>
                  <a:pt x="16441" y="21600"/>
                </a:cubicBezTo>
                <a:cubicBezTo>
                  <a:pt x="19287" y="21600"/>
                  <a:pt x="21594" y="19145"/>
                  <a:pt x="21594" y="17182"/>
                </a:cubicBezTo>
                <a:cubicBezTo>
                  <a:pt x="21594" y="17179"/>
                  <a:pt x="21594" y="17177"/>
                  <a:pt x="21594" y="17174"/>
                </a:cubicBezTo>
                <a:cubicBezTo>
                  <a:pt x="21594" y="17174"/>
                  <a:pt x="21586" y="17174"/>
                  <a:pt x="21586" y="17174"/>
                </a:cubicBezTo>
                <a:close/>
                <a:moveTo>
                  <a:pt x="11785" y="10800"/>
                </a:moveTo>
                <a:cubicBezTo>
                  <a:pt x="12326" y="10800"/>
                  <a:pt x="12766" y="10360"/>
                  <a:pt x="12766" y="9819"/>
                </a:cubicBezTo>
                <a:cubicBezTo>
                  <a:pt x="12766" y="9276"/>
                  <a:pt x="12326" y="8836"/>
                  <a:pt x="11785" y="8836"/>
                </a:cubicBezTo>
                <a:cubicBezTo>
                  <a:pt x="11242" y="8836"/>
                  <a:pt x="10803" y="9276"/>
                  <a:pt x="10803" y="9819"/>
                </a:cubicBezTo>
                <a:cubicBezTo>
                  <a:pt x="10803" y="10360"/>
                  <a:pt x="11242" y="10800"/>
                  <a:pt x="11785" y="10800"/>
                </a:cubicBezTo>
                <a:moveTo>
                  <a:pt x="11785" y="5891"/>
                </a:moveTo>
                <a:cubicBezTo>
                  <a:pt x="13953" y="5891"/>
                  <a:pt x="15711" y="7649"/>
                  <a:pt x="15711" y="9819"/>
                </a:cubicBezTo>
                <a:cubicBezTo>
                  <a:pt x="15711" y="10090"/>
                  <a:pt x="15930" y="10309"/>
                  <a:pt x="16201" y="10309"/>
                </a:cubicBezTo>
                <a:cubicBezTo>
                  <a:pt x="16472" y="10309"/>
                  <a:pt x="16692" y="10090"/>
                  <a:pt x="16692" y="9819"/>
                </a:cubicBezTo>
                <a:cubicBezTo>
                  <a:pt x="16692" y="7107"/>
                  <a:pt x="14495" y="4909"/>
                  <a:pt x="11785" y="4909"/>
                </a:cubicBezTo>
                <a:cubicBezTo>
                  <a:pt x="11513" y="4909"/>
                  <a:pt x="11294" y="5129"/>
                  <a:pt x="11294" y="5400"/>
                </a:cubicBezTo>
                <a:cubicBezTo>
                  <a:pt x="11294" y="5672"/>
                  <a:pt x="11513" y="5891"/>
                  <a:pt x="11785" y="5891"/>
                </a:cubicBezTo>
                <a:moveTo>
                  <a:pt x="11785" y="982"/>
                </a:moveTo>
                <a:cubicBezTo>
                  <a:pt x="16663" y="982"/>
                  <a:pt x="20618" y="4939"/>
                  <a:pt x="20618" y="9819"/>
                </a:cubicBezTo>
                <a:cubicBezTo>
                  <a:pt x="20618" y="10090"/>
                  <a:pt x="20838" y="10309"/>
                  <a:pt x="21109" y="10309"/>
                </a:cubicBezTo>
                <a:cubicBezTo>
                  <a:pt x="21380" y="10309"/>
                  <a:pt x="21600" y="10090"/>
                  <a:pt x="21600" y="9819"/>
                </a:cubicBezTo>
                <a:cubicBezTo>
                  <a:pt x="21600" y="4396"/>
                  <a:pt x="17206" y="0"/>
                  <a:pt x="11785" y="0"/>
                </a:cubicBezTo>
                <a:cubicBezTo>
                  <a:pt x="11513" y="0"/>
                  <a:pt x="11294" y="220"/>
                  <a:pt x="11294" y="491"/>
                </a:cubicBezTo>
                <a:cubicBezTo>
                  <a:pt x="11294" y="762"/>
                  <a:pt x="11513" y="982"/>
                  <a:pt x="11785"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0" name="Shape 2630"/>
          <p:cNvSpPr/>
          <p:nvPr/>
        </p:nvSpPr>
        <p:spPr>
          <a:xfrm>
            <a:off x="6736012" y="3431875"/>
            <a:ext cx="114276" cy="209495"/>
          </a:xfrm>
          <a:custGeom>
            <a:avLst/>
            <a:gdLst/>
            <a:ahLst/>
            <a:cxnLst>
              <a:cxn ang="0">
                <a:pos x="wd2" y="hd2"/>
              </a:cxn>
              <a:cxn ang="5400000">
                <a:pos x="wd2" y="hd2"/>
              </a:cxn>
              <a:cxn ang="10800000">
                <a:pos x="wd2" y="hd2"/>
              </a:cxn>
              <a:cxn ang="16200000">
                <a:pos x="wd2" y="hd2"/>
              </a:cxn>
            </a:cxnLst>
            <a:rect l="0" t="0" r="r" b="b"/>
            <a:pathLst>
              <a:path w="21600" h="21600" extrusionOk="0">
                <a:moveTo>
                  <a:pt x="9507" y="18651"/>
                </a:moveTo>
                <a:lnTo>
                  <a:pt x="10795" y="12327"/>
                </a:lnTo>
                <a:lnTo>
                  <a:pt x="10781" y="12326"/>
                </a:lnTo>
                <a:cubicBezTo>
                  <a:pt x="10785" y="12307"/>
                  <a:pt x="10800" y="12292"/>
                  <a:pt x="10800" y="12273"/>
                </a:cubicBezTo>
                <a:cubicBezTo>
                  <a:pt x="10800" y="12001"/>
                  <a:pt x="10398" y="11782"/>
                  <a:pt x="9900" y="11782"/>
                </a:cubicBezTo>
                <a:lnTo>
                  <a:pt x="2149" y="11782"/>
                </a:lnTo>
                <a:lnTo>
                  <a:pt x="8749" y="982"/>
                </a:lnTo>
                <a:lnTo>
                  <a:pt x="15850" y="982"/>
                </a:lnTo>
                <a:lnTo>
                  <a:pt x="11436" y="8190"/>
                </a:lnTo>
                <a:lnTo>
                  <a:pt x="11447" y="8192"/>
                </a:lnTo>
                <a:cubicBezTo>
                  <a:pt x="11417" y="8241"/>
                  <a:pt x="11391" y="8291"/>
                  <a:pt x="11391" y="8345"/>
                </a:cubicBezTo>
                <a:cubicBezTo>
                  <a:pt x="11391" y="8617"/>
                  <a:pt x="11794" y="8836"/>
                  <a:pt x="12291" y="8836"/>
                </a:cubicBezTo>
                <a:lnTo>
                  <a:pt x="19195" y="8836"/>
                </a:lnTo>
                <a:cubicBezTo>
                  <a:pt x="19195" y="8836"/>
                  <a:pt x="9507" y="18651"/>
                  <a:pt x="9507" y="18651"/>
                </a:cubicBezTo>
                <a:close/>
                <a:moveTo>
                  <a:pt x="21600" y="8345"/>
                </a:moveTo>
                <a:cubicBezTo>
                  <a:pt x="21600" y="8074"/>
                  <a:pt x="21197" y="7855"/>
                  <a:pt x="20700" y="7855"/>
                </a:cubicBezTo>
                <a:lnTo>
                  <a:pt x="13541" y="7855"/>
                </a:lnTo>
                <a:lnTo>
                  <a:pt x="17954" y="646"/>
                </a:lnTo>
                <a:lnTo>
                  <a:pt x="17944" y="644"/>
                </a:lnTo>
                <a:cubicBezTo>
                  <a:pt x="17974" y="595"/>
                  <a:pt x="18000" y="545"/>
                  <a:pt x="18000" y="491"/>
                </a:cubicBezTo>
                <a:cubicBezTo>
                  <a:pt x="18000" y="220"/>
                  <a:pt x="17598" y="0"/>
                  <a:pt x="17100" y="0"/>
                </a:cubicBezTo>
                <a:lnTo>
                  <a:pt x="8101" y="0"/>
                </a:lnTo>
                <a:cubicBezTo>
                  <a:pt x="7703" y="0"/>
                  <a:pt x="7376" y="143"/>
                  <a:pt x="7257" y="337"/>
                </a:cubicBezTo>
                <a:lnTo>
                  <a:pt x="7246" y="335"/>
                </a:lnTo>
                <a:lnTo>
                  <a:pt x="47" y="12117"/>
                </a:lnTo>
                <a:lnTo>
                  <a:pt x="57" y="12120"/>
                </a:lnTo>
                <a:cubicBezTo>
                  <a:pt x="27" y="12168"/>
                  <a:pt x="0" y="12218"/>
                  <a:pt x="0" y="12273"/>
                </a:cubicBezTo>
                <a:cubicBezTo>
                  <a:pt x="0" y="12544"/>
                  <a:pt x="403" y="12764"/>
                  <a:pt x="900" y="12764"/>
                </a:cubicBezTo>
                <a:lnTo>
                  <a:pt x="8895" y="12764"/>
                </a:lnTo>
                <a:lnTo>
                  <a:pt x="7206" y="21055"/>
                </a:lnTo>
                <a:lnTo>
                  <a:pt x="7220" y="21056"/>
                </a:lnTo>
                <a:cubicBezTo>
                  <a:pt x="7216" y="21074"/>
                  <a:pt x="7200" y="21090"/>
                  <a:pt x="7200" y="21109"/>
                </a:cubicBezTo>
                <a:cubicBezTo>
                  <a:pt x="7200" y="21380"/>
                  <a:pt x="7603" y="21600"/>
                  <a:pt x="8101" y="21600"/>
                </a:cubicBezTo>
                <a:cubicBezTo>
                  <a:pt x="8464" y="21600"/>
                  <a:pt x="8761" y="21480"/>
                  <a:pt x="8900" y="21310"/>
                </a:cubicBezTo>
                <a:lnTo>
                  <a:pt x="8918" y="21315"/>
                </a:lnTo>
                <a:lnTo>
                  <a:pt x="21517" y="8551"/>
                </a:lnTo>
                <a:lnTo>
                  <a:pt x="21513" y="8550"/>
                </a:lnTo>
                <a:cubicBezTo>
                  <a:pt x="21567" y="8487"/>
                  <a:pt x="21600" y="8419"/>
                  <a:pt x="21600" y="83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1" name="Shape 2631"/>
          <p:cNvSpPr/>
          <p:nvPr/>
        </p:nvSpPr>
        <p:spPr>
          <a:xfrm>
            <a:off x="7088345" y="345092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36" y="3600"/>
                </a:moveTo>
                <a:lnTo>
                  <a:pt x="1964" y="3600"/>
                </a:lnTo>
                <a:lnTo>
                  <a:pt x="1964" y="1200"/>
                </a:lnTo>
                <a:lnTo>
                  <a:pt x="19636" y="1200"/>
                </a:lnTo>
                <a:cubicBezTo>
                  <a:pt x="19636" y="1200"/>
                  <a:pt x="19636" y="3600"/>
                  <a:pt x="19636" y="3600"/>
                </a:cubicBezTo>
                <a:close/>
                <a:moveTo>
                  <a:pt x="17182" y="6000"/>
                </a:moveTo>
                <a:lnTo>
                  <a:pt x="17182" y="4800"/>
                </a:lnTo>
                <a:lnTo>
                  <a:pt x="19145" y="4800"/>
                </a:lnTo>
                <a:lnTo>
                  <a:pt x="19145" y="6000"/>
                </a:lnTo>
                <a:cubicBezTo>
                  <a:pt x="19145" y="6662"/>
                  <a:pt x="18705" y="7200"/>
                  <a:pt x="18164" y="7200"/>
                </a:cubicBezTo>
                <a:cubicBezTo>
                  <a:pt x="17621" y="7200"/>
                  <a:pt x="17182" y="6662"/>
                  <a:pt x="17182" y="6000"/>
                </a:cubicBezTo>
                <a:moveTo>
                  <a:pt x="14236" y="6000"/>
                </a:moveTo>
                <a:lnTo>
                  <a:pt x="14236" y="4800"/>
                </a:lnTo>
                <a:lnTo>
                  <a:pt x="16200" y="4800"/>
                </a:lnTo>
                <a:lnTo>
                  <a:pt x="16200" y="6000"/>
                </a:lnTo>
                <a:cubicBezTo>
                  <a:pt x="16200" y="6662"/>
                  <a:pt x="15760" y="7200"/>
                  <a:pt x="15218" y="7200"/>
                </a:cubicBezTo>
                <a:cubicBezTo>
                  <a:pt x="14675" y="7200"/>
                  <a:pt x="14236" y="6662"/>
                  <a:pt x="14236" y="6000"/>
                </a:cubicBezTo>
                <a:moveTo>
                  <a:pt x="11291" y="6000"/>
                </a:moveTo>
                <a:lnTo>
                  <a:pt x="11291" y="4800"/>
                </a:lnTo>
                <a:lnTo>
                  <a:pt x="13255" y="4800"/>
                </a:lnTo>
                <a:lnTo>
                  <a:pt x="13255" y="6000"/>
                </a:lnTo>
                <a:cubicBezTo>
                  <a:pt x="13255" y="6662"/>
                  <a:pt x="12814" y="7200"/>
                  <a:pt x="12273" y="7200"/>
                </a:cubicBezTo>
                <a:cubicBezTo>
                  <a:pt x="11730" y="7200"/>
                  <a:pt x="11291" y="6662"/>
                  <a:pt x="11291" y="6000"/>
                </a:cubicBezTo>
                <a:moveTo>
                  <a:pt x="8345" y="6000"/>
                </a:moveTo>
                <a:lnTo>
                  <a:pt x="8345" y="4800"/>
                </a:lnTo>
                <a:lnTo>
                  <a:pt x="10309" y="4800"/>
                </a:lnTo>
                <a:lnTo>
                  <a:pt x="10309" y="6000"/>
                </a:lnTo>
                <a:cubicBezTo>
                  <a:pt x="10309" y="6662"/>
                  <a:pt x="9869" y="7200"/>
                  <a:pt x="9327" y="7200"/>
                </a:cubicBezTo>
                <a:cubicBezTo>
                  <a:pt x="8785" y="7200"/>
                  <a:pt x="8345" y="6662"/>
                  <a:pt x="8345" y="6000"/>
                </a:cubicBezTo>
                <a:moveTo>
                  <a:pt x="5400" y="6000"/>
                </a:moveTo>
                <a:lnTo>
                  <a:pt x="5400" y="4800"/>
                </a:lnTo>
                <a:lnTo>
                  <a:pt x="7364" y="4800"/>
                </a:lnTo>
                <a:lnTo>
                  <a:pt x="7364" y="6000"/>
                </a:lnTo>
                <a:cubicBezTo>
                  <a:pt x="7364" y="6662"/>
                  <a:pt x="6924" y="7200"/>
                  <a:pt x="6382" y="7200"/>
                </a:cubicBezTo>
                <a:cubicBezTo>
                  <a:pt x="5839" y="7200"/>
                  <a:pt x="5400" y="6662"/>
                  <a:pt x="5400" y="6000"/>
                </a:cubicBezTo>
                <a:moveTo>
                  <a:pt x="2455" y="6000"/>
                </a:moveTo>
                <a:lnTo>
                  <a:pt x="2455" y="4800"/>
                </a:lnTo>
                <a:lnTo>
                  <a:pt x="4418" y="4800"/>
                </a:lnTo>
                <a:lnTo>
                  <a:pt x="4418" y="6000"/>
                </a:lnTo>
                <a:cubicBezTo>
                  <a:pt x="4418" y="6662"/>
                  <a:pt x="3978" y="7200"/>
                  <a:pt x="3436" y="7200"/>
                </a:cubicBezTo>
                <a:cubicBezTo>
                  <a:pt x="2894" y="7200"/>
                  <a:pt x="2455" y="6662"/>
                  <a:pt x="2455" y="6000"/>
                </a:cubicBezTo>
                <a:moveTo>
                  <a:pt x="19636" y="20400"/>
                </a:moveTo>
                <a:lnTo>
                  <a:pt x="12764" y="20400"/>
                </a:lnTo>
                <a:lnTo>
                  <a:pt x="12764" y="13800"/>
                </a:lnTo>
                <a:cubicBezTo>
                  <a:pt x="12764" y="13469"/>
                  <a:pt x="12544" y="13200"/>
                  <a:pt x="12273" y="13200"/>
                </a:cubicBezTo>
                <a:lnTo>
                  <a:pt x="9327" y="13200"/>
                </a:lnTo>
                <a:cubicBezTo>
                  <a:pt x="9056" y="13200"/>
                  <a:pt x="8836" y="13469"/>
                  <a:pt x="8836" y="13800"/>
                </a:cubicBezTo>
                <a:lnTo>
                  <a:pt x="8836" y="20400"/>
                </a:lnTo>
                <a:lnTo>
                  <a:pt x="1964" y="20400"/>
                </a:lnTo>
                <a:lnTo>
                  <a:pt x="1964" y="7573"/>
                </a:lnTo>
                <a:cubicBezTo>
                  <a:pt x="2324" y="8076"/>
                  <a:pt x="2847" y="8400"/>
                  <a:pt x="3436" y="8400"/>
                </a:cubicBezTo>
                <a:cubicBezTo>
                  <a:pt x="4026" y="8400"/>
                  <a:pt x="4549" y="8076"/>
                  <a:pt x="4909" y="7573"/>
                </a:cubicBezTo>
                <a:cubicBezTo>
                  <a:pt x="5269" y="8076"/>
                  <a:pt x="5792" y="8400"/>
                  <a:pt x="6382" y="8400"/>
                </a:cubicBezTo>
                <a:cubicBezTo>
                  <a:pt x="6971" y="8400"/>
                  <a:pt x="7495" y="8076"/>
                  <a:pt x="7855" y="7573"/>
                </a:cubicBezTo>
                <a:cubicBezTo>
                  <a:pt x="8215" y="8076"/>
                  <a:pt x="8738" y="8400"/>
                  <a:pt x="9327" y="8400"/>
                </a:cubicBezTo>
                <a:cubicBezTo>
                  <a:pt x="9917" y="8400"/>
                  <a:pt x="10440" y="8076"/>
                  <a:pt x="10800" y="7573"/>
                </a:cubicBezTo>
                <a:cubicBezTo>
                  <a:pt x="11160" y="8076"/>
                  <a:pt x="11683" y="8400"/>
                  <a:pt x="12273" y="8400"/>
                </a:cubicBezTo>
                <a:cubicBezTo>
                  <a:pt x="12862" y="8400"/>
                  <a:pt x="13385" y="8076"/>
                  <a:pt x="13745" y="7573"/>
                </a:cubicBezTo>
                <a:cubicBezTo>
                  <a:pt x="14105" y="8076"/>
                  <a:pt x="14629" y="8400"/>
                  <a:pt x="15218" y="8400"/>
                </a:cubicBezTo>
                <a:cubicBezTo>
                  <a:pt x="15808" y="8400"/>
                  <a:pt x="16331" y="8076"/>
                  <a:pt x="16691" y="7573"/>
                </a:cubicBezTo>
                <a:cubicBezTo>
                  <a:pt x="17051" y="8076"/>
                  <a:pt x="17574" y="8400"/>
                  <a:pt x="18164" y="8400"/>
                </a:cubicBezTo>
                <a:cubicBezTo>
                  <a:pt x="18753" y="8400"/>
                  <a:pt x="19276" y="8076"/>
                  <a:pt x="19636" y="7573"/>
                </a:cubicBezTo>
                <a:cubicBezTo>
                  <a:pt x="19636" y="7573"/>
                  <a:pt x="19636" y="20400"/>
                  <a:pt x="19636" y="20400"/>
                </a:cubicBezTo>
                <a:close/>
                <a:moveTo>
                  <a:pt x="11782" y="20400"/>
                </a:moveTo>
                <a:lnTo>
                  <a:pt x="9818" y="20400"/>
                </a:lnTo>
                <a:lnTo>
                  <a:pt x="9818" y="14400"/>
                </a:lnTo>
                <a:lnTo>
                  <a:pt x="11782" y="14400"/>
                </a:lnTo>
                <a:cubicBezTo>
                  <a:pt x="11782" y="14400"/>
                  <a:pt x="11782" y="20400"/>
                  <a:pt x="11782" y="20400"/>
                </a:cubicBezTo>
                <a:close/>
                <a:moveTo>
                  <a:pt x="21109" y="20400"/>
                </a:moveTo>
                <a:lnTo>
                  <a:pt x="20618" y="20400"/>
                </a:lnTo>
                <a:lnTo>
                  <a:pt x="20618" y="4800"/>
                </a:lnTo>
                <a:lnTo>
                  <a:pt x="21109" y="4800"/>
                </a:lnTo>
                <a:cubicBezTo>
                  <a:pt x="21380" y="4800"/>
                  <a:pt x="21600" y="4532"/>
                  <a:pt x="21600" y="4200"/>
                </a:cubicBezTo>
                <a:cubicBezTo>
                  <a:pt x="21600" y="3868"/>
                  <a:pt x="21380" y="3600"/>
                  <a:pt x="21109" y="3600"/>
                </a:cubicBezTo>
                <a:lnTo>
                  <a:pt x="20618" y="3600"/>
                </a:lnTo>
                <a:lnTo>
                  <a:pt x="20618" y="1200"/>
                </a:lnTo>
                <a:cubicBezTo>
                  <a:pt x="20618" y="538"/>
                  <a:pt x="20178" y="0"/>
                  <a:pt x="19636" y="0"/>
                </a:cubicBezTo>
                <a:lnTo>
                  <a:pt x="1964" y="0"/>
                </a:lnTo>
                <a:cubicBezTo>
                  <a:pt x="1421" y="0"/>
                  <a:pt x="982" y="538"/>
                  <a:pt x="982" y="1200"/>
                </a:cubicBezTo>
                <a:lnTo>
                  <a:pt x="982" y="3600"/>
                </a:lnTo>
                <a:lnTo>
                  <a:pt x="491" y="3600"/>
                </a:lnTo>
                <a:cubicBezTo>
                  <a:pt x="220" y="3600"/>
                  <a:pt x="0" y="3868"/>
                  <a:pt x="0" y="4200"/>
                </a:cubicBezTo>
                <a:cubicBezTo>
                  <a:pt x="0" y="4532"/>
                  <a:pt x="220" y="4800"/>
                  <a:pt x="491" y="4800"/>
                </a:cubicBezTo>
                <a:lnTo>
                  <a:pt x="982" y="4800"/>
                </a:lnTo>
                <a:lnTo>
                  <a:pt x="982" y="20400"/>
                </a:lnTo>
                <a:lnTo>
                  <a:pt x="491" y="20400"/>
                </a:lnTo>
                <a:cubicBezTo>
                  <a:pt x="220" y="20400"/>
                  <a:pt x="0" y="20669"/>
                  <a:pt x="0" y="21000"/>
                </a:cubicBezTo>
                <a:cubicBezTo>
                  <a:pt x="0" y="21332"/>
                  <a:pt x="220" y="21600"/>
                  <a:pt x="491" y="21600"/>
                </a:cubicBezTo>
                <a:lnTo>
                  <a:pt x="21109" y="21600"/>
                </a:lnTo>
                <a:cubicBezTo>
                  <a:pt x="21380" y="21600"/>
                  <a:pt x="21600" y="21332"/>
                  <a:pt x="21600" y="21000"/>
                </a:cubicBezTo>
                <a:cubicBezTo>
                  <a:pt x="21600" y="20669"/>
                  <a:pt x="21380" y="20400"/>
                  <a:pt x="21109" y="20400"/>
                </a:cubicBezTo>
                <a:moveTo>
                  <a:pt x="16691" y="16800"/>
                </a:moveTo>
                <a:lnTo>
                  <a:pt x="14727" y="16800"/>
                </a:lnTo>
                <a:lnTo>
                  <a:pt x="14727" y="14400"/>
                </a:lnTo>
                <a:lnTo>
                  <a:pt x="16691" y="14400"/>
                </a:lnTo>
                <a:cubicBezTo>
                  <a:pt x="16691" y="14400"/>
                  <a:pt x="16691" y="16800"/>
                  <a:pt x="16691" y="16800"/>
                </a:cubicBezTo>
                <a:close/>
                <a:moveTo>
                  <a:pt x="17182" y="13200"/>
                </a:moveTo>
                <a:lnTo>
                  <a:pt x="14236" y="13200"/>
                </a:lnTo>
                <a:cubicBezTo>
                  <a:pt x="13965" y="13200"/>
                  <a:pt x="13745" y="13469"/>
                  <a:pt x="13745" y="13800"/>
                </a:cubicBezTo>
                <a:lnTo>
                  <a:pt x="13745" y="17400"/>
                </a:lnTo>
                <a:cubicBezTo>
                  <a:pt x="13745" y="17732"/>
                  <a:pt x="13965" y="18000"/>
                  <a:pt x="14236" y="18000"/>
                </a:cubicBezTo>
                <a:lnTo>
                  <a:pt x="17182" y="18000"/>
                </a:lnTo>
                <a:cubicBezTo>
                  <a:pt x="17453" y="18000"/>
                  <a:pt x="17673" y="17732"/>
                  <a:pt x="17673" y="17400"/>
                </a:cubicBezTo>
                <a:lnTo>
                  <a:pt x="17673" y="13800"/>
                </a:lnTo>
                <a:cubicBezTo>
                  <a:pt x="17673" y="13469"/>
                  <a:pt x="17453" y="13200"/>
                  <a:pt x="17182" y="13200"/>
                </a:cubicBezTo>
                <a:moveTo>
                  <a:pt x="6873" y="16800"/>
                </a:moveTo>
                <a:lnTo>
                  <a:pt x="4909" y="16800"/>
                </a:lnTo>
                <a:lnTo>
                  <a:pt x="4909" y="14400"/>
                </a:lnTo>
                <a:lnTo>
                  <a:pt x="6873" y="14400"/>
                </a:lnTo>
                <a:cubicBezTo>
                  <a:pt x="6873" y="14400"/>
                  <a:pt x="6873" y="16800"/>
                  <a:pt x="6873" y="16800"/>
                </a:cubicBezTo>
                <a:close/>
                <a:moveTo>
                  <a:pt x="7364" y="13200"/>
                </a:moveTo>
                <a:lnTo>
                  <a:pt x="4418" y="13200"/>
                </a:lnTo>
                <a:cubicBezTo>
                  <a:pt x="4147" y="13200"/>
                  <a:pt x="3927" y="13469"/>
                  <a:pt x="3927" y="13800"/>
                </a:cubicBezTo>
                <a:lnTo>
                  <a:pt x="3927" y="17400"/>
                </a:lnTo>
                <a:cubicBezTo>
                  <a:pt x="3927" y="17732"/>
                  <a:pt x="4147" y="18000"/>
                  <a:pt x="4418" y="18000"/>
                </a:cubicBezTo>
                <a:lnTo>
                  <a:pt x="7364" y="18000"/>
                </a:lnTo>
                <a:cubicBezTo>
                  <a:pt x="7635" y="18000"/>
                  <a:pt x="7855" y="17732"/>
                  <a:pt x="7855" y="17400"/>
                </a:cubicBezTo>
                <a:lnTo>
                  <a:pt x="7855" y="13800"/>
                </a:lnTo>
                <a:cubicBezTo>
                  <a:pt x="7855" y="13469"/>
                  <a:pt x="7635" y="13200"/>
                  <a:pt x="7364" y="13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2" name="Shape 2632"/>
          <p:cNvSpPr/>
          <p:nvPr/>
        </p:nvSpPr>
        <p:spPr>
          <a:xfrm>
            <a:off x="7507336" y="3431875"/>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4588" y="17673"/>
                  <a:pt x="1200" y="16051"/>
                  <a:pt x="1200" y="15218"/>
                </a:cubicBezTo>
                <a:cubicBezTo>
                  <a:pt x="1200" y="14690"/>
                  <a:pt x="1355" y="14275"/>
                  <a:pt x="1611" y="13896"/>
                </a:cubicBezTo>
                <a:cubicBezTo>
                  <a:pt x="3255" y="14967"/>
                  <a:pt x="6746" y="15709"/>
                  <a:pt x="10800" y="15709"/>
                </a:cubicBezTo>
                <a:cubicBezTo>
                  <a:pt x="14856" y="15709"/>
                  <a:pt x="18345" y="14966"/>
                  <a:pt x="19987" y="13894"/>
                </a:cubicBezTo>
                <a:cubicBezTo>
                  <a:pt x="20244" y="14273"/>
                  <a:pt x="20400" y="14689"/>
                  <a:pt x="20400" y="15218"/>
                </a:cubicBezTo>
                <a:cubicBezTo>
                  <a:pt x="20400" y="16051"/>
                  <a:pt x="17011" y="17673"/>
                  <a:pt x="10800" y="17673"/>
                </a:cubicBezTo>
                <a:moveTo>
                  <a:pt x="10800" y="20618"/>
                </a:moveTo>
                <a:cubicBezTo>
                  <a:pt x="9475" y="20618"/>
                  <a:pt x="8400" y="19739"/>
                  <a:pt x="8400" y="18655"/>
                </a:cubicBezTo>
                <a:cubicBezTo>
                  <a:pt x="8400" y="18625"/>
                  <a:pt x="8408" y="18597"/>
                  <a:pt x="8409" y="18567"/>
                </a:cubicBezTo>
                <a:cubicBezTo>
                  <a:pt x="9179" y="18623"/>
                  <a:pt x="9977" y="18655"/>
                  <a:pt x="10800" y="18655"/>
                </a:cubicBezTo>
                <a:cubicBezTo>
                  <a:pt x="11623" y="18655"/>
                  <a:pt x="12421" y="18623"/>
                  <a:pt x="13191" y="18567"/>
                </a:cubicBezTo>
                <a:cubicBezTo>
                  <a:pt x="13192" y="18597"/>
                  <a:pt x="13200" y="18625"/>
                  <a:pt x="13200" y="18655"/>
                </a:cubicBezTo>
                <a:cubicBezTo>
                  <a:pt x="13200" y="19739"/>
                  <a:pt x="12125" y="20618"/>
                  <a:pt x="10800" y="20618"/>
                </a:cubicBezTo>
                <a:moveTo>
                  <a:pt x="2948" y="12551"/>
                </a:moveTo>
                <a:cubicBezTo>
                  <a:pt x="4308" y="11388"/>
                  <a:pt x="6000" y="9939"/>
                  <a:pt x="6000" y="6873"/>
                </a:cubicBezTo>
                <a:cubicBezTo>
                  <a:pt x="6000" y="5232"/>
                  <a:pt x="7238" y="3825"/>
                  <a:pt x="8988" y="3239"/>
                </a:cubicBezTo>
                <a:cubicBezTo>
                  <a:pt x="9428" y="3657"/>
                  <a:pt x="10072" y="3927"/>
                  <a:pt x="10800" y="3927"/>
                </a:cubicBezTo>
                <a:cubicBezTo>
                  <a:pt x="11528" y="3927"/>
                  <a:pt x="12172" y="3657"/>
                  <a:pt x="12611" y="3239"/>
                </a:cubicBezTo>
                <a:cubicBezTo>
                  <a:pt x="14362" y="3825"/>
                  <a:pt x="15600" y="5232"/>
                  <a:pt x="15600" y="6873"/>
                </a:cubicBezTo>
                <a:cubicBezTo>
                  <a:pt x="15600" y="9939"/>
                  <a:pt x="17292" y="11388"/>
                  <a:pt x="18652" y="12551"/>
                </a:cubicBezTo>
                <a:cubicBezTo>
                  <a:pt x="18911" y="12773"/>
                  <a:pt x="19152" y="12979"/>
                  <a:pt x="19366" y="13183"/>
                </a:cubicBezTo>
                <a:cubicBezTo>
                  <a:pt x="18217" y="14077"/>
                  <a:pt x="14825" y="14727"/>
                  <a:pt x="10800" y="14727"/>
                </a:cubicBezTo>
                <a:cubicBezTo>
                  <a:pt x="6779" y="14727"/>
                  <a:pt x="3383" y="14079"/>
                  <a:pt x="2230" y="13186"/>
                </a:cubicBezTo>
                <a:cubicBezTo>
                  <a:pt x="2446" y="12981"/>
                  <a:pt x="2687" y="12774"/>
                  <a:pt x="2948" y="12551"/>
                </a:cubicBezTo>
                <a:moveTo>
                  <a:pt x="10800" y="982"/>
                </a:moveTo>
                <a:cubicBezTo>
                  <a:pt x="11462" y="982"/>
                  <a:pt x="12000" y="1422"/>
                  <a:pt x="12000" y="1964"/>
                </a:cubicBezTo>
                <a:cubicBezTo>
                  <a:pt x="12000" y="2506"/>
                  <a:pt x="11462" y="2945"/>
                  <a:pt x="10800" y="2945"/>
                </a:cubicBezTo>
                <a:cubicBezTo>
                  <a:pt x="10138" y="2945"/>
                  <a:pt x="9600" y="2506"/>
                  <a:pt x="9600" y="1964"/>
                </a:cubicBezTo>
                <a:cubicBezTo>
                  <a:pt x="9600" y="1422"/>
                  <a:pt x="10138" y="982"/>
                  <a:pt x="10800" y="982"/>
                </a:cubicBezTo>
                <a:moveTo>
                  <a:pt x="21600" y="15218"/>
                </a:moveTo>
                <a:cubicBezTo>
                  <a:pt x="21600" y="11782"/>
                  <a:pt x="16800" y="11782"/>
                  <a:pt x="16800" y="6873"/>
                </a:cubicBezTo>
                <a:cubicBezTo>
                  <a:pt x="16800" y="4845"/>
                  <a:pt x="15296" y="3105"/>
                  <a:pt x="13152" y="2356"/>
                </a:cubicBezTo>
                <a:cubicBezTo>
                  <a:pt x="13183" y="2229"/>
                  <a:pt x="13200" y="2098"/>
                  <a:pt x="13200" y="1964"/>
                </a:cubicBezTo>
                <a:cubicBezTo>
                  <a:pt x="13200" y="879"/>
                  <a:pt x="12125" y="0"/>
                  <a:pt x="10800" y="0"/>
                </a:cubicBezTo>
                <a:cubicBezTo>
                  <a:pt x="9475" y="0"/>
                  <a:pt x="8400" y="879"/>
                  <a:pt x="8400" y="1964"/>
                </a:cubicBezTo>
                <a:cubicBezTo>
                  <a:pt x="8400" y="2098"/>
                  <a:pt x="8417" y="2229"/>
                  <a:pt x="8448" y="2356"/>
                </a:cubicBezTo>
                <a:cubicBezTo>
                  <a:pt x="6304" y="3105"/>
                  <a:pt x="4800" y="4845"/>
                  <a:pt x="4800" y="6873"/>
                </a:cubicBezTo>
                <a:cubicBezTo>
                  <a:pt x="4800" y="11782"/>
                  <a:pt x="0" y="11782"/>
                  <a:pt x="0" y="15218"/>
                </a:cubicBezTo>
                <a:cubicBezTo>
                  <a:pt x="0" y="16716"/>
                  <a:pt x="3016" y="17986"/>
                  <a:pt x="7217" y="18457"/>
                </a:cubicBezTo>
                <a:cubicBezTo>
                  <a:pt x="7211" y="18523"/>
                  <a:pt x="7200" y="18587"/>
                  <a:pt x="7200" y="18655"/>
                </a:cubicBezTo>
                <a:cubicBezTo>
                  <a:pt x="7200" y="20282"/>
                  <a:pt x="8812" y="21600"/>
                  <a:pt x="10800" y="21600"/>
                </a:cubicBezTo>
                <a:cubicBezTo>
                  <a:pt x="12788" y="21600"/>
                  <a:pt x="14400" y="20282"/>
                  <a:pt x="14400" y="18655"/>
                </a:cubicBezTo>
                <a:cubicBezTo>
                  <a:pt x="14400" y="18587"/>
                  <a:pt x="14389" y="18523"/>
                  <a:pt x="14383" y="18457"/>
                </a:cubicBezTo>
                <a:cubicBezTo>
                  <a:pt x="18584" y="17986"/>
                  <a:pt x="21600" y="16716"/>
                  <a:pt x="21600"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3" name="Shape 2633"/>
          <p:cNvSpPr/>
          <p:nvPr/>
        </p:nvSpPr>
        <p:spPr>
          <a:xfrm>
            <a:off x="7888237"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144" y="18334"/>
                </a:moveTo>
                <a:lnTo>
                  <a:pt x="15583" y="6873"/>
                </a:lnTo>
                <a:lnTo>
                  <a:pt x="20168" y="6873"/>
                </a:lnTo>
                <a:cubicBezTo>
                  <a:pt x="20168" y="6873"/>
                  <a:pt x="12144" y="18334"/>
                  <a:pt x="12144" y="18334"/>
                </a:cubicBezTo>
                <a:close/>
                <a:moveTo>
                  <a:pt x="10800" y="19403"/>
                </a:moveTo>
                <a:lnTo>
                  <a:pt x="7041" y="6873"/>
                </a:lnTo>
                <a:lnTo>
                  <a:pt x="14559" y="6873"/>
                </a:lnTo>
                <a:cubicBezTo>
                  <a:pt x="14559" y="6873"/>
                  <a:pt x="10800" y="19403"/>
                  <a:pt x="10800" y="19403"/>
                </a:cubicBezTo>
                <a:close/>
                <a:moveTo>
                  <a:pt x="1432" y="6873"/>
                </a:moveTo>
                <a:lnTo>
                  <a:pt x="6017" y="6873"/>
                </a:lnTo>
                <a:lnTo>
                  <a:pt x="9456" y="18334"/>
                </a:lnTo>
                <a:cubicBezTo>
                  <a:pt x="9456" y="18334"/>
                  <a:pt x="1432" y="6873"/>
                  <a:pt x="1432" y="6873"/>
                </a:cubicBezTo>
                <a:close/>
                <a:moveTo>
                  <a:pt x="6578" y="982"/>
                </a:moveTo>
                <a:lnTo>
                  <a:pt x="8536" y="982"/>
                </a:lnTo>
                <a:lnTo>
                  <a:pt x="6082" y="5891"/>
                </a:lnTo>
                <a:lnTo>
                  <a:pt x="1669" y="5891"/>
                </a:lnTo>
                <a:cubicBezTo>
                  <a:pt x="1669" y="5891"/>
                  <a:pt x="6578" y="982"/>
                  <a:pt x="6578" y="982"/>
                </a:cubicBezTo>
                <a:close/>
                <a:moveTo>
                  <a:pt x="11973" y="982"/>
                </a:moveTo>
                <a:lnTo>
                  <a:pt x="14427" y="5891"/>
                </a:lnTo>
                <a:lnTo>
                  <a:pt x="7173" y="5891"/>
                </a:lnTo>
                <a:lnTo>
                  <a:pt x="9627" y="982"/>
                </a:lnTo>
                <a:cubicBezTo>
                  <a:pt x="9627" y="982"/>
                  <a:pt x="11973" y="982"/>
                  <a:pt x="11973" y="982"/>
                </a:cubicBezTo>
                <a:close/>
                <a:moveTo>
                  <a:pt x="15022" y="982"/>
                </a:moveTo>
                <a:lnTo>
                  <a:pt x="19931" y="5891"/>
                </a:lnTo>
                <a:lnTo>
                  <a:pt x="15518" y="5891"/>
                </a:lnTo>
                <a:lnTo>
                  <a:pt x="13064" y="982"/>
                </a:lnTo>
                <a:cubicBezTo>
                  <a:pt x="13064" y="982"/>
                  <a:pt x="15022" y="982"/>
                  <a:pt x="15022" y="982"/>
                </a:cubicBezTo>
                <a:close/>
                <a:moveTo>
                  <a:pt x="21600" y="6382"/>
                </a:moveTo>
                <a:cubicBezTo>
                  <a:pt x="21600" y="6272"/>
                  <a:pt x="21557" y="6175"/>
                  <a:pt x="21495" y="6093"/>
                </a:cubicBezTo>
                <a:lnTo>
                  <a:pt x="21502" y="6088"/>
                </a:lnTo>
                <a:lnTo>
                  <a:pt x="21471" y="6057"/>
                </a:lnTo>
                <a:cubicBezTo>
                  <a:pt x="21459" y="6044"/>
                  <a:pt x="21448" y="6032"/>
                  <a:pt x="21434" y="6020"/>
                </a:cubicBezTo>
                <a:lnTo>
                  <a:pt x="15611" y="197"/>
                </a:lnTo>
                <a:lnTo>
                  <a:pt x="15604" y="201"/>
                </a:lnTo>
                <a:cubicBezTo>
                  <a:pt x="15514" y="82"/>
                  <a:pt x="15379" y="0"/>
                  <a:pt x="15218" y="0"/>
                </a:cubicBezTo>
                <a:lnTo>
                  <a:pt x="6382" y="0"/>
                </a:lnTo>
                <a:cubicBezTo>
                  <a:pt x="6221" y="0"/>
                  <a:pt x="6086" y="82"/>
                  <a:pt x="5996" y="201"/>
                </a:cubicBezTo>
                <a:lnTo>
                  <a:pt x="5989" y="197"/>
                </a:lnTo>
                <a:lnTo>
                  <a:pt x="166" y="6020"/>
                </a:lnTo>
                <a:cubicBezTo>
                  <a:pt x="152" y="6032"/>
                  <a:pt x="141" y="6044"/>
                  <a:pt x="129" y="6057"/>
                </a:cubicBezTo>
                <a:lnTo>
                  <a:pt x="98" y="6088"/>
                </a:lnTo>
                <a:lnTo>
                  <a:pt x="105" y="6093"/>
                </a:lnTo>
                <a:cubicBezTo>
                  <a:pt x="43" y="6175"/>
                  <a:pt x="0" y="6272"/>
                  <a:pt x="0" y="6382"/>
                </a:cubicBezTo>
                <a:cubicBezTo>
                  <a:pt x="0" y="6499"/>
                  <a:pt x="46" y="6602"/>
                  <a:pt x="115" y="6686"/>
                </a:cubicBezTo>
                <a:lnTo>
                  <a:pt x="109" y="6690"/>
                </a:lnTo>
                <a:lnTo>
                  <a:pt x="10418" y="21418"/>
                </a:lnTo>
                <a:lnTo>
                  <a:pt x="10424" y="21413"/>
                </a:lnTo>
                <a:cubicBezTo>
                  <a:pt x="10514" y="21525"/>
                  <a:pt x="10646" y="21600"/>
                  <a:pt x="10800" y="21600"/>
                </a:cubicBezTo>
                <a:cubicBezTo>
                  <a:pt x="10954" y="21600"/>
                  <a:pt x="11086" y="21525"/>
                  <a:pt x="11176" y="21413"/>
                </a:cubicBezTo>
                <a:lnTo>
                  <a:pt x="11182" y="21418"/>
                </a:lnTo>
                <a:lnTo>
                  <a:pt x="21491" y="6690"/>
                </a:lnTo>
                <a:lnTo>
                  <a:pt x="21485" y="6686"/>
                </a:lnTo>
                <a:cubicBezTo>
                  <a:pt x="21553" y="6602"/>
                  <a:pt x="21600" y="6499"/>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4" name="Shape 2634"/>
          <p:cNvSpPr/>
          <p:nvPr/>
        </p:nvSpPr>
        <p:spPr>
          <a:xfrm>
            <a:off x="8288182" y="343187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 name="Text Placeholder 5">
            <a:extLst>
              <a:ext uri="{FF2B5EF4-FFF2-40B4-BE49-F238E27FC236}">
                <a16:creationId xmlns:a16="http://schemas.microsoft.com/office/drawing/2014/main" id="{B9F6363C-F7A3-4DA4-CB32-2B1E2700AC69}"/>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b="1" dirty="0">
                <a:solidFill>
                  <a:schemeClr val="accent3"/>
                </a:solidFill>
              </a:rPr>
              <a:t>Icon usage and examples</a:t>
            </a:r>
          </a:p>
        </p:txBody>
      </p:sp>
      <p:sp>
        <p:nvSpPr>
          <p:cNvPr id="3" name="Shape 2707">
            <a:extLst>
              <a:ext uri="{FF2B5EF4-FFF2-40B4-BE49-F238E27FC236}">
                <a16:creationId xmlns:a16="http://schemas.microsoft.com/office/drawing/2014/main" id="{7688FEA2-F271-44D3-5E27-2E72B86BBADB}"/>
              </a:ext>
            </a:extLst>
          </p:cNvPr>
          <p:cNvSpPr/>
          <p:nvPr/>
        </p:nvSpPr>
        <p:spPr>
          <a:xfrm>
            <a:off x="4246039" y="1381966"/>
            <a:ext cx="673255"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General</a:t>
            </a:r>
          </a:p>
        </p:txBody>
      </p:sp>
    </p:spTree>
    <p:extLst>
      <p:ext uri="{BB962C8B-B14F-4D97-AF65-F5344CB8AC3E}">
        <p14:creationId xmlns:p14="http://schemas.microsoft.com/office/powerpoint/2010/main" val="5862353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7" name="Shape 2637"/>
          <p:cNvSpPr/>
          <p:nvPr/>
        </p:nvSpPr>
        <p:spPr>
          <a:xfrm>
            <a:off x="708256"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8836"/>
                </a:moveTo>
                <a:lnTo>
                  <a:pt x="16200" y="8836"/>
                </a:lnTo>
                <a:lnTo>
                  <a:pt x="16200" y="11782"/>
                </a:lnTo>
                <a:cubicBezTo>
                  <a:pt x="16200" y="13409"/>
                  <a:pt x="13783" y="14727"/>
                  <a:pt x="10800" y="14727"/>
                </a:cubicBezTo>
                <a:cubicBezTo>
                  <a:pt x="7817" y="14727"/>
                  <a:pt x="5400" y="13409"/>
                  <a:pt x="5400" y="11782"/>
                </a:cubicBezTo>
                <a:cubicBezTo>
                  <a:pt x="5400" y="11782"/>
                  <a:pt x="5400" y="8836"/>
                  <a:pt x="5400" y="8836"/>
                </a:cubicBezTo>
                <a:close/>
                <a:moveTo>
                  <a:pt x="5400" y="3927"/>
                </a:moveTo>
                <a:cubicBezTo>
                  <a:pt x="5400" y="2301"/>
                  <a:pt x="7817" y="982"/>
                  <a:pt x="10800" y="982"/>
                </a:cubicBezTo>
                <a:cubicBezTo>
                  <a:pt x="13783" y="982"/>
                  <a:pt x="16200" y="2301"/>
                  <a:pt x="16200" y="3927"/>
                </a:cubicBezTo>
                <a:lnTo>
                  <a:pt x="16200" y="7855"/>
                </a:lnTo>
                <a:lnTo>
                  <a:pt x="5400" y="7855"/>
                </a:lnTo>
                <a:cubicBezTo>
                  <a:pt x="5400" y="7855"/>
                  <a:pt x="5400" y="3927"/>
                  <a:pt x="5400" y="3927"/>
                </a:cubicBezTo>
                <a:close/>
                <a:moveTo>
                  <a:pt x="10800" y="15709"/>
                </a:moveTo>
                <a:cubicBezTo>
                  <a:pt x="14777" y="15709"/>
                  <a:pt x="18000" y="13951"/>
                  <a:pt x="18000" y="11782"/>
                </a:cubicBezTo>
                <a:lnTo>
                  <a:pt x="18000" y="3927"/>
                </a:lnTo>
                <a:cubicBezTo>
                  <a:pt x="18000" y="1758"/>
                  <a:pt x="14777" y="0"/>
                  <a:pt x="10800" y="0"/>
                </a:cubicBezTo>
                <a:cubicBezTo>
                  <a:pt x="6823" y="0"/>
                  <a:pt x="3600" y="1758"/>
                  <a:pt x="3600" y="3927"/>
                </a:cubicBezTo>
                <a:lnTo>
                  <a:pt x="3600" y="11782"/>
                </a:lnTo>
                <a:cubicBezTo>
                  <a:pt x="3600" y="13951"/>
                  <a:pt x="6823" y="15709"/>
                  <a:pt x="10800" y="15709"/>
                </a:cubicBezTo>
                <a:moveTo>
                  <a:pt x="21600" y="11782"/>
                </a:moveTo>
                <a:lnTo>
                  <a:pt x="21600" y="10309"/>
                </a:lnTo>
                <a:cubicBezTo>
                  <a:pt x="21600" y="10038"/>
                  <a:pt x="21197" y="9818"/>
                  <a:pt x="20700" y="9818"/>
                </a:cubicBezTo>
                <a:cubicBezTo>
                  <a:pt x="20203" y="9818"/>
                  <a:pt x="19800" y="10038"/>
                  <a:pt x="19800" y="10309"/>
                </a:cubicBezTo>
                <a:lnTo>
                  <a:pt x="19800" y="11782"/>
                </a:lnTo>
                <a:cubicBezTo>
                  <a:pt x="19800" y="14493"/>
                  <a:pt x="15771" y="16691"/>
                  <a:pt x="10800" y="16691"/>
                </a:cubicBezTo>
                <a:cubicBezTo>
                  <a:pt x="5829" y="16691"/>
                  <a:pt x="1800" y="14493"/>
                  <a:pt x="1800" y="11782"/>
                </a:cubicBezTo>
                <a:lnTo>
                  <a:pt x="1800" y="10309"/>
                </a:lnTo>
                <a:cubicBezTo>
                  <a:pt x="1800" y="10038"/>
                  <a:pt x="1397" y="9818"/>
                  <a:pt x="900" y="9818"/>
                </a:cubicBezTo>
                <a:cubicBezTo>
                  <a:pt x="403" y="9818"/>
                  <a:pt x="0" y="10038"/>
                  <a:pt x="0" y="10309"/>
                </a:cubicBezTo>
                <a:lnTo>
                  <a:pt x="0" y="11782"/>
                </a:lnTo>
                <a:cubicBezTo>
                  <a:pt x="0" y="14870"/>
                  <a:pt x="4358" y="17398"/>
                  <a:pt x="9900" y="17648"/>
                </a:cubicBezTo>
                <a:lnTo>
                  <a:pt x="9900" y="20618"/>
                </a:lnTo>
                <a:lnTo>
                  <a:pt x="3600" y="20618"/>
                </a:lnTo>
                <a:cubicBezTo>
                  <a:pt x="3103" y="20618"/>
                  <a:pt x="2700" y="20838"/>
                  <a:pt x="2700" y="21110"/>
                </a:cubicBezTo>
                <a:cubicBezTo>
                  <a:pt x="2700" y="21381"/>
                  <a:pt x="3103" y="21600"/>
                  <a:pt x="3600" y="21600"/>
                </a:cubicBezTo>
                <a:lnTo>
                  <a:pt x="18000" y="21600"/>
                </a:lnTo>
                <a:cubicBezTo>
                  <a:pt x="18497" y="21600"/>
                  <a:pt x="18900" y="21381"/>
                  <a:pt x="18900" y="21110"/>
                </a:cubicBezTo>
                <a:cubicBezTo>
                  <a:pt x="18900" y="20838"/>
                  <a:pt x="18497" y="20618"/>
                  <a:pt x="18000" y="20618"/>
                </a:cubicBezTo>
                <a:lnTo>
                  <a:pt x="11700" y="20618"/>
                </a:lnTo>
                <a:lnTo>
                  <a:pt x="11700" y="17648"/>
                </a:lnTo>
                <a:cubicBezTo>
                  <a:pt x="17243" y="17398"/>
                  <a:pt x="21600" y="14870"/>
                  <a:pt x="216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8" name="Shape 2638"/>
          <p:cNvSpPr/>
          <p:nvPr/>
        </p:nvSpPr>
        <p:spPr>
          <a:xfrm>
            <a:off x="1060590" y="1069907"/>
            <a:ext cx="209424" cy="209619"/>
          </a:xfrm>
          <a:custGeom>
            <a:avLst/>
            <a:gdLst/>
            <a:ahLst/>
            <a:cxnLst>
              <a:cxn ang="0">
                <a:pos x="wd2" y="hd2"/>
              </a:cxn>
              <a:cxn ang="5400000">
                <a:pos x="wd2" y="hd2"/>
              </a:cxn>
              <a:cxn ang="10800000">
                <a:pos x="wd2" y="hd2"/>
              </a:cxn>
              <a:cxn ang="16200000">
                <a:pos x="wd2" y="hd2"/>
              </a:cxn>
            </a:cxnLst>
            <a:rect l="0" t="0" r="r" b="b"/>
            <a:pathLst>
              <a:path w="21131" h="21132" extrusionOk="0">
                <a:moveTo>
                  <a:pt x="19045" y="7530"/>
                </a:moveTo>
                <a:cubicBezTo>
                  <a:pt x="17544" y="9030"/>
                  <a:pt x="15110" y="9030"/>
                  <a:pt x="13610" y="7530"/>
                </a:cubicBezTo>
                <a:cubicBezTo>
                  <a:pt x="12108" y="6031"/>
                  <a:pt x="12108" y="3600"/>
                  <a:pt x="13610" y="2100"/>
                </a:cubicBezTo>
                <a:cubicBezTo>
                  <a:pt x="15110" y="600"/>
                  <a:pt x="17544" y="600"/>
                  <a:pt x="19045" y="2100"/>
                </a:cubicBezTo>
                <a:cubicBezTo>
                  <a:pt x="20546" y="3600"/>
                  <a:pt x="20546" y="6031"/>
                  <a:pt x="19045" y="7530"/>
                </a:cubicBezTo>
                <a:moveTo>
                  <a:pt x="7605" y="16245"/>
                </a:moveTo>
                <a:cubicBezTo>
                  <a:pt x="7256" y="16593"/>
                  <a:pt x="6776" y="16807"/>
                  <a:pt x="6245" y="16807"/>
                </a:cubicBezTo>
                <a:cubicBezTo>
                  <a:pt x="5184" y="16807"/>
                  <a:pt x="4324" y="15948"/>
                  <a:pt x="4324" y="14888"/>
                </a:cubicBezTo>
                <a:cubicBezTo>
                  <a:pt x="4324" y="14358"/>
                  <a:pt x="4539" y="13878"/>
                  <a:pt x="4887" y="13530"/>
                </a:cubicBezTo>
                <a:lnTo>
                  <a:pt x="11678" y="5991"/>
                </a:lnTo>
                <a:cubicBezTo>
                  <a:pt x="11884" y="6798"/>
                  <a:pt x="12298" y="7563"/>
                  <a:pt x="12930" y="8194"/>
                </a:cubicBezTo>
                <a:cubicBezTo>
                  <a:pt x="13569" y="8832"/>
                  <a:pt x="14343" y="9248"/>
                  <a:pt x="15160" y="9451"/>
                </a:cubicBezTo>
                <a:cubicBezTo>
                  <a:pt x="15160" y="9451"/>
                  <a:pt x="7605" y="16245"/>
                  <a:pt x="7605" y="16245"/>
                </a:cubicBezTo>
                <a:close/>
                <a:moveTo>
                  <a:pt x="19724" y="1406"/>
                </a:moveTo>
                <a:cubicBezTo>
                  <a:pt x="17848" y="-468"/>
                  <a:pt x="14806" y="-468"/>
                  <a:pt x="12930" y="1406"/>
                </a:cubicBezTo>
                <a:cubicBezTo>
                  <a:pt x="12024" y="2312"/>
                  <a:pt x="11559" y="3489"/>
                  <a:pt x="11529" y="4676"/>
                </a:cubicBezTo>
                <a:lnTo>
                  <a:pt x="4207" y="12851"/>
                </a:lnTo>
                <a:cubicBezTo>
                  <a:pt x="3686" y="13373"/>
                  <a:pt x="3363" y="14093"/>
                  <a:pt x="3363" y="14888"/>
                </a:cubicBezTo>
                <a:cubicBezTo>
                  <a:pt x="3363" y="15420"/>
                  <a:pt x="3518" y="15912"/>
                  <a:pt x="3769" y="16340"/>
                </a:cubicBezTo>
                <a:cubicBezTo>
                  <a:pt x="2436" y="17104"/>
                  <a:pt x="1907" y="17813"/>
                  <a:pt x="2425" y="19364"/>
                </a:cubicBezTo>
                <a:cubicBezTo>
                  <a:pt x="2487" y="19550"/>
                  <a:pt x="2434" y="19622"/>
                  <a:pt x="2409" y="19658"/>
                </a:cubicBezTo>
                <a:cubicBezTo>
                  <a:pt x="2160" y="20003"/>
                  <a:pt x="1132" y="20167"/>
                  <a:pt x="500" y="20172"/>
                </a:cubicBezTo>
                <a:cubicBezTo>
                  <a:pt x="493" y="20171"/>
                  <a:pt x="487" y="20167"/>
                  <a:pt x="480" y="20167"/>
                </a:cubicBezTo>
                <a:cubicBezTo>
                  <a:pt x="215" y="20167"/>
                  <a:pt x="0" y="20383"/>
                  <a:pt x="0" y="20647"/>
                </a:cubicBezTo>
                <a:cubicBezTo>
                  <a:pt x="0" y="20912"/>
                  <a:pt x="214" y="21126"/>
                  <a:pt x="479" y="21127"/>
                </a:cubicBezTo>
                <a:lnTo>
                  <a:pt x="479" y="21132"/>
                </a:lnTo>
                <a:cubicBezTo>
                  <a:pt x="821" y="21132"/>
                  <a:pt x="2562" y="21088"/>
                  <a:pt x="3189" y="20219"/>
                </a:cubicBezTo>
                <a:cubicBezTo>
                  <a:pt x="3355" y="19988"/>
                  <a:pt x="3516" y="19599"/>
                  <a:pt x="3336" y="19060"/>
                </a:cubicBezTo>
                <a:cubicBezTo>
                  <a:pt x="3030" y="18141"/>
                  <a:pt x="3071" y="17806"/>
                  <a:pt x="4399" y="17082"/>
                </a:cubicBezTo>
                <a:cubicBezTo>
                  <a:pt x="4900" y="17504"/>
                  <a:pt x="5539" y="17767"/>
                  <a:pt x="6245" y="17767"/>
                </a:cubicBezTo>
                <a:cubicBezTo>
                  <a:pt x="7042" y="17767"/>
                  <a:pt x="7762" y="17445"/>
                  <a:pt x="8284" y="16924"/>
                </a:cubicBezTo>
                <a:lnTo>
                  <a:pt x="16485" y="9592"/>
                </a:lnTo>
                <a:cubicBezTo>
                  <a:pt x="17662" y="9554"/>
                  <a:pt x="18826" y="9091"/>
                  <a:pt x="19724" y="8194"/>
                </a:cubicBezTo>
                <a:cubicBezTo>
                  <a:pt x="21600" y="6320"/>
                  <a:pt x="21600" y="3281"/>
                  <a:pt x="19724" y="1406"/>
                </a:cubicBezTo>
                <a:moveTo>
                  <a:pt x="8953" y="11504"/>
                </a:moveTo>
                <a:lnTo>
                  <a:pt x="9633" y="12183"/>
                </a:lnTo>
                <a:lnTo>
                  <a:pt x="12690" y="9807"/>
                </a:lnTo>
                <a:lnTo>
                  <a:pt x="11331" y="8449"/>
                </a:lnTo>
                <a:cubicBezTo>
                  <a:pt x="11331" y="8449"/>
                  <a:pt x="8953" y="11504"/>
                  <a:pt x="8953" y="115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39" name="Shape 2639"/>
          <p:cNvSpPr/>
          <p:nvPr/>
        </p:nvSpPr>
        <p:spPr>
          <a:xfrm>
            <a:off x="1460536"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3255" y="3086"/>
                </a:moveTo>
                <a:cubicBezTo>
                  <a:pt x="12984" y="3086"/>
                  <a:pt x="12764" y="3432"/>
                  <a:pt x="12764" y="3857"/>
                </a:cubicBezTo>
                <a:cubicBezTo>
                  <a:pt x="12764" y="4284"/>
                  <a:pt x="12984" y="4629"/>
                  <a:pt x="13255" y="4629"/>
                </a:cubicBezTo>
                <a:cubicBezTo>
                  <a:pt x="13525" y="4629"/>
                  <a:pt x="13745" y="4284"/>
                  <a:pt x="13745" y="3857"/>
                </a:cubicBezTo>
                <a:cubicBezTo>
                  <a:pt x="13745" y="3432"/>
                  <a:pt x="13525" y="3086"/>
                  <a:pt x="13255" y="3086"/>
                </a:cubicBezTo>
                <a:moveTo>
                  <a:pt x="20618" y="16495"/>
                </a:moveTo>
                <a:lnTo>
                  <a:pt x="15709" y="12638"/>
                </a:lnTo>
                <a:lnTo>
                  <a:pt x="15709" y="8963"/>
                </a:lnTo>
                <a:lnTo>
                  <a:pt x="20618" y="5105"/>
                </a:lnTo>
                <a:cubicBezTo>
                  <a:pt x="20618" y="5105"/>
                  <a:pt x="20618" y="16495"/>
                  <a:pt x="20618" y="16495"/>
                </a:cubicBezTo>
                <a:close/>
                <a:moveTo>
                  <a:pt x="14727" y="16971"/>
                </a:moveTo>
                <a:lnTo>
                  <a:pt x="982" y="16971"/>
                </a:lnTo>
                <a:lnTo>
                  <a:pt x="982" y="3086"/>
                </a:lnTo>
                <a:cubicBezTo>
                  <a:pt x="982" y="2234"/>
                  <a:pt x="1422" y="1543"/>
                  <a:pt x="1964" y="1543"/>
                </a:cubicBezTo>
                <a:lnTo>
                  <a:pt x="13745" y="1543"/>
                </a:lnTo>
                <a:cubicBezTo>
                  <a:pt x="14287" y="1543"/>
                  <a:pt x="14727" y="2234"/>
                  <a:pt x="14727" y="3086"/>
                </a:cubicBezTo>
                <a:cubicBezTo>
                  <a:pt x="14727" y="3086"/>
                  <a:pt x="14727" y="16971"/>
                  <a:pt x="14727" y="16971"/>
                </a:cubicBezTo>
                <a:close/>
                <a:moveTo>
                  <a:pt x="13745" y="20057"/>
                </a:moveTo>
                <a:lnTo>
                  <a:pt x="1964" y="20057"/>
                </a:lnTo>
                <a:cubicBezTo>
                  <a:pt x="1422" y="20057"/>
                  <a:pt x="982" y="19367"/>
                  <a:pt x="982" y="18514"/>
                </a:cubicBezTo>
                <a:lnTo>
                  <a:pt x="14727" y="18514"/>
                </a:lnTo>
                <a:cubicBezTo>
                  <a:pt x="14727" y="19367"/>
                  <a:pt x="14287" y="20057"/>
                  <a:pt x="13745" y="20057"/>
                </a:cubicBezTo>
                <a:moveTo>
                  <a:pt x="21109" y="3086"/>
                </a:moveTo>
                <a:cubicBezTo>
                  <a:pt x="21030" y="3086"/>
                  <a:pt x="20958" y="3122"/>
                  <a:pt x="20892" y="3175"/>
                </a:cubicBezTo>
                <a:lnTo>
                  <a:pt x="20890" y="3167"/>
                </a:lnTo>
                <a:lnTo>
                  <a:pt x="15709" y="7237"/>
                </a:lnTo>
                <a:lnTo>
                  <a:pt x="15709" y="3086"/>
                </a:lnTo>
                <a:cubicBezTo>
                  <a:pt x="15709" y="1382"/>
                  <a:pt x="14830" y="0"/>
                  <a:pt x="13745" y="0"/>
                </a:cubicBezTo>
                <a:lnTo>
                  <a:pt x="1964" y="0"/>
                </a:lnTo>
                <a:cubicBezTo>
                  <a:pt x="879" y="0"/>
                  <a:pt x="0" y="1382"/>
                  <a:pt x="0" y="3086"/>
                </a:cubicBezTo>
                <a:lnTo>
                  <a:pt x="0" y="18514"/>
                </a:lnTo>
                <a:cubicBezTo>
                  <a:pt x="0" y="20219"/>
                  <a:pt x="879" y="21600"/>
                  <a:pt x="1964" y="21600"/>
                </a:cubicBezTo>
                <a:lnTo>
                  <a:pt x="13745" y="21600"/>
                </a:lnTo>
                <a:cubicBezTo>
                  <a:pt x="14830" y="21600"/>
                  <a:pt x="15709" y="20219"/>
                  <a:pt x="15709" y="18514"/>
                </a:cubicBezTo>
                <a:lnTo>
                  <a:pt x="15709" y="14363"/>
                </a:lnTo>
                <a:lnTo>
                  <a:pt x="20890" y="18433"/>
                </a:lnTo>
                <a:lnTo>
                  <a:pt x="20892" y="18427"/>
                </a:lnTo>
                <a:cubicBezTo>
                  <a:pt x="20958" y="18478"/>
                  <a:pt x="21030" y="18514"/>
                  <a:pt x="21109" y="18514"/>
                </a:cubicBezTo>
                <a:cubicBezTo>
                  <a:pt x="21380" y="18514"/>
                  <a:pt x="21600" y="18170"/>
                  <a:pt x="21600" y="17743"/>
                </a:cubicBezTo>
                <a:lnTo>
                  <a:pt x="21600" y="3857"/>
                </a:lnTo>
                <a:cubicBezTo>
                  <a:pt x="21600" y="3432"/>
                  <a:pt x="21380" y="3086"/>
                  <a:pt x="21109" y="3086"/>
                </a:cubicBezTo>
                <a:moveTo>
                  <a:pt x="10309" y="6171"/>
                </a:moveTo>
                <a:cubicBezTo>
                  <a:pt x="10038" y="6171"/>
                  <a:pt x="9818" y="5827"/>
                  <a:pt x="9818" y="5400"/>
                </a:cubicBezTo>
                <a:cubicBezTo>
                  <a:pt x="9818" y="4974"/>
                  <a:pt x="10038" y="4629"/>
                  <a:pt x="10309" y="4629"/>
                </a:cubicBezTo>
                <a:cubicBezTo>
                  <a:pt x="10580" y="4629"/>
                  <a:pt x="10800" y="4974"/>
                  <a:pt x="10800" y="5400"/>
                </a:cubicBezTo>
                <a:cubicBezTo>
                  <a:pt x="10800" y="5827"/>
                  <a:pt x="10580" y="6171"/>
                  <a:pt x="10309" y="6171"/>
                </a:cubicBezTo>
                <a:moveTo>
                  <a:pt x="10309" y="3086"/>
                </a:moveTo>
                <a:cubicBezTo>
                  <a:pt x="9496" y="3086"/>
                  <a:pt x="8836" y="4123"/>
                  <a:pt x="8836" y="5400"/>
                </a:cubicBezTo>
                <a:cubicBezTo>
                  <a:pt x="8836" y="6678"/>
                  <a:pt x="9496" y="7714"/>
                  <a:pt x="10309" y="7714"/>
                </a:cubicBezTo>
                <a:cubicBezTo>
                  <a:pt x="11123" y="7714"/>
                  <a:pt x="11782" y="6678"/>
                  <a:pt x="11782" y="5400"/>
                </a:cubicBezTo>
                <a:cubicBezTo>
                  <a:pt x="11782" y="4123"/>
                  <a:pt x="11123" y="3086"/>
                  <a:pt x="10309" y="308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0" name="Shape 2640"/>
          <p:cNvSpPr/>
          <p:nvPr/>
        </p:nvSpPr>
        <p:spPr>
          <a:xfrm>
            <a:off x="1860482"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495"/>
                </a:moveTo>
                <a:lnTo>
                  <a:pt x="19636" y="15723"/>
                </a:lnTo>
                <a:lnTo>
                  <a:pt x="19636" y="5877"/>
                </a:lnTo>
                <a:lnTo>
                  <a:pt x="20618" y="5105"/>
                </a:lnTo>
                <a:cubicBezTo>
                  <a:pt x="20618" y="5105"/>
                  <a:pt x="20618" y="16495"/>
                  <a:pt x="20618" y="16495"/>
                </a:cubicBezTo>
                <a:close/>
                <a:moveTo>
                  <a:pt x="18655" y="14952"/>
                </a:moveTo>
                <a:lnTo>
                  <a:pt x="16691" y="13409"/>
                </a:lnTo>
                <a:lnTo>
                  <a:pt x="16691" y="8191"/>
                </a:lnTo>
                <a:lnTo>
                  <a:pt x="18655" y="6648"/>
                </a:lnTo>
                <a:cubicBezTo>
                  <a:pt x="18655" y="6648"/>
                  <a:pt x="18655" y="14952"/>
                  <a:pt x="18655" y="14952"/>
                </a:cubicBezTo>
                <a:close/>
                <a:moveTo>
                  <a:pt x="15709" y="6171"/>
                </a:moveTo>
                <a:lnTo>
                  <a:pt x="982" y="6171"/>
                </a:lnTo>
                <a:lnTo>
                  <a:pt x="982" y="3086"/>
                </a:lnTo>
                <a:cubicBezTo>
                  <a:pt x="982" y="2234"/>
                  <a:pt x="1422" y="1543"/>
                  <a:pt x="1964" y="1543"/>
                </a:cubicBezTo>
                <a:lnTo>
                  <a:pt x="14727" y="1543"/>
                </a:lnTo>
                <a:cubicBezTo>
                  <a:pt x="15269" y="1543"/>
                  <a:pt x="15709" y="2234"/>
                  <a:pt x="15709" y="3086"/>
                </a:cubicBezTo>
                <a:cubicBezTo>
                  <a:pt x="15709" y="3086"/>
                  <a:pt x="15709" y="6171"/>
                  <a:pt x="15709" y="6171"/>
                </a:cubicBezTo>
                <a:close/>
                <a:moveTo>
                  <a:pt x="15709" y="18514"/>
                </a:moveTo>
                <a:cubicBezTo>
                  <a:pt x="15709" y="19367"/>
                  <a:pt x="15269" y="20057"/>
                  <a:pt x="14727" y="20057"/>
                </a:cubicBezTo>
                <a:lnTo>
                  <a:pt x="1964" y="20057"/>
                </a:lnTo>
                <a:cubicBezTo>
                  <a:pt x="1422" y="20057"/>
                  <a:pt x="982" y="19367"/>
                  <a:pt x="982" y="18514"/>
                </a:cubicBezTo>
                <a:lnTo>
                  <a:pt x="982" y="7714"/>
                </a:lnTo>
                <a:lnTo>
                  <a:pt x="15709" y="7714"/>
                </a:lnTo>
                <a:cubicBezTo>
                  <a:pt x="15709" y="7714"/>
                  <a:pt x="15709" y="18514"/>
                  <a:pt x="15709" y="18514"/>
                </a:cubicBezTo>
                <a:close/>
                <a:moveTo>
                  <a:pt x="21109" y="3086"/>
                </a:moveTo>
                <a:cubicBezTo>
                  <a:pt x="21030" y="3086"/>
                  <a:pt x="20958" y="3122"/>
                  <a:pt x="20892" y="3175"/>
                </a:cubicBezTo>
                <a:lnTo>
                  <a:pt x="20890" y="3167"/>
                </a:lnTo>
                <a:lnTo>
                  <a:pt x="16691" y="6467"/>
                </a:lnTo>
                <a:lnTo>
                  <a:pt x="16691" y="3086"/>
                </a:lnTo>
                <a:cubicBezTo>
                  <a:pt x="16691" y="1382"/>
                  <a:pt x="15812" y="0"/>
                  <a:pt x="14727" y="0"/>
                </a:cubicBezTo>
                <a:lnTo>
                  <a:pt x="1964" y="0"/>
                </a:lnTo>
                <a:cubicBezTo>
                  <a:pt x="879" y="0"/>
                  <a:pt x="0" y="1382"/>
                  <a:pt x="0" y="3086"/>
                </a:cubicBezTo>
                <a:lnTo>
                  <a:pt x="0" y="18514"/>
                </a:lnTo>
                <a:cubicBezTo>
                  <a:pt x="0" y="20219"/>
                  <a:pt x="879" y="21600"/>
                  <a:pt x="1964" y="21600"/>
                </a:cubicBezTo>
                <a:lnTo>
                  <a:pt x="14727" y="21600"/>
                </a:lnTo>
                <a:cubicBezTo>
                  <a:pt x="15812" y="21600"/>
                  <a:pt x="16691" y="20219"/>
                  <a:pt x="16691" y="18514"/>
                </a:cubicBezTo>
                <a:lnTo>
                  <a:pt x="16691" y="15134"/>
                </a:lnTo>
                <a:lnTo>
                  <a:pt x="20890" y="18433"/>
                </a:lnTo>
                <a:lnTo>
                  <a:pt x="20892" y="18426"/>
                </a:lnTo>
                <a:cubicBezTo>
                  <a:pt x="20958" y="18478"/>
                  <a:pt x="21030" y="18514"/>
                  <a:pt x="21109" y="18514"/>
                </a:cubicBezTo>
                <a:cubicBezTo>
                  <a:pt x="21380" y="18514"/>
                  <a:pt x="21600" y="18169"/>
                  <a:pt x="21600" y="17743"/>
                </a:cubicBezTo>
                <a:lnTo>
                  <a:pt x="21600" y="3857"/>
                </a:lnTo>
                <a:cubicBezTo>
                  <a:pt x="21600" y="3432"/>
                  <a:pt x="21380" y="3086"/>
                  <a:pt x="21109" y="3086"/>
                </a:cubicBezTo>
                <a:moveTo>
                  <a:pt x="12273" y="3086"/>
                </a:moveTo>
                <a:cubicBezTo>
                  <a:pt x="12002" y="3086"/>
                  <a:pt x="11782" y="3432"/>
                  <a:pt x="11782" y="3857"/>
                </a:cubicBezTo>
                <a:cubicBezTo>
                  <a:pt x="11782" y="4284"/>
                  <a:pt x="12002" y="4629"/>
                  <a:pt x="12273" y="4629"/>
                </a:cubicBezTo>
                <a:cubicBezTo>
                  <a:pt x="12544" y="4629"/>
                  <a:pt x="12764" y="4284"/>
                  <a:pt x="12764" y="3857"/>
                </a:cubicBezTo>
                <a:cubicBezTo>
                  <a:pt x="12764" y="3432"/>
                  <a:pt x="12544" y="3086"/>
                  <a:pt x="12273" y="3086"/>
                </a:cubicBezTo>
                <a:moveTo>
                  <a:pt x="14236" y="3086"/>
                </a:moveTo>
                <a:cubicBezTo>
                  <a:pt x="13966" y="3086"/>
                  <a:pt x="13745" y="3432"/>
                  <a:pt x="13745" y="3857"/>
                </a:cubicBezTo>
                <a:cubicBezTo>
                  <a:pt x="13745" y="4284"/>
                  <a:pt x="13966" y="4629"/>
                  <a:pt x="14236" y="4629"/>
                </a:cubicBezTo>
                <a:cubicBezTo>
                  <a:pt x="14507" y="4629"/>
                  <a:pt x="14727" y="4284"/>
                  <a:pt x="14727" y="3857"/>
                </a:cubicBezTo>
                <a:cubicBezTo>
                  <a:pt x="14727" y="3432"/>
                  <a:pt x="14507" y="3086"/>
                  <a:pt x="14236" y="3086"/>
                </a:cubicBezTo>
                <a:moveTo>
                  <a:pt x="5400" y="10800"/>
                </a:moveTo>
                <a:cubicBezTo>
                  <a:pt x="6214" y="10800"/>
                  <a:pt x="6873" y="11837"/>
                  <a:pt x="6873" y="13114"/>
                </a:cubicBezTo>
                <a:cubicBezTo>
                  <a:pt x="6873" y="14393"/>
                  <a:pt x="6214" y="15429"/>
                  <a:pt x="5400" y="15429"/>
                </a:cubicBezTo>
                <a:cubicBezTo>
                  <a:pt x="4586" y="15429"/>
                  <a:pt x="3927" y="14393"/>
                  <a:pt x="3927" y="13114"/>
                </a:cubicBezTo>
                <a:cubicBezTo>
                  <a:pt x="3927" y="11837"/>
                  <a:pt x="4586" y="10800"/>
                  <a:pt x="5400" y="10800"/>
                </a:cubicBezTo>
                <a:moveTo>
                  <a:pt x="11291" y="10800"/>
                </a:moveTo>
                <a:cubicBezTo>
                  <a:pt x="12104" y="10800"/>
                  <a:pt x="12764" y="11837"/>
                  <a:pt x="12764" y="13114"/>
                </a:cubicBezTo>
                <a:cubicBezTo>
                  <a:pt x="12764" y="14393"/>
                  <a:pt x="12104" y="15429"/>
                  <a:pt x="11291" y="15429"/>
                </a:cubicBezTo>
                <a:cubicBezTo>
                  <a:pt x="10477" y="15429"/>
                  <a:pt x="9818" y="14393"/>
                  <a:pt x="9818" y="13114"/>
                </a:cubicBezTo>
                <a:cubicBezTo>
                  <a:pt x="9818" y="11837"/>
                  <a:pt x="10477" y="10800"/>
                  <a:pt x="11291" y="10800"/>
                </a:cubicBezTo>
                <a:moveTo>
                  <a:pt x="5400" y="16971"/>
                </a:moveTo>
                <a:lnTo>
                  <a:pt x="11291" y="16971"/>
                </a:lnTo>
                <a:cubicBezTo>
                  <a:pt x="12647" y="16971"/>
                  <a:pt x="13745" y="15245"/>
                  <a:pt x="13745" y="13114"/>
                </a:cubicBezTo>
                <a:cubicBezTo>
                  <a:pt x="13745" y="10984"/>
                  <a:pt x="12647" y="9257"/>
                  <a:pt x="11291" y="9257"/>
                </a:cubicBezTo>
                <a:cubicBezTo>
                  <a:pt x="9935" y="9257"/>
                  <a:pt x="8836" y="10984"/>
                  <a:pt x="8836" y="13114"/>
                </a:cubicBezTo>
                <a:cubicBezTo>
                  <a:pt x="8836" y="13987"/>
                  <a:pt x="9028" y="14782"/>
                  <a:pt x="9338" y="15429"/>
                </a:cubicBezTo>
                <a:lnTo>
                  <a:pt x="7352" y="15429"/>
                </a:lnTo>
                <a:cubicBezTo>
                  <a:pt x="7663" y="14782"/>
                  <a:pt x="7855" y="13987"/>
                  <a:pt x="7855" y="13114"/>
                </a:cubicBezTo>
                <a:cubicBezTo>
                  <a:pt x="7855" y="10984"/>
                  <a:pt x="6755" y="9257"/>
                  <a:pt x="5400" y="9257"/>
                </a:cubicBezTo>
                <a:cubicBezTo>
                  <a:pt x="4044" y="9257"/>
                  <a:pt x="2945" y="10984"/>
                  <a:pt x="2945" y="13114"/>
                </a:cubicBezTo>
                <a:cubicBezTo>
                  <a:pt x="2945" y="15245"/>
                  <a:pt x="4044" y="16971"/>
                  <a:pt x="5400"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1" name="Shape 2641"/>
          <p:cNvSpPr/>
          <p:nvPr/>
        </p:nvSpPr>
        <p:spPr>
          <a:xfrm>
            <a:off x="2260427" y="1107997"/>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20618" y="16606"/>
                </a:moveTo>
                <a:lnTo>
                  <a:pt x="16691" y="14138"/>
                </a:lnTo>
                <a:lnTo>
                  <a:pt x="16691" y="7462"/>
                </a:lnTo>
                <a:lnTo>
                  <a:pt x="20618" y="4994"/>
                </a:lnTo>
                <a:cubicBezTo>
                  <a:pt x="20618" y="4994"/>
                  <a:pt x="20618" y="16606"/>
                  <a:pt x="20618" y="16606"/>
                </a:cubicBezTo>
                <a:close/>
                <a:moveTo>
                  <a:pt x="21109" y="3086"/>
                </a:moveTo>
                <a:cubicBezTo>
                  <a:pt x="21030" y="3086"/>
                  <a:pt x="20958" y="3122"/>
                  <a:pt x="20892" y="3174"/>
                </a:cubicBezTo>
                <a:lnTo>
                  <a:pt x="20890" y="3167"/>
                </a:lnTo>
                <a:lnTo>
                  <a:pt x="16018" y="6229"/>
                </a:lnTo>
                <a:cubicBezTo>
                  <a:pt x="16013" y="6233"/>
                  <a:pt x="16008" y="6235"/>
                  <a:pt x="16003" y="6239"/>
                </a:cubicBezTo>
                <a:lnTo>
                  <a:pt x="15980" y="6252"/>
                </a:lnTo>
                <a:lnTo>
                  <a:pt x="15983" y="6260"/>
                </a:lnTo>
                <a:cubicBezTo>
                  <a:pt x="15822" y="6387"/>
                  <a:pt x="15709" y="6641"/>
                  <a:pt x="15709" y="6943"/>
                </a:cubicBezTo>
                <a:lnTo>
                  <a:pt x="15709" y="14657"/>
                </a:lnTo>
                <a:cubicBezTo>
                  <a:pt x="15709" y="14959"/>
                  <a:pt x="15822" y="15213"/>
                  <a:pt x="15983" y="15340"/>
                </a:cubicBezTo>
                <a:lnTo>
                  <a:pt x="15980" y="15347"/>
                </a:lnTo>
                <a:lnTo>
                  <a:pt x="16002" y="15360"/>
                </a:lnTo>
                <a:cubicBezTo>
                  <a:pt x="16008" y="15365"/>
                  <a:pt x="16013" y="15368"/>
                  <a:pt x="16018" y="15371"/>
                </a:cubicBezTo>
                <a:lnTo>
                  <a:pt x="20890" y="18433"/>
                </a:lnTo>
                <a:lnTo>
                  <a:pt x="20892" y="18426"/>
                </a:lnTo>
                <a:cubicBezTo>
                  <a:pt x="20958" y="18478"/>
                  <a:pt x="21030" y="18514"/>
                  <a:pt x="21109" y="18514"/>
                </a:cubicBezTo>
                <a:cubicBezTo>
                  <a:pt x="21380" y="18514"/>
                  <a:pt x="21600" y="18169"/>
                  <a:pt x="21600" y="17743"/>
                </a:cubicBezTo>
                <a:lnTo>
                  <a:pt x="21600" y="3857"/>
                </a:lnTo>
                <a:cubicBezTo>
                  <a:pt x="21600" y="3431"/>
                  <a:pt x="21380" y="3086"/>
                  <a:pt x="21109" y="3086"/>
                </a:cubicBezTo>
                <a:moveTo>
                  <a:pt x="13745" y="18514"/>
                </a:moveTo>
                <a:cubicBezTo>
                  <a:pt x="13745" y="19367"/>
                  <a:pt x="13306" y="20057"/>
                  <a:pt x="12764" y="20057"/>
                </a:cubicBezTo>
                <a:lnTo>
                  <a:pt x="1964" y="20057"/>
                </a:lnTo>
                <a:cubicBezTo>
                  <a:pt x="1422" y="20057"/>
                  <a:pt x="982" y="19367"/>
                  <a:pt x="982" y="18514"/>
                </a:cubicBezTo>
                <a:lnTo>
                  <a:pt x="982" y="3086"/>
                </a:lnTo>
                <a:cubicBezTo>
                  <a:pt x="982" y="2233"/>
                  <a:pt x="1422" y="1543"/>
                  <a:pt x="1964" y="1543"/>
                </a:cubicBezTo>
                <a:lnTo>
                  <a:pt x="12764" y="1543"/>
                </a:lnTo>
                <a:cubicBezTo>
                  <a:pt x="13306" y="1543"/>
                  <a:pt x="13745" y="2233"/>
                  <a:pt x="13745" y="3086"/>
                </a:cubicBezTo>
                <a:cubicBezTo>
                  <a:pt x="13745" y="3086"/>
                  <a:pt x="13745" y="18514"/>
                  <a:pt x="13745" y="18514"/>
                </a:cubicBezTo>
                <a:close/>
                <a:moveTo>
                  <a:pt x="12764" y="0"/>
                </a:moveTo>
                <a:lnTo>
                  <a:pt x="1964" y="0"/>
                </a:lnTo>
                <a:cubicBezTo>
                  <a:pt x="879" y="0"/>
                  <a:pt x="0" y="1382"/>
                  <a:pt x="0" y="3086"/>
                </a:cubicBezTo>
                <a:lnTo>
                  <a:pt x="0" y="18514"/>
                </a:lnTo>
                <a:cubicBezTo>
                  <a:pt x="0" y="20219"/>
                  <a:pt x="879" y="21600"/>
                  <a:pt x="1964" y="21600"/>
                </a:cubicBezTo>
                <a:lnTo>
                  <a:pt x="12764" y="21600"/>
                </a:lnTo>
                <a:cubicBezTo>
                  <a:pt x="13848" y="21600"/>
                  <a:pt x="14727" y="20219"/>
                  <a:pt x="14727" y="18514"/>
                </a:cubicBezTo>
                <a:lnTo>
                  <a:pt x="14727" y="3086"/>
                </a:lnTo>
                <a:cubicBezTo>
                  <a:pt x="14727" y="1382"/>
                  <a:pt x="13848"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2" name="Shape 2642"/>
          <p:cNvSpPr/>
          <p:nvPr/>
        </p:nvSpPr>
        <p:spPr>
          <a:xfrm>
            <a:off x="266037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6382" y="10800"/>
                </a:moveTo>
                <a:cubicBezTo>
                  <a:pt x="6653" y="10800"/>
                  <a:pt x="6873" y="10559"/>
                  <a:pt x="6873" y="10260"/>
                </a:cubicBezTo>
                <a:cubicBezTo>
                  <a:pt x="6873" y="9962"/>
                  <a:pt x="6653" y="9720"/>
                  <a:pt x="6382" y="9720"/>
                </a:cubicBezTo>
                <a:cubicBezTo>
                  <a:pt x="6110" y="9720"/>
                  <a:pt x="5891" y="9962"/>
                  <a:pt x="5891" y="10260"/>
                </a:cubicBezTo>
                <a:cubicBezTo>
                  <a:pt x="5891" y="10559"/>
                  <a:pt x="6110" y="10800"/>
                  <a:pt x="6382" y="10800"/>
                </a:cubicBezTo>
                <a:moveTo>
                  <a:pt x="3436" y="10800"/>
                </a:moveTo>
                <a:cubicBezTo>
                  <a:pt x="3708" y="10800"/>
                  <a:pt x="3927" y="11042"/>
                  <a:pt x="3927" y="11340"/>
                </a:cubicBezTo>
                <a:cubicBezTo>
                  <a:pt x="3927" y="11639"/>
                  <a:pt x="3708" y="11880"/>
                  <a:pt x="3436" y="11880"/>
                </a:cubicBezTo>
                <a:cubicBezTo>
                  <a:pt x="3165" y="11880"/>
                  <a:pt x="2945" y="11639"/>
                  <a:pt x="2945" y="11340"/>
                </a:cubicBezTo>
                <a:cubicBezTo>
                  <a:pt x="2945" y="11042"/>
                  <a:pt x="3165" y="10800"/>
                  <a:pt x="3436" y="10800"/>
                </a:cubicBezTo>
                <a:moveTo>
                  <a:pt x="3436" y="12960"/>
                </a:moveTo>
                <a:cubicBezTo>
                  <a:pt x="4249" y="12960"/>
                  <a:pt x="4909" y="12235"/>
                  <a:pt x="4909" y="11340"/>
                </a:cubicBezTo>
                <a:cubicBezTo>
                  <a:pt x="4909" y="10446"/>
                  <a:pt x="4249" y="9720"/>
                  <a:pt x="3436" y="9720"/>
                </a:cubicBezTo>
                <a:cubicBezTo>
                  <a:pt x="2623" y="9720"/>
                  <a:pt x="1964" y="10446"/>
                  <a:pt x="1964" y="11340"/>
                </a:cubicBezTo>
                <a:cubicBezTo>
                  <a:pt x="1964" y="12235"/>
                  <a:pt x="2623" y="12960"/>
                  <a:pt x="3436" y="12960"/>
                </a:cubicBezTo>
                <a:moveTo>
                  <a:pt x="14236" y="18360"/>
                </a:moveTo>
                <a:lnTo>
                  <a:pt x="2455" y="18360"/>
                </a:lnTo>
                <a:cubicBezTo>
                  <a:pt x="2183" y="18360"/>
                  <a:pt x="1964" y="18602"/>
                  <a:pt x="1964" y="18900"/>
                </a:cubicBezTo>
                <a:cubicBezTo>
                  <a:pt x="1964" y="19199"/>
                  <a:pt x="2183" y="19440"/>
                  <a:pt x="2455" y="19440"/>
                </a:cubicBezTo>
                <a:lnTo>
                  <a:pt x="14236" y="19440"/>
                </a:lnTo>
                <a:cubicBezTo>
                  <a:pt x="14508" y="19440"/>
                  <a:pt x="14727" y="19199"/>
                  <a:pt x="14727" y="18900"/>
                </a:cubicBezTo>
                <a:cubicBezTo>
                  <a:pt x="14727" y="18602"/>
                  <a:pt x="14508" y="18360"/>
                  <a:pt x="14236" y="18360"/>
                </a:cubicBezTo>
                <a:moveTo>
                  <a:pt x="20618" y="18105"/>
                </a:moveTo>
                <a:lnTo>
                  <a:pt x="16691" y="16377"/>
                </a:lnTo>
                <a:lnTo>
                  <a:pt x="16691" y="12784"/>
                </a:lnTo>
                <a:lnTo>
                  <a:pt x="20618" y="11056"/>
                </a:lnTo>
                <a:cubicBezTo>
                  <a:pt x="20618" y="11056"/>
                  <a:pt x="20618" y="18105"/>
                  <a:pt x="20618" y="18105"/>
                </a:cubicBezTo>
                <a:close/>
                <a:moveTo>
                  <a:pt x="15709" y="19440"/>
                </a:moveTo>
                <a:cubicBezTo>
                  <a:pt x="15709" y="20037"/>
                  <a:pt x="15269" y="20520"/>
                  <a:pt x="14727" y="20520"/>
                </a:cubicBezTo>
                <a:lnTo>
                  <a:pt x="1964" y="20520"/>
                </a:lnTo>
                <a:cubicBezTo>
                  <a:pt x="1422" y="20520"/>
                  <a:pt x="982" y="20037"/>
                  <a:pt x="982" y="19440"/>
                </a:cubicBezTo>
                <a:lnTo>
                  <a:pt x="982" y="9720"/>
                </a:lnTo>
                <a:cubicBezTo>
                  <a:pt x="982" y="9124"/>
                  <a:pt x="1422" y="8640"/>
                  <a:pt x="1964" y="8640"/>
                </a:cubicBezTo>
                <a:lnTo>
                  <a:pt x="14727" y="8640"/>
                </a:lnTo>
                <a:cubicBezTo>
                  <a:pt x="15269" y="8640"/>
                  <a:pt x="15709" y="9124"/>
                  <a:pt x="15709" y="9720"/>
                </a:cubicBezTo>
                <a:cubicBezTo>
                  <a:pt x="15709" y="9720"/>
                  <a:pt x="15709" y="19440"/>
                  <a:pt x="15709" y="19440"/>
                </a:cubicBezTo>
                <a:close/>
                <a:moveTo>
                  <a:pt x="1964" y="4320"/>
                </a:moveTo>
                <a:cubicBezTo>
                  <a:pt x="1964" y="2531"/>
                  <a:pt x="3282" y="1080"/>
                  <a:pt x="4909" y="1080"/>
                </a:cubicBezTo>
                <a:cubicBezTo>
                  <a:pt x="6536" y="1080"/>
                  <a:pt x="7855" y="2531"/>
                  <a:pt x="7855" y="4320"/>
                </a:cubicBezTo>
                <a:cubicBezTo>
                  <a:pt x="7855" y="6110"/>
                  <a:pt x="6536" y="7560"/>
                  <a:pt x="4909" y="7560"/>
                </a:cubicBezTo>
                <a:cubicBezTo>
                  <a:pt x="3282" y="7560"/>
                  <a:pt x="1964" y="6110"/>
                  <a:pt x="1964" y="4320"/>
                </a:cubicBezTo>
                <a:moveTo>
                  <a:pt x="9190" y="7560"/>
                </a:moveTo>
                <a:lnTo>
                  <a:pt x="7501" y="7560"/>
                </a:lnTo>
                <a:cubicBezTo>
                  <a:pt x="7839" y="7233"/>
                  <a:pt x="8122" y="6840"/>
                  <a:pt x="8342" y="6404"/>
                </a:cubicBezTo>
                <a:cubicBezTo>
                  <a:pt x="8562" y="6842"/>
                  <a:pt x="8851" y="7232"/>
                  <a:pt x="9190" y="7560"/>
                </a:cubicBezTo>
                <a:moveTo>
                  <a:pt x="11782" y="1080"/>
                </a:moveTo>
                <a:cubicBezTo>
                  <a:pt x="13409" y="1080"/>
                  <a:pt x="14727" y="2531"/>
                  <a:pt x="14727" y="4320"/>
                </a:cubicBezTo>
                <a:cubicBezTo>
                  <a:pt x="14727" y="6110"/>
                  <a:pt x="13409" y="7560"/>
                  <a:pt x="11782" y="7560"/>
                </a:cubicBezTo>
                <a:cubicBezTo>
                  <a:pt x="10155" y="7560"/>
                  <a:pt x="8836" y="6110"/>
                  <a:pt x="8836" y="4320"/>
                </a:cubicBezTo>
                <a:cubicBezTo>
                  <a:pt x="8836" y="2531"/>
                  <a:pt x="10155" y="1080"/>
                  <a:pt x="11782" y="1080"/>
                </a:cubicBezTo>
                <a:moveTo>
                  <a:pt x="21109" y="9720"/>
                </a:moveTo>
                <a:cubicBezTo>
                  <a:pt x="21030" y="9720"/>
                  <a:pt x="20958" y="9745"/>
                  <a:pt x="20892" y="9782"/>
                </a:cubicBezTo>
                <a:lnTo>
                  <a:pt x="20890" y="9777"/>
                </a:lnTo>
                <a:lnTo>
                  <a:pt x="16691" y="11625"/>
                </a:lnTo>
                <a:lnTo>
                  <a:pt x="16691" y="9720"/>
                </a:lnTo>
                <a:cubicBezTo>
                  <a:pt x="16691" y="8527"/>
                  <a:pt x="15812" y="7560"/>
                  <a:pt x="14727" y="7560"/>
                </a:cubicBezTo>
                <a:lnTo>
                  <a:pt x="14373" y="7560"/>
                </a:lnTo>
                <a:cubicBezTo>
                  <a:pt x="15191" y="6768"/>
                  <a:pt x="15709" y="5612"/>
                  <a:pt x="15709" y="4320"/>
                </a:cubicBezTo>
                <a:cubicBezTo>
                  <a:pt x="15709" y="1934"/>
                  <a:pt x="13951" y="0"/>
                  <a:pt x="11782" y="0"/>
                </a:cubicBezTo>
                <a:cubicBezTo>
                  <a:pt x="10302" y="0"/>
                  <a:pt x="9015" y="901"/>
                  <a:pt x="8345" y="2231"/>
                </a:cubicBezTo>
                <a:cubicBezTo>
                  <a:pt x="7676" y="901"/>
                  <a:pt x="6389" y="0"/>
                  <a:pt x="4909" y="0"/>
                </a:cubicBezTo>
                <a:cubicBezTo>
                  <a:pt x="2740" y="0"/>
                  <a:pt x="982" y="1934"/>
                  <a:pt x="982" y="4320"/>
                </a:cubicBezTo>
                <a:cubicBezTo>
                  <a:pt x="982" y="5612"/>
                  <a:pt x="1501" y="6768"/>
                  <a:pt x="2317" y="7560"/>
                </a:cubicBezTo>
                <a:lnTo>
                  <a:pt x="1964" y="7560"/>
                </a:lnTo>
                <a:cubicBezTo>
                  <a:pt x="879" y="7560"/>
                  <a:pt x="0" y="8527"/>
                  <a:pt x="0" y="9720"/>
                </a:cubicBezTo>
                <a:lnTo>
                  <a:pt x="0" y="19440"/>
                </a:lnTo>
                <a:cubicBezTo>
                  <a:pt x="0" y="20633"/>
                  <a:pt x="879" y="21600"/>
                  <a:pt x="1964" y="21600"/>
                </a:cubicBezTo>
                <a:lnTo>
                  <a:pt x="14727" y="21600"/>
                </a:lnTo>
                <a:cubicBezTo>
                  <a:pt x="15812" y="21600"/>
                  <a:pt x="16691" y="20633"/>
                  <a:pt x="16691" y="19440"/>
                </a:cubicBezTo>
                <a:lnTo>
                  <a:pt x="16691" y="17536"/>
                </a:lnTo>
                <a:lnTo>
                  <a:pt x="20890" y="19383"/>
                </a:lnTo>
                <a:lnTo>
                  <a:pt x="20891" y="19379"/>
                </a:lnTo>
                <a:cubicBezTo>
                  <a:pt x="20958" y="19415"/>
                  <a:pt x="21030" y="19440"/>
                  <a:pt x="21109" y="19440"/>
                </a:cubicBezTo>
                <a:cubicBezTo>
                  <a:pt x="21380" y="19440"/>
                  <a:pt x="21600" y="19199"/>
                  <a:pt x="21600" y="18900"/>
                </a:cubicBezTo>
                <a:lnTo>
                  <a:pt x="21600" y="10260"/>
                </a:lnTo>
                <a:cubicBezTo>
                  <a:pt x="21600" y="9962"/>
                  <a:pt x="21380" y="9720"/>
                  <a:pt x="21109" y="9720"/>
                </a:cubicBezTo>
                <a:moveTo>
                  <a:pt x="11782" y="5400"/>
                </a:moveTo>
                <a:cubicBezTo>
                  <a:pt x="12324" y="5400"/>
                  <a:pt x="12764" y="4916"/>
                  <a:pt x="12764" y="4320"/>
                </a:cubicBezTo>
                <a:cubicBezTo>
                  <a:pt x="12764" y="3724"/>
                  <a:pt x="12324" y="3240"/>
                  <a:pt x="11782" y="3240"/>
                </a:cubicBezTo>
                <a:cubicBezTo>
                  <a:pt x="11240" y="3240"/>
                  <a:pt x="10800" y="3724"/>
                  <a:pt x="10800" y="4320"/>
                </a:cubicBezTo>
                <a:cubicBezTo>
                  <a:pt x="10800" y="4916"/>
                  <a:pt x="11240" y="5400"/>
                  <a:pt x="11782" y="5400"/>
                </a:cubicBezTo>
                <a:moveTo>
                  <a:pt x="4909" y="5400"/>
                </a:moveTo>
                <a:cubicBezTo>
                  <a:pt x="5451" y="5400"/>
                  <a:pt x="5891" y="4916"/>
                  <a:pt x="5891" y="4320"/>
                </a:cubicBezTo>
                <a:cubicBezTo>
                  <a:pt x="5891" y="3724"/>
                  <a:pt x="5451" y="3240"/>
                  <a:pt x="4909" y="3240"/>
                </a:cubicBezTo>
                <a:cubicBezTo>
                  <a:pt x="4367" y="3240"/>
                  <a:pt x="3927" y="3724"/>
                  <a:pt x="3927" y="4320"/>
                </a:cubicBezTo>
                <a:cubicBezTo>
                  <a:pt x="3927" y="4916"/>
                  <a:pt x="4367" y="5400"/>
                  <a:pt x="4909"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3" name="Shape 2643"/>
          <p:cNvSpPr/>
          <p:nvPr/>
        </p:nvSpPr>
        <p:spPr>
          <a:xfrm>
            <a:off x="3107931" y="1069907"/>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4" name="Shape 2644"/>
          <p:cNvSpPr/>
          <p:nvPr/>
        </p:nvSpPr>
        <p:spPr>
          <a:xfrm>
            <a:off x="3488833" y="1069907"/>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9636"/>
                </a:moveTo>
                <a:cubicBezTo>
                  <a:pt x="20250" y="20179"/>
                  <a:pt x="19645" y="20618"/>
                  <a:pt x="18900" y="20618"/>
                </a:cubicBezTo>
                <a:lnTo>
                  <a:pt x="2700" y="20618"/>
                </a:lnTo>
                <a:cubicBezTo>
                  <a:pt x="1954" y="20618"/>
                  <a:pt x="1350" y="20179"/>
                  <a:pt x="1350" y="19636"/>
                </a:cubicBezTo>
                <a:lnTo>
                  <a:pt x="1350" y="1964"/>
                </a:lnTo>
                <a:cubicBezTo>
                  <a:pt x="1350" y="1422"/>
                  <a:pt x="1954" y="982"/>
                  <a:pt x="2700" y="982"/>
                </a:cubicBezTo>
                <a:lnTo>
                  <a:pt x="18900" y="982"/>
                </a:lnTo>
                <a:cubicBezTo>
                  <a:pt x="19645" y="982"/>
                  <a:pt x="20250" y="1422"/>
                  <a:pt x="20250" y="1964"/>
                </a:cubicBezTo>
                <a:cubicBezTo>
                  <a:pt x="20250" y="1964"/>
                  <a:pt x="20250" y="19636"/>
                  <a:pt x="20250" y="19636"/>
                </a:cubicBezTo>
                <a:close/>
                <a:moveTo>
                  <a:pt x="18900" y="0"/>
                </a:moveTo>
                <a:lnTo>
                  <a:pt x="2700" y="0"/>
                </a:lnTo>
                <a:cubicBezTo>
                  <a:pt x="1209" y="0"/>
                  <a:pt x="0" y="879"/>
                  <a:pt x="0" y="1964"/>
                </a:cubicBezTo>
                <a:lnTo>
                  <a:pt x="0" y="19636"/>
                </a:lnTo>
                <a:cubicBezTo>
                  <a:pt x="0" y="20721"/>
                  <a:pt x="1209" y="21600"/>
                  <a:pt x="2700" y="21600"/>
                </a:cubicBezTo>
                <a:lnTo>
                  <a:pt x="18900" y="21600"/>
                </a:lnTo>
                <a:cubicBezTo>
                  <a:pt x="20391" y="21600"/>
                  <a:pt x="21600" y="20721"/>
                  <a:pt x="21600" y="19636"/>
                </a:cubicBezTo>
                <a:lnTo>
                  <a:pt x="21600" y="1964"/>
                </a:lnTo>
                <a:cubicBezTo>
                  <a:pt x="21600" y="879"/>
                  <a:pt x="20391" y="0"/>
                  <a:pt x="18900" y="0"/>
                </a:cubicBezTo>
                <a:moveTo>
                  <a:pt x="4050" y="3927"/>
                </a:moveTo>
                <a:lnTo>
                  <a:pt x="17550" y="3927"/>
                </a:lnTo>
                <a:lnTo>
                  <a:pt x="17550" y="17673"/>
                </a:lnTo>
                <a:lnTo>
                  <a:pt x="4050" y="17673"/>
                </a:lnTo>
                <a:cubicBezTo>
                  <a:pt x="4050" y="17673"/>
                  <a:pt x="4050" y="3927"/>
                  <a:pt x="4050" y="3927"/>
                </a:cubicBezTo>
                <a:close/>
                <a:moveTo>
                  <a:pt x="2700" y="18655"/>
                </a:moveTo>
                <a:lnTo>
                  <a:pt x="18900" y="18655"/>
                </a:lnTo>
                <a:lnTo>
                  <a:pt x="18900" y="2945"/>
                </a:lnTo>
                <a:lnTo>
                  <a:pt x="2700" y="2945"/>
                </a:lnTo>
                <a:cubicBezTo>
                  <a:pt x="2700" y="2945"/>
                  <a:pt x="2700" y="18655"/>
                  <a:pt x="2700" y="18655"/>
                </a:cubicBezTo>
                <a:close/>
                <a:moveTo>
                  <a:pt x="10125" y="2455"/>
                </a:moveTo>
                <a:lnTo>
                  <a:pt x="11475" y="2455"/>
                </a:lnTo>
                <a:cubicBezTo>
                  <a:pt x="11848" y="2455"/>
                  <a:pt x="12150" y="2235"/>
                  <a:pt x="12150" y="1964"/>
                </a:cubicBezTo>
                <a:cubicBezTo>
                  <a:pt x="12150" y="1692"/>
                  <a:pt x="11848" y="1473"/>
                  <a:pt x="11475" y="1473"/>
                </a:cubicBezTo>
                <a:lnTo>
                  <a:pt x="10125" y="1473"/>
                </a:lnTo>
                <a:cubicBezTo>
                  <a:pt x="9752" y="1473"/>
                  <a:pt x="9450" y="1692"/>
                  <a:pt x="9450" y="1964"/>
                </a:cubicBezTo>
                <a:cubicBezTo>
                  <a:pt x="9450" y="2235"/>
                  <a:pt x="9752" y="2455"/>
                  <a:pt x="10125" y="2455"/>
                </a:cubicBezTo>
                <a:moveTo>
                  <a:pt x="10800" y="19145"/>
                </a:moveTo>
                <a:cubicBezTo>
                  <a:pt x="10427" y="19145"/>
                  <a:pt x="10125" y="19366"/>
                  <a:pt x="10125" y="19636"/>
                </a:cubicBezTo>
                <a:cubicBezTo>
                  <a:pt x="10125" y="19908"/>
                  <a:pt x="10427" y="20127"/>
                  <a:pt x="10800" y="20127"/>
                </a:cubicBezTo>
                <a:cubicBezTo>
                  <a:pt x="11173" y="20127"/>
                  <a:pt x="11475" y="19908"/>
                  <a:pt x="11475" y="19636"/>
                </a:cubicBezTo>
                <a:cubicBezTo>
                  <a:pt x="11475" y="19366"/>
                  <a:pt x="11173" y="19145"/>
                  <a:pt x="10800" y="191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5" name="Shape 2645"/>
          <p:cNvSpPr/>
          <p:nvPr/>
        </p:nvSpPr>
        <p:spPr>
          <a:xfrm>
            <a:off x="3860211"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408" y="20250"/>
                </a:moveTo>
                <a:lnTo>
                  <a:pt x="2740" y="17504"/>
                </a:lnTo>
                <a:cubicBezTo>
                  <a:pt x="2807" y="17526"/>
                  <a:pt x="2874" y="17550"/>
                  <a:pt x="2945" y="17550"/>
                </a:cubicBezTo>
                <a:lnTo>
                  <a:pt x="18655" y="17550"/>
                </a:lnTo>
                <a:cubicBezTo>
                  <a:pt x="18726" y="17550"/>
                  <a:pt x="18793" y="17526"/>
                  <a:pt x="18860" y="17504"/>
                </a:cubicBezTo>
                <a:lnTo>
                  <a:pt x="20192" y="20250"/>
                </a:lnTo>
                <a:cubicBezTo>
                  <a:pt x="20192" y="20250"/>
                  <a:pt x="1408" y="20250"/>
                  <a:pt x="1408" y="20250"/>
                </a:cubicBezTo>
                <a:close/>
                <a:moveTo>
                  <a:pt x="2945" y="1350"/>
                </a:moveTo>
                <a:lnTo>
                  <a:pt x="18655" y="1350"/>
                </a:lnTo>
                <a:lnTo>
                  <a:pt x="18655" y="16200"/>
                </a:lnTo>
                <a:lnTo>
                  <a:pt x="2945" y="16200"/>
                </a:lnTo>
                <a:cubicBezTo>
                  <a:pt x="2945" y="16200"/>
                  <a:pt x="2945" y="1350"/>
                  <a:pt x="2945" y="1350"/>
                </a:cubicBezTo>
                <a:close/>
                <a:moveTo>
                  <a:pt x="21510" y="20558"/>
                </a:moveTo>
                <a:lnTo>
                  <a:pt x="21518" y="20551"/>
                </a:lnTo>
                <a:lnTo>
                  <a:pt x="19591" y="16577"/>
                </a:lnTo>
                <a:cubicBezTo>
                  <a:pt x="19617" y="16457"/>
                  <a:pt x="19636" y="16332"/>
                  <a:pt x="19636" y="16200"/>
                </a:cubicBezTo>
                <a:lnTo>
                  <a:pt x="19636" y="1350"/>
                </a:lnTo>
                <a:cubicBezTo>
                  <a:pt x="19636" y="605"/>
                  <a:pt x="19197" y="0"/>
                  <a:pt x="18655" y="0"/>
                </a:cubicBezTo>
                <a:lnTo>
                  <a:pt x="2945" y="0"/>
                </a:lnTo>
                <a:cubicBezTo>
                  <a:pt x="2403" y="0"/>
                  <a:pt x="1964" y="605"/>
                  <a:pt x="1964" y="1350"/>
                </a:cubicBezTo>
                <a:lnTo>
                  <a:pt x="1964" y="16200"/>
                </a:lnTo>
                <a:cubicBezTo>
                  <a:pt x="1964" y="16332"/>
                  <a:pt x="1983" y="16457"/>
                  <a:pt x="2009" y="16577"/>
                </a:cubicBezTo>
                <a:lnTo>
                  <a:pt x="82" y="20551"/>
                </a:lnTo>
                <a:lnTo>
                  <a:pt x="90" y="20558"/>
                </a:lnTo>
                <a:cubicBezTo>
                  <a:pt x="38" y="20665"/>
                  <a:pt x="0" y="20787"/>
                  <a:pt x="0" y="20925"/>
                </a:cubicBezTo>
                <a:cubicBezTo>
                  <a:pt x="0" y="21298"/>
                  <a:pt x="220" y="21600"/>
                  <a:pt x="491" y="21600"/>
                </a:cubicBezTo>
                <a:lnTo>
                  <a:pt x="21109" y="21600"/>
                </a:lnTo>
                <a:cubicBezTo>
                  <a:pt x="21380" y="21600"/>
                  <a:pt x="21600" y="21298"/>
                  <a:pt x="21600" y="20925"/>
                </a:cubicBezTo>
                <a:cubicBezTo>
                  <a:pt x="21600" y="20787"/>
                  <a:pt x="21562" y="20665"/>
                  <a:pt x="21510" y="2055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6" name="Shape 2646"/>
          <p:cNvSpPr/>
          <p:nvPr/>
        </p:nvSpPr>
        <p:spPr>
          <a:xfrm>
            <a:off x="426015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1"/>
                  <a:pt x="7092" y="21600"/>
                  <a:pt x="7364" y="21600"/>
                </a:cubicBezTo>
                <a:lnTo>
                  <a:pt x="14236" y="21600"/>
                </a:lnTo>
                <a:cubicBezTo>
                  <a:pt x="14508" y="21600"/>
                  <a:pt x="14727" y="21381"/>
                  <a:pt x="14727" y="21109"/>
                </a:cubicBezTo>
                <a:cubicBezTo>
                  <a:pt x="14727" y="20838"/>
                  <a:pt x="14508"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7" name="Shape 2647"/>
          <p:cNvSpPr/>
          <p:nvPr/>
        </p:nvSpPr>
        <p:spPr>
          <a:xfrm>
            <a:off x="66064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0773" y="5201"/>
                </a:moveTo>
                <a:cubicBezTo>
                  <a:pt x="10712" y="5093"/>
                  <a:pt x="10614" y="5023"/>
                  <a:pt x="10504" y="4986"/>
                </a:cubicBezTo>
                <a:lnTo>
                  <a:pt x="10517" y="4938"/>
                </a:lnTo>
                <a:cubicBezTo>
                  <a:pt x="10483" y="4941"/>
                  <a:pt x="10451" y="4949"/>
                  <a:pt x="10419" y="4957"/>
                </a:cubicBezTo>
                <a:lnTo>
                  <a:pt x="8464" y="4433"/>
                </a:lnTo>
                <a:cubicBezTo>
                  <a:pt x="8343" y="4400"/>
                  <a:pt x="8209" y="4414"/>
                  <a:pt x="8091" y="4482"/>
                </a:cubicBezTo>
                <a:cubicBezTo>
                  <a:pt x="7856" y="4618"/>
                  <a:pt x="7776" y="4918"/>
                  <a:pt x="7912" y="5153"/>
                </a:cubicBezTo>
                <a:cubicBezTo>
                  <a:pt x="7979" y="5270"/>
                  <a:pt x="8088" y="5349"/>
                  <a:pt x="8210" y="5381"/>
                </a:cubicBezTo>
                <a:lnTo>
                  <a:pt x="8965" y="5584"/>
                </a:lnTo>
                <a:cubicBezTo>
                  <a:pt x="8292" y="6116"/>
                  <a:pt x="7855" y="6927"/>
                  <a:pt x="7855" y="7855"/>
                </a:cubicBezTo>
                <a:cubicBezTo>
                  <a:pt x="7855" y="9081"/>
                  <a:pt x="8605" y="10131"/>
                  <a:pt x="9671" y="10574"/>
                </a:cubicBezTo>
                <a:lnTo>
                  <a:pt x="9934" y="9609"/>
                </a:lnTo>
                <a:cubicBezTo>
                  <a:pt x="9286" y="9288"/>
                  <a:pt x="8836" y="8627"/>
                  <a:pt x="8836" y="7855"/>
                </a:cubicBezTo>
                <a:cubicBezTo>
                  <a:pt x="8836" y="7221"/>
                  <a:pt x="9142" y="6665"/>
                  <a:pt x="9609" y="6309"/>
                </a:cubicBezTo>
                <a:lnTo>
                  <a:pt x="9336" y="7331"/>
                </a:lnTo>
                <a:cubicBezTo>
                  <a:pt x="9303" y="7453"/>
                  <a:pt x="9316" y="7586"/>
                  <a:pt x="9384" y="7704"/>
                </a:cubicBezTo>
                <a:cubicBezTo>
                  <a:pt x="9520" y="7938"/>
                  <a:pt x="9820" y="8019"/>
                  <a:pt x="10055" y="7884"/>
                </a:cubicBezTo>
                <a:cubicBezTo>
                  <a:pt x="10172" y="7815"/>
                  <a:pt x="10251" y="7706"/>
                  <a:pt x="10284" y="7585"/>
                </a:cubicBezTo>
                <a:lnTo>
                  <a:pt x="10823" y="5573"/>
                </a:lnTo>
                <a:cubicBezTo>
                  <a:pt x="10855" y="5452"/>
                  <a:pt x="10841" y="5318"/>
                  <a:pt x="10773" y="5201"/>
                </a:cubicBezTo>
                <a:moveTo>
                  <a:pt x="13421" y="10343"/>
                </a:moveTo>
                <a:lnTo>
                  <a:pt x="12630" y="10132"/>
                </a:lnTo>
                <a:cubicBezTo>
                  <a:pt x="13306" y="9598"/>
                  <a:pt x="13745" y="8785"/>
                  <a:pt x="13745" y="7855"/>
                </a:cubicBezTo>
                <a:cubicBezTo>
                  <a:pt x="13745" y="6643"/>
                  <a:pt x="13013" y="5604"/>
                  <a:pt x="11967" y="5152"/>
                </a:cubicBezTo>
                <a:lnTo>
                  <a:pt x="11702" y="6121"/>
                </a:lnTo>
                <a:cubicBezTo>
                  <a:pt x="12330" y="6448"/>
                  <a:pt x="12764" y="7098"/>
                  <a:pt x="12764" y="7855"/>
                </a:cubicBezTo>
                <a:cubicBezTo>
                  <a:pt x="12764" y="8468"/>
                  <a:pt x="12477" y="9008"/>
                  <a:pt x="12035" y="9366"/>
                </a:cubicBezTo>
                <a:lnTo>
                  <a:pt x="12295" y="8394"/>
                </a:lnTo>
                <a:cubicBezTo>
                  <a:pt x="12328" y="8273"/>
                  <a:pt x="12314" y="8139"/>
                  <a:pt x="12246" y="8021"/>
                </a:cubicBezTo>
                <a:cubicBezTo>
                  <a:pt x="12111" y="7786"/>
                  <a:pt x="11811" y="7706"/>
                  <a:pt x="11576" y="7842"/>
                </a:cubicBezTo>
                <a:cubicBezTo>
                  <a:pt x="11458" y="7910"/>
                  <a:pt x="11380" y="8019"/>
                  <a:pt x="11347" y="8140"/>
                </a:cubicBezTo>
                <a:lnTo>
                  <a:pt x="10808" y="10152"/>
                </a:lnTo>
                <a:lnTo>
                  <a:pt x="10808" y="10152"/>
                </a:lnTo>
                <a:cubicBezTo>
                  <a:pt x="10776" y="10273"/>
                  <a:pt x="10789" y="10407"/>
                  <a:pt x="10857" y="10524"/>
                </a:cubicBezTo>
                <a:cubicBezTo>
                  <a:pt x="10920" y="10634"/>
                  <a:pt x="11021" y="10706"/>
                  <a:pt x="11133" y="10742"/>
                </a:cubicBezTo>
                <a:lnTo>
                  <a:pt x="11126" y="10768"/>
                </a:lnTo>
                <a:cubicBezTo>
                  <a:pt x="11142" y="10766"/>
                  <a:pt x="11157" y="10761"/>
                  <a:pt x="11173" y="10758"/>
                </a:cubicBezTo>
                <a:lnTo>
                  <a:pt x="13167" y="11292"/>
                </a:lnTo>
                <a:cubicBezTo>
                  <a:pt x="13288" y="11324"/>
                  <a:pt x="13422" y="11311"/>
                  <a:pt x="13540" y="11243"/>
                </a:cubicBezTo>
                <a:cubicBezTo>
                  <a:pt x="13774" y="11107"/>
                  <a:pt x="13855" y="10807"/>
                  <a:pt x="13719" y="10572"/>
                </a:cubicBezTo>
                <a:cubicBezTo>
                  <a:pt x="13651" y="10455"/>
                  <a:pt x="13542" y="10376"/>
                  <a:pt x="13421" y="103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8" name="Shape 2648"/>
          <p:cNvSpPr/>
          <p:nvPr/>
        </p:nvSpPr>
        <p:spPr>
          <a:xfrm>
            <a:off x="106059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2764" y="8836"/>
                </a:moveTo>
                <a:cubicBezTo>
                  <a:pt x="12628" y="8836"/>
                  <a:pt x="12505" y="8891"/>
                  <a:pt x="12417" y="8980"/>
                </a:cubicBezTo>
                <a:lnTo>
                  <a:pt x="11291" y="10106"/>
                </a:lnTo>
                <a:lnTo>
                  <a:pt x="11291" y="4419"/>
                </a:lnTo>
                <a:lnTo>
                  <a:pt x="11291" y="4418"/>
                </a:lnTo>
                <a:cubicBezTo>
                  <a:pt x="11291" y="4147"/>
                  <a:pt x="11071" y="3927"/>
                  <a:pt x="10800" y="3927"/>
                </a:cubicBezTo>
                <a:cubicBezTo>
                  <a:pt x="10529" y="3927"/>
                  <a:pt x="10309" y="4147"/>
                  <a:pt x="10309" y="4418"/>
                </a:cubicBezTo>
                <a:lnTo>
                  <a:pt x="10309" y="10106"/>
                </a:lnTo>
                <a:lnTo>
                  <a:pt x="9183" y="8980"/>
                </a:lnTo>
                <a:cubicBezTo>
                  <a:pt x="9095" y="8891"/>
                  <a:pt x="8972" y="8836"/>
                  <a:pt x="8836" y="8836"/>
                </a:cubicBezTo>
                <a:cubicBezTo>
                  <a:pt x="8566" y="8836"/>
                  <a:pt x="8345" y="9056"/>
                  <a:pt x="8345" y="9327"/>
                </a:cubicBezTo>
                <a:cubicBezTo>
                  <a:pt x="8345" y="9463"/>
                  <a:pt x="8400" y="9586"/>
                  <a:pt x="8489" y="9674"/>
                </a:cubicBezTo>
                <a:lnTo>
                  <a:pt x="10453" y="11638"/>
                </a:lnTo>
                <a:cubicBezTo>
                  <a:pt x="10542" y="11727"/>
                  <a:pt x="10665" y="11782"/>
                  <a:pt x="10800" y="11782"/>
                </a:cubicBezTo>
                <a:cubicBezTo>
                  <a:pt x="10935" y="11782"/>
                  <a:pt x="11058" y="11727"/>
                  <a:pt x="11147" y="11638"/>
                </a:cubicBezTo>
                <a:lnTo>
                  <a:pt x="13111" y="9674"/>
                </a:lnTo>
                <a:cubicBezTo>
                  <a:pt x="13200" y="9586"/>
                  <a:pt x="13255" y="9463"/>
                  <a:pt x="13255" y="9327"/>
                </a:cubicBezTo>
                <a:cubicBezTo>
                  <a:pt x="13255" y="9056"/>
                  <a:pt x="13034" y="8836"/>
                  <a:pt x="12764"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49" name="Shape 2649"/>
          <p:cNvSpPr/>
          <p:nvPr/>
        </p:nvSpPr>
        <p:spPr>
          <a:xfrm>
            <a:off x="1460536"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1147" y="4071"/>
                </a:moveTo>
                <a:cubicBezTo>
                  <a:pt x="11058" y="3982"/>
                  <a:pt x="10935" y="3927"/>
                  <a:pt x="10800" y="3927"/>
                </a:cubicBezTo>
                <a:cubicBezTo>
                  <a:pt x="10665" y="3927"/>
                  <a:pt x="10542" y="3982"/>
                  <a:pt x="10453" y="4071"/>
                </a:cubicBezTo>
                <a:lnTo>
                  <a:pt x="8489" y="6035"/>
                </a:lnTo>
                <a:cubicBezTo>
                  <a:pt x="8400" y="6124"/>
                  <a:pt x="8345" y="6247"/>
                  <a:pt x="8345" y="6382"/>
                </a:cubicBezTo>
                <a:cubicBezTo>
                  <a:pt x="8345" y="6653"/>
                  <a:pt x="8566" y="6873"/>
                  <a:pt x="8836" y="6873"/>
                </a:cubicBezTo>
                <a:cubicBezTo>
                  <a:pt x="8972" y="6873"/>
                  <a:pt x="9095" y="6818"/>
                  <a:pt x="9183" y="6729"/>
                </a:cubicBezTo>
                <a:lnTo>
                  <a:pt x="10309" y="5603"/>
                </a:lnTo>
                <a:lnTo>
                  <a:pt x="10309" y="11291"/>
                </a:lnTo>
                <a:cubicBezTo>
                  <a:pt x="10309" y="11562"/>
                  <a:pt x="10529" y="11782"/>
                  <a:pt x="10800" y="11782"/>
                </a:cubicBezTo>
                <a:cubicBezTo>
                  <a:pt x="11071" y="11782"/>
                  <a:pt x="11291" y="11562"/>
                  <a:pt x="11291" y="11291"/>
                </a:cubicBezTo>
                <a:lnTo>
                  <a:pt x="11291" y="5603"/>
                </a:lnTo>
                <a:lnTo>
                  <a:pt x="12417" y="6729"/>
                </a:lnTo>
                <a:cubicBezTo>
                  <a:pt x="12505" y="6818"/>
                  <a:pt x="12628" y="6873"/>
                  <a:pt x="12764" y="6873"/>
                </a:cubicBezTo>
                <a:cubicBezTo>
                  <a:pt x="13034" y="6873"/>
                  <a:pt x="13255" y="6653"/>
                  <a:pt x="13255" y="6382"/>
                </a:cubicBezTo>
                <a:cubicBezTo>
                  <a:pt x="13255" y="6247"/>
                  <a:pt x="13200" y="6124"/>
                  <a:pt x="13111" y="6035"/>
                </a:cubicBezTo>
                <a:cubicBezTo>
                  <a:pt x="13111" y="6035"/>
                  <a:pt x="11147" y="4071"/>
                  <a:pt x="11147" y="407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0" name="Shape 2650"/>
          <p:cNvSpPr/>
          <p:nvPr/>
        </p:nvSpPr>
        <p:spPr>
          <a:xfrm>
            <a:off x="1860482"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964"/>
                </a:lnTo>
                <a:cubicBezTo>
                  <a:pt x="982" y="1422"/>
                  <a:pt x="1422"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2"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3" y="20618"/>
                  <a:pt x="6873" y="20838"/>
                  <a:pt x="6873" y="21109"/>
                </a:cubicBezTo>
                <a:cubicBezTo>
                  <a:pt x="6873" y="21381"/>
                  <a:pt x="7093" y="21600"/>
                  <a:pt x="7364" y="21600"/>
                </a:cubicBezTo>
                <a:lnTo>
                  <a:pt x="14236" y="21600"/>
                </a:lnTo>
                <a:cubicBezTo>
                  <a:pt x="14507" y="21600"/>
                  <a:pt x="14727" y="21381"/>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moveTo>
                  <a:pt x="14236" y="7364"/>
                </a:moveTo>
                <a:lnTo>
                  <a:pt x="8549" y="7364"/>
                </a:lnTo>
                <a:lnTo>
                  <a:pt x="9674" y="6238"/>
                </a:lnTo>
                <a:cubicBezTo>
                  <a:pt x="9763" y="6149"/>
                  <a:pt x="9818" y="6027"/>
                  <a:pt x="9818" y="5891"/>
                </a:cubicBezTo>
                <a:cubicBezTo>
                  <a:pt x="9818" y="5620"/>
                  <a:pt x="9598" y="5400"/>
                  <a:pt x="9327" y="5400"/>
                </a:cubicBezTo>
                <a:cubicBezTo>
                  <a:pt x="9192" y="5400"/>
                  <a:pt x="9069" y="5455"/>
                  <a:pt x="8980" y="5544"/>
                </a:cubicBezTo>
                <a:lnTo>
                  <a:pt x="7017" y="7507"/>
                </a:lnTo>
                <a:cubicBezTo>
                  <a:pt x="6928" y="7597"/>
                  <a:pt x="6873" y="7720"/>
                  <a:pt x="6873" y="7855"/>
                </a:cubicBezTo>
                <a:cubicBezTo>
                  <a:pt x="6873" y="7990"/>
                  <a:pt x="6928" y="8113"/>
                  <a:pt x="7017" y="8202"/>
                </a:cubicBezTo>
                <a:lnTo>
                  <a:pt x="8980" y="10165"/>
                </a:lnTo>
                <a:cubicBezTo>
                  <a:pt x="9069" y="10255"/>
                  <a:pt x="9192" y="10309"/>
                  <a:pt x="9327" y="10309"/>
                </a:cubicBezTo>
                <a:cubicBezTo>
                  <a:pt x="9598" y="10309"/>
                  <a:pt x="9818" y="10090"/>
                  <a:pt x="9818" y="9818"/>
                </a:cubicBezTo>
                <a:cubicBezTo>
                  <a:pt x="9818" y="9683"/>
                  <a:pt x="9763" y="9560"/>
                  <a:pt x="9674" y="9471"/>
                </a:cubicBezTo>
                <a:lnTo>
                  <a:pt x="8549" y="8345"/>
                </a:lnTo>
                <a:lnTo>
                  <a:pt x="14236" y="8345"/>
                </a:lnTo>
                <a:cubicBezTo>
                  <a:pt x="14507" y="8345"/>
                  <a:pt x="14727" y="8126"/>
                  <a:pt x="14727" y="7855"/>
                </a:cubicBezTo>
                <a:cubicBezTo>
                  <a:pt x="14727" y="7584"/>
                  <a:pt x="14507" y="7364"/>
                  <a:pt x="14236"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1" name="Shape 2651"/>
          <p:cNvSpPr/>
          <p:nvPr/>
        </p:nvSpPr>
        <p:spPr>
          <a:xfrm>
            <a:off x="226042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583" y="7507"/>
                </a:moveTo>
                <a:lnTo>
                  <a:pt x="12620" y="5544"/>
                </a:lnTo>
                <a:cubicBezTo>
                  <a:pt x="12531" y="5455"/>
                  <a:pt x="12408" y="5400"/>
                  <a:pt x="12273" y="5400"/>
                </a:cubicBezTo>
                <a:cubicBezTo>
                  <a:pt x="12001" y="5400"/>
                  <a:pt x="11782" y="5620"/>
                  <a:pt x="11782" y="5891"/>
                </a:cubicBezTo>
                <a:cubicBezTo>
                  <a:pt x="11782" y="6027"/>
                  <a:pt x="11837" y="6149"/>
                  <a:pt x="11926" y="6238"/>
                </a:cubicBezTo>
                <a:lnTo>
                  <a:pt x="13051" y="7364"/>
                </a:lnTo>
                <a:lnTo>
                  <a:pt x="7364" y="7364"/>
                </a:lnTo>
                <a:cubicBezTo>
                  <a:pt x="7092" y="7364"/>
                  <a:pt x="6873" y="7584"/>
                  <a:pt x="6873" y="7855"/>
                </a:cubicBezTo>
                <a:cubicBezTo>
                  <a:pt x="6873" y="8126"/>
                  <a:pt x="7092" y="8345"/>
                  <a:pt x="7364" y="8345"/>
                </a:cubicBezTo>
                <a:lnTo>
                  <a:pt x="13051" y="8345"/>
                </a:lnTo>
                <a:lnTo>
                  <a:pt x="11926" y="9471"/>
                </a:lnTo>
                <a:cubicBezTo>
                  <a:pt x="11837" y="9560"/>
                  <a:pt x="11782" y="9683"/>
                  <a:pt x="11782" y="9818"/>
                </a:cubicBezTo>
                <a:cubicBezTo>
                  <a:pt x="11782" y="10090"/>
                  <a:pt x="12001" y="10309"/>
                  <a:pt x="12273" y="10309"/>
                </a:cubicBezTo>
                <a:cubicBezTo>
                  <a:pt x="12408" y="10309"/>
                  <a:pt x="12531" y="10255"/>
                  <a:pt x="12620" y="10165"/>
                </a:cubicBezTo>
                <a:lnTo>
                  <a:pt x="14583" y="8202"/>
                </a:lnTo>
                <a:cubicBezTo>
                  <a:pt x="14672" y="8113"/>
                  <a:pt x="14727" y="7990"/>
                  <a:pt x="14727" y="7855"/>
                </a:cubicBezTo>
                <a:cubicBezTo>
                  <a:pt x="14727" y="7720"/>
                  <a:pt x="14672" y="7597"/>
                  <a:pt x="14583" y="7507"/>
                </a:cubicBezTo>
                <a:close/>
                <a:moveTo>
                  <a:pt x="20618" y="14727"/>
                </a:moveTo>
                <a:lnTo>
                  <a:pt x="982" y="14727"/>
                </a:lnTo>
                <a:lnTo>
                  <a:pt x="982" y="1964"/>
                </a:lnTo>
                <a:cubicBezTo>
                  <a:pt x="982" y="1422"/>
                  <a:pt x="1421" y="982"/>
                  <a:pt x="1964" y="982"/>
                </a:cubicBezTo>
                <a:lnTo>
                  <a:pt x="19636" y="982"/>
                </a:lnTo>
                <a:cubicBezTo>
                  <a:pt x="20178" y="982"/>
                  <a:pt x="20618" y="1422"/>
                  <a:pt x="20618" y="1964"/>
                </a:cubicBezTo>
                <a:cubicBezTo>
                  <a:pt x="20618" y="1964"/>
                  <a:pt x="20618" y="14727"/>
                  <a:pt x="20618" y="14727"/>
                </a:cubicBezTo>
                <a:close/>
                <a:moveTo>
                  <a:pt x="20618" y="16691"/>
                </a:moveTo>
                <a:cubicBezTo>
                  <a:pt x="20618" y="17233"/>
                  <a:pt x="20178" y="17673"/>
                  <a:pt x="19636" y="17673"/>
                </a:cubicBezTo>
                <a:lnTo>
                  <a:pt x="1964" y="17673"/>
                </a:lnTo>
                <a:cubicBezTo>
                  <a:pt x="1421" y="17673"/>
                  <a:pt x="982" y="17233"/>
                  <a:pt x="982" y="16691"/>
                </a:cubicBezTo>
                <a:lnTo>
                  <a:pt x="982" y="15709"/>
                </a:lnTo>
                <a:lnTo>
                  <a:pt x="20618" y="15709"/>
                </a:lnTo>
                <a:cubicBezTo>
                  <a:pt x="20618" y="15709"/>
                  <a:pt x="20618" y="16691"/>
                  <a:pt x="20618" y="16691"/>
                </a:cubicBezTo>
                <a:close/>
                <a:moveTo>
                  <a:pt x="11782" y="20618"/>
                </a:moveTo>
                <a:lnTo>
                  <a:pt x="9818" y="20618"/>
                </a:lnTo>
                <a:lnTo>
                  <a:pt x="9818" y="18655"/>
                </a:lnTo>
                <a:lnTo>
                  <a:pt x="11782" y="18655"/>
                </a:lnTo>
                <a:cubicBezTo>
                  <a:pt x="11782" y="18655"/>
                  <a:pt x="11782" y="20618"/>
                  <a:pt x="11782" y="20618"/>
                </a:cubicBezTo>
                <a:close/>
                <a:moveTo>
                  <a:pt x="19636" y="0"/>
                </a:moveTo>
                <a:lnTo>
                  <a:pt x="1964" y="0"/>
                </a:lnTo>
                <a:cubicBezTo>
                  <a:pt x="879" y="0"/>
                  <a:pt x="0" y="879"/>
                  <a:pt x="0" y="1964"/>
                </a:cubicBezTo>
                <a:lnTo>
                  <a:pt x="0" y="16691"/>
                </a:lnTo>
                <a:cubicBezTo>
                  <a:pt x="0" y="17775"/>
                  <a:pt x="879" y="18655"/>
                  <a:pt x="1964" y="18655"/>
                </a:cubicBezTo>
                <a:lnTo>
                  <a:pt x="8836" y="18655"/>
                </a:lnTo>
                <a:lnTo>
                  <a:pt x="8836" y="20618"/>
                </a:lnTo>
                <a:lnTo>
                  <a:pt x="7364" y="20618"/>
                </a:lnTo>
                <a:cubicBezTo>
                  <a:pt x="7092" y="20618"/>
                  <a:pt x="6873" y="20838"/>
                  <a:pt x="6873" y="21109"/>
                </a:cubicBezTo>
                <a:cubicBezTo>
                  <a:pt x="6873" y="21380"/>
                  <a:pt x="7092" y="21600"/>
                  <a:pt x="7364" y="21600"/>
                </a:cubicBezTo>
                <a:lnTo>
                  <a:pt x="14236" y="21600"/>
                </a:lnTo>
                <a:cubicBezTo>
                  <a:pt x="14507" y="21600"/>
                  <a:pt x="14727" y="21380"/>
                  <a:pt x="14727" y="21109"/>
                </a:cubicBezTo>
                <a:cubicBezTo>
                  <a:pt x="14727" y="20838"/>
                  <a:pt x="14507" y="20618"/>
                  <a:pt x="14236" y="20618"/>
                </a:cubicBezTo>
                <a:lnTo>
                  <a:pt x="12764" y="20618"/>
                </a:lnTo>
                <a:lnTo>
                  <a:pt x="12764" y="18655"/>
                </a:lnTo>
                <a:lnTo>
                  <a:pt x="19636" y="18655"/>
                </a:lnTo>
                <a:cubicBezTo>
                  <a:pt x="20721" y="18655"/>
                  <a:pt x="21600" y="17775"/>
                  <a:pt x="21600" y="16691"/>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2" name="Shape 2652"/>
          <p:cNvSpPr/>
          <p:nvPr/>
        </p:nvSpPr>
        <p:spPr>
          <a:xfrm>
            <a:off x="266037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4727"/>
                </a:moveTo>
                <a:cubicBezTo>
                  <a:pt x="7547" y="14727"/>
                  <a:pt x="4909" y="12969"/>
                  <a:pt x="4909" y="10800"/>
                </a:cubicBezTo>
                <a:cubicBezTo>
                  <a:pt x="4909" y="8631"/>
                  <a:pt x="7547" y="6873"/>
                  <a:pt x="10800" y="6873"/>
                </a:cubicBezTo>
                <a:cubicBezTo>
                  <a:pt x="11895" y="6873"/>
                  <a:pt x="12917" y="7076"/>
                  <a:pt x="13795" y="7423"/>
                </a:cubicBezTo>
                <a:lnTo>
                  <a:pt x="15709" y="5073"/>
                </a:lnTo>
                <a:lnTo>
                  <a:pt x="15709" y="8631"/>
                </a:lnTo>
                <a:cubicBezTo>
                  <a:pt x="16328" y="9253"/>
                  <a:pt x="16691" y="9998"/>
                  <a:pt x="16691" y="10800"/>
                </a:cubicBezTo>
                <a:cubicBezTo>
                  <a:pt x="16691" y="12969"/>
                  <a:pt x="14053" y="14727"/>
                  <a:pt x="10800" y="14727"/>
                </a:cubicBezTo>
                <a:moveTo>
                  <a:pt x="16691" y="1964"/>
                </a:moveTo>
                <a:lnTo>
                  <a:pt x="13360" y="6247"/>
                </a:lnTo>
                <a:cubicBezTo>
                  <a:pt x="12568" y="6020"/>
                  <a:pt x="11706" y="5891"/>
                  <a:pt x="10800" y="5891"/>
                </a:cubicBezTo>
                <a:cubicBezTo>
                  <a:pt x="7004" y="5891"/>
                  <a:pt x="3927" y="8089"/>
                  <a:pt x="3927" y="10800"/>
                </a:cubicBezTo>
                <a:cubicBezTo>
                  <a:pt x="3927" y="13511"/>
                  <a:pt x="7004" y="15709"/>
                  <a:pt x="10800" y="15709"/>
                </a:cubicBezTo>
                <a:cubicBezTo>
                  <a:pt x="14596" y="15709"/>
                  <a:pt x="17673" y="13511"/>
                  <a:pt x="17673" y="10800"/>
                </a:cubicBezTo>
                <a:cubicBezTo>
                  <a:pt x="17673" y="9878"/>
                  <a:pt x="17310" y="9018"/>
                  <a:pt x="16691" y="8281"/>
                </a:cubicBezTo>
                <a:cubicBezTo>
                  <a:pt x="16691" y="8281"/>
                  <a:pt x="16691" y="1964"/>
                  <a:pt x="16691" y="1964"/>
                </a:cubicBezTo>
                <a:close/>
                <a:moveTo>
                  <a:pt x="19145" y="1964"/>
                </a:moveTo>
                <a:cubicBezTo>
                  <a:pt x="18874" y="1964"/>
                  <a:pt x="18655" y="2184"/>
                  <a:pt x="18655" y="2455"/>
                </a:cubicBezTo>
                <a:cubicBezTo>
                  <a:pt x="18655" y="2726"/>
                  <a:pt x="18874" y="2945"/>
                  <a:pt x="19145" y="2945"/>
                </a:cubicBezTo>
                <a:cubicBezTo>
                  <a:pt x="19417" y="2945"/>
                  <a:pt x="19636" y="2726"/>
                  <a:pt x="19636" y="2455"/>
                </a:cubicBezTo>
                <a:cubicBezTo>
                  <a:pt x="19636" y="2184"/>
                  <a:pt x="19417" y="1964"/>
                  <a:pt x="19145" y="1964"/>
                </a:cubicBezTo>
                <a:moveTo>
                  <a:pt x="20618" y="16691"/>
                </a:moveTo>
                <a:cubicBezTo>
                  <a:pt x="20618" y="17233"/>
                  <a:pt x="20178" y="17673"/>
                  <a:pt x="19636" y="17673"/>
                </a:cubicBezTo>
                <a:lnTo>
                  <a:pt x="1964" y="17673"/>
                </a:lnTo>
                <a:cubicBezTo>
                  <a:pt x="1422" y="17673"/>
                  <a:pt x="982" y="17233"/>
                  <a:pt x="982" y="16691"/>
                </a:cubicBezTo>
                <a:lnTo>
                  <a:pt x="982" y="1964"/>
                </a:lnTo>
                <a:cubicBezTo>
                  <a:pt x="982" y="1422"/>
                  <a:pt x="1422" y="982"/>
                  <a:pt x="1964" y="982"/>
                </a:cubicBezTo>
                <a:lnTo>
                  <a:pt x="19636" y="982"/>
                </a:lnTo>
                <a:cubicBezTo>
                  <a:pt x="20178" y="982"/>
                  <a:pt x="20618" y="1422"/>
                  <a:pt x="20618" y="1964"/>
                </a:cubicBezTo>
                <a:cubicBezTo>
                  <a:pt x="20618" y="1964"/>
                  <a:pt x="20618" y="16691"/>
                  <a:pt x="20618" y="16691"/>
                </a:cubicBezTo>
                <a:close/>
                <a:moveTo>
                  <a:pt x="20618" y="19636"/>
                </a:moveTo>
                <a:cubicBezTo>
                  <a:pt x="20618" y="20178"/>
                  <a:pt x="20178" y="20618"/>
                  <a:pt x="19636" y="20618"/>
                </a:cubicBezTo>
                <a:lnTo>
                  <a:pt x="1964" y="20618"/>
                </a:lnTo>
                <a:cubicBezTo>
                  <a:pt x="1422" y="20618"/>
                  <a:pt x="982" y="20178"/>
                  <a:pt x="982" y="19636"/>
                </a:cubicBezTo>
                <a:lnTo>
                  <a:pt x="982" y="18382"/>
                </a:lnTo>
                <a:cubicBezTo>
                  <a:pt x="1271" y="18551"/>
                  <a:pt x="1604" y="18655"/>
                  <a:pt x="1964" y="18655"/>
                </a:cubicBezTo>
                <a:lnTo>
                  <a:pt x="19636" y="18655"/>
                </a:lnTo>
                <a:cubicBezTo>
                  <a:pt x="19996" y="18655"/>
                  <a:pt x="20329" y="18551"/>
                  <a:pt x="20618" y="18382"/>
                </a:cubicBezTo>
                <a:cubicBezTo>
                  <a:pt x="20618" y="18382"/>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800" y="11291"/>
                </a:moveTo>
                <a:cubicBezTo>
                  <a:pt x="10258" y="11291"/>
                  <a:pt x="9818" y="11072"/>
                  <a:pt x="9818" y="10800"/>
                </a:cubicBezTo>
                <a:cubicBezTo>
                  <a:pt x="9818" y="10529"/>
                  <a:pt x="10258" y="10309"/>
                  <a:pt x="10800" y="10309"/>
                </a:cubicBezTo>
                <a:cubicBezTo>
                  <a:pt x="11342" y="10309"/>
                  <a:pt x="11782" y="10529"/>
                  <a:pt x="11782" y="10800"/>
                </a:cubicBezTo>
                <a:cubicBezTo>
                  <a:pt x="11782" y="11072"/>
                  <a:pt x="11342" y="11291"/>
                  <a:pt x="10800" y="11291"/>
                </a:cubicBezTo>
                <a:moveTo>
                  <a:pt x="10800" y="9327"/>
                </a:moveTo>
                <a:cubicBezTo>
                  <a:pt x="9716" y="9327"/>
                  <a:pt x="8836" y="9986"/>
                  <a:pt x="8836" y="10800"/>
                </a:cubicBezTo>
                <a:cubicBezTo>
                  <a:pt x="8836" y="11614"/>
                  <a:pt x="9716" y="12273"/>
                  <a:pt x="10800" y="12273"/>
                </a:cubicBezTo>
                <a:cubicBezTo>
                  <a:pt x="11884" y="12273"/>
                  <a:pt x="12764" y="11614"/>
                  <a:pt x="12764" y="10800"/>
                </a:cubicBezTo>
                <a:cubicBezTo>
                  <a:pt x="12764" y="9986"/>
                  <a:pt x="11884" y="9327"/>
                  <a:pt x="10800" y="9327"/>
                </a:cubicBezTo>
                <a:moveTo>
                  <a:pt x="19145" y="15709"/>
                </a:moveTo>
                <a:cubicBezTo>
                  <a:pt x="18874" y="15709"/>
                  <a:pt x="18655" y="15929"/>
                  <a:pt x="18655" y="16200"/>
                </a:cubicBezTo>
                <a:cubicBezTo>
                  <a:pt x="18655" y="16472"/>
                  <a:pt x="18874" y="16691"/>
                  <a:pt x="19145" y="16691"/>
                </a:cubicBezTo>
                <a:cubicBezTo>
                  <a:pt x="19417" y="16691"/>
                  <a:pt x="19636" y="16472"/>
                  <a:pt x="19636" y="16200"/>
                </a:cubicBezTo>
                <a:cubicBezTo>
                  <a:pt x="19636" y="15929"/>
                  <a:pt x="19417" y="15709"/>
                  <a:pt x="19145" y="15709"/>
                </a:cubicBezTo>
                <a:moveTo>
                  <a:pt x="2455" y="15709"/>
                </a:moveTo>
                <a:cubicBezTo>
                  <a:pt x="2183" y="15709"/>
                  <a:pt x="1964" y="15929"/>
                  <a:pt x="1964" y="16200"/>
                </a:cubicBezTo>
                <a:cubicBezTo>
                  <a:pt x="1964" y="16472"/>
                  <a:pt x="2183" y="16691"/>
                  <a:pt x="2455" y="16691"/>
                </a:cubicBezTo>
                <a:cubicBezTo>
                  <a:pt x="2726" y="16691"/>
                  <a:pt x="2945" y="16472"/>
                  <a:pt x="2945" y="16200"/>
                </a:cubicBezTo>
                <a:cubicBezTo>
                  <a:pt x="2945" y="15929"/>
                  <a:pt x="2726" y="15709"/>
                  <a:pt x="2455" y="15709"/>
                </a:cubicBezTo>
                <a:moveTo>
                  <a:pt x="5645" y="4418"/>
                </a:moveTo>
                <a:lnTo>
                  <a:pt x="12027" y="4418"/>
                </a:lnTo>
                <a:cubicBezTo>
                  <a:pt x="12434" y="4418"/>
                  <a:pt x="12764" y="4088"/>
                  <a:pt x="12764" y="3682"/>
                </a:cubicBezTo>
                <a:cubicBezTo>
                  <a:pt x="12764" y="3275"/>
                  <a:pt x="12434" y="2945"/>
                  <a:pt x="12027" y="2945"/>
                </a:cubicBezTo>
                <a:lnTo>
                  <a:pt x="5645" y="2945"/>
                </a:lnTo>
                <a:cubicBezTo>
                  <a:pt x="5239" y="2945"/>
                  <a:pt x="4909" y="3275"/>
                  <a:pt x="4909" y="3682"/>
                </a:cubicBezTo>
                <a:cubicBezTo>
                  <a:pt x="4909" y="4088"/>
                  <a:pt x="5239" y="4418"/>
                  <a:pt x="5645" y="4418"/>
                </a:cubicBezTo>
                <a:moveTo>
                  <a:pt x="2455" y="1964"/>
                </a:moveTo>
                <a:cubicBezTo>
                  <a:pt x="2183" y="1964"/>
                  <a:pt x="1964" y="2184"/>
                  <a:pt x="1964" y="2455"/>
                </a:cubicBezTo>
                <a:cubicBezTo>
                  <a:pt x="1964" y="2726"/>
                  <a:pt x="2183" y="2945"/>
                  <a:pt x="2455" y="2945"/>
                </a:cubicBezTo>
                <a:cubicBezTo>
                  <a:pt x="2726" y="2945"/>
                  <a:pt x="2945" y="2726"/>
                  <a:pt x="2945" y="2455"/>
                </a:cubicBezTo>
                <a:cubicBezTo>
                  <a:pt x="2945" y="2184"/>
                  <a:pt x="2726"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3" name="Shape 2653"/>
          <p:cNvSpPr/>
          <p:nvPr/>
        </p:nvSpPr>
        <p:spPr>
          <a:xfrm>
            <a:off x="306032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5891"/>
                </a:moveTo>
                <a:lnTo>
                  <a:pt x="14727" y="5891"/>
                </a:lnTo>
                <a:lnTo>
                  <a:pt x="14727" y="1964"/>
                </a:lnTo>
                <a:lnTo>
                  <a:pt x="12764" y="1964"/>
                </a:lnTo>
                <a:cubicBezTo>
                  <a:pt x="12764" y="1964"/>
                  <a:pt x="12764" y="5891"/>
                  <a:pt x="12764" y="5891"/>
                </a:cubicBezTo>
                <a:close/>
                <a:moveTo>
                  <a:pt x="6873" y="2945"/>
                </a:moveTo>
                <a:lnTo>
                  <a:pt x="10800" y="2945"/>
                </a:lnTo>
                <a:lnTo>
                  <a:pt x="10800" y="1964"/>
                </a:lnTo>
                <a:lnTo>
                  <a:pt x="6873" y="1964"/>
                </a:lnTo>
                <a:cubicBezTo>
                  <a:pt x="6873" y="1964"/>
                  <a:pt x="6873" y="2945"/>
                  <a:pt x="6873" y="29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6873" y="4909"/>
                </a:moveTo>
                <a:lnTo>
                  <a:pt x="9818" y="4909"/>
                </a:lnTo>
                <a:lnTo>
                  <a:pt x="9818" y="3927"/>
                </a:lnTo>
                <a:lnTo>
                  <a:pt x="6873" y="3927"/>
                </a:lnTo>
                <a:cubicBezTo>
                  <a:pt x="6873" y="3927"/>
                  <a:pt x="6873" y="4909"/>
                  <a:pt x="6873"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4" name="Shape 2654"/>
          <p:cNvSpPr/>
          <p:nvPr/>
        </p:nvSpPr>
        <p:spPr>
          <a:xfrm>
            <a:off x="3460265"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6691"/>
                </a:lnTo>
                <a:lnTo>
                  <a:pt x="15709" y="16691"/>
                </a:lnTo>
                <a:cubicBezTo>
                  <a:pt x="15709" y="16691"/>
                  <a:pt x="15709" y="15709"/>
                  <a:pt x="15709" y="15709"/>
                </a:cubicBezTo>
                <a:close/>
                <a:moveTo>
                  <a:pt x="15709" y="17673"/>
                </a:moveTo>
                <a:lnTo>
                  <a:pt x="5891" y="17673"/>
                </a:lnTo>
                <a:lnTo>
                  <a:pt x="5891" y="18655"/>
                </a:lnTo>
                <a:lnTo>
                  <a:pt x="15709" y="18655"/>
                </a:lnTo>
                <a:cubicBezTo>
                  <a:pt x="15709" y="18655"/>
                  <a:pt x="15709" y="17673"/>
                  <a:pt x="15709" y="17673"/>
                </a:cubicBezTo>
                <a:close/>
                <a:moveTo>
                  <a:pt x="11782" y="13745"/>
                </a:moveTo>
                <a:lnTo>
                  <a:pt x="5891" y="13745"/>
                </a:lnTo>
                <a:lnTo>
                  <a:pt x="5891" y="14727"/>
                </a:lnTo>
                <a:lnTo>
                  <a:pt x="11782" y="14727"/>
                </a:lnTo>
                <a:cubicBezTo>
                  <a:pt x="11782" y="14727"/>
                  <a:pt x="11782" y="13745"/>
                  <a:pt x="11782" y="13745"/>
                </a:cubicBezTo>
                <a:close/>
                <a:moveTo>
                  <a:pt x="20618" y="19636"/>
                </a:moveTo>
                <a:cubicBezTo>
                  <a:pt x="20618" y="20178"/>
                  <a:pt x="20178" y="20618"/>
                  <a:pt x="19636" y="20618"/>
                </a:cubicBezTo>
                <a:lnTo>
                  <a:pt x="18655" y="20618"/>
                </a:lnTo>
                <a:lnTo>
                  <a:pt x="18655" y="11782"/>
                </a:lnTo>
                <a:cubicBezTo>
                  <a:pt x="18655" y="11240"/>
                  <a:pt x="18214" y="10800"/>
                  <a:pt x="17673" y="10800"/>
                </a:cubicBezTo>
                <a:lnTo>
                  <a:pt x="3927" y="10800"/>
                </a:lnTo>
                <a:cubicBezTo>
                  <a:pt x="3385" y="10800"/>
                  <a:pt x="2945" y="11240"/>
                  <a:pt x="2945" y="11782"/>
                </a:cubicBezTo>
                <a:lnTo>
                  <a:pt x="2945" y="20618"/>
                </a:lnTo>
                <a:lnTo>
                  <a:pt x="1964" y="20618"/>
                </a:lnTo>
                <a:cubicBezTo>
                  <a:pt x="1421" y="20618"/>
                  <a:pt x="982" y="20178"/>
                  <a:pt x="982" y="19636"/>
                </a:cubicBezTo>
                <a:lnTo>
                  <a:pt x="982" y="1964"/>
                </a:lnTo>
                <a:cubicBezTo>
                  <a:pt x="982" y="1422"/>
                  <a:pt x="1421" y="982"/>
                  <a:pt x="1964" y="982"/>
                </a:cubicBezTo>
                <a:lnTo>
                  <a:pt x="4909" y="982"/>
                </a:lnTo>
                <a:lnTo>
                  <a:pt x="4909" y="6873"/>
                </a:lnTo>
                <a:cubicBezTo>
                  <a:pt x="4909" y="7415"/>
                  <a:pt x="5348" y="7855"/>
                  <a:pt x="5891" y="7855"/>
                </a:cubicBezTo>
                <a:lnTo>
                  <a:pt x="15709" y="7855"/>
                </a:lnTo>
                <a:cubicBezTo>
                  <a:pt x="16251" y="7855"/>
                  <a:pt x="16691" y="7415"/>
                  <a:pt x="16691" y="6873"/>
                </a:cubicBezTo>
                <a:lnTo>
                  <a:pt x="16691" y="982"/>
                </a:lnTo>
                <a:lnTo>
                  <a:pt x="17182" y="982"/>
                </a:lnTo>
                <a:lnTo>
                  <a:pt x="20618" y="4418"/>
                </a:lnTo>
                <a:cubicBezTo>
                  <a:pt x="20618" y="4418"/>
                  <a:pt x="20618" y="19636"/>
                  <a:pt x="20618" y="19636"/>
                </a:cubicBezTo>
                <a:close/>
                <a:moveTo>
                  <a:pt x="17673" y="20618"/>
                </a:moveTo>
                <a:lnTo>
                  <a:pt x="3927" y="20618"/>
                </a:lnTo>
                <a:lnTo>
                  <a:pt x="3927" y="11782"/>
                </a:lnTo>
                <a:lnTo>
                  <a:pt x="17673" y="11782"/>
                </a:lnTo>
                <a:cubicBezTo>
                  <a:pt x="17673" y="11782"/>
                  <a:pt x="17673" y="20618"/>
                  <a:pt x="17673" y="20618"/>
                </a:cubicBezTo>
                <a:close/>
                <a:moveTo>
                  <a:pt x="5891" y="982"/>
                </a:moveTo>
                <a:lnTo>
                  <a:pt x="15709" y="982"/>
                </a:lnTo>
                <a:lnTo>
                  <a:pt x="15709" y="6873"/>
                </a:lnTo>
                <a:lnTo>
                  <a:pt x="5891" y="6873"/>
                </a:lnTo>
                <a:cubicBezTo>
                  <a:pt x="5891" y="6873"/>
                  <a:pt x="5891" y="982"/>
                  <a:pt x="5891" y="982"/>
                </a:cubicBezTo>
                <a:close/>
                <a:moveTo>
                  <a:pt x="17673"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3927"/>
                </a:lnTo>
                <a:cubicBezTo>
                  <a:pt x="21600" y="3927"/>
                  <a:pt x="17673" y="0"/>
                  <a:pt x="17673" y="0"/>
                </a:cubicBezTo>
                <a:close/>
                <a:moveTo>
                  <a:pt x="12764" y="5891"/>
                </a:moveTo>
                <a:lnTo>
                  <a:pt x="14727" y="5891"/>
                </a:lnTo>
                <a:lnTo>
                  <a:pt x="14727" y="1964"/>
                </a:lnTo>
                <a:lnTo>
                  <a:pt x="12764" y="1964"/>
                </a:lnTo>
                <a:cubicBezTo>
                  <a:pt x="12764" y="1964"/>
                  <a:pt x="12764" y="5891"/>
                  <a:pt x="12764"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5" name="Shape 2655"/>
          <p:cNvSpPr/>
          <p:nvPr/>
        </p:nvSpPr>
        <p:spPr>
          <a:xfrm>
            <a:off x="3860211" y="1488898"/>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14400"/>
                </a:moveTo>
                <a:lnTo>
                  <a:pt x="16349" y="14400"/>
                </a:lnTo>
                <a:cubicBezTo>
                  <a:pt x="16227" y="14820"/>
                  <a:pt x="16076" y="15221"/>
                  <a:pt x="15897" y="15600"/>
                </a:cubicBezTo>
                <a:lnTo>
                  <a:pt x="20618" y="15600"/>
                </a:lnTo>
                <a:lnTo>
                  <a:pt x="20618" y="19200"/>
                </a:lnTo>
                <a:cubicBezTo>
                  <a:pt x="20618" y="19862"/>
                  <a:pt x="20178" y="20400"/>
                  <a:pt x="19636" y="20400"/>
                </a:cubicBezTo>
                <a:lnTo>
                  <a:pt x="1964" y="20400"/>
                </a:lnTo>
                <a:cubicBezTo>
                  <a:pt x="1422" y="20400"/>
                  <a:pt x="982" y="19862"/>
                  <a:pt x="982" y="19200"/>
                </a:cubicBezTo>
                <a:lnTo>
                  <a:pt x="982" y="15600"/>
                </a:lnTo>
                <a:lnTo>
                  <a:pt x="5704" y="15600"/>
                </a:lnTo>
                <a:cubicBezTo>
                  <a:pt x="5524" y="15221"/>
                  <a:pt x="5373" y="14820"/>
                  <a:pt x="5251" y="14400"/>
                </a:cubicBezTo>
                <a:lnTo>
                  <a:pt x="982" y="14400"/>
                </a:lnTo>
                <a:lnTo>
                  <a:pt x="982" y="4800"/>
                </a:lnTo>
                <a:cubicBezTo>
                  <a:pt x="982" y="4138"/>
                  <a:pt x="1422" y="3600"/>
                  <a:pt x="1964" y="3600"/>
                </a:cubicBezTo>
                <a:lnTo>
                  <a:pt x="3927" y="3600"/>
                </a:lnTo>
                <a:cubicBezTo>
                  <a:pt x="5891" y="3600"/>
                  <a:pt x="5891" y="1200"/>
                  <a:pt x="7364" y="1200"/>
                </a:cubicBezTo>
                <a:lnTo>
                  <a:pt x="10800" y="1200"/>
                </a:lnTo>
                <a:lnTo>
                  <a:pt x="14236" y="1200"/>
                </a:lnTo>
                <a:cubicBezTo>
                  <a:pt x="15709" y="1200"/>
                  <a:pt x="15709" y="3600"/>
                  <a:pt x="17673" y="3600"/>
                </a:cubicBezTo>
                <a:lnTo>
                  <a:pt x="19636" y="3600"/>
                </a:lnTo>
                <a:cubicBezTo>
                  <a:pt x="20178" y="3600"/>
                  <a:pt x="20618" y="4138"/>
                  <a:pt x="20618" y="4800"/>
                </a:cubicBezTo>
                <a:cubicBezTo>
                  <a:pt x="20618" y="4800"/>
                  <a:pt x="20618" y="14400"/>
                  <a:pt x="20618" y="14400"/>
                </a:cubicBezTo>
                <a:close/>
                <a:moveTo>
                  <a:pt x="19636" y="2400"/>
                </a:moveTo>
                <a:lnTo>
                  <a:pt x="17673" y="2400"/>
                </a:lnTo>
                <a:cubicBezTo>
                  <a:pt x="16200" y="2400"/>
                  <a:pt x="16200" y="0"/>
                  <a:pt x="14236" y="0"/>
                </a:cubicBezTo>
                <a:lnTo>
                  <a:pt x="10800" y="0"/>
                </a:lnTo>
                <a:lnTo>
                  <a:pt x="7364" y="0"/>
                </a:lnTo>
                <a:cubicBezTo>
                  <a:pt x="5400" y="0"/>
                  <a:pt x="5400" y="2400"/>
                  <a:pt x="3927" y="2400"/>
                </a:cubicBezTo>
                <a:lnTo>
                  <a:pt x="1964" y="2400"/>
                </a:lnTo>
                <a:cubicBezTo>
                  <a:pt x="879" y="2400"/>
                  <a:pt x="0" y="3475"/>
                  <a:pt x="0" y="4800"/>
                </a:cubicBezTo>
                <a:lnTo>
                  <a:pt x="0" y="19200"/>
                </a:lnTo>
                <a:cubicBezTo>
                  <a:pt x="0" y="20525"/>
                  <a:pt x="879" y="21600"/>
                  <a:pt x="1964" y="21600"/>
                </a:cubicBezTo>
                <a:lnTo>
                  <a:pt x="19636" y="21600"/>
                </a:lnTo>
                <a:cubicBezTo>
                  <a:pt x="20721" y="21600"/>
                  <a:pt x="21600" y="20525"/>
                  <a:pt x="21600" y="19200"/>
                </a:cubicBezTo>
                <a:lnTo>
                  <a:pt x="21600" y="4800"/>
                </a:lnTo>
                <a:cubicBezTo>
                  <a:pt x="21600" y="3475"/>
                  <a:pt x="20721" y="2400"/>
                  <a:pt x="19636" y="2400"/>
                </a:cubicBezTo>
                <a:moveTo>
                  <a:pt x="18164" y="7200"/>
                </a:moveTo>
                <a:cubicBezTo>
                  <a:pt x="17892" y="7200"/>
                  <a:pt x="17673" y="6932"/>
                  <a:pt x="17673" y="6600"/>
                </a:cubicBezTo>
                <a:cubicBezTo>
                  <a:pt x="17673" y="6269"/>
                  <a:pt x="17892" y="6000"/>
                  <a:pt x="18164" y="6000"/>
                </a:cubicBezTo>
                <a:cubicBezTo>
                  <a:pt x="18435" y="6000"/>
                  <a:pt x="18655" y="6269"/>
                  <a:pt x="18655" y="6600"/>
                </a:cubicBezTo>
                <a:cubicBezTo>
                  <a:pt x="18655" y="6932"/>
                  <a:pt x="18435" y="7200"/>
                  <a:pt x="18164" y="7200"/>
                </a:cubicBezTo>
                <a:moveTo>
                  <a:pt x="18164" y="4800"/>
                </a:moveTo>
                <a:cubicBezTo>
                  <a:pt x="17351" y="4800"/>
                  <a:pt x="16691" y="5607"/>
                  <a:pt x="16691" y="6600"/>
                </a:cubicBezTo>
                <a:cubicBezTo>
                  <a:pt x="16691" y="7594"/>
                  <a:pt x="17351" y="8400"/>
                  <a:pt x="18164" y="8400"/>
                </a:cubicBezTo>
                <a:cubicBezTo>
                  <a:pt x="18977" y="8400"/>
                  <a:pt x="19636" y="7594"/>
                  <a:pt x="19636" y="6600"/>
                </a:cubicBezTo>
                <a:cubicBezTo>
                  <a:pt x="19636" y="5607"/>
                  <a:pt x="18977" y="4800"/>
                  <a:pt x="18164" y="4800"/>
                </a:cubicBezTo>
                <a:moveTo>
                  <a:pt x="18164" y="9600"/>
                </a:moveTo>
                <a:cubicBezTo>
                  <a:pt x="17892" y="9600"/>
                  <a:pt x="17673" y="9869"/>
                  <a:pt x="17673" y="10200"/>
                </a:cubicBezTo>
                <a:cubicBezTo>
                  <a:pt x="17673" y="10532"/>
                  <a:pt x="17892" y="10800"/>
                  <a:pt x="18164" y="10800"/>
                </a:cubicBezTo>
                <a:cubicBezTo>
                  <a:pt x="18435" y="10800"/>
                  <a:pt x="18655" y="10532"/>
                  <a:pt x="18655" y="10200"/>
                </a:cubicBezTo>
                <a:cubicBezTo>
                  <a:pt x="18655" y="9869"/>
                  <a:pt x="18435" y="9600"/>
                  <a:pt x="18164" y="9600"/>
                </a:cubicBezTo>
                <a:moveTo>
                  <a:pt x="10800" y="16800"/>
                </a:moveTo>
                <a:cubicBezTo>
                  <a:pt x="8631" y="16800"/>
                  <a:pt x="6873" y="14651"/>
                  <a:pt x="6873" y="12000"/>
                </a:cubicBezTo>
                <a:cubicBezTo>
                  <a:pt x="6873" y="9349"/>
                  <a:pt x="8631" y="7200"/>
                  <a:pt x="10800" y="7200"/>
                </a:cubicBezTo>
                <a:cubicBezTo>
                  <a:pt x="12969" y="7200"/>
                  <a:pt x="14727" y="9349"/>
                  <a:pt x="14727" y="12000"/>
                </a:cubicBezTo>
                <a:cubicBezTo>
                  <a:pt x="14727" y="14651"/>
                  <a:pt x="12969" y="16800"/>
                  <a:pt x="10800" y="16800"/>
                </a:cubicBezTo>
                <a:moveTo>
                  <a:pt x="10800" y="6000"/>
                </a:moveTo>
                <a:cubicBezTo>
                  <a:pt x="8088" y="6000"/>
                  <a:pt x="5891" y="8687"/>
                  <a:pt x="5891" y="12000"/>
                </a:cubicBezTo>
                <a:cubicBezTo>
                  <a:pt x="5891" y="15314"/>
                  <a:pt x="8088" y="18000"/>
                  <a:pt x="10800" y="18000"/>
                </a:cubicBezTo>
                <a:cubicBezTo>
                  <a:pt x="13512" y="18000"/>
                  <a:pt x="15709" y="15314"/>
                  <a:pt x="15709" y="12000"/>
                </a:cubicBezTo>
                <a:cubicBezTo>
                  <a:pt x="15709" y="8687"/>
                  <a:pt x="13512" y="6000"/>
                  <a:pt x="10800" y="6000"/>
                </a:cubicBezTo>
                <a:moveTo>
                  <a:pt x="10800" y="14400"/>
                </a:moveTo>
                <a:cubicBezTo>
                  <a:pt x="9716" y="14400"/>
                  <a:pt x="8836" y="13325"/>
                  <a:pt x="8836" y="12000"/>
                </a:cubicBezTo>
                <a:cubicBezTo>
                  <a:pt x="8836" y="10675"/>
                  <a:pt x="9716" y="9600"/>
                  <a:pt x="10800" y="9600"/>
                </a:cubicBezTo>
                <a:cubicBezTo>
                  <a:pt x="11884" y="9600"/>
                  <a:pt x="12764" y="10675"/>
                  <a:pt x="12764" y="12000"/>
                </a:cubicBezTo>
                <a:cubicBezTo>
                  <a:pt x="12764" y="13325"/>
                  <a:pt x="11884" y="14400"/>
                  <a:pt x="10800" y="14400"/>
                </a:cubicBezTo>
                <a:moveTo>
                  <a:pt x="10800" y="8400"/>
                </a:moveTo>
                <a:cubicBezTo>
                  <a:pt x="9173" y="8400"/>
                  <a:pt x="7855" y="10012"/>
                  <a:pt x="7855" y="12000"/>
                </a:cubicBezTo>
                <a:cubicBezTo>
                  <a:pt x="7855" y="13988"/>
                  <a:pt x="9173" y="15600"/>
                  <a:pt x="10800" y="15600"/>
                </a:cubicBezTo>
                <a:cubicBezTo>
                  <a:pt x="12426" y="15600"/>
                  <a:pt x="13745" y="13988"/>
                  <a:pt x="13745" y="12000"/>
                </a:cubicBezTo>
                <a:cubicBezTo>
                  <a:pt x="13745" y="10012"/>
                  <a:pt x="12426" y="8400"/>
                  <a:pt x="10800" y="8400"/>
                </a:cubicBezTo>
                <a:moveTo>
                  <a:pt x="8345" y="3600"/>
                </a:moveTo>
                <a:lnTo>
                  <a:pt x="13255" y="3600"/>
                </a:lnTo>
                <a:cubicBezTo>
                  <a:pt x="13526" y="3600"/>
                  <a:pt x="13745" y="3332"/>
                  <a:pt x="13745" y="3000"/>
                </a:cubicBezTo>
                <a:cubicBezTo>
                  <a:pt x="13745" y="2669"/>
                  <a:pt x="13526" y="2400"/>
                  <a:pt x="13255" y="2400"/>
                </a:cubicBezTo>
                <a:lnTo>
                  <a:pt x="8345" y="2400"/>
                </a:lnTo>
                <a:cubicBezTo>
                  <a:pt x="8074" y="2400"/>
                  <a:pt x="7855" y="2669"/>
                  <a:pt x="7855" y="3000"/>
                </a:cubicBezTo>
                <a:cubicBezTo>
                  <a:pt x="7855" y="3332"/>
                  <a:pt x="8074" y="3600"/>
                  <a:pt x="8345"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6" name="Shape 2656"/>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0800"/>
                </a:moveTo>
                <a:cubicBezTo>
                  <a:pt x="14186" y="10800"/>
                  <a:pt x="13745" y="11240"/>
                  <a:pt x="13745" y="11782"/>
                </a:cubicBezTo>
                <a:cubicBezTo>
                  <a:pt x="13745" y="12324"/>
                  <a:pt x="14186" y="12764"/>
                  <a:pt x="14727" y="12764"/>
                </a:cubicBezTo>
                <a:cubicBezTo>
                  <a:pt x="15269" y="12764"/>
                  <a:pt x="15709" y="12324"/>
                  <a:pt x="15709" y="11782"/>
                </a:cubicBezTo>
                <a:cubicBezTo>
                  <a:pt x="15709" y="11240"/>
                  <a:pt x="15269" y="10800"/>
                  <a:pt x="14727" y="10800"/>
                </a:cubicBezTo>
                <a:moveTo>
                  <a:pt x="20618" y="0"/>
                </a:moveTo>
                <a:lnTo>
                  <a:pt x="4909" y="0"/>
                </a:lnTo>
                <a:cubicBezTo>
                  <a:pt x="4367" y="0"/>
                  <a:pt x="3927" y="440"/>
                  <a:pt x="3927" y="982"/>
                </a:cubicBezTo>
                <a:lnTo>
                  <a:pt x="3927" y="5891"/>
                </a:lnTo>
                <a:cubicBezTo>
                  <a:pt x="3927" y="6162"/>
                  <a:pt x="4147" y="6382"/>
                  <a:pt x="4418" y="6382"/>
                </a:cubicBezTo>
                <a:cubicBezTo>
                  <a:pt x="4690" y="6382"/>
                  <a:pt x="4909" y="6162"/>
                  <a:pt x="4909" y="5891"/>
                </a:cubicBezTo>
                <a:lnTo>
                  <a:pt x="4909" y="982"/>
                </a:lnTo>
                <a:lnTo>
                  <a:pt x="20618" y="982"/>
                </a:lnTo>
                <a:lnTo>
                  <a:pt x="20618" y="12764"/>
                </a:lnTo>
                <a:lnTo>
                  <a:pt x="19145" y="12764"/>
                </a:lnTo>
                <a:cubicBezTo>
                  <a:pt x="18874" y="12764"/>
                  <a:pt x="18655" y="12984"/>
                  <a:pt x="18655" y="13255"/>
                </a:cubicBezTo>
                <a:cubicBezTo>
                  <a:pt x="18655" y="13526"/>
                  <a:pt x="18874" y="13745"/>
                  <a:pt x="19145" y="13745"/>
                </a:cubicBezTo>
                <a:lnTo>
                  <a:pt x="20618" y="13745"/>
                </a:lnTo>
                <a:lnTo>
                  <a:pt x="20618" y="16691"/>
                </a:lnTo>
                <a:lnTo>
                  <a:pt x="19145" y="16691"/>
                </a:lnTo>
                <a:cubicBezTo>
                  <a:pt x="18874" y="16691"/>
                  <a:pt x="18655" y="16911"/>
                  <a:pt x="18655" y="17182"/>
                </a:cubicBezTo>
                <a:cubicBezTo>
                  <a:pt x="18655" y="17453"/>
                  <a:pt x="18874" y="17673"/>
                  <a:pt x="19145" y="17673"/>
                </a:cubicBezTo>
                <a:lnTo>
                  <a:pt x="20618" y="17673"/>
                </a:lnTo>
                <a:cubicBezTo>
                  <a:pt x="21160" y="17673"/>
                  <a:pt x="21600" y="17234"/>
                  <a:pt x="21600" y="16691"/>
                </a:cubicBezTo>
                <a:lnTo>
                  <a:pt x="21600" y="982"/>
                </a:lnTo>
                <a:cubicBezTo>
                  <a:pt x="21600" y="440"/>
                  <a:pt x="21160" y="0"/>
                  <a:pt x="20618" y="0"/>
                </a:cubicBezTo>
                <a:moveTo>
                  <a:pt x="14727" y="13745"/>
                </a:moveTo>
                <a:cubicBezTo>
                  <a:pt x="14456" y="13745"/>
                  <a:pt x="14236" y="13966"/>
                  <a:pt x="14236" y="14236"/>
                </a:cubicBezTo>
                <a:cubicBezTo>
                  <a:pt x="14236" y="14508"/>
                  <a:pt x="14456" y="14727"/>
                  <a:pt x="14727" y="14727"/>
                </a:cubicBezTo>
                <a:cubicBezTo>
                  <a:pt x="14999" y="14727"/>
                  <a:pt x="15218" y="14508"/>
                  <a:pt x="15218" y="14236"/>
                </a:cubicBezTo>
                <a:cubicBezTo>
                  <a:pt x="15218" y="13966"/>
                  <a:pt x="14999" y="13745"/>
                  <a:pt x="14727" y="13745"/>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6"/>
                  <a:pt x="6668" y="18655"/>
                  <a:pt x="8836" y="18655"/>
                </a:cubicBezTo>
                <a:cubicBezTo>
                  <a:pt x="11005" y="18655"/>
                  <a:pt x="12764" y="16896"/>
                  <a:pt x="12764" y="14727"/>
                </a:cubicBezTo>
                <a:cubicBezTo>
                  <a:pt x="12764" y="12558"/>
                  <a:pt x="11005" y="10800"/>
                  <a:pt x="8836" y="10800"/>
                </a:cubicBezTo>
                <a:moveTo>
                  <a:pt x="8836" y="15709"/>
                </a:moveTo>
                <a:cubicBezTo>
                  <a:pt x="8295" y="15709"/>
                  <a:pt x="7855" y="15269"/>
                  <a:pt x="7855" y="14727"/>
                </a:cubicBezTo>
                <a:cubicBezTo>
                  <a:pt x="7855" y="14186"/>
                  <a:pt x="8295"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7" name="Shape 2657"/>
          <p:cNvSpPr/>
          <p:nvPr/>
        </p:nvSpPr>
        <p:spPr>
          <a:xfrm>
            <a:off x="66064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4909"/>
                </a:moveTo>
                <a:lnTo>
                  <a:pt x="6873" y="4909"/>
                </a:lnTo>
                <a:lnTo>
                  <a:pt x="6873" y="3927"/>
                </a:lnTo>
                <a:lnTo>
                  <a:pt x="5891" y="3927"/>
                </a:lnTo>
                <a:cubicBezTo>
                  <a:pt x="5891" y="3927"/>
                  <a:pt x="5891" y="4909"/>
                  <a:pt x="5891" y="4909"/>
                </a:cubicBezTo>
                <a:close/>
                <a:moveTo>
                  <a:pt x="18655" y="13745"/>
                </a:moveTo>
                <a:lnTo>
                  <a:pt x="19636" y="13745"/>
                </a:lnTo>
                <a:lnTo>
                  <a:pt x="19636" y="12764"/>
                </a:lnTo>
                <a:lnTo>
                  <a:pt x="18655" y="12764"/>
                </a:lnTo>
                <a:cubicBezTo>
                  <a:pt x="18655" y="12764"/>
                  <a:pt x="18655" y="13745"/>
                  <a:pt x="18655" y="13745"/>
                </a:cubicBezTo>
                <a:close/>
                <a:moveTo>
                  <a:pt x="6873" y="1964"/>
                </a:moveTo>
                <a:lnTo>
                  <a:pt x="5891" y="1964"/>
                </a:lnTo>
                <a:lnTo>
                  <a:pt x="5891" y="2945"/>
                </a:lnTo>
                <a:lnTo>
                  <a:pt x="6873" y="2945"/>
                </a:lnTo>
                <a:cubicBezTo>
                  <a:pt x="6873" y="2945"/>
                  <a:pt x="6873" y="1964"/>
                  <a:pt x="6873" y="1964"/>
                </a:cubicBezTo>
                <a:close/>
                <a:moveTo>
                  <a:pt x="20618" y="0"/>
                </a:moveTo>
                <a:lnTo>
                  <a:pt x="4909" y="0"/>
                </a:lnTo>
                <a:cubicBezTo>
                  <a:pt x="4367" y="0"/>
                  <a:pt x="3927" y="440"/>
                  <a:pt x="3927" y="982"/>
                </a:cubicBezTo>
                <a:lnTo>
                  <a:pt x="3927" y="5891"/>
                </a:lnTo>
                <a:cubicBezTo>
                  <a:pt x="3927" y="6162"/>
                  <a:pt x="4147" y="6382"/>
                  <a:pt x="4418" y="6382"/>
                </a:cubicBezTo>
                <a:cubicBezTo>
                  <a:pt x="4689" y="6382"/>
                  <a:pt x="4909" y="6162"/>
                  <a:pt x="4909" y="5891"/>
                </a:cubicBezTo>
                <a:lnTo>
                  <a:pt x="4909" y="1964"/>
                </a:lnTo>
                <a:cubicBezTo>
                  <a:pt x="4909" y="1422"/>
                  <a:pt x="5349" y="982"/>
                  <a:pt x="5891" y="982"/>
                </a:cubicBezTo>
                <a:lnTo>
                  <a:pt x="7855" y="982"/>
                </a:lnTo>
                <a:lnTo>
                  <a:pt x="7855" y="5400"/>
                </a:lnTo>
                <a:cubicBezTo>
                  <a:pt x="7855" y="5671"/>
                  <a:pt x="8075" y="5891"/>
                  <a:pt x="8345" y="5891"/>
                </a:cubicBezTo>
                <a:cubicBezTo>
                  <a:pt x="8616" y="5891"/>
                  <a:pt x="8836" y="5671"/>
                  <a:pt x="8836" y="5400"/>
                </a:cubicBezTo>
                <a:lnTo>
                  <a:pt x="8836" y="982"/>
                </a:lnTo>
                <a:lnTo>
                  <a:pt x="16691" y="982"/>
                </a:lnTo>
                <a:lnTo>
                  <a:pt x="16691" y="7364"/>
                </a:lnTo>
                <a:cubicBezTo>
                  <a:pt x="16691" y="7635"/>
                  <a:pt x="16911" y="7855"/>
                  <a:pt x="17182" y="7855"/>
                </a:cubicBezTo>
                <a:cubicBezTo>
                  <a:pt x="17453" y="7855"/>
                  <a:pt x="17673" y="7635"/>
                  <a:pt x="17673" y="7364"/>
                </a:cubicBezTo>
                <a:lnTo>
                  <a:pt x="17673" y="982"/>
                </a:lnTo>
                <a:lnTo>
                  <a:pt x="19636" y="982"/>
                </a:lnTo>
                <a:cubicBezTo>
                  <a:pt x="20178" y="982"/>
                  <a:pt x="20618" y="1422"/>
                  <a:pt x="20618" y="1964"/>
                </a:cubicBezTo>
                <a:lnTo>
                  <a:pt x="20618" y="8345"/>
                </a:lnTo>
                <a:lnTo>
                  <a:pt x="19145" y="8345"/>
                </a:lnTo>
                <a:cubicBezTo>
                  <a:pt x="18875" y="8345"/>
                  <a:pt x="18655" y="8566"/>
                  <a:pt x="18655" y="8836"/>
                </a:cubicBezTo>
                <a:cubicBezTo>
                  <a:pt x="18655" y="9108"/>
                  <a:pt x="18875" y="9327"/>
                  <a:pt x="19145" y="9327"/>
                </a:cubicBezTo>
                <a:lnTo>
                  <a:pt x="20618" y="9327"/>
                </a:lnTo>
                <a:lnTo>
                  <a:pt x="20618" y="15709"/>
                </a:lnTo>
                <a:cubicBezTo>
                  <a:pt x="20618" y="16252"/>
                  <a:pt x="20179" y="16691"/>
                  <a:pt x="19636" y="16691"/>
                </a:cubicBezTo>
                <a:lnTo>
                  <a:pt x="19145" y="16691"/>
                </a:lnTo>
                <a:cubicBezTo>
                  <a:pt x="18875" y="16691"/>
                  <a:pt x="18655" y="16911"/>
                  <a:pt x="18655" y="17182"/>
                </a:cubicBezTo>
                <a:cubicBezTo>
                  <a:pt x="18655" y="17453"/>
                  <a:pt x="18875" y="17673"/>
                  <a:pt x="19145" y="17673"/>
                </a:cubicBezTo>
                <a:lnTo>
                  <a:pt x="19145" y="17673"/>
                </a:lnTo>
                <a:lnTo>
                  <a:pt x="19636" y="17673"/>
                </a:lnTo>
                <a:lnTo>
                  <a:pt x="19636" y="17673"/>
                </a:lnTo>
                <a:lnTo>
                  <a:pt x="20618" y="17673"/>
                </a:lnTo>
                <a:cubicBezTo>
                  <a:pt x="21160" y="17673"/>
                  <a:pt x="21600" y="17233"/>
                  <a:pt x="21600" y="16691"/>
                </a:cubicBezTo>
                <a:lnTo>
                  <a:pt x="21600" y="982"/>
                </a:lnTo>
                <a:cubicBezTo>
                  <a:pt x="21600" y="440"/>
                  <a:pt x="21160" y="0"/>
                  <a:pt x="20618" y="0"/>
                </a:cubicBezTo>
                <a:moveTo>
                  <a:pt x="19636" y="10800"/>
                </a:moveTo>
                <a:lnTo>
                  <a:pt x="18655" y="10800"/>
                </a:lnTo>
                <a:lnTo>
                  <a:pt x="18655" y="11782"/>
                </a:lnTo>
                <a:lnTo>
                  <a:pt x="19636" y="11782"/>
                </a:lnTo>
                <a:cubicBezTo>
                  <a:pt x="19636" y="11782"/>
                  <a:pt x="19636" y="10800"/>
                  <a:pt x="19636" y="10800"/>
                </a:cubicBezTo>
                <a:close/>
                <a:moveTo>
                  <a:pt x="18655" y="6873"/>
                </a:moveTo>
                <a:lnTo>
                  <a:pt x="19636" y="6873"/>
                </a:lnTo>
                <a:lnTo>
                  <a:pt x="19636" y="5891"/>
                </a:lnTo>
                <a:lnTo>
                  <a:pt x="18655" y="5891"/>
                </a:lnTo>
                <a:cubicBezTo>
                  <a:pt x="18655" y="5891"/>
                  <a:pt x="18655" y="6873"/>
                  <a:pt x="18655" y="6873"/>
                </a:cubicBezTo>
                <a:close/>
                <a:moveTo>
                  <a:pt x="18655" y="15709"/>
                </a:moveTo>
                <a:lnTo>
                  <a:pt x="19636" y="15709"/>
                </a:lnTo>
                <a:lnTo>
                  <a:pt x="19636" y="14727"/>
                </a:lnTo>
                <a:lnTo>
                  <a:pt x="18655" y="14727"/>
                </a:lnTo>
                <a:cubicBezTo>
                  <a:pt x="18655" y="14727"/>
                  <a:pt x="18655" y="15709"/>
                  <a:pt x="18655" y="15709"/>
                </a:cubicBezTo>
                <a:close/>
                <a:moveTo>
                  <a:pt x="19636" y="1964"/>
                </a:moveTo>
                <a:lnTo>
                  <a:pt x="18655" y="1964"/>
                </a:lnTo>
                <a:lnTo>
                  <a:pt x="18655" y="2945"/>
                </a:lnTo>
                <a:lnTo>
                  <a:pt x="19636" y="2945"/>
                </a:lnTo>
                <a:cubicBezTo>
                  <a:pt x="19636" y="2945"/>
                  <a:pt x="19636" y="1964"/>
                  <a:pt x="19636" y="1964"/>
                </a:cubicBezTo>
                <a:close/>
                <a:moveTo>
                  <a:pt x="18655" y="4909"/>
                </a:moveTo>
                <a:lnTo>
                  <a:pt x="19636" y="4909"/>
                </a:lnTo>
                <a:lnTo>
                  <a:pt x="19636" y="3927"/>
                </a:lnTo>
                <a:lnTo>
                  <a:pt x="18655" y="3927"/>
                </a:lnTo>
                <a:cubicBezTo>
                  <a:pt x="18655" y="3927"/>
                  <a:pt x="18655" y="4909"/>
                  <a:pt x="18655" y="4909"/>
                </a:cubicBezTo>
                <a:close/>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7" y="10800"/>
                  <a:pt x="4909" y="12558"/>
                  <a:pt x="4909" y="14727"/>
                </a:cubicBezTo>
                <a:cubicBezTo>
                  <a:pt x="4909" y="16897"/>
                  <a:pt x="6667" y="18655"/>
                  <a:pt x="8836" y="18655"/>
                </a:cubicBezTo>
                <a:cubicBezTo>
                  <a:pt x="11006" y="18655"/>
                  <a:pt x="12764" y="16897"/>
                  <a:pt x="12764" y="14727"/>
                </a:cubicBezTo>
                <a:cubicBezTo>
                  <a:pt x="12764" y="12558"/>
                  <a:pt x="11006" y="10800"/>
                  <a:pt x="8836" y="10800"/>
                </a:cubicBezTo>
                <a:moveTo>
                  <a:pt x="8836" y="15709"/>
                </a:moveTo>
                <a:cubicBezTo>
                  <a:pt x="8294" y="15709"/>
                  <a:pt x="7855" y="15269"/>
                  <a:pt x="7855" y="14727"/>
                </a:cubicBezTo>
                <a:cubicBezTo>
                  <a:pt x="7855" y="14185"/>
                  <a:pt x="8294" y="13745"/>
                  <a:pt x="8836" y="13745"/>
                </a:cubicBezTo>
                <a:cubicBezTo>
                  <a:pt x="9378" y="13745"/>
                  <a:pt x="9818" y="14185"/>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4727" y="10800"/>
                </a:moveTo>
                <a:cubicBezTo>
                  <a:pt x="14185" y="10800"/>
                  <a:pt x="13745" y="11240"/>
                  <a:pt x="13745" y="11782"/>
                </a:cubicBezTo>
                <a:cubicBezTo>
                  <a:pt x="13745" y="12324"/>
                  <a:pt x="14185" y="12764"/>
                  <a:pt x="14727" y="12764"/>
                </a:cubicBezTo>
                <a:cubicBezTo>
                  <a:pt x="15269" y="12764"/>
                  <a:pt x="15709" y="12324"/>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8" name="Shape 2658"/>
          <p:cNvSpPr/>
          <p:nvPr/>
        </p:nvSpPr>
        <p:spPr>
          <a:xfrm>
            <a:off x="1060590"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3745"/>
                </a:moveTo>
                <a:cubicBezTo>
                  <a:pt x="16420" y="13745"/>
                  <a:pt x="16200" y="13966"/>
                  <a:pt x="16200" y="14236"/>
                </a:cubicBezTo>
                <a:cubicBezTo>
                  <a:pt x="16200" y="14508"/>
                  <a:pt x="16420" y="14727"/>
                  <a:pt x="16691" y="14727"/>
                </a:cubicBezTo>
                <a:cubicBezTo>
                  <a:pt x="16962" y="14727"/>
                  <a:pt x="17182" y="14508"/>
                  <a:pt x="17182" y="14236"/>
                </a:cubicBezTo>
                <a:cubicBezTo>
                  <a:pt x="17182" y="13966"/>
                  <a:pt x="16962" y="13745"/>
                  <a:pt x="16691" y="13745"/>
                </a:cubicBezTo>
                <a:moveTo>
                  <a:pt x="16691" y="10800"/>
                </a:moveTo>
                <a:cubicBezTo>
                  <a:pt x="16149" y="10800"/>
                  <a:pt x="15709" y="11240"/>
                  <a:pt x="15709" y="11782"/>
                </a:cubicBezTo>
                <a:cubicBezTo>
                  <a:pt x="15709" y="12325"/>
                  <a:pt x="16149" y="12764"/>
                  <a:pt x="16691" y="12764"/>
                </a:cubicBezTo>
                <a:cubicBezTo>
                  <a:pt x="17233" y="12764"/>
                  <a:pt x="17673" y="12325"/>
                  <a:pt x="17673" y="11782"/>
                </a:cubicBezTo>
                <a:cubicBezTo>
                  <a:pt x="17673" y="11240"/>
                  <a:pt x="17233" y="10800"/>
                  <a:pt x="16691" y="10800"/>
                </a:cubicBezTo>
                <a:moveTo>
                  <a:pt x="14236" y="5891"/>
                </a:moveTo>
                <a:lnTo>
                  <a:pt x="17960" y="5891"/>
                </a:lnTo>
                <a:lnTo>
                  <a:pt x="16835" y="7017"/>
                </a:lnTo>
                <a:cubicBezTo>
                  <a:pt x="16746" y="7106"/>
                  <a:pt x="16691" y="7229"/>
                  <a:pt x="16691" y="7364"/>
                </a:cubicBezTo>
                <a:cubicBezTo>
                  <a:pt x="16691" y="7635"/>
                  <a:pt x="16911" y="7855"/>
                  <a:pt x="17182" y="7855"/>
                </a:cubicBezTo>
                <a:cubicBezTo>
                  <a:pt x="17317" y="7855"/>
                  <a:pt x="17440" y="7800"/>
                  <a:pt x="17529" y="7711"/>
                </a:cubicBezTo>
                <a:lnTo>
                  <a:pt x="19493" y="5748"/>
                </a:lnTo>
                <a:cubicBezTo>
                  <a:pt x="19581" y="5658"/>
                  <a:pt x="19636" y="5536"/>
                  <a:pt x="19636" y="5400"/>
                </a:cubicBezTo>
                <a:cubicBezTo>
                  <a:pt x="19636" y="5265"/>
                  <a:pt x="19581" y="5142"/>
                  <a:pt x="19493" y="5053"/>
                </a:cubicBezTo>
                <a:lnTo>
                  <a:pt x="17529" y="3089"/>
                </a:lnTo>
                <a:cubicBezTo>
                  <a:pt x="17440" y="3001"/>
                  <a:pt x="17317" y="2945"/>
                  <a:pt x="17182" y="2945"/>
                </a:cubicBezTo>
                <a:cubicBezTo>
                  <a:pt x="16911" y="2945"/>
                  <a:pt x="16691" y="3166"/>
                  <a:pt x="16691" y="3436"/>
                </a:cubicBezTo>
                <a:cubicBezTo>
                  <a:pt x="16691" y="3572"/>
                  <a:pt x="16746" y="3695"/>
                  <a:pt x="16835" y="3784"/>
                </a:cubicBezTo>
                <a:lnTo>
                  <a:pt x="17960" y="4909"/>
                </a:lnTo>
                <a:lnTo>
                  <a:pt x="14236" y="4909"/>
                </a:lnTo>
                <a:cubicBezTo>
                  <a:pt x="13966" y="4909"/>
                  <a:pt x="13745" y="5129"/>
                  <a:pt x="13745" y="5400"/>
                </a:cubicBezTo>
                <a:cubicBezTo>
                  <a:pt x="13745" y="5672"/>
                  <a:pt x="13966" y="5891"/>
                  <a:pt x="14236" y="5891"/>
                </a:cubicBezTo>
                <a:moveTo>
                  <a:pt x="10800" y="15709"/>
                </a:moveTo>
                <a:cubicBezTo>
                  <a:pt x="10258" y="15709"/>
                  <a:pt x="9818" y="15269"/>
                  <a:pt x="9818" y="14727"/>
                </a:cubicBezTo>
                <a:cubicBezTo>
                  <a:pt x="9818" y="14186"/>
                  <a:pt x="10258" y="13745"/>
                  <a:pt x="10800" y="13745"/>
                </a:cubicBezTo>
                <a:cubicBezTo>
                  <a:pt x="11342" y="13745"/>
                  <a:pt x="11782" y="14186"/>
                  <a:pt x="11782" y="14727"/>
                </a:cubicBezTo>
                <a:cubicBezTo>
                  <a:pt x="11782" y="15269"/>
                  <a:pt x="11342" y="15709"/>
                  <a:pt x="10800" y="15709"/>
                </a:cubicBezTo>
                <a:moveTo>
                  <a:pt x="10800" y="12764"/>
                </a:moveTo>
                <a:cubicBezTo>
                  <a:pt x="9716" y="12764"/>
                  <a:pt x="8836" y="13643"/>
                  <a:pt x="8836" y="14727"/>
                </a:cubicBezTo>
                <a:cubicBezTo>
                  <a:pt x="8836" y="15812"/>
                  <a:pt x="9716" y="16691"/>
                  <a:pt x="10800" y="16691"/>
                </a:cubicBezTo>
                <a:cubicBezTo>
                  <a:pt x="11884" y="16691"/>
                  <a:pt x="12764" y="15812"/>
                  <a:pt x="12764" y="14727"/>
                </a:cubicBezTo>
                <a:cubicBezTo>
                  <a:pt x="12764" y="13643"/>
                  <a:pt x="11884" y="12764"/>
                  <a:pt x="10800" y="12764"/>
                </a:cubicBezTo>
                <a:moveTo>
                  <a:pt x="4071" y="7711"/>
                </a:moveTo>
                <a:cubicBezTo>
                  <a:pt x="4160" y="7800"/>
                  <a:pt x="4283" y="7855"/>
                  <a:pt x="4418" y="7855"/>
                </a:cubicBezTo>
                <a:cubicBezTo>
                  <a:pt x="4689" y="7855"/>
                  <a:pt x="4909" y="7635"/>
                  <a:pt x="4909" y="7364"/>
                </a:cubicBezTo>
                <a:cubicBezTo>
                  <a:pt x="4909" y="7229"/>
                  <a:pt x="4854" y="7106"/>
                  <a:pt x="4765" y="7017"/>
                </a:cubicBezTo>
                <a:lnTo>
                  <a:pt x="3640" y="5891"/>
                </a:lnTo>
                <a:lnTo>
                  <a:pt x="7364" y="5891"/>
                </a:lnTo>
                <a:cubicBezTo>
                  <a:pt x="7634" y="5891"/>
                  <a:pt x="7855" y="5672"/>
                  <a:pt x="7855" y="5400"/>
                </a:cubicBezTo>
                <a:cubicBezTo>
                  <a:pt x="7855" y="5129"/>
                  <a:pt x="7634" y="4909"/>
                  <a:pt x="7364" y="4909"/>
                </a:cubicBezTo>
                <a:lnTo>
                  <a:pt x="3640" y="4909"/>
                </a:lnTo>
                <a:lnTo>
                  <a:pt x="4765" y="3784"/>
                </a:lnTo>
                <a:cubicBezTo>
                  <a:pt x="4854" y="3695"/>
                  <a:pt x="4909" y="3572"/>
                  <a:pt x="4909" y="3436"/>
                </a:cubicBezTo>
                <a:cubicBezTo>
                  <a:pt x="4909" y="3166"/>
                  <a:pt x="4689" y="2945"/>
                  <a:pt x="4418" y="2945"/>
                </a:cubicBezTo>
                <a:cubicBezTo>
                  <a:pt x="4283" y="2945"/>
                  <a:pt x="4160" y="3001"/>
                  <a:pt x="4071" y="3089"/>
                </a:cubicBezTo>
                <a:lnTo>
                  <a:pt x="2107" y="5053"/>
                </a:lnTo>
                <a:cubicBezTo>
                  <a:pt x="2019" y="5142"/>
                  <a:pt x="1964" y="5265"/>
                  <a:pt x="1964" y="5400"/>
                </a:cubicBezTo>
                <a:cubicBezTo>
                  <a:pt x="1964" y="5536"/>
                  <a:pt x="2019" y="5658"/>
                  <a:pt x="2107" y="5748"/>
                </a:cubicBezTo>
                <a:cubicBezTo>
                  <a:pt x="2107" y="5748"/>
                  <a:pt x="4071" y="7711"/>
                  <a:pt x="4071" y="7711"/>
                </a:cubicBezTo>
                <a:close/>
                <a:moveTo>
                  <a:pt x="20618" y="15709"/>
                </a:moveTo>
                <a:lnTo>
                  <a:pt x="19636" y="15709"/>
                </a:lnTo>
                <a:lnTo>
                  <a:pt x="19636" y="10800"/>
                </a:lnTo>
                <a:cubicBezTo>
                  <a:pt x="19636" y="9716"/>
                  <a:pt x="18757" y="8836"/>
                  <a:pt x="17673" y="8836"/>
                </a:cubicBezTo>
                <a:lnTo>
                  <a:pt x="15709" y="8836"/>
                </a:lnTo>
                <a:cubicBezTo>
                  <a:pt x="14236" y="8836"/>
                  <a:pt x="14236" y="6873"/>
                  <a:pt x="12273" y="6873"/>
                </a:cubicBezTo>
                <a:lnTo>
                  <a:pt x="9327" y="6873"/>
                </a:lnTo>
                <a:cubicBezTo>
                  <a:pt x="7364" y="6873"/>
                  <a:pt x="7364" y="8836"/>
                  <a:pt x="5891" y="8836"/>
                </a:cubicBezTo>
                <a:lnTo>
                  <a:pt x="3927" y="8836"/>
                </a:lnTo>
                <a:cubicBezTo>
                  <a:pt x="2843" y="8836"/>
                  <a:pt x="1964" y="9716"/>
                  <a:pt x="1964" y="10800"/>
                </a:cubicBezTo>
                <a:lnTo>
                  <a:pt x="1964" y="15709"/>
                </a:lnTo>
                <a:lnTo>
                  <a:pt x="982" y="15709"/>
                </a:lnTo>
                <a:lnTo>
                  <a:pt x="982" y="982"/>
                </a:lnTo>
                <a:lnTo>
                  <a:pt x="20618" y="982"/>
                </a:lnTo>
                <a:cubicBezTo>
                  <a:pt x="20618" y="982"/>
                  <a:pt x="20618" y="15709"/>
                  <a:pt x="20618" y="15709"/>
                </a:cubicBezTo>
                <a:close/>
                <a:moveTo>
                  <a:pt x="18655" y="19636"/>
                </a:moveTo>
                <a:cubicBezTo>
                  <a:pt x="18655" y="20178"/>
                  <a:pt x="18215" y="20618"/>
                  <a:pt x="17673" y="20618"/>
                </a:cubicBezTo>
                <a:lnTo>
                  <a:pt x="3927" y="20618"/>
                </a:lnTo>
                <a:cubicBezTo>
                  <a:pt x="3385" y="20618"/>
                  <a:pt x="2945" y="20178"/>
                  <a:pt x="2945" y="19636"/>
                </a:cubicBezTo>
                <a:lnTo>
                  <a:pt x="2945" y="10800"/>
                </a:lnTo>
                <a:cubicBezTo>
                  <a:pt x="2945" y="10258"/>
                  <a:pt x="3385" y="9818"/>
                  <a:pt x="3927" y="9818"/>
                </a:cubicBezTo>
                <a:lnTo>
                  <a:pt x="5891" y="9818"/>
                </a:lnTo>
                <a:cubicBezTo>
                  <a:pt x="7855" y="9818"/>
                  <a:pt x="7855" y="7855"/>
                  <a:pt x="9327" y="7855"/>
                </a:cubicBezTo>
                <a:lnTo>
                  <a:pt x="10800" y="7855"/>
                </a:lnTo>
                <a:lnTo>
                  <a:pt x="12273" y="7855"/>
                </a:lnTo>
                <a:cubicBezTo>
                  <a:pt x="13745" y="7855"/>
                  <a:pt x="13745" y="9818"/>
                  <a:pt x="15709" y="9818"/>
                </a:cubicBezTo>
                <a:lnTo>
                  <a:pt x="17673" y="9818"/>
                </a:lnTo>
                <a:cubicBezTo>
                  <a:pt x="18215" y="9818"/>
                  <a:pt x="18655" y="10258"/>
                  <a:pt x="18655" y="10800"/>
                </a:cubicBezTo>
                <a:cubicBezTo>
                  <a:pt x="18655" y="10800"/>
                  <a:pt x="18655" y="19636"/>
                  <a:pt x="18655" y="19636"/>
                </a:cubicBezTo>
                <a:close/>
                <a:moveTo>
                  <a:pt x="20618" y="0"/>
                </a:moveTo>
                <a:lnTo>
                  <a:pt x="982" y="0"/>
                </a:lnTo>
                <a:cubicBezTo>
                  <a:pt x="440" y="0"/>
                  <a:pt x="0" y="440"/>
                  <a:pt x="0" y="982"/>
                </a:cubicBezTo>
                <a:lnTo>
                  <a:pt x="0" y="15709"/>
                </a:lnTo>
                <a:cubicBezTo>
                  <a:pt x="0" y="16252"/>
                  <a:pt x="440" y="16691"/>
                  <a:pt x="982" y="16691"/>
                </a:cubicBezTo>
                <a:lnTo>
                  <a:pt x="1964" y="16691"/>
                </a:lnTo>
                <a:lnTo>
                  <a:pt x="1964" y="19636"/>
                </a:lnTo>
                <a:cubicBezTo>
                  <a:pt x="1964" y="20721"/>
                  <a:pt x="2843" y="21600"/>
                  <a:pt x="3927" y="21600"/>
                </a:cubicBezTo>
                <a:lnTo>
                  <a:pt x="17673" y="21600"/>
                </a:lnTo>
                <a:cubicBezTo>
                  <a:pt x="18757" y="21600"/>
                  <a:pt x="19636" y="20721"/>
                  <a:pt x="19636" y="19636"/>
                </a:cubicBezTo>
                <a:lnTo>
                  <a:pt x="19636" y="16691"/>
                </a:lnTo>
                <a:lnTo>
                  <a:pt x="20618" y="16691"/>
                </a:lnTo>
                <a:cubicBezTo>
                  <a:pt x="21160" y="16691"/>
                  <a:pt x="21600" y="16252"/>
                  <a:pt x="21600" y="15709"/>
                </a:cubicBezTo>
                <a:lnTo>
                  <a:pt x="21600" y="982"/>
                </a:lnTo>
                <a:cubicBezTo>
                  <a:pt x="21600" y="440"/>
                  <a:pt x="21160" y="0"/>
                  <a:pt x="20618" y="0"/>
                </a:cubicBezTo>
                <a:moveTo>
                  <a:pt x="10800" y="17673"/>
                </a:moveTo>
                <a:cubicBezTo>
                  <a:pt x="9173" y="17673"/>
                  <a:pt x="7855" y="16354"/>
                  <a:pt x="7855" y="14727"/>
                </a:cubicBezTo>
                <a:cubicBezTo>
                  <a:pt x="7855" y="13101"/>
                  <a:pt x="9173" y="11782"/>
                  <a:pt x="10800" y="11782"/>
                </a:cubicBezTo>
                <a:cubicBezTo>
                  <a:pt x="12427" y="11782"/>
                  <a:pt x="13745" y="13101"/>
                  <a:pt x="13745" y="14727"/>
                </a:cubicBezTo>
                <a:cubicBezTo>
                  <a:pt x="13745" y="16354"/>
                  <a:pt x="12427" y="17673"/>
                  <a:pt x="10800" y="17673"/>
                </a:cubicBezTo>
                <a:moveTo>
                  <a:pt x="10800" y="10800"/>
                </a:moveTo>
                <a:cubicBezTo>
                  <a:pt x="8631" y="10800"/>
                  <a:pt x="6873" y="12558"/>
                  <a:pt x="6873" y="14727"/>
                </a:cubicBezTo>
                <a:cubicBezTo>
                  <a:pt x="6873" y="16897"/>
                  <a:pt x="8631" y="18655"/>
                  <a:pt x="10800" y="18655"/>
                </a:cubicBezTo>
                <a:cubicBezTo>
                  <a:pt x="12969" y="18655"/>
                  <a:pt x="14727" y="16897"/>
                  <a:pt x="14727" y="14727"/>
                </a:cubicBezTo>
                <a:cubicBezTo>
                  <a:pt x="14727" y="12558"/>
                  <a:pt x="12969" y="10800"/>
                  <a:pt x="108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59" name="Shape 2659"/>
          <p:cNvSpPr/>
          <p:nvPr/>
        </p:nvSpPr>
        <p:spPr>
          <a:xfrm>
            <a:off x="1460536"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7855"/>
                </a:moveTo>
                <a:cubicBezTo>
                  <a:pt x="16052" y="7855"/>
                  <a:pt x="16376" y="7925"/>
                  <a:pt x="16682" y="8033"/>
                </a:cubicBezTo>
                <a:cubicBezTo>
                  <a:pt x="16684" y="7973"/>
                  <a:pt x="16691" y="7915"/>
                  <a:pt x="16691" y="7855"/>
                </a:cubicBezTo>
                <a:cubicBezTo>
                  <a:pt x="16691" y="5686"/>
                  <a:pt x="14932" y="3927"/>
                  <a:pt x="12764" y="3927"/>
                </a:cubicBezTo>
                <a:cubicBezTo>
                  <a:pt x="11311" y="3927"/>
                  <a:pt x="10045" y="4718"/>
                  <a:pt x="9366" y="5891"/>
                </a:cubicBezTo>
                <a:lnTo>
                  <a:pt x="10309" y="5891"/>
                </a:lnTo>
                <a:cubicBezTo>
                  <a:pt x="10401" y="5891"/>
                  <a:pt x="10481" y="5904"/>
                  <a:pt x="10567" y="5910"/>
                </a:cubicBezTo>
                <a:cubicBezTo>
                  <a:pt x="11107" y="5301"/>
                  <a:pt x="11886" y="4909"/>
                  <a:pt x="12764" y="4909"/>
                </a:cubicBezTo>
                <a:cubicBezTo>
                  <a:pt x="14390" y="4909"/>
                  <a:pt x="15709" y="6228"/>
                  <a:pt x="15709" y="7855"/>
                </a:cubicBezTo>
                <a:moveTo>
                  <a:pt x="11716" y="6199"/>
                </a:moveTo>
                <a:cubicBezTo>
                  <a:pt x="12102" y="6387"/>
                  <a:pt x="12403" y="6637"/>
                  <a:pt x="12649" y="6884"/>
                </a:cubicBezTo>
                <a:cubicBezTo>
                  <a:pt x="12687" y="6880"/>
                  <a:pt x="12724" y="6873"/>
                  <a:pt x="12764" y="6873"/>
                </a:cubicBezTo>
                <a:cubicBezTo>
                  <a:pt x="13306" y="6873"/>
                  <a:pt x="13745" y="7313"/>
                  <a:pt x="13745" y="7855"/>
                </a:cubicBezTo>
                <a:lnTo>
                  <a:pt x="14727" y="7855"/>
                </a:lnTo>
                <a:cubicBezTo>
                  <a:pt x="14727" y="6770"/>
                  <a:pt x="13848" y="5891"/>
                  <a:pt x="12764" y="5891"/>
                </a:cubicBezTo>
                <a:cubicBezTo>
                  <a:pt x="12377" y="5891"/>
                  <a:pt x="12020" y="6006"/>
                  <a:pt x="11716" y="6199"/>
                </a:cubicBezTo>
                <a:moveTo>
                  <a:pt x="19636" y="1964"/>
                </a:moveTo>
                <a:lnTo>
                  <a:pt x="17673" y="1964"/>
                </a:lnTo>
                <a:cubicBezTo>
                  <a:pt x="16200" y="1964"/>
                  <a:pt x="16200" y="0"/>
                  <a:pt x="14236" y="0"/>
                </a:cubicBezTo>
                <a:lnTo>
                  <a:pt x="11291" y="0"/>
                </a:lnTo>
                <a:cubicBezTo>
                  <a:pt x="9327" y="0"/>
                  <a:pt x="9327" y="1964"/>
                  <a:pt x="7855" y="1964"/>
                </a:cubicBezTo>
                <a:lnTo>
                  <a:pt x="5891" y="1964"/>
                </a:lnTo>
                <a:cubicBezTo>
                  <a:pt x="4806" y="1964"/>
                  <a:pt x="3927" y="2843"/>
                  <a:pt x="3927" y="3927"/>
                </a:cubicBezTo>
                <a:lnTo>
                  <a:pt x="3927" y="7855"/>
                </a:lnTo>
                <a:cubicBezTo>
                  <a:pt x="4125" y="7855"/>
                  <a:pt x="4236" y="7769"/>
                  <a:pt x="4627" y="7318"/>
                </a:cubicBezTo>
                <a:cubicBezTo>
                  <a:pt x="4712" y="7220"/>
                  <a:pt x="4807" y="7113"/>
                  <a:pt x="4909" y="7005"/>
                </a:cubicBezTo>
                <a:lnTo>
                  <a:pt x="4909" y="3927"/>
                </a:lnTo>
                <a:cubicBezTo>
                  <a:pt x="4909" y="3386"/>
                  <a:pt x="5349" y="2945"/>
                  <a:pt x="5891" y="2945"/>
                </a:cubicBezTo>
                <a:lnTo>
                  <a:pt x="7855" y="2945"/>
                </a:lnTo>
                <a:cubicBezTo>
                  <a:pt x="9818" y="2945"/>
                  <a:pt x="9818" y="982"/>
                  <a:pt x="11291" y="982"/>
                </a:cubicBezTo>
                <a:lnTo>
                  <a:pt x="12764" y="982"/>
                </a:lnTo>
                <a:lnTo>
                  <a:pt x="14236" y="982"/>
                </a:lnTo>
                <a:cubicBezTo>
                  <a:pt x="15709" y="982"/>
                  <a:pt x="15709" y="2945"/>
                  <a:pt x="17673" y="2945"/>
                </a:cubicBezTo>
                <a:lnTo>
                  <a:pt x="19636" y="2945"/>
                </a:lnTo>
                <a:cubicBezTo>
                  <a:pt x="20178" y="2945"/>
                  <a:pt x="20618" y="3386"/>
                  <a:pt x="20618" y="3927"/>
                </a:cubicBezTo>
                <a:lnTo>
                  <a:pt x="20618" y="12764"/>
                </a:lnTo>
                <a:cubicBezTo>
                  <a:pt x="20618" y="13306"/>
                  <a:pt x="20178" y="13745"/>
                  <a:pt x="19636" y="13745"/>
                </a:cubicBezTo>
                <a:lnTo>
                  <a:pt x="18655" y="13745"/>
                </a:lnTo>
                <a:lnTo>
                  <a:pt x="18655" y="14727"/>
                </a:lnTo>
                <a:lnTo>
                  <a:pt x="19636" y="14727"/>
                </a:lnTo>
                <a:cubicBezTo>
                  <a:pt x="20721" y="14727"/>
                  <a:pt x="21600" y="13849"/>
                  <a:pt x="21600" y="12764"/>
                </a:cubicBezTo>
                <a:lnTo>
                  <a:pt x="21600" y="3927"/>
                </a:lnTo>
                <a:cubicBezTo>
                  <a:pt x="21600" y="2843"/>
                  <a:pt x="20721" y="1964"/>
                  <a:pt x="19636" y="1964"/>
                </a:cubicBezTo>
                <a:moveTo>
                  <a:pt x="16691" y="19636"/>
                </a:moveTo>
                <a:cubicBezTo>
                  <a:pt x="16691" y="20178"/>
                  <a:pt x="16251" y="20618"/>
                  <a:pt x="15709" y="20618"/>
                </a:cubicBezTo>
                <a:lnTo>
                  <a:pt x="1964" y="20618"/>
                </a:lnTo>
                <a:cubicBezTo>
                  <a:pt x="1422" y="20618"/>
                  <a:pt x="982" y="20178"/>
                  <a:pt x="982" y="19636"/>
                </a:cubicBezTo>
                <a:lnTo>
                  <a:pt x="982" y="10800"/>
                </a:lnTo>
                <a:cubicBezTo>
                  <a:pt x="982" y="10258"/>
                  <a:pt x="1422" y="9818"/>
                  <a:pt x="1964" y="9818"/>
                </a:cubicBezTo>
                <a:lnTo>
                  <a:pt x="3927" y="9818"/>
                </a:lnTo>
                <a:cubicBezTo>
                  <a:pt x="5891" y="9818"/>
                  <a:pt x="5891" y="7855"/>
                  <a:pt x="7364" y="7855"/>
                </a:cubicBezTo>
                <a:lnTo>
                  <a:pt x="8836" y="7855"/>
                </a:lnTo>
                <a:lnTo>
                  <a:pt x="10309" y="7855"/>
                </a:lnTo>
                <a:cubicBezTo>
                  <a:pt x="11782" y="7855"/>
                  <a:pt x="11782" y="9818"/>
                  <a:pt x="13745" y="9818"/>
                </a:cubicBezTo>
                <a:lnTo>
                  <a:pt x="15709" y="9818"/>
                </a:lnTo>
                <a:cubicBezTo>
                  <a:pt x="16251" y="9818"/>
                  <a:pt x="16691" y="10258"/>
                  <a:pt x="16691" y="10800"/>
                </a:cubicBezTo>
                <a:cubicBezTo>
                  <a:pt x="16691" y="10800"/>
                  <a:pt x="16691" y="19636"/>
                  <a:pt x="16691" y="19636"/>
                </a:cubicBezTo>
                <a:close/>
                <a:moveTo>
                  <a:pt x="15709" y="8836"/>
                </a:moveTo>
                <a:lnTo>
                  <a:pt x="13745" y="8836"/>
                </a:lnTo>
                <a:cubicBezTo>
                  <a:pt x="12273" y="8836"/>
                  <a:pt x="12273" y="6873"/>
                  <a:pt x="10309" y="6873"/>
                </a:cubicBezTo>
                <a:lnTo>
                  <a:pt x="7364" y="6873"/>
                </a:lnTo>
                <a:cubicBezTo>
                  <a:pt x="5400" y="6873"/>
                  <a:pt x="5400" y="8836"/>
                  <a:pt x="3927" y="8836"/>
                </a:cubicBezTo>
                <a:lnTo>
                  <a:pt x="1964" y="8836"/>
                </a:lnTo>
                <a:cubicBezTo>
                  <a:pt x="879" y="8836"/>
                  <a:pt x="0" y="9716"/>
                  <a:pt x="0" y="10800"/>
                </a:cubicBezTo>
                <a:lnTo>
                  <a:pt x="0" y="19636"/>
                </a:lnTo>
                <a:cubicBezTo>
                  <a:pt x="0" y="20721"/>
                  <a:pt x="879" y="21600"/>
                  <a:pt x="1964" y="21600"/>
                </a:cubicBezTo>
                <a:lnTo>
                  <a:pt x="15709" y="21600"/>
                </a:lnTo>
                <a:cubicBezTo>
                  <a:pt x="16794" y="21600"/>
                  <a:pt x="17673" y="20721"/>
                  <a:pt x="17673" y="19636"/>
                </a:cubicBezTo>
                <a:lnTo>
                  <a:pt x="17673" y="10800"/>
                </a:lnTo>
                <a:cubicBezTo>
                  <a:pt x="17673" y="9716"/>
                  <a:pt x="16794" y="8836"/>
                  <a:pt x="15709" y="8836"/>
                </a:cubicBezTo>
                <a:moveTo>
                  <a:pt x="19636" y="4909"/>
                </a:moveTo>
                <a:cubicBezTo>
                  <a:pt x="19636" y="4367"/>
                  <a:pt x="19197" y="3927"/>
                  <a:pt x="18655" y="3927"/>
                </a:cubicBezTo>
                <a:cubicBezTo>
                  <a:pt x="18113" y="3927"/>
                  <a:pt x="17673" y="4367"/>
                  <a:pt x="17673" y="4909"/>
                </a:cubicBezTo>
                <a:cubicBezTo>
                  <a:pt x="17673" y="5451"/>
                  <a:pt x="18113" y="5891"/>
                  <a:pt x="18655" y="5891"/>
                </a:cubicBezTo>
                <a:cubicBezTo>
                  <a:pt x="19197" y="5891"/>
                  <a:pt x="19636" y="5451"/>
                  <a:pt x="19636" y="4909"/>
                </a:cubicBezTo>
                <a:moveTo>
                  <a:pt x="19145" y="7364"/>
                </a:moveTo>
                <a:cubicBezTo>
                  <a:pt x="19145" y="7093"/>
                  <a:pt x="18925" y="6873"/>
                  <a:pt x="18655" y="6873"/>
                </a:cubicBezTo>
                <a:cubicBezTo>
                  <a:pt x="18384" y="6873"/>
                  <a:pt x="18164" y="7093"/>
                  <a:pt x="18164" y="7364"/>
                </a:cubicBezTo>
                <a:cubicBezTo>
                  <a:pt x="18164" y="7635"/>
                  <a:pt x="18384" y="7855"/>
                  <a:pt x="18655" y="7855"/>
                </a:cubicBezTo>
                <a:cubicBezTo>
                  <a:pt x="18925" y="7855"/>
                  <a:pt x="19145" y="7635"/>
                  <a:pt x="19145" y="7364"/>
                </a:cubicBezTo>
                <a:moveTo>
                  <a:pt x="8836" y="15709"/>
                </a:moveTo>
                <a:cubicBezTo>
                  <a:pt x="8294" y="15709"/>
                  <a:pt x="7855" y="15269"/>
                  <a:pt x="7855" y="14727"/>
                </a:cubicBezTo>
                <a:cubicBezTo>
                  <a:pt x="7855" y="14186"/>
                  <a:pt x="8294" y="13745"/>
                  <a:pt x="8836" y="13745"/>
                </a:cubicBezTo>
                <a:cubicBezTo>
                  <a:pt x="9378" y="13745"/>
                  <a:pt x="9818" y="14186"/>
                  <a:pt x="9818" y="14727"/>
                </a:cubicBezTo>
                <a:cubicBezTo>
                  <a:pt x="9818" y="15269"/>
                  <a:pt x="9378" y="15709"/>
                  <a:pt x="8836" y="15709"/>
                </a:cubicBezTo>
                <a:moveTo>
                  <a:pt x="8836" y="12764"/>
                </a:moveTo>
                <a:cubicBezTo>
                  <a:pt x="7752" y="12764"/>
                  <a:pt x="6873" y="13643"/>
                  <a:pt x="6873" y="14727"/>
                </a:cubicBezTo>
                <a:cubicBezTo>
                  <a:pt x="6873" y="15812"/>
                  <a:pt x="7752" y="16691"/>
                  <a:pt x="8836" y="16691"/>
                </a:cubicBezTo>
                <a:cubicBezTo>
                  <a:pt x="9921" y="16691"/>
                  <a:pt x="10800" y="15812"/>
                  <a:pt x="10800" y="14727"/>
                </a:cubicBezTo>
                <a:cubicBezTo>
                  <a:pt x="10800" y="13643"/>
                  <a:pt x="9921" y="12764"/>
                  <a:pt x="8836" y="12764"/>
                </a:cubicBezTo>
                <a:moveTo>
                  <a:pt x="14727" y="10800"/>
                </a:moveTo>
                <a:cubicBezTo>
                  <a:pt x="14185" y="10800"/>
                  <a:pt x="13745" y="11240"/>
                  <a:pt x="13745" y="11782"/>
                </a:cubicBezTo>
                <a:cubicBezTo>
                  <a:pt x="13745" y="12325"/>
                  <a:pt x="14185" y="12764"/>
                  <a:pt x="14727" y="12764"/>
                </a:cubicBezTo>
                <a:cubicBezTo>
                  <a:pt x="15269" y="12764"/>
                  <a:pt x="15709" y="12325"/>
                  <a:pt x="15709" y="11782"/>
                </a:cubicBezTo>
                <a:cubicBezTo>
                  <a:pt x="15709" y="11240"/>
                  <a:pt x="15269" y="10800"/>
                  <a:pt x="14727" y="10800"/>
                </a:cubicBezTo>
                <a:moveTo>
                  <a:pt x="14727" y="13745"/>
                </a:moveTo>
                <a:cubicBezTo>
                  <a:pt x="14456" y="13745"/>
                  <a:pt x="14236" y="13966"/>
                  <a:pt x="14236" y="14236"/>
                </a:cubicBezTo>
                <a:cubicBezTo>
                  <a:pt x="14236" y="14508"/>
                  <a:pt x="14456" y="14727"/>
                  <a:pt x="14727" y="14727"/>
                </a:cubicBezTo>
                <a:cubicBezTo>
                  <a:pt x="14998" y="14727"/>
                  <a:pt x="15218" y="14508"/>
                  <a:pt x="15218" y="14236"/>
                </a:cubicBezTo>
                <a:cubicBezTo>
                  <a:pt x="15218" y="13966"/>
                  <a:pt x="14998" y="13745"/>
                  <a:pt x="14727" y="13745"/>
                </a:cubicBezTo>
                <a:moveTo>
                  <a:pt x="8836" y="17673"/>
                </a:moveTo>
                <a:cubicBezTo>
                  <a:pt x="7210" y="17673"/>
                  <a:pt x="5891" y="16354"/>
                  <a:pt x="5891" y="14727"/>
                </a:cubicBezTo>
                <a:cubicBezTo>
                  <a:pt x="5891" y="13101"/>
                  <a:pt x="7210" y="11782"/>
                  <a:pt x="8836" y="11782"/>
                </a:cubicBezTo>
                <a:cubicBezTo>
                  <a:pt x="10463" y="11782"/>
                  <a:pt x="11782" y="13101"/>
                  <a:pt x="11782" y="14727"/>
                </a:cubicBezTo>
                <a:cubicBezTo>
                  <a:pt x="11782" y="16354"/>
                  <a:pt x="10463" y="17673"/>
                  <a:pt x="8836" y="17673"/>
                </a:cubicBezTo>
                <a:moveTo>
                  <a:pt x="8836" y="10800"/>
                </a:moveTo>
                <a:cubicBezTo>
                  <a:pt x="6668" y="10800"/>
                  <a:pt x="4909" y="12558"/>
                  <a:pt x="4909" y="14727"/>
                </a:cubicBezTo>
                <a:cubicBezTo>
                  <a:pt x="4909" y="16897"/>
                  <a:pt x="6668" y="18655"/>
                  <a:pt x="8836" y="18655"/>
                </a:cubicBezTo>
                <a:cubicBezTo>
                  <a:pt x="11005" y="18655"/>
                  <a:pt x="12764" y="16897"/>
                  <a:pt x="12764" y="14727"/>
                </a:cubicBezTo>
                <a:cubicBezTo>
                  <a:pt x="12764" y="12558"/>
                  <a:pt x="11005" y="10800"/>
                  <a:pt x="8836"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0" name="Shape 2660"/>
          <p:cNvSpPr/>
          <p:nvPr/>
        </p:nvSpPr>
        <p:spPr>
          <a:xfrm>
            <a:off x="1860482"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3"/>
                  <a:pt x="13782" y="1233"/>
                </a:cubicBezTo>
                <a:lnTo>
                  <a:pt x="11088" y="3927"/>
                </a:lnTo>
                <a:lnTo>
                  <a:pt x="10513" y="3927"/>
                </a:lnTo>
                <a:lnTo>
                  <a:pt x="7818" y="1233"/>
                </a:lnTo>
                <a:cubicBezTo>
                  <a:pt x="7839" y="1153"/>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1"/>
                  <a:pt x="4147" y="21600"/>
                  <a:pt x="4418" y="21600"/>
                </a:cubicBezTo>
                <a:cubicBezTo>
                  <a:pt x="4689" y="21600"/>
                  <a:pt x="4909" y="21381"/>
                  <a:pt x="4909" y="21109"/>
                </a:cubicBezTo>
                <a:lnTo>
                  <a:pt x="4909" y="20618"/>
                </a:lnTo>
                <a:lnTo>
                  <a:pt x="16691" y="20618"/>
                </a:lnTo>
                <a:lnTo>
                  <a:pt x="16691" y="21109"/>
                </a:lnTo>
                <a:cubicBezTo>
                  <a:pt x="16691" y="21381"/>
                  <a:pt x="16911" y="21600"/>
                  <a:pt x="17182" y="21600"/>
                </a:cubicBezTo>
                <a:cubicBezTo>
                  <a:pt x="17453" y="21600"/>
                  <a:pt x="17673" y="21381"/>
                  <a:pt x="17673" y="21109"/>
                </a:cubicBezTo>
                <a:lnTo>
                  <a:pt x="17673" y="19637"/>
                </a:lnTo>
                <a:lnTo>
                  <a:pt x="19636" y="19637"/>
                </a:lnTo>
                <a:cubicBezTo>
                  <a:pt x="20721" y="19637"/>
                  <a:pt x="21600" y="18757"/>
                  <a:pt x="21600" y="17673"/>
                </a:cubicBezTo>
                <a:lnTo>
                  <a:pt x="21600" y="5891"/>
                </a:lnTo>
                <a:cubicBezTo>
                  <a:pt x="21600" y="4806"/>
                  <a:pt x="20721" y="3927"/>
                  <a:pt x="196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1" name="Shape 2661"/>
          <p:cNvSpPr/>
          <p:nvPr/>
        </p:nvSpPr>
        <p:spPr>
          <a:xfrm>
            <a:off x="2260427"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818" y="7855"/>
                </a:moveTo>
                <a:lnTo>
                  <a:pt x="7855" y="7855"/>
                </a:lnTo>
                <a:lnTo>
                  <a:pt x="7855" y="9818"/>
                </a:lnTo>
                <a:lnTo>
                  <a:pt x="9818" y="9818"/>
                </a:lnTo>
                <a:cubicBezTo>
                  <a:pt x="9818" y="9818"/>
                  <a:pt x="9818" y="7855"/>
                  <a:pt x="9818" y="7855"/>
                </a:cubicBezTo>
                <a:close/>
                <a:moveTo>
                  <a:pt x="5891" y="7855"/>
                </a:moveTo>
                <a:lnTo>
                  <a:pt x="3927" y="7855"/>
                </a:lnTo>
                <a:lnTo>
                  <a:pt x="3927" y="9818"/>
                </a:lnTo>
                <a:lnTo>
                  <a:pt x="5891" y="9818"/>
                </a:lnTo>
                <a:cubicBezTo>
                  <a:pt x="5891" y="9818"/>
                  <a:pt x="5891" y="7855"/>
                  <a:pt x="5891" y="7855"/>
                </a:cubicBezTo>
                <a:close/>
                <a:moveTo>
                  <a:pt x="13745" y="7855"/>
                </a:moveTo>
                <a:lnTo>
                  <a:pt x="11782" y="7855"/>
                </a:lnTo>
                <a:lnTo>
                  <a:pt x="11782" y="9818"/>
                </a:lnTo>
                <a:lnTo>
                  <a:pt x="13745" y="9818"/>
                </a:lnTo>
                <a:cubicBezTo>
                  <a:pt x="13745" y="9818"/>
                  <a:pt x="13745" y="7855"/>
                  <a:pt x="13745" y="7855"/>
                </a:cubicBezTo>
                <a:close/>
                <a:moveTo>
                  <a:pt x="7855" y="13745"/>
                </a:moveTo>
                <a:lnTo>
                  <a:pt x="9818" y="13745"/>
                </a:lnTo>
                <a:lnTo>
                  <a:pt x="9818" y="11782"/>
                </a:lnTo>
                <a:lnTo>
                  <a:pt x="7855" y="11782"/>
                </a:lnTo>
                <a:cubicBezTo>
                  <a:pt x="7855" y="11782"/>
                  <a:pt x="7855" y="13745"/>
                  <a:pt x="7855" y="13745"/>
                </a:cubicBezTo>
                <a:close/>
                <a:moveTo>
                  <a:pt x="13745" y="11782"/>
                </a:moveTo>
                <a:lnTo>
                  <a:pt x="15709" y="11782"/>
                </a:lnTo>
                <a:lnTo>
                  <a:pt x="15709" y="9818"/>
                </a:lnTo>
                <a:lnTo>
                  <a:pt x="13745" y="9818"/>
                </a:lnTo>
                <a:cubicBezTo>
                  <a:pt x="13745" y="9818"/>
                  <a:pt x="13745" y="11782"/>
                  <a:pt x="13745" y="11782"/>
                </a:cubicBezTo>
                <a:close/>
                <a:moveTo>
                  <a:pt x="5891" y="11782"/>
                </a:moveTo>
                <a:lnTo>
                  <a:pt x="3927" y="11782"/>
                </a:lnTo>
                <a:lnTo>
                  <a:pt x="3927" y="13745"/>
                </a:lnTo>
                <a:lnTo>
                  <a:pt x="5891" y="13745"/>
                </a:lnTo>
                <a:cubicBezTo>
                  <a:pt x="5891" y="13745"/>
                  <a:pt x="5891" y="11782"/>
                  <a:pt x="5891" y="11782"/>
                </a:cubicBezTo>
                <a:close/>
                <a:moveTo>
                  <a:pt x="11782" y="13745"/>
                </a:moveTo>
                <a:lnTo>
                  <a:pt x="13745" y="13745"/>
                </a:lnTo>
                <a:lnTo>
                  <a:pt x="13745" y="11782"/>
                </a:lnTo>
                <a:lnTo>
                  <a:pt x="11782" y="11782"/>
                </a:lnTo>
                <a:cubicBezTo>
                  <a:pt x="11782" y="11782"/>
                  <a:pt x="11782" y="13745"/>
                  <a:pt x="11782" y="13745"/>
                </a:cubicBezTo>
                <a:close/>
                <a:moveTo>
                  <a:pt x="13745" y="15709"/>
                </a:moveTo>
                <a:lnTo>
                  <a:pt x="15709" y="15709"/>
                </a:lnTo>
                <a:lnTo>
                  <a:pt x="15709" y="13745"/>
                </a:lnTo>
                <a:lnTo>
                  <a:pt x="13745" y="13745"/>
                </a:lnTo>
                <a:cubicBezTo>
                  <a:pt x="13745" y="13745"/>
                  <a:pt x="13745" y="15709"/>
                  <a:pt x="13745" y="15709"/>
                </a:cubicBezTo>
                <a:close/>
                <a:moveTo>
                  <a:pt x="17673" y="7855"/>
                </a:moveTo>
                <a:lnTo>
                  <a:pt x="19636" y="7855"/>
                </a:lnTo>
                <a:lnTo>
                  <a:pt x="19636" y="5891"/>
                </a:lnTo>
                <a:lnTo>
                  <a:pt x="17673" y="5891"/>
                </a:lnTo>
                <a:cubicBezTo>
                  <a:pt x="17673" y="5891"/>
                  <a:pt x="17673" y="7855"/>
                  <a:pt x="17673" y="7855"/>
                </a:cubicBezTo>
                <a:close/>
                <a:moveTo>
                  <a:pt x="15709" y="9818"/>
                </a:moveTo>
                <a:lnTo>
                  <a:pt x="17673" y="9818"/>
                </a:lnTo>
                <a:lnTo>
                  <a:pt x="17673" y="7855"/>
                </a:lnTo>
                <a:lnTo>
                  <a:pt x="15709" y="7855"/>
                </a:lnTo>
                <a:cubicBezTo>
                  <a:pt x="15709" y="7855"/>
                  <a:pt x="15709" y="9818"/>
                  <a:pt x="15709" y="9818"/>
                </a:cubicBezTo>
                <a:close/>
                <a:moveTo>
                  <a:pt x="20618" y="17673"/>
                </a:moveTo>
                <a:cubicBezTo>
                  <a:pt x="20618" y="18215"/>
                  <a:pt x="20178" y="18655"/>
                  <a:pt x="19636" y="18655"/>
                </a:cubicBezTo>
                <a:lnTo>
                  <a:pt x="1964" y="18655"/>
                </a:lnTo>
                <a:cubicBezTo>
                  <a:pt x="1422" y="18655"/>
                  <a:pt x="982" y="18215"/>
                  <a:pt x="982" y="17673"/>
                </a:cubicBezTo>
                <a:lnTo>
                  <a:pt x="982" y="5891"/>
                </a:lnTo>
                <a:cubicBezTo>
                  <a:pt x="982" y="5349"/>
                  <a:pt x="1422" y="4909"/>
                  <a:pt x="1964" y="4909"/>
                </a:cubicBezTo>
                <a:lnTo>
                  <a:pt x="19636" y="4909"/>
                </a:lnTo>
                <a:cubicBezTo>
                  <a:pt x="20178" y="4909"/>
                  <a:pt x="20618" y="5349"/>
                  <a:pt x="20618" y="5891"/>
                </a:cubicBezTo>
                <a:cubicBezTo>
                  <a:pt x="20618" y="5891"/>
                  <a:pt x="20618" y="17673"/>
                  <a:pt x="20618" y="17673"/>
                </a:cubicBezTo>
                <a:close/>
                <a:moveTo>
                  <a:pt x="19636" y="3927"/>
                </a:moveTo>
                <a:lnTo>
                  <a:pt x="12476" y="3927"/>
                </a:lnTo>
                <a:lnTo>
                  <a:pt x="14476" y="1927"/>
                </a:lnTo>
                <a:cubicBezTo>
                  <a:pt x="14557" y="1949"/>
                  <a:pt x="14640" y="1964"/>
                  <a:pt x="14727" y="1964"/>
                </a:cubicBezTo>
                <a:cubicBezTo>
                  <a:pt x="15269" y="1964"/>
                  <a:pt x="15709" y="1524"/>
                  <a:pt x="15709" y="982"/>
                </a:cubicBezTo>
                <a:cubicBezTo>
                  <a:pt x="15709" y="440"/>
                  <a:pt x="15269" y="0"/>
                  <a:pt x="14727" y="0"/>
                </a:cubicBezTo>
                <a:cubicBezTo>
                  <a:pt x="14185" y="0"/>
                  <a:pt x="13745" y="440"/>
                  <a:pt x="13745" y="982"/>
                </a:cubicBezTo>
                <a:cubicBezTo>
                  <a:pt x="13745" y="1069"/>
                  <a:pt x="13761" y="1152"/>
                  <a:pt x="13782" y="1233"/>
                </a:cubicBezTo>
                <a:lnTo>
                  <a:pt x="11088" y="3927"/>
                </a:lnTo>
                <a:lnTo>
                  <a:pt x="10513" y="3927"/>
                </a:lnTo>
                <a:lnTo>
                  <a:pt x="7818" y="1233"/>
                </a:lnTo>
                <a:cubicBezTo>
                  <a:pt x="7839" y="1152"/>
                  <a:pt x="7855" y="1069"/>
                  <a:pt x="7855" y="982"/>
                </a:cubicBezTo>
                <a:cubicBezTo>
                  <a:pt x="7855" y="440"/>
                  <a:pt x="7415" y="0"/>
                  <a:pt x="6873" y="0"/>
                </a:cubicBezTo>
                <a:cubicBezTo>
                  <a:pt x="6331" y="0"/>
                  <a:pt x="5891" y="440"/>
                  <a:pt x="5891" y="982"/>
                </a:cubicBezTo>
                <a:cubicBezTo>
                  <a:pt x="5891" y="1524"/>
                  <a:pt x="6331" y="1964"/>
                  <a:pt x="6873" y="1964"/>
                </a:cubicBezTo>
                <a:cubicBezTo>
                  <a:pt x="6960" y="1964"/>
                  <a:pt x="7043" y="1949"/>
                  <a:pt x="7124" y="1927"/>
                </a:cubicBezTo>
                <a:lnTo>
                  <a:pt x="9124" y="3927"/>
                </a:lnTo>
                <a:lnTo>
                  <a:pt x="1964" y="3927"/>
                </a:lnTo>
                <a:cubicBezTo>
                  <a:pt x="879" y="3927"/>
                  <a:pt x="0" y="4806"/>
                  <a:pt x="0" y="5891"/>
                </a:cubicBezTo>
                <a:lnTo>
                  <a:pt x="0" y="17673"/>
                </a:lnTo>
                <a:cubicBezTo>
                  <a:pt x="0" y="18757"/>
                  <a:pt x="879" y="19637"/>
                  <a:pt x="1964" y="19637"/>
                </a:cubicBezTo>
                <a:lnTo>
                  <a:pt x="3927" y="19637"/>
                </a:lnTo>
                <a:lnTo>
                  <a:pt x="3927" y="21109"/>
                </a:lnTo>
                <a:cubicBezTo>
                  <a:pt x="3927" y="21380"/>
                  <a:pt x="4147" y="21600"/>
                  <a:pt x="4418" y="21600"/>
                </a:cubicBezTo>
                <a:cubicBezTo>
                  <a:pt x="4689" y="21600"/>
                  <a:pt x="4909" y="21380"/>
                  <a:pt x="4909" y="21109"/>
                </a:cubicBezTo>
                <a:lnTo>
                  <a:pt x="4909" y="20618"/>
                </a:lnTo>
                <a:lnTo>
                  <a:pt x="16691" y="20618"/>
                </a:lnTo>
                <a:lnTo>
                  <a:pt x="16691" y="21109"/>
                </a:lnTo>
                <a:cubicBezTo>
                  <a:pt x="16691" y="21380"/>
                  <a:pt x="16911" y="21600"/>
                  <a:pt x="17182" y="21600"/>
                </a:cubicBezTo>
                <a:cubicBezTo>
                  <a:pt x="17453" y="21600"/>
                  <a:pt x="17673" y="21380"/>
                  <a:pt x="17673" y="21109"/>
                </a:cubicBezTo>
                <a:lnTo>
                  <a:pt x="17673" y="19637"/>
                </a:lnTo>
                <a:lnTo>
                  <a:pt x="19636" y="19637"/>
                </a:lnTo>
                <a:cubicBezTo>
                  <a:pt x="20721" y="19637"/>
                  <a:pt x="21600" y="18757"/>
                  <a:pt x="21600" y="17673"/>
                </a:cubicBezTo>
                <a:lnTo>
                  <a:pt x="21600" y="5891"/>
                </a:lnTo>
                <a:cubicBezTo>
                  <a:pt x="21600" y="4806"/>
                  <a:pt x="20721" y="3927"/>
                  <a:pt x="19636" y="3927"/>
                </a:cubicBezTo>
                <a:moveTo>
                  <a:pt x="5891" y="15709"/>
                </a:moveTo>
                <a:lnTo>
                  <a:pt x="7855" y="15709"/>
                </a:lnTo>
                <a:lnTo>
                  <a:pt x="7855" y="13745"/>
                </a:lnTo>
                <a:lnTo>
                  <a:pt x="5891" y="13745"/>
                </a:lnTo>
                <a:cubicBezTo>
                  <a:pt x="5891" y="13745"/>
                  <a:pt x="5891" y="15709"/>
                  <a:pt x="5891" y="15709"/>
                </a:cubicBezTo>
                <a:close/>
                <a:moveTo>
                  <a:pt x="9818" y="15709"/>
                </a:moveTo>
                <a:lnTo>
                  <a:pt x="11782" y="15709"/>
                </a:lnTo>
                <a:lnTo>
                  <a:pt x="11782" y="13745"/>
                </a:lnTo>
                <a:lnTo>
                  <a:pt x="9818" y="13745"/>
                </a:lnTo>
                <a:cubicBezTo>
                  <a:pt x="9818" y="13745"/>
                  <a:pt x="9818" y="15709"/>
                  <a:pt x="9818" y="15709"/>
                </a:cubicBezTo>
                <a:close/>
                <a:moveTo>
                  <a:pt x="7855" y="9818"/>
                </a:moveTo>
                <a:lnTo>
                  <a:pt x="5891" y="9818"/>
                </a:lnTo>
                <a:lnTo>
                  <a:pt x="5891" y="11782"/>
                </a:lnTo>
                <a:lnTo>
                  <a:pt x="7855" y="11782"/>
                </a:lnTo>
                <a:cubicBezTo>
                  <a:pt x="7855" y="11782"/>
                  <a:pt x="7855" y="9818"/>
                  <a:pt x="7855" y="9818"/>
                </a:cubicBezTo>
                <a:close/>
                <a:moveTo>
                  <a:pt x="15709" y="13745"/>
                </a:moveTo>
                <a:lnTo>
                  <a:pt x="17673" y="13745"/>
                </a:lnTo>
                <a:lnTo>
                  <a:pt x="17673" y="11782"/>
                </a:lnTo>
                <a:lnTo>
                  <a:pt x="15709" y="11782"/>
                </a:lnTo>
                <a:cubicBezTo>
                  <a:pt x="15709" y="11782"/>
                  <a:pt x="15709" y="13745"/>
                  <a:pt x="15709" y="13745"/>
                </a:cubicBezTo>
                <a:close/>
                <a:moveTo>
                  <a:pt x="1964" y="7855"/>
                </a:moveTo>
                <a:lnTo>
                  <a:pt x="3927" y="7855"/>
                </a:lnTo>
                <a:lnTo>
                  <a:pt x="3927" y="5891"/>
                </a:lnTo>
                <a:lnTo>
                  <a:pt x="1964" y="5891"/>
                </a:lnTo>
                <a:cubicBezTo>
                  <a:pt x="1964" y="5891"/>
                  <a:pt x="1964" y="7855"/>
                  <a:pt x="1964" y="7855"/>
                </a:cubicBezTo>
                <a:close/>
                <a:moveTo>
                  <a:pt x="3927" y="17673"/>
                </a:moveTo>
                <a:lnTo>
                  <a:pt x="5891" y="17673"/>
                </a:lnTo>
                <a:lnTo>
                  <a:pt x="5891" y="15709"/>
                </a:lnTo>
                <a:lnTo>
                  <a:pt x="3927" y="15709"/>
                </a:lnTo>
                <a:cubicBezTo>
                  <a:pt x="3927" y="15709"/>
                  <a:pt x="3927" y="17673"/>
                  <a:pt x="3927" y="17673"/>
                </a:cubicBezTo>
                <a:close/>
                <a:moveTo>
                  <a:pt x="11782" y="5891"/>
                </a:moveTo>
                <a:lnTo>
                  <a:pt x="9818" y="5891"/>
                </a:lnTo>
                <a:lnTo>
                  <a:pt x="9818" y="7855"/>
                </a:lnTo>
                <a:lnTo>
                  <a:pt x="11782" y="7855"/>
                </a:lnTo>
                <a:cubicBezTo>
                  <a:pt x="11782" y="7855"/>
                  <a:pt x="11782" y="5891"/>
                  <a:pt x="11782" y="5891"/>
                </a:cubicBezTo>
                <a:close/>
                <a:moveTo>
                  <a:pt x="7855" y="5891"/>
                </a:moveTo>
                <a:lnTo>
                  <a:pt x="5891" y="5891"/>
                </a:lnTo>
                <a:lnTo>
                  <a:pt x="5891" y="7855"/>
                </a:lnTo>
                <a:lnTo>
                  <a:pt x="7855" y="7855"/>
                </a:lnTo>
                <a:cubicBezTo>
                  <a:pt x="7855" y="7855"/>
                  <a:pt x="7855" y="5891"/>
                  <a:pt x="7855" y="5891"/>
                </a:cubicBezTo>
                <a:close/>
                <a:moveTo>
                  <a:pt x="1964" y="15709"/>
                </a:moveTo>
                <a:lnTo>
                  <a:pt x="3927" y="15709"/>
                </a:lnTo>
                <a:lnTo>
                  <a:pt x="3927" y="13745"/>
                </a:lnTo>
                <a:lnTo>
                  <a:pt x="1964" y="13745"/>
                </a:lnTo>
                <a:cubicBezTo>
                  <a:pt x="1964" y="13745"/>
                  <a:pt x="1964" y="15709"/>
                  <a:pt x="1964" y="15709"/>
                </a:cubicBezTo>
                <a:close/>
                <a:moveTo>
                  <a:pt x="1964" y="11782"/>
                </a:moveTo>
                <a:lnTo>
                  <a:pt x="3927" y="11782"/>
                </a:lnTo>
                <a:lnTo>
                  <a:pt x="3927" y="9818"/>
                </a:lnTo>
                <a:lnTo>
                  <a:pt x="1964" y="9818"/>
                </a:lnTo>
                <a:cubicBezTo>
                  <a:pt x="1964" y="9818"/>
                  <a:pt x="1964" y="11782"/>
                  <a:pt x="1964" y="11782"/>
                </a:cubicBezTo>
                <a:close/>
                <a:moveTo>
                  <a:pt x="7855" y="17673"/>
                </a:moveTo>
                <a:lnTo>
                  <a:pt x="9818" y="17673"/>
                </a:lnTo>
                <a:lnTo>
                  <a:pt x="9818" y="15709"/>
                </a:lnTo>
                <a:lnTo>
                  <a:pt x="7855" y="15709"/>
                </a:lnTo>
                <a:cubicBezTo>
                  <a:pt x="7855" y="15709"/>
                  <a:pt x="7855" y="17673"/>
                  <a:pt x="7855" y="17673"/>
                </a:cubicBezTo>
                <a:close/>
                <a:moveTo>
                  <a:pt x="11782" y="17673"/>
                </a:moveTo>
                <a:lnTo>
                  <a:pt x="13745" y="17673"/>
                </a:lnTo>
                <a:lnTo>
                  <a:pt x="13745" y="15709"/>
                </a:lnTo>
                <a:lnTo>
                  <a:pt x="11782" y="15709"/>
                </a:lnTo>
                <a:cubicBezTo>
                  <a:pt x="11782" y="15709"/>
                  <a:pt x="11782" y="17673"/>
                  <a:pt x="11782" y="17673"/>
                </a:cubicBezTo>
                <a:close/>
                <a:moveTo>
                  <a:pt x="15709" y="17673"/>
                </a:moveTo>
                <a:lnTo>
                  <a:pt x="17673" y="17673"/>
                </a:lnTo>
                <a:lnTo>
                  <a:pt x="17673" y="15709"/>
                </a:lnTo>
                <a:lnTo>
                  <a:pt x="15709" y="15709"/>
                </a:lnTo>
                <a:cubicBezTo>
                  <a:pt x="15709" y="15709"/>
                  <a:pt x="15709" y="17673"/>
                  <a:pt x="15709" y="17673"/>
                </a:cubicBezTo>
                <a:close/>
                <a:moveTo>
                  <a:pt x="11782" y="9818"/>
                </a:moveTo>
                <a:lnTo>
                  <a:pt x="9818" y="9818"/>
                </a:lnTo>
                <a:lnTo>
                  <a:pt x="9818" y="11782"/>
                </a:lnTo>
                <a:lnTo>
                  <a:pt x="11782" y="11782"/>
                </a:lnTo>
                <a:cubicBezTo>
                  <a:pt x="11782" y="11782"/>
                  <a:pt x="11782" y="9818"/>
                  <a:pt x="11782" y="9818"/>
                </a:cubicBezTo>
                <a:close/>
                <a:moveTo>
                  <a:pt x="19636" y="9818"/>
                </a:moveTo>
                <a:lnTo>
                  <a:pt x="17673" y="9818"/>
                </a:lnTo>
                <a:lnTo>
                  <a:pt x="17673" y="11782"/>
                </a:lnTo>
                <a:lnTo>
                  <a:pt x="19636" y="11782"/>
                </a:lnTo>
                <a:cubicBezTo>
                  <a:pt x="19636" y="11782"/>
                  <a:pt x="19636" y="9818"/>
                  <a:pt x="19636" y="9818"/>
                </a:cubicBezTo>
                <a:close/>
                <a:moveTo>
                  <a:pt x="19636" y="13745"/>
                </a:moveTo>
                <a:lnTo>
                  <a:pt x="17673" y="13745"/>
                </a:lnTo>
                <a:lnTo>
                  <a:pt x="17673" y="15709"/>
                </a:lnTo>
                <a:lnTo>
                  <a:pt x="19636" y="15709"/>
                </a:lnTo>
                <a:cubicBezTo>
                  <a:pt x="19636" y="15709"/>
                  <a:pt x="19636" y="13745"/>
                  <a:pt x="19636" y="13745"/>
                </a:cubicBezTo>
                <a:close/>
                <a:moveTo>
                  <a:pt x="15709" y="5891"/>
                </a:moveTo>
                <a:lnTo>
                  <a:pt x="13745" y="5891"/>
                </a:lnTo>
                <a:lnTo>
                  <a:pt x="13745" y="7855"/>
                </a:lnTo>
                <a:lnTo>
                  <a:pt x="15709" y="7855"/>
                </a:lnTo>
                <a:cubicBezTo>
                  <a:pt x="15709" y="7855"/>
                  <a:pt x="15709" y="5891"/>
                  <a:pt x="15709" y="589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2" name="Shape 2662"/>
          <p:cNvSpPr/>
          <p:nvPr/>
        </p:nvSpPr>
        <p:spPr>
          <a:xfrm>
            <a:off x="2660374"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782"/>
                </a:moveTo>
                <a:cubicBezTo>
                  <a:pt x="18383" y="11782"/>
                  <a:pt x="18164" y="12002"/>
                  <a:pt x="18164" y="12273"/>
                </a:cubicBezTo>
                <a:cubicBezTo>
                  <a:pt x="18164" y="12544"/>
                  <a:pt x="18383" y="12764"/>
                  <a:pt x="18655" y="12764"/>
                </a:cubicBezTo>
                <a:cubicBezTo>
                  <a:pt x="18926" y="12764"/>
                  <a:pt x="19145" y="12544"/>
                  <a:pt x="19145" y="12273"/>
                </a:cubicBezTo>
                <a:cubicBezTo>
                  <a:pt x="19145" y="12002"/>
                  <a:pt x="18926" y="11782"/>
                  <a:pt x="18655" y="11782"/>
                </a:cubicBezTo>
                <a:moveTo>
                  <a:pt x="18655" y="13745"/>
                </a:moveTo>
                <a:cubicBezTo>
                  <a:pt x="18383" y="13745"/>
                  <a:pt x="18164" y="13966"/>
                  <a:pt x="18164" y="14236"/>
                </a:cubicBezTo>
                <a:cubicBezTo>
                  <a:pt x="18164" y="14508"/>
                  <a:pt x="18383" y="14727"/>
                  <a:pt x="18655" y="14727"/>
                </a:cubicBezTo>
                <a:cubicBezTo>
                  <a:pt x="18926" y="14727"/>
                  <a:pt x="19145" y="14508"/>
                  <a:pt x="19145" y="14236"/>
                </a:cubicBezTo>
                <a:cubicBezTo>
                  <a:pt x="19145" y="13966"/>
                  <a:pt x="18926" y="13745"/>
                  <a:pt x="18655" y="13745"/>
                </a:cubicBezTo>
                <a:moveTo>
                  <a:pt x="20618" y="19636"/>
                </a:moveTo>
                <a:cubicBezTo>
                  <a:pt x="20618" y="20178"/>
                  <a:pt x="20178" y="20618"/>
                  <a:pt x="19636" y="20618"/>
                </a:cubicBezTo>
                <a:lnTo>
                  <a:pt x="16691" y="20618"/>
                </a:lnTo>
                <a:lnTo>
                  <a:pt x="16691" y="6873"/>
                </a:lnTo>
                <a:lnTo>
                  <a:pt x="19636" y="6873"/>
                </a:lnTo>
                <a:cubicBezTo>
                  <a:pt x="20178" y="6873"/>
                  <a:pt x="20618" y="7313"/>
                  <a:pt x="20618" y="7855"/>
                </a:cubicBezTo>
                <a:cubicBezTo>
                  <a:pt x="20618" y="7855"/>
                  <a:pt x="20618" y="19636"/>
                  <a:pt x="20618" y="19636"/>
                </a:cubicBezTo>
                <a:close/>
                <a:moveTo>
                  <a:pt x="15709" y="20618"/>
                </a:moveTo>
                <a:lnTo>
                  <a:pt x="1964" y="20618"/>
                </a:lnTo>
                <a:cubicBezTo>
                  <a:pt x="1422" y="20618"/>
                  <a:pt x="982" y="20178"/>
                  <a:pt x="982" y="19636"/>
                </a:cubicBezTo>
                <a:lnTo>
                  <a:pt x="982" y="7855"/>
                </a:lnTo>
                <a:cubicBezTo>
                  <a:pt x="982" y="7313"/>
                  <a:pt x="1422" y="6873"/>
                  <a:pt x="1964" y="6873"/>
                </a:cubicBezTo>
                <a:lnTo>
                  <a:pt x="15709" y="6873"/>
                </a:lnTo>
                <a:cubicBezTo>
                  <a:pt x="15709" y="6873"/>
                  <a:pt x="15709" y="20618"/>
                  <a:pt x="15709" y="20618"/>
                </a:cubicBezTo>
                <a:close/>
                <a:moveTo>
                  <a:pt x="19636" y="5891"/>
                </a:moveTo>
                <a:lnTo>
                  <a:pt x="13205" y="5891"/>
                </a:lnTo>
                <a:cubicBezTo>
                  <a:pt x="13069" y="5222"/>
                  <a:pt x="12657" y="4657"/>
                  <a:pt x="12097" y="4306"/>
                </a:cubicBezTo>
                <a:lnTo>
                  <a:pt x="14476" y="1927"/>
                </a:lnTo>
                <a:cubicBezTo>
                  <a:pt x="14557" y="1949"/>
                  <a:pt x="14640" y="1964"/>
                  <a:pt x="14727" y="1964"/>
                </a:cubicBezTo>
                <a:cubicBezTo>
                  <a:pt x="15269" y="1964"/>
                  <a:pt x="15709" y="1524"/>
                  <a:pt x="15709" y="982"/>
                </a:cubicBezTo>
                <a:cubicBezTo>
                  <a:pt x="15709" y="440"/>
                  <a:pt x="15269" y="0"/>
                  <a:pt x="14727" y="0"/>
                </a:cubicBezTo>
                <a:cubicBezTo>
                  <a:pt x="14186" y="0"/>
                  <a:pt x="13745" y="440"/>
                  <a:pt x="13745" y="982"/>
                </a:cubicBezTo>
                <a:cubicBezTo>
                  <a:pt x="13745" y="1070"/>
                  <a:pt x="13761" y="1153"/>
                  <a:pt x="13782" y="1233"/>
                </a:cubicBezTo>
                <a:lnTo>
                  <a:pt x="11061" y="3954"/>
                </a:lnTo>
                <a:cubicBezTo>
                  <a:pt x="10975" y="3945"/>
                  <a:pt x="10889" y="3927"/>
                  <a:pt x="10800" y="3927"/>
                </a:cubicBezTo>
                <a:cubicBezTo>
                  <a:pt x="10711" y="3927"/>
                  <a:pt x="10625" y="3945"/>
                  <a:pt x="10539" y="3954"/>
                </a:cubicBezTo>
                <a:lnTo>
                  <a:pt x="7818" y="1233"/>
                </a:lnTo>
                <a:cubicBezTo>
                  <a:pt x="7839" y="1153"/>
                  <a:pt x="7855" y="1070"/>
                  <a:pt x="7855" y="982"/>
                </a:cubicBezTo>
                <a:cubicBezTo>
                  <a:pt x="7855" y="440"/>
                  <a:pt x="7414" y="0"/>
                  <a:pt x="6873" y="0"/>
                </a:cubicBezTo>
                <a:cubicBezTo>
                  <a:pt x="6331" y="0"/>
                  <a:pt x="5891" y="440"/>
                  <a:pt x="5891" y="982"/>
                </a:cubicBezTo>
                <a:cubicBezTo>
                  <a:pt x="5891" y="1524"/>
                  <a:pt x="6331" y="1964"/>
                  <a:pt x="6873" y="1964"/>
                </a:cubicBezTo>
                <a:cubicBezTo>
                  <a:pt x="6960" y="1964"/>
                  <a:pt x="7043" y="1949"/>
                  <a:pt x="7124" y="1927"/>
                </a:cubicBezTo>
                <a:lnTo>
                  <a:pt x="9503" y="4306"/>
                </a:lnTo>
                <a:cubicBezTo>
                  <a:pt x="8943" y="4657"/>
                  <a:pt x="8531" y="5222"/>
                  <a:pt x="8395" y="5891"/>
                </a:cubicBez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2764" y="17673"/>
                </a:moveTo>
                <a:lnTo>
                  <a:pt x="3927" y="17673"/>
                </a:lnTo>
                <a:lnTo>
                  <a:pt x="3927" y="9818"/>
                </a:lnTo>
                <a:lnTo>
                  <a:pt x="12764" y="9818"/>
                </a:lnTo>
                <a:cubicBezTo>
                  <a:pt x="12764" y="9818"/>
                  <a:pt x="12764" y="17673"/>
                  <a:pt x="12764" y="17673"/>
                </a:cubicBezTo>
                <a:close/>
                <a:moveTo>
                  <a:pt x="13745" y="8836"/>
                </a:moveTo>
                <a:lnTo>
                  <a:pt x="2945" y="8836"/>
                </a:lnTo>
                <a:lnTo>
                  <a:pt x="2945" y="18655"/>
                </a:lnTo>
                <a:lnTo>
                  <a:pt x="13745" y="18655"/>
                </a:lnTo>
                <a:cubicBezTo>
                  <a:pt x="13745" y="18655"/>
                  <a:pt x="13745" y="8836"/>
                  <a:pt x="13745" y="8836"/>
                </a:cubicBezTo>
                <a:close/>
                <a:moveTo>
                  <a:pt x="18655" y="8836"/>
                </a:moveTo>
                <a:cubicBezTo>
                  <a:pt x="18113" y="8836"/>
                  <a:pt x="17673" y="9276"/>
                  <a:pt x="17673" y="9818"/>
                </a:cubicBezTo>
                <a:cubicBezTo>
                  <a:pt x="17673" y="10360"/>
                  <a:pt x="18113" y="10800"/>
                  <a:pt x="18655" y="10800"/>
                </a:cubicBezTo>
                <a:cubicBezTo>
                  <a:pt x="19196" y="10800"/>
                  <a:pt x="19636" y="10360"/>
                  <a:pt x="19636" y="9818"/>
                </a:cubicBezTo>
                <a:cubicBezTo>
                  <a:pt x="19636" y="9276"/>
                  <a:pt x="19196" y="8836"/>
                  <a:pt x="18655"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3" name="Shape 2663"/>
          <p:cNvSpPr/>
          <p:nvPr/>
        </p:nvSpPr>
        <p:spPr>
          <a:xfrm>
            <a:off x="3060320"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0800" y="5400"/>
                </a:moveTo>
                <a:lnTo>
                  <a:pt x="3927" y="10800"/>
                </a:lnTo>
                <a:lnTo>
                  <a:pt x="8836" y="10800"/>
                </a:lnTo>
                <a:lnTo>
                  <a:pt x="9818" y="16200"/>
                </a:lnTo>
                <a:lnTo>
                  <a:pt x="16691" y="10800"/>
                </a:lnTo>
                <a:lnTo>
                  <a:pt x="11782" y="10800"/>
                </a:lnTo>
                <a:cubicBezTo>
                  <a:pt x="11782" y="10800"/>
                  <a:pt x="10800" y="5400"/>
                  <a:pt x="10800" y="54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4" name="Shape 2664"/>
          <p:cNvSpPr/>
          <p:nvPr/>
        </p:nvSpPr>
        <p:spPr>
          <a:xfrm>
            <a:off x="3460265"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1" y="19800"/>
                  <a:pt x="982" y="18995"/>
                  <a:pt x="982" y="18000"/>
                </a:cubicBezTo>
                <a:lnTo>
                  <a:pt x="982" y="3600"/>
                </a:lnTo>
                <a:cubicBezTo>
                  <a:pt x="982" y="2607"/>
                  <a:pt x="1421"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5" name="Shape 2665"/>
          <p:cNvSpPr/>
          <p:nvPr/>
        </p:nvSpPr>
        <p:spPr>
          <a:xfrm>
            <a:off x="3860211"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6" name="Shape 2666"/>
          <p:cNvSpPr/>
          <p:nvPr/>
        </p:nvSpPr>
        <p:spPr>
          <a:xfrm>
            <a:off x="4260157" y="191741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10800" y="18000"/>
                </a:lnTo>
                <a:lnTo>
                  <a:pt x="10800" y="3600"/>
                </a:lnTo>
                <a:lnTo>
                  <a:pt x="1964" y="3600"/>
                </a:lnTo>
                <a:cubicBezTo>
                  <a:pt x="1964" y="3600"/>
                  <a:pt x="1964" y="18000"/>
                  <a:pt x="1964" y="180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7" name="Shape 2667"/>
          <p:cNvSpPr/>
          <p:nvPr/>
        </p:nvSpPr>
        <p:spPr>
          <a:xfrm>
            <a:off x="660644"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4727" y="18000"/>
                </a:lnTo>
                <a:lnTo>
                  <a:pt x="14727"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8" name="Shape 2668"/>
          <p:cNvSpPr/>
          <p:nvPr/>
        </p:nvSpPr>
        <p:spPr>
          <a:xfrm>
            <a:off x="1060590" y="2317356"/>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964" y="18000"/>
                </a:moveTo>
                <a:lnTo>
                  <a:pt x="18655" y="18000"/>
                </a:lnTo>
                <a:lnTo>
                  <a:pt x="18655" y="3600"/>
                </a:lnTo>
                <a:lnTo>
                  <a:pt x="1964" y="3600"/>
                </a:lnTo>
                <a:cubicBezTo>
                  <a:pt x="1964" y="3600"/>
                  <a:pt x="1964" y="18000"/>
                  <a:pt x="1964" y="18000"/>
                </a:cubicBezTo>
                <a:close/>
                <a:moveTo>
                  <a:pt x="19636" y="18000"/>
                </a:moveTo>
                <a:cubicBezTo>
                  <a:pt x="19636" y="18994"/>
                  <a:pt x="19197" y="19800"/>
                  <a:pt x="18655" y="19800"/>
                </a:cubicBezTo>
                <a:lnTo>
                  <a:pt x="1964" y="19800"/>
                </a:lnTo>
                <a:cubicBezTo>
                  <a:pt x="1422" y="19800"/>
                  <a:pt x="982" y="18994"/>
                  <a:pt x="982" y="18000"/>
                </a:cubicBezTo>
                <a:lnTo>
                  <a:pt x="982" y="3600"/>
                </a:lnTo>
                <a:cubicBezTo>
                  <a:pt x="982" y="2606"/>
                  <a:pt x="1422" y="1800"/>
                  <a:pt x="1964" y="1800"/>
                </a:cubicBezTo>
                <a:lnTo>
                  <a:pt x="18655" y="1800"/>
                </a:lnTo>
                <a:cubicBezTo>
                  <a:pt x="19197" y="1800"/>
                  <a:pt x="19636" y="2606"/>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8"/>
                  <a:pt x="879" y="21600"/>
                  <a:pt x="1964" y="21600"/>
                </a:cubicBezTo>
                <a:lnTo>
                  <a:pt x="18655" y="21600"/>
                </a:lnTo>
                <a:cubicBezTo>
                  <a:pt x="19739" y="21600"/>
                  <a:pt x="20618" y="19988"/>
                  <a:pt x="20618" y="18000"/>
                </a:cubicBezTo>
                <a:lnTo>
                  <a:pt x="20618" y="14401"/>
                </a:lnTo>
                <a:cubicBezTo>
                  <a:pt x="21160" y="14401"/>
                  <a:pt x="21600" y="13594"/>
                  <a:pt x="21600" y="12600"/>
                </a:cubicBezTo>
                <a:lnTo>
                  <a:pt x="21600" y="9000"/>
                </a:lnTo>
                <a:cubicBezTo>
                  <a:pt x="21600" y="8006"/>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69" name="Shape 2669"/>
          <p:cNvSpPr/>
          <p:nvPr/>
        </p:nvSpPr>
        <p:spPr>
          <a:xfrm>
            <a:off x="1470059" y="2269744"/>
            <a:ext cx="190451" cy="209501"/>
          </a:xfrm>
          <a:custGeom>
            <a:avLst/>
            <a:gdLst/>
            <a:ahLst/>
            <a:cxnLst>
              <a:cxn ang="0">
                <a:pos x="wd2" y="hd2"/>
              </a:cxn>
              <a:cxn ang="5400000">
                <a:pos x="wd2" y="hd2"/>
              </a:cxn>
              <a:cxn ang="10800000">
                <a:pos x="wd2" y="hd2"/>
              </a:cxn>
              <a:cxn ang="16200000">
                <a:pos x="wd2" y="hd2"/>
              </a:cxn>
            </a:cxnLst>
            <a:rect l="0" t="0" r="r" b="b"/>
            <a:pathLst>
              <a:path w="21600" h="21600" extrusionOk="0">
                <a:moveTo>
                  <a:pt x="12960" y="2161"/>
                </a:moveTo>
                <a:lnTo>
                  <a:pt x="12960" y="2178"/>
                </a:lnTo>
                <a:cubicBezTo>
                  <a:pt x="12662" y="2178"/>
                  <a:pt x="12420" y="2398"/>
                  <a:pt x="12420" y="2669"/>
                </a:cubicBezTo>
                <a:cubicBezTo>
                  <a:pt x="12420" y="2940"/>
                  <a:pt x="12662" y="3160"/>
                  <a:pt x="12960" y="3160"/>
                </a:cubicBezTo>
                <a:lnTo>
                  <a:pt x="12960" y="3172"/>
                </a:lnTo>
                <a:cubicBezTo>
                  <a:pt x="17287" y="4066"/>
                  <a:pt x="20520" y="7577"/>
                  <a:pt x="20520" y="11782"/>
                </a:cubicBezTo>
                <a:cubicBezTo>
                  <a:pt x="20520" y="16662"/>
                  <a:pt x="16168" y="20618"/>
                  <a:pt x="10800" y="20618"/>
                </a:cubicBezTo>
                <a:cubicBezTo>
                  <a:pt x="5432" y="20618"/>
                  <a:pt x="1080" y="16662"/>
                  <a:pt x="1080" y="11782"/>
                </a:cubicBezTo>
                <a:cubicBezTo>
                  <a:pt x="1080" y="7577"/>
                  <a:pt x="4313" y="4066"/>
                  <a:pt x="8640" y="3172"/>
                </a:cubicBezTo>
                <a:lnTo>
                  <a:pt x="8640" y="3160"/>
                </a:lnTo>
                <a:cubicBezTo>
                  <a:pt x="8938" y="3160"/>
                  <a:pt x="9180" y="2940"/>
                  <a:pt x="9180" y="2669"/>
                </a:cubicBezTo>
                <a:cubicBezTo>
                  <a:pt x="9180" y="2398"/>
                  <a:pt x="8938" y="2178"/>
                  <a:pt x="8640" y="2178"/>
                </a:cubicBezTo>
                <a:lnTo>
                  <a:pt x="8640" y="2161"/>
                </a:lnTo>
                <a:cubicBezTo>
                  <a:pt x="3710" y="3071"/>
                  <a:pt x="0" y="7031"/>
                  <a:pt x="0" y="11782"/>
                </a:cubicBezTo>
                <a:cubicBezTo>
                  <a:pt x="0" y="17204"/>
                  <a:pt x="4835" y="21600"/>
                  <a:pt x="10800" y="21600"/>
                </a:cubicBezTo>
                <a:cubicBezTo>
                  <a:pt x="16765" y="21600"/>
                  <a:pt x="21600" y="17204"/>
                  <a:pt x="21600" y="11782"/>
                </a:cubicBezTo>
                <a:cubicBezTo>
                  <a:pt x="21600" y="7031"/>
                  <a:pt x="17890" y="3071"/>
                  <a:pt x="12960" y="2161"/>
                </a:cubicBezTo>
                <a:moveTo>
                  <a:pt x="10800" y="12763"/>
                </a:moveTo>
                <a:cubicBezTo>
                  <a:pt x="11098" y="12763"/>
                  <a:pt x="11340" y="12544"/>
                  <a:pt x="11340" y="12272"/>
                </a:cubicBezTo>
                <a:lnTo>
                  <a:pt x="11340" y="491"/>
                </a:lnTo>
                <a:cubicBezTo>
                  <a:pt x="11340" y="220"/>
                  <a:pt x="11098" y="0"/>
                  <a:pt x="10800" y="0"/>
                </a:cubicBezTo>
                <a:cubicBezTo>
                  <a:pt x="10502" y="0"/>
                  <a:pt x="10260" y="220"/>
                  <a:pt x="10260" y="491"/>
                </a:cubicBezTo>
                <a:lnTo>
                  <a:pt x="10260" y="12272"/>
                </a:lnTo>
                <a:cubicBezTo>
                  <a:pt x="10260" y="12544"/>
                  <a:pt x="10502" y="12763"/>
                  <a:pt x="10800" y="1276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0" name="Shape 2670"/>
          <p:cNvSpPr/>
          <p:nvPr/>
        </p:nvSpPr>
        <p:spPr>
          <a:xfrm>
            <a:off x="1860482"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2273" y="21600"/>
                </a:moveTo>
                <a:lnTo>
                  <a:pt x="13255" y="21600"/>
                </a:lnTo>
                <a:lnTo>
                  <a:pt x="13255" y="0"/>
                </a:lnTo>
                <a:lnTo>
                  <a:pt x="12273" y="0"/>
                </a:lnTo>
                <a:cubicBezTo>
                  <a:pt x="12273" y="0"/>
                  <a:pt x="12273" y="21600"/>
                  <a:pt x="12273" y="21600"/>
                </a:cubicBezTo>
                <a:close/>
                <a:moveTo>
                  <a:pt x="14236" y="21600"/>
                </a:moveTo>
                <a:lnTo>
                  <a:pt x="16691" y="21600"/>
                </a:lnTo>
                <a:lnTo>
                  <a:pt x="16691" y="0"/>
                </a:lnTo>
                <a:lnTo>
                  <a:pt x="14236" y="0"/>
                </a:lnTo>
                <a:cubicBezTo>
                  <a:pt x="14236" y="0"/>
                  <a:pt x="14236" y="21600"/>
                  <a:pt x="14236" y="21600"/>
                </a:cubicBezTo>
                <a:close/>
                <a:moveTo>
                  <a:pt x="17673" y="21600"/>
                </a:moveTo>
                <a:lnTo>
                  <a:pt x="18655" y="21600"/>
                </a:lnTo>
                <a:lnTo>
                  <a:pt x="18655" y="0"/>
                </a:lnTo>
                <a:lnTo>
                  <a:pt x="17673" y="0"/>
                </a:lnTo>
                <a:cubicBezTo>
                  <a:pt x="17673" y="0"/>
                  <a:pt x="17673" y="21600"/>
                  <a:pt x="17673" y="21600"/>
                </a:cubicBezTo>
                <a:close/>
                <a:moveTo>
                  <a:pt x="20618" y="0"/>
                </a:moveTo>
                <a:lnTo>
                  <a:pt x="19636" y="0"/>
                </a:lnTo>
                <a:lnTo>
                  <a:pt x="19636" y="21600"/>
                </a:lnTo>
                <a:lnTo>
                  <a:pt x="20618" y="21600"/>
                </a:lnTo>
                <a:cubicBezTo>
                  <a:pt x="21160" y="21600"/>
                  <a:pt x="21600" y="20996"/>
                  <a:pt x="21600" y="20250"/>
                </a:cubicBezTo>
                <a:lnTo>
                  <a:pt x="21600" y="1350"/>
                </a:lnTo>
                <a:cubicBezTo>
                  <a:pt x="21600" y="605"/>
                  <a:pt x="21160" y="0"/>
                  <a:pt x="20618" y="0"/>
                </a:cubicBezTo>
                <a:moveTo>
                  <a:pt x="4909" y="21600"/>
                </a:moveTo>
                <a:lnTo>
                  <a:pt x="5891" y="21600"/>
                </a:lnTo>
                <a:lnTo>
                  <a:pt x="5891" y="0"/>
                </a:lnTo>
                <a:lnTo>
                  <a:pt x="4909" y="0"/>
                </a:lnTo>
                <a:cubicBezTo>
                  <a:pt x="4909" y="0"/>
                  <a:pt x="4909" y="21600"/>
                  <a:pt x="4909" y="21600"/>
                </a:cubicBezTo>
                <a:close/>
                <a:moveTo>
                  <a:pt x="0" y="1350"/>
                </a:moveTo>
                <a:lnTo>
                  <a:pt x="0" y="20250"/>
                </a:lnTo>
                <a:cubicBezTo>
                  <a:pt x="0" y="20996"/>
                  <a:pt x="440" y="21600"/>
                  <a:pt x="982" y="21600"/>
                </a:cubicBezTo>
                <a:lnTo>
                  <a:pt x="982" y="0"/>
                </a:lnTo>
                <a:cubicBezTo>
                  <a:pt x="440" y="0"/>
                  <a:pt x="0" y="605"/>
                  <a:pt x="0" y="1350"/>
                </a:cubicBezTo>
                <a:moveTo>
                  <a:pt x="1964" y="21600"/>
                </a:moveTo>
                <a:lnTo>
                  <a:pt x="3927" y="21600"/>
                </a:lnTo>
                <a:lnTo>
                  <a:pt x="3927" y="0"/>
                </a:lnTo>
                <a:lnTo>
                  <a:pt x="1964" y="0"/>
                </a:lnTo>
                <a:cubicBezTo>
                  <a:pt x="1964" y="0"/>
                  <a:pt x="1964" y="21600"/>
                  <a:pt x="1964" y="21600"/>
                </a:cubicBezTo>
                <a:close/>
                <a:moveTo>
                  <a:pt x="6873" y="21600"/>
                </a:moveTo>
                <a:lnTo>
                  <a:pt x="9327" y="21600"/>
                </a:lnTo>
                <a:lnTo>
                  <a:pt x="9327" y="0"/>
                </a:lnTo>
                <a:lnTo>
                  <a:pt x="6873" y="0"/>
                </a:lnTo>
                <a:cubicBezTo>
                  <a:pt x="6873" y="0"/>
                  <a:pt x="6873" y="21600"/>
                  <a:pt x="6873" y="21600"/>
                </a:cubicBezTo>
                <a:close/>
                <a:moveTo>
                  <a:pt x="10309" y="21600"/>
                </a:moveTo>
                <a:lnTo>
                  <a:pt x="11291" y="21600"/>
                </a:lnTo>
                <a:lnTo>
                  <a:pt x="11291" y="0"/>
                </a:lnTo>
                <a:lnTo>
                  <a:pt x="10309" y="0"/>
                </a:lnTo>
                <a:cubicBezTo>
                  <a:pt x="10309" y="0"/>
                  <a:pt x="10309" y="21600"/>
                  <a:pt x="10309" y="216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1" name="Shape 2671"/>
          <p:cNvSpPr/>
          <p:nvPr/>
        </p:nvSpPr>
        <p:spPr>
          <a:xfrm>
            <a:off x="2260427" y="2269744"/>
            <a:ext cx="209495" cy="209501"/>
          </a:xfrm>
          <a:custGeom>
            <a:avLst/>
            <a:gdLst/>
            <a:ahLst/>
            <a:cxnLst>
              <a:cxn ang="0">
                <a:pos x="wd2" y="hd2"/>
              </a:cxn>
              <a:cxn ang="5400000">
                <a:pos x="wd2" y="hd2"/>
              </a:cxn>
              <a:cxn ang="10800000">
                <a:pos x="wd2" y="hd2"/>
              </a:cxn>
              <a:cxn ang="16200000">
                <a:pos x="wd2" y="hd2"/>
              </a:cxn>
            </a:cxnLst>
            <a:rect l="0" t="0" r="r" b="b"/>
            <a:pathLst>
              <a:path w="21600" h="21600" extrusionOk="0">
                <a:moveTo>
                  <a:pt x="10309" y="15421"/>
                </a:moveTo>
                <a:cubicBezTo>
                  <a:pt x="10666" y="15276"/>
                  <a:pt x="10995" y="15082"/>
                  <a:pt x="11291" y="14845"/>
                </a:cubicBezTo>
                <a:lnTo>
                  <a:pt x="11291" y="8719"/>
                </a:lnTo>
                <a:cubicBezTo>
                  <a:pt x="10995" y="8482"/>
                  <a:pt x="10666" y="8287"/>
                  <a:pt x="10309" y="8143"/>
                </a:cubicBezTo>
                <a:cubicBezTo>
                  <a:pt x="10309" y="8143"/>
                  <a:pt x="10309" y="15421"/>
                  <a:pt x="10309" y="15421"/>
                </a:cubicBezTo>
                <a:close/>
                <a:moveTo>
                  <a:pt x="12273" y="13681"/>
                </a:moveTo>
                <a:cubicBezTo>
                  <a:pt x="12585" y="13118"/>
                  <a:pt x="12764" y="12471"/>
                  <a:pt x="12764" y="11782"/>
                </a:cubicBezTo>
                <a:cubicBezTo>
                  <a:pt x="12764" y="11092"/>
                  <a:pt x="12585" y="10445"/>
                  <a:pt x="12273" y="9882"/>
                </a:cubicBezTo>
                <a:cubicBezTo>
                  <a:pt x="12273" y="9882"/>
                  <a:pt x="12273" y="13681"/>
                  <a:pt x="12273" y="13681"/>
                </a:cubicBezTo>
                <a:close/>
                <a:moveTo>
                  <a:pt x="5891" y="14373"/>
                </a:moveTo>
                <a:lnTo>
                  <a:pt x="5891" y="9190"/>
                </a:lnTo>
                <a:cubicBezTo>
                  <a:pt x="5282" y="9882"/>
                  <a:pt x="4909" y="10788"/>
                  <a:pt x="4909" y="11782"/>
                </a:cubicBezTo>
                <a:cubicBezTo>
                  <a:pt x="4909" y="12776"/>
                  <a:pt x="5282" y="13681"/>
                  <a:pt x="5891" y="14373"/>
                </a:cubicBezTo>
                <a:moveTo>
                  <a:pt x="6873" y="8384"/>
                </a:moveTo>
                <a:lnTo>
                  <a:pt x="6873" y="15179"/>
                </a:lnTo>
                <a:cubicBezTo>
                  <a:pt x="7451" y="15514"/>
                  <a:pt x="8120" y="15709"/>
                  <a:pt x="8836" y="15709"/>
                </a:cubicBezTo>
                <a:cubicBezTo>
                  <a:pt x="9003" y="15709"/>
                  <a:pt x="9166" y="15696"/>
                  <a:pt x="9327" y="15675"/>
                </a:cubicBezTo>
                <a:lnTo>
                  <a:pt x="9327" y="7888"/>
                </a:lnTo>
                <a:cubicBezTo>
                  <a:pt x="9166" y="7868"/>
                  <a:pt x="9003" y="7854"/>
                  <a:pt x="8836" y="7854"/>
                </a:cubicBezTo>
                <a:cubicBezTo>
                  <a:pt x="8120" y="7854"/>
                  <a:pt x="7451" y="8049"/>
                  <a:pt x="6873" y="8384"/>
                </a:cubicBezTo>
                <a:moveTo>
                  <a:pt x="20618" y="0"/>
                </a:moveTo>
                <a:lnTo>
                  <a:pt x="19636" y="0"/>
                </a:lnTo>
                <a:lnTo>
                  <a:pt x="19636" y="15709"/>
                </a:lnTo>
                <a:lnTo>
                  <a:pt x="20618" y="15709"/>
                </a:lnTo>
                <a:cubicBezTo>
                  <a:pt x="21160" y="15709"/>
                  <a:pt x="21600" y="15270"/>
                  <a:pt x="21600" y="14727"/>
                </a:cubicBezTo>
                <a:lnTo>
                  <a:pt x="21600" y="982"/>
                </a:lnTo>
                <a:cubicBezTo>
                  <a:pt x="21600" y="440"/>
                  <a:pt x="21160" y="0"/>
                  <a:pt x="20618" y="0"/>
                </a:cubicBezTo>
                <a:moveTo>
                  <a:pt x="8836" y="17672"/>
                </a:moveTo>
                <a:cubicBezTo>
                  <a:pt x="5583" y="17672"/>
                  <a:pt x="2945" y="15035"/>
                  <a:pt x="2945" y="11782"/>
                </a:cubicBezTo>
                <a:cubicBezTo>
                  <a:pt x="2945" y="8528"/>
                  <a:pt x="5583" y="5891"/>
                  <a:pt x="8836" y="5891"/>
                </a:cubicBezTo>
                <a:cubicBezTo>
                  <a:pt x="12090" y="5891"/>
                  <a:pt x="14727" y="8528"/>
                  <a:pt x="14727" y="11782"/>
                </a:cubicBezTo>
                <a:cubicBezTo>
                  <a:pt x="14727" y="15035"/>
                  <a:pt x="12090" y="17672"/>
                  <a:pt x="8836" y="17672"/>
                </a:cubicBezTo>
                <a:moveTo>
                  <a:pt x="14027" y="16277"/>
                </a:moveTo>
                <a:cubicBezTo>
                  <a:pt x="15072" y="15072"/>
                  <a:pt x="15709" y="13503"/>
                  <a:pt x="15709" y="11782"/>
                </a:cubicBezTo>
                <a:cubicBezTo>
                  <a:pt x="15709" y="7986"/>
                  <a:pt x="12632" y="4909"/>
                  <a:pt x="8836" y="4909"/>
                </a:cubicBezTo>
                <a:cubicBezTo>
                  <a:pt x="5041" y="4909"/>
                  <a:pt x="1964" y="7986"/>
                  <a:pt x="1964" y="11782"/>
                </a:cubicBezTo>
                <a:cubicBezTo>
                  <a:pt x="1964" y="15577"/>
                  <a:pt x="5041" y="18654"/>
                  <a:pt x="8836" y="18654"/>
                </a:cubicBezTo>
                <a:cubicBezTo>
                  <a:pt x="10557" y="18654"/>
                  <a:pt x="12127" y="18017"/>
                  <a:pt x="13333" y="16972"/>
                </a:cubicBezTo>
                <a:lnTo>
                  <a:pt x="17817" y="21456"/>
                </a:lnTo>
                <a:cubicBezTo>
                  <a:pt x="17905" y="21545"/>
                  <a:pt x="18028" y="21600"/>
                  <a:pt x="18164" y="21600"/>
                </a:cubicBezTo>
                <a:cubicBezTo>
                  <a:pt x="18434" y="21600"/>
                  <a:pt x="18655" y="21380"/>
                  <a:pt x="18655" y="21109"/>
                </a:cubicBezTo>
                <a:cubicBezTo>
                  <a:pt x="18655" y="20974"/>
                  <a:pt x="18600" y="20851"/>
                  <a:pt x="18511" y="20762"/>
                </a:cubicBezTo>
                <a:cubicBezTo>
                  <a:pt x="18511" y="20762"/>
                  <a:pt x="14027" y="16277"/>
                  <a:pt x="14027" y="16277"/>
                </a:cubicBezTo>
                <a:close/>
                <a:moveTo>
                  <a:pt x="17673" y="15709"/>
                </a:moveTo>
                <a:lnTo>
                  <a:pt x="18655" y="15709"/>
                </a:lnTo>
                <a:lnTo>
                  <a:pt x="18655" y="0"/>
                </a:lnTo>
                <a:lnTo>
                  <a:pt x="17673" y="0"/>
                </a:lnTo>
                <a:cubicBezTo>
                  <a:pt x="17673" y="0"/>
                  <a:pt x="17673" y="15709"/>
                  <a:pt x="17673" y="15709"/>
                </a:cubicBezTo>
                <a:close/>
                <a:moveTo>
                  <a:pt x="16691" y="15709"/>
                </a:moveTo>
                <a:lnTo>
                  <a:pt x="16691" y="11783"/>
                </a:lnTo>
                <a:cubicBezTo>
                  <a:pt x="16691" y="13214"/>
                  <a:pt x="16301" y="14553"/>
                  <a:pt x="15631" y="15709"/>
                </a:cubicBezTo>
                <a:cubicBezTo>
                  <a:pt x="15631" y="15709"/>
                  <a:pt x="16691" y="15709"/>
                  <a:pt x="16691" y="15709"/>
                </a:cubicBezTo>
                <a:close/>
                <a:moveTo>
                  <a:pt x="16691" y="0"/>
                </a:moveTo>
                <a:lnTo>
                  <a:pt x="14236" y="0"/>
                </a:lnTo>
                <a:lnTo>
                  <a:pt x="14236" y="6088"/>
                </a:lnTo>
                <a:cubicBezTo>
                  <a:pt x="15745" y="7519"/>
                  <a:pt x="16691" y="9538"/>
                  <a:pt x="16691" y="11781"/>
                </a:cubicBezTo>
                <a:cubicBezTo>
                  <a:pt x="16691" y="11781"/>
                  <a:pt x="16691" y="0"/>
                  <a:pt x="16691" y="0"/>
                </a:cubicBezTo>
                <a:close/>
                <a:moveTo>
                  <a:pt x="11291" y="0"/>
                </a:moveTo>
                <a:lnTo>
                  <a:pt x="10309" y="0"/>
                </a:lnTo>
                <a:lnTo>
                  <a:pt x="10309" y="4070"/>
                </a:lnTo>
                <a:cubicBezTo>
                  <a:pt x="10645" y="4134"/>
                  <a:pt x="10972" y="4219"/>
                  <a:pt x="11291" y="4324"/>
                </a:cubicBezTo>
                <a:cubicBezTo>
                  <a:pt x="11291" y="4324"/>
                  <a:pt x="11291" y="0"/>
                  <a:pt x="11291" y="0"/>
                </a:cubicBezTo>
                <a:close/>
                <a:moveTo>
                  <a:pt x="1964" y="15709"/>
                </a:moveTo>
                <a:lnTo>
                  <a:pt x="2041" y="15709"/>
                </a:lnTo>
                <a:cubicBezTo>
                  <a:pt x="2016" y="15666"/>
                  <a:pt x="1988" y="15625"/>
                  <a:pt x="1964" y="15581"/>
                </a:cubicBezTo>
                <a:cubicBezTo>
                  <a:pt x="1964" y="15581"/>
                  <a:pt x="1964" y="15709"/>
                  <a:pt x="1964" y="15709"/>
                </a:cubicBezTo>
                <a:close/>
                <a:moveTo>
                  <a:pt x="13255" y="0"/>
                </a:moveTo>
                <a:lnTo>
                  <a:pt x="12273" y="0"/>
                </a:lnTo>
                <a:lnTo>
                  <a:pt x="12273" y="4727"/>
                </a:lnTo>
                <a:cubicBezTo>
                  <a:pt x="12613" y="4894"/>
                  <a:pt x="12944" y="5077"/>
                  <a:pt x="13255" y="5289"/>
                </a:cubicBezTo>
                <a:cubicBezTo>
                  <a:pt x="13255" y="5289"/>
                  <a:pt x="13255" y="0"/>
                  <a:pt x="13255" y="0"/>
                </a:cubicBezTo>
                <a:close/>
                <a:moveTo>
                  <a:pt x="9327" y="3952"/>
                </a:moveTo>
                <a:lnTo>
                  <a:pt x="9327" y="0"/>
                </a:lnTo>
                <a:lnTo>
                  <a:pt x="6873" y="0"/>
                </a:lnTo>
                <a:lnTo>
                  <a:pt x="6873" y="4185"/>
                </a:lnTo>
                <a:cubicBezTo>
                  <a:pt x="7501" y="4023"/>
                  <a:pt x="8157" y="3927"/>
                  <a:pt x="8836" y="3927"/>
                </a:cubicBezTo>
                <a:cubicBezTo>
                  <a:pt x="9002" y="3927"/>
                  <a:pt x="9164" y="3942"/>
                  <a:pt x="9327" y="3952"/>
                </a:cubicBezTo>
                <a:moveTo>
                  <a:pt x="5891" y="0"/>
                </a:moveTo>
                <a:lnTo>
                  <a:pt x="4909" y="0"/>
                </a:lnTo>
                <a:lnTo>
                  <a:pt x="4909" y="4987"/>
                </a:lnTo>
                <a:cubicBezTo>
                  <a:pt x="5224" y="4804"/>
                  <a:pt x="5551" y="4641"/>
                  <a:pt x="5891" y="4504"/>
                </a:cubicBezTo>
                <a:cubicBezTo>
                  <a:pt x="5891" y="4504"/>
                  <a:pt x="5891" y="0"/>
                  <a:pt x="5891" y="0"/>
                </a:cubicBezTo>
                <a:close/>
                <a:moveTo>
                  <a:pt x="0" y="982"/>
                </a:moveTo>
                <a:lnTo>
                  <a:pt x="0" y="14727"/>
                </a:lnTo>
                <a:cubicBezTo>
                  <a:pt x="0" y="15270"/>
                  <a:pt x="440" y="15709"/>
                  <a:pt x="982" y="15709"/>
                </a:cubicBezTo>
                <a:lnTo>
                  <a:pt x="982" y="0"/>
                </a:lnTo>
                <a:cubicBezTo>
                  <a:pt x="440" y="0"/>
                  <a:pt x="0" y="440"/>
                  <a:pt x="0" y="982"/>
                </a:cubicBezTo>
                <a:moveTo>
                  <a:pt x="3927" y="5656"/>
                </a:moveTo>
                <a:lnTo>
                  <a:pt x="3927" y="0"/>
                </a:lnTo>
                <a:lnTo>
                  <a:pt x="1964" y="0"/>
                </a:lnTo>
                <a:lnTo>
                  <a:pt x="1964" y="7982"/>
                </a:lnTo>
                <a:cubicBezTo>
                  <a:pt x="2462" y="7084"/>
                  <a:pt x="3131" y="6294"/>
                  <a:pt x="3927" y="56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2" name="Shape 2672"/>
          <p:cNvSpPr/>
          <p:nvPr/>
        </p:nvSpPr>
        <p:spPr>
          <a:xfrm>
            <a:off x="2660374" y="229831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818" y="21600"/>
                </a:moveTo>
                <a:lnTo>
                  <a:pt x="11782" y="21600"/>
                </a:lnTo>
                <a:lnTo>
                  <a:pt x="11782" y="17550"/>
                </a:lnTo>
                <a:lnTo>
                  <a:pt x="9818" y="17550"/>
                </a:lnTo>
                <a:cubicBezTo>
                  <a:pt x="9818" y="17550"/>
                  <a:pt x="9818" y="21600"/>
                  <a:pt x="9818" y="21600"/>
                </a:cubicBezTo>
                <a:close/>
                <a:moveTo>
                  <a:pt x="7855" y="21600"/>
                </a:moveTo>
                <a:lnTo>
                  <a:pt x="8836" y="21600"/>
                </a:lnTo>
                <a:lnTo>
                  <a:pt x="8836" y="17550"/>
                </a:lnTo>
                <a:lnTo>
                  <a:pt x="7855" y="17550"/>
                </a:lnTo>
                <a:cubicBezTo>
                  <a:pt x="7855" y="17550"/>
                  <a:pt x="7855" y="21600"/>
                  <a:pt x="7855" y="21600"/>
                </a:cubicBezTo>
                <a:close/>
                <a:moveTo>
                  <a:pt x="2945" y="21600"/>
                </a:moveTo>
                <a:lnTo>
                  <a:pt x="3927" y="21600"/>
                </a:lnTo>
                <a:lnTo>
                  <a:pt x="3927" y="17550"/>
                </a:lnTo>
                <a:lnTo>
                  <a:pt x="2945" y="17550"/>
                </a:lnTo>
                <a:cubicBezTo>
                  <a:pt x="2945" y="17550"/>
                  <a:pt x="2945" y="21600"/>
                  <a:pt x="2945" y="21600"/>
                </a:cubicBezTo>
                <a:close/>
                <a:moveTo>
                  <a:pt x="4909" y="21600"/>
                </a:moveTo>
                <a:lnTo>
                  <a:pt x="6873" y="21600"/>
                </a:lnTo>
                <a:lnTo>
                  <a:pt x="6873" y="17550"/>
                </a:lnTo>
                <a:lnTo>
                  <a:pt x="4909" y="17550"/>
                </a:lnTo>
                <a:cubicBezTo>
                  <a:pt x="4909" y="17550"/>
                  <a:pt x="4909" y="21600"/>
                  <a:pt x="4909" y="21600"/>
                </a:cubicBezTo>
                <a:close/>
                <a:moveTo>
                  <a:pt x="12764" y="21600"/>
                </a:moveTo>
                <a:lnTo>
                  <a:pt x="13745" y="21600"/>
                </a:lnTo>
                <a:lnTo>
                  <a:pt x="13745" y="17550"/>
                </a:lnTo>
                <a:lnTo>
                  <a:pt x="12764" y="17550"/>
                </a:lnTo>
                <a:cubicBezTo>
                  <a:pt x="12764" y="17550"/>
                  <a:pt x="12764" y="21600"/>
                  <a:pt x="12764" y="21600"/>
                </a:cubicBezTo>
                <a:close/>
                <a:moveTo>
                  <a:pt x="20618" y="14850"/>
                </a:moveTo>
                <a:lnTo>
                  <a:pt x="982" y="14850"/>
                </a:lnTo>
                <a:lnTo>
                  <a:pt x="982" y="13500"/>
                </a:lnTo>
                <a:lnTo>
                  <a:pt x="20618" y="13500"/>
                </a:lnTo>
                <a:cubicBezTo>
                  <a:pt x="20618" y="13500"/>
                  <a:pt x="20618" y="14850"/>
                  <a:pt x="20618" y="14850"/>
                </a:cubicBezTo>
                <a:close/>
                <a:moveTo>
                  <a:pt x="20618" y="12150"/>
                </a:moveTo>
                <a:lnTo>
                  <a:pt x="982" y="12150"/>
                </a:lnTo>
                <a:cubicBezTo>
                  <a:pt x="440" y="12150"/>
                  <a:pt x="0" y="12755"/>
                  <a:pt x="0" y="13500"/>
                </a:cubicBezTo>
                <a:lnTo>
                  <a:pt x="0" y="14850"/>
                </a:lnTo>
                <a:cubicBezTo>
                  <a:pt x="0" y="15595"/>
                  <a:pt x="440" y="16200"/>
                  <a:pt x="982" y="16200"/>
                </a:cubicBezTo>
                <a:lnTo>
                  <a:pt x="20618" y="16200"/>
                </a:lnTo>
                <a:cubicBezTo>
                  <a:pt x="21160" y="16200"/>
                  <a:pt x="21600" y="15595"/>
                  <a:pt x="21600" y="14850"/>
                </a:cubicBezTo>
                <a:lnTo>
                  <a:pt x="21600" y="13500"/>
                </a:lnTo>
                <a:cubicBezTo>
                  <a:pt x="21600" y="12755"/>
                  <a:pt x="21160" y="12150"/>
                  <a:pt x="20618" y="12150"/>
                </a:cubicBezTo>
                <a:moveTo>
                  <a:pt x="982" y="20250"/>
                </a:moveTo>
                <a:cubicBezTo>
                  <a:pt x="982" y="20996"/>
                  <a:pt x="1422" y="21600"/>
                  <a:pt x="1964" y="21600"/>
                </a:cubicBezTo>
                <a:lnTo>
                  <a:pt x="1964" y="17550"/>
                </a:lnTo>
                <a:lnTo>
                  <a:pt x="982" y="17550"/>
                </a:lnTo>
                <a:cubicBezTo>
                  <a:pt x="982" y="17550"/>
                  <a:pt x="982" y="20250"/>
                  <a:pt x="982" y="20250"/>
                </a:cubicBezTo>
                <a:close/>
                <a:moveTo>
                  <a:pt x="16691" y="21600"/>
                </a:moveTo>
                <a:lnTo>
                  <a:pt x="17673" y="21600"/>
                </a:lnTo>
                <a:lnTo>
                  <a:pt x="17673" y="17550"/>
                </a:lnTo>
                <a:lnTo>
                  <a:pt x="16691" y="17550"/>
                </a:lnTo>
                <a:cubicBezTo>
                  <a:pt x="16691" y="17550"/>
                  <a:pt x="16691" y="21600"/>
                  <a:pt x="16691" y="21600"/>
                </a:cubicBezTo>
                <a:close/>
                <a:moveTo>
                  <a:pt x="14727" y="21600"/>
                </a:moveTo>
                <a:lnTo>
                  <a:pt x="15709" y="21600"/>
                </a:lnTo>
                <a:lnTo>
                  <a:pt x="15709" y="17550"/>
                </a:lnTo>
                <a:lnTo>
                  <a:pt x="14727" y="17550"/>
                </a:lnTo>
                <a:cubicBezTo>
                  <a:pt x="14727" y="17550"/>
                  <a:pt x="14727" y="21600"/>
                  <a:pt x="14727" y="21600"/>
                </a:cubicBezTo>
                <a:close/>
                <a:moveTo>
                  <a:pt x="18655" y="21600"/>
                </a:moveTo>
                <a:lnTo>
                  <a:pt x="19636" y="21600"/>
                </a:lnTo>
                <a:cubicBezTo>
                  <a:pt x="20178" y="21600"/>
                  <a:pt x="20618" y="20996"/>
                  <a:pt x="20618" y="20250"/>
                </a:cubicBezTo>
                <a:lnTo>
                  <a:pt x="20618" y="17550"/>
                </a:lnTo>
                <a:lnTo>
                  <a:pt x="18655" y="17550"/>
                </a:lnTo>
                <a:cubicBezTo>
                  <a:pt x="18655" y="17550"/>
                  <a:pt x="18655" y="21600"/>
                  <a:pt x="18655" y="21600"/>
                </a:cubicBezTo>
                <a:close/>
                <a:moveTo>
                  <a:pt x="15709" y="0"/>
                </a:moveTo>
                <a:lnTo>
                  <a:pt x="14727" y="0"/>
                </a:lnTo>
                <a:lnTo>
                  <a:pt x="14727" y="10800"/>
                </a:lnTo>
                <a:lnTo>
                  <a:pt x="15709" y="10800"/>
                </a:lnTo>
                <a:cubicBezTo>
                  <a:pt x="15709" y="10800"/>
                  <a:pt x="15709" y="0"/>
                  <a:pt x="15709" y="0"/>
                </a:cubicBezTo>
                <a:close/>
                <a:moveTo>
                  <a:pt x="20618" y="1350"/>
                </a:moveTo>
                <a:cubicBezTo>
                  <a:pt x="20618" y="605"/>
                  <a:pt x="20178" y="0"/>
                  <a:pt x="19636" y="0"/>
                </a:cubicBezTo>
                <a:lnTo>
                  <a:pt x="18655" y="0"/>
                </a:lnTo>
                <a:lnTo>
                  <a:pt x="18655" y="10800"/>
                </a:lnTo>
                <a:lnTo>
                  <a:pt x="20618" y="10800"/>
                </a:lnTo>
                <a:cubicBezTo>
                  <a:pt x="20618" y="10800"/>
                  <a:pt x="20618" y="1350"/>
                  <a:pt x="20618" y="1350"/>
                </a:cubicBezTo>
                <a:close/>
                <a:moveTo>
                  <a:pt x="13745" y="0"/>
                </a:moveTo>
                <a:lnTo>
                  <a:pt x="12764" y="0"/>
                </a:lnTo>
                <a:lnTo>
                  <a:pt x="12764" y="10800"/>
                </a:lnTo>
                <a:lnTo>
                  <a:pt x="13745" y="10800"/>
                </a:lnTo>
                <a:cubicBezTo>
                  <a:pt x="13745" y="10800"/>
                  <a:pt x="13745" y="0"/>
                  <a:pt x="13745" y="0"/>
                </a:cubicBezTo>
                <a:close/>
                <a:moveTo>
                  <a:pt x="17673" y="0"/>
                </a:moveTo>
                <a:lnTo>
                  <a:pt x="16691" y="0"/>
                </a:lnTo>
                <a:lnTo>
                  <a:pt x="16691" y="10800"/>
                </a:lnTo>
                <a:lnTo>
                  <a:pt x="17673" y="10800"/>
                </a:lnTo>
                <a:cubicBezTo>
                  <a:pt x="17673" y="10800"/>
                  <a:pt x="17673" y="0"/>
                  <a:pt x="17673" y="0"/>
                </a:cubicBezTo>
                <a:close/>
                <a:moveTo>
                  <a:pt x="1964" y="0"/>
                </a:moveTo>
                <a:cubicBezTo>
                  <a:pt x="1422" y="0"/>
                  <a:pt x="982" y="605"/>
                  <a:pt x="982" y="1350"/>
                </a:cubicBezTo>
                <a:lnTo>
                  <a:pt x="982" y="10800"/>
                </a:lnTo>
                <a:lnTo>
                  <a:pt x="1964" y="10800"/>
                </a:lnTo>
                <a:cubicBezTo>
                  <a:pt x="1964" y="10800"/>
                  <a:pt x="1964" y="0"/>
                  <a:pt x="1964" y="0"/>
                </a:cubicBezTo>
                <a:close/>
                <a:moveTo>
                  <a:pt x="3927" y="0"/>
                </a:moveTo>
                <a:lnTo>
                  <a:pt x="2945" y="0"/>
                </a:lnTo>
                <a:lnTo>
                  <a:pt x="2945" y="10800"/>
                </a:lnTo>
                <a:lnTo>
                  <a:pt x="3927" y="10800"/>
                </a:lnTo>
                <a:cubicBezTo>
                  <a:pt x="3927" y="10800"/>
                  <a:pt x="3927" y="0"/>
                  <a:pt x="3927" y="0"/>
                </a:cubicBezTo>
                <a:close/>
                <a:moveTo>
                  <a:pt x="6873" y="0"/>
                </a:moveTo>
                <a:lnTo>
                  <a:pt x="4909" y="0"/>
                </a:lnTo>
                <a:lnTo>
                  <a:pt x="4909" y="10800"/>
                </a:lnTo>
                <a:lnTo>
                  <a:pt x="6873" y="10800"/>
                </a:lnTo>
                <a:cubicBezTo>
                  <a:pt x="6873" y="10800"/>
                  <a:pt x="6873" y="0"/>
                  <a:pt x="6873" y="0"/>
                </a:cubicBezTo>
                <a:close/>
                <a:moveTo>
                  <a:pt x="8836" y="0"/>
                </a:moveTo>
                <a:lnTo>
                  <a:pt x="7855" y="0"/>
                </a:lnTo>
                <a:lnTo>
                  <a:pt x="7855" y="10800"/>
                </a:lnTo>
                <a:lnTo>
                  <a:pt x="8836" y="10800"/>
                </a:lnTo>
                <a:cubicBezTo>
                  <a:pt x="8836" y="10800"/>
                  <a:pt x="8836" y="0"/>
                  <a:pt x="8836" y="0"/>
                </a:cubicBezTo>
                <a:close/>
                <a:moveTo>
                  <a:pt x="11782" y="0"/>
                </a:moveTo>
                <a:lnTo>
                  <a:pt x="9818" y="0"/>
                </a:lnTo>
                <a:lnTo>
                  <a:pt x="9818" y="10800"/>
                </a:lnTo>
                <a:lnTo>
                  <a:pt x="11782" y="10800"/>
                </a:lnTo>
                <a:cubicBezTo>
                  <a:pt x="11782" y="10800"/>
                  <a:pt x="11782" y="0"/>
                  <a:pt x="11782" y="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3" name="Shape 2673"/>
          <p:cNvSpPr/>
          <p:nvPr/>
        </p:nvSpPr>
        <p:spPr>
          <a:xfrm>
            <a:off x="3060320" y="226974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455" y="10309"/>
                </a:moveTo>
                <a:cubicBezTo>
                  <a:pt x="2726" y="10309"/>
                  <a:pt x="2945" y="10090"/>
                  <a:pt x="2945" y="9818"/>
                </a:cubicBezTo>
                <a:cubicBezTo>
                  <a:pt x="2945" y="9547"/>
                  <a:pt x="2726" y="9327"/>
                  <a:pt x="2455" y="9327"/>
                </a:cubicBezTo>
                <a:cubicBezTo>
                  <a:pt x="2183" y="9327"/>
                  <a:pt x="1964" y="9547"/>
                  <a:pt x="1964" y="9818"/>
                </a:cubicBezTo>
                <a:cubicBezTo>
                  <a:pt x="1964" y="10090"/>
                  <a:pt x="2183" y="10309"/>
                  <a:pt x="2455" y="10309"/>
                </a:cubicBezTo>
                <a:moveTo>
                  <a:pt x="20618" y="11782"/>
                </a:moveTo>
                <a:lnTo>
                  <a:pt x="982" y="11782"/>
                </a:lnTo>
                <a:lnTo>
                  <a:pt x="982" y="7855"/>
                </a:lnTo>
                <a:lnTo>
                  <a:pt x="20618" y="7855"/>
                </a:lnTo>
                <a:cubicBezTo>
                  <a:pt x="20618" y="7855"/>
                  <a:pt x="20618" y="11782"/>
                  <a:pt x="20618" y="11782"/>
                </a:cubicBezTo>
                <a:close/>
                <a:moveTo>
                  <a:pt x="2945" y="982"/>
                </a:moveTo>
                <a:lnTo>
                  <a:pt x="14727" y="982"/>
                </a:lnTo>
                <a:lnTo>
                  <a:pt x="14727" y="4418"/>
                </a:lnTo>
                <a:cubicBezTo>
                  <a:pt x="14727" y="4690"/>
                  <a:pt x="14947" y="4909"/>
                  <a:pt x="15218" y="4909"/>
                </a:cubicBezTo>
                <a:lnTo>
                  <a:pt x="18655" y="4909"/>
                </a:lnTo>
                <a:lnTo>
                  <a:pt x="18655" y="6873"/>
                </a:lnTo>
                <a:lnTo>
                  <a:pt x="2945" y="6873"/>
                </a:lnTo>
                <a:cubicBezTo>
                  <a:pt x="2945" y="6873"/>
                  <a:pt x="2945" y="982"/>
                  <a:pt x="2945" y="982"/>
                </a:cubicBezTo>
                <a:close/>
                <a:moveTo>
                  <a:pt x="15709" y="1473"/>
                </a:moveTo>
                <a:lnTo>
                  <a:pt x="18164" y="3927"/>
                </a:lnTo>
                <a:lnTo>
                  <a:pt x="15709" y="3927"/>
                </a:lnTo>
                <a:cubicBezTo>
                  <a:pt x="15709" y="3927"/>
                  <a:pt x="15709" y="1473"/>
                  <a:pt x="15709" y="1473"/>
                </a:cubicBezTo>
                <a:close/>
                <a:moveTo>
                  <a:pt x="20618" y="6873"/>
                </a:moveTo>
                <a:lnTo>
                  <a:pt x="19636" y="6873"/>
                </a:lnTo>
                <a:lnTo>
                  <a:pt x="19636" y="3927"/>
                </a:lnTo>
                <a:lnTo>
                  <a:pt x="15709" y="0"/>
                </a:lnTo>
                <a:lnTo>
                  <a:pt x="2945" y="0"/>
                </a:lnTo>
                <a:cubicBezTo>
                  <a:pt x="2403" y="0"/>
                  <a:pt x="1964" y="440"/>
                  <a:pt x="1964" y="982"/>
                </a:cubicBezTo>
                <a:lnTo>
                  <a:pt x="1964" y="6873"/>
                </a:lnTo>
                <a:lnTo>
                  <a:pt x="982" y="6873"/>
                </a:lnTo>
                <a:cubicBezTo>
                  <a:pt x="439" y="6873"/>
                  <a:pt x="0" y="7313"/>
                  <a:pt x="0" y="7855"/>
                </a:cubicBezTo>
                <a:lnTo>
                  <a:pt x="0" y="11782"/>
                </a:lnTo>
                <a:cubicBezTo>
                  <a:pt x="0" y="12324"/>
                  <a:pt x="439" y="12764"/>
                  <a:pt x="982" y="12764"/>
                </a:cubicBezTo>
                <a:lnTo>
                  <a:pt x="1964" y="12764"/>
                </a:lnTo>
                <a:lnTo>
                  <a:pt x="1964" y="21109"/>
                </a:lnTo>
                <a:cubicBezTo>
                  <a:pt x="1964" y="21381"/>
                  <a:pt x="2183" y="21600"/>
                  <a:pt x="2455" y="21600"/>
                </a:cubicBezTo>
                <a:cubicBezTo>
                  <a:pt x="2726" y="21600"/>
                  <a:pt x="2945" y="21381"/>
                  <a:pt x="2945" y="21109"/>
                </a:cubicBezTo>
                <a:lnTo>
                  <a:pt x="2945" y="12764"/>
                </a:lnTo>
                <a:lnTo>
                  <a:pt x="3927" y="12764"/>
                </a:lnTo>
                <a:lnTo>
                  <a:pt x="3927" y="18164"/>
                </a:lnTo>
                <a:cubicBezTo>
                  <a:pt x="3927" y="18435"/>
                  <a:pt x="4147" y="18655"/>
                  <a:pt x="4418" y="18655"/>
                </a:cubicBezTo>
                <a:cubicBezTo>
                  <a:pt x="4690" y="18655"/>
                  <a:pt x="4909" y="18435"/>
                  <a:pt x="4909" y="18164"/>
                </a:cubicBezTo>
                <a:lnTo>
                  <a:pt x="4909" y="12764"/>
                </a:lnTo>
                <a:lnTo>
                  <a:pt x="5891" y="12764"/>
                </a:lnTo>
                <a:lnTo>
                  <a:pt x="5891" y="15218"/>
                </a:lnTo>
                <a:cubicBezTo>
                  <a:pt x="5891" y="15490"/>
                  <a:pt x="6110" y="15709"/>
                  <a:pt x="6382" y="15709"/>
                </a:cubicBezTo>
                <a:cubicBezTo>
                  <a:pt x="6653" y="15709"/>
                  <a:pt x="6873" y="15490"/>
                  <a:pt x="6873" y="15218"/>
                </a:cubicBezTo>
                <a:lnTo>
                  <a:pt x="6873" y="12764"/>
                </a:lnTo>
                <a:lnTo>
                  <a:pt x="7855" y="12764"/>
                </a:lnTo>
                <a:lnTo>
                  <a:pt x="7855" y="20127"/>
                </a:lnTo>
                <a:cubicBezTo>
                  <a:pt x="7855" y="20399"/>
                  <a:pt x="8074" y="20618"/>
                  <a:pt x="8345" y="20618"/>
                </a:cubicBezTo>
                <a:cubicBezTo>
                  <a:pt x="8617" y="20618"/>
                  <a:pt x="8836" y="20399"/>
                  <a:pt x="8836" y="20127"/>
                </a:cubicBezTo>
                <a:lnTo>
                  <a:pt x="8836" y="12764"/>
                </a:lnTo>
                <a:lnTo>
                  <a:pt x="10309" y="12764"/>
                </a:lnTo>
                <a:lnTo>
                  <a:pt x="10309" y="19145"/>
                </a:lnTo>
                <a:cubicBezTo>
                  <a:pt x="10309" y="19417"/>
                  <a:pt x="10529" y="19636"/>
                  <a:pt x="10800" y="19636"/>
                </a:cubicBezTo>
                <a:cubicBezTo>
                  <a:pt x="11071" y="19636"/>
                  <a:pt x="11291" y="19417"/>
                  <a:pt x="11291" y="19145"/>
                </a:cubicBezTo>
                <a:lnTo>
                  <a:pt x="11291" y="12764"/>
                </a:lnTo>
                <a:lnTo>
                  <a:pt x="12764" y="12764"/>
                </a:lnTo>
                <a:lnTo>
                  <a:pt x="12764" y="16200"/>
                </a:lnTo>
                <a:cubicBezTo>
                  <a:pt x="12764" y="16472"/>
                  <a:pt x="12983" y="16691"/>
                  <a:pt x="13255" y="16691"/>
                </a:cubicBezTo>
                <a:cubicBezTo>
                  <a:pt x="13526" y="16691"/>
                  <a:pt x="13745" y="16472"/>
                  <a:pt x="13745" y="16200"/>
                </a:cubicBezTo>
                <a:lnTo>
                  <a:pt x="13745" y="12764"/>
                </a:lnTo>
                <a:lnTo>
                  <a:pt x="14727" y="12764"/>
                </a:lnTo>
                <a:lnTo>
                  <a:pt x="14727" y="17182"/>
                </a:lnTo>
                <a:cubicBezTo>
                  <a:pt x="14727" y="17453"/>
                  <a:pt x="14947" y="17673"/>
                  <a:pt x="15218" y="17673"/>
                </a:cubicBezTo>
                <a:cubicBezTo>
                  <a:pt x="15490" y="17673"/>
                  <a:pt x="15709" y="17453"/>
                  <a:pt x="15709" y="17182"/>
                </a:cubicBezTo>
                <a:lnTo>
                  <a:pt x="15709" y="12764"/>
                </a:lnTo>
                <a:lnTo>
                  <a:pt x="16691" y="12764"/>
                </a:lnTo>
                <a:lnTo>
                  <a:pt x="16691" y="20127"/>
                </a:lnTo>
                <a:cubicBezTo>
                  <a:pt x="16691" y="20399"/>
                  <a:pt x="16910" y="20618"/>
                  <a:pt x="17182" y="20618"/>
                </a:cubicBezTo>
                <a:cubicBezTo>
                  <a:pt x="17453" y="20618"/>
                  <a:pt x="17673" y="20399"/>
                  <a:pt x="17673" y="20127"/>
                </a:cubicBezTo>
                <a:lnTo>
                  <a:pt x="17673" y="12764"/>
                </a:lnTo>
                <a:lnTo>
                  <a:pt x="18655" y="12764"/>
                </a:lnTo>
                <a:lnTo>
                  <a:pt x="18655" y="19145"/>
                </a:lnTo>
                <a:cubicBezTo>
                  <a:pt x="18655" y="19417"/>
                  <a:pt x="18874" y="19636"/>
                  <a:pt x="19145" y="19636"/>
                </a:cubicBezTo>
                <a:cubicBezTo>
                  <a:pt x="19417" y="19636"/>
                  <a:pt x="19636" y="19417"/>
                  <a:pt x="19636" y="19145"/>
                </a:cubicBezTo>
                <a:lnTo>
                  <a:pt x="19636" y="12764"/>
                </a:lnTo>
                <a:lnTo>
                  <a:pt x="20618" y="12764"/>
                </a:lnTo>
                <a:cubicBezTo>
                  <a:pt x="21160" y="12764"/>
                  <a:pt x="21600" y="12324"/>
                  <a:pt x="21600" y="11782"/>
                </a:cubicBezTo>
                <a:lnTo>
                  <a:pt x="21600" y="7855"/>
                </a:lnTo>
                <a:cubicBezTo>
                  <a:pt x="21600" y="7313"/>
                  <a:pt x="21160" y="6873"/>
                  <a:pt x="20618" y="6873"/>
                </a:cubicBezTo>
                <a:moveTo>
                  <a:pt x="4418" y="10309"/>
                </a:moveTo>
                <a:cubicBezTo>
                  <a:pt x="4690" y="10309"/>
                  <a:pt x="4909" y="10090"/>
                  <a:pt x="4909" y="9818"/>
                </a:cubicBezTo>
                <a:cubicBezTo>
                  <a:pt x="4909" y="9547"/>
                  <a:pt x="4690" y="9327"/>
                  <a:pt x="4418" y="9327"/>
                </a:cubicBezTo>
                <a:cubicBezTo>
                  <a:pt x="4147" y="9327"/>
                  <a:pt x="3927" y="9547"/>
                  <a:pt x="3927" y="9818"/>
                </a:cubicBezTo>
                <a:cubicBezTo>
                  <a:pt x="3927" y="10090"/>
                  <a:pt x="4147" y="10309"/>
                  <a:pt x="4418" y="10309"/>
                </a:cubicBezTo>
                <a:moveTo>
                  <a:pt x="12273" y="3927"/>
                </a:moveTo>
                <a:lnTo>
                  <a:pt x="5400" y="3927"/>
                </a:lnTo>
                <a:cubicBezTo>
                  <a:pt x="5129" y="3927"/>
                  <a:pt x="4909" y="4147"/>
                  <a:pt x="4909" y="4418"/>
                </a:cubicBezTo>
                <a:cubicBezTo>
                  <a:pt x="4909" y="4690"/>
                  <a:pt x="5129" y="4909"/>
                  <a:pt x="5400" y="4909"/>
                </a:cubicBezTo>
                <a:lnTo>
                  <a:pt x="12273" y="4909"/>
                </a:lnTo>
                <a:cubicBezTo>
                  <a:pt x="12544" y="4909"/>
                  <a:pt x="12764" y="4690"/>
                  <a:pt x="12764" y="4418"/>
                </a:cubicBezTo>
                <a:cubicBezTo>
                  <a:pt x="12764" y="4147"/>
                  <a:pt x="12544" y="3927"/>
                  <a:pt x="12273"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4" name="Shape 2674"/>
          <p:cNvSpPr/>
          <p:nvPr/>
        </p:nvSpPr>
        <p:spPr>
          <a:xfrm>
            <a:off x="3469788" y="2269744"/>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880" y="20121"/>
                </a:moveTo>
                <a:cubicBezTo>
                  <a:pt x="11880" y="20393"/>
                  <a:pt x="11637" y="20612"/>
                  <a:pt x="11337" y="20612"/>
                </a:cubicBezTo>
                <a:cubicBezTo>
                  <a:pt x="11181" y="20612"/>
                  <a:pt x="11043" y="20552"/>
                  <a:pt x="10944" y="20457"/>
                </a:cubicBezTo>
                <a:lnTo>
                  <a:pt x="10941" y="20459"/>
                </a:lnTo>
                <a:lnTo>
                  <a:pt x="10800" y="20342"/>
                </a:lnTo>
                <a:lnTo>
                  <a:pt x="10800" y="1256"/>
                </a:lnTo>
                <a:lnTo>
                  <a:pt x="10958" y="1126"/>
                </a:lnTo>
                <a:lnTo>
                  <a:pt x="10960" y="1127"/>
                </a:lnTo>
                <a:cubicBezTo>
                  <a:pt x="11057" y="1042"/>
                  <a:pt x="11190" y="987"/>
                  <a:pt x="11337" y="987"/>
                </a:cubicBezTo>
                <a:cubicBezTo>
                  <a:pt x="11637" y="987"/>
                  <a:pt x="11880" y="1208"/>
                  <a:pt x="11880" y="1479"/>
                </a:cubicBezTo>
                <a:cubicBezTo>
                  <a:pt x="11880" y="1479"/>
                  <a:pt x="11880" y="20121"/>
                  <a:pt x="11880" y="20121"/>
                </a:cubicBezTo>
                <a:close/>
                <a:moveTo>
                  <a:pt x="9720" y="19448"/>
                </a:moveTo>
                <a:lnTo>
                  <a:pt x="4320" y="14979"/>
                </a:lnTo>
                <a:lnTo>
                  <a:pt x="4320" y="6606"/>
                </a:lnTo>
                <a:lnTo>
                  <a:pt x="4562" y="6407"/>
                </a:lnTo>
                <a:lnTo>
                  <a:pt x="4559" y="6406"/>
                </a:lnTo>
                <a:lnTo>
                  <a:pt x="9720" y="2147"/>
                </a:lnTo>
                <a:cubicBezTo>
                  <a:pt x="9720" y="2147"/>
                  <a:pt x="9720" y="19448"/>
                  <a:pt x="9720" y="19448"/>
                </a:cubicBezTo>
                <a:close/>
                <a:moveTo>
                  <a:pt x="3240" y="14649"/>
                </a:moveTo>
                <a:cubicBezTo>
                  <a:pt x="2008" y="14285"/>
                  <a:pt x="1080" y="12700"/>
                  <a:pt x="1080" y="10800"/>
                </a:cubicBezTo>
                <a:cubicBezTo>
                  <a:pt x="1080" y="8900"/>
                  <a:pt x="2008" y="7315"/>
                  <a:pt x="3240" y="6952"/>
                </a:cubicBezTo>
                <a:cubicBezTo>
                  <a:pt x="3240" y="6952"/>
                  <a:pt x="3240" y="14649"/>
                  <a:pt x="3240" y="14649"/>
                </a:cubicBezTo>
                <a:close/>
                <a:moveTo>
                  <a:pt x="12966" y="1472"/>
                </a:moveTo>
                <a:cubicBezTo>
                  <a:pt x="12966" y="658"/>
                  <a:pt x="12238" y="0"/>
                  <a:pt x="11339" y="0"/>
                </a:cubicBezTo>
                <a:cubicBezTo>
                  <a:pt x="10880" y="0"/>
                  <a:pt x="10467" y="174"/>
                  <a:pt x="10170" y="451"/>
                </a:cubicBezTo>
                <a:lnTo>
                  <a:pt x="3565" y="5905"/>
                </a:lnTo>
                <a:cubicBezTo>
                  <a:pt x="1578" y="6050"/>
                  <a:pt x="0" y="8183"/>
                  <a:pt x="0" y="10800"/>
                </a:cubicBezTo>
                <a:cubicBezTo>
                  <a:pt x="0" y="13425"/>
                  <a:pt x="1588" y="15563"/>
                  <a:pt x="3585" y="15696"/>
                </a:cubicBezTo>
                <a:lnTo>
                  <a:pt x="10170" y="21149"/>
                </a:lnTo>
                <a:cubicBezTo>
                  <a:pt x="10466" y="21426"/>
                  <a:pt x="10879" y="21600"/>
                  <a:pt x="11339" y="21600"/>
                </a:cubicBezTo>
                <a:cubicBezTo>
                  <a:pt x="12238" y="21600"/>
                  <a:pt x="12966" y="20941"/>
                  <a:pt x="12966" y="20129"/>
                </a:cubicBezTo>
                <a:cubicBezTo>
                  <a:pt x="12966" y="20110"/>
                  <a:pt x="12961" y="20092"/>
                  <a:pt x="12960" y="20073"/>
                </a:cubicBezTo>
                <a:lnTo>
                  <a:pt x="12960" y="1527"/>
                </a:lnTo>
                <a:cubicBezTo>
                  <a:pt x="12961" y="1508"/>
                  <a:pt x="12966" y="1490"/>
                  <a:pt x="12966" y="1472"/>
                </a:cubicBezTo>
                <a:moveTo>
                  <a:pt x="19124" y="10800"/>
                </a:moveTo>
                <a:lnTo>
                  <a:pt x="21442" y="8693"/>
                </a:lnTo>
                <a:cubicBezTo>
                  <a:pt x="21540" y="8604"/>
                  <a:pt x="21600" y="8481"/>
                  <a:pt x="21600" y="8345"/>
                </a:cubicBezTo>
                <a:cubicBezTo>
                  <a:pt x="21600" y="8074"/>
                  <a:pt x="21358" y="7855"/>
                  <a:pt x="21060" y="7855"/>
                </a:cubicBezTo>
                <a:cubicBezTo>
                  <a:pt x="20911" y="7855"/>
                  <a:pt x="20776" y="7909"/>
                  <a:pt x="20678" y="7998"/>
                </a:cubicBezTo>
                <a:lnTo>
                  <a:pt x="18360" y="10106"/>
                </a:lnTo>
                <a:lnTo>
                  <a:pt x="16042" y="7998"/>
                </a:lnTo>
                <a:cubicBezTo>
                  <a:pt x="15944" y="7909"/>
                  <a:pt x="15809" y="7855"/>
                  <a:pt x="15660" y="7855"/>
                </a:cubicBezTo>
                <a:cubicBezTo>
                  <a:pt x="15362" y="7855"/>
                  <a:pt x="15120" y="8074"/>
                  <a:pt x="15120" y="8345"/>
                </a:cubicBezTo>
                <a:cubicBezTo>
                  <a:pt x="15120" y="8481"/>
                  <a:pt x="15180" y="8604"/>
                  <a:pt x="15278" y="8693"/>
                </a:cubicBezTo>
                <a:lnTo>
                  <a:pt x="17596" y="10800"/>
                </a:lnTo>
                <a:lnTo>
                  <a:pt x="15278" y="12907"/>
                </a:lnTo>
                <a:cubicBezTo>
                  <a:pt x="15180" y="12996"/>
                  <a:pt x="15120" y="13119"/>
                  <a:pt x="15120" y="13255"/>
                </a:cubicBezTo>
                <a:cubicBezTo>
                  <a:pt x="15120" y="13526"/>
                  <a:pt x="15362" y="13745"/>
                  <a:pt x="15660" y="13745"/>
                </a:cubicBezTo>
                <a:cubicBezTo>
                  <a:pt x="15809" y="13745"/>
                  <a:pt x="15944" y="13691"/>
                  <a:pt x="16042" y="13602"/>
                </a:cubicBezTo>
                <a:lnTo>
                  <a:pt x="18360" y="11494"/>
                </a:lnTo>
                <a:lnTo>
                  <a:pt x="20678" y="13602"/>
                </a:lnTo>
                <a:cubicBezTo>
                  <a:pt x="20776" y="13691"/>
                  <a:pt x="20911" y="13745"/>
                  <a:pt x="21060" y="13745"/>
                </a:cubicBezTo>
                <a:cubicBezTo>
                  <a:pt x="21358" y="13745"/>
                  <a:pt x="21600" y="13526"/>
                  <a:pt x="21600" y="13255"/>
                </a:cubicBezTo>
                <a:cubicBezTo>
                  <a:pt x="21600" y="13119"/>
                  <a:pt x="21540" y="12996"/>
                  <a:pt x="21442" y="12907"/>
                </a:cubicBezTo>
                <a:cubicBezTo>
                  <a:pt x="21442" y="12907"/>
                  <a:pt x="19124" y="10800"/>
                  <a:pt x="19124"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5" name="Shape 2675"/>
          <p:cNvSpPr/>
          <p:nvPr/>
        </p:nvSpPr>
        <p:spPr>
          <a:xfrm>
            <a:off x="3907823" y="2269744"/>
            <a:ext cx="114327" cy="209495"/>
          </a:xfrm>
          <a:custGeom>
            <a:avLst/>
            <a:gdLst/>
            <a:ahLst/>
            <a:cxnLst>
              <a:cxn ang="0">
                <a:pos x="wd2" y="hd2"/>
              </a:cxn>
              <a:cxn ang="5400000">
                <a:pos x="wd2" y="hd2"/>
              </a:cxn>
              <a:cxn ang="10800000">
                <a:pos x="wd2" y="hd2"/>
              </a:cxn>
              <a:cxn ang="16200000">
                <a:pos x="wd2" y="hd2"/>
              </a:cxn>
            </a:cxnLst>
            <a:rect l="0" t="0" r="r" b="b"/>
            <a:pathLst>
              <a:path w="21600" h="21600" extrusionOk="0">
                <a:moveTo>
                  <a:pt x="19790" y="20121"/>
                </a:moveTo>
                <a:cubicBezTo>
                  <a:pt x="19790" y="20393"/>
                  <a:pt x="19385" y="20612"/>
                  <a:pt x="18886" y="20612"/>
                </a:cubicBezTo>
                <a:cubicBezTo>
                  <a:pt x="18626" y="20612"/>
                  <a:pt x="18396" y="20552"/>
                  <a:pt x="18231" y="20457"/>
                </a:cubicBezTo>
                <a:lnTo>
                  <a:pt x="18227" y="20459"/>
                </a:lnTo>
                <a:lnTo>
                  <a:pt x="17991" y="20342"/>
                </a:lnTo>
                <a:lnTo>
                  <a:pt x="17991" y="1256"/>
                </a:lnTo>
                <a:lnTo>
                  <a:pt x="18255" y="1126"/>
                </a:lnTo>
                <a:lnTo>
                  <a:pt x="18258" y="1127"/>
                </a:lnTo>
                <a:cubicBezTo>
                  <a:pt x="18421" y="1042"/>
                  <a:pt x="18641" y="987"/>
                  <a:pt x="18886" y="987"/>
                </a:cubicBezTo>
                <a:cubicBezTo>
                  <a:pt x="19385" y="987"/>
                  <a:pt x="19790" y="1208"/>
                  <a:pt x="19790" y="1479"/>
                </a:cubicBezTo>
                <a:cubicBezTo>
                  <a:pt x="19790" y="1479"/>
                  <a:pt x="19790" y="20121"/>
                  <a:pt x="19790" y="20121"/>
                </a:cubicBezTo>
                <a:close/>
                <a:moveTo>
                  <a:pt x="16192" y="19448"/>
                </a:moveTo>
                <a:lnTo>
                  <a:pt x="7196" y="14978"/>
                </a:lnTo>
                <a:lnTo>
                  <a:pt x="7196" y="6607"/>
                </a:lnTo>
                <a:lnTo>
                  <a:pt x="7599" y="6407"/>
                </a:lnTo>
                <a:lnTo>
                  <a:pt x="7595" y="6406"/>
                </a:lnTo>
                <a:lnTo>
                  <a:pt x="16192" y="2147"/>
                </a:lnTo>
                <a:cubicBezTo>
                  <a:pt x="16192" y="2147"/>
                  <a:pt x="16192" y="19448"/>
                  <a:pt x="16192" y="19448"/>
                </a:cubicBezTo>
                <a:close/>
                <a:moveTo>
                  <a:pt x="5397" y="14648"/>
                </a:moveTo>
                <a:cubicBezTo>
                  <a:pt x="3344" y="14284"/>
                  <a:pt x="1799" y="12700"/>
                  <a:pt x="1799" y="10800"/>
                </a:cubicBezTo>
                <a:cubicBezTo>
                  <a:pt x="1799" y="8900"/>
                  <a:pt x="3344" y="7315"/>
                  <a:pt x="5397" y="6952"/>
                </a:cubicBezTo>
                <a:cubicBezTo>
                  <a:pt x="5397" y="6952"/>
                  <a:pt x="5397" y="14648"/>
                  <a:pt x="5397" y="14648"/>
                </a:cubicBezTo>
                <a:close/>
                <a:moveTo>
                  <a:pt x="21589" y="1527"/>
                </a:moveTo>
                <a:cubicBezTo>
                  <a:pt x="21591" y="1508"/>
                  <a:pt x="21600" y="1490"/>
                  <a:pt x="21600" y="1472"/>
                </a:cubicBezTo>
                <a:cubicBezTo>
                  <a:pt x="21600" y="658"/>
                  <a:pt x="20386" y="0"/>
                  <a:pt x="18889" y="0"/>
                </a:cubicBezTo>
                <a:cubicBezTo>
                  <a:pt x="18123" y="0"/>
                  <a:pt x="17435" y="174"/>
                  <a:pt x="16942" y="451"/>
                </a:cubicBezTo>
                <a:lnTo>
                  <a:pt x="5939" y="5905"/>
                </a:lnTo>
                <a:cubicBezTo>
                  <a:pt x="2628" y="6050"/>
                  <a:pt x="0" y="8183"/>
                  <a:pt x="0" y="10800"/>
                </a:cubicBezTo>
                <a:cubicBezTo>
                  <a:pt x="0" y="13425"/>
                  <a:pt x="2646" y="15563"/>
                  <a:pt x="5972" y="15696"/>
                </a:cubicBezTo>
                <a:lnTo>
                  <a:pt x="16942" y="21148"/>
                </a:lnTo>
                <a:cubicBezTo>
                  <a:pt x="17434" y="21426"/>
                  <a:pt x="18123" y="21600"/>
                  <a:pt x="18889" y="21600"/>
                </a:cubicBezTo>
                <a:cubicBezTo>
                  <a:pt x="20386" y="21600"/>
                  <a:pt x="21600" y="20941"/>
                  <a:pt x="21600" y="20129"/>
                </a:cubicBezTo>
                <a:cubicBezTo>
                  <a:pt x="21600" y="20110"/>
                  <a:pt x="21591" y="20092"/>
                  <a:pt x="21589" y="20073"/>
                </a:cubicBezTo>
                <a:cubicBezTo>
                  <a:pt x="21589" y="20073"/>
                  <a:pt x="21589" y="1527"/>
                  <a:pt x="21589" y="15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6" name="Shape 2676"/>
          <p:cNvSpPr/>
          <p:nvPr/>
        </p:nvSpPr>
        <p:spPr>
          <a:xfrm>
            <a:off x="4288725" y="2269744"/>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4850" y="20121"/>
                </a:moveTo>
                <a:cubicBezTo>
                  <a:pt x="14850" y="20393"/>
                  <a:pt x="14546" y="20612"/>
                  <a:pt x="14171" y="20612"/>
                </a:cubicBezTo>
                <a:cubicBezTo>
                  <a:pt x="13977" y="20612"/>
                  <a:pt x="13804" y="20552"/>
                  <a:pt x="13680" y="20457"/>
                </a:cubicBezTo>
                <a:lnTo>
                  <a:pt x="13677" y="20459"/>
                </a:lnTo>
                <a:lnTo>
                  <a:pt x="13500" y="20342"/>
                </a:lnTo>
                <a:lnTo>
                  <a:pt x="13500" y="1256"/>
                </a:lnTo>
                <a:lnTo>
                  <a:pt x="13698" y="1126"/>
                </a:lnTo>
                <a:lnTo>
                  <a:pt x="13700" y="1127"/>
                </a:lnTo>
                <a:cubicBezTo>
                  <a:pt x="13822" y="1042"/>
                  <a:pt x="13988" y="987"/>
                  <a:pt x="14171" y="987"/>
                </a:cubicBezTo>
                <a:cubicBezTo>
                  <a:pt x="14546" y="987"/>
                  <a:pt x="14850" y="1208"/>
                  <a:pt x="14850" y="1479"/>
                </a:cubicBezTo>
                <a:cubicBezTo>
                  <a:pt x="14850" y="1479"/>
                  <a:pt x="14850" y="20121"/>
                  <a:pt x="14850" y="20121"/>
                </a:cubicBezTo>
                <a:close/>
                <a:moveTo>
                  <a:pt x="12150" y="19448"/>
                </a:moveTo>
                <a:lnTo>
                  <a:pt x="5400" y="14978"/>
                </a:lnTo>
                <a:lnTo>
                  <a:pt x="5400" y="6607"/>
                </a:lnTo>
                <a:lnTo>
                  <a:pt x="5702" y="6407"/>
                </a:lnTo>
                <a:lnTo>
                  <a:pt x="5699" y="6406"/>
                </a:lnTo>
                <a:lnTo>
                  <a:pt x="12150" y="2147"/>
                </a:lnTo>
                <a:cubicBezTo>
                  <a:pt x="12150" y="2147"/>
                  <a:pt x="12150" y="19448"/>
                  <a:pt x="12150" y="19448"/>
                </a:cubicBezTo>
                <a:close/>
                <a:moveTo>
                  <a:pt x="4050" y="14648"/>
                </a:moveTo>
                <a:cubicBezTo>
                  <a:pt x="2509" y="14284"/>
                  <a:pt x="1350" y="12700"/>
                  <a:pt x="1350" y="10800"/>
                </a:cubicBezTo>
                <a:cubicBezTo>
                  <a:pt x="1350" y="8900"/>
                  <a:pt x="2509" y="7315"/>
                  <a:pt x="4050" y="6952"/>
                </a:cubicBezTo>
                <a:cubicBezTo>
                  <a:pt x="4050" y="6952"/>
                  <a:pt x="4050" y="14648"/>
                  <a:pt x="4050" y="14648"/>
                </a:cubicBezTo>
                <a:close/>
                <a:moveTo>
                  <a:pt x="16208" y="1472"/>
                </a:moveTo>
                <a:cubicBezTo>
                  <a:pt x="16208" y="658"/>
                  <a:pt x="15297" y="0"/>
                  <a:pt x="14174" y="0"/>
                </a:cubicBezTo>
                <a:cubicBezTo>
                  <a:pt x="13599" y="0"/>
                  <a:pt x="13083" y="174"/>
                  <a:pt x="12713" y="451"/>
                </a:cubicBezTo>
                <a:lnTo>
                  <a:pt x="4456" y="5905"/>
                </a:lnTo>
                <a:cubicBezTo>
                  <a:pt x="1972" y="6050"/>
                  <a:pt x="0" y="8183"/>
                  <a:pt x="0" y="10800"/>
                </a:cubicBezTo>
                <a:cubicBezTo>
                  <a:pt x="0" y="13425"/>
                  <a:pt x="1985" y="15563"/>
                  <a:pt x="4481" y="15696"/>
                </a:cubicBezTo>
                <a:lnTo>
                  <a:pt x="12713" y="21148"/>
                </a:lnTo>
                <a:cubicBezTo>
                  <a:pt x="13083" y="21426"/>
                  <a:pt x="13599" y="21600"/>
                  <a:pt x="14174" y="21600"/>
                </a:cubicBezTo>
                <a:cubicBezTo>
                  <a:pt x="15297" y="21600"/>
                  <a:pt x="16208" y="20941"/>
                  <a:pt x="16208" y="20129"/>
                </a:cubicBezTo>
                <a:cubicBezTo>
                  <a:pt x="16208" y="20110"/>
                  <a:pt x="16201" y="20092"/>
                  <a:pt x="16200" y="20073"/>
                </a:cubicBezTo>
                <a:lnTo>
                  <a:pt x="16200" y="1527"/>
                </a:lnTo>
                <a:cubicBezTo>
                  <a:pt x="16201" y="1508"/>
                  <a:pt x="16208" y="1490"/>
                  <a:pt x="16208" y="1472"/>
                </a:cubicBezTo>
                <a:moveTo>
                  <a:pt x="18225" y="7855"/>
                </a:moveTo>
                <a:cubicBezTo>
                  <a:pt x="17852" y="7855"/>
                  <a:pt x="17550" y="8074"/>
                  <a:pt x="17550" y="8345"/>
                </a:cubicBezTo>
                <a:cubicBezTo>
                  <a:pt x="17550" y="8617"/>
                  <a:pt x="17852" y="8836"/>
                  <a:pt x="18225" y="8836"/>
                </a:cubicBezTo>
                <a:cubicBezTo>
                  <a:pt x="19344" y="8836"/>
                  <a:pt x="20250" y="9716"/>
                  <a:pt x="20250" y="10800"/>
                </a:cubicBezTo>
                <a:cubicBezTo>
                  <a:pt x="20250" y="11884"/>
                  <a:pt x="19344" y="12764"/>
                  <a:pt x="18225" y="12764"/>
                </a:cubicBezTo>
                <a:cubicBezTo>
                  <a:pt x="17852" y="12764"/>
                  <a:pt x="17550" y="12983"/>
                  <a:pt x="17550" y="13255"/>
                </a:cubicBezTo>
                <a:cubicBezTo>
                  <a:pt x="17550" y="13526"/>
                  <a:pt x="17852" y="13745"/>
                  <a:pt x="18225" y="13745"/>
                </a:cubicBezTo>
                <a:cubicBezTo>
                  <a:pt x="20089" y="13745"/>
                  <a:pt x="21600" y="12426"/>
                  <a:pt x="21600" y="10800"/>
                </a:cubicBezTo>
                <a:cubicBezTo>
                  <a:pt x="21600" y="9173"/>
                  <a:pt x="20089" y="7855"/>
                  <a:pt x="1822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7" name="Shape 2677"/>
          <p:cNvSpPr/>
          <p:nvPr/>
        </p:nvSpPr>
        <p:spPr>
          <a:xfrm>
            <a:off x="4717310"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5660" y="7855"/>
                </a:moveTo>
                <a:cubicBezTo>
                  <a:pt x="15362" y="7855"/>
                  <a:pt x="15120" y="8075"/>
                  <a:pt x="15120" y="8345"/>
                </a:cubicBezTo>
                <a:cubicBezTo>
                  <a:pt x="15120" y="8617"/>
                  <a:pt x="15362" y="8836"/>
                  <a:pt x="15660" y="8836"/>
                </a:cubicBezTo>
                <a:cubicBezTo>
                  <a:pt x="16555" y="8836"/>
                  <a:pt x="17280" y="9716"/>
                  <a:pt x="17280" y="10800"/>
                </a:cubicBezTo>
                <a:cubicBezTo>
                  <a:pt x="17280" y="11884"/>
                  <a:pt x="16555" y="12764"/>
                  <a:pt x="15660" y="12764"/>
                </a:cubicBezTo>
                <a:cubicBezTo>
                  <a:pt x="15362" y="12764"/>
                  <a:pt x="15120" y="12984"/>
                  <a:pt x="15120" y="13255"/>
                </a:cubicBezTo>
                <a:cubicBezTo>
                  <a:pt x="15120" y="13526"/>
                  <a:pt x="15362" y="13745"/>
                  <a:pt x="15660" y="13745"/>
                </a:cubicBezTo>
                <a:cubicBezTo>
                  <a:pt x="17151" y="13745"/>
                  <a:pt x="18360" y="12427"/>
                  <a:pt x="18360" y="10800"/>
                </a:cubicBezTo>
                <a:cubicBezTo>
                  <a:pt x="18360" y="9174"/>
                  <a:pt x="17151" y="7855"/>
                  <a:pt x="15660" y="7855"/>
                </a:cubicBezTo>
                <a:moveTo>
                  <a:pt x="18472" y="5611"/>
                </a:moveTo>
                <a:lnTo>
                  <a:pt x="18463" y="5625"/>
                </a:lnTo>
                <a:cubicBezTo>
                  <a:pt x="18383" y="5584"/>
                  <a:pt x="18296" y="5554"/>
                  <a:pt x="18198" y="5554"/>
                </a:cubicBezTo>
                <a:cubicBezTo>
                  <a:pt x="17900" y="5554"/>
                  <a:pt x="17660" y="5774"/>
                  <a:pt x="17660" y="6044"/>
                </a:cubicBezTo>
                <a:cubicBezTo>
                  <a:pt x="17660" y="6216"/>
                  <a:pt x="17763" y="6361"/>
                  <a:pt x="17910" y="6449"/>
                </a:cubicBezTo>
                <a:lnTo>
                  <a:pt x="17909" y="6451"/>
                </a:lnTo>
                <a:cubicBezTo>
                  <a:pt x="19460" y="7271"/>
                  <a:pt x="20520" y="8909"/>
                  <a:pt x="20520" y="10800"/>
                </a:cubicBezTo>
                <a:cubicBezTo>
                  <a:pt x="20520" y="12689"/>
                  <a:pt x="19463" y="14325"/>
                  <a:pt x="17915" y="15147"/>
                </a:cubicBezTo>
                <a:lnTo>
                  <a:pt x="17919" y="15152"/>
                </a:lnTo>
                <a:cubicBezTo>
                  <a:pt x="17771" y="15239"/>
                  <a:pt x="17668" y="15384"/>
                  <a:pt x="17668" y="15556"/>
                </a:cubicBezTo>
                <a:cubicBezTo>
                  <a:pt x="17668" y="15827"/>
                  <a:pt x="17910" y="16046"/>
                  <a:pt x="18208" y="16046"/>
                </a:cubicBezTo>
                <a:cubicBezTo>
                  <a:pt x="18306" y="16046"/>
                  <a:pt x="18393" y="16016"/>
                  <a:pt x="18473" y="15975"/>
                </a:cubicBezTo>
                <a:lnTo>
                  <a:pt x="18480" y="15985"/>
                </a:lnTo>
                <a:cubicBezTo>
                  <a:pt x="20338" y="14990"/>
                  <a:pt x="21600" y="13041"/>
                  <a:pt x="21600" y="10800"/>
                </a:cubicBezTo>
                <a:cubicBezTo>
                  <a:pt x="21600" y="8556"/>
                  <a:pt x="20334" y="6606"/>
                  <a:pt x="18472" y="5611"/>
                </a:cubicBezTo>
                <a:moveTo>
                  <a:pt x="11880" y="20121"/>
                </a:moveTo>
                <a:cubicBezTo>
                  <a:pt x="11880" y="20393"/>
                  <a:pt x="11637" y="20612"/>
                  <a:pt x="11337" y="20612"/>
                </a:cubicBezTo>
                <a:cubicBezTo>
                  <a:pt x="11181" y="20612"/>
                  <a:pt x="11043" y="20552"/>
                  <a:pt x="10944" y="20457"/>
                </a:cubicBezTo>
                <a:lnTo>
                  <a:pt x="10942" y="20459"/>
                </a:lnTo>
                <a:lnTo>
                  <a:pt x="10800" y="20342"/>
                </a:lnTo>
                <a:lnTo>
                  <a:pt x="10800" y="1256"/>
                </a:lnTo>
                <a:lnTo>
                  <a:pt x="10958" y="1126"/>
                </a:lnTo>
                <a:lnTo>
                  <a:pt x="10960" y="1127"/>
                </a:lnTo>
                <a:cubicBezTo>
                  <a:pt x="11058" y="1042"/>
                  <a:pt x="11190" y="988"/>
                  <a:pt x="11337" y="988"/>
                </a:cubicBezTo>
                <a:cubicBezTo>
                  <a:pt x="11637" y="988"/>
                  <a:pt x="11880" y="1208"/>
                  <a:pt x="11880" y="1480"/>
                </a:cubicBezTo>
                <a:cubicBezTo>
                  <a:pt x="11880" y="1480"/>
                  <a:pt x="11880" y="20121"/>
                  <a:pt x="11880" y="20121"/>
                </a:cubicBezTo>
                <a:close/>
                <a:moveTo>
                  <a:pt x="9720" y="19448"/>
                </a:moveTo>
                <a:lnTo>
                  <a:pt x="4320" y="14979"/>
                </a:lnTo>
                <a:lnTo>
                  <a:pt x="4320" y="6607"/>
                </a:lnTo>
                <a:lnTo>
                  <a:pt x="4561" y="6407"/>
                </a:lnTo>
                <a:lnTo>
                  <a:pt x="4560" y="6406"/>
                </a:lnTo>
                <a:lnTo>
                  <a:pt x="9720" y="2147"/>
                </a:lnTo>
                <a:cubicBezTo>
                  <a:pt x="9720" y="2147"/>
                  <a:pt x="9720" y="19448"/>
                  <a:pt x="9720" y="19448"/>
                </a:cubicBezTo>
                <a:close/>
                <a:moveTo>
                  <a:pt x="3240" y="14649"/>
                </a:moveTo>
                <a:cubicBezTo>
                  <a:pt x="2008" y="14285"/>
                  <a:pt x="1080" y="12700"/>
                  <a:pt x="1080" y="10800"/>
                </a:cubicBezTo>
                <a:cubicBezTo>
                  <a:pt x="1080" y="8900"/>
                  <a:pt x="2008" y="7316"/>
                  <a:pt x="3240" y="6952"/>
                </a:cubicBezTo>
                <a:cubicBezTo>
                  <a:pt x="3240" y="6952"/>
                  <a:pt x="3240" y="14649"/>
                  <a:pt x="3240" y="14649"/>
                </a:cubicBezTo>
                <a:close/>
                <a:moveTo>
                  <a:pt x="12966" y="1472"/>
                </a:moveTo>
                <a:cubicBezTo>
                  <a:pt x="12966" y="659"/>
                  <a:pt x="12238" y="0"/>
                  <a:pt x="11339" y="0"/>
                </a:cubicBezTo>
                <a:cubicBezTo>
                  <a:pt x="10879" y="0"/>
                  <a:pt x="10466" y="175"/>
                  <a:pt x="10170" y="451"/>
                </a:cubicBezTo>
                <a:lnTo>
                  <a:pt x="3565" y="5905"/>
                </a:lnTo>
                <a:cubicBezTo>
                  <a:pt x="1578" y="6051"/>
                  <a:pt x="0" y="8183"/>
                  <a:pt x="0" y="10800"/>
                </a:cubicBezTo>
                <a:cubicBezTo>
                  <a:pt x="0" y="13426"/>
                  <a:pt x="1588" y="15564"/>
                  <a:pt x="3585" y="15697"/>
                </a:cubicBezTo>
                <a:lnTo>
                  <a:pt x="10170" y="21148"/>
                </a:lnTo>
                <a:cubicBezTo>
                  <a:pt x="10466" y="21426"/>
                  <a:pt x="10879" y="21600"/>
                  <a:pt x="11339" y="21600"/>
                </a:cubicBezTo>
                <a:cubicBezTo>
                  <a:pt x="12238" y="21600"/>
                  <a:pt x="12966" y="20941"/>
                  <a:pt x="12966" y="20129"/>
                </a:cubicBezTo>
                <a:cubicBezTo>
                  <a:pt x="12966" y="20110"/>
                  <a:pt x="12961" y="20093"/>
                  <a:pt x="12960" y="20074"/>
                </a:cubicBezTo>
                <a:lnTo>
                  <a:pt x="12960" y="1527"/>
                </a:lnTo>
                <a:cubicBezTo>
                  <a:pt x="12961" y="1508"/>
                  <a:pt x="12966" y="1490"/>
                  <a:pt x="12966" y="147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8" name="Shape 2678"/>
          <p:cNvSpPr/>
          <p:nvPr/>
        </p:nvSpPr>
        <p:spPr>
          <a:xfrm>
            <a:off x="510773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121"/>
                </a:moveTo>
                <a:cubicBezTo>
                  <a:pt x="10800" y="20393"/>
                  <a:pt x="10579" y="20612"/>
                  <a:pt x="10306" y="20612"/>
                </a:cubicBezTo>
                <a:cubicBezTo>
                  <a:pt x="10165" y="20612"/>
                  <a:pt x="10039" y="20552"/>
                  <a:pt x="9949" y="20457"/>
                </a:cubicBezTo>
                <a:lnTo>
                  <a:pt x="9947" y="20459"/>
                </a:lnTo>
                <a:lnTo>
                  <a:pt x="9818" y="20342"/>
                </a:lnTo>
                <a:lnTo>
                  <a:pt x="9818" y="1256"/>
                </a:lnTo>
                <a:lnTo>
                  <a:pt x="9962" y="1126"/>
                </a:lnTo>
                <a:lnTo>
                  <a:pt x="9963" y="1127"/>
                </a:lnTo>
                <a:cubicBezTo>
                  <a:pt x="10052" y="1042"/>
                  <a:pt x="10173" y="987"/>
                  <a:pt x="10306" y="987"/>
                </a:cubicBezTo>
                <a:cubicBezTo>
                  <a:pt x="10579" y="987"/>
                  <a:pt x="10800" y="1208"/>
                  <a:pt x="10800" y="1479"/>
                </a:cubicBezTo>
                <a:cubicBezTo>
                  <a:pt x="10800" y="1479"/>
                  <a:pt x="10800" y="20121"/>
                  <a:pt x="10800" y="20121"/>
                </a:cubicBezTo>
                <a:close/>
                <a:moveTo>
                  <a:pt x="8836" y="19448"/>
                </a:moveTo>
                <a:lnTo>
                  <a:pt x="3927" y="14979"/>
                </a:lnTo>
                <a:lnTo>
                  <a:pt x="3927" y="6607"/>
                </a:lnTo>
                <a:lnTo>
                  <a:pt x="4147" y="6407"/>
                </a:lnTo>
                <a:lnTo>
                  <a:pt x="4145" y="6406"/>
                </a:lnTo>
                <a:lnTo>
                  <a:pt x="8836" y="2147"/>
                </a:lnTo>
                <a:cubicBezTo>
                  <a:pt x="8836" y="2147"/>
                  <a:pt x="8836" y="19448"/>
                  <a:pt x="8836" y="19448"/>
                </a:cubicBezTo>
                <a:close/>
                <a:moveTo>
                  <a:pt x="2945" y="14649"/>
                </a:moveTo>
                <a:cubicBezTo>
                  <a:pt x="1825" y="14285"/>
                  <a:pt x="982" y="12700"/>
                  <a:pt x="982" y="10800"/>
                </a:cubicBezTo>
                <a:cubicBezTo>
                  <a:pt x="982" y="8900"/>
                  <a:pt x="1825" y="7315"/>
                  <a:pt x="2945" y="6952"/>
                </a:cubicBezTo>
                <a:cubicBezTo>
                  <a:pt x="2945" y="6952"/>
                  <a:pt x="2945" y="14649"/>
                  <a:pt x="2945" y="14649"/>
                </a:cubicBezTo>
                <a:close/>
                <a:moveTo>
                  <a:pt x="11787" y="1472"/>
                </a:moveTo>
                <a:cubicBezTo>
                  <a:pt x="11787" y="658"/>
                  <a:pt x="11126" y="0"/>
                  <a:pt x="10308" y="0"/>
                </a:cubicBezTo>
                <a:cubicBezTo>
                  <a:pt x="9890" y="0"/>
                  <a:pt x="9515" y="174"/>
                  <a:pt x="9246" y="451"/>
                </a:cubicBezTo>
                <a:lnTo>
                  <a:pt x="3241" y="5905"/>
                </a:lnTo>
                <a:cubicBezTo>
                  <a:pt x="1434" y="6051"/>
                  <a:pt x="0" y="8183"/>
                  <a:pt x="0" y="10800"/>
                </a:cubicBezTo>
                <a:cubicBezTo>
                  <a:pt x="0" y="13425"/>
                  <a:pt x="1444" y="15563"/>
                  <a:pt x="3259" y="15696"/>
                </a:cubicBezTo>
                <a:lnTo>
                  <a:pt x="9245" y="21148"/>
                </a:lnTo>
                <a:cubicBezTo>
                  <a:pt x="9514" y="21426"/>
                  <a:pt x="9890" y="21600"/>
                  <a:pt x="10308" y="21600"/>
                </a:cubicBezTo>
                <a:cubicBezTo>
                  <a:pt x="11126" y="21600"/>
                  <a:pt x="11787" y="20941"/>
                  <a:pt x="11787" y="20129"/>
                </a:cubicBezTo>
                <a:cubicBezTo>
                  <a:pt x="11787" y="20110"/>
                  <a:pt x="11782" y="20092"/>
                  <a:pt x="11782" y="20073"/>
                </a:cubicBezTo>
                <a:lnTo>
                  <a:pt x="11782" y="1527"/>
                </a:lnTo>
                <a:cubicBezTo>
                  <a:pt x="11782" y="1508"/>
                  <a:pt x="11787" y="1490"/>
                  <a:pt x="11787" y="1472"/>
                </a:cubicBezTo>
                <a:moveTo>
                  <a:pt x="13255" y="7855"/>
                </a:moveTo>
                <a:cubicBezTo>
                  <a:pt x="12984" y="7855"/>
                  <a:pt x="12764" y="8074"/>
                  <a:pt x="12764" y="8345"/>
                </a:cubicBezTo>
                <a:cubicBezTo>
                  <a:pt x="12764" y="8617"/>
                  <a:pt x="12984" y="8836"/>
                  <a:pt x="13255" y="8836"/>
                </a:cubicBezTo>
                <a:cubicBezTo>
                  <a:pt x="14068" y="8836"/>
                  <a:pt x="14727" y="9716"/>
                  <a:pt x="14727" y="10800"/>
                </a:cubicBezTo>
                <a:cubicBezTo>
                  <a:pt x="14727" y="11884"/>
                  <a:pt x="14068" y="12764"/>
                  <a:pt x="13255" y="12764"/>
                </a:cubicBezTo>
                <a:cubicBezTo>
                  <a:pt x="12984" y="12764"/>
                  <a:pt x="12764" y="12983"/>
                  <a:pt x="12764" y="13255"/>
                </a:cubicBezTo>
                <a:cubicBezTo>
                  <a:pt x="12764" y="13526"/>
                  <a:pt x="12984" y="13745"/>
                  <a:pt x="13255" y="13745"/>
                </a:cubicBezTo>
                <a:cubicBezTo>
                  <a:pt x="14610" y="13745"/>
                  <a:pt x="15709" y="12427"/>
                  <a:pt x="15709" y="10800"/>
                </a:cubicBezTo>
                <a:cubicBezTo>
                  <a:pt x="15709" y="9173"/>
                  <a:pt x="14610" y="7855"/>
                  <a:pt x="13255" y="7855"/>
                </a:cubicBezTo>
                <a:moveTo>
                  <a:pt x="17948" y="3495"/>
                </a:moveTo>
                <a:lnTo>
                  <a:pt x="17938" y="3509"/>
                </a:lnTo>
                <a:cubicBezTo>
                  <a:pt x="17860" y="3458"/>
                  <a:pt x="17773" y="3421"/>
                  <a:pt x="17674" y="3421"/>
                </a:cubicBezTo>
                <a:cubicBezTo>
                  <a:pt x="17403" y="3421"/>
                  <a:pt x="17184" y="3641"/>
                  <a:pt x="17184" y="3912"/>
                </a:cubicBezTo>
                <a:cubicBezTo>
                  <a:pt x="17184" y="4073"/>
                  <a:pt x="17266" y="4209"/>
                  <a:pt x="17386" y="4298"/>
                </a:cubicBezTo>
                <a:cubicBezTo>
                  <a:pt x="19336" y="5711"/>
                  <a:pt x="20618" y="8095"/>
                  <a:pt x="20618" y="10800"/>
                </a:cubicBezTo>
                <a:cubicBezTo>
                  <a:pt x="20618" y="13505"/>
                  <a:pt x="19336" y="15889"/>
                  <a:pt x="17385" y="17302"/>
                </a:cubicBezTo>
                <a:lnTo>
                  <a:pt x="17389" y="17309"/>
                </a:lnTo>
                <a:cubicBezTo>
                  <a:pt x="17275" y="17398"/>
                  <a:pt x="17197" y="17531"/>
                  <a:pt x="17197" y="17688"/>
                </a:cubicBezTo>
                <a:cubicBezTo>
                  <a:pt x="17197" y="17959"/>
                  <a:pt x="17417" y="18179"/>
                  <a:pt x="17688" y="18179"/>
                </a:cubicBezTo>
                <a:cubicBezTo>
                  <a:pt x="17788" y="18179"/>
                  <a:pt x="17875" y="18142"/>
                  <a:pt x="17952" y="18091"/>
                </a:cubicBezTo>
                <a:lnTo>
                  <a:pt x="17957" y="18098"/>
                </a:lnTo>
                <a:cubicBezTo>
                  <a:pt x="17982" y="18080"/>
                  <a:pt x="18004" y="18057"/>
                  <a:pt x="18029" y="18039"/>
                </a:cubicBezTo>
                <a:cubicBezTo>
                  <a:pt x="18031" y="18037"/>
                  <a:pt x="18034" y="18035"/>
                  <a:pt x="18037" y="18033"/>
                </a:cubicBezTo>
                <a:cubicBezTo>
                  <a:pt x="20189" y="16435"/>
                  <a:pt x="21600" y="13794"/>
                  <a:pt x="21600" y="10800"/>
                </a:cubicBezTo>
                <a:cubicBezTo>
                  <a:pt x="21600" y="7763"/>
                  <a:pt x="20152" y="5085"/>
                  <a:pt x="17948" y="3495"/>
                </a:cubicBezTo>
                <a:moveTo>
                  <a:pt x="15811" y="5611"/>
                </a:moveTo>
                <a:lnTo>
                  <a:pt x="15802" y="5625"/>
                </a:lnTo>
                <a:cubicBezTo>
                  <a:pt x="15730" y="5584"/>
                  <a:pt x="15651" y="5553"/>
                  <a:pt x="15562" y="5553"/>
                </a:cubicBezTo>
                <a:cubicBezTo>
                  <a:pt x="15291" y="5553"/>
                  <a:pt x="15072" y="5773"/>
                  <a:pt x="15072" y="6044"/>
                </a:cubicBezTo>
                <a:cubicBezTo>
                  <a:pt x="15072" y="6216"/>
                  <a:pt x="15166" y="6361"/>
                  <a:pt x="15300" y="6448"/>
                </a:cubicBezTo>
                <a:lnTo>
                  <a:pt x="15299" y="6450"/>
                </a:lnTo>
                <a:cubicBezTo>
                  <a:pt x="16709" y="7270"/>
                  <a:pt x="17673" y="8909"/>
                  <a:pt x="17673" y="10800"/>
                </a:cubicBezTo>
                <a:cubicBezTo>
                  <a:pt x="17673" y="12688"/>
                  <a:pt x="16712" y="14325"/>
                  <a:pt x="15305" y="15146"/>
                </a:cubicBezTo>
                <a:lnTo>
                  <a:pt x="15309" y="15151"/>
                </a:lnTo>
                <a:cubicBezTo>
                  <a:pt x="15174" y="15239"/>
                  <a:pt x="15080" y="15384"/>
                  <a:pt x="15080" y="15555"/>
                </a:cubicBezTo>
                <a:cubicBezTo>
                  <a:pt x="15080" y="15827"/>
                  <a:pt x="15300" y="16046"/>
                  <a:pt x="15571" y="16046"/>
                </a:cubicBezTo>
                <a:cubicBezTo>
                  <a:pt x="15660" y="16046"/>
                  <a:pt x="15740" y="16016"/>
                  <a:pt x="15812" y="15975"/>
                </a:cubicBezTo>
                <a:lnTo>
                  <a:pt x="15819" y="15985"/>
                </a:lnTo>
                <a:cubicBezTo>
                  <a:pt x="17507" y="14989"/>
                  <a:pt x="18655" y="13041"/>
                  <a:pt x="18655" y="10800"/>
                </a:cubicBezTo>
                <a:cubicBezTo>
                  <a:pt x="18655" y="8556"/>
                  <a:pt x="17504" y="6606"/>
                  <a:pt x="15811" y="561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79" name="Shape 2679"/>
          <p:cNvSpPr/>
          <p:nvPr/>
        </p:nvSpPr>
        <p:spPr>
          <a:xfrm>
            <a:off x="5507680" y="1079430"/>
            <a:ext cx="209495" cy="190449"/>
          </a:xfrm>
          <a:custGeom>
            <a:avLst/>
            <a:gdLst/>
            <a:ahLst/>
            <a:cxnLst>
              <a:cxn ang="0">
                <a:pos x="wd2" y="hd2"/>
              </a:cxn>
              <a:cxn ang="5400000">
                <a:pos x="wd2" y="hd2"/>
              </a:cxn>
              <a:cxn ang="10800000">
                <a:pos x="wd2" y="hd2"/>
              </a:cxn>
              <a:cxn ang="16200000">
                <a:pos x="wd2" y="hd2"/>
              </a:cxn>
            </a:cxnLst>
            <a:rect l="0" t="0" r="r" b="b"/>
            <a:pathLst>
              <a:path w="21600" h="21524" extrusionOk="0">
                <a:moveTo>
                  <a:pt x="17182" y="13452"/>
                </a:moveTo>
                <a:cubicBezTo>
                  <a:pt x="16640" y="13452"/>
                  <a:pt x="16200" y="13935"/>
                  <a:pt x="16200" y="14529"/>
                </a:cubicBezTo>
                <a:cubicBezTo>
                  <a:pt x="16200" y="15123"/>
                  <a:pt x="16640" y="15605"/>
                  <a:pt x="17182" y="15605"/>
                </a:cubicBezTo>
                <a:cubicBezTo>
                  <a:pt x="17724" y="15605"/>
                  <a:pt x="18164" y="15123"/>
                  <a:pt x="18164" y="14529"/>
                </a:cubicBezTo>
                <a:cubicBezTo>
                  <a:pt x="18164" y="13935"/>
                  <a:pt x="17724" y="13452"/>
                  <a:pt x="17182" y="13452"/>
                </a:cubicBezTo>
                <a:moveTo>
                  <a:pt x="15218" y="15605"/>
                </a:moveTo>
                <a:cubicBezTo>
                  <a:pt x="14676" y="15605"/>
                  <a:pt x="14236" y="16087"/>
                  <a:pt x="14236" y="16681"/>
                </a:cubicBezTo>
                <a:cubicBezTo>
                  <a:pt x="14236" y="17276"/>
                  <a:pt x="14676" y="17757"/>
                  <a:pt x="15218" y="17757"/>
                </a:cubicBezTo>
                <a:cubicBezTo>
                  <a:pt x="15760" y="17757"/>
                  <a:pt x="16200" y="17276"/>
                  <a:pt x="16200" y="16681"/>
                </a:cubicBezTo>
                <a:cubicBezTo>
                  <a:pt x="16200" y="16087"/>
                  <a:pt x="15760" y="15605"/>
                  <a:pt x="15218" y="15605"/>
                </a:cubicBezTo>
                <a:moveTo>
                  <a:pt x="16200" y="20448"/>
                </a:moveTo>
                <a:cubicBezTo>
                  <a:pt x="14668" y="20448"/>
                  <a:pt x="13319" y="19593"/>
                  <a:pt x="12527" y="18295"/>
                </a:cubicBezTo>
                <a:lnTo>
                  <a:pt x="9073" y="18295"/>
                </a:lnTo>
                <a:cubicBezTo>
                  <a:pt x="8281" y="19593"/>
                  <a:pt x="6932" y="20448"/>
                  <a:pt x="5400" y="20448"/>
                </a:cubicBezTo>
                <a:cubicBezTo>
                  <a:pt x="2960" y="20448"/>
                  <a:pt x="982" y="18280"/>
                  <a:pt x="982" y="15605"/>
                </a:cubicBezTo>
                <a:cubicBezTo>
                  <a:pt x="982" y="12930"/>
                  <a:pt x="2960" y="10762"/>
                  <a:pt x="5400" y="10762"/>
                </a:cubicBezTo>
                <a:lnTo>
                  <a:pt x="16200" y="10762"/>
                </a:lnTo>
                <a:cubicBezTo>
                  <a:pt x="18640" y="10762"/>
                  <a:pt x="20618" y="12930"/>
                  <a:pt x="20618" y="15605"/>
                </a:cubicBezTo>
                <a:cubicBezTo>
                  <a:pt x="20618" y="18280"/>
                  <a:pt x="18640" y="20448"/>
                  <a:pt x="16200" y="20448"/>
                </a:cubicBezTo>
                <a:moveTo>
                  <a:pt x="16200" y="9686"/>
                </a:moveTo>
                <a:lnTo>
                  <a:pt x="11319" y="9686"/>
                </a:lnTo>
                <a:cubicBezTo>
                  <a:pt x="10837" y="8713"/>
                  <a:pt x="11227" y="8217"/>
                  <a:pt x="11943" y="7448"/>
                </a:cubicBezTo>
                <a:cubicBezTo>
                  <a:pt x="12528" y="6820"/>
                  <a:pt x="13255" y="6038"/>
                  <a:pt x="13255" y="4843"/>
                </a:cubicBezTo>
                <a:cubicBezTo>
                  <a:pt x="13255" y="1854"/>
                  <a:pt x="10169" y="128"/>
                  <a:pt x="10038" y="56"/>
                </a:cubicBezTo>
                <a:cubicBezTo>
                  <a:pt x="9796" y="-76"/>
                  <a:pt x="9501" y="32"/>
                  <a:pt x="9379" y="297"/>
                </a:cubicBezTo>
                <a:cubicBezTo>
                  <a:pt x="9258" y="562"/>
                  <a:pt x="9356" y="886"/>
                  <a:pt x="9598" y="1019"/>
                </a:cubicBezTo>
                <a:cubicBezTo>
                  <a:pt x="9625" y="1034"/>
                  <a:pt x="12273" y="2523"/>
                  <a:pt x="12273" y="4843"/>
                </a:cubicBezTo>
                <a:cubicBezTo>
                  <a:pt x="12273" y="5586"/>
                  <a:pt x="11779" y="6117"/>
                  <a:pt x="11255" y="6679"/>
                </a:cubicBezTo>
                <a:cubicBezTo>
                  <a:pt x="10584" y="7401"/>
                  <a:pt x="9775" y="8296"/>
                  <a:pt x="10277" y="9686"/>
                </a:cubicBezTo>
                <a:lnTo>
                  <a:pt x="5400" y="9686"/>
                </a:lnTo>
                <a:cubicBezTo>
                  <a:pt x="2418" y="9686"/>
                  <a:pt x="0" y="12336"/>
                  <a:pt x="0" y="15605"/>
                </a:cubicBezTo>
                <a:cubicBezTo>
                  <a:pt x="0" y="18874"/>
                  <a:pt x="2418" y="21524"/>
                  <a:pt x="5400" y="21524"/>
                </a:cubicBezTo>
                <a:cubicBezTo>
                  <a:pt x="7077" y="21524"/>
                  <a:pt x="8575" y="20686"/>
                  <a:pt x="9565" y="19372"/>
                </a:cubicBezTo>
                <a:lnTo>
                  <a:pt x="12035" y="19372"/>
                </a:lnTo>
                <a:cubicBezTo>
                  <a:pt x="13025" y="20686"/>
                  <a:pt x="14523" y="21524"/>
                  <a:pt x="16200" y="21524"/>
                </a:cubicBezTo>
                <a:cubicBezTo>
                  <a:pt x="19182" y="21524"/>
                  <a:pt x="21600" y="18874"/>
                  <a:pt x="21600" y="15605"/>
                </a:cubicBezTo>
                <a:cubicBezTo>
                  <a:pt x="21600" y="12336"/>
                  <a:pt x="19182" y="9686"/>
                  <a:pt x="16200" y="9686"/>
                </a:cubicBezTo>
                <a:moveTo>
                  <a:pt x="6873" y="15067"/>
                </a:moveTo>
                <a:lnTo>
                  <a:pt x="5891" y="15067"/>
                </a:lnTo>
                <a:lnTo>
                  <a:pt x="5891" y="13990"/>
                </a:lnTo>
                <a:cubicBezTo>
                  <a:pt x="5891" y="13694"/>
                  <a:pt x="5671" y="13452"/>
                  <a:pt x="5400" y="13452"/>
                </a:cubicBezTo>
                <a:cubicBezTo>
                  <a:pt x="5129" y="13452"/>
                  <a:pt x="4909" y="13694"/>
                  <a:pt x="4909" y="13990"/>
                </a:cubicBezTo>
                <a:lnTo>
                  <a:pt x="4909" y="15067"/>
                </a:lnTo>
                <a:lnTo>
                  <a:pt x="3927" y="15067"/>
                </a:lnTo>
                <a:cubicBezTo>
                  <a:pt x="3656" y="15067"/>
                  <a:pt x="3436" y="15307"/>
                  <a:pt x="3436" y="15605"/>
                </a:cubicBezTo>
                <a:cubicBezTo>
                  <a:pt x="3436" y="15903"/>
                  <a:pt x="3656" y="16143"/>
                  <a:pt x="3927" y="16143"/>
                </a:cubicBezTo>
                <a:lnTo>
                  <a:pt x="4909" y="16143"/>
                </a:lnTo>
                <a:lnTo>
                  <a:pt x="4909" y="17219"/>
                </a:lnTo>
                <a:cubicBezTo>
                  <a:pt x="4909" y="17517"/>
                  <a:pt x="5129" y="17757"/>
                  <a:pt x="5400" y="17757"/>
                </a:cubicBezTo>
                <a:cubicBezTo>
                  <a:pt x="5671" y="17757"/>
                  <a:pt x="5891" y="17517"/>
                  <a:pt x="5891" y="17219"/>
                </a:cubicBezTo>
                <a:lnTo>
                  <a:pt x="5891" y="16143"/>
                </a:lnTo>
                <a:lnTo>
                  <a:pt x="6873" y="16143"/>
                </a:lnTo>
                <a:cubicBezTo>
                  <a:pt x="7144" y="16143"/>
                  <a:pt x="7364" y="15903"/>
                  <a:pt x="7364" y="15605"/>
                </a:cubicBezTo>
                <a:cubicBezTo>
                  <a:pt x="7364" y="15307"/>
                  <a:pt x="7144" y="15067"/>
                  <a:pt x="6873" y="15067"/>
                </a:cubicBezTo>
                <a:moveTo>
                  <a:pt x="12273" y="12376"/>
                </a:moveTo>
                <a:cubicBezTo>
                  <a:pt x="12002" y="12376"/>
                  <a:pt x="11782" y="12617"/>
                  <a:pt x="11782" y="12914"/>
                </a:cubicBezTo>
                <a:cubicBezTo>
                  <a:pt x="11782" y="13212"/>
                  <a:pt x="12002" y="13452"/>
                  <a:pt x="12273" y="13452"/>
                </a:cubicBezTo>
                <a:cubicBezTo>
                  <a:pt x="12544" y="13452"/>
                  <a:pt x="12764" y="13212"/>
                  <a:pt x="12764" y="12914"/>
                </a:cubicBezTo>
                <a:cubicBezTo>
                  <a:pt x="12764" y="12617"/>
                  <a:pt x="12544" y="12376"/>
                  <a:pt x="12273" y="12376"/>
                </a:cubicBezTo>
                <a:moveTo>
                  <a:pt x="9327" y="12376"/>
                </a:moveTo>
                <a:cubicBezTo>
                  <a:pt x="9056" y="12376"/>
                  <a:pt x="8836" y="12617"/>
                  <a:pt x="8836" y="12914"/>
                </a:cubicBezTo>
                <a:cubicBezTo>
                  <a:pt x="8836" y="13212"/>
                  <a:pt x="9056" y="13452"/>
                  <a:pt x="9327" y="13452"/>
                </a:cubicBezTo>
                <a:cubicBezTo>
                  <a:pt x="9598" y="13452"/>
                  <a:pt x="9818" y="13212"/>
                  <a:pt x="9818" y="12914"/>
                </a:cubicBezTo>
                <a:cubicBezTo>
                  <a:pt x="9818" y="12617"/>
                  <a:pt x="9598" y="12376"/>
                  <a:pt x="9327" y="12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0" name="Shape 2680"/>
          <p:cNvSpPr/>
          <p:nvPr/>
        </p:nvSpPr>
        <p:spPr>
          <a:xfrm>
            <a:off x="590762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255" y="15709"/>
                </a:moveTo>
                <a:lnTo>
                  <a:pt x="10309" y="15709"/>
                </a:lnTo>
                <a:cubicBezTo>
                  <a:pt x="10038" y="15709"/>
                  <a:pt x="9818" y="15929"/>
                  <a:pt x="9818" y="16200"/>
                </a:cubicBezTo>
                <a:cubicBezTo>
                  <a:pt x="9818" y="16472"/>
                  <a:pt x="10038" y="16691"/>
                  <a:pt x="10309" y="16691"/>
                </a:cubicBezTo>
                <a:lnTo>
                  <a:pt x="13255" y="16691"/>
                </a:lnTo>
                <a:cubicBezTo>
                  <a:pt x="13525" y="16691"/>
                  <a:pt x="13745" y="16472"/>
                  <a:pt x="13745" y="16200"/>
                </a:cubicBezTo>
                <a:cubicBezTo>
                  <a:pt x="13745" y="15929"/>
                  <a:pt x="13525" y="15709"/>
                  <a:pt x="13255" y="15709"/>
                </a:cubicBezTo>
                <a:moveTo>
                  <a:pt x="9818" y="12273"/>
                </a:moveTo>
                <a:cubicBezTo>
                  <a:pt x="9818" y="12112"/>
                  <a:pt x="9736" y="11976"/>
                  <a:pt x="9617" y="11887"/>
                </a:cubicBezTo>
                <a:lnTo>
                  <a:pt x="9622" y="11880"/>
                </a:lnTo>
                <a:lnTo>
                  <a:pt x="5695" y="8935"/>
                </a:lnTo>
                <a:lnTo>
                  <a:pt x="5690" y="8941"/>
                </a:lnTo>
                <a:cubicBezTo>
                  <a:pt x="5608" y="8880"/>
                  <a:pt x="5511" y="8836"/>
                  <a:pt x="5400" y="8836"/>
                </a:cubicBezTo>
                <a:cubicBezTo>
                  <a:pt x="5129" y="8836"/>
                  <a:pt x="4909" y="9056"/>
                  <a:pt x="4909" y="9327"/>
                </a:cubicBezTo>
                <a:cubicBezTo>
                  <a:pt x="4909" y="9488"/>
                  <a:pt x="4991" y="9624"/>
                  <a:pt x="5110" y="9713"/>
                </a:cubicBezTo>
                <a:lnTo>
                  <a:pt x="5105" y="9720"/>
                </a:lnTo>
                <a:lnTo>
                  <a:pt x="8509" y="12273"/>
                </a:lnTo>
                <a:lnTo>
                  <a:pt x="5105" y="14826"/>
                </a:lnTo>
                <a:lnTo>
                  <a:pt x="5110" y="14832"/>
                </a:lnTo>
                <a:cubicBezTo>
                  <a:pt x="4991" y="14922"/>
                  <a:pt x="4909" y="15058"/>
                  <a:pt x="4909" y="15218"/>
                </a:cubicBezTo>
                <a:cubicBezTo>
                  <a:pt x="4909" y="15490"/>
                  <a:pt x="5129" y="15709"/>
                  <a:pt x="5400" y="15709"/>
                </a:cubicBezTo>
                <a:cubicBezTo>
                  <a:pt x="5511" y="15709"/>
                  <a:pt x="5607" y="15666"/>
                  <a:pt x="5690" y="15604"/>
                </a:cubicBezTo>
                <a:lnTo>
                  <a:pt x="5695" y="15611"/>
                </a:lnTo>
                <a:lnTo>
                  <a:pt x="9622" y="12666"/>
                </a:lnTo>
                <a:lnTo>
                  <a:pt x="9617" y="12659"/>
                </a:lnTo>
                <a:cubicBezTo>
                  <a:pt x="9736" y="12569"/>
                  <a:pt x="9818" y="12433"/>
                  <a:pt x="9818" y="12273"/>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1" name="Shape 2681"/>
          <p:cNvSpPr/>
          <p:nvPr/>
        </p:nvSpPr>
        <p:spPr>
          <a:xfrm>
            <a:off x="6307571"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36"/>
                </a:moveTo>
                <a:lnTo>
                  <a:pt x="11291" y="19636"/>
                </a:lnTo>
                <a:cubicBezTo>
                  <a:pt x="11562" y="19636"/>
                  <a:pt x="11782" y="19416"/>
                  <a:pt x="11782" y="19146"/>
                </a:cubicBezTo>
                <a:cubicBezTo>
                  <a:pt x="11782" y="18874"/>
                  <a:pt x="11562" y="18655"/>
                  <a:pt x="11291" y="18655"/>
                </a:cubicBezTo>
                <a:lnTo>
                  <a:pt x="6382" y="18655"/>
                </a:lnTo>
                <a:cubicBezTo>
                  <a:pt x="6111" y="18655"/>
                  <a:pt x="5891" y="18874"/>
                  <a:pt x="5891" y="19146"/>
                </a:cubicBezTo>
                <a:cubicBezTo>
                  <a:pt x="5891" y="19416"/>
                  <a:pt x="6111" y="19636"/>
                  <a:pt x="6382" y="19636"/>
                </a:cubicBezTo>
                <a:moveTo>
                  <a:pt x="20618" y="19636"/>
                </a:moveTo>
                <a:cubicBezTo>
                  <a:pt x="20618" y="20178"/>
                  <a:pt x="20178" y="20618"/>
                  <a:pt x="19636" y="20618"/>
                </a:cubicBezTo>
                <a:lnTo>
                  <a:pt x="1964" y="20618"/>
                </a:lnTo>
                <a:cubicBezTo>
                  <a:pt x="1422" y="20618"/>
                  <a:pt x="982" y="20178"/>
                  <a:pt x="982" y="19636"/>
                </a:cubicBezTo>
                <a:lnTo>
                  <a:pt x="982" y="17673"/>
                </a:lnTo>
                <a:lnTo>
                  <a:pt x="20618" y="17673"/>
                </a:lnTo>
                <a:cubicBezTo>
                  <a:pt x="20618" y="17673"/>
                  <a:pt x="20618" y="19636"/>
                  <a:pt x="20618" y="19636"/>
                </a:cubicBezTo>
                <a:close/>
                <a:moveTo>
                  <a:pt x="2822" y="10800"/>
                </a:moveTo>
                <a:lnTo>
                  <a:pt x="18778" y="10800"/>
                </a:lnTo>
                <a:lnTo>
                  <a:pt x="20461" y="16691"/>
                </a:lnTo>
                <a:lnTo>
                  <a:pt x="1139" y="16691"/>
                </a:lnTo>
                <a:cubicBezTo>
                  <a:pt x="1139" y="16691"/>
                  <a:pt x="2822" y="10800"/>
                  <a:pt x="2822" y="10800"/>
                </a:cubicBezTo>
                <a:close/>
                <a:moveTo>
                  <a:pt x="21600" y="17182"/>
                </a:moveTo>
                <a:cubicBezTo>
                  <a:pt x="21600" y="17118"/>
                  <a:pt x="21586" y="17057"/>
                  <a:pt x="21563" y="17000"/>
                </a:cubicBezTo>
                <a:lnTo>
                  <a:pt x="21565" y="17000"/>
                </a:lnTo>
                <a:lnTo>
                  <a:pt x="19602" y="10127"/>
                </a:lnTo>
                <a:lnTo>
                  <a:pt x="19599" y="10128"/>
                </a:lnTo>
                <a:cubicBezTo>
                  <a:pt x="19527" y="9947"/>
                  <a:pt x="19352" y="9818"/>
                  <a:pt x="19145" y="9818"/>
                </a:cubicBezTo>
                <a:lnTo>
                  <a:pt x="18164" y="9818"/>
                </a:lnTo>
                <a:lnTo>
                  <a:pt x="18164" y="3927"/>
                </a:lnTo>
                <a:cubicBezTo>
                  <a:pt x="18164" y="3656"/>
                  <a:pt x="17944" y="3436"/>
                  <a:pt x="17673" y="3436"/>
                </a:cubicBezTo>
                <a:cubicBezTo>
                  <a:pt x="17402" y="3436"/>
                  <a:pt x="17182" y="3656"/>
                  <a:pt x="17182" y="3927"/>
                </a:cubicBezTo>
                <a:lnTo>
                  <a:pt x="17182" y="9818"/>
                </a:lnTo>
                <a:lnTo>
                  <a:pt x="4418" y="9818"/>
                </a:lnTo>
                <a:lnTo>
                  <a:pt x="4418" y="3927"/>
                </a:lnTo>
                <a:cubicBezTo>
                  <a:pt x="4418" y="3656"/>
                  <a:pt x="4198" y="3436"/>
                  <a:pt x="3927" y="3436"/>
                </a:cubicBezTo>
                <a:cubicBezTo>
                  <a:pt x="3656" y="3436"/>
                  <a:pt x="3436" y="3656"/>
                  <a:pt x="3436" y="3927"/>
                </a:cubicBezTo>
                <a:lnTo>
                  <a:pt x="3436" y="9818"/>
                </a:lnTo>
                <a:lnTo>
                  <a:pt x="2455" y="9818"/>
                </a:lnTo>
                <a:cubicBezTo>
                  <a:pt x="2248" y="9818"/>
                  <a:pt x="2073" y="9947"/>
                  <a:pt x="2001" y="10128"/>
                </a:cubicBezTo>
                <a:lnTo>
                  <a:pt x="1998" y="10127"/>
                </a:lnTo>
                <a:lnTo>
                  <a:pt x="35" y="17000"/>
                </a:lnTo>
                <a:lnTo>
                  <a:pt x="37" y="17001"/>
                </a:lnTo>
                <a:cubicBezTo>
                  <a:pt x="14" y="17057"/>
                  <a:pt x="0" y="17118"/>
                  <a:pt x="0" y="17182"/>
                </a:cubicBezTo>
                <a:lnTo>
                  <a:pt x="0" y="18164"/>
                </a:lnTo>
                <a:lnTo>
                  <a:pt x="68" y="18164"/>
                </a:lnTo>
                <a:cubicBezTo>
                  <a:pt x="25" y="18320"/>
                  <a:pt x="0" y="18484"/>
                  <a:pt x="0" y="18655"/>
                </a:cubicBezTo>
                <a:lnTo>
                  <a:pt x="0" y="19636"/>
                </a:lnTo>
                <a:cubicBezTo>
                  <a:pt x="0" y="20721"/>
                  <a:pt x="879" y="21600"/>
                  <a:pt x="1964" y="21600"/>
                </a:cubicBezTo>
                <a:lnTo>
                  <a:pt x="19636" y="21600"/>
                </a:lnTo>
                <a:cubicBezTo>
                  <a:pt x="20721" y="21600"/>
                  <a:pt x="21600" y="20721"/>
                  <a:pt x="21600" y="19636"/>
                </a:cubicBezTo>
                <a:lnTo>
                  <a:pt x="21600" y="18655"/>
                </a:lnTo>
                <a:cubicBezTo>
                  <a:pt x="21600" y="18484"/>
                  <a:pt x="21575" y="18320"/>
                  <a:pt x="21532" y="18164"/>
                </a:cubicBezTo>
                <a:lnTo>
                  <a:pt x="21600" y="18164"/>
                </a:lnTo>
                <a:cubicBezTo>
                  <a:pt x="21600" y="18164"/>
                  <a:pt x="21600" y="17182"/>
                  <a:pt x="21600" y="17182"/>
                </a:cubicBezTo>
                <a:close/>
                <a:moveTo>
                  <a:pt x="4418" y="19636"/>
                </a:moveTo>
                <a:cubicBezTo>
                  <a:pt x="4689" y="19636"/>
                  <a:pt x="4909" y="19416"/>
                  <a:pt x="4909" y="19146"/>
                </a:cubicBezTo>
                <a:cubicBezTo>
                  <a:pt x="4909" y="18874"/>
                  <a:pt x="4689" y="18655"/>
                  <a:pt x="4418" y="18655"/>
                </a:cubicBezTo>
                <a:cubicBezTo>
                  <a:pt x="4147" y="18655"/>
                  <a:pt x="3927" y="18874"/>
                  <a:pt x="3927" y="19146"/>
                </a:cubicBezTo>
                <a:cubicBezTo>
                  <a:pt x="3927" y="19416"/>
                  <a:pt x="4147" y="19636"/>
                  <a:pt x="4418" y="19636"/>
                </a:cubicBezTo>
                <a:moveTo>
                  <a:pt x="2455" y="19636"/>
                </a:moveTo>
                <a:cubicBezTo>
                  <a:pt x="2725" y="19636"/>
                  <a:pt x="2945" y="19416"/>
                  <a:pt x="2945" y="19146"/>
                </a:cubicBezTo>
                <a:cubicBezTo>
                  <a:pt x="2945" y="18874"/>
                  <a:pt x="2725" y="18655"/>
                  <a:pt x="2455" y="18655"/>
                </a:cubicBezTo>
                <a:cubicBezTo>
                  <a:pt x="2184" y="18655"/>
                  <a:pt x="1964" y="18874"/>
                  <a:pt x="1964" y="19146"/>
                </a:cubicBezTo>
                <a:cubicBezTo>
                  <a:pt x="1964" y="19416"/>
                  <a:pt x="2184" y="19636"/>
                  <a:pt x="2455" y="19636"/>
                </a:cubicBezTo>
                <a:moveTo>
                  <a:pt x="12003" y="3573"/>
                </a:moveTo>
                <a:lnTo>
                  <a:pt x="12664" y="2838"/>
                </a:lnTo>
                <a:cubicBezTo>
                  <a:pt x="12214" y="2308"/>
                  <a:pt x="11550" y="1964"/>
                  <a:pt x="10800" y="1964"/>
                </a:cubicBezTo>
                <a:cubicBezTo>
                  <a:pt x="9997" y="1964"/>
                  <a:pt x="9290" y="2355"/>
                  <a:pt x="8842" y="2952"/>
                </a:cubicBezTo>
                <a:lnTo>
                  <a:pt x="9546" y="3655"/>
                </a:lnTo>
                <a:cubicBezTo>
                  <a:pt x="9805" y="3231"/>
                  <a:pt x="10267" y="2945"/>
                  <a:pt x="10800" y="2945"/>
                </a:cubicBezTo>
                <a:cubicBezTo>
                  <a:pt x="11298" y="2945"/>
                  <a:pt x="11736" y="3194"/>
                  <a:pt x="12003" y="3573"/>
                </a:cubicBezTo>
                <a:moveTo>
                  <a:pt x="10309" y="4418"/>
                </a:moveTo>
                <a:cubicBezTo>
                  <a:pt x="10309" y="4690"/>
                  <a:pt x="10529" y="4909"/>
                  <a:pt x="10800" y="4909"/>
                </a:cubicBezTo>
                <a:cubicBezTo>
                  <a:pt x="11071" y="4909"/>
                  <a:pt x="11291" y="4690"/>
                  <a:pt x="11291" y="4418"/>
                </a:cubicBezTo>
                <a:cubicBezTo>
                  <a:pt x="11291" y="4147"/>
                  <a:pt x="11071" y="3927"/>
                  <a:pt x="10800" y="3927"/>
                </a:cubicBezTo>
                <a:cubicBezTo>
                  <a:pt x="10529" y="3927"/>
                  <a:pt x="10309" y="4147"/>
                  <a:pt x="10309" y="4418"/>
                </a:cubicBezTo>
                <a:moveTo>
                  <a:pt x="10800" y="982"/>
                </a:moveTo>
                <a:cubicBezTo>
                  <a:pt x="11802" y="982"/>
                  <a:pt x="12701" y="1414"/>
                  <a:pt x="13330" y="2098"/>
                </a:cubicBezTo>
                <a:lnTo>
                  <a:pt x="13989" y="1366"/>
                </a:lnTo>
                <a:cubicBezTo>
                  <a:pt x="13185" y="525"/>
                  <a:pt x="12055" y="0"/>
                  <a:pt x="10800" y="0"/>
                </a:cubicBezTo>
                <a:cubicBezTo>
                  <a:pt x="9455" y="0"/>
                  <a:pt x="8252" y="603"/>
                  <a:pt x="7442" y="1551"/>
                </a:cubicBezTo>
                <a:lnTo>
                  <a:pt x="8138" y="2246"/>
                </a:lnTo>
                <a:cubicBezTo>
                  <a:pt x="8768" y="1475"/>
                  <a:pt x="9726" y="982"/>
                  <a:pt x="10800"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2" name="Shape 2682"/>
          <p:cNvSpPr/>
          <p:nvPr/>
        </p:nvSpPr>
        <p:spPr>
          <a:xfrm>
            <a:off x="670751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6691"/>
                </a:moveTo>
                <a:cubicBezTo>
                  <a:pt x="20618" y="17775"/>
                  <a:pt x="19739" y="18655"/>
                  <a:pt x="18655" y="18655"/>
                </a:cubicBezTo>
                <a:lnTo>
                  <a:pt x="17673" y="18655"/>
                </a:lnTo>
                <a:lnTo>
                  <a:pt x="17673" y="14727"/>
                </a:lnTo>
                <a:cubicBezTo>
                  <a:pt x="17673" y="14186"/>
                  <a:pt x="17233" y="13745"/>
                  <a:pt x="16691" y="13745"/>
                </a:cubicBezTo>
                <a:lnTo>
                  <a:pt x="4909" y="13745"/>
                </a:lnTo>
                <a:cubicBezTo>
                  <a:pt x="4367" y="13745"/>
                  <a:pt x="3927" y="14186"/>
                  <a:pt x="3927" y="14727"/>
                </a:cubicBezTo>
                <a:lnTo>
                  <a:pt x="3927" y="18655"/>
                </a:lnTo>
                <a:lnTo>
                  <a:pt x="2945" y="18655"/>
                </a:lnTo>
                <a:cubicBezTo>
                  <a:pt x="1861" y="18655"/>
                  <a:pt x="982" y="17775"/>
                  <a:pt x="982" y="16691"/>
                </a:cubicBezTo>
                <a:lnTo>
                  <a:pt x="982" y="8836"/>
                </a:lnTo>
                <a:cubicBezTo>
                  <a:pt x="982" y="7752"/>
                  <a:pt x="1861" y="6873"/>
                  <a:pt x="2945" y="6873"/>
                </a:cubicBezTo>
                <a:lnTo>
                  <a:pt x="18655" y="6873"/>
                </a:lnTo>
                <a:cubicBezTo>
                  <a:pt x="19739" y="6873"/>
                  <a:pt x="20618" y="7752"/>
                  <a:pt x="20618" y="8836"/>
                </a:cubicBezTo>
                <a:cubicBezTo>
                  <a:pt x="20618" y="8836"/>
                  <a:pt x="20618" y="16691"/>
                  <a:pt x="20618" y="16691"/>
                </a:cubicBezTo>
                <a:close/>
                <a:moveTo>
                  <a:pt x="16691" y="20618"/>
                </a:moveTo>
                <a:lnTo>
                  <a:pt x="4909" y="20618"/>
                </a:lnTo>
                <a:lnTo>
                  <a:pt x="4909" y="14727"/>
                </a:lnTo>
                <a:lnTo>
                  <a:pt x="16691" y="14727"/>
                </a:lnTo>
                <a:cubicBezTo>
                  <a:pt x="16691" y="14727"/>
                  <a:pt x="16691" y="20618"/>
                  <a:pt x="16691" y="20618"/>
                </a:cubicBezTo>
                <a:close/>
                <a:moveTo>
                  <a:pt x="4909" y="982"/>
                </a:moveTo>
                <a:lnTo>
                  <a:pt x="16691" y="982"/>
                </a:lnTo>
                <a:lnTo>
                  <a:pt x="16691" y="5891"/>
                </a:lnTo>
                <a:lnTo>
                  <a:pt x="4909" y="5891"/>
                </a:lnTo>
                <a:cubicBezTo>
                  <a:pt x="4909" y="5891"/>
                  <a:pt x="4909" y="982"/>
                  <a:pt x="4909" y="982"/>
                </a:cubicBezTo>
                <a:close/>
                <a:moveTo>
                  <a:pt x="18655" y="5891"/>
                </a:moveTo>
                <a:lnTo>
                  <a:pt x="17673" y="5891"/>
                </a:lnTo>
                <a:lnTo>
                  <a:pt x="17673" y="982"/>
                </a:lnTo>
                <a:cubicBezTo>
                  <a:pt x="17673" y="440"/>
                  <a:pt x="17233" y="0"/>
                  <a:pt x="16691" y="0"/>
                </a:cubicBezTo>
                <a:lnTo>
                  <a:pt x="4909" y="0"/>
                </a:lnTo>
                <a:cubicBezTo>
                  <a:pt x="4367" y="0"/>
                  <a:pt x="3927" y="440"/>
                  <a:pt x="3927" y="982"/>
                </a:cubicBezTo>
                <a:lnTo>
                  <a:pt x="3927" y="5891"/>
                </a:lnTo>
                <a:lnTo>
                  <a:pt x="2945" y="5891"/>
                </a:lnTo>
                <a:cubicBezTo>
                  <a:pt x="1318" y="5891"/>
                  <a:pt x="0" y="7210"/>
                  <a:pt x="0" y="8836"/>
                </a:cubicBezTo>
                <a:lnTo>
                  <a:pt x="0" y="16691"/>
                </a:lnTo>
                <a:cubicBezTo>
                  <a:pt x="0" y="18318"/>
                  <a:pt x="1318" y="19636"/>
                  <a:pt x="2945" y="19636"/>
                </a:cubicBezTo>
                <a:lnTo>
                  <a:pt x="3927" y="19636"/>
                </a:lnTo>
                <a:lnTo>
                  <a:pt x="3927" y="20618"/>
                </a:lnTo>
                <a:cubicBezTo>
                  <a:pt x="3927" y="21161"/>
                  <a:pt x="4367" y="21600"/>
                  <a:pt x="4909" y="21600"/>
                </a:cubicBezTo>
                <a:lnTo>
                  <a:pt x="16691" y="21600"/>
                </a:lnTo>
                <a:cubicBezTo>
                  <a:pt x="17233" y="21600"/>
                  <a:pt x="17673" y="21161"/>
                  <a:pt x="17673" y="20618"/>
                </a:cubicBezTo>
                <a:lnTo>
                  <a:pt x="17673" y="19636"/>
                </a:lnTo>
                <a:lnTo>
                  <a:pt x="18655" y="19636"/>
                </a:lnTo>
                <a:cubicBezTo>
                  <a:pt x="20282" y="19636"/>
                  <a:pt x="21600" y="18318"/>
                  <a:pt x="21600" y="16691"/>
                </a:cubicBezTo>
                <a:lnTo>
                  <a:pt x="21600" y="8836"/>
                </a:lnTo>
                <a:cubicBezTo>
                  <a:pt x="21600" y="7210"/>
                  <a:pt x="20282" y="5891"/>
                  <a:pt x="18655" y="5891"/>
                </a:cubicBezTo>
                <a:moveTo>
                  <a:pt x="17673" y="8836"/>
                </a:moveTo>
                <a:cubicBezTo>
                  <a:pt x="17131" y="8836"/>
                  <a:pt x="16691" y="9276"/>
                  <a:pt x="16691" y="9818"/>
                </a:cubicBezTo>
                <a:cubicBezTo>
                  <a:pt x="16691" y="10360"/>
                  <a:pt x="17131" y="10800"/>
                  <a:pt x="17673" y="10800"/>
                </a:cubicBezTo>
                <a:cubicBezTo>
                  <a:pt x="18214" y="10800"/>
                  <a:pt x="18655" y="10360"/>
                  <a:pt x="18655" y="9818"/>
                </a:cubicBezTo>
                <a:cubicBezTo>
                  <a:pt x="18655" y="9276"/>
                  <a:pt x="18214" y="8836"/>
                  <a:pt x="17673" y="8836"/>
                </a:cubicBezTo>
                <a:moveTo>
                  <a:pt x="14727" y="8836"/>
                </a:moveTo>
                <a:cubicBezTo>
                  <a:pt x="14186" y="8836"/>
                  <a:pt x="13745" y="9276"/>
                  <a:pt x="13745" y="9818"/>
                </a:cubicBezTo>
                <a:cubicBezTo>
                  <a:pt x="13745" y="10360"/>
                  <a:pt x="14186" y="10800"/>
                  <a:pt x="14727" y="10800"/>
                </a:cubicBezTo>
                <a:cubicBezTo>
                  <a:pt x="15269" y="10800"/>
                  <a:pt x="15709" y="10360"/>
                  <a:pt x="15709" y="9818"/>
                </a:cubicBezTo>
                <a:cubicBezTo>
                  <a:pt x="15709" y="9276"/>
                  <a:pt x="15269" y="8836"/>
                  <a:pt x="14727" y="8836"/>
                </a:cubicBezTo>
                <a:moveTo>
                  <a:pt x="7364" y="16691"/>
                </a:moveTo>
                <a:lnTo>
                  <a:pt x="12273" y="16691"/>
                </a:lnTo>
                <a:cubicBezTo>
                  <a:pt x="12544" y="16691"/>
                  <a:pt x="12764" y="16472"/>
                  <a:pt x="12764" y="16200"/>
                </a:cubicBezTo>
                <a:cubicBezTo>
                  <a:pt x="12764" y="15929"/>
                  <a:pt x="12544" y="15709"/>
                  <a:pt x="12273" y="15709"/>
                </a:cubicBezTo>
                <a:lnTo>
                  <a:pt x="7364" y="15709"/>
                </a:lnTo>
                <a:cubicBezTo>
                  <a:pt x="7092" y="15709"/>
                  <a:pt x="6873" y="15929"/>
                  <a:pt x="6873" y="16200"/>
                </a:cubicBezTo>
                <a:cubicBezTo>
                  <a:pt x="6873" y="16472"/>
                  <a:pt x="7092" y="16691"/>
                  <a:pt x="7364" y="16691"/>
                </a:cubicBezTo>
                <a:moveTo>
                  <a:pt x="7364" y="18655"/>
                </a:moveTo>
                <a:lnTo>
                  <a:pt x="14236" y="18655"/>
                </a:lnTo>
                <a:cubicBezTo>
                  <a:pt x="14508" y="18655"/>
                  <a:pt x="14727" y="18435"/>
                  <a:pt x="14727" y="18164"/>
                </a:cubicBezTo>
                <a:cubicBezTo>
                  <a:pt x="14727" y="17893"/>
                  <a:pt x="14508" y="17673"/>
                  <a:pt x="14236" y="17673"/>
                </a:cubicBezTo>
                <a:lnTo>
                  <a:pt x="7364" y="17673"/>
                </a:lnTo>
                <a:cubicBezTo>
                  <a:pt x="7092" y="17673"/>
                  <a:pt x="6873" y="17893"/>
                  <a:pt x="6873" y="18164"/>
                </a:cubicBezTo>
                <a:cubicBezTo>
                  <a:pt x="6873" y="18435"/>
                  <a:pt x="7092" y="18655"/>
                  <a:pt x="7364"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3" name="Shape 2683"/>
          <p:cNvSpPr/>
          <p:nvPr/>
        </p:nvSpPr>
        <p:spPr>
          <a:xfrm>
            <a:off x="7136030" y="1069907"/>
            <a:ext cx="152359" cy="209468"/>
          </a:xfrm>
          <a:custGeom>
            <a:avLst/>
            <a:gdLst/>
            <a:ahLst/>
            <a:cxnLst>
              <a:cxn ang="0">
                <a:pos x="wd2" y="hd2"/>
              </a:cxn>
              <a:cxn ang="5400000">
                <a:pos x="wd2" y="hd2"/>
              </a:cxn>
              <a:cxn ang="10800000">
                <a:pos x="wd2" y="hd2"/>
              </a:cxn>
              <a:cxn ang="16200000">
                <a:pos x="wd2" y="hd2"/>
              </a:cxn>
            </a:cxnLst>
            <a:rect l="0" t="0" r="r" b="b"/>
            <a:pathLst>
              <a:path w="21505" h="21528" extrusionOk="0">
                <a:moveTo>
                  <a:pt x="13441" y="9294"/>
                </a:moveTo>
                <a:lnTo>
                  <a:pt x="13441" y="9784"/>
                </a:lnTo>
                <a:lnTo>
                  <a:pt x="1344" y="9784"/>
                </a:lnTo>
                <a:lnTo>
                  <a:pt x="1344" y="9294"/>
                </a:lnTo>
                <a:cubicBezTo>
                  <a:pt x="1344" y="7028"/>
                  <a:pt x="3696" y="5163"/>
                  <a:pt x="6720" y="4919"/>
                </a:cubicBezTo>
                <a:lnTo>
                  <a:pt x="6720" y="9784"/>
                </a:lnTo>
                <a:lnTo>
                  <a:pt x="8065" y="9784"/>
                </a:lnTo>
                <a:lnTo>
                  <a:pt x="8065" y="4919"/>
                </a:lnTo>
                <a:cubicBezTo>
                  <a:pt x="11089" y="5163"/>
                  <a:pt x="13441" y="7028"/>
                  <a:pt x="13441" y="9294"/>
                </a:cubicBezTo>
                <a:moveTo>
                  <a:pt x="13441" y="16145"/>
                </a:moveTo>
                <a:cubicBezTo>
                  <a:pt x="13441" y="18578"/>
                  <a:pt x="10733" y="20549"/>
                  <a:pt x="7393" y="20549"/>
                </a:cubicBezTo>
                <a:cubicBezTo>
                  <a:pt x="4052" y="20549"/>
                  <a:pt x="1344" y="18578"/>
                  <a:pt x="1344" y="16145"/>
                </a:cubicBezTo>
                <a:lnTo>
                  <a:pt x="1344" y="10762"/>
                </a:lnTo>
                <a:lnTo>
                  <a:pt x="13441" y="10762"/>
                </a:lnTo>
                <a:cubicBezTo>
                  <a:pt x="13441" y="10762"/>
                  <a:pt x="13441" y="16145"/>
                  <a:pt x="13441" y="16145"/>
                </a:cubicBezTo>
                <a:close/>
                <a:moveTo>
                  <a:pt x="21134" y="48"/>
                </a:moveTo>
                <a:cubicBezTo>
                  <a:pt x="20801" y="-72"/>
                  <a:pt x="20436" y="41"/>
                  <a:pt x="20232" y="268"/>
                </a:cubicBezTo>
                <a:cubicBezTo>
                  <a:pt x="18723" y="1944"/>
                  <a:pt x="16716" y="3504"/>
                  <a:pt x="13069" y="2006"/>
                </a:cubicBezTo>
                <a:cubicBezTo>
                  <a:pt x="10993" y="1153"/>
                  <a:pt x="9603" y="1431"/>
                  <a:pt x="8642" y="1862"/>
                </a:cubicBezTo>
                <a:cubicBezTo>
                  <a:pt x="7655" y="2307"/>
                  <a:pt x="6969" y="3089"/>
                  <a:pt x="6778" y="3935"/>
                </a:cubicBezTo>
                <a:cubicBezTo>
                  <a:pt x="2984" y="4162"/>
                  <a:pt x="0" y="6473"/>
                  <a:pt x="0" y="9294"/>
                </a:cubicBezTo>
                <a:lnTo>
                  <a:pt x="0" y="16145"/>
                </a:lnTo>
                <a:cubicBezTo>
                  <a:pt x="0" y="19118"/>
                  <a:pt x="3310" y="21528"/>
                  <a:pt x="7393" y="21528"/>
                </a:cubicBezTo>
                <a:cubicBezTo>
                  <a:pt x="11475" y="21528"/>
                  <a:pt x="14785" y="19118"/>
                  <a:pt x="14785" y="16145"/>
                </a:cubicBezTo>
                <a:lnTo>
                  <a:pt x="14785" y="9294"/>
                </a:lnTo>
                <a:cubicBezTo>
                  <a:pt x="14785" y="6507"/>
                  <a:pt x="11875" y="4215"/>
                  <a:pt x="8146" y="3940"/>
                </a:cubicBezTo>
                <a:cubicBezTo>
                  <a:pt x="8301" y="3479"/>
                  <a:pt x="8690" y="2991"/>
                  <a:pt x="9348" y="2695"/>
                </a:cubicBezTo>
                <a:cubicBezTo>
                  <a:pt x="10308" y="2263"/>
                  <a:pt x="10946" y="2328"/>
                  <a:pt x="12468" y="2882"/>
                </a:cubicBezTo>
                <a:cubicBezTo>
                  <a:pt x="15022" y="3811"/>
                  <a:pt x="16657" y="3572"/>
                  <a:pt x="17947" y="3206"/>
                </a:cubicBezTo>
                <a:cubicBezTo>
                  <a:pt x="19526" y="2759"/>
                  <a:pt x="20650" y="1847"/>
                  <a:pt x="21434" y="705"/>
                </a:cubicBezTo>
                <a:cubicBezTo>
                  <a:pt x="21600" y="463"/>
                  <a:pt x="21466" y="170"/>
                  <a:pt x="21134" y="48"/>
                </a:cubicBezTo>
                <a:moveTo>
                  <a:pt x="7393" y="18592"/>
                </a:moveTo>
                <a:cubicBezTo>
                  <a:pt x="8134" y="18592"/>
                  <a:pt x="8737" y="18153"/>
                  <a:pt x="8737" y="17613"/>
                </a:cubicBezTo>
                <a:cubicBezTo>
                  <a:pt x="8737" y="17073"/>
                  <a:pt x="8134" y="16635"/>
                  <a:pt x="7393" y="16635"/>
                </a:cubicBezTo>
                <a:cubicBezTo>
                  <a:pt x="6650" y="16635"/>
                  <a:pt x="6048" y="17073"/>
                  <a:pt x="6048" y="17613"/>
                </a:cubicBezTo>
                <a:cubicBezTo>
                  <a:pt x="6048" y="18153"/>
                  <a:pt x="6650" y="18592"/>
                  <a:pt x="7393" y="1859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4" name="Shape 2684"/>
          <p:cNvSpPr/>
          <p:nvPr/>
        </p:nvSpPr>
        <p:spPr>
          <a:xfrm>
            <a:off x="7507409" y="1069906"/>
            <a:ext cx="209495" cy="209705"/>
          </a:xfrm>
          <a:custGeom>
            <a:avLst/>
            <a:gdLst/>
            <a:ahLst/>
            <a:cxnLst>
              <a:cxn ang="0">
                <a:pos x="wd2" y="hd2"/>
              </a:cxn>
              <a:cxn ang="5400000">
                <a:pos x="wd2" y="hd2"/>
              </a:cxn>
              <a:cxn ang="10800000">
                <a:pos x="wd2" y="hd2"/>
              </a:cxn>
              <a:cxn ang="16200000">
                <a:pos x="wd2" y="hd2"/>
              </a:cxn>
            </a:cxnLst>
            <a:rect l="0" t="0" r="r" b="b"/>
            <a:pathLst>
              <a:path w="21600" h="21540" extrusionOk="0">
                <a:moveTo>
                  <a:pt x="4418" y="19095"/>
                </a:moveTo>
                <a:lnTo>
                  <a:pt x="5400" y="19095"/>
                </a:lnTo>
                <a:lnTo>
                  <a:pt x="5400" y="18117"/>
                </a:lnTo>
                <a:lnTo>
                  <a:pt x="4418" y="18117"/>
                </a:lnTo>
                <a:cubicBezTo>
                  <a:pt x="4418" y="18117"/>
                  <a:pt x="4418" y="19095"/>
                  <a:pt x="4418" y="19095"/>
                </a:cubicBezTo>
                <a:close/>
                <a:moveTo>
                  <a:pt x="6382" y="16160"/>
                </a:moveTo>
                <a:lnTo>
                  <a:pt x="5400" y="16160"/>
                </a:lnTo>
                <a:lnTo>
                  <a:pt x="5400" y="17139"/>
                </a:lnTo>
                <a:lnTo>
                  <a:pt x="6382" y="17139"/>
                </a:lnTo>
                <a:cubicBezTo>
                  <a:pt x="6382" y="17139"/>
                  <a:pt x="6382" y="16160"/>
                  <a:pt x="6382" y="16160"/>
                </a:cubicBezTo>
                <a:close/>
                <a:moveTo>
                  <a:pt x="2455" y="19095"/>
                </a:moveTo>
                <a:lnTo>
                  <a:pt x="3436" y="19095"/>
                </a:lnTo>
                <a:lnTo>
                  <a:pt x="3436" y="18117"/>
                </a:lnTo>
                <a:lnTo>
                  <a:pt x="2455" y="18117"/>
                </a:lnTo>
                <a:cubicBezTo>
                  <a:pt x="2455" y="18117"/>
                  <a:pt x="2455" y="19095"/>
                  <a:pt x="2455" y="19095"/>
                </a:cubicBezTo>
                <a:close/>
                <a:moveTo>
                  <a:pt x="4418" y="16160"/>
                </a:moveTo>
                <a:lnTo>
                  <a:pt x="2455" y="16160"/>
                </a:lnTo>
                <a:lnTo>
                  <a:pt x="2455" y="17139"/>
                </a:lnTo>
                <a:lnTo>
                  <a:pt x="4418" y="17139"/>
                </a:lnTo>
                <a:cubicBezTo>
                  <a:pt x="4418" y="17139"/>
                  <a:pt x="4418" y="16160"/>
                  <a:pt x="4418" y="16160"/>
                </a:cubicBezTo>
                <a:close/>
                <a:moveTo>
                  <a:pt x="3436" y="12248"/>
                </a:moveTo>
                <a:lnTo>
                  <a:pt x="2455" y="12248"/>
                </a:lnTo>
                <a:lnTo>
                  <a:pt x="2455" y="13226"/>
                </a:lnTo>
                <a:lnTo>
                  <a:pt x="3436" y="13226"/>
                </a:lnTo>
                <a:cubicBezTo>
                  <a:pt x="3436" y="13226"/>
                  <a:pt x="3436" y="12248"/>
                  <a:pt x="3436" y="12248"/>
                </a:cubicBezTo>
                <a:close/>
                <a:moveTo>
                  <a:pt x="3436" y="14204"/>
                </a:moveTo>
                <a:lnTo>
                  <a:pt x="2455" y="14204"/>
                </a:lnTo>
                <a:lnTo>
                  <a:pt x="2455" y="15182"/>
                </a:lnTo>
                <a:lnTo>
                  <a:pt x="3436" y="15182"/>
                </a:lnTo>
                <a:cubicBezTo>
                  <a:pt x="3436" y="15182"/>
                  <a:pt x="3436" y="14204"/>
                  <a:pt x="3436" y="14204"/>
                </a:cubicBezTo>
                <a:close/>
                <a:moveTo>
                  <a:pt x="6382" y="19095"/>
                </a:moveTo>
                <a:lnTo>
                  <a:pt x="13255" y="19095"/>
                </a:lnTo>
                <a:lnTo>
                  <a:pt x="13255" y="18117"/>
                </a:lnTo>
                <a:lnTo>
                  <a:pt x="6382" y="18117"/>
                </a:lnTo>
                <a:cubicBezTo>
                  <a:pt x="6382" y="18117"/>
                  <a:pt x="6382" y="19095"/>
                  <a:pt x="6382" y="19095"/>
                </a:cubicBezTo>
                <a:close/>
                <a:moveTo>
                  <a:pt x="18164" y="15182"/>
                </a:moveTo>
                <a:lnTo>
                  <a:pt x="19145" y="15182"/>
                </a:lnTo>
                <a:lnTo>
                  <a:pt x="19145" y="14204"/>
                </a:lnTo>
                <a:lnTo>
                  <a:pt x="18164" y="14204"/>
                </a:lnTo>
                <a:cubicBezTo>
                  <a:pt x="18164" y="14204"/>
                  <a:pt x="18164" y="15182"/>
                  <a:pt x="18164" y="15182"/>
                </a:cubicBezTo>
                <a:close/>
                <a:moveTo>
                  <a:pt x="5400" y="14204"/>
                </a:moveTo>
                <a:lnTo>
                  <a:pt x="4418" y="14204"/>
                </a:lnTo>
                <a:lnTo>
                  <a:pt x="4418" y="15182"/>
                </a:lnTo>
                <a:lnTo>
                  <a:pt x="5400" y="15182"/>
                </a:lnTo>
                <a:cubicBezTo>
                  <a:pt x="5400" y="15182"/>
                  <a:pt x="5400" y="14204"/>
                  <a:pt x="5400" y="14204"/>
                </a:cubicBezTo>
                <a:close/>
                <a:moveTo>
                  <a:pt x="14236" y="16160"/>
                </a:moveTo>
                <a:lnTo>
                  <a:pt x="13255" y="16160"/>
                </a:lnTo>
                <a:lnTo>
                  <a:pt x="13255" y="17139"/>
                </a:lnTo>
                <a:lnTo>
                  <a:pt x="14236" y="17139"/>
                </a:lnTo>
                <a:cubicBezTo>
                  <a:pt x="14236" y="17139"/>
                  <a:pt x="14236" y="16160"/>
                  <a:pt x="14236" y="16160"/>
                </a:cubicBezTo>
                <a:close/>
                <a:moveTo>
                  <a:pt x="20618" y="19584"/>
                </a:moveTo>
                <a:cubicBezTo>
                  <a:pt x="20618" y="20124"/>
                  <a:pt x="20178" y="20562"/>
                  <a:pt x="19636" y="20562"/>
                </a:cubicBezTo>
                <a:lnTo>
                  <a:pt x="1964" y="20562"/>
                </a:lnTo>
                <a:cubicBezTo>
                  <a:pt x="1421" y="20562"/>
                  <a:pt x="982" y="20124"/>
                  <a:pt x="982" y="19584"/>
                </a:cubicBezTo>
                <a:lnTo>
                  <a:pt x="982" y="11759"/>
                </a:lnTo>
                <a:cubicBezTo>
                  <a:pt x="982" y="11219"/>
                  <a:pt x="1421" y="10781"/>
                  <a:pt x="1964" y="10781"/>
                </a:cubicBezTo>
                <a:lnTo>
                  <a:pt x="19636" y="10781"/>
                </a:lnTo>
                <a:cubicBezTo>
                  <a:pt x="20178" y="10781"/>
                  <a:pt x="20618" y="11219"/>
                  <a:pt x="20618" y="11759"/>
                </a:cubicBezTo>
                <a:cubicBezTo>
                  <a:pt x="20618" y="11759"/>
                  <a:pt x="20618" y="19584"/>
                  <a:pt x="20618" y="19584"/>
                </a:cubicBezTo>
                <a:close/>
                <a:moveTo>
                  <a:pt x="19636" y="9803"/>
                </a:moveTo>
                <a:lnTo>
                  <a:pt x="10965" y="9803"/>
                </a:lnTo>
                <a:cubicBezTo>
                  <a:pt x="10831" y="9456"/>
                  <a:pt x="10774" y="9056"/>
                  <a:pt x="10870" y="8651"/>
                </a:cubicBezTo>
                <a:cubicBezTo>
                  <a:pt x="11059" y="7853"/>
                  <a:pt x="11782" y="7224"/>
                  <a:pt x="12961" y="6833"/>
                </a:cubicBezTo>
                <a:cubicBezTo>
                  <a:pt x="14940" y="6175"/>
                  <a:pt x="15841" y="4938"/>
                  <a:pt x="16249" y="4015"/>
                </a:cubicBezTo>
                <a:cubicBezTo>
                  <a:pt x="16747" y="2886"/>
                  <a:pt x="16801" y="1546"/>
                  <a:pt x="16396" y="335"/>
                </a:cubicBezTo>
                <a:cubicBezTo>
                  <a:pt x="16310" y="79"/>
                  <a:pt x="16032" y="-60"/>
                  <a:pt x="15774" y="25"/>
                </a:cubicBezTo>
                <a:cubicBezTo>
                  <a:pt x="15517" y="112"/>
                  <a:pt x="15378" y="388"/>
                  <a:pt x="15464" y="644"/>
                </a:cubicBezTo>
                <a:cubicBezTo>
                  <a:pt x="16091" y="2519"/>
                  <a:pt x="15480" y="4964"/>
                  <a:pt x="12650" y="5904"/>
                </a:cubicBezTo>
                <a:cubicBezTo>
                  <a:pt x="10733" y="6542"/>
                  <a:pt x="10105" y="7627"/>
                  <a:pt x="9915" y="8427"/>
                </a:cubicBezTo>
                <a:cubicBezTo>
                  <a:pt x="9809" y="8876"/>
                  <a:pt x="9824" y="9351"/>
                  <a:pt x="9937" y="9803"/>
                </a:cubicBezTo>
                <a:lnTo>
                  <a:pt x="1964" y="9803"/>
                </a:lnTo>
                <a:cubicBezTo>
                  <a:pt x="879" y="9803"/>
                  <a:pt x="0" y="10679"/>
                  <a:pt x="0" y="11759"/>
                </a:cubicBezTo>
                <a:lnTo>
                  <a:pt x="0" y="19584"/>
                </a:lnTo>
                <a:cubicBezTo>
                  <a:pt x="0" y="20664"/>
                  <a:pt x="879" y="21540"/>
                  <a:pt x="1964" y="21540"/>
                </a:cubicBezTo>
                <a:lnTo>
                  <a:pt x="19636" y="21540"/>
                </a:lnTo>
                <a:cubicBezTo>
                  <a:pt x="20721" y="21540"/>
                  <a:pt x="21600" y="20664"/>
                  <a:pt x="21600" y="19584"/>
                </a:cubicBezTo>
                <a:lnTo>
                  <a:pt x="21600" y="11759"/>
                </a:lnTo>
                <a:cubicBezTo>
                  <a:pt x="21600" y="10679"/>
                  <a:pt x="20721" y="9803"/>
                  <a:pt x="19636" y="9803"/>
                </a:cubicBezTo>
                <a:moveTo>
                  <a:pt x="17182" y="17139"/>
                </a:moveTo>
                <a:lnTo>
                  <a:pt x="19145" y="17139"/>
                </a:lnTo>
                <a:lnTo>
                  <a:pt x="19145" y="16160"/>
                </a:lnTo>
                <a:lnTo>
                  <a:pt x="17182" y="16160"/>
                </a:lnTo>
                <a:cubicBezTo>
                  <a:pt x="17182" y="16160"/>
                  <a:pt x="17182" y="17139"/>
                  <a:pt x="17182" y="17139"/>
                </a:cubicBezTo>
                <a:close/>
                <a:moveTo>
                  <a:pt x="14236" y="19095"/>
                </a:moveTo>
                <a:lnTo>
                  <a:pt x="15218" y="19095"/>
                </a:lnTo>
                <a:lnTo>
                  <a:pt x="15218" y="18117"/>
                </a:lnTo>
                <a:lnTo>
                  <a:pt x="14236" y="18117"/>
                </a:lnTo>
                <a:cubicBezTo>
                  <a:pt x="14236" y="18117"/>
                  <a:pt x="14236" y="19095"/>
                  <a:pt x="14236" y="19095"/>
                </a:cubicBezTo>
                <a:close/>
                <a:moveTo>
                  <a:pt x="16200" y="19095"/>
                </a:moveTo>
                <a:lnTo>
                  <a:pt x="17182" y="19095"/>
                </a:lnTo>
                <a:lnTo>
                  <a:pt x="17182" y="18117"/>
                </a:lnTo>
                <a:lnTo>
                  <a:pt x="16200" y="18117"/>
                </a:lnTo>
                <a:cubicBezTo>
                  <a:pt x="16200" y="18117"/>
                  <a:pt x="16200" y="19095"/>
                  <a:pt x="16200" y="19095"/>
                </a:cubicBezTo>
                <a:close/>
                <a:moveTo>
                  <a:pt x="18164" y="19095"/>
                </a:moveTo>
                <a:lnTo>
                  <a:pt x="19145" y="19095"/>
                </a:lnTo>
                <a:lnTo>
                  <a:pt x="19145" y="18117"/>
                </a:lnTo>
                <a:lnTo>
                  <a:pt x="18164" y="18117"/>
                </a:lnTo>
                <a:cubicBezTo>
                  <a:pt x="18164" y="18117"/>
                  <a:pt x="18164" y="19095"/>
                  <a:pt x="18164" y="19095"/>
                </a:cubicBezTo>
                <a:close/>
                <a:moveTo>
                  <a:pt x="16200" y="16160"/>
                </a:moveTo>
                <a:lnTo>
                  <a:pt x="15218" y="16160"/>
                </a:lnTo>
                <a:lnTo>
                  <a:pt x="15218" y="17139"/>
                </a:lnTo>
                <a:lnTo>
                  <a:pt x="16200" y="17139"/>
                </a:lnTo>
                <a:cubicBezTo>
                  <a:pt x="16200" y="17139"/>
                  <a:pt x="16200" y="16160"/>
                  <a:pt x="16200" y="16160"/>
                </a:cubicBezTo>
                <a:close/>
                <a:moveTo>
                  <a:pt x="18164" y="13226"/>
                </a:moveTo>
                <a:lnTo>
                  <a:pt x="19145" y="13226"/>
                </a:lnTo>
                <a:lnTo>
                  <a:pt x="19145" y="12248"/>
                </a:lnTo>
                <a:lnTo>
                  <a:pt x="18164" y="12248"/>
                </a:lnTo>
                <a:cubicBezTo>
                  <a:pt x="18164" y="12248"/>
                  <a:pt x="18164" y="13226"/>
                  <a:pt x="18164" y="13226"/>
                </a:cubicBezTo>
                <a:close/>
                <a:moveTo>
                  <a:pt x="13255" y="12248"/>
                </a:moveTo>
                <a:lnTo>
                  <a:pt x="12273" y="12248"/>
                </a:lnTo>
                <a:lnTo>
                  <a:pt x="12273" y="13226"/>
                </a:lnTo>
                <a:lnTo>
                  <a:pt x="13255" y="13226"/>
                </a:lnTo>
                <a:cubicBezTo>
                  <a:pt x="13255" y="13226"/>
                  <a:pt x="13255" y="12248"/>
                  <a:pt x="13255" y="12248"/>
                </a:cubicBezTo>
                <a:close/>
                <a:moveTo>
                  <a:pt x="13255" y="14204"/>
                </a:moveTo>
                <a:lnTo>
                  <a:pt x="12273" y="14204"/>
                </a:lnTo>
                <a:lnTo>
                  <a:pt x="12273" y="15182"/>
                </a:lnTo>
                <a:lnTo>
                  <a:pt x="13255" y="15182"/>
                </a:lnTo>
                <a:cubicBezTo>
                  <a:pt x="13255" y="15182"/>
                  <a:pt x="13255" y="14204"/>
                  <a:pt x="13255" y="14204"/>
                </a:cubicBezTo>
                <a:close/>
                <a:moveTo>
                  <a:pt x="15218" y="14204"/>
                </a:moveTo>
                <a:lnTo>
                  <a:pt x="14236" y="14204"/>
                </a:lnTo>
                <a:lnTo>
                  <a:pt x="14236" y="15182"/>
                </a:lnTo>
                <a:lnTo>
                  <a:pt x="15218" y="15182"/>
                </a:lnTo>
                <a:cubicBezTo>
                  <a:pt x="15218" y="15182"/>
                  <a:pt x="15218" y="14204"/>
                  <a:pt x="15218" y="14204"/>
                </a:cubicBezTo>
                <a:close/>
                <a:moveTo>
                  <a:pt x="17182" y="14204"/>
                </a:moveTo>
                <a:lnTo>
                  <a:pt x="16200" y="14204"/>
                </a:lnTo>
                <a:lnTo>
                  <a:pt x="16200" y="15182"/>
                </a:lnTo>
                <a:lnTo>
                  <a:pt x="17182" y="15182"/>
                </a:lnTo>
                <a:cubicBezTo>
                  <a:pt x="17182" y="15182"/>
                  <a:pt x="17182" y="14204"/>
                  <a:pt x="17182" y="14204"/>
                </a:cubicBezTo>
                <a:close/>
                <a:moveTo>
                  <a:pt x="15218" y="12248"/>
                </a:moveTo>
                <a:lnTo>
                  <a:pt x="14236" y="12248"/>
                </a:lnTo>
                <a:lnTo>
                  <a:pt x="14236" y="13226"/>
                </a:lnTo>
                <a:lnTo>
                  <a:pt x="15218" y="13226"/>
                </a:lnTo>
                <a:cubicBezTo>
                  <a:pt x="15218" y="13226"/>
                  <a:pt x="15218" y="12248"/>
                  <a:pt x="15218" y="12248"/>
                </a:cubicBezTo>
                <a:close/>
                <a:moveTo>
                  <a:pt x="17182" y="12248"/>
                </a:moveTo>
                <a:lnTo>
                  <a:pt x="16200" y="12248"/>
                </a:lnTo>
                <a:lnTo>
                  <a:pt x="16200" y="13226"/>
                </a:lnTo>
                <a:lnTo>
                  <a:pt x="17182" y="13226"/>
                </a:lnTo>
                <a:cubicBezTo>
                  <a:pt x="17182" y="13226"/>
                  <a:pt x="17182" y="12248"/>
                  <a:pt x="17182" y="12248"/>
                </a:cubicBezTo>
                <a:close/>
                <a:moveTo>
                  <a:pt x="11291" y="12248"/>
                </a:moveTo>
                <a:lnTo>
                  <a:pt x="10309" y="12248"/>
                </a:lnTo>
                <a:lnTo>
                  <a:pt x="10309" y="13226"/>
                </a:lnTo>
                <a:lnTo>
                  <a:pt x="11291" y="13226"/>
                </a:lnTo>
                <a:cubicBezTo>
                  <a:pt x="11291" y="13226"/>
                  <a:pt x="11291" y="12248"/>
                  <a:pt x="11291" y="12248"/>
                </a:cubicBezTo>
                <a:close/>
                <a:moveTo>
                  <a:pt x="5400" y="12248"/>
                </a:moveTo>
                <a:lnTo>
                  <a:pt x="4418" y="12248"/>
                </a:lnTo>
                <a:lnTo>
                  <a:pt x="4418" y="13226"/>
                </a:lnTo>
                <a:lnTo>
                  <a:pt x="5400" y="13226"/>
                </a:lnTo>
                <a:cubicBezTo>
                  <a:pt x="5400" y="13226"/>
                  <a:pt x="5400" y="12248"/>
                  <a:pt x="5400" y="12248"/>
                </a:cubicBezTo>
                <a:close/>
                <a:moveTo>
                  <a:pt x="7364" y="17139"/>
                </a:moveTo>
                <a:lnTo>
                  <a:pt x="8345" y="17139"/>
                </a:lnTo>
                <a:lnTo>
                  <a:pt x="8345" y="16160"/>
                </a:lnTo>
                <a:lnTo>
                  <a:pt x="7364" y="16160"/>
                </a:lnTo>
                <a:cubicBezTo>
                  <a:pt x="7364" y="16160"/>
                  <a:pt x="7364" y="17139"/>
                  <a:pt x="7364" y="17139"/>
                </a:cubicBezTo>
                <a:close/>
                <a:moveTo>
                  <a:pt x="7364" y="14204"/>
                </a:moveTo>
                <a:lnTo>
                  <a:pt x="6382" y="14204"/>
                </a:lnTo>
                <a:lnTo>
                  <a:pt x="6382" y="15182"/>
                </a:lnTo>
                <a:lnTo>
                  <a:pt x="7364" y="15182"/>
                </a:lnTo>
                <a:cubicBezTo>
                  <a:pt x="7364" y="15182"/>
                  <a:pt x="7364" y="14204"/>
                  <a:pt x="7364" y="14204"/>
                </a:cubicBezTo>
                <a:close/>
                <a:moveTo>
                  <a:pt x="7364" y="12248"/>
                </a:moveTo>
                <a:lnTo>
                  <a:pt x="6382" y="12248"/>
                </a:lnTo>
                <a:lnTo>
                  <a:pt x="6382" y="13226"/>
                </a:lnTo>
                <a:lnTo>
                  <a:pt x="7364" y="13226"/>
                </a:lnTo>
                <a:cubicBezTo>
                  <a:pt x="7364" y="13226"/>
                  <a:pt x="7364" y="12248"/>
                  <a:pt x="7364" y="12248"/>
                </a:cubicBezTo>
                <a:close/>
                <a:moveTo>
                  <a:pt x="9327" y="14204"/>
                </a:moveTo>
                <a:lnTo>
                  <a:pt x="8345" y="14204"/>
                </a:lnTo>
                <a:lnTo>
                  <a:pt x="8345" y="15182"/>
                </a:lnTo>
                <a:lnTo>
                  <a:pt x="9327" y="15182"/>
                </a:lnTo>
                <a:cubicBezTo>
                  <a:pt x="9327" y="15182"/>
                  <a:pt x="9327" y="14204"/>
                  <a:pt x="9327" y="14204"/>
                </a:cubicBezTo>
                <a:close/>
                <a:moveTo>
                  <a:pt x="11291" y="14204"/>
                </a:moveTo>
                <a:lnTo>
                  <a:pt x="10309" y="14204"/>
                </a:lnTo>
                <a:lnTo>
                  <a:pt x="10309" y="15182"/>
                </a:lnTo>
                <a:lnTo>
                  <a:pt x="11291" y="15182"/>
                </a:lnTo>
                <a:cubicBezTo>
                  <a:pt x="11291" y="15182"/>
                  <a:pt x="11291" y="14204"/>
                  <a:pt x="11291" y="14204"/>
                </a:cubicBezTo>
                <a:close/>
                <a:moveTo>
                  <a:pt x="9327" y="12248"/>
                </a:moveTo>
                <a:lnTo>
                  <a:pt x="8345" y="12248"/>
                </a:lnTo>
                <a:lnTo>
                  <a:pt x="8345" y="13226"/>
                </a:lnTo>
                <a:lnTo>
                  <a:pt x="9327" y="13226"/>
                </a:lnTo>
                <a:cubicBezTo>
                  <a:pt x="9327" y="13226"/>
                  <a:pt x="9327" y="12248"/>
                  <a:pt x="9327" y="12248"/>
                </a:cubicBezTo>
                <a:close/>
                <a:moveTo>
                  <a:pt x="11291" y="17139"/>
                </a:moveTo>
                <a:lnTo>
                  <a:pt x="12273" y="17139"/>
                </a:lnTo>
                <a:lnTo>
                  <a:pt x="12273" y="16160"/>
                </a:lnTo>
                <a:lnTo>
                  <a:pt x="11291" y="16160"/>
                </a:lnTo>
                <a:cubicBezTo>
                  <a:pt x="11291" y="16160"/>
                  <a:pt x="11291" y="17139"/>
                  <a:pt x="11291" y="17139"/>
                </a:cubicBezTo>
                <a:close/>
                <a:moveTo>
                  <a:pt x="9327" y="17139"/>
                </a:moveTo>
                <a:lnTo>
                  <a:pt x="10309" y="17139"/>
                </a:lnTo>
                <a:lnTo>
                  <a:pt x="10309" y="16160"/>
                </a:lnTo>
                <a:lnTo>
                  <a:pt x="9327" y="16160"/>
                </a:lnTo>
                <a:cubicBezTo>
                  <a:pt x="9327" y="16160"/>
                  <a:pt x="9327" y="17139"/>
                  <a:pt x="9327" y="1713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5" name="Shape 2685"/>
          <p:cNvSpPr/>
          <p:nvPr/>
        </p:nvSpPr>
        <p:spPr>
          <a:xfrm>
            <a:off x="790735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145"/>
                </a:moveTo>
                <a:cubicBezTo>
                  <a:pt x="20618" y="19959"/>
                  <a:pt x="19959" y="20618"/>
                  <a:pt x="19145" y="20618"/>
                </a:cubicBezTo>
                <a:cubicBezTo>
                  <a:pt x="18332" y="20618"/>
                  <a:pt x="17673" y="19959"/>
                  <a:pt x="17673" y="19145"/>
                </a:cubicBezTo>
                <a:lnTo>
                  <a:pt x="17673" y="14236"/>
                </a:lnTo>
                <a:cubicBezTo>
                  <a:pt x="17673" y="13424"/>
                  <a:pt x="18332" y="12764"/>
                  <a:pt x="19145" y="12764"/>
                </a:cubicBezTo>
                <a:cubicBezTo>
                  <a:pt x="19959" y="12764"/>
                  <a:pt x="20618" y="13424"/>
                  <a:pt x="20618" y="14236"/>
                </a:cubicBezTo>
                <a:cubicBezTo>
                  <a:pt x="20618" y="14236"/>
                  <a:pt x="20618" y="19145"/>
                  <a:pt x="20618" y="19145"/>
                </a:cubicBezTo>
                <a:close/>
                <a:moveTo>
                  <a:pt x="3927" y="14236"/>
                </a:moveTo>
                <a:lnTo>
                  <a:pt x="3927" y="19145"/>
                </a:lnTo>
                <a:cubicBezTo>
                  <a:pt x="3927" y="19959"/>
                  <a:pt x="3268" y="20618"/>
                  <a:pt x="2455" y="20618"/>
                </a:cubicBezTo>
                <a:cubicBezTo>
                  <a:pt x="1641" y="20618"/>
                  <a:pt x="982" y="19959"/>
                  <a:pt x="982" y="19145"/>
                </a:cubicBezTo>
                <a:lnTo>
                  <a:pt x="982" y="14236"/>
                </a:lnTo>
                <a:cubicBezTo>
                  <a:pt x="982" y="13424"/>
                  <a:pt x="1641" y="12764"/>
                  <a:pt x="2455" y="12764"/>
                </a:cubicBezTo>
                <a:cubicBezTo>
                  <a:pt x="3268" y="12764"/>
                  <a:pt x="3927" y="13424"/>
                  <a:pt x="3927" y="14236"/>
                </a:cubicBezTo>
                <a:moveTo>
                  <a:pt x="19636" y="11831"/>
                </a:moveTo>
                <a:lnTo>
                  <a:pt x="19636" y="5891"/>
                </a:lnTo>
                <a:cubicBezTo>
                  <a:pt x="19636" y="2638"/>
                  <a:pt x="16999" y="0"/>
                  <a:pt x="13745" y="0"/>
                </a:cubicBezTo>
                <a:lnTo>
                  <a:pt x="7855" y="0"/>
                </a:lnTo>
                <a:cubicBezTo>
                  <a:pt x="4601" y="0"/>
                  <a:pt x="1964" y="2638"/>
                  <a:pt x="1964" y="5891"/>
                </a:cubicBezTo>
                <a:lnTo>
                  <a:pt x="1964" y="11831"/>
                </a:lnTo>
                <a:cubicBezTo>
                  <a:pt x="843" y="12059"/>
                  <a:pt x="0" y="13049"/>
                  <a:pt x="0" y="14236"/>
                </a:cubicBezTo>
                <a:lnTo>
                  <a:pt x="0" y="19145"/>
                </a:lnTo>
                <a:cubicBezTo>
                  <a:pt x="0" y="20501"/>
                  <a:pt x="1099" y="21600"/>
                  <a:pt x="2455" y="21600"/>
                </a:cubicBezTo>
                <a:cubicBezTo>
                  <a:pt x="3810" y="21600"/>
                  <a:pt x="4909" y="20501"/>
                  <a:pt x="4909" y="19145"/>
                </a:cubicBezTo>
                <a:lnTo>
                  <a:pt x="4909" y="14236"/>
                </a:lnTo>
                <a:cubicBezTo>
                  <a:pt x="4909" y="13049"/>
                  <a:pt x="4066" y="12059"/>
                  <a:pt x="2945" y="11831"/>
                </a:cubicBezTo>
                <a:lnTo>
                  <a:pt x="2945" y="5891"/>
                </a:lnTo>
                <a:cubicBezTo>
                  <a:pt x="2945" y="3180"/>
                  <a:pt x="5144" y="982"/>
                  <a:pt x="7855" y="982"/>
                </a:cubicBezTo>
                <a:lnTo>
                  <a:pt x="13745" y="982"/>
                </a:lnTo>
                <a:cubicBezTo>
                  <a:pt x="16457" y="982"/>
                  <a:pt x="18655" y="3180"/>
                  <a:pt x="18655" y="5891"/>
                </a:cubicBezTo>
                <a:lnTo>
                  <a:pt x="18655" y="11831"/>
                </a:lnTo>
                <a:cubicBezTo>
                  <a:pt x="17534" y="12059"/>
                  <a:pt x="16691" y="13049"/>
                  <a:pt x="16691" y="14236"/>
                </a:cubicBezTo>
                <a:lnTo>
                  <a:pt x="16691" y="19145"/>
                </a:lnTo>
                <a:cubicBezTo>
                  <a:pt x="16691" y="20501"/>
                  <a:pt x="17790" y="21600"/>
                  <a:pt x="19145" y="21600"/>
                </a:cubicBezTo>
                <a:cubicBezTo>
                  <a:pt x="20501" y="21600"/>
                  <a:pt x="21600" y="20501"/>
                  <a:pt x="21600" y="19145"/>
                </a:cubicBezTo>
                <a:lnTo>
                  <a:pt x="21600" y="14236"/>
                </a:lnTo>
                <a:cubicBezTo>
                  <a:pt x="21600" y="13049"/>
                  <a:pt x="20757" y="12059"/>
                  <a:pt x="19636" y="1183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6" name="Shape 2686"/>
          <p:cNvSpPr/>
          <p:nvPr/>
        </p:nvSpPr>
        <p:spPr>
          <a:xfrm>
            <a:off x="830730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7673"/>
                </a:moveTo>
                <a:cubicBezTo>
                  <a:pt x="20618" y="18215"/>
                  <a:pt x="20178" y="18655"/>
                  <a:pt x="19636" y="18655"/>
                </a:cubicBezTo>
                <a:lnTo>
                  <a:pt x="19636" y="14727"/>
                </a:lnTo>
                <a:cubicBezTo>
                  <a:pt x="20178" y="14727"/>
                  <a:pt x="20618" y="15167"/>
                  <a:pt x="20618" y="15709"/>
                </a:cubicBezTo>
                <a:cubicBezTo>
                  <a:pt x="20618" y="15709"/>
                  <a:pt x="20618" y="17673"/>
                  <a:pt x="20618" y="17673"/>
                </a:cubicBezTo>
                <a:close/>
                <a:moveTo>
                  <a:pt x="18655" y="19145"/>
                </a:moveTo>
                <a:cubicBezTo>
                  <a:pt x="18655" y="19959"/>
                  <a:pt x="17995" y="20618"/>
                  <a:pt x="17182" y="20618"/>
                </a:cubicBezTo>
                <a:cubicBezTo>
                  <a:pt x="16368" y="20618"/>
                  <a:pt x="15709" y="19959"/>
                  <a:pt x="15709" y="19145"/>
                </a:cubicBezTo>
                <a:lnTo>
                  <a:pt x="15709" y="14236"/>
                </a:lnTo>
                <a:cubicBezTo>
                  <a:pt x="15709" y="13424"/>
                  <a:pt x="16368" y="12764"/>
                  <a:pt x="17182" y="12764"/>
                </a:cubicBezTo>
                <a:cubicBezTo>
                  <a:pt x="17995" y="12764"/>
                  <a:pt x="18655" y="13424"/>
                  <a:pt x="18655" y="14236"/>
                </a:cubicBezTo>
                <a:cubicBezTo>
                  <a:pt x="18655" y="14236"/>
                  <a:pt x="18655" y="19145"/>
                  <a:pt x="18655" y="19145"/>
                </a:cubicBezTo>
                <a:close/>
                <a:moveTo>
                  <a:pt x="4418" y="12764"/>
                </a:moveTo>
                <a:cubicBezTo>
                  <a:pt x="5231" y="12764"/>
                  <a:pt x="5891" y="13424"/>
                  <a:pt x="5891" y="14236"/>
                </a:cubicBezTo>
                <a:lnTo>
                  <a:pt x="5891" y="19145"/>
                </a:lnTo>
                <a:cubicBezTo>
                  <a:pt x="5891" y="19959"/>
                  <a:pt x="5231" y="20618"/>
                  <a:pt x="4418" y="20618"/>
                </a:cubicBezTo>
                <a:cubicBezTo>
                  <a:pt x="3605" y="20618"/>
                  <a:pt x="2945" y="19959"/>
                  <a:pt x="2945" y="19145"/>
                </a:cubicBezTo>
                <a:lnTo>
                  <a:pt x="2945" y="14236"/>
                </a:lnTo>
                <a:cubicBezTo>
                  <a:pt x="2945" y="13424"/>
                  <a:pt x="3605" y="12764"/>
                  <a:pt x="4418" y="12764"/>
                </a:cubicBezTo>
                <a:moveTo>
                  <a:pt x="1964" y="18655"/>
                </a:moveTo>
                <a:cubicBezTo>
                  <a:pt x="1422" y="18655"/>
                  <a:pt x="982" y="18215"/>
                  <a:pt x="982" y="17673"/>
                </a:cubicBezTo>
                <a:lnTo>
                  <a:pt x="982" y="15709"/>
                </a:lnTo>
                <a:cubicBezTo>
                  <a:pt x="982" y="15167"/>
                  <a:pt x="1422" y="14727"/>
                  <a:pt x="1964" y="14727"/>
                </a:cubicBezTo>
                <a:cubicBezTo>
                  <a:pt x="1964" y="14727"/>
                  <a:pt x="1964" y="18655"/>
                  <a:pt x="1964" y="18655"/>
                </a:cubicBezTo>
                <a:close/>
                <a:moveTo>
                  <a:pt x="19636" y="13745"/>
                </a:moveTo>
                <a:lnTo>
                  <a:pt x="19636" y="5891"/>
                </a:lnTo>
                <a:cubicBezTo>
                  <a:pt x="19636" y="2638"/>
                  <a:pt x="16999" y="0"/>
                  <a:pt x="13745" y="0"/>
                </a:cubicBezTo>
                <a:lnTo>
                  <a:pt x="7855" y="0"/>
                </a:lnTo>
                <a:cubicBezTo>
                  <a:pt x="4601" y="0"/>
                  <a:pt x="1964" y="2638"/>
                  <a:pt x="1964" y="5891"/>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3" y="11782"/>
                  <a:pt x="3357" y="11973"/>
                  <a:pt x="2945" y="12284"/>
                </a:cubicBezTo>
                <a:lnTo>
                  <a:pt x="2945" y="5891"/>
                </a:lnTo>
                <a:cubicBezTo>
                  <a:pt x="2945" y="3180"/>
                  <a:pt x="5144" y="982"/>
                  <a:pt x="7855" y="982"/>
                </a:cubicBezTo>
                <a:lnTo>
                  <a:pt x="13745" y="982"/>
                </a:lnTo>
                <a:cubicBezTo>
                  <a:pt x="16456" y="982"/>
                  <a:pt x="18655" y="3180"/>
                  <a:pt x="18655" y="5891"/>
                </a:cubicBezTo>
                <a:lnTo>
                  <a:pt x="18655" y="12284"/>
                </a:lnTo>
                <a:cubicBezTo>
                  <a:pt x="18243" y="11973"/>
                  <a:pt x="17737" y="11782"/>
                  <a:pt x="17182" y="11782"/>
                </a:cubicBezTo>
                <a:cubicBezTo>
                  <a:pt x="15826" y="11782"/>
                  <a:pt x="14727" y="12881"/>
                  <a:pt x="14727" y="14236"/>
                </a:cubicBezTo>
                <a:lnTo>
                  <a:pt x="14727" y="19145"/>
                </a:lnTo>
                <a:cubicBezTo>
                  <a:pt x="14727" y="20501"/>
                  <a:pt x="15826" y="21600"/>
                  <a:pt x="17182" y="21600"/>
                </a:cubicBezTo>
                <a:cubicBezTo>
                  <a:pt x="18369" y="21600"/>
                  <a:pt x="19359"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7" name="Shape 2687"/>
          <p:cNvSpPr/>
          <p:nvPr/>
        </p:nvSpPr>
        <p:spPr>
          <a:xfrm>
            <a:off x="470778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6200"/>
                </a:moveTo>
                <a:lnTo>
                  <a:pt x="15709" y="16200"/>
                </a:lnTo>
                <a:lnTo>
                  <a:pt x="15709" y="14727"/>
                </a:lnTo>
                <a:lnTo>
                  <a:pt x="18655" y="14727"/>
                </a:lnTo>
                <a:cubicBezTo>
                  <a:pt x="18655" y="14727"/>
                  <a:pt x="18655" y="16200"/>
                  <a:pt x="18655" y="16200"/>
                </a:cubicBezTo>
                <a:close/>
                <a:moveTo>
                  <a:pt x="18655" y="18655"/>
                </a:moveTo>
                <a:lnTo>
                  <a:pt x="15709" y="18655"/>
                </a:lnTo>
                <a:lnTo>
                  <a:pt x="15709" y="17182"/>
                </a:lnTo>
                <a:lnTo>
                  <a:pt x="18655" y="17182"/>
                </a:lnTo>
                <a:cubicBezTo>
                  <a:pt x="18655" y="17182"/>
                  <a:pt x="18655" y="18655"/>
                  <a:pt x="18655" y="18655"/>
                </a:cubicBezTo>
                <a:close/>
                <a:moveTo>
                  <a:pt x="17182" y="20618"/>
                </a:moveTo>
                <a:cubicBezTo>
                  <a:pt x="16542" y="20618"/>
                  <a:pt x="16002" y="20207"/>
                  <a:pt x="15799" y="19636"/>
                </a:cubicBezTo>
                <a:lnTo>
                  <a:pt x="18564" y="19636"/>
                </a:lnTo>
                <a:cubicBezTo>
                  <a:pt x="18361" y="20207"/>
                  <a:pt x="17822" y="20618"/>
                  <a:pt x="17182" y="20618"/>
                </a:cubicBezTo>
                <a:moveTo>
                  <a:pt x="17182" y="12764"/>
                </a:moveTo>
                <a:cubicBezTo>
                  <a:pt x="17822" y="12764"/>
                  <a:pt x="18361" y="13175"/>
                  <a:pt x="18564" y="13745"/>
                </a:cubicBezTo>
                <a:lnTo>
                  <a:pt x="15799" y="13745"/>
                </a:lnTo>
                <a:cubicBezTo>
                  <a:pt x="16002" y="13175"/>
                  <a:pt x="16542" y="12764"/>
                  <a:pt x="17182" y="12764"/>
                </a:cubicBezTo>
                <a:moveTo>
                  <a:pt x="5891" y="16200"/>
                </a:moveTo>
                <a:lnTo>
                  <a:pt x="2945" y="16200"/>
                </a:lnTo>
                <a:lnTo>
                  <a:pt x="2945" y="14727"/>
                </a:lnTo>
                <a:lnTo>
                  <a:pt x="5891" y="14727"/>
                </a:lnTo>
                <a:cubicBezTo>
                  <a:pt x="5891" y="14727"/>
                  <a:pt x="5891" y="16200"/>
                  <a:pt x="5891" y="16200"/>
                </a:cubicBezTo>
                <a:close/>
                <a:moveTo>
                  <a:pt x="4418" y="12764"/>
                </a:moveTo>
                <a:cubicBezTo>
                  <a:pt x="5058" y="12764"/>
                  <a:pt x="5598" y="13175"/>
                  <a:pt x="5801" y="13745"/>
                </a:cubicBezTo>
                <a:lnTo>
                  <a:pt x="3036" y="13745"/>
                </a:lnTo>
                <a:cubicBezTo>
                  <a:pt x="3239" y="13175"/>
                  <a:pt x="3778" y="12764"/>
                  <a:pt x="4418" y="12764"/>
                </a:cubicBezTo>
                <a:moveTo>
                  <a:pt x="5891" y="18655"/>
                </a:moveTo>
                <a:lnTo>
                  <a:pt x="2945" y="18655"/>
                </a:lnTo>
                <a:lnTo>
                  <a:pt x="2945" y="17182"/>
                </a:lnTo>
                <a:lnTo>
                  <a:pt x="5891" y="17182"/>
                </a:lnTo>
                <a:cubicBezTo>
                  <a:pt x="5891" y="17182"/>
                  <a:pt x="5891" y="18655"/>
                  <a:pt x="5891" y="18655"/>
                </a:cubicBezTo>
                <a:close/>
                <a:moveTo>
                  <a:pt x="4418" y="20618"/>
                </a:moveTo>
                <a:cubicBezTo>
                  <a:pt x="3778" y="20618"/>
                  <a:pt x="3239" y="20207"/>
                  <a:pt x="3036" y="19636"/>
                </a:cubicBezTo>
                <a:lnTo>
                  <a:pt x="5801" y="19636"/>
                </a:lnTo>
                <a:cubicBezTo>
                  <a:pt x="5598" y="20207"/>
                  <a:pt x="5058" y="20618"/>
                  <a:pt x="4418" y="20618"/>
                </a:cubicBezTo>
                <a:moveTo>
                  <a:pt x="19636" y="13745"/>
                </a:moveTo>
                <a:lnTo>
                  <a:pt x="19636" y="8836"/>
                </a:lnTo>
                <a:cubicBezTo>
                  <a:pt x="19636" y="3956"/>
                  <a:pt x="15680" y="0"/>
                  <a:pt x="10800" y="0"/>
                </a:cubicBezTo>
                <a:cubicBezTo>
                  <a:pt x="5920" y="0"/>
                  <a:pt x="1964" y="3956"/>
                  <a:pt x="1964" y="8836"/>
                </a:cubicBezTo>
                <a:lnTo>
                  <a:pt x="1964" y="13745"/>
                </a:lnTo>
                <a:cubicBezTo>
                  <a:pt x="879" y="13745"/>
                  <a:pt x="0" y="14625"/>
                  <a:pt x="0" y="15709"/>
                </a:cubicBezTo>
                <a:lnTo>
                  <a:pt x="0" y="17673"/>
                </a:lnTo>
                <a:cubicBezTo>
                  <a:pt x="0" y="18757"/>
                  <a:pt x="879" y="19636"/>
                  <a:pt x="1964" y="19636"/>
                </a:cubicBezTo>
                <a:lnTo>
                  <a:pt x="2013" y="19636"/>
                </a:lnTo>
                <a:cubicBezTo>
                  <a:pt x="2241" y="20757"/>
                  <a:pt x="3231" y="21600"/>
                  <a:pt x="4418" y="21600"/>
                </a:cubicBezTo>
                <a:cubicBezTo>
                  <a:pt x="5774" y="21600"/>
                  <a:pt x="6873" y="20501"/>
                  <a:pt x="6873" y="19145"/>
                </a:cubicBezTo>
                <a:lnTo>
                  <a:pt x="6873" y="14236"/>
                </a:lnTo>
                <a:cubicBezTo>
                  <a:pt x="6873" y="12881"/>
                  <a:pt x="5774" y="11782"/>
                  <a:pt x="4418" y="11782"/>
                </a:cubicBezTo>
                <a:cubicBezTo>
                  <a:pt x="3864" y="11782"/>
                  <a:pt x="3356" y="11971"/>
                  <a:pt x="2945" y="12282"/>
                </a:cubicBezTo>
                <a:lnTo>
                  <a:pt x="2945" y="8836"/>
                </a:lnTo>
                <a:cubicBezTo>
                  <a:pt x="2945" y="4499"/>
                  <a:pt x="6462" y="982"/>
                  <a:pt x="10800" y="982"/>
                </a:cubicBezTo>
                <a:cubicBezTo>
                  <a:pt x="15138" y="982"/>
                  <a:pt x="18655" y="4499"/>
                  <a:pt x="18655" y="8836"/>
                </a:cubicBezTo>
                <a:lnTo>
                  <a:pt x="18655" y="12282"/>
                </a:lnTo>
                <a:cubicBezTo>
                  <a:pt x="18244" y="11971"/>
                  <a:pt x="17736" y="11782"/>
                  <a:pt x="17182" y="11782"/>
                </a:cubicBezTo>
                <a:cubicBezTo>
                  <a:pt x="15826" y="11782"/>
                  <a:pt x="14727" y="12881"/>
                  <a:pt x="14727" y="14236"/>
                </a:cubicBezTo>
                <a:lnTo>
                  <a:pt x="14727" y="19145"/>
                </a:lnTo>
                <a:cubicBezTo>
                  <a:pt x="14727" y="20501"/>
                  <a:pt x="15826" y="21600"/>
                  <a:pt x="17182" y="21600"/>
                </a:cubicBezTo>
                <a:cubicBezTo>
                  <a:pt x="18369" y="21600"/>
                  <a:pt x="19360" y="20757"/>
                  <a:pt x="19587" y="19636"/>
                </a:cubicBezTo>
                <a:lnTo>
                  <a:pt x="19636" y="19636"/>
                </a:lnTo>
                <a:cubicBezTo>
                  <a:pt x="20721" y="19636"/>
                  <a:pt x="21600" y="18757"/>
                  <a:pt x="21600" y="17673"/>
                </a:cubicBezTo>
                <a:lnTo>
                  <a:pt x="21600" y="15709"/>
                </a:lnTo>
                <a:cubicBezTo>
                  <a:pt x="21600" y="14625"/>
                  <a:pt x="20721" y="13745"/>
                  <a:pt x="19636"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8" name="Shape 2688"/>
          <p:cNvSpPr/>
          <p:nvPr/>
        </p:nvSpPr>
        <p:spPr>
          <a:xfrm>
            <a:off x="510773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0309"/>
                </a:moveTo>
                <a:cubicBezTo>
                  <a:pt x="20618" y="10851"/>
                  <a:pt x="20178" y="11291"/>
                  <a:pt x="19636" y="11291"/>
                </a:cubicBezTo>
                <a:lnTo>
                  <a:pt x="19636" y="7364"/>
                </a:lnTo>
                <a:cubicBezTo>
                  <a:pt x="20178" y="7364"/>
                  <a:pt x="20618" y="7804"/>
                  <a:pt x="20618" y="8345"/>
                </a:cubicBezTo>
                <a:cubicBezTo>
                  <a:pt x="20618" y="8345"/>
                  <a:pt x="20618" y="10309"/>
                  <a:pt x="20618" y="10309"/>
                </a:cubicBezTo>
                <a:close/>
                <a:moveTo>
                  <a:pt x="18655" y="17182"/>
                </a:moveTo>
                <a:cubicBezTo>
                  <a:pt x="18655" y="17453"/>
                  <a:pt x="18434" y="17673"/>
                  <a:pt x="18164" y="17673"/>
                </a:cubicBezTo>
                <a:cubicBezTo>
                  <a:pt x="17893" y="17673"/>
                  <a:pt x="17673" y="17453"/>
                  <a:pt x="17673" y="17182"/>
                </a:cubicBezTo>
                <a:lnTo>
                  <a:pt x="17673" y="1473"/>
                </a:lnTo>
                <a:cubicBezTo>
                  <a:pt x="17673" y="1202"/>
                  <a:pt x="17893" y="982"/>
                  <a:pt x="18164" y="982"/>
                </a:cubicBezTo>
                <a:cubicBezTo>
                  <a:pt x="18434" y="982"/>
                  <a:pt x="18655" y="1202"/>
                  <a:pt x="18655" y="1473"/>
                </a:cubicBezTo>
                <a:cubicBezTo>
                  <a:pt x="18655" y="1473"/>
                  <a:pt x="18655" y="17182"/>
                  <a:pt x="18655" y="17182"/>
                </a:cubicBezTo>
                <a:close/>
                <a:moveTo>
                  <a:pt x="16691" y="15788"/>
                </a:moveTo>
                <a:lnTo>
                  <a:pt x="2945" y="11745"/>
                </a:lnTo>
                <a:lnTo>
                  <a:pt x="2945" y="6910"/>
                </a:lnTo>
                <a:lnTo>
                  <a:pt x="16691" y="2867"/>
                </a:lnTo>
                <a:cubicBezTo>
                  <a:pt x="16691" y="2867"/>
                  <a:pt x="16691" y="15788"/>
                  <a:pt x="16691" y="15788"/>
                </a:cubicBezTo>
                <a:close/>
                <a:moveTo>
                  <a:pt x="8251" y="18655"/>
                </a:moveTo>
                <a:lnTo>
                  <a:pt x="5357" y="18655"/>
                </a:lnTo>
                <a:lnTo>
                  <a:pt x="4126" y="13116"/>
                </a:lnTo>
                <a:lnTo>
                  <a:pt x="7167" y="14010"/>
                </a:lnTo>
                <a:cubicBezTo>
                  <a:pt x="7167" y="14010"/>
                  <a:pt x="8251" y="18655"/>
                  <a:pt x="8251" y="18655"/>
                </a:cubicBezTo>
                <a:close/>
                <a:moveTo>
                  <a:pt x="8709" y="20618"/>
                </a:moveTo>
                <a:lnTo>
                  <a:pt x="5794" y="20618"/>
                </a:lnTo>
                <a:lnTo>
                  <a:pt x="5576" y="19636"/>
                </a:lnTo>
                <a:lnTo>
                  <a:pt x="8479" y="19636"/>
                </a:lnTo>
                <a:cubicBezTo>
                  <a:pt x="8479" y="19636"/>
                  <a:pt x="8709" y="20618"/>
                  <a:pt x="8709" y="20618"/>
                </a:cubicBezTo>
                <a:close/>
                <a:moveTo>
                  <a:pt x="1964" y="11782"/>
                </a:moveTo>
                <a:lnTo>
                  <a:pt x="982" y="11782"/>
                </a:lnTo>
                <a:lnTo>
                  <a:pt x="982" y="6873"/>
                </a:lnTo>
                <a:lnTo>
                  <a:pt x="1964" y="6873"/>
                </a:lnTo>
                <a:cubicBezTo>
                  <a:pt x="1964" y="6873"/>
                  <a:pt x="1964" y="11782"/>
                  <a:pt x="1964" y="11782"/>
                </a:cubicBezTo>
                <a:close/>
                <a:moveTo>
                  <a:pt x="19636" y="6382"/>
                </a:moveTo>
                <a:lnTo>
                  <a:pt x="19636" y="1473"/>
                </a:lnTo>
                <a:cubicBezTo>
                  <a:pt x="19636" y="659"/>
                  <a:pt x="18977" y="0"/>
                  <a:pt x="18164" y="0"/>
                </a:cubicBezTo>
                <a:cubicBezTo>
                  <a:pt x="17350" y="0"/>
                  <a:pt x="16691" y="659"/>
                  <a:pt x="16691" y="1473"/>
                </a:cubicBezTo>
                <a:lnTo>
                  <a:pt x="16691" y="1844"/>
                </a:lnTo>
                <a:lnTo>
                  <a:pt x="2459" y="6029"/>
                </a:lnTo>
                <a:cubicBezTo>
                  <a:pt x="2313" y="5944"/>
                  <a:pt x="2145" y="5891"/>
                  <a:pt x="1964" y="5891"/>
                </a:cubicBezTo>
                <a:lnTo>
                  <a:pt x="982" y="5891"/>
                </a:lnTo>
                <a:cubicBezTo>
                  <a:pt x="440" y="5891"/>
                  <a:pt x="0" y="6331"/>
                  <a:pt x="0" y="6873"/>
                </a:cubicBezTo>
                <a:lnTo>
                  <a:pt x="0" y="11782"/>
                </a:lnTo>
                <a:cubicBezTo>
                  <a:pt x="0" y="12324"/>
                  <a:pt x="440" y="12764"/>
                  <a:pt x="982" y="12764"/>
                </a:cubicBezTo>
                <a:lnTo>
                  <a:pt x="1964" y="12764"/>
                </a:lnTo>
                <a:cubicBezTo>
                  <a:pt x="2145" y="12764"/>
                  <a:pt x="2313" y="12711"/>
                  <a:pt x="2458" y="12626"/>
                </a:cubicBezTo>
                <a:lnTo>
                  <a:pt x="3050" y="12799"/>
                </a:lnTo>
                <a:lnTo>
                  <a:pt x="4921" y="21216"/>
                </a:lnTo>
                <a:lnTo>
                  <a:pt x="4930" y="21214"/>
                </a:lnTo>
                <a:cubicBezTo>
                  <a:pt x="4979" y="21433"/>
                  <a:pt x="5166" y="21600"/>
                  <a:pt x="5400" y="21600"/>
                </a:cubicBezTo>
                <a:lnTo>
                  <a:pt x="9327" y="21600"/>
                </a:lnTo>
                <a:cubicBezTo>
                  <a:pt x="9598" y="21600"/>
                  <a:pt x="9818" y="21381"/>
                  <a:pt x="9818" y="21109"/>
                </a:cubicBezTo>
                <a:cubicBezTo>
                  <a:pt x="9818" y="21072"/>
                  <a:pt x="9805" y="21039"/>
                  <a:pt x="9797" y="21005"/>
                </a:cubicBezTo>
                <a:lnTo>
                  <a:pt x="9806" y="21003"/>
                </a:lnTo>
                <a:lnTo>
                  <a:pt x="8249" y="14329"/>
                </a:lnTo>
                <a:lnTo>
                  <a:pt x="16691" y="16811"/>
                </a:lnTo>
                <a:lnTo>
                  <a:pt x="16691" y="17182"/>
                </a:lnTo>
                <a:cubicBezTo>
                  <a:pt x="16691" y="17995"/>
                  <a:pt x="17350" y="18655"/>
                  <a:pt x="18164" y="18655"/>
                </a:cubicBezTo>
                <a:cubicBezTo>
                  <a:pt x="18977" y="18655"/>
                  <a:pt x="19636" y="17995"/>
                  <a:pt x="19636" y="17182"/>
                </a:cubicBezTo>
                <a:lnTo>
                  <a:pt x="19636" y="12273"/>
                </a:lnTo>
                <a:cubicBezTo>
                  <a:pt x="20721" y="12273"/>
                  <a:pt x="21600" y="11394"/>
                  <a:pt x="21600" y="10309"/>
                </a:cubicBezTo>
                <a:lnTo>
                  <a:pt x="21600" y="8345"/>
                </a:lnTo>
                <a:cubicBezTo>
                  <a:pt x="21600" y="7261"/>
                  <a:pt x="20721" y="6382"/>
                  <a:pt x="19636"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89" name="Shape 2689"/>
          <p:cNvSpPr/>
          <p:nvPr/>
        </p:nvSpPr>
        <p:spPr>
          <a:xfrm>
            <a:off x="550768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1291"/>
                </a:moveTo>
                <a:lnTo>
                  <a:pt x="18655" y="7364"/>
                </a:lnTo>
                <a:cubicBezTo>
                  <a:pt x="19739" y="7364"/>
                  <a:pt x="20618" y="8243"/>
                  <a:pt x="20618" y="9327"/>
                </a:cubicBezTo>
                <a:cubicBezTo>
                  <a:pt x="20618" y="10412"/>
                  <a:pt x="19739" y="11291"/>
                  <a:pt x="18655" y="11291"/>
                </a:cubicBezTo>
                <a:moveTo>
                  <a:pt x="17673" y="17182"/>
                </a:moveTo>
                <a:cubicBezTo>
                  <a:pt x="17673" y="17453"/>
                  <a:pt x="17453" y="17673"/>
                  <a:pt x="17182" y="17673"/>
                </a:cubicBezTo>
                <a:cubicBezTo>
                  <a:pt x="16911" y="17673"/>
                  <a:pt x="16691" y="17453"/>
                  <a:pt x="16691" y="17182"/>
                </a:cubicBezTo>
                <a:lnTo>
                  <a:pt x="16691" y="1473"/>
                </a:lnTo>
                <a:cubicBezTo>
                  <a:pt x="16691" y="1202"/>
                  <a:pt x="16911" y="982"/>
                  <a:pt x="17182" y="982"/>
                </a:cubicBezTo>
                <a:cubicBezTo>
                  <a:pt x="17453" y="982"/>
                  <a:pt x="17673" y="1202"/>
                  <a:pt x="17673" y="1473"/>
                </a:cubicBezTo>
                <a:cubicBezTo>
                  <a:pt x="17673" y="1473"/>
                  <a:pt x="17673" y="17182"/>
                  <a:pt x="17673" y="17182"/>
                </a:cubicBezTo>
                <a:close/>
                <a:moveTo>
                  <a:pt x="15709" y="15780"/>
                </a:moveTo>
                <a:lnTo>
                  <a:pt x="8836" y="13718"/>
                </a:lnTo>
                <a:lnTo>
                  <a:pt x="8836" y="4937"/>
                </a:lnTo>
                <a:lnTo>
                  <a:pt x="15709" y="2875"/>
                </a:lnTo>
                <a:cubicBezTo>
                  <a:pt x="15709" y="2875"/>
                  <a:pt x="15709" y="15780"/>
                  <a:pt x="15709" y="15780"/>
                </a:cubicBezTo>
                <a:close/>
                <a:moveTo>
                  <a:pt x="9479" y="19636"/>
                </a:moveTo>
                <a:lnTo>
                  <a:pt x="9697" y="20618"/>
                </a:lnTo>
                <a:lnTo>
                  <a:pt x="6775" y="20618"/>
                </a:lnTo>
                <a:lnTo>
                  <a:pt x="6558" y="19636"/>
                </a:lnTo>
                <a:cubicBezTo>
                  <a:pt x="6558" y="19636"/>
                  <a:pt x="9479" y="19636"/>
                  <a:pt x="9479" y="19636"/>
                </a:cubicBezTo>
                <a:close/>
                <a:moveTo>
                  <a:pt x="6339" y="18655"/>
                </a:moveTo>
                <a:lnTo>
                  <a:pt x="5356" y="14232"/>
                </a:lnTo>
                <a:lnTo>
                  <a:pt x="8176" y="14545"/>
                </a:lnTo>
                <a:lnTo>
                  <a:pt x="8360" y="14600"/>
                </a:lnTo>
                <a:lnTo>
                  <a:pt x="9260" y="18655"/>
                </a:lnTo>
                <a:cubicBezTo>
                  <a:pt x="9260" y="18655"/>
                  <a:pt x="6339" y="18655"/>
                  <a:pt x="6339" y="18655"/>
                </a:cubicBezTo>
                <a:close/>
                <a:moveTo>
                  <a:pt x="982" y="12764"/>
                </a:moveTo>
                <a:lnTo>
                  <a:pt x="982" y="10800"/>
                </a:lnTo>
                <a:lnTo>
                  <a:pt x="3436" y="10800"/>
                </a:lnTo>
                <a:cubicBezTo>
                  <a:pt x="3707" y="10800"/>
                  <a:pt x="3927" y="10581"/>
                  <a:pt x="3927" y="10309"/>
                </a:cubicBezTo>
                <a:cubicBezTo>
                  <a:pt x="3927" y="10038"/>
                  <a:pt x="3707" y="9818"/>
                  <a:pt x="3436" y="9818"/>
                </a:cubicBezTo>
                <a:lnTo>
                  <a:pt x="982" y="9818"/>
                </a:lnTo>
                <a:lnTo>
                  <a:pt x="982" y="8836"/>
                </a:lnTo>
                <a:lnTo>
                  <a:pt x="2455" y="8836"/>
                </a:lnTo>
                <a:cubicBezTo>
                  <a:pt x="2725" y="8836"/>
                  <a:pt x="2945" y="8617"/>
                  <a:pt x="2945" y="8345"/>
                </a:cubicBezTo>
                <a:cubicBezTo>
                  <a:pt x="2945" y="8075"/>
                  <a:pt x="2725" y="7855"/>
                  <a:pt x="2455" y="7855"/>
                </a:cubicBezTo>
                <a:lnTo>
                  <a:pt x="982" y="7855"/>
                </a:lnTo>
                <a:lnTo>
                  <a:pt x="982" y="5891"/>
                </a:lnTo>
                <a:lnTo>
                  <a:pt x="7855" y="5128"/>
                </a:lnTo>
                <a:lnTo>
                  <a:pt x="7855" y="13528"/>
                </a:lnTo>
                <a:cubicBezTo>
                  <a:pt x="7855" y="13528"/>
                  <a:pt x="982" y="12764"/>
                  <a:pt x="982" y="12764"/>
                </a:cubicBezTo>
                <a:close/>
                <a:moveTo>
                  <a:pt x="18655" y="6382"/>
                </a:moveTo>
                <a:lnTo>
                  <a:pt x="18655" y="1473"/>
                </a:lnTo>
                <a:cubicBezTo>
                  <a:pt x="18655" y="659"/>
                  <a:pt x="17995" y="0"/>
                  <a:pt x="17182" y="0"/>
                </a:cubicBezTo>
                <a:cubicBezTo>
                  <a:pt x="16368" y="0"/>
                  <a:pt x="15709" y="659"/>
                  <a:pt x="15709" y="1473"/>
                </a:cubicBezTo>
                <a:lnTo>
                  <a:pt x="15709" y="1850"/>
                </a:lnTo>
                <a:lnTo>
                  <a:pt x="8175" y="4110"/>
                </a:lnTo>
                <a:lnTo>
                  <a:pt x="982" y="4909"/>
                </a:lnTo>
                <a:cubicBezTo>
                  <a:pt x="440" y="4909"/>
                  <a:pt x="0" y="5349"/>
                  <a:pt x="0" y="5891"/>
                </a:cubicBezTo>
                <a:lnTo>
                  <a:pt x="0" y="12764"/>
                </a:lnTo>
                <a:cubicBezTo>
                  <a:pt x="0" y="13306"/>
                  <a:pt x="440" y="13745"/>
                  <a:pt x="982" y="13745"/>
                </a:cubicBezTo>
                <a:lnTo>
                  <a:pt x="4325" y="14117"/>
                </a:lnTo>
                <a:lnTo>
                  <a:pt x="5903" y="21216"/>
                </a:lnTo>
                <a:lnTo>
                  <a:pt x="5912" y="21214"/>
                </a:lnTo>
                <a:cubicBezTo>
                  <a:pt x="5961" y="21433"/>
                  <a:pt x="6148" y="21600"/>
                  <a:pt x="6382" y="21600"/>
                </a:cubicBezTo>
                <a:lnTo>
                  <a:pt x="10309" y="21600"/>
                </a:lnTo>
                <a:cubicBezTo>
                  <a:pt x="10580" y="21600"/>
                  <a:pt x="10800" y="21381"/>
                  <a:pt x="10800" y="21109"/>
                </a:cubicBezTo>
                <a:cubicBezTo>
                  <a:pt x="10800" y="21072"/>
                  <a:pt x="10787" y="21039"/>
                  <a:pt x="10779" y="21005"/>
                </a:cubicBezTo>
                <a:lnTo>
                  <a:pt x="10788" y="21003"/>
                </a:lnTo>
                <a:lnTo>
                  <a:pt x="9437" y="14923"/>
                </a:lnTo>
                <a:lnTo>
                  <a:pt x="15709" y="16805"/>
                </a:lnTo>
                <a:lnTo>
                  <a:pt x="15709" y="17182"/>
                </a:lnTo>
                <a:cubicBezTo>
                  <a:pt x="15709" y="17995"/>
                  <a:pt x="16368" y="18655"/>
                  <a:pt x="17182" y="18655"/>
                </a:cubicBezTo>
                <a:cubicBezTo>
                  <a:pt x="17995" y="18655"/>
                  <a:pt x="18655" y="17995"/>
                  <a:pt x="18655" y="17182"/>
                </a:cubicBezTo>
                <a:lnTo>
                  <a:pt x="18655" y="12273"/>
                </a:lnTo>
                <a:cubicBezTo>
                  <a:pt x="20281" y="12273"/>
                  <a:pt x="21600" y="10954"/>
                  <a:pt x="21600" y="9327"/>
                </a:cubicBezTo>
                <a:cubicBezTo>
                  <a:pt x="21600" y="7701"/>
                  <a:pt x="20281" y="6382"/>
                  <a:pt x="18655"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0" name="Shape 2690"/>
          <p:cNvSpPr/>
          <p:nvPr/>
        </p:nvSpPr>
        <p:spPr>
          <a:xfrm>
            <a:off x="5907625"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1880"/>
                </a:moveTo>
                <a:cubicBezTo>
                  <a:pt x="20618" y="12476"/>
                  <a:pt x="20178" y="12960"/>
                  <a:pt x="19636" y="12960"/>
                </a:cubicBezTo>
                <a:lnTo>
                  <a:pt x="19636" y="8640"/>
                </a:lnTo>
                <a:cubicBezTo>
                  <a:pt x="20178" y="8640"/>
                  <a:pt x="20618" y="9124"/>
                  <a:pt x="20618" y="9720"/>
                </a:cubicBezTo>
                <a:cubicBezTo>
                  <a:pt x="20618" y="9720"/>
                  <a:pt x="20618" y="11880"/>
                  <a:pt x="20618" y="11880"/>
                </a:cubicBezTo>
                <a:close/>
                <a:moveTo>
                  <a:pt x="18655" y="19980"/>
                </a:moveTo>
                <a:cubicBezTo>
                  <a:pt x="18655" y="20279"/>
                  <a:pt x="18434" y="20520"/>
                  <a:pt x="18164" y="20520"/>
                </a:cubicBezTo>
                <a:cubicBezTo>
                  <a:pt x="17893" y="20520"/>
                  <a:pt x="17673" y="20279"/>
                  <a:pt x="17673" y="19980"/>
                </a:cubicBezTo>
                <a:lnTo>
                  <a:pt x="17673" y="1620"/>
                </a:lnTo>
                <a:cubicBezTo>
                  <a:pt x="17673" y="1322"/>
                  <a:pt x="17893" y="1080"/>
                  <a:pt x="18164" y="1080"/>
                </a:cubicBezTo>
                <a:cubicBezTo>
                  <a:pt x="18434" y="1080"/>
                  <a:pt x="18655" y="1322"/>
                  <a:pt x="18655" y="1620"/>
                </a:cubicBezTo>
                <a:cubicBezTo>
                  <a:pt x="18655" y="1620"/>
                  <a:pt x="18655" y="19980"/>
                  <a:pt x="18655" y="19980"/>
                </a:cubicBezTo>
                <a:close/>
                <a:moveTo>
                  <a:pt x="16691" y="18404"/>
                </a:moveTo>
                <a:lnTo>
                  <a:pt x="2944" y="13512"/>
                </a:lnTo>
                <a:cubicBezTo>
                  <a:pt x="2944" y="13508"/>
                  <a:pt x="2945" y="13504"/>
                  <a:pt x="2945" y="13500"/>
                </a:cubicBezTo>
                <a:lnTo>
                  <a:pt x="2945" y="8100"/>
                </a:lnTo>
                <a:cubicBezTo>
                  <a:pt x="2945" y="8096"/>
                  <a:pt x="2944" y="8093"/>
                  <a:pt x="2944" y="8089"/>
                </a:cubicBezTo>
                <a:lnTo>
                  <a:pt x="16691" y="3197"/>
                </a:lnTo>
                <a:cubicBezTo>
                  <a:pt x="16691" y="3197"/>
                  <a:pt x="16691" y="18404"/>
                  <a:pt x="16691" y="18404"/>
                </a:cubicBezTo>
                <a:close/>
                <a:moveTo>
                  <a:pt x="12480" y="18725"/>
                </a:moveTo>
                <a:cubicBezTo>
                  <a:pt x="12316" y="19294"/>
                  <a:pt x="11764" y="19608"/>
                  <a:pt x="11247" y="19428"/>
                </a:cubicBezTo>
                <a:lnTo>
                  <a:pt x="6102" y="17625"/>
                </a:lnTo>
                <a:cubicBezTo>
                  <a:pt x="5585" y="17444"/>
                  <a:pt x="5299" y="16837"/>
                  <a:pt x="5464" y="16269"/>
                </a:cubicBezTo>
                <a:lnTo>
                  <a:pt x="5654" y="15610"/>
                </a:lnTo>
                <a:lnTo>
                  <a:pt x="12661" y="18104"/>
                </a:lnTo>
                <a:cubicBezTo>
                  <a:pt x="12661" y="18104"/>
                  <a:pt x="12480" y="18725"/>
                  <a:pt x="12480" y="18725"/>
                </a:cubicBezTo>
                <a:close/>
                <a:moveTo>
                  <a:pt x="1964" y="13500"/>
                </a:moveTo>
                <a:lnTo>
                  <a:pt x="982" y="13500"/>
                </a:lnTo>
                <a:lnTo>
                  <a:pt x="982" y="8100"/>
                </a:lnTo>
                <a:lnTo>
                  <a:pt x="1964" y="8100"/>
                </a:lnTo>
                <a:cubicBezTo>
                  <a:pt x="1964" y="8100"/>
                  <a:pt x="1964" y="13500"/>
                  <a:pt x="1964" y="13500"/>
                </a:cubicBezTo>
                <a:close/>
                <a:moveTo>
                  <a:pt x="19636" y="7560"/>
                </a:moveTo>
                <a:lnTo>
                  <a:pt x="19636" y="1620"/>
                </a:lnTo>
                <a:cubicBezTo>
                  <a:pt x="19636" y="725"/>
                  <a:pt x="18977" y="0"/>
                  <a:pt x="18164" y="0"/>
                </a:cubicBezTo>
                <a:cubicBezTo>
                  <a:pt x="17350" y="0"/>
                  <a:pt x="16691" y="725"/>
                  <a:pt x="16691" y="1620"/>
                </a:cubicBezTo>
                <a:lnTo>
                  <a:pt x="16691" y="2062"/>
                </a:lnTo>
                <a:lnTo>
                  <a:pt x="2411" y="7144"/>
                </a:lnTo>
                <a:cubicBezTo>
                  <a:pt x="2276" y="7067"/>
                  <a:pt x="2126" y="7020"/>
                  <a:pt x="1964" y="7020"/>
                </a:cubicBezTo>
                <a:lnTo>
                  <a:pt x="982" y="7020"/>
                </a:lnTo>
                <a:cubicBezTo>
                  <a:pt x="440" y="7020"/>
                  <a:pt x="0" y="7504"/>
                  <a:pt x="0" y="8100"/>
                </a:cubicBezTo>
                <a:lnTo>
                  <a:pt x="0" y="13500"/>
                </a:lnTo>
                <a:cubicBezTo>
                  <a:pt x="0" y="14097"/>
                  <a:pt x="440" y="14580"/>
                  <a:pt x="982" y="14580"/>
                </a:cubicBezTo>
                <a:lnTo>
                  <a:pt x="1964" y="14580"/>
                </a:lnTo>
                <a:cubicBezTo>
                  <a:pt x="2126" y="14580"/>
                  <a:pt x="2276" y="14533"/>
                  <a:pt x="2411" y="14457"/>
                </a:cubicBezTo>
                <a:lnTo>
                  <a:pt x="4720" y="15278"/>
                </a:lnTo>
                <a:lnTo>
                  <a:pt x="4529" y="15941"/>
                </a:lnTo>
                <a:cubicBezTo>
                  <a:pt x="4199" y="17078"/>
                  <a:pt x="4770" y="18292"/>
                  <a:pt x="5803" y="18654"/>
                </a:cubicBezTo>
                <a:lnTo>
                  <a:pt x="10949" y="20456"/>
                </a:lnTo>
                <a:cubicBezTo>
                  <a:pt x="11983" y="20819"/>
                  <a:pt x="13087" y="20190"/>
                  <a:pt x="13416" y="19053"/>
                </a:cubicBezTo>
                <a:lnTo>
                  <a:pt x="13595" y="18437"/>
                </a:lnTo>
                <a:lnTo>
                  <a:pt x="16691" y="19538"/>
                </a:lnTo>
                <a:lnTo>
                  <a:pt x="16691" y="19980"/>
                </a:lnTo>
                <a:cubicBezTo>
                  <a:pt x="16691" y="20875"/>
                  <a:pt x="17350" y="21600"/>
                  <a:pt x="18164" y="21600"/>
                </a:cubicBezTo>
                <a:cubicBezTo>
                  <a:pt x="18977" y="21600"/>
                  <a:pt x="19636" y="20875"/>
                  <a:pt x="19636" y="19980"/>
                </a:cubicBezTo>
                <a:lnTo>
                  <a:pt x="19636" y="14040"/>
                </a:lnTo>
                <a:cubicBezTo>
                  <a:pt x="20721" y="14040"/>
                  <a:pt x="21600" y="13073"/>
                  <a:pt x="21600" y="11880"/>
                </a:cubicBezTo>
                <a:lnTo>
                  <a:pt x="21600" y="9720"/>
                </a:lnTo>
                <a:cubicBezTo>
                  <a:pt x="21600" y="8527"/>
                  <a:pt x="20721" y="7560"/>
                  <a:pt x="19636" y="756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1" name="Shape 2691"/>
          <p:cNvSpPr/>
          <p:nvPr/>
        </p:nvSpPr>
        <p:spPr>
          <a:xfrm>
            <a:off x="6355183" y="1469853"/>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9924"/>
                </a:moveTo>
                <a:lnTo>
                  <a:pt x="12600" y="12476"/>
                </a:lnTo>
                <a:lnTo>
                  <a:pt x="19427" y="16200"/>
                </a:lnTo>
                <a:cubicBezTo>
                  <a:pt x="19427" y="16200"/>
                  <a:pt x="12600" y="19924"/>
                  <a:pt x="12600" y="19924"/>
                </a:cubicBezTo>
                <a:close/>
                <a:moveTo>
                  <a:pt x="12600" y="1676"/>
                </a:moveTo>
                <a:lnTo>
                  <a:pt x="19427" y="5400"/>
                </a:lnTo>
                <a:lnTo>
                  <a:pt x="12600" y="9124"/>
                </a:lnTo>
                <a:cubicBezTo>
                  <a:pt x="12600" y="9124"/>
                  <a:pt x="12600" y="1676"/>
                  <a:pt x="12600" y="1676"/>
                </a:cubicBezTo>
                <a:close/>
                <a:moveTo>
                  <a:pt x="21352" y="15862"/>
                </a:moveTo>
                <a:lnTo>
                  <a:pt x="21337" y="15854"/>
                </a:lnTo>
                <a:cubicBezTo>
                  <a:pt x="21336" y="15853"/>
                  <a:pt x="21335" y="15853"/>
                  <a:pt x="21335" y="15852"/>
                </a:cubicBezTo>
                <a:lnTo>
                  <a:pt x="12600" y="11088"/>
                </a:lnTo>
                <a:lnTo>
                  <a:pt x="12600" y="10512"/>
                </a:lnTo>
                <a:lnTo>
                  <a:pt x="21335" y="5748"/>
                </a:lnTo>
                <a:lnTo>
                  <a:pt x="21336" y="5747"/>
                </a:lnTo>
                <a:lnTo>
                  <a:pt x="21352" y="5739"/>
                </a:lnTo>
                <a:lnTo>
                  <a:pt x="21349" y="5738"/>
                </a:lnTo>
                <a:cubicBezTo>
                  <a:pt x="21503" y="5649"/>
                  <a:pt x="21600" y="5532"/>
                  <a:pt x="21600" y="5400"/>
                </a:cubicBezTo>
                <a:cubicBezTo>
                  <a:pt x="21600" y="5265"/>
                  <a:pt x="21499" y="5142"/>
                  <a:pt x="21336" y="5053"/>
                </a:cubicBezTo>
                <a:lnTo>
                  <a:pt x="12336" y="144"/>
                </a:lnTo>
                <a:cubicBezTo>
                  <a:pt x="12173" y="55"/>
                  <a:pt x="11948" y="0"/>
                  <a:pt x="11700" y="0"/>
                </a:cubicBezTo>
                <a:cubicBezTo>
                  <a:pt x="11203" y="0"/>
                  <a:pt x="10800" y="220"/>
                  <a:pt x="10800" y="491"/>
                </a:cubicBezTo>
                <a:lnTo>
                  <a:pt x="10800" y="10106"/>
                </a:lnTo>
                <a:lnTo>
                  <a:pt x="1552" y="5062"/>
                </a:lnTo>
                <a:lnTo>
                  <a:pt x="1549" y="5063"/>
                </a:lnTo>
                <a:cubicBezTo>
                  <a:pt x="1385" y="4969"/>
                  <a:pt x="1157" y="4909"/>
                  <a:pt x="900" y="4909"/>
                </a:cubicBezTo>
                <a:cubicBezTo>
                  <a:pt x="403" y="4909"/>
                  <a:pt x="0" y="5129"/>
                  <a:pt x="0" y="5400"/>
                </a:cubicBezTo>
                <a:cubicBezTo>
                  <a:pt x="0" y="5532"/>
                  <a:pt x="97" y="5649"/>
                  <a:pt x="251" y="5738"/>
                </a:cubicBezTo>
                <a:lnTo>
                  <a:pt x="248" y="5739"/>
                </a:lnTo>
                <a:lnTo>
                  <a:pt x="264" y="5747"/>
                </a:lnTo>
                <a:lnTo>
                  <a:pt x="264" y="5748"/>
                </a:lnTo>
                <a:lnTo>
                  <a:pt x="9527" y="10800"/>
                </a:lnTo>
                <a:lnTo>
                  <a:pt x="265" y="15852"/>
                </a:lnTo>
                <a:cubicBezTo>
                  <a:pt x="265" y="15853"/>
                  <a:pt x="264" y="15853"/>
                  <a:pt x="263" y="15854"/>
                </a:cubicBezTo>
                <a:lnTo>
                  <a:pt x="248" y="15862"/>
                </a:lnTo>
                <a:lnTo>
                  <a:pt x="251" y="15863"/>
                </a:lnTo>
                <a:cubicBezTo>
                  <a:pt x="97" y="15951"/>
                  <a:pt x="0" y="16069"/>
                  <a:pt x="0" y="16200"/>
                </a:cubicBezTo>
                <a:cubicBezTo>
                  <a:pt x="0" y="16471"/>
                  <a:pt x="403" y="16691"/>
                  <a:pt x="900" y="16691"/>
                </a:cubicBezTo>
                <a:cubicBezTo>
                  <a:pt x="1157" y="16691"/>
                  <a:pt x="1385" y="16631"/>
                  <a:pt x="1549" y="16537"/>
                </a:cubicBezTo>
                <a:lnTo>
                  <a:pt x="1552" y="16539"/>
                </a:lnTo>
                <a:lnTo>
                  <a:pt x="10800" y="11494"/>
                </a:lnTo>
                <a:lnTo>
                  <a:pt x="10800" y="21109"/>
                </a:lnTo>
                <a:cubicBezTo>
                  <a:pt x="10800" y="21380"/>
                  <a:pt x="11203" y="21600"/>
                  <a:pt x="11700" y="21600"/>
                </a:cubicBezTo>
                <a:cubicBezTo>
                  <a:pt x="11948" y="21600"/>
                  <a:pt x="12173" y="21546"/>
                  <a:pt x="12336" y="21456"/>
                </a:cubicBezTo>
                <a:lnTo>
                  <a:pt x="21336" y="16547"/>
                </a:lnTo>
                <a:cubicBezTo>
                  <a:pt x="21499" y="16458"/>
                  <a:pt x="21600" y="16336"/>
                  <a:pt x="21600" y="16200"/>
                </a:cubicBezTo>
                <a:cubicBezTo>
                  <a:pt x="21600" y="16069"/>
                  <a:pt x="21503" y="15951"/>
                  <a:pt x="21349" y="15863"/>
                </a:cubicBezTo>
                <a:cubicBezTo>
                  <a:pt x="21349" y="15863"/>
                  <a:pt x="21352" y="15862"/>
                  <a:pt x="21352" y="1586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2" name="Shape 2692"/>
          <p:cNvSpPr/>
          <p:nvPr/>
        </p:nvSpPr>
        <p:spPr>
          <a:xfrm>
            <a:off x="6726562"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200" y="16691"/>
                </a:moveTo>
                <a:lnTo>
                  <a:pt x="15600" y="16691"/>
                </a:lnTo>
                <a:lnTo>
                  <a:pt x="15600" y="14727"/>
                </a:lnTo>
                <a:lnTo>
                  <a:pt x="13200" y="14727"/>
                </a:lnTo>
                <a:cubicBezTo>
                  <a:pt x="13200" y="14727"/>
                  <a:pt x="13200" y="16691"/>
                  <a:pt x="13200" y="16691"/>
                </a:cubicBezTo>
                <a:close/>
                <a:moveTo>
                  <a:pt x="9600" y="10800"/>
                </a:moveTo>
                <a:lnTo>
                  <a:pt x="12000" y="10800"/>
                </a:lnTo>
                <a:lnTo>
                  <a:pt x="12000" y="8836"/>
                </a:lnTo>
                <a:lnTo>
                  <a:pt x="9600" y="8836"/>
                </a:lnTo>
                <a:cubicBezTo>
                  <a:pt x="9600" y="8836"/>
                  <a:pt x="9600" y="10800"/>
                  <a:pt x="9600" y="10800"/>
                </a:cubicBezTo>
                <a:close/>
                <a:moveTo>
                  <a:pt x="13200" y="19636"/>
                </a:moveTo>
                <a:lnTo>
                  <a:pt x="15600" y="19636"/>
                </a:lnTo>
                <a:lnTo>
                  <a:pt x="15600" y="17673"/>
                </a:lnTo>
                <a:lnTo>
                  <a:pt x="13200" y="17673"/>
                </a:lnTo>
                <a:cubicBezTo>
                  <a:pt x="13200" y="17673"/>
                  <a:pt x="13200" y="19636"/>
                  <a:pt x="13200" y="19636"/>
                </a:cubicBezTo>
                <a:close/>
                <a:moveTo>
                  <a:pt x="13200" y="13745"/>
                </a:moveTo>
                <a:lnTo>
                  <a:pt x="15600" y="13745"/>
                </a:lnTo>
                <a:lnTo>
                  <a:pt x="15600" y="11782"/>
                </a:lnTo>
                <a:lnTo>
                  <a:pt x="13200" y="11782"/>
                </a:lnTo>
                <a:cubicBezTo>
                  <a:pt x="13200" y="11782"/>
                  <a:pt x="13200" y="13745"/>
                  <a:pt x="13200" y="13745"/>
                </a:cubicBezTo>
                <a:close/>
                <a:moveTo>
                  <a:pt x="16800" y="10800"/>
                </a:moveTo>
                <a:lnTo>
                  <a:pt x="19200" y="10800"/>
                </a:lnTo>
                <a:lnTo>
                  <a:pt x="19200" y="8836"/>
                </a:lnTo>
                <a:lnTo>
                  <a:pt x="16800" y="8836"/>
                </a:lnTo>
                <a:cubicBezTo>
                  <a:pt x="16800" y="8836"/>
                  <a:pt x="16800" y="10800"/>
                  <a:pt x="16800" y="10800"/>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13200" y="10800"/>
                </a:moveTo>
                <a:lnTo>
                  <a:pt x="15600" y="10800"/>
                </a:lnTo>
                <a:lnTo>
                  <a:pt x="15600" y="8836"/>
                </a:lnTo>
                <a:lnTo>
                  <a:pt x="13200" y="8836"/>
                </a:lnTo>
                <a:cubicBezTo>
                  <a:pt x="13200" y="8836"/>
                  <a:pt x="13200" y="10800"/>
                  <a:pt x="13200" y="10800"/>
                </a:cubicBezTo>
                <a:close/>
                <a:moveTo>
                  <a:pt x="3600" y="2945"/>
                </a:moveTo>
                <a:lnTo>
                  <a:pt x="18000" y="2945"/>
                </a:lnTo>
                <a:lnTo>
                  <a:pt x="18000" y="6873"/>
                </a:lnTo>
                <a:lnTo>
                  <a:pt x="3600" y="6873"/>
                </a:lnTo>
                <a:cubicBezTo>
                  <a:pt x="3600" y="6873"/>
                  <a:pt x="3600" y="2945"/>
                  <a:pt x="3600" y="2945"/>
                </a:cubicBezTo>
                <a:close/>
                <a:moveTo>
                  <a:pt x="2400" y="7855"/>
                </a:moveTo>
                <a:lnTo>
                  <a:pt x="19200" y="7855"/>
                </a:lnTo>
                <a:lnTo>
                  <a:pt x="19200" y="1964"/>
                </a:lnTo>
                <a:lnTo>
                  <a:pt x="2400" y="1964"/>
                </a:lnTo>
                <a:cubicBezTo>
                  <a:pt x="2400" y="1964"/>
                  <a:pt x="2400" y="7855"/>
                  <a:pt x="2400" y="7855"/>
                </a:cubicBezTo>
                <a:close/>
                <a:moveTo>
                  <a:pt x="9600" y="13745"/>
                </a:moveTo>
                <a:lnTo>
                  <a:pt x="12000" y="13745"/>
                </a:lnTo>
                <a:lnTo>
                  <a:pt x="12000" y="11782"/>
                </a:lnTo>
                <a:lnTo>
                  <a:pt x="9600" y="11782"/>
                </a:lnTo>
                <a:cubicBezTo>
                  <a:pt x="9600" y="11782"/>
                  <a:pt x="9600" y="13745"/>
                  <a:pt x="9600" y="13745"/>
                </a:cubicBezTo>
                <a:close/>
                <a:moveTo>
                  <a:pt x="16800" y="19636"/>
                </a:moveTo>
                <a:lnTo>
                  <a:pt x="19200" y="19636"/>
                </a:lnTo>
                <a:lnTo>
                  <a:pt x="19200" y="11782"/>
                </a:lnTo>
                <a:lnTo>
                  <a:pt x="16800" y="11782"/>
                </a:lnTo>
                <a:cubicBezTo>
                  <a:pt x="16800" y="11782"/>
                  <a:pt x="16800" y="19636"/>
                  <a:pt x="16800" y="19636"/>
                </a:cubicBezTo>
                <a:close/>
                <a:moveTo>
                  <a:pt x="2400" y="16691"/>
                </a:moveTo>
                <a:lnTo>
                  <a:pt x="4800" y="16691"/>
                </a:lnTo>
                <a:lnTo>
                  <a:pt x="4800" y="14727"/>
                </a:lnTo>
                <a:lnTo>
                  <a:pt x="2400" y="14727"/>
                </a:lnTo>
                <a:cubicBezTo>
                  <a:pt x="2400" y="14727"/>
                  <a:pt x="2400" y="16691"/>
                  <a:pt x="2400" y="16691"/>
                </a:cubicBezTo>
                <a:close/>
                <a:moveTo>
                  <a:pt x="2400" y="10800"/>
                </a:moveTo>
                <a:lnTo>
                  <a:pt x="4800" y="10800"/>
                </a:lnTo>
                <a:lnTo>
                  <a:pt x="4800" y="8836"/>
                </a:lnTo>
                <a:lnTo>
                  <a:pt x="2400" y="8836"/>
                </a:lnTo>
                <a:cubicBezTo>
                  <a:pt x="2400" y="8836"/>
                  <a:pt x="2400" y="10800"/>
                  <a:pt x="2400" y="10800"/>
                </a:cubicBezTo>
                <a:close/>
                <a:moveTo>
                  <a:pt x="2400" y="19636"/>
                </a:moveTo>
                <a:lnTo>
                  <a:pt x="4800" y="19636"/>
                </a:lnTo>
                <a:lnTo>
                  <a:pt x="4800" y="17673"/>
                </a:lnTo>
                <a:lnTo>
                  <a:pt x="2400" y="17673"/>
                </a:lnTo>
                <a:cubicBezTo>
                  <a:pt x="2400" y="17673"/>
                  <a:pt x="2400" y="19636"/>
                  <a:pt x="2400" y="19636"/>
                </a:cubicBezTo>
                <a:close/>
                <a:moveTo>
                  <a:pt x="2400" y="13745"/>
                </a:moveTo>
                <a:lnTo>
                  <a:pt x="4800" y="13745"/>
                </a:lnTo>
                <a:lnTo>
                  <a:pt x="4800" y="11782"/>
                </a:lnTo>
                <a:lnTo>
                  <a:pt x="2400" y="11782"/>
                </a:lnTo>
                <a:cubicBezTo>
                  <a:pt x="2400" y="11782"/>
                  <a:pt x="2400" y="13745"/>
                  <a:pt x="2400" y="13745"/>
                </a:cubicBezTo>
                <a:close/>
                <a:moveTo>
                  <a:pt x="9600" y="16691"/>
                </a:moveTo>
                <a:lnTo>
                  <a:pt x="12000" y="16691"/>
                </a:lnTo>
                <a:lnTo>
                  <a:pt x="12000" y="14727"/>
                </a:lnTo>
                <a:lnTo>
                  <a:pt x="9600" y="14727"/>
                </a:lnTo>
                <a:cubicBezTo>
                  <a:pt x="9600" y="14727"/>
                  <a:pt x="9600" y="16691"/>
                  <a:pt x="9600" y="16691"/>
                </a:cubicBezTo>
                <a:close/>
                <a:moveTo>
                  <a:pt x="6000" y="19636"/>
                </a:moveTo>
                <a:lnTo>
                  <a:pt x="8400" y="19636"/>
                </a:lnTo>
                <a:lnTo>
                  <a:pt x="8400" y="17673"/>
                </a:lnTo>
                <a:lnTo>
                  <a:pt x="6000" y="17673"/>
                </a:lnTo>
                <a:cubicBezTo>
                  <a:pt x="6000" y="17673"/>
                  <a:pt x="6000" y="19636"/>
                  <a:pt x="6000" y="19636"/>
                </a:cubicBezTo>
                <a:close/>
                <a:moveTo>
                  <a:pt x="9600" y="19636"/>
                </a:moveTo>
                <a:lnTo>
                  <a:pt x="12000" y="19636"/>
                </a:lnTo>
                <a:lnTo>
                  <a:pt x="12000" y="17673"/>
                </a:lnTo>
                <a:lnTo>
                  <a:pt x="9600" y="17673"/>
                </a:lnTo>
                <a:cubicBezTo>
                  <a:pt x="9600" y="17673"/>
                  <a:pt x="9600" y="19636"/>
                  <a:pt x="9600" y="19636"/>
                </a:cubicBezTo>
                <a:close/>
                <a:moveTo>
                  <a:pt x="6000" y="16691"/>
                </a:moveTo>
                <a:lnTo>
                  <a:pt x="8400" y="16691"/>
                </a:lnTo>
                <a:lnTo>
                  <a:pt x="8400" y="14727"/>
                </a:lnTo>
                <a:lnTo>
                  <a:pt x="6000" y="14727"/>
                </a:lnTo>
                <a:cubicBezTo>
                  <a:pt x="6000" y="14727"/>
                  <a:pt x="6000" y="16691"/>
                  <a:pt x="6000" y="16691"/>
                </a:cubicBezTo>
                <a:close/>
                <a:moveTo>
                  <a:pt x="6000" y="13745"/>
                </a:moveTo>
                <a:lnTo>
                  <a:pt x="8400" y="13745"/>
                </a:lnTo>
                <a:lnTo>
                  <a:pt x="8400" y="11782"/>
                </a:lnTo>
                <a:lnTo>
                  <a:pt x="6000" y="11782"/>
                </a:lnTo>
                <a:cubicBezTo>
                  <a:pt x="6000" y="11782"/>
                  <a:pt x="6000" y="13745"/>
                  <a:pt x="6000" y="13745"/>
                </a:cubicBezTo>
                <a:close/>
                <a:moveTo>
                  <a:pt x="6000" y="10800"/>
                </a:moveTo>
                <a:lnTo>
                  <a:pt x="8400" y="10800"/>
                </a:lnTo>
                <a:lnTo>
                  <a:pt x="8400" y="8836"/>
                </a:lnTo>
                <a:lnTo>
                  <a:pt x="6000" y="8836"/>
                </a:lnTo>
                <a:cubicBezTo>
                  <a:pt x="6000" y="8836"/>
                  <a:pt x="6000" y="10800"/>
                  <a:pt x="6000"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3" name="Shape 2693"/>
          <p:cNvSpPr/>
          <p:nvPr/>
        </p:nvSpPr>
        <p:spPr>
          <a:xfrm>
            <a:off x="7107463"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1782"/>
                </a:moveTo>
                <a:lnTo>
                  <a:pt x="9818" y="11782"/>
                </a:lnTo>
                <a:lnTo>
                  <a:pt x="9818" y="13745"/>
                </a:lnTo>
                <a:lnTo>
                  <a:pt x="11782" y="13745"/>
                </a:lnTo>
                <a:cubicBezTo>
                  <a:pt x="11782" y="13745"/>
                  <a:pt x="11782" y="11782"/>
                  <a:pt x="11782" y="11782"/>
                </a:cubicBezTo>
                <a:close/>
                <a:moveTo>
                  <a:pt x="7855" y="17673"/>
                </a:moveTo>
                <a:lnTo>
                  <a:pt x="9818" y="17673"/>
                </a:lnTo>
                <a:lnTo>
                  <a:pt x="9818" y="16691"/>
                </a:lnTo>
                <a:lnTo>
                  <a:pt x="7855" y="16691"/>
                </a:lnTo>
                <a:cubicBezTo>
                  <a:pt x="7855" y="16691"/>
                  <a:pt x="7855" y="17673"/>
                  <a:pt x="7855" y="17673"/>
                </a:cubicBezTo>
                <a:close/>
                <a:moveTo>
                  <a:pt x="11782" y="17673"/>
                </a:moveTo>
                <a:lnTo>
                  <a:pt x="13745" y="17673"/>
                </a:lnTo>
                <a:lnTo>
                  <a:pt x="13745" y="16691"/>
                </a:lnTo>
                <a:lnTo>
                  <a:pt x="11782" y="16691"/>
                </a:lnTo>
                <a:cubicBezTo>
                  <a:pt x="11782" y="16691"/>
                  <a:pt x="11782" y="17673"/>
                  <a:pt x="11782" y="17673"/>
                </a:cubicBezTo>
                <a:close/>
                <a:moveTo>
                  <a:pt x="12764" y="8836"/>
                </a:moveTo>
                <a:cubicBezTo>
                  <a:pt x="12492" y="8836"/>
                  <a:pt x="12273" y="9056"/>
                  <a:pt x="12273" y="9327"/>
                </a:cubicBezTo>
                <a:cubicBezTo>
                  <a:pt x="12273" y="9599"/>
                  <a:pt x="12492" y="9818"/>
                  <a:pt x="12764" y="9818"/>
                </a:cubicBezTo>
                <a:cubicBezTo>
                  <a:pt x="13035" y="9818"/>
                  <a:pt x="13255" y="9599"/>
                  <a:pt x="13255" y="9327"/>
                </a:cubicBezTo>
                <a:cubicBezTo>
                  <a:pt x="13255" y="9056"/>
                  <a:pt x="13035" y="8836"/>
                  <a:pt x="12764" y="8836"/>
                </a:cubicBezTo>
                <a:moveTo>
                  <a:pt x="3927" y="12764"/>
                </a:moveTo>
                <a:cubicBezTo>
                  <a:pt x="3927" y="11679"/>
                  <a:pt x="4806" y="10800"/>
                  <a:pt x="5891" y="10800"/>
                </a:cubicBezTo>
                <a:cubicBezTo>
                  <a:pt x="6975" y="10800"/>
                  <a:pt x="7855" y="11679"/>
                  <a:pt x="7855" y="12764"/>
                </a:cubicBezTo>
                <a:cubicBezTo>
                  <a:pt x="7855" y="13848"/>
                  <a:pt x="6975" y="14727"/>
                  <a:pt x="5891" y="14727"/>
                </a:cubicBezTo>
                <a:cubicBezTo>
                  <a:pt x="4806" y="14727"/>
                  <a:pt x="3927" y="13848"/>
                  <a:pt x="3927" y="12764"/>
                </a:cubicBezTo>
                <a:moveTo>
                  <a:pt x="17673" y="12764"/>
                </a:moveTo>
                <a:cubicBezTo>
                  <a:pt x="17673" y="13848"/>
                  <a:pt x="16794" y="14727"/>
                  <a:pt x="15709" y="14727"/>
                </a:cubicBezTo>
                <a:cubicBezTo>
                  <a:pt x="14625" y="14727"/>
                  <a:pt x="13745" y="13848"/>
                  <a:pt x="13745" y="12764"/>
                </a:cubicBezTo>
                <a:cubicBezTo>
                  <a:pt x="13745" y="11679"/>
                  <a:pt x="14625" y="10800"/>
                  <a:pt x="15709" y="10800"/>
                </a:cubicBezTo>
                <a:cubicBezTo>
                  <a:pt x="16794" y="10800"/>
                  <a:pt x="17673" y="11679"/>
                  <a:pt x="17673" y="12764"/>
                </a:cubicBezTo>
                <a:moveTo>
                  <a:pt x="20618" y="8836"/>
                </a:moveTo>
                <a:lnTo>
                  <a:pt x="19145" y="8836"/>
                </a:lnTo>
                <a:cubicBezTo>
                  <a:pt x="18874" y="8836"/>
                  <a:pt x="18655" y="9056"/>
                  <a:pt x="18655" y="9327"/>
                </a:cubicBezTo>
                <a:cubicBezTo>
                  <a:pt x="18655" y="9599"/>
                  <a:pt x="18874" y="9818"/>
                  <a:pt x="19145" y="9818"/>
                </a:cubicBezTo>
                <a:lnTo>
                  <a:pt x="20618" y="9818"/>
                </a:lnTo>
                <a:lnTo>
                  <a:pt x="20618" y="12273"/>
                </a:lnTo>
                <a:lnTo>
                  <a:pt x="18605" y="12273"/>
                </a:lnTo>
                <a:cubicBezTo>
                  <a:pt x="18370" y="10881"/>
                  <a:pt x="17167" y="9818"/>
                  <a:pt x="15709" y="9818"/>
                </a:cubicBezTo>
                <a:cubicBezTo>
                  <a:pt x="14082" y="9818"/>
                  <a:pt x="12764" y="11137"/>
                  <a:pt x="12764" y="12764"/>
                </a:cubicBezTo>
                <a:cubicBezTo>
                  <a:pt x="12764" y="14390"/>
                  <a:pt x="14082" y="15709"/>
                  <a:pt x="15709" y="15709"/>
                </a:cubicBezTo>
                <a:cubicBezTo>
                  <a:pt x="17167" y="15709"/>
                  <a:pt x="18370" y="14646"/>
                  <a:pt x="18605" y="13255"/>
                </a:cubicBezTo>
                <a:lnTo>
                  <a:pt x="20618" y="13255"/>
                </a:lnTo>
                <a:lnTo>
                  <a:pt x="20618" y="18655"/>
                </a:lnTo>
                <a:lnTo>
                  <a:pt x="982" y="18655"/>
                </a:lnTo>
                <a:lnTo>
                  <a:pt x="982" y="13255"/>
                </a:lnTo>
                <a:lnTo>
                  <a:pt x="2995" y="13255"/>
                </a:lnTo>
                <a:cubicBezTo>
                  <a:pt x="3230" y="14646"/>
                  <a:pt x="4433" y="15709"/>
                  <a:pt x="5891" y="15709"/>
                </a:cubicBezTo>
                <a:cubicBezTo>
                  <a:pt x="7517" y="15709"/>
                  <a:pt x="8836" y="14390"/>
                  <a:pt x="8836" y="12764"/>
                </a:cubicBezTo>
                <a:cubicBezTo>
                  <a:pt x="8836" y="11137"/>
                  <a:pt x="7517" y="9818"/>
                  <a:pt x="5891" y="9818"/>
                </a:cubicBezTo>
                <a:cubicBezTo>
                  <a:pt x="4433" y="9818"/>
                  <a:pt x="3230" y="10881"/>
                  <a:pt x="2995" y="12273"/>
                </a:cubicBezTo>
                <a:lnTo>
                  <a:pt x="982" y="12273"/>
                </a:lnTo>
                <a:lnTo>
                  <a:pt x="982" y="9818"/>
                </a:lnTo>
                <a:lnTo>
                  <a:pt x="2455" y="9818"/>
                </a:lnTo>
                <a:cubicBezTo>
                  <a:pt x="2726" y="9818"/>
                  <a:pt x="2945" y="9599"/>
                  <a:pt x="2945" y="9327"/>
                </a:cubicBezTo>
                <a:cubicBezTo>
                  <a:pt x="2945" y="9056"/>
                  <a:pt x="2726" y="8836"/>
                  <a:pt x="2455" y="8836"/>
                </a:cubicBezTo>
                <a:lnTo>
                  <a:pt x="982" y="8836"/>
                </a:lnTo>
                <a:lnTo>
                  <a:pt x="982" y="7855"/>
                </a:lnTo>
                <a:cubicBezTo>
                  <a:pt x="982" y="7313"/>
                  <a:pt x="1421" y="6873"/>
                  <a:pt x="1964" y="6873"/>
                </a:cubicBezTo>
                <a:lnTo>
                  <a:pt x="19636" y="6873"/>
                </a:lnTo>
                <a:cubicBezTo>
                  <a:pt x="20178" y="6873"/>
                  <a:pt x="20618" y="7313"/>
                  <a:pt x="20618" y="7855"/>
                </a:cubicBezTo>
                <a:cubicBezTo>
                  <a:pt x="20618" y="7855"/>
                  <a:pt x="20618" y="8836"/>
                  <a:pt x="20618" y="8836"/>
                </a:cubicBezTo>
                <a:close/>
                <a:moveTo>
                  <a:pt x="19636" y="20618"/>
                </a:moveTo>
                <a:lnTo>
                  <a:pt x="1964" y="20618"/>
                </a:lnTo>
                <a:cubicBezTo>
                  <a:pt x="1421" y="20618"/>
                  <a:pt x="982" y="20178"/>
                  <a:pt x="982" y="19636"/>
                </a:cubicBezTo>
                <a:lnTo>
                  <a:pt x="20618" y="19636"/>
                </a:lnTo>
                <a:cubicBezTo>
                  <a:pt x="20618" y="20178"/>
                  <a:pt x="20178" y="20618"/>
                  <a:pt x="19636" y="20618"/>
                </a:cubicBezTo>
                <a:moveTo>
                  <a:pt x="5891" y="4909"/>
                </a:moveTo>
                <a:lnTo>
                  <a:pt x="15709" y="4909"/>
                </a:lnTo>
                <a:lnTo>
                  <a:pt x="15709" y="5891"/>
                </a:lnTo>
                <a:lnTo>
                  <a:pt x="5891" y="5891"/>
                </a:lnTo>
                <a:cubicBezTo>
                  <a:pt x="5891" y="5891"/>
                  <a:pt x="5891" y="4909"/>
                  <a:pt x="5891" y="4909"/>
                </a:cubicBezTo>
                <a:close/>
                <a:moveTo>
                  <a:pt x="19636" y="5891"/>
                </a:moveTo>
                <a:lnTo>
                  <a:pt x="19636" y="2855"/>
                </a:lnTo>
                <a:cubicBezTo>
                  <a:pt x="20207" y="2653"/>
                  <a:pt x="20618" y="2113"/>
                  <a:pt x="20618" y="1473"/>
                </a:cubicBezTo>
                <a:cubicBezTo>
                  <a:pt x="20618" y="659"/>
                  <a:pt x="19959" y="0"/>
                  <a:pt x="19145" y="0"/>
                </a:cubicBezTo>
                <a:cubicBezTo>
                  <a:pt x="18332" y="0"/>
                  <a:pt x="17673" y="659"/>
                  <a:pt x="17673" y="1473"/>
                </a:cubicBezTo>
                <a:cubicBezTo>
                  <a:pt x="17673" y="2113"/>
                  <a:pt x="18084" y="2653"/>
                  <a:pt x="18655" y="2855"/>
                </a:cubicBezTo>
                <a:lnTo>
                  <a:pt x="18655" y="5891"/>
                </a:lnTo>
                <a:lnTo>
                  <a:pt x="16691" y="5891"/>
                </a:lnTo>
                <a:lnTo>
                  <a:pt x="16691" y="4909"/>
                </a:lnTo>
                <a:cubicBezTo>
                  <a:pt x="16691" y="4367"/>
                  <a:pt x="16251" y="3927"/>
                  <a:pt x="15709" y="3927"/>
                </a:cubicBezTo>
                <a:lnTo>
                  <a:pt x="5891" y="3927"/>
                </a:lnTo>
                <a:cubicBezTo>
                  <a:pt x="5348" y="3927"/>
                  <a:pt x="4909" y="4367"/>
                  <a:pt x="4909" y="4909"/>
                </a:cubicBezTo>
                <a:lnTo>
                  <a:pt x="4909" y="5891"/>
                </a:lnTo>
                <a:lnTo>
                  <a:pt x="1964" y="5891"/>
                </a:lnTo>
                <a:cubicBezTo>
                  <a:pt x="879" y="5891"/>
                  <a:pt x="0" y="6770"/>
                  <a:pt x="0" y="7855"/>
                </a:cubicBezTo>
                <a:lnTo>
                  <a:pt x="0" y="19636"/>
                </a:lnTo>
                <a:cubicBezTo>
                  <a:pt x="0" y="20721"/>
                  <a:pt x="879" y="21600"/>
                  <a:pt x="1964" y="21600"/>
                </a:cubicBezTo>
                <a:lnTo>
                  <a:pt x="19636" y="21600"/>
                </a:lnTo>
                <a:cubicBezTo>
                  <a:pt x="20721" y="21600"/>
                  <a:pt x="21600" y="20721"/>
                  <a:pt x="21600" y="19636"/>
                </a:cubicBezTo>
                <a:lnTo>
                  <a:pt x="21600" y="7855"/>
                </a:lnTo>
                <a:cubicBezTo>
                  <a:pt x="21600" y="6770"/>
                  <a:pt x="20721" y="5891"/>
                  <a:pt x="19636" y="5891"/>
                </a:cubicBezTo>
                <a:moveTo>
                  <a:pt x="10800" y="9818"/>
                </a:moveTo>
                <a:cubicBezTo>
                  <a:pt x="11071" y="9818"/>
                  <a:pt x="11291" y="9599"/>
                  <a:pt x="11291" y="9327"/>
                </a:cubicBezTo>
                <a:cubicBezTo>
                  <a:pt x="11291" y="9056"/>
                  <a:pt x="11071" y="8836"/>
                  <a:pt x="10800" y="8836"/>
                </a:cubicBezTo>
                <a:cubicBezTo>
                  <a:pt x="10529" y="8836"/>
                  <a:pt x="10309" y="9056"/>
                  <a:pt x="10309" y="9327"/>
                </a:cubicBezTo>
                <a:cubicBezTo>
                  <a:pt x="10309" y="9599"/>
                  <a:pt x="10529" y="9818"/>
                  <a:pt x="10800" y="9818"/>
                </a:cubicBezTo>
                <a:moveTo>
                  <a:pt x="9327" y="9327"/>
                </a:moveTo>
                <a:cubicBezTo>
                  <a:pt x="9327" y="9056"/>
                  <a:pt x="9108" y="8836"/>
                  <a:pt x="8836" y="8836"/>
                </a:cubicBezTo>
                <a:cubicBezTo>
                  <a:pt x="8565" y="8836"/>
                  <a:pt x="8345" y="9056"/>
                  <a:pt x="8345" y="9327"/>
                </a:cubicBezTo>
                <a:cubicBezTo>
                  <a:pt x="8345" y="9599"/>
                  <a:pt x="8565" y="9818"/>
                  <a:pt x="8836" y="9818"/>
                </a:cubicBezTo>
                <a:cubicBezTo>
                  <a:pt x="9108" y="9818"/>
                  <a:pt x="9327" y="9599"/>
                  <a:pt x="9327" y="93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4" name="Shape 2694"/>
          <p:cNvSpPr/>
          <p:nvPr/>
        </p:nvSpPr>
        <p:spPr>
          <a:xfrm>
            <a:off x="7507409"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538" y="14727"/>
                </a:moveTo>
                <a:cubicBezTo>
                  <a:pt x="13628" y="14411"/>
                  <a:pt x="13690" y="14083"/>
                  <a:pt x="13721" y="13745"/>
                </a:cubicBezTo>
                <a:lnTo>
                  <a:pt x="2970" y="13745"/>
                </a:lnTo>
                <a:cubicBezTo>
                  <a:pt x="3001" y="14083"/>
                  <a:pt x="3063" y="14411"/>
                  <a:pt x="3153" y="14727"/>
                </a:cubicBezTo>
                <a:cubicBezTo>
                  <a:pt x="3153" y="14727"/>
                  <a:pt x="13538" y="14727"/>
                  <a:pt x="13538" y="14727"/>
                </a:cubicBezTo>
                <a:close/>
                <a:moveTo>
                  <a:pt x="18655" y="12764"/>
                </a:moveTo>
                <a:cubicBezTo>
                  <a:pt x="18383" y="12764"/>
                  <a:pt x="18164" y="12984"/>
                  <a:pt x="18164" y="13255"/>
                </a:cubicBezTo>
                <a:cubicBezTo>
                  <a:pt x="18164" y="13526"/>
                  <a:pt x="18383" y="13745"/>
                  <a:pt x="18655" y="13745"/>
                </a:cubicBezTo>
                <a:cubicBezTo>
                  <a:pt x="18926" y="13745"/>
                  <a:pt x="19145" y="13526"/>
                  <a:pt x="19145" y="13255"/>
                </a:cubicBezTo>
                <a:cubicBezTo>
                  <a:pt x="19145" y="12984"/>
                  <a:pt x="18926" y="12764"/>
                  <a:pt x="18655" y="12764"/>
                </a:cubicBezTo>
                <a:moveTo>
                  <a:pt x="18655" y="8836"/>
                </a:moveTo>
                <a:cubicBezTo>
                  <a:pt x="18112" y="8836"/>
                  <a:pt x="17673" y="9276"/>
                  <a:pt x="17673" y="9818"/>
                </a:cubicBezTo>
                <a:cubicBezTo>
                  <a:pt x="17673" y="10360"/>
                  <a:pt x="18112" y="10800"/>
                  <a:pt x="18655" y="10800"/>
                </a:cubicBezTo>
                <a:cubicBezTo>
                  <a:pt x="19197" y="10800"/>
                  <a:pt x="19636" y="10360"/>
                  <a:pt x="19636" y="9818"/>
                </a:cubicBezTo>
                <a:cubicBezTo>
                  <a:pt x="19636" y="9276"/>
                  <a:pt x="19197" y="8836"/>
                  <a:pt x="18655" y="8836"/>
                </a:cubicBezTo>
                <a:moveTo>
                  <a:pt x="20618" y="19636"/>
                </a:moveTo>
                <a:cubicBezTo>
                  <a:pt x="20618" y="20178"/>
                  <a:pt x="20179" y="20618"/>
                  <a:pt x="19636" y="20618"/>
                </a:cubicBezTo>
                <a:lnTo>
                  <a:pt x="16691" y="20618"/>
                </a:lnTo>
                <a:lnTo>
                  <a:pt x="16691" y="5891"/>
                </a:lnTo>
                <a:lnTo>
                  <a:pt x="19636" y="5891"/>
                </a:lnTo>
                <a:cubicBezTo>
                  <a:pt x="20179" y="5891"/>
                  <a:pt x="20618" y="6331"/>
                  <a:pt x="20618" y="6873"/>
                </a:cubicBezTo>
                <a:cubicBezTo>
                  <a:pt x="20618" y="6873"/>
                  <a:pt x="20618" y="19636"/>
                  <a:pt x="20618" y="19636"/>
                </a:cubicBezTo>
                <a:close/>
                <a:moveTo>
                  <a:pt x="15709" y="20618"/>
                </a:moveTo>
                <a:lnTo>
                  <a:pt x="1964" y="20618"/>
                </a:lnTo>
                <a:cubicBezTo>
                  <a:pt x="1421" y="20618"/>
                  <a:pt x="982" y="20178"/>
                  <a:pt x="982" y="19636"/>
                </a:cubicBezTo>
                <a:lnTo>
                  <a:pt x="982" y="6873"/>
                </a:lnTo>
                <a:cubicBezTo>
                  <a:pt x="982" y="6331"/>
                  <a:pt x="1421" y="5891"/>
                  <a:pt x="1964" y="5891"/>
                </a:cubicBezTo>
                <a:lnTo>
                  <a:pt x="15709" y="5891"/>
                </a:lnTo>
                <a:cubicBezTo>
                  <a:pt x="15709" y="5891"/>
                  <a:pt x="15709" y="20618"/>
                  <a:pt x="15709" y="20618"/>
                </a:cubicBezTo>
                <a:close/>
                <a:moveTo>
                  <a:pt x="19636" y="4909"/>
                </a:moveTo>
                <a:lnTo>
                  <a:pt x="4909" y="4909"/>
                </a:lnTo>
                <a:lnTo>
                  <a:pt x="4909" y="2855"/>
                </a:lnTo>
                <a:cubicBezTo>
                  <a:pt x="5480" y="2653"/>
                  <a:pt x="5891" y="2113"/>
                  <a:pt x="5891" y="1473"/>
                </a:cubicBezTo>
                <a:cubicBezTo>
                  <a:pt x="5891" y="659"/>
                  <a:pt x="5231" y="0"/>
                  <a:pt x="4418" y="0"/>
                </a:cubicBezTo>
                <a:cubicBezTo>
                  <a:pt x="3605" y="0"/>
                  <a:pt x="2945" y="659"/>
                  <a:pt x="2945" y="1473"/>
                </a:cubicBezTo>
                <a:cubicBezTo>
                  <a:pt x="2945" y="2113"/>
                  <a:pt x="3357" y="2653"/>
                  <a:pt x="3927" y="2855"/>
                </a:cubicBezTo>
                <a:lnTo>
                  <a:pt x="3927" y="4909"/>
                </a:lnTo>
                <a:lnTo>
                  <a:pt x="1964" y="4909"/>
                </a:lnTo>
                <a:cubicBezTo>
                  <a:pt x="879" y="4909"/>
                  <a:pt x="0" y="5788"/>
                  <a:pt x="0" y="6873"/>
                </a:cubicBezTo>
                <a:lnTo>
                  <a:pt x="0" y="19636"/>
                </a:lnTo>
                <a:cubicBezTo>
                  <a:pt x="0" y="20721"/>
                  <a:pt x="879" y="21600"/>
                  <a:pt x="1964" y="21600"/>
                </a:cubicBezTo>
                <a:lnTo>
                  <a:pt x="19636" y="21600"/>
                </a:lnTo>
                <a:cubicBezTo>
                  <a:pt x="20721" y="21600"/>
                  <a:pt x="21600" y="20721"/>
                  <a:pt x="21600" y="19636"/>
                </a:cubicBezTo>
                <a:lnTo>
                  <a:pt x="21600" y="6873"/>
                </a:lnTo>
                <a:cubicBezTo>
                  <a:pt x="21600" y="5788"/>
                  <a:pt x="20721" y="4909"/>
                  <a:pt x="19636" y="4909"/>
                </a:cubicBezTo>
                <a:moveTo>
                  <a:pt x="18655" y="15709"/>
                </a:moveTo>
                <a:cubicBezTo>
                  <a:pt x="18383" y="15709"/>
                  <a:pt x="18164" y="15929"/>
                  <a:pt x="18164" y="16200"/>
                </a:cubicBezTo>
                <a:cubicBezTo>
                  <a:pt x="18164" y="16471"/>
                  <a:pt x="18383" y="16691"/>
                  <a:pt x="18655" y="16691"/>
                </a:cubicBezTo>
                <a:cubicBezTo>
                  <a:pt x="18926" y="16691"/>
                  <a:pt x="19145" y="16471"/>
                  <a:pt x="19145" y="16200"/>
                </a:cubicBezTo>
                <a:cubicBezTo>
                  <a:pt x="19145" y="15929"/>
                  <a:pt x="18926" y="15709"/>
                  <a:pt x="18655" y="15709"/>
                </a:cubicBezTo>
                <a:moveTo>
                  <a:pt x="4199" y="16691"/>
                </a:moveTo>
                <a:lnTo>
                  <a:pt x="12492" y="16691"/>
                </a:lnTo>
                <a:cubicBezTo>
                  <a:pt x="12744" y="16387"/>
                  <a:pt x="12971" y="16064"/>
                  <a:pt x="13152" y="15709"/>
                </a:cubicBezTo>
                <a:lnTo>
                  <a:pt x="3539" y="15709"/>
                </a:lnTo>
                <a:cubicBezTo>
                  <a:pt x="3720" y="16064"/>
                  <a:pt x="3947" y="16387"/>
                  <a:pt x="4199" y="16691"/>
                </a:cubicBezTo>
                <a:moveTo>
                  <a:pt x="8345" y="7855"/>
                </a:moveTo>
                <a:cubicBezTo>
                  <a:pt x="7196" y="7855"/>
                  <a:pt x="6138" y="8224"/>
                  <a:pt x="5263" y="8836"/>
                </a:cubicBezTo>
                <a:lnTo>
                  <a:pt x="11428" y="8836"/>
                </a:lnTo>
                <a:cubicBezTo>
                  <a:pt x="10553" y="8224"/>
                  <a:pt x="9495" y="7855"/>
                  <a:pt x="8345" y="7855"/>
                </a:cubicBezTo>
                <a:moveTo>
                  <a:pt x="8345" y="18655"/>
                </a:moveTo>
                <a:cubicBezTo>
                  <a:pt x="9495" y="18655"/>
                  <a:pt x="10553" y="18285"/>
                  <a:pt x="11428" y="17673"/>
                </a:cubicBezTo>
                <a:lnTo>
                  <a:pt x="5263" y="17673"/>
                </a:lnTo>
                <a:cubicBezTo>
                  <a:pt x="6138" y="18285"/>
                  <a:pt x="7196" y="18655"/>
                  <a:pt x="8345" y="18655"/>
                </a:cubicBezTo>
                <a:moveTo>
                  <a:pt x="12492" y="9818"/>
                </a:moveTo>
                <a:lnTo>
                  <a:pt x="4199" y="9818"/>
                </a:lnTo>
                <a:cubicBezTo>
                  <a:pt x="3947" y="10122"/>
                  <a:pt x="3720" y="10446"/>
                  <a:pt x="3539" y="10800"/>
                </a:cubicBezTo>
                <a:lnTo>
                  <a:pt x="13152" y="10800"/>
                </a:lnTo>
                <a:cubicBezTo>
                  <a:pt x="12971" y="10446"/>
                  <a:pt x="12744" y="10122"/>
                  <a:pt x="12492" y="9818"/>
                </a:cubicBezTo>
                <a:moveTo>
                  <a:pt x="13538" y="11782"/>
                </a:moveTo>
                <a:lnTo>
                  <a:pt x="3153" y="11782"/>
                </a:lnTo>
                <a:cubicBezTo>
                  <a:pt x="3063" y="12098"/>
                  <a:pt x="3001" y="12427"/>
                  <a:pt x="2970" y="12764"/>
                </a:cubicBezTo>
                <a:lnTo>
                  <a:pt x="13721" y="12764"/>
                </a:lnTo>
                <a:cubicBezTo>
                  <a:pt x="13690" y="12427"/>
                  <a:pt x="13628" y="12098"/>
                  <a:pt x="1353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5" name="Shape 2695"/>
          <p:cNvSpPr/>
          <p:nvPr/>
        </p:nvSpPr>
        <p:spPr>
          <a:xfrm>
            <a:off x="7907354"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5218"/>
                </a:moveTo>
                <a:cubicBezTo>
                  <a:pt x="14727" y="15490"/>
                  <a:pt x="14947" y="15709"/>
                  <a:pt x="15218" y="15709"/>
                </a:cubicBezTo>
                <a:cubicBezTo>
                  <a:pt x="15490" y="15709"/>
                  <a:pt x="15709" y="15490"/>
                  <a:pt x="15709" y="15218"/>
                </a:cubicBezTo>
                <a:cubicBezTo>
                  <a:pt x="15709" y="14947"/>
                  <a:pt x="15490" y="14727"/>
                  <a:pt x="15218" y="14727"/>
                </a:cubicBezTo>
                <a:cubicBezTo>
                  <a:pt x="14947" y="14727"/>
                  <a:pt x="14727" y="14947"/>
                  <a:pt x="14727" y="15218"/>
                </a:cubicBezTo>
                <a:moveTo>
                  <a:pt x="20618" y="12764"/>
                </a:moveTo>
                <a:lnTo>
                  <a:pt x="17673" y="12764"/>
                </a:lnTo>
                <a:lnTo>
                  <a:pt x="17673" y="3927"/>
                </a:lnTo>
                <a:lnTo>
                  <a:pt x="3927" y="3927"/>
                </a:lnTo>
                <a:lnTo>
                  <a:pt x="3927" y="9510"/>
                </a:lnTo>
                <a:cubicBezTo>
                  <a:pt x="3308" y="10442"/>
                  <a:pt x="2945" y="11560"/>
                  <a:pt x="2945" y="12764"/>
                </a:cubicBezTo>
                <a:lnTo>
                  <a:pt x="982" y="12764"/>
                </a:lnTo>
                <a:lnTo>
                  <a:pt x="982" y="1964"/>
                </a:lnTo>
                <a:cubicBezTo>
                  <a:pt x="982" y="1422"/>
                  <a:pt x="1422" y="982"/>
                  <a:pt x="1964" y="982"/>
                </a:cubicBezTo>
                <a:lnTo>
                  <a:pt x="19636" y="982"/>
                </a:lnTo>
                <a:cubicBezTo>
                  <a:pt x="20178" y="982"/>
                  <a:pt x="20618" y="1422"/>
                  <a:pt x="20618" y="1964"/>
                </a:cubicBezTo>
                <a:cubicBezTo>
                  <a:pt x="20618" y="1964"/>
                  <a:pt x="20618" y="12764"/>
                  <a:pt x="20618" y="12764"/>
                </a:cubicBezTo>
                <a:close/>
                <a:moveTo>
                  <a:pt x="9327" y="12764"/>
                </a:moveTo>
                <a:cubicBezTo>
                  <a:pt x="9327" y="13035"/>
                  <a:pt x="9108" y="13255"/>
                  <a:pt x="8836" y="13255"/>
                </a:cubicBezTo>
                <a:cubicBezTo>
                  <a:pt x="8565" y="13255"/>
                  <a:pt x="8345" y="13035"/>
                  <a:pt x="8345" y="12764"/>
                </a:cubicBezTo>
                <a:cubicBezTo>
                  <a:pt x="8345" y="12493"/>
                  <a:pt x="8565" y="12273"/>
                  <a:pt x="8836" y="12273"/>
                </a:cubicBezTo>
                <a:cubicBezTo>
                  <a:pt x="9108" y="12273"/>
                  <a:pt x="9327" y="12493"/>
                  <a:pt x="9327" y="12764"/>
                </a:cubicBezTo>
                <a:moveTo>
                  <a:pt x="8836" y="7855"/>
                </a:moveTo>
                <a:cubicBezTo>
                  <a:pt x="10295" y="7855"/>
                  <a:pt x="11601" y="8494"/>
                  <a:pt x="12500" y="9504"/>
                </a:cubicBezTo>
                <a:lnTo>
                  <a:pt x="10301" y="12846"/>
                </a:lnTo>
                <a:cubicBezTo>
                  <a:pt x="10302" y="12818"/>
                  <a:pt x="10309" y="12792"/>
                  <a:pt x="10309" y="12764"/>
                </a:cubicBezTo>
                <a:cubicBezTo>
                  <a:pt x="10309" y="11951"/>
                  <a:pt x="9649" y="11291"/>
                  <a:pt x="8836" y="11291"/>
                </a:cubicBezTo>
                <a:cubicBezTo>
                  <a:pt x="8023" y="11291"/>
                  <a:pt x="7364" y="11951"/>
                  <a:pt x="7364" y="12764"/>
                </a:cubicBezTo>
                <a:cubicBezTo>
                  <a:pt x="7364" y="13577"/>
                  <a:pt x="8023" y="14236"/>
                  <a:pt x="8836" y="14236"/>
                </a:cubicBezTo>
                <a:cubicBezTo>
                  <a:pt x="9072" y="14236"/>
                  <a:pt x="9293" y="14175"/>
                  <a:pt x="9491" y="14076"/>
                </a:cubicBezTo>
                <a:lnTo>
                  <a:pt x="8925" y="14938"/>
                </a:lnTo>
                <a:lnTo>
                  <a:pt x="8639" y="14741"/>
                </a:lnTo>
                <a:lnTo>
                  <a:pt x="7962" y="16664"/>
                </a:lnTo>
                <a:lnTo>
                  <a:pt x="8494" y="17043"/>
                </a:lnTo>
                <a:lnTo>
                  <a:pt x="8881" y="16700"/>
                </a:lnTo>
                <a:lnTo>
                  <a:pt x="10064" y="16936"/>
                </a:lnTo>
                <a:lnTo>
                  <a:pt x="9561" y="16099"/>
                </a:lnTo>
                <a:lnTo>
                  <a:pt x="10020" y="15694"/>
                </a:lnTo>
                <a:lnTo>
                  <a:pt x="9423" y="15282"/>
                </a:lnTo>
                <a:lnTo>
                  <a:pt x="9736" y="15491"/>
                </a:lnTo>
                <a:lnTo>
                  <a:pt x="13114" y="10359"/>
                </a:lnTo>
                <a:cubicBezTo>
                  <a:pt x="13514" y="11069"/>
                  <a:pt x="13745" y="11889"/>
                  <a:pt x="13745" y="12764"/>
                </a:cubicBezTo>
                <a:cubicBezTo>
                  <a:pt x="13745" y="15475"/>
                  <a:pt x="11548" y="17673"/>
                  <a:pt x="8836" y="17673"/>
                </a:cubicBezTo>
                <a:cubicBezTo>
                  <a:pt x="6125" y="17673"/>
                  <a:pt x="3927" y="15475"/>
                  <a:pt x="3927" y="12764"/>
                </a:cubicBezTo>
                <a:cubicBezTo>
                  <a:pt x="3927" y="10053"/>
                  <a:pt x="6125" y="7855"/>
                  <a:pt x="8836" y="7855"/>
                </a:cubicBezTo>
                <a:moveTo>
                  <a:pt x="14727" y="5891"/>
                </a:moveTo>
                <a:cubicBezTo>
                  <a:pt x="14186" y="5891"/>
                  <a:pt x="13745" y="6331"/>
                  <a:pt x="13745" y="6873"/>
                </a:cubicBezTo>
                <a:cubicBezTo>
                  <a:pt x="13745" y="7062"/>
                  <a:pt x="13802" y="7237"/>
                  <a:pt x="13894" y="7386"/>
                </a:cubicBezTo>
                <a:lnTo>
                  <a:pt x="13057" y="8659"/>
                </a:lnTo>
                <a:cubicBezTo>
                  <a:pt x="11987" y="7558"/>
                  <a:pt x="10492" y="6873"/>
                  <a:pt x="8836" y="6873"/>
                </a:cubicBezTo>
                <a:cubicBezTo>
                  <a:pt x="7325" y="6873"/>
                  <a:pt x="5952" y="7447"/>
                  <a:pt x="4909" y="8382"/>
                </a:cubicBezTo>
                <a:lnTo>
                  <a:pt x="4909" y="4909"/>
                </a:lnTo>
                <a:lnTo>
                  <a:pt x="16691" y="4909"/>
                </a:lnTo>
                <a:lnTo>
                  <a:pt x="16691" y="16691"/>
                </a:lnTo>
                <a:lnTo>
                  <a:pt x="13219" y="16691"/>
                </a:lnTo>
                <a:cubicBezTo>
                  <a:pt x="14154" y="15648"/>
                  <a:pt x="14727" y="14275"/>
                  <a:pt x="14727" y="12764"/>
                </a:cubicBezTo>
                <a:cubicBezTo>
                  <a:pt x="14727" y="11536"/>
                  <a:pt x="14351" y="10398"/>
                  <a:pt x="13709" y="9453"/>
                </a:cubicBezTo>
                <a:lnTo>
                  <a:pt x="14764" y="7851"/>
                </a:lnTo>
                <a:cubicBezTo>
                  <a:pt x="15288" y="7832"/>
                  <a:pt x="15709" y="7402"/>
                  <a:pt x="15709" y="6873"/>
                </a:cubicBezTo>
                <a:cubicBezTo>
                  <a:pt x="15709" y="6331"/>
                  <a:pt x="15269" y="5891"/>
                  <a:pt x="14727" y="5891"/>
                </a:cubicBezTo>
                <a:moveTo>
                  <a:pt x="20618" y="19636"/>
                </a:moveTo>
                <a:cubicBezTo>
                  <a:pt x="20618" y="20178"/>
                  <a:pt x="20178" y="20618"/>
                  <a:pt x="19636" y="20618"/>
                </a:cubicBezTo>
                <a:lnTo>
                  <a:pt x="1964" y="20618"/>
                </a:lnTo>
                <a:cubicBezTo>
                  <a:pt x="1422" y="20618"/>
                  <a:pt x="982" y="20178"/>
                  <a:pt x="982" y="19636"/>
                </a:cubicBezTo>
                <a:lnTo>
                  <a:pt x="982" y="13745"/>
                </a:lnTo>
                <a:lnTo>
                  <a:pt x="3034" y="13745"/>
                </a:lnTo>
                <a:cubicBezTo>
                  <a:pt x="3502" y="16531"/>
                  <a:pt x="5918" y="18655"/>
                  <a:pt x="8836" y="18655"/>
                </a:cubicBezTo>
                <a:cubicBezTo>
                  <a:pt x="10040" y="18655"/>
                  <a:pt x="11158" y="18292"/>
                  <a:pt x="12090" y="17673"/>
                </a:cubicBezTo>
                <a:lnTo>
                  <a:pt x="17673" y="17673"/>
                </a:lnTo>
                <a:lnTo>
                  <a:pt x="17673" y="13745"/>
                </a:lnTo>
                <a:lnTo>
                  <a:pt x="20618" y="13745"/>
                </a:lnTo>
                <a:cubicBezTo>
                  <a:pt x="20618" y="13745"/>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6" name="Shape 2696"/>
          <p:cNvSpPr/>
          <p:nvPr/>
        </p:nvSpPr>
        <p:spPr>
          <a:xfrm>
            <a:off x="8307300"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764" y="19636"/>
                </a:moveTo>
                <a:cubicBezTo>
                  <a:pt x="12764" y="20178"/>
                  <a:pt x="12324" y="20618"/>
                  <a:pt x="11782" y="20618"/>
                </a:cubicBezTo>
                <a:lnTo>
                  <a:pt x="9818" y="20618"/>
                </a:lnTo>
                <a:cubicBezTo>
                  <a:pt x="9276" y="20618"/>
                  <a:pt x="8836" y="20178"/>
                  <a:pt x="8836" y="19636"/>
                </a:cubicBezTo>
                <a:lnTo>
                  <a:pt x="8836" y="17673"/>
                </a:lnTo>
                <a:cubicBezTo>
                  <a:pt x="8836" y="17131"/>
                  <a:pt x="9276" y="16691"/>
                  <a:pt x="9818" y="16691"/>
                </a:cubicBezTo>
                <a:lnTo>
                  <a:pt x="11782" y="16691"/>
                </a:lnTo>
                <a:cubicBezTo>
                  <a:pt x="12324" y="16691"/>
                  <a:pt x="12764" y="17131"/>
                  <a:pt x="12764" y="17673"/>
                </a:cubicBezTo>
                <a:cubicBezTo>
                  <a:pt x="12764" y="17673"/>
                  <a:pt x="12764" y="19636"/>
                  <a:pt x="12764" y="19636"/>
                </a:cubicBezTo>
                <a:close/>
                <a:moveTo>
                  <a:pt x="11782" y="15709"/>
                </a:moveTo>
                <a:lnTo>
                  <a:pt x="9818" y="15709"/>
                </a:lnTo>
                <a:cubicBezTo>
                  <a:pt x="8734" y="15709"/>
                  <a:pt x="7855" y="16588"/>
                  <a:pt x="7855" y="17673"/>
                </a:cubicBezTo>
                <a:lnTo>
                  <a:pt x="7855" y="19636"/>
                </a:lnTo>
                <a:cubicBezTo>
                  <a:pt x="7855" y="20721"/>
                  <a:pt x="8734" y="21600"/>
                  <a:pt x="9818" y="21600"/>
                </a:cubicBezTo>
                <a:lnTo>
                  <a:pt x="11782" y="21600"/>
                </a:lnTo>
                <a:cubicBezTo>
                  <a:pt x="12866" y="21600"/>
                  <a:pt x="13745" y="20721"/>
                  <a:pt x="13745" y="19636"/>
                </a:cubicBezTo>
                <a:lnTo>
                  <a:pt x="13745" y="17673"/>
                </a:lnTo>
                <a:cubicBezTo>
                  <a:pt x="13745" y="16588"/>
                  <a:pt x="12866" y="15709"/>
                  <a:pt x="11782" y="15709"/>
                </a:cubicBezTo>
                <a:moveTo>
                  <a:pt x="20618" y="19636"/>
                </a:moveTo>
                <a:cubicBezTo>
                  <a:pt x="20618" y="20178"/>
                  <a:pt x="20178" y="20618"/>
                  <a:pt x="19636" y="20618"/>
                </a:cubicBezTo>
                <a:lnTo>
                  <a:pt x="17673" y="20618"/>
                </a:lnTo>
                <a:cubicBezTo>
                  <a:pt x="17131" y="20618"/>
                  <a:pt x="16691" y="20178"/>
                  <a:pt x="16691" y="19636"/>
                </a:cubicBezTo>
                <a:lnTo>
                  <a:pt x="16691" y="17673"/>
                </a:lnTo>
                <a:cubicBezTo>
                  <a:pt x="16691" y="17131"/>
                  <a:pt x="17131" y="16691"/>
                  <a:pt x="17673" y="16691"/>
                </a:cubicBezTo>
                <a:lnTo>
                  <a:pt x="19636" y="16691"/>
                </a:lnTo>
                <a:cubicBezTo>
                  <a:pt x="20178" y="16691"/>
                  <a:pt x="20618" y="17131"/>
                  <a:pt x="20618" y="17673"/>
                </a:cubicBezTo>
                <a:cubicBezTo>
                  <a:pt x="20618" y="17673"/>
                  <a:pt x="20618" y="19636"/>
                  <a:pt x="20618" y="19636"/>
                </a:cubicBezTo>
                <a:close/>
                <a:moveTo>
                  <a:pt x="19636" y="15709"/>
                </a:moveTo>
                <a:lnTo>
                  <a:pt x="17673" y="15709"/>
                </a:lnTo>
                <a:cubicBezTo>
                  <a:pt x="16588" y="15709"/>
                  <a:pt x="15709" y="16588"/>
                  <a:pt x="15709" y="17673"/>
                </a:cubicBezTo>
                <a:lnTo>
                  <a:pt x="15709" y="19636"/>
                </a:lnTo>
                <a:cubicBezTo>
                  <a:pt x="15709" y="20721"/>
                  <a:pt x="16588" y="21600"/>
                  <a:pt x="17673" y="21600"/>
                </a:cubicBezTo>
                <a:lnTo>
                  <a:pt x="19636" y="21600"/>
                </a:lnTo>
                <a:cubicBezTo>
                  <a:pt x="20721" y="21600"/>
                  <a:pt x="21600" y="20721"/>
                  <a:pt x="21600" y="19636"/>
                </a:cubicBezTo>
                <a:lnTo>
                  <a:pt x="21600" y="17673"/>
                </a:lnTo>
                <a:cubicBezTo>
                  <a:pt x="21600" y="16588"/>
                  <a:pt x="20721" y="15709"/>
                  <a:pt x="19636" y="15709"/>
                </a:cubicBezTo>
                <a:moveTo>
                  <a:pt x="4909" y="19636"/>
                </a:moveTo>
                <a:cubicBezTo>
                  <a:pt x="4909" y="20178"/>
                  <a:pt x="4469" y="20618"/>
                  <a:pt x="3927" y="20618"/>
                </a:cubicBezTo>
                <a:lnTo>
                  <a:pt x="1964" y="20618"/>
                </a:lnTo>
                <a:cubicBezTo>
                  <a:pt x="1422" y="20618"/>
                  <a:pt x="982" y="20178"/>
                  <a:pt x="982" y="19636"/>
                </a:cubicBezTo>
                <a:lnTo>
                  <a:pt x="982" y="17673"/>
                </a:lnTo>
                <a:cubicBezTo>
                  <a:pt x="982" y="17131"/>
                  <a:pt x="1422" y="16691"/>
                  <a:pt x="1964" y="16691"/>
                </a:cubicBezTo>
                <a:lnTo>
                  <a:pt x="3927" y="16691"/>
                </a:lnTo>
                <a:cubicBezTo>
                  <a:pt x="4469" y="16691"/>
                  <a:pt x="4909" y="17131"/>
                  <a:pt x="4909" y="17673"/>
                </a:cubicBezTo>
                <a:cubicBezTo>
                  <a:pt x="4909" y="17673"/>
                  <a:pt x="4909" y="19636"/>
                  <a:pt x="4909" y="19636"/>
                </a:cubicBezTo>
                <a:close/>
                <a:moveTo>
                  <a:pt x="3927" y="15709"/>
                </a:moveTo>
                <a:lnTo>
                  <a:pt x="1964" y="15709"/>
                </a:lnTo>
                <a:cubicBezTo>
                  <a:pt x="879" y="15709"/>
                  <a:pt x="0" y="16588"/>
                  <a:pt x="0" y="17673"/>
                </a:cubicBezTo>
                <a:lnTo>
                  <a:pt x="0" y="19636"/>
                </a:lnTo>
                <a:cubicBezTo>
                  <a:pt x="0" y="20721"/>
                  <a:pt x="879" y="21600"/>
                  <a:pt x="1964" y="21600"/>
                </a:cubicBezTo>
                <a:lnTo>
                  <a:pt x="3927" y="21600"/>
                </a:lnTo>
                <a:cubicBezTo>
                  <a:pt x="5012" y="21600"/>
                  <a:pt x="5891" y="20721"/>
                  <a:pt x="5891" y="19636"/>
                </a:cubicBezTo>
                <a:lnTo>
                  <a:pt x="5891" y="17673"/>
                </a:lnTo>
                <a:cubicBezTo>
                  <a:pt x="5891" y="16588"/>
                  <a:pt x="5012" y="15709"/>
                  <a:pt x="3927" y="15709"/>
                </a:cubicBezTo>
                <a:moveTo>
                  <a:pt x="2945" y="14727"/>
                </a:moveTo>
                <a:cubicBezTo>
                  <a:pt x="3217" y="14727"/>
                  <a:pt x="3436" y="14507"/>
                  <a:pt x="3436" y="14236"/>
                </a:cubicBezTo>
                <a:lnTo>
                  <a:pt x="3436" y="10800"/>
                </a:lnTo>
                <a:lnTo>
                  <a:pt x="10309" y="10800"/>
                </a:lnTo>
                <a:lnTo>
                  <a:pt x="10309" y="14236"/>
                </a:lnTo>
                <a:cubicBezTo>
                  <a:pt x="10309" y="14507"/>
                  <a:pt x="10529" y="14727"/>
                  <a:pt x="10800" y="14727"/>
                </a:cubicBezTo>
                <a:cubicBezTo>
                  <a:pt x="11071" y="14727"/>
                  <a:pt x="11291" y="14507"/>
                  <a:pt x="11291" y="14236"/>
                </a:cubicBezTo>
                <a:lnTo>
                  <a:pt x="11291" y="10800"/>
                </a:lnTo>
                <a:lnTo>
                  <a:pt x="18164" y="10800"/>
                </a:lnTo>
                <a:lnTo>
                  <a:pt x="18164" y="14236"/>
                </a:lnTo>
                <a:cubicBezTo>
                  <a:pt x="18164" y="14507"/>
                  <a:pt x="18384" y="14727"/>
                  <a:pt x="18655" y="14727"/>
                </a:cubicBezTo>
                <a:cubicBezTo>
                  <a:pt x="18926" y="14727"/>
                  <a:pt x="19145" y="14507"/>
                  <a:pt x="19145" y="14236"/>
                </a:cubicBezTo>
                <a:lnTo>
                  <a:pt x="19145" y="10309"/>
                </a:lnTo>
                <a:cubicBezTo>
                  <a:pt x="19145" y="10038"/>
                  <a:pt x="18926" y="9818"/>
                  <a:pt x="18655" y="9818"/>
                </a:cubicBezTo>
                <a:lnTo>
                  <a:pt x="11291" y="9818"/>
                </a:lnTo>
                <a:lnTo>
                  <a:pt x="11291" y="7364"/>
                </a:lnTo>
                <a:cubicBezTo>
                  <a:pt x="11291" y="7093"/>
                  <a:pt x="11071" y="6873"/>
                  <a:pt x="10800" y="6873"/>
                </a:cubicBezTo>
                <a:cubicBezTo>
                  <a:pt x="10529" y="6873"/>
                  <a:pt x="10309" y="7093"/>
                  <a:pt x="10309" y="7364"/>
                </a:cubicBezTo>
                <a:lnTo>
                  <a:pt x="10309" y="9818"/>
                </a:lnTo>
                <a:lnTo>
                  <a:pt x="2945" y="9818"/>
                </a:lnTo>
                <a:cubicBezTo>
                  <a:pt x="2674" y="9818"/>
                  <a:pt x="2455" y="10038"/>
                  <a:pt x="2455" y="10309"/>
                </a:cubicBezTo>
                <a:lnTo>
                  <a:pt x="2455" y="14236"/>
                </a:lnTo>
                <a:cubicBezTo>
                  <a:pt x="2455" y="14507"/>
                  <a:pt x="2674" y="14727"/>
                  <a:pt x="2945" y="14727"/>
                </a:cubicBezTo>
                <a:moveTo>
                  <a:pt x="8836" y="1964"/>
                </a:moveTo>
                <a:cubicBezTo>
                  <a:pt x="8836" y="1422"/>
                  <a:pt x="9276" y="982"/>
                  <a:pt x="9818" y="982"/>
                </a:cubicBezTo>
                <a:lnTo>
                  <a:pt x="11782" y="982"/>
                </a:lnTo>
                <a:cubicBezTo>
                  <a:pt x="12324" y="982"/>
                  <a:pt x="12764" y="1422"/>
                  <a:pt x="12764" y="1964"/>
                </a:cubicBezTo>
                <a:lnTo>
                  <a:pt x="12764" y="3927"/>
                </a:lnTo>
                <a:cubicBezTo>
                  <a:pt x="12764" y="4469"/>
                  <a:pt x="12324" y="4909"/>
                  <a:pt x="11782" y="4909"/>
                </a:cubicBezTo>
                <a:lnTo>
                  <a:pt x="9818" y="4909"/>
                </a:lnTo>
                <a:cubicBezTo>
                  <a:pt x="9276" y="4909"/>
                  <a:pt x="8836" y="4469"/>
                  <a:pt x="8836" y="3927"/>
                </a:cubicBezTo>
                <a:cubicBezTo>
                  <a:pt x="8836" y="3927"/>
                  <a:pt x="8836" y="1964"/>
                  <a:pt x="8836" y="1964"/>
                </a:cubicBezTo>
                <a:close/>
                <a:moveTo>
                  <a:pt x="9818" y="5891"/>
                </a:moveTo>
                <a:lnTo>
                  <a:pt x="11782" y="5891"/>
                </a:lnTo>
                <a:cubicBezTo>
                  <a:pt x="12866" y="5891"/>
                  <a:pt x="13745" y="5012"/>
                  <a:pt x="13745" y="3927"/>
                </a:cubicBezTo>
                <a:lnTo>
                  <a:pt x="13745" y="1964"/>
                </a:lnTo>
                <a:cubicBezTo>
                  <a:pt x="13745" y="879"/>
                  <a:pt x="12866" y="0"/>
                  <a:pt x="11782" y="0"/>
                </a:cubicBezTo>
                <a:lnTo>
                  <a:pt x="9818" y="0"/>
                </a:lnTo>
                <a:cubicBezTo>
                  <a:pt x="8734" y="0"/>
                  <a:pt x="7855" y="879"/>
                  <a:pt x="7855" y="1964"/>
                </a:cubicBezTo>
                <a:lnTo>
                  <a:pt x="7855" y="3927"/>
                </a:lnTo>
                <a:cubicBezTo>
                  <a:pt x="7855" y="5012"/>
                  <a:pt x="8734" y="5891"/>
                  <a:pt x="9818"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7" name="Shape 2697"/>
          <p:cNvSpPr/>
          <p:nvPr/>
        </p:nvSpPr>
        <p:spPr>
          <a:xfrm>
            <a:off x="4717310"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7020" y="13745"/>
                </a:moveTo>
                <a:lnTo>
                  <a:pt x="4860" y="13745"/>
                </a:lnTo>
                <a:lnTo>
                  <a:pt x="4860" y="15709"/>
                </a:lnTo>
                <a:lnTo>
                  <a:pt x="7020" y="15709"/>
                </a:lnTo>
                <a:cubicBezTo>
                  <a:pt x="7020" y="15709"/>
                  <a:pt x="7020" y="13745"/>
                  <a:pt x="7020" y="13745"/>
                </a:cubicBezTo>
                <a:close/>
                <a:moveTo>
                  <a:pt x="5400" y="10800"/>
                </a:moveTo>
                <a:lnTo>
                  <a:pt x="3240" y="10800"/>
                </a:lnTo>
                <a:lnTo>
                  <a:pt x="3240" y="12764"/>
                </a:lnTo>
                <a:lnTo>
                  <a:pt x="5400" y="12764"/>
                </a:lnTo>
                <a:cubicBezTo>
                  <a:pt x="5400" y="12764"/>
                  <a:pt x="5400" y="10800"/>
                  <a:pt x="5400" y="10800"/>
                </a:cubicBezTo>
                <a:close/>
                <a:moveTo>
                  <a:pt x="5940" y="18655"/>
                </a:moveTo>
                <a:lnTo>
                  <a:pt x="15660" y="18655"/>
                </a:lnTo>
                <a:lnTo>
                  <a:pt x="15660" y="16691"/>
                </a:lnTo>
                <a:lnTo>
                  <a:pt x="5940" y="16691"/>
                </a:lnTo>
                <a:cubicBezTo>
                  <a:pt x="5940" y="16691"/>
                  <a:pt x="5940" y="18655"/>
                  <a:pt x="5940" y="18655"/>
                </a:cubicBezTo>
                <a:close/>
                <a:moveTo>
                  <a:pt x="20520" y="19636"/>
                </a:moveTo>
                <a:cubicBezTo>
                  <a:pt x="20520" y="20179"/>
                  <a:pt x="20036" y="20618"/>
                  <a:pt x="19440" y="20618"/>
                </a:cubicBezTo>
                <a:lnTo>
                  <a:pt x="2160" y="20618"/>
                </a:lnTo>
                <a:cubicBezTo>
                  <a:pt x="1564" y="20618"/>
                  <a:pt x="1080" y="20179"/>
                  <a:pt x="1080" y="19636"/>
                </a:cubicBezTo>
                <a:lnTo>
                  <a:pt x="1080" y="9818"/>
                </a:lnTo>
                <a:cubicBezTo>
                  <a:pt x="1080" y="9276"/>
                  <a:pt x="1564" y="8836"/>
                  <a:pt x="2160" y="8836"/>
                </a:cubicBezTo>
                <a:lnTo>
                  <a:pt x="19440" y="8836"/>
                </a:lnTo>
                <a:cubicBezTo>
                  <a:pt x="20036" y="8836"/>
                  <a:pt x="20520" y="9276"/>
                  <a:pt x="20520" y="9818"/>
                </a:cubicBezTo>
                <a:cubicBezTo>
                  <a:pt x="20520" y="9818"/>
                  <a:pt x="20520" y="19636"/>
                  <a:pt x="20520" y="19636"/>
                </a:cubicBezTo>
                <a:close/>
                <a:moveTo>
                  <a:pt x="19440" y="7855"/>
                </a:moveTo>
                <a:lnTo>
                  <a:pt x="2160" y="7855"/>
                </a:lnTo>
                <a:cubicBezTo>
                  <a:pt x="967" y="7855"/>
                  <a:pt x="0" y="8734"/>
                  <a:pt x="0" y="9818"/>
                </a:cubicBezTo>
                <a:lnTo>
                  <a:pt x="0" y="19636"/>
                </a:lnTo>
                <a:cubicBezTo>
                  <a:pt x="0" y="20721"/>
                  <a:pt x="967" y="21600"/>
                  <a:pt x="2160" y="21600"/>
                </a:cubicBezTo>
                <a:lnTo>
                  <a:pt x="19440" y="21600"/>
                </a:lnTo>
                <a:cubicBezTo>
                  <a:pt x="20633" y="21600"/>
                  <a:pt x="21600" y="20721"/>
                  <a:pt x="21600" y="19636"/>
                </a:cubicBezTo>
                <a:lnTo>
                  <a:pt x="21600" y="9818"/>
                </a:lnTo>
                <a:cubicBezTo>
                  <a:pt x="21600" y="8734"/>
                  <a:pt x="20633" y="7855"/>
                  <a:pt x="19440" y="7855"/>
                </a:cubicBezTo>
                <a:moveTo>
                  <a:pt x="16200" y="12764"/>
                </a:moveTo>
                <a:lnTo>
                  <a:pt x="18360" y="12764"/>
                </a:lnTo>
                <a:lnTo>
                  <a:pt x="18360" y="10800"/>
                </a:lnTo>
                <a:lnTo>
                  <a:pt x="16200" y="10800"/>
                </a:lnTo>
                <a:cubicBezTo>
                  <a:pt x="16200" y="10800"/>
                  <a:pt x="16200" y="12764"/>
                  <a:pt x="16200" y="12764"/>
                </a:cubicBezTo>
                <a:close/>
                <a:moveTo>
                  <a:pt x="14580" y="15709"/>
                </a:moveTo>
                <a:lnTo>
                  <a:pt x="16740" y="15709"/>
                </a:lnTo>
                <a:lnTo>
                  <a:pt x="16740" y="13745"/>
                </a:lnTo>
                <a:lnTo>
                  <a:pt x="14580" y="13745"/>
                </a:lnTo>
                <a:cubicBezTo>
                  <a:pt x="14580" y="13745"/>
                  <a:pt x="14580" y="15709"/>
                  <a:pt x="14580" y="15709"/>
                </a:cubicBezTo>
                <a:close/>
                <a:moveTo>
                  <a:pt x="10800" y="0"/>
                </a:moveTo>
                <a:lnTo>
                  <a:pt x="6480" y="3927"/>
                </a:lnTo>
                <a:lnTo>
                  <a:pt x="15120" y="3927"/>
                </a:lnTo>
                <a:cubicBezTo>
                  <a:pt x="15120" y="3927"/>
                  <a:pt x="10800" y="0"/>
                  <a:pt x="10800" y="0"/>
                </a:cubicBezTo>
                <a:close/>
                <a:moveTo>
                  <a:pt x="8640" y="10800"/>
                </a:moveTo>
                <a:lnTo>
                  <a:pt x="6480" y="10800"/>
                </a:lnTo>
                <a:lnTo>
                  <a:pt x="6480" y="12764"/>
                </a:lnTo>
                <a:lnTo>
                  <a:pt x="8640" y="12764"/>
                </a:lnTo>
                <a:cubicBezTo>
                  <a:pt x="8640" y="12764"/>
                  <a:pt x="8640" y="10800"/>
                  <a:pt x="8640" y="10800"/>
                </a:cubicBezTo>
                <a:close/>
                <a:moveTo>
                  <a:pt x="11340" y="15709"/>
                </a:moveTo>
                <a:lnTo>
                  <a:pt x="13500" y="15709"/>
                </a:lnTo>
                <a:lnTo>
                  <a:pt x="13500" y="13745"/>
                </a:lnTo>
                <a:lnTo>
                  <a:pt x="11340" y="13745"/>
                </a:lnTo>
                <a:cubicBezTo>
                  <a:pt x="11340" y="13745"/>
                  <a:pt x="11340" y="15709"/>
                  <a:pt x="11340" y="15709"/>
                </a:cubicBezTo>
                <a:close/>
                <a:moveTo>
                  <a:pt x="15120" y="10800"/>
                </a:moveTo>
                <a:lnTo>
                  <a:pt x="12960" y="10800"/>
                </a:lnTo>
                <a:lnTo>
                  <a:pt x="12960" y="12764"/>
                </a:lnTo>
                <a:lnTo>
                  <a:pt x="15120" y="12764"/>
                </a:lnTo>
                <a:cubicBezTo>
                  <a:pt x="15120" y="12764"/>
                  <a:pt x="15120" y="10800"/>
                  <a:pt x="15120" y="10800"/>
                </a:cubicBezTo>
                <a:close/>
                <a:moveTo>
                  <a:pt x="11880" y="10800"/>
                </a:moveTo>
                <a:lnTo>
                  <a:pt x="9720" y="10800"/>
                </a:lnTo>
                <a:lnTo>
                  <a:pt x="9720" y="12764"/>
                </a:lnTo>
                <a:lnTo>
                  <a:pt x="11880" y="12764"/>
                </a:lnTo>
                <a:cubicBezTo>
                  <a:pt x="11880" y="12764"/>
                  <a:pt x="11880" y="10800"/>
                  <a:pt x="11880" y="10800"/>
                </a:cubicBezTo>
                <a:close/>
                <a:moveTo>
                  <a:pt x="8100" y="15709"/>
                </a:moveTo>
                <a:lnTo>
                  <a:pt x="10260" y="15709"/>
                </a:lnTo>
                <a:lnTo>
                  <a:pt x="10260" y="13745"/>
                </a:lnTo>
                <a:lnTo>
                  <a:pt x="8100" y="13745"/>
                </a:lnTo>
                <a:cubicBezTo>
                  <a:pt x="8100" y="13745"/>
                  <a:pt x="8100" y="15709"/>
                  <a:pt x="8100"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8" name="Shape 2698"/>
          <p:cNvSpPr/>
          <p:nvPr/>
        </p:nvSpPr>
        <p:spPr>
          <a:xfrm>
            <a:off x="5117257" y="1869799"/>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5940" y="10800"/>
                </a:moveTo>
                <a:lnTo>
                  <a:pt x="15660" y="10800"/>
                </a:lnTo>
                <a:lnTo>
                  <a:pt x="15660" y="8836"/>
                </a:lnTo>
                <a:lnTo>
                  <a:pt x="5940" y="8836"/>
                </a:lnTo>
                <a:cubicBezTo>
                  <a:pt x="5940" y="8836"/>
                  <a:pt x="5940" y="10800"/>
                  <a:pt x="5940" y="10800"/>
                </a:cubicBezTo>
                <a:close/>
                <a:moveTo>
                  <a:pt x="5400" y="2945"/>
                </a:moveTo>
                <a:lnTo>
                  <a:pt x="3240" y="2945"/>
                </a:lnTo>
                <a:lnTo>
                  <a:pt x="3240" y="4909"/>
                </a:lnTo>
                <a:lnTo>
                  <a:pt x="5400" y="4909"/>
                </a:lnTo>
                <a:cubicBezTo>
                  <a:pt x="5400" y="4909"/>
                  <a:pt x="5400" y="2945"/>
                  <a:pt x="5400" y="2945"/>
                </a:cubicBezTo>
                <a:close/>
                <a:moveTo>
                  <a:pt x="7020" y="5891"/>
                </a:moveTo>
                <a:lnTo>
                  <a:pt x="4860" y="5891"/>
                </a:lnTo>
                <a:lnTo>
                  <a:pt x="4860" y="7855"/>
                </a:lnTo>
                <a:lnTo>
                  <a:pt x="7020" y="7855"/>
                </a:lnTo>
                <a:cubicBezTo>
                  <a:pt x="7020" y="7855"/>
                  <a:pt x="7020" y="5891"/>
                  <a:pt x="7020" y="5891"/>
                </a:cubicBezTo>
                <a:close/>
                <a:moveTo>
                  <a:pt x="14580" y="7855"/>
                </a:moveTo>
                <a:lnTo>
                  <a:pt x="16740" y="7855"/>
                </a:lnTo>
                <a:lnTo>
                  <a:pt x="16740" y="5891"/>
                </a:lnTo>
                <a:lnTo>
                  <a:pt x="14580" y="5891"/>
                </a:lnTo>
                <a:cubicBezTo>
                  <a:pt x="14580" y="5891"/>
                  <a:pt x="14580" y="7855"/>
                  <a:pt x="14580" y="7855"/>
                </a:cubicBezTo>
                <a:close/>
                <a:moveTo>
                  <a:pt x="20520" y="11782"/>
                </a:moveTo>
                <a:cubicBezTo>
                  <a:pt x="20520" y="12324"/>
                  <a:pt x="20036" y="12764"/>
                  <a:pt x="19440" y="12764"/>
                </a:cubicBezTo>
                <a:lnTo>
                  <a:pt x="2160" y="12764"/>
                </a:lnTo>
                <a:cubicBezTo>
                  <a:pt x="1564" y="12764"/>
                  <a:pt x="1080" y="12324"/>
                  <a:pt x="1080" y="11782"/>
                </a:cubicBezTo>
                <a:lnTo>
                  <a:pt x="1080" y="1964"/>
                </a:lnTo>
                <a:cubicBezTo>
                  <a:pt x="1080" y="1422"/>
                  <a:pt x="1564" y="982"/>
                  <a:pt x="2160" y="982"/>
                </a:cubicBezTo>
                <a:lnTo>
                  <a:pt x="19440" y="982"/>
                </a:lnTo>
                <a:cubicBezTo>
                  <a:pt x="20036" y="982"/>
                  <a:pt x="20520" y="1422"/>
                  <a:pt x="20520" y="1964"/>
                </a:cubicBezTo>
                <a:cubicBezTo>
                  <a:pt x="20520" y="1964"/>
                  <a:pt x="20520" y="11782"/>
                  <a:pt x="20520" y="11782"/>
                </a:cubicBezTo>
                <a:close/>
                <a:moveTo>
                  <a:pt x="19440" y="0"/>
                </a:moveTo>
                <a:lnTo>
                  <a:pt x="2160" y="0"/>
                </a:lnTo>
                <a:cubicBezTo>
                  <a:pt x="967" y="0"/>
                  <a:pt x="0" y="879"/>
                  <a:pt x="0" y="1964"/>
                </a:cubicBezTo>
                <a:lnTo>
                  <a:pt x="0" y="11782"/>
                </a:lnTo>
                <a:cubicBezTo>
                  <a:pt x="0" y="12866"/>
                  <a:pt x="967" y="13745"/>
                  <a:pt x="2160" y="13745"/>
                </a:cubicBezTo>
                <a:lnTo>
                  <a:pt x="19440" y="13745"/>
                </a:lnTo>
                <a:cubicBezTo>
                  <a:pt x="20633" y="13745"/>
                  <a:pt x="21600" y="12866"/>
                  <a:pt x="21600" y="11782"/>
                </a:cubicBezTo>
                <a:lnTo>
                  <a:pt x="21600" y="1964"/>
                </a:lnTo>
                <a:cubicBezTo>
                  <a:pt x="21600" y="879"/>
                  <a:pt x="20633" y="0"/>
                  <a:pt x="19440" y="0"/>
                </a:cubicBezTo>
                <a:moveTo>
                  <a:pt x="16200" y="4909"/>
                </a:moveTo>
                <a:lnTo>
                  <a:pt x="18360" y="4909"/>
                </a:lnTo>
                <a:lnTo>
                  <a:pt x="18360" y="2945"/>
                </a:lnTo>
                <a:lnTo>
                  <a:pt x="16200" y="2945"/>
                </a:lnTo>
                <a:cubicBezTo>
                  <a:pt x="16200" y="2945"/>
                  <a:pt x="16200" y="4909"/>
                  <a:pt x="16200" y="4909"/>
                </a:cubicBezTo>
                <a:close/>
                <a:moveTo>
                  <a:pt x="8640" y="2945"/>
                </a:moveTo>
                <a:lnTo>
                  <a:pt x="6480" y="2945"/>
                </a:lnTo>
                <a:lnTo>
                  <a:pt x="6480" y="4909"/>
                </a:lnTo>
                <a:lnTo>
                  <a:pt x="8640" y="4909"/>
                </a:lnTo>
                <a:cubicBezTo>
                  <a:pt x="8640" y="4909"/>
                  <a:pt x="8640" y="2945"/>
                  <a:pt x="8640" y="2945"/>
                </a:cubicBezTo>
                <a:close/>
                <a:moveTo>
                  <a:pt x="11340" y="7855"/>
                </a:moveTo>
                <a:lnTo>
                  <a:pt x="13500" y="7855"/>
                </a:lnTo>
                <a:lnTo>
                  <a:pt x="13500" y="5891"/>
                </a:lnTo>
                <a:lnTo>
                  <a:pt x="11340" y="5891"/>
                </a:lnTo>
                <a:cubicBezTo>
                  <a:pt x="11340" y="5891"/>
                  <a:pt x="11340" y="7855"/>
                  <a:pt x="11340" y="7855"/>
                </a:cubicBezTo>
                <a:close/>
                <a:moveTo>
                  <a:pt x="10800" y="21600"/>
                </a:moveTo>
                <a:lnTo>
                  <a:pt x="15120" y="17673"/>
                </a:lnTo>
                <a:lnTo>
                  <a:pt x="6480" y="17673"/>
                </a:lnTo>
                <a:cubicBezTo>
                  <a:pt x="6480" y="17673"/>
                  <a:pt x="10800" y="21600"/>
                  <a:pt x="10800" y="21600"/>
                </a:cubicBezTo>
                <a:close/>
                <a:moveTo>
                  <a:pt x="15120" y="2945"/>
                </a:moveTo>
                <a:lnTo>
                  <a:pt x="12960" y="2945"/>
                </a:lnTo>
                <a:lnTo>
                  <a:pt x="12960" y="4909"/>
                </a:lnTo>
                <a:lnTo>
                  <a:pt x="15120" y="4909"/>
                </a:lnTo>
                <a:cubicBezTo>
                  <a:pt x="15120" y="4909"/>
                  <a:pt x="15120" y="2945"/>
                  <a:pt x="15120" y="2945"/>
                </a:cubicBezTo>
                <a:close/>
                <a:moveTo>
                  <a:pt x="8100" y="7855"/>
                </a:moveTo>
                <a:lnTo>
                  <a:pt x="10260" y="7855"/>
                </a:lnTo>
                <a:lnTo>
                  <a:pt x="10260" y="5891"/>
                </a:lnTo>
                <a:lnTo>
                  <a:pt x="8100" y="5891"/>
                </a:lnTo>
                <a:cubicBezTo>
                  <a:pt x="8100" y="5891"/>
                  <a:pt x="8100" y="7855"/>
                  <a:pt x="8100" y="7855"/>
                </a:cubicBezTo>
                <a:close/>
                <a:moveTo>
                  <a:pt x="11880" y="2945"/>
                </a:moveTo>
                <a:lnTo>
                  <a:pt x="9720" y="2945"/>
                </a:lnTo>
                <a:lnTo>
                  <a:pt x="9720" y="4909"/>
                </a:lnTo>
                <a:lnTo>
                  <a:pt x="11880" y="4909"/>
                </a:lnTo>
                <a:cubicBezTo>
                  <a:pt x="11880" y="4909"/>
                  <a:pt x="11880" y="2945"/>
                  <a:pt x="1188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699" name="Shape 2699"/>
          <p:cNvSpPr/>
          <p:nvPr/>
        </p:nvSpPr>
        <p:spPr>
          <a:xfrm>
            <a:off x="5507680" y="1888843"/>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5976" y="20400"/>
                </a:moveTo>
                <a:lnTo>
                  <a:pt x="10800" y="13522"/>
                </a:lnTo>
                <a:lnTo>
                  <a:pt x="15623" y="20400"/>
                </a:lnTo>
                <a:cubicBezTo>
                  <a:pt x="15623" y="20400"/>
                  <a:pt x="5976" y="20400"/>
                  <a:pt x="5976" y="20400"/>
                </a:cubicBezTo>
                <a:close/>
                <a:moveTo>
                  <a:pt x="17063" y="20610"/>
                </a:moveTo>
                <a:lnTo>
                  <a:pt x="11172" y="12210"/>
                </a:lnTo>
                <a:lnTo>
                  <a:pt x="11168" y="12214"/>
                </a:lnTo>
                <a:cubicBezTo>
                  <a:pt x="11078" y="12086"/>
                  <a:pt x="10949" y="12000"/>
                  <a:pt x="10800" y="12000"/>
                </a:cubicBezTo>
                <a:cubicBezTo>
                  <a:pt x="10651" y="12000"/>
                  <a:pt x="10521" y="12086"/>
                  <a:pt x="10432" y="12214"/>
                </a:cubicBezTo>
                <a:lnTo>
                  <a:pt x="10427" y="12210"/>
                </a:lnTo>
                <a:lnTo>
                  <a:pt x="4536" y="20610"/>
                </a:lnTo>
                <a:lnTo>
                  <a:pt x="4540" y="20614"/>
                </a:lnTo>
                <a:cubicBezTo>
                  <a:pt x="4467" y="20719"/>
                  <a:pt x="4418" y="20851"/>
                  <a:pt x="4418" y="21000"/>
                </a:cubicBezTo>
                <a:cubicBezTo>
                  <a:pt x="4418" y="21332"/>
                  <a:pt x="4638" y="21600"/>
                  <a:pt x="4909" y="21600"/>
                </a:cubicBezTo>
                <a:lnTo>
                  <a:pt x="16691" y="21600"/>
                </a:lnTo>
                <a:cubicBezTo>
                  <a:pt x="16962" y="21600"/>
                  <a:pt x="17182" y="21332"/>
                  <a:pt x="17182" y="21000"/>
                </a:cubicBezTo>
                <a:cubicBezTo>
                  <a:pt x="17182" y="20851"/>
                  <a:pt x="17133" y="20719"/>
                  <a:pt x="17059" y="20614"/>
                </a:cubicBezTo>
                <a:cubicBezTo>
                  <a:pt x="17059" y="20614"/>
                  <a:pt x="17063" y="20610"/>
                  <a:pt x="17063" y="20610"/>
                </a:cubicBezTo>
                <a:close/>
                <a:moveTo>
                  <a:pt x="21109" y="0"/>
                </a:moveTo>
                <a:lnTo>
                  <a:pt x="491" y="0"/>
                </a:lnTo>
                <a:cubicBezTo>
                  <a:pt x="220" y="0"/>
                  <a:pt x="0" y="269"/>
                  <a:pt x="0" y="600"/>
                </a:cubicBezTo>
                <a:lnTo>
                  <a:pt x="0" y="17400"/>
                </a:lnTo>
                <a:cubicBezTo>
                  <a:pt x="0" y="17732"/>
                  <a:pt x="220" y="18000"/>
                  <a:pt x="491" y="18000"/>
                </a:cubicBezTo>
                <a:lnTo>
                  <a:pt x="4418" y="18000"/>
                </a:lnTo>
                <a:cubicBezTo>
                  <a:pt x="4689" y="18000"/>
                  <a:pt x="4909" y="17732"/>
                  <a:pt x="4909" y="17400"/>
                </a:cubicBezTo>
                <a:cubicBezTo>
                  <a:pt x="4909" y="17068"/>
                  <a:pt x="4689" y="16800"/>
                  <a:pt x="4418" y="16800"/>
                </a:cubicBezTo>
                <a:lnTo>
                  <a:pt x="982" y="16800"/>
                </a:lnTo>
                <a:lnTo>
                  <a:pt x="982" y="1200"/>
                </a:lnTo>
                <a:lnTo>
                  <a:pt x="20618" y="1200"/>
                </a:lnTo>
                <a:lnTo>
                  <a:pt x="20618" y="16800"/>
                </a:lnTo>
                <a:lnTo>
                  <a:pt x="17182" y="16800"/>
                </a:lnTo>
                <a:cubicBezTo>
                  <a:pt x="16911" y="16800"/>
                  <a:pt x="16691" y="17068"/>
                  <a:pt x="16691" y="17400"/>
                </a:cubicBezTo>
                <a:cubicBezTo>
                  <a:pt x="16691" y="17732"/>
                  <a:pt x="16911" y="18000"/>
                  <a:pt x="17182" y="18000"/>
                </a:cubicBezTo>
                <a:lnTo>
                  <a:pt x="21109" y="18000"/>
                </a:lnTo>
                <a:cubicBezTo>
                  <a:pt x="21380" y="18000"/>
                  <a:pt x="21600" y="17732"/>
                  <a:pt x="21600" y="17400"/>
                </a:cubicBezTo>
                <a:lnTo>
                  <a:pt x="21600" y="600"/>
                </a:lnTo>
                <a:cubicBezTo>
                  <a:pt x="21600" y="269"/>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0" name="Shape 2700"/>
          <p:cNvSpPr/>
          <p:nvPr/>
        </p:nvSpPr>
        <p:spPr>
          <a:xfrm>
            <a:off x="5907625" y="186979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4" y="20618"/>
                </a:moveTo>
                <a:lnTo>
                  <a:pt x="15069" y="13232"/>
                </a:lnTo>
                <a:lnTo>
                  <a:pt x="15063" y="13228"/>
                </a:lnTo>
                <a:cubicBezTo>
                  <a:pt x="15472" y="12512"/>
                  <a:pt x="15709" y="11684"/>
                  <a:pt x="15709" y="10800"/>
                </a:cubicBezTo>
                <a:cubicBezTo>
                  <a:pt x="15709" y="9192"/>
                  <a:pt x="14932" y="7768"/>
                  <a:pt x="13737" y="6873"/>
                </a:cubicBezTo>
                <a:lnTo>
                  <a:pt x="19796" y="6873"/>
                </a:lnTo>
                <a:cubicBezTo>
                  <a:pt x="20322" y="8076"/>
                  <a:pt x="20618" y="9403"/>
                  <a:pt x="20618" y="10800"/>
                </a:cubicBezTo>
                <a:cubicBezTo>
                  <a:pt x="20618" y="16221"/>
                  <a:pt x="16225" y="20615"/>
                  <a:pt x="10804" y="20618"/>
                </a:cubicBezTo>
                <a:moveTo>
                  <a:pt x="9708" y="20554"/>
                </a:moveTo>
                <a:cubicBezTo>
                  <a:pt x="4800" y="20010"/>
                  <a:pt x="982" y="15853"/>
                  <a:pt x="982" y="10800"/>
                </a:cubicBezTo>
                <a:cubicBezTo>
                  <a:pt x="982" y="9010"/>
                  <a:pt x="1468" y="7337"/>
                  <a:pt x="2305" y="5892"/>
                </a:cubicBezTo>
                <a:lnTo>
                  <a:pt x="6452" y="13076"/>
                </a:lnTo>
                <a:cubicBezTo>
                  <a:pt x="7273" y="14640"/>
                  <a:pt x="8911" y="15709"/>
                  <a:pt x="10800" y="15709"/>
                </a:cubicBezTo>
                <a:cubicBezTo>
                  <a:pt x="11487" y="15709"/>
                  <a:pt x="12141" y="15567"/>
                  <a:pt x="12734" y="15312"/>
                </a:cubicBezTo>
                <a:cubicBezTo>
                  <a:pt x="12734" y="15312"/>
                  <a:pt x="9708" y="20554"/>
                  <a:pt x="9708" y="20554"/>
                </a:cubicBezTo>
                <a:close/>
                <a:moveTo>
                  <a:pt x="7315" y="12607"/>
                </a:moveTo>
                <a:cubicBezTo>
                  <a:pt x="7034" y="12065"/>
                  <a:pt x="6873" y="11452"/>
                  <a:pt x="6873" y="10800"/>
                </a:cubicBezTo>
                <a:cubicBezTo>
                  <a:pt x="6873" y="8631"/>
                  <a:pt x="8631" y="6873"/>
                  <a:pt x="10800" y="6873"/>
                </a:cubicBezTo>
                <a:cubicBezTo>
                  <a:pt x="12969" y="6873"/>
                  <a:pt x="14727" y="8631"/>
                  <a:pt x="14727" y="10800"/>
                </a:cubicBezTo>
                <a:cubicBezTo>
                  <a:pt x="14727" y="12969"/>
                  <a:pt x="12969" y="14727"/>
                  <a:pt x="10800" y="14727"/>
                </a:cubicBezTo>
                <a:cubicBezTo>
                  <a:pt x="9318" y="14727"/>
                  <a:pt x="8029" y="13906"/>
                  <a:pt x="7360" y="12694"/>
                </a:cubicBezTo>
                <a:lnTo>
                  <a:pt x="7364" y="12691"/>
                </a:lnTo>
                <a:cubicBezTo>
                  <a:pt x="7364" y="12691"/>
                  <a:pt x="7315" y="12607"/>
                  <a:pt x="7315" y="12607"/>
                </a:cubicBezTo>
                <a:close/>
                <a:moveTo>
                  <a:pt x="10800" y="982"/>
                </a:moveTo>
                <a:cubicBezTo>
                  <a:pt x="14432" y="982"/>
                  <a:pt x="17596" y="2959"/>
                  <a:pt x="19294" y="5891"/>
                </a:cubicBezTo>
                <a:lnTo>
                  <a:pt x="10800" y="5891"/>
                </a:lnTo>
                <a:cubicBezTo>
                  <a:pt x="8290" y="5891"/>
                  <a:pt x="6223" y="7776"/>
                  <a:pt x="5930" y="10207"/>
                </a:cubicBezTo>
                <a:lnTo>
                  <a:pt x="2909" y="4975"/>
                </a:lnTo>
                <a:cubicBezTo>
                  <a:pt x="4697" y="2557"/>
                  <a:pt x="7561" y="982"/>
                  <a:pt x="10800" y="982"/>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1" name="Shape 2701"/>
          <p:cNvSpPr/>
          <p:nvPr/>
        </p:nvSpPr>
        <p:spPr>
          <a:xfrm>
            <a:off x="6307571" y="1922173"/>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6724" y="15100"/>
                </a:moveTo>
                <a:lnTo>
                  <a:pt x="17582" y="15100"/>
                </a:lnTo>
                <a:lnTo>
                  <a:pt x="17582" y="8844"/>
                </a:lnTo>
                <a:lnTo>
                  <a:pt x="16724" y="8844"/>
                </a:lnTo>
                <a:cubicBezTo>
                  <a:pt x="16724" y="8844"/>
                  <a:pt x="16724" y="15100"/>
                  <a:pt x="16724" y="15100"/>
                </a:cubicBezTo>
                <a:close/>
                <a:moveTo>
                  <a:pt x="13336" y="15100"/>
                </a:moveTo>
                <a:lnTo>
                  <a:pt x="14199" y="15100"/>
                </a:lnTo>
                <a:lnTo>
                  <a:pt x="14199" y="11633"/>
                </a:lnTo>
                <a:lnTo>
                  <a:pt x="15565" y="11633"/>
                </a:lnTo>
                <a:lnTo>
                  <a:pt x="15565" y="10047"/>
                </a:lnTo>
                <a:lnTo>
                  <a:pt x="14199" y="10047"/>
                </a:lnTo>
                <a:lnTo>
                  <a:pt x="14199" y="8077"/>
                </a:lnTo>
                <a:lnTo>
                  <a:pt x="15661" y="8077"/>
                </a:lnTo>
                <a:lnTo>
                  <a:pt x="15661" y="6478"/>
                </a:lnTo>
                <a:lnTo>
                  <a:pt x="13336" y="6478"/>
                </a:lnTo>
                <a:cubicBezTo>
                  <a:pt x="13336" y="6478"/>
                  <a:pt x="13336" y="15100"/>
                  <a:pt x="13336" y="15100"/>
                </a:cubicBezTo>
                <a:close/>
                <a:moveTo>
                  <a:pt x="20618" y="12960"/>
                </a:moveTo>
                <a:cubicBezTo>
                  <a:pt x="20618" y="16538"/>
                  <a:pt x="19299" y="19440"/>
                  <a:pt x="17673" y="19440"/>
                </a:cubicBezTo>
                <a:lnTo>
                  <a:pt x="7855" y="19440"/>
                </a:lnTo>
                <a:cubicBezTo>
                  <a:pt x="9481" y="19440"/>
                  <a:pt x="10800" y="16538"/>
                  <a:pt x="10800" y="12960"/>
                </a:cubicBezTo>
                <a:lnTo>
                  <a:pt x="10800" y="8640"/>
                </a:lnTo>
                <a:cubicBezTo>
                  <a:pt x="10800" y="5062"/>
                  <a:pt x="12119" y="2160"/>
                  <a:pt x="13745" y="2160"/>
                </a:cubicBezTo>
                <a:lnTo>
                  <a:pt x="17673" y="2160"/>
                </a:lnTo>
                <a:cubicBezTo>
                  <a:pt x="19299" y="2160"/>
                  <a:pt x="20618" y="5062"/>
                  <a:pt x="20618" y="8640"/>
                </a:cubicBezTo>
                <a:cubicBezTo>
                  <a:pt x="20618" y="8640"/>
                  <a:pt x="20618" y="12960"/>
                  <a:pt x="20618" y="12960"/>
                </a:cubicBezTo>
                <a:close/>
                <a:moveTo>
                  <a:pt x="6607" y="15121"/>
                </a:moveTo>
                <a:lnTo>
                  <a:pt x="5673" y="15121"/>
                </a:lnTo>
                <a:lnTo>
                  <a:pt x="5350" y="11399"/>
                </a:lnTo>
                <a:cubicBezTo>
                  <a:pt x="5276" y="10527"/>
                  <a:pt x="5214" y="9718"/>
                  <a:pt x="5169" y="8730"/>
                </a:cubicBezTo>
                <a:lnTo>
                  <a:pt x="5157" y="8730"/>
                </a:lnTo>
                <a:cubicBezTo>
                  <a:pt x="5090" y="9705"/>
                  <a:pt x="5028" y="10527"/>
                  <a:pt x="4937" y="11399"/>
                </a:cubicBezTo>
                <a:lnTo>
                  <a:pt x="4574" y="15121"/>
                </a:lnTo>
                <a:lnTo>
                  <a:pt x="3629" y="15121"/>
                </a:lnTo>
                <a:lnTo>
                  <a:pt x="2723" y="6471"/>
                </a:lnTo>
                <a:lnTo>
                  <a:pt x="3646" y="6471"/>
                </a:lnTo>
                <a:lnTo>
                  <a:pt x="3935" y="10039"/>
                </a:lnTo>
                <a:cubicBezTo>
                  <a:pt x="4020" y="11066"/>
                  <a:pt x="4099" y="12182"/>
                  <a:pt x="4161" y="13055"/>
                </a:cubicBezTo>
                <a:lnTo>
                  <a:pt x="4172" y="13055"/>
                </a:lnTo>
                <a:cubicBezTo>
                  <a:pt x="4235" y="12118"/>
                  <a:pt x="4325" y="11078"/>
                  <a:pt x="4422" y="10013"/>
                </a:cubicBezTo>
                <a:lnTo>
                  <a:pt x="4744" y="6471"/>
                </a:lnTo>
                <a:lnTo>
                  <a:pt x="5662" y="6471"/>
                </a:lnTo>
                <a:lnTo>
                  <a:pt x="5967" y="10117"/>
                </a:lnTo>
                <a:cubicBezTo>
                  <a:pt x="6052" y="11130"/>
                  <a:pt x="6114" y="12054"/>
                  <a:pt x="6171" y="13017"/>
                </a:cubicBezTo>
                <a:lnTo>
                  <a:pt x="6182" y="13017"/>
                </a:lnTo>
                <a:cubicBezTo>
                  <a:pt x="6239" y="12054"/>
                  <a:pt x="6324" y="11040"/>
                  <a:pt x="6403" y="10013"/>
                </a:cubicBezTo>
                <a:lnTo>
                  <a:pt x="6715" y="6471"/>
                </a:lnTo>
                <a:lnTo>
                  <a:pt x="7592" y="6471"/>
                </a:lnTo>
                <a:cubicBezTo>
                  <a:pt x="7592" y="6471"/>
                  <a:pt x="6607" y="15121"/>
                  <a:pt x="6607" y="15121"/>
                </a:cubicBezTo>
                <a:close/>
                <a:moveTo>
                  <a:pt x="8940" y="15121"/>
                </a:moveTo>
                <a:lnTo>
                  <a:pt x="8080" y="15121"/>
                </a:lnTo>
                <a:lnTo>
                  <a:pt x="8080" y="8845"/>
                </a:lnTo>
                <a:lnTo>
                  <a:pt x="8940" y="8845"/>
                </a:lnTo>
                <a:cubicBezTo>
                  <a:pt x="8940" y="8845"/>
                  <a:pt x="8940" y="15121"/>
                  <a:pt x="8940" y="15121"/>
                </a:cubicBezTo>
                <a:close/>
                <a:moveTo>
                  <a:pt x="8510" y="6111"/>
                </a:moveTo>
                <a:cubicBezTo>
                  <a:pt x="8788" y="6111"/>
                  <a:pt x="8963" y="6535"/>
                  <a:pt x="8969" y="7100"/>
                </a:cubicBezTo>
                <a:cubicBezTo>
                  <a:pt x="8969" y="7638"/>
                  <a:pt x="8788" y="8076"/>
                  <a:pt x="8505" y="8076"/>
                </a:cubicBezTo>
                <a:cubicBezTo>
                  <a:pt x="8233" y="8076"/>
                  <a:pt x="8052" y="7638"/>
                  <a:pt x="8058" y="7100"/>
                </a:cubicBezTo>
                <a:cubicBezTo>
                  <a:pt x="8052" y="6535"/>
                  <a:pt x="8233" y="6111"/>
                  <a:pt x="8510" y="6111"/>
                </a:cubicBezTo>
                <a:moveTo>
                  <a:pt x="17673" y="0"/>
                </a:moveTo>
                <a:lnTo>
                  <a:pt x="3927" y="0"/>
                </a:lnTo>
                <a:cubicBezTo>
                  <a:pt x="1758" y="0"/>
                  <a:pt x="0" y="3869"/>
                  <a:pt x="0" y="8640"/>
                </a:cubicBezTo>
                <a:lnTo>
                  <a:pt x="0" y="12960"/>
                </a:lnTo>
                <a:cubicBezTo>
                  <a:pt x="0" y="17731"/>
                  <a:pt x="1758" y="21600"/>
                  <a:pt x="3927" y="21600"/>
                </a:cubicBezTo>
                <a:lnTo>
                  <a:pt x="17673" y="21600"/>
                </a:lnTo>
                <a:cubicBezTo>
                  <a:pt x="19842" y="21600"/>
                  <a:pt x="21600" y="17731"/>
                  <a:pt x="21600" y="12960"/>
                </a:cubicBezTo>
                <a:lnTo>
                  <a:pt x="21600" y="8640"/>
                </a:lnTo>
                <a:cubicBezTo>
                  <a:pt x="21600" y="3869"/>
                  <a:pt x="19842" y="0"/>
                  <a:pt x="17673" y="0"/>
                </a:cubicBezTo>
                <a:moveTo>
                  <a:pt x="17153" y="6119"/>
                </a:moveTo>
                <a:cubicBezTo>
                  <a:pt x="16876" y="6119"/>
                  <a:pt x="16696" y="6543"/>
                  <a:pt x="16701" y="7104"/>
                </a:cubicBezTo>
                <a:cubicBezTo>
                  <a:pt x="16696" y="7642"/>
                  <a:pt x="16876" y="8077"/>
                  <a:pt x="17147" y="8077"/>
                </a:cubicBezTo>
                <a:cubicBezTo>
                  <a:pt x="17429" y="8077"/>
                  <a:pt x="17610" y="7642"/>
                  <a:pt x="17610" y="7104"/>
                </a:cubicBezTo>
                <a:cubicBezTo>
                  <a:pt x="17604" y="6543"/>
                  <a:pt x="17429" y="6119"/>
                  <a:pt x="17153" y="611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2" name="Shape 2702"/>
          <p:cNvSpPr/>
          <p:nvPr/>
        </p:nvSpPr>
        <p:spPr>
          <a:xfrm>
            <a:off x="6707517" y="1879321"/>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0800" y="20520"/>
                </a:moveTo>
                <a:cubicBezTo>
                  <a:pt x="7396" y="20520"/>
                  <a:pt x="4399" y="18805"/>
                  <a:pt x="2638" y="16200"/>
                </a:cubicBezTo>
                <a:lnTo>
                  <a:pt x="9966" y="16200"/>
                </a:lnTo>
                <a:cubicBezTo>
                  <a:pt x="10478" y="17309"/>
                  <a:pt x="12251" y="18900"/>
                  <a:pt x="13500" y="18900"/>
                </a:cubicBezTo>
                <a:cubicBezTo>
                  <a:pt x="14973" y="18900"/>
                  <a:pt x="16200" y="17820"/>
                  <a:pt x="16200" y="15660"/>
                </a:cubicBezTo>
                <a:cubicBezTo>
                  <a:pt x="16200" y="13500"/>
                  <a:pt x="14973" y="12420"/>
                  <a:pt x="13500" y="12420"/>
                </a:cubicBezTo>
                <a:cubicBezTo>
                  <a:pt x="12241" y="12420"/>
                  <a:pt x="10447" y="13973"/>
                  <a:pt x="9953" y="15120"/>
                </a:cubicBezTo>
                <a:lnTo>
                  <a:pt x="2014" y="15120"/>
                </a:lnTo>
                <a:cubicBezTo>
                  <a:pt x="1359" y="13817"/>
                  <a:pt x="982" y="12354"/>
                  <a:pt x="982" y="10800"/>
                </a:cubicBezTo>
                <a:cubicBezTo>
                  <a:pt x="982" y="9246"/>
                  <a:pt x="1359" y="7783"/>
                  <a:pt x="2014" y="6480"/>
                </a:cubicBezTo>
                <a:lnTo>
                  <a:pt x="9966" y="6480"/>
                </a:lnTo>
                <a:cubicBezTo>
                  <a:pt x="10478" y="7589"/>
                  <a:pt x="12252" y="9180"/>
                  <a:pt x="13500" y="9180"/>
                </a:cubicBezTo>
                <a:cubicBezTo>
                  <a:pt x="14973" y="9180"/>
                  <a:pt x="16200" y="8100"/>
                  <a:pt x="16200" y="5940"/>
                </a:cubicBezTo>
                <a:cubicBezTo>
                  <a:pt x="16200" y="3780"/>
                  <a:pt x="14973" y="2700"/>
                  <a:pt x="13500" y="2700"/>
                </a:cubicBezTo>
                <a:cubicBezTo>
                  <a:pt x="12241" y="2700"/>
                  <a:pt x="10447" y="4253"/>
                  <a:pt x="9953" y="5400"/>
                </a:cubicBezTo>
                <a:lnTo>
                  <a:pt x="2638" y="5400"/>
                </a:lnTo>
                <a:cubicBezTo>
                  <a:pt x="4399" y="2796"/>
                  <a:pt x="7396" y="1080"/>
                  <a:pt x="10800" y="1080"/>
                </a:cubicBezTo>
                <a:cubicBezTo>
                  <a:pt x="16038" y="1080"/>
                  <a:pt x="20306" y="5145"/>
                  <a:pt x="20590" y="10260"/>
                </a:cubicBezTo>
                <a:lnTo>
                  <a:pt x="10652" y="10260"/>
                </a:lnTo>
                <a:cubicBezTo>
                  <a:pt x="10140" y="9151"/>
                  <a:pt x="8367" y="7560"/>
                  <a:pt x="7118" y="7560"/>
                </a:cubicBezTo>
                <a:cubicBezTo>
                  <a:pt x="5645" y="7560"/>
                  <a:pt x="4418" y="8640"/>
                  <a:pt x="4418" y="10800"/>
                </a:cubicBezTo>
                <a:cubicBezTo>
                  <a:pt x="4418" y="12960"/>
                  <a:pt x="5645" y="14040"/>
                  <a:pt x="7118" y="14040"/>
                </a:cubicBezTo>
                <a:cubicBezTo>
                  <a:pt x="8377" y="14040"/>
                  <a:pt x="10171" y="12488"/>
                  <a:pt x="10665" y="11340"/>
                </a:cubicBezTo>
                <a:lnTo>
                  <a:pt x="20590" y="11340"/>
                </a:lnTo>
                <a:cubicBezTo>
                  <a:pt x="20306" y="16456"/>
                  <a:pt x="16038" y="20520"/>
                  <a:pt x="10800" y="20520"/>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3" name="Shape 2703"/>
          <p:cNvSpPr/>
          <p:nvPr/>
        </p:nvSpPr>
        <p:spPr>
          <a:xfrm>
            <a:off x="7116986" y="1869798"/>
            <a:ext cx="190451" cy="209712"/>
          </a:xfrm>
          <a:custGeom>
            <a:avLst/>
            <a:gdLst/>
            <a:ahLst/>
            <a:cxnLst>
              <a:cxn ang="0">
                <a:pos x="wd2" y="hd2"/>
              </a:cxn>
              <a:cxn ang="5400000">
                <a:pos x="wd2" y="hd2"/>
              </a:cxn>
              <a:cxn ang="10800000">
                <a:pos x="wd2" y="hd2"/>
              </a:cxn>
              <a:cxn ang="16200000">
                <a:pos x="wd2" y="hd2"/>
              </a:cxn>
            </a:cxnLst>
            <a:rect l="0" t="0" r="r" b="b"/>
            <a:pathLst>
              <a:path w="21600" h="21600" extrusionOk="0">
                <a:moveTo>
                  <a:pt x="15660" y="8839"/>
                </a:moveTo>
                <a:cubicBezTo>
                  <a:pt x="15958" y="8839"/>
                  <a:pt x="16200" y="8619"/>
                  <a:pt x="16200" y="8348"/>
                </a:cubicBezTo>
                <a:lnTo>
                  <a:pt x="16200" y="6386"/>
                </a:lnTo>
                <a:cubicBezTo>
                  <a:pt x="16200" y="6115"/>
                  <a:pt x="15958" y="5896"/>
                  <a:pt x="15660" y="5896"/>
                </a:cubicBezTo>
                <a:cubicBezTo>
                  <a:pt x="15362" y="5896"/>
                  <a:pt x="15120" y="6115"/>
                  <a:pt x="15120" y="6386"/>
                </a:cubicBezTo>
                <a:lnTo>
                  <a:pt x="15120" y="8348"/>
                </a:lnTo>
                <a:cubicBezTo>
                  <a:pt x="15120" y="8619"/>
                  <a:pt x="15362" y="8839"/>
                  <a:pt x="15660" y="8839"/>
                </a:cubicBezTo>
                <a:moveTo>
                  <a:pt x="20520" y="17666"/>
                </a:moveTo>
                <a:lnTo>
                  <a:pt x="13048" y="17666"/>
                </a:lnTo>
                <a:cubicBezTo>
                  <a:pt x="12910" y="16942"/>
                  <a:pt x="12848" y="16231"/>
                  <a:pt x="12830" y="15570"/>
                </a:cubicBezTo>
                <a:cubicBezTo>
                  <a:pt x="16149" y="15233"/>
                  <a:pt x="18453" y="14207"/>
                  <a:pt x="18568" y="14155"/>
                </a:cubicBezTo>
                <a:lnTo>
                  <a:pt x="18085" y="13278"/>
                </a:lnTo>
                <a:cubicBezTo>
                  <a:pt x="18059" y="13289"/>
                  <a:pt x="15906" y="14245"/>
                  <a:pt x="12837" y="14581"/>
                </a:cubicBezTo>
                <a:cubicBezTo>
                  <a:pt x="12896" y="13028"/>
                  <a:pt x="13167" y="11927"/>
                  <a:pt x="13173" y="11902"/>
                </a:cubicBezTo>
                <a:lnTo>
                  <a:pt x="13325" y="11301"/>
                </a:lnTo>
                <a:lnTo>
                  <a:pt x="9308" y="11301"/>
                </a:lnTo>
                <a:cubicBezTo>
                  <a:pt x="9741" y="8291"/>
                  <a:pt x="10857" y="5772"/>
                  <a:pt x="11921" y="3934"/>
                </a:cubicBezTo>
                <a:lnTo>
                  <a:pt x="20520" y="3934"/>
                </a:lnTo>
                <a:cubicBezTo>
                  <a:pt x="20520" y="3934"/>
                  <a:pt x="20520" y="17666"/>
                  <a:pt x="20520" y="17666"/>
                </a:cubicBezTo>
                <a:close/>
                <a:moveTo>
                  <a:pt x="10766" y="15678"/>
                </a:moveTo>
                <a:cubicBezTo>
                  <a:pt x="11096" y="15678"/>
                  <a:pt x="11418" y="15668"/>
                  <a:pt x="11734" y="15653"/>
                </a:cubicBezTo>
                <a:cubicBezTo>
                  <a:pt x="11753" y="16291"/>
                  <a:pt x="11808" y="16967"/>
                  <a:pt x="11933" y="17666"/>
                </a:cubicBezTo>
                <a:lnTo>
                  <a:pt x="1080" y="17666"/>
                </a:lnTo>
                <a:lnTo>
                  <a:pt x="1080" y="3934"/>
                </a:lnTo>
                <a:lnTo>
                  <a:pt x="10689" y="3934"/>
                </a:lnTo>
                <a:cubicBezTo>
                  <a:pt x="9598" y="5921"/>
                  <a:pt x="8520" y="8577"/>
                  <a:pt x="8164" y="11742"/>
                </a:cubicBezTo>
                <a:lnTo>
                  <a:pt x="8103" y="12282"/>
                </a:lnTo>
                <a:lnTo>
                  <a:pt x="11993" y="12282"/>
                </a:lnTo>
                <a:cubicBezTo>
                  <a:pt x="11893" y="12823"/>
                  <a:pt x="11771" y="13665"/>
                  <a:pt x="11736" y="14669"/>
                </a:cubicBezTo>
                <a:cubicBezTo>
                  <a:pt x="11418" y="14686"/>
                  <a:pt x="11097" y="14697"/>
                  <a:pt x="10766" y="14697"/>
                </a:cubicBezTo>
                <a:cubicBezTo>
                  <a:pt x="6636" y="14697"/>
                  <a:pt x="3478" y="13292"/>
                  <a:pt x="3447" y="13278"/>
                </a:cubicBezTo>
                <a:lnTo>
                  <a:pt x="2965" y="14155"/>
                </a:lnTo>
                <a:cubicBezTo>
                  <a:pt x="3102" y="14218"/>
                  <a:pt x="6369" y="15678"/>
                  <a:pt x="10766" y="15678"/>
                </a:cubicBezTo>
                <a:moveTo>
                  <a:pt x="20520" y="2954"/>
                </a:moveTo>
                <a:lnTo>
                  <a:pt x="12519" y="2954"/>
                </a:lnTo>
                <a:cubicBezTo>
                  <a:pt x="13470" y="1490"/>
                  <a:pt x="14254" y="661"/>
                  <a:pt x="14273" y="641"/>
                </a:cubicBezTo>
                <a:lnTo>
                  <a:pt x="13456" y="0"/>
                </a:lnTo>
                <a:cubicBezTo>
                  <a:pt x="13366" y="95"/>
                  <a:pt x="12371" y="1151"/>
                  <a:pt x="11260" y="2954"/>
                </a:cubicBezTo>
                <a:lnTo>
                  <a:pt x="1080" y="2954"/>
                </a:lnTo>
                <a:cubicBezTo>
                  <a:pt x="483" y="2954"/>
                  <a:pt x="0" y="3393"/>
                  <a:pt x="0" y="3934"/>
                </a:cubicBezTo>
                <a:lnTo>
                  <a:pt x="0" y="17666"/>
                </a:lnTo>
                <a:cubicBezTo>
                  <a:pt x="0" y="18207"/>
                  <a:pt x="483" y="18646"/>
                  <a:pt x="1080" y="18646"/>
                </a:cubicBezTo>
                <a:lnTo>
                  <a:pt x="12155" y="18646"/>
                </a:lnTo>
                <a:cubicBezTo>
                  <a:pt x="12423" y="19645"/>
                  <a:pt x="12834" y="20653"/>
                  <a:pt x="13465" y="21600"/>
                </a:cubicBezTo>
                <a:lnTo>
                  <a:pt x="14389" y="21092"/>
                </a:lnTo>
                <a:cubicBezTo>
                  <a:pt x="13874" y="20318"/>
                  <a:pt x="13522" y="19485"/>
                  <a:pt x="13281" y="18646"/>
                </a:cubicBezTo>
                <a:lnTo>
                  <a:pt x="20520" y="18646"/>
                </a:lnTo>
                <a:cubicBezTo>
                  <a:pt x="21116" y="18646"/>
                  <a:pt x="21600" y="18207"/>
                  <a:pt x="21600" y="17666"/>
                </a:cubicBezTo>
                <a:lnTo>
                  <a:pt x="21600" y="3934"/>
                </a:lnTo>
                <a:cubicBezTo>
                  <a:pt x="21600" y="3393"/>
                  <a:pt x="21116" y="2954"/>
                  <a:pt x="20520" y="2954"/>
                </a:cubicBezTo>
                <a:moveTo>
                  <a:pt x="5940" y="8839"/>
                </a:moveTo>
                <a:cubicBezTo>
                  <a:pt x="6238" y="8839"/>
                  <a:pt x="6480" y="8619"/>
                  <a:pt x="6480" y="8348"/>
                </a:cubicBezTo>
                <a:lnTo>
                  <a:pt x="6480" y="6386"/>
                </a:lnTo>
                <a:cubicBezTo>
                  <a:pt x="6480" y="6115"/>
                  <a:pt x="6238" y="5896"/>
                  <a:pt x="5940" y="5896"/>
                </a:cubicBezTo>
                <a:cubicBezTo>
                  <a:pt x="5642" y="5896"/>
                  <a:pt x="5400" y="6115"/>
                  <a:pt x="5400" y="6386"/>
                </a:cubicBezTo>
                <a:lnTo>
                  <a:pt x="5400" y="8348"/>
                </a:lnTo>
                <a:cubicBezTo>
                  <a:pt x="5400" y="8619"/>
                  <a:pt x="5642" y="8839"/>
                  <a:pt x="5940" y="88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4" name="Shape 2704"/>
          <p:cNvSpPr/>
          <p:nvPr/>
        </p:nvSpPr>
        <p:spPr>
          <a:xfrm>
            <a:off x="7507409" y="1869799"/>
            <a:ext cx="209495" cy="209491"/>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8"/>
                  <a:pt x="5378" y="982"/>
                  <a:pt x="10800" y="982"/>
                </a:cubicBezTo>
                <a:cubicBezTo>
                  <a:pt x="16223" y="982"/>
                  <a:pt x="20618" y="5378"/>
                  <a:pt x="20618" y="10800"/>
                </a:cubicBezTo>
                <a:cubicBezTo>
                  <a:pt x="20618" y="16222"/>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moveTo>
                  <a:pt x="15628" y="4904"/>
                </a:moveTo>
                <a:lnTo>
                  <a:pt x="14334" y="4904"/>
                </a:lnTo>
                <a:lnTo>
                  <a:pt x="10776" y="9842"/>
                </a:lnTo>
                <a:lnTo>
                  <a:pt x="7337" y="4904"/>
                </a:lnTo>
                <a:lnTo>
                  <a:pt x="5975" y="4904"/>
                </a:lnTo>
                <a:lnTo>
                  <a:pt x="10094" y="10618"/>
                </a:lnTo>
                <a:lnTo>
                  <a:pt x="5736" y="16696"/>
                </a:lnTo>
                <a:lnTo>
                  <a:pt x="7030" y="16696"/>
                </a:lnTo>
                <a:lnTo>
                  <a:pt x="10776" y="11493"/>
                </a:lnTo>
                <a:lnTo>
                  <a:pt x="14470" y="16696"/>
                </a:lnTo>
                <a:lnTo>
                  <a:pt x="15866" y="16696"/>
                </a:lnTo>
                <a:lnTo>
                  <a:pt x="11474" y="10651"/>
                </a:lnTo>
                <a:cubicBezTo>
                  <a:pt x="11474" y="10651"/>
                  <a:pt x="15628" y="4904"/>
                  <a:pt x="15628" y="490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5" name="Shape 2705"/>
          <p:cNvSpPr/>
          <p:nvPr/>
        </p:nvSpPr>
        <p:spPr>
          <a:xfrm>
            <a:off x="7907354" y="1869798"/>
            <a:ext cx="209445" cy="209649"/>
          </a:xfrm>
          <a:custGeom>
            <a:avLst/>
            <a:gdLst/>
            <a:ahLst/>
            <a:cxnLst>
              <a:cxn ang="0">
                <a:pos x="wd2" y="hd2"/>
              </a:cxn>
              <a:cxn ang="5400000">
                <a:pos x="wd2" y="hd2"/>
              </a:cxn>
              <a:cxn ang="10800000">
                <a:pos x="wd2" y="hd2"/>
              </a:cxn>
              <a:cxn ang="16200000">
                <a:pos x="wd2" y="hd2"/>
              </a:cxn>
            </a:cxnLst>
            <a:rect l="0" t="0" r="r" b="b"/>
            <a:pathLst>
              <a:path w="21600" h="21600" extrusionOk="0">
                <a:moveTo>
                  <a:pt x="982" y="3820"/>
                </a:moveTo>
                <a:lnTo>
                  <a:pt x="7853" y="2877"/>
                </a:lnTo>
                <a:lnTo>
                  <a:pt x="7853" y="8838"/>
                </a:lnTo>
                <a:lnTo>
                  <a:pt x="982" y="8838"/>
                </a:lnTo>
                <a:cubicBezTo>
                  <a:pt x="982" y="8838"/>
                  <a:pt x="982" y="3820"/>
                  <a:pt x="982" y="3820"/>
                </a:cubicBezTo>
                <a:close/>
                <a:moveTo>
                  <a:pt x="0" y="9819"/>
                </a:moveTo>
                <a:lnTo>
                  <a:pt x="8835" y="9819"/>
                </a:lnTo>
                <a:lnTo>
                  <a:pt x="8835" y="1752"/>
                </a:lnTo>
                <a:lnTo>
                  <a:pt x="0" y="2964"/>
                </a:lnTo>
                <a:cubicBezTo>
                  <a:pt x="0" y="2964"/>
                  <a:pt x="0" y="9819"/>
                  <a:pt x="0" y="9819"/>
                </a:cubicBezTo>
                <a:close/>
                <a:moveTo>
                  <a:pt x="20618" y="8838"/>
                </a:moveTo>
                <a:lnTo>
                  <a:pt x="11771" y="8838"/>
                </a:lnTo>
                <a:lnTo>
                  <a:pt x="11771" y="2339"/>
                </a:lnTo>
                <a:lnTo>
                  <a:pt x="20618" y="1125"/>
                </a:lnTo>
                <a:cubicBezTo>
                  <a:pt x="20618" y="1125"/>
                  <a:pt x="20618" y="8838"/>
                  <a:pt x="20618" y="8838"/>
                </a:cubicBezTo>
                <a:close/>
                <a:moveTo>
                  <a:pt x="10789" y="1484"/>
                </a:moveTo>
                <a:lnTo>
                  <a:pt x="10789" y="9819"/>
                </a:lnTo>
                <a:lnTo>
                  <a:pt x="21600" y="9819"/>
                </a:lnTo>
                <a:lnTo>
                  <a:pt x="21600" y="0"/>
                </a:lnTo>
                <a:cubicBezTo>
                  <a:pt x="21600" y="0"/>
                  <a:pt x="10789" y="1484"/>
                  <a:pt x="10789" y="1484"/>
                </a:cubicBezTo>
                <a:close/>
                <a:moveTo>
                  <a:pt x="982" y="12763"/>
                </a:moveTo>
                <a:lnTo>
                  <a:pt x="7853" y="12763"/>
                </a:lnTo>
                <a:lnTo>
                  <a:pt x="7853" y="18722"/>
                </a:lnTo>
                <a:lnTo>
                  <a:pt x="982" y="17780"/>
                </a:lnTo>
                <a:cubicBezTo>
                  <a:pt x="982" y="17780"/>
                  <a:pt x="982" y="12763"/>
                  <a:pt x="982" y="12763"/>
                </a:cubicBezTo>
                <a:close/>
                <a:moveTo>
                  <a:pt x="0" y="18635"/>
                </a:moveTo>
                <a:lnTo>
                  <a:pt x="8835" y="19848"/>
                </a:lnTo>
                <a:lnTo>
                  <a:pt x="8835" y="11782"/>
                </a:lnTo>
                <a:lnTo>
                  <a:pt x="0" y="11782"/>
                </a:lnTo>
                <a:cubicBezTo>
                  <a:pt x="0" y="11782"/>
                  <a:pt x="0" y="18635"/>
                  <a:pt x="0" y="18635"/>
                </a:cubicBezTo>
                <a:close/>
                <a:moveTo>
                  <a:pt x="11771" y="12763"/>
                </a:moveTo>
                <a:lnTo>
                  <a:pt x="20618" y="12763"/>
                </a:lnTo>
                <a:lnTo>
                  <a:pt x="20618" y="20475"/>
                </a:lnTo>
                <a:lnTo>
                  <a:pt x="11771" y="19261"/>
                </a:lnTo>
                <a:cubicBezTo>
                  <a:pt x="11771" y="19261"/>
                  <a:pt x="11771" y="12763"/>
                  <a:pt x="11771" y="12763"/>
                </a:cubicBezTo>
                <a:close/>
                <a:moveTo>
                  <a:pt x="10789" y="20116"/>
                </a:moveTo>
                <a:lnTo>
                  <a:pt x="21600" y="21600"/>
                </a:lnTo>
                <a:lnTo>
                  <a:pt x="21600" y="11782"/>
                </a:lnTo>
                <a:lnTo>
                  <a:pt x="10789" y="11782"/>
                </a:lnTo>
                <a:cubicBezTo>
                  <a:pt x="10789" y="11782"/>
                  <a:pt x="10789" y="20116"/>
                  <a:pt x="10789" y="201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6" name="Shape 2706"/>
          <p:cNvSpPr/>
          <p:nvPr/>
        </p:nvSpPr>
        <p:spPr>
          <a:xfrm>
            <a:off x="8335868" y="1869799"/>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13745"/>
                </a:moveTo>
                <a:cubicBezTo>
                  <a:pt x="20250" y="14016"/>
                  <a:pt x="19948" y="14236"/>
                  <a:pt x="19575" y="14236"/>
                </a:cubicBezTo>
                <a:cubicBezTo>
                  <a:pt x="19202" y="14236"/>
                  <a:pt x="18900" y="14016"/>
                  <a:pt x="18900" y="13745"/>
                </a:cubicBezTo>
                <a:lnTo>
                  <a:pt x="18900" y="6873"/>
                </a:lnTo>
                <a:cubicBezTo>
                  <a:pt x="18900" y="6602"/>
                  <a:pt x="19202" y="6382"/>
                  <a:pt x="19575" y="6382"/>
                </a:cubicBezTo>
                <a:cubicBezTo>
                  <a:pt x="19948" y="6382"/>
                  <a:pt x="20250" y="6602"/>
                  <a:pt x="20250" y="6873"/>
                </a:cubicBezTo>
                <a:cubicBezTo>
                  <a:pt x="20250" y="6873"/>
                  <a:pt x="20250" y="13745"/>
                  <a:pt x="20250" y="13745"/>
                </a:cubicBezTo>
                <a:close/>
                <a:moveTo>
                  <a:pt x="17550" y="16691"/>
                </a:moveTo>
                <a:lnTo>
                  <a:pt x="4050" y="16691"/>
                </a:lnTo>
                <a:lnTo>
                  <a:pt x="4050" y="6382"/>
                </a:lnTo>
                <a:lnTo>
                  <a:pt x="17550" y="6382"/>
                </a:lnTo>
                <a:cubicBezTo>
                  <a:pt x="17550" y="6382"/>
                  <a:pt x="17550" y="16691"/>
                  <a:pt x="17550" y="16691"/>
                </a:cubicBezTo>
                <a:close/>
                <a:moveTo>
                  <a:pt x="14850" y="20127"/>
                </a:moveTo>
                <a:cubicBezTo>
                  <a:pt x="14850" y="20399"/>
                  <a:pt x="14548" y="20618"/>
                  <a:pt x="14175" y="20618"/>
                </a:cubicBezTo>
                <a:cubicBezTo>
                  <a:pt x="13802" y="20618"/>
                  <a:pt x="13500" y="20399"/>
                  <a:pt x="13500" y="20127"/>
                </a:cubicBezTo>
                <a:lnTo>
                  <a:pt x="13500" y="17673"/>
                </a:lnTo>
                <a:lnTo>
                  <a:pt x="14850" y="17673"/>
                </a:lnTo>
                <a:cubicBezTo>
                  <a:pt x="14850" y="17673"/>
                  <a:pt x="14850" y="20127"/>
                  <a:pt x="14850" y="20127"/>
                </a:cubicBezTo>
                <a:close/>
                <a:moveTo>
                  <a:pt x="8100" y="20127"/>
                </a:moveTo>
                <a:cubicBezTo>
                  <a:pt x="8100" y="20399"/>
                  <a:pt x="7798" y="20618"/>
                  <a:pt x="7425" y="20618"/>
                </a:cubicBezTo>
                <a:cubicBezTo>
                  <a:pt x="7052" y="20618"/>
                  <a:pt x="6750" y="20399"/>
                  <a:pt x="6750" y="20127"/>
                </a:cubicBezTo>
                <a:lnTo>
                  <a:pt x="6750" y="17673"/>
                </a:lnTo>
                <a:lnTo>
                  <a:pt x="8100" y="17673"/>
                </a:lnTo>
                <a:cubicBezTo>
                  <a:pt x="8100" y="17673"/>
                  <a:pt x="8100" y="20127"/>
                  <a:pt x="8100" y="20127"/>
                </a:cubicBezTo>
                <a:close/>
                <a:moveTo>
                  <a:pt x="10800" y="1964"/>
                </a:moveTo>
                <a:cubicBezTo>
                  <a:pt x="14242" y="1964"/>
                  <a:pt x="17075" y="3464"/>
                  <a:pt x="17492" y="5400"/>
                </a:cubicBezTo>
                <a:lnTo>
                  <a:pt x="4108" y="5400"/>
                </a:lnTo>
                <a:cubicBezTo>
                  <a:pt x="4525" y="3464"/>
                  <a:pt x="7358" y="1964"/>
                  <a:pt x="10800" y="1964"/>
                </a:cubicBezTo>
                <a:moveTo>
                  <a:pt x="2700" y="13745"/>
                </a:moveTo>
                <a:cubicBezTo>
                  <a:pt x="2700" y="14016"/>
                  <a:pt x="2398" y="14236"/>
                  <a:pt x="2025" y="14236"/>
                </a:cubicBezTo>
                <a:cubicBezTo>
                  <a:pt x="1652" y="14236"/>
                  <a:pt x="1350" y="14016"/>
                  <a:pt x="1350" y="13745"/>
                </a:cubicBezTo>
                <a:lnTo>
                  <a:pt x="1350" y="6873"/>
                </a:lnTo>
                <a:cubicBezTo>
                  <a:pt x="1350" y="6602"/>
                  <a:pt x="1652" y="6382"/>
                  <a:pt x="2025" y="6382"/>
                </a:cubicBezTo>
                <a:cubicBezTo>
                  <a:pt x="2398" y="6382"/>
                  <a:pt x="2700" y="6602"/>
                  <a:pt x="2700" y="6873"/>
                </a:cubicBezTo>
                <a:cubicBezTo>
                  <a:pt x="2700" y="6873"/>
                  <a:pt x="2700" y="13745"/>
                  <a:pt x="2700" y="13745"/>
                </a:cubicBezTo>
                <a:close/>
                <a:moveTo>
                  <a:pt x="19575" y="5400"/>
                </a:moveTo>
                <a:cubicBezTo>
                  <a:pt x="19336" y="5400"/>
                  <a:pt x="19112" y="5435"/>
                  <a:pt x="18900" y="5491"/>
                </a:cubicBezTo>
                <a:lnTo>
                  <a:pt x="18900" y="5400"/>
                </a:lnTo>
                <a:lnTo>
                  <a:pt x="18847" y="5400"/>
                </a:lnTo>
                <a:cubicBezTo>
                  <a:pt x="18595" y="3873"/>
                  <a:pt x="17191" y="2553"/>
                  <a:pt x="15171" y="1763"/>
                </a:cubicBezTo>
                <a:lnTo>
                  <a:pt x="16087" y="763"/>
                </a:lnTo>
                <a:lnTo>
                  <a:pt x="16076" y="758"/>
                </a:lnTo>
                <a:cubicBezTo>
                  <a:pt x="16148" y="681"/>
                  <a:pt x="16200" y="592"/>
                  <a:pt x="16200" y="491"/>
                </a:cubicBezTo>
                <a:cubicBezTo>
                  <a:pt x="16200" y="220"/>
                  <a:pt x="15898" y="0"/>
                  <a:pt x="15525" y="0"/>
                </a:cubicBezTo>
                <a:cubicBezTo>
                  <a:pt x="15291" y="0"/>
                  <a:pt x="15095" y="93"/>
                  <a:pt x="14974" y="223"/>
                </a:cubicBezTo>
                <a:lnTo>
                  <a:pt x="14963" y="219"/>
                </a:lnTo>
                <a:lnTo>
                  <a:pt x="13915" y="1362"/>
                </a:lnTo>
                <a:cubicBezTo>
                  <a:pt x="12956" y="1119"/>
                  <a:pt x="11905" y="982"/>
                  <a:pt x="10800" y="982"/>
                </a:cubicBezTo>
                <a:cubicBezTo>
                  <a:pt x="9695" y="982"/>
                  <a:pt x="8644" y="1119"/>
                  <a:pt x="7685" y="1362"/>
                </a:cubicBezTo>
                <a:lnTo>
                  <a:pt x="6637" y="219"/>
                </a:lnTo>
                <a:lnTo>
                  <a:pt x="6626" y="223"/>
                </a:lnTo>
                <a:cubicBezTo>
                  <a:pt x="6505" y="93"/>
                  <a:pt x="6309" y="0"/>
                  <a:pt x="6075" y="0"/>
                </a:cubicBezTo>
                <a:cubicBezTo>
                  <a:pt x="5702" y="0"/>
                  <a:pt x="5400" y="220"/>
                  <a:pt x="5400" y="491"/>
                </a:cubicBezTo>
                <a:cubicBezTo>
                  <a:pt x="5400" y="592"/>
                  <a:pt x="5452" y="681"/>
                  <a:pt x="5524" y="758"/>
                </a:cubicBezTo>
                <a:lnTo>
                  <a:pt x="5513" y="763"/>
                </a:lnTo>
                <a:lnTo>
                  <a:pt x="6430" y="1763"/>
                </a:lnTo>
                <a:cubicBezTo>
                  <a:pt x="4409" y="2553"/>
                  <a:pt x="3005" y="3873"/>
                  <a:pt x="2753" y="5400"/>
                </a:cubicBezTo>
                <a:lnTo>
                  <a:pt x="2700" y="5400"/>
                </a:lnTo>
                <a:lnTo>
                  <a:pt x="2700" y="5491"/>
                </a:lnTo>
                <a:cubicBezTo>
                  <a:pt x="2488" y="5435"/>
                  <a:pt x="2263" y="5400"/>
                  <a:pt x="2025" y="5400"/>
                </a:cubicBezTo>
                <a:cubicBezTo>
                  <a:pt x="907" y="5400"/>
                  <a:pt x="0" y="6060"/>
                  <a:pt x="0" y="6873"/>
                </a:cubicBezTo>
                <a:lnTo>
                  <a:pt x="0" y="13745"/>
                </a:lnTo>
                <a:cubicBezTo>
                  <a:pt x="0" y="14559"/>
                  <a:pt x="907" y="15218"/>
                  <a:pt x="2025" y="15218"/>
                </a:cubicBezTo>
                <a:cubicBezTo>
                  <a:pt x="2263" y="15218"/>
                  <a:pt x="2488" y="15183"/>
                  <a:pt x="2700" y="15128"/>
                </a:cubicBezTo>
                <a:lnTo>
                  <a:pt x="2700" y="16691"/>
                </a:lnTo>
                <a:cubicBezTo>
                  <a:pt x="2700" y="17233"/>
                  <a:pt x="3305" y="17673"/>
                  <a:pt x="4050" y="17673"/>
                </a:cubicBezTo>
                <a:lnTo>
                  <a:pt x="5400" y="17673"/>
                </a:lnTo>
                <a:lnTo>
                  <a:pt x="5400" y="20127"/>
                </a:lnTo>
                <a:cubicBezTo>
                  <a:pt x="5400" y="20941"/>
                  <a:pt x="6307" y="21600"/>
                  <a:pt x="7425" y="21600"/>
                </a:cubicBezTo>
                <a:cubicBezTo>
                  <a:pt x="8543" y="21600"/>
                  <a:pt x="9450" y="20941"/>
                  <a:pt x="9450" y="20127"/>
                </a:cubicBezTo>
                <a:lnTo>
                  <a:pt x="9450" y="17673"/>
                </a:lnTo>
                <a:lnTo>
                  <a:pt x="12150" y="17673"/>
                </a:lnTo>
                <a:lnTo>
                  <a:pt x="12150" y="20127"/>
                </a:lnTo>
                <a:cubicBezTo>
                  <a:pt x="12150" y="20941"/>
                  <a:pt x="13056" y="21600"/>
                  <a:pt x="14175" y="21600"/>
                </a:cubicBezTo>
                <a:cubicBezTo>
                  <a:pt x="15294" y="21600"/>
                  <a:pt x="16200" y="20941"/>
                  <a:pt x="16200" y="20127"/>
                </a:cubicBezTo>
                <a:lnTo>
                  <a:pt x="16200" y="17673"/>
                </a:lnTo>
                <a:lnTo>
                  <a:pt x="17550" y="17673"/>
                </a:lnTo>
                <a:cubicBezTo>
                  <a:pt x="18295" y="17673"/>
                  <a:pt x="18900" y="17233"/>
                  <a:pt x="18900" y="16691"/>
                </a:cubicBezTo>
                <a:lnTo>
                  <a:pt x="18900" y="15128"/>
                </a:lnTo>
                <a:cubicBezTo>
                  <a:pt x="19112" y="15183"/>
                  <a:pt x="19336" y="15218"/>
                  <a:pt x="19575" y="15218"/>
                </a:cubicBezTo>
                <a:cubicBezTo>
                  <a:pt x="20694" y="15218"/>
                  <a:pt x="21600" y="14559"/>
                  <a:pt x="21600" y="13745"/>
                </a:cubicBezTo>
                <a:lnTo>
                  <a:pt x="21600" y="6873"/>
                </a:lnTo>
                <a:cubicBezTo>
                  <a:pt x="21600" y="6060"/>
                  <a:pt x="20694" y="5400"/>
                  <a:pt x="19575" y="5400"/>
                </a:cubicBezTo>
                <a:moveTo>
                  <a:pt x="12825" y="3436"/>
                </a:moveTo>
                <a:cubicBezTo>
                  <a:pt x="12452" y="3436"/>
                  <a:pt x="12150" y="3656"/>
                  <a:pt x="12150" y="3927"/>
                </a:cubicBezTo>
                <a:cubicBezTo>
                  <a:pt x="12150" y="4199"/>
                  <a:pt x="12452" y="4418"/>
                  <a:pt x="12825" y="4418"/>
                </a:cubicBezTo>
                <a:cubicBezTo>
                  <a:pt x="13198" y="4418"/>
                  <a:pt x="13500" y="4199"/>
                  <a:pt x="13500" y="3927"/>
                </a:cubicBezTo>
                <a:cubicBezTo>
                  <a:pt x="13500" y="3656"/>
                  <a:pt x="13198" y="3436"/>
                  <a:pt x="12825" y="3436"/>
                </a:cubicBezTo>
                <a:moveTo>
                  <a:pt x="8775" y="3436"/>
                </a:moveTo>
                <a:cubicBezTo>
                  <a:pt x="8402" y="3436"/>
                  <a:pt x="8100" y="3656"/>
                  <a:pt x="8100" y="3927"/>
                </a:cubicBezTo>
                <a:cubicBezTo>
                  <a:pt x="8100" y="4199"/>
                  <a:pt x="8402" y="4418"/>
                  <a:pt x="8775" y="4418"/>
                </a:cubicBezTo>
                <a:cubicBezTo>
                  <a:pt x="9148" y="4418"/>
                  <a:pt x="9450" y="4199"/>
                  <a:pt x="9450" y="3927"/>
                </a:cubicBezTo>
                <a:cubicBezTo>
                  <a:pt x="9450" y="3656"/>
                  <a:pt x="9148" y="3436"/>
                  <a:pt x="8775" y="34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8" name="Shape 2708"/>
          <p:cNvSpPr/>
          <p:nvPr/>
        </p:nvSpPr>
        <p:spPr>
          <a:xfrm>
            <a:off x="66064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888"/>
                </a:moveTo>
                <a:lnTo>
                  <a:pt x="8836" y="7712"/>
                </a:lnTo>
                <a:lnTo>
                  <a:pt x="14241" y="10800"/>
                </a:lnTo>
                <a:cubicBezTo>
                  <a:pt x="14241" y="10800"/>
                  <a:pt x="8836" y="13888"/>
                  <a:pt x="8836" y="13888"/>
                </a:cubicBezTo>
                <a:close/>
                <a:moveTo>
                  <a:pt x="15520" y="10422"/>
                </a:moveTo>
                <a:lnTo>
                  <a:pt x="15525" y="10416"/>
                </a:lnTo>
                <a:lnTo>
                  <a:pt x="15438" y="10367"/>
                </a:lnTo>
                <a:cubicBezTo>
                  <a:pt x="15425" y="10361"/>
                  <a:pt x="15414" y="10351"/>
                  <a:pt x="15401" y="10346"/>
                </a:cubicBezTo>
                <a:lnTo>
                  <a:pt x="8652" y="6489"/>
                </a:lnTo>
                <a:lnTo>
                  <a:pt x="8647" y="6495"/>
                </a:lnTo>
                <a:cubicBezTo>
                  <a:pt x="8563" y="6428"/>
                  <a:pt x="8461" y="6382"/>
                  <a:pt x="8345" y="6382"/>
                </a:cubicBezTo>
                <a:cubicBezTo>
                  <a:pt x="8075" y="6382"/>
                  <a:pt x="7855" y="6601"/>
                  <a:pt x="7855" y="6873"/>
                </a:cubicBezTo>
                <a:lnTo>
                  <a:pt x="7855" y="14727"/>
                </a:lnTo>
                <a:cubicBezTo>
                  <a:pt x="7855" y="14999"/>
                  <a:pt x="8075" y="15218"/>
                  <a:pt x="8345" y="15218"/>
                </a:cubicBezTo>
                <a:cubicBezTo>
                  <a:pt x="8461" y="15218"/>
                  <a:pt x="8563" y="15172"/>
                  <a:pt x="8647" y="15105"/>
                </a:cubicBezTo>
                <a:lnTo>
                  <a:pt x="8652" y="15111"/>
                </a:lnTo>
                <a:lnTo>
                  <a:pt x="15401" y="11254"/>
                </a:lnTo>
                <a:cubicBezTo>
                  <a:pt x="15414" y="11249"/>
                  <a:pt x="15425" y="11240"/>
                  <a:pt x="15438" y="11233"/>
                </a:cubicBezTo>
                <a:lnTo>
                  <a:pt x="15525" y="11184"/>
                </a:lnTo>
                <a:lnTo>
                  <a:pt x="15520" y="11178"/>
                </a:lnTo>
                <a:cubicBezTo>
                  <a:pt x="15632" y="11088"/>
                  <a:pt x="15709" y="10955"/>
                  <a:pt x="15709" y="10800"/>
                </a:cubicBezTo>
                <a:cubicBezTo>
                  <a:pt x="15709" y="10645"/>
                  <a:pt x="15632" y="10512"/>
                  <a:pt x="15520" y="104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09" name="Shape 2709"/>
          <p:cNvSpPr/>
          <p:nvPr/>
        </p:nvSpPr>
        <p:spPr>
          <a:xfrm>
            <a:off x="106059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12764" y="13745"/>
                </a:lnTo>
                <a:lnTo>
                  <a:pt x="12764" y="7855"/>
                </a:lnTo>
                <a:lnTo>
                  <a:pt x="13745" y="7855"/>
                </a:lnTo>
                <a:cubicBezTo>
                  <a:pt x="13745" y="7855"/>
                  <a:pt x="13745" y="13745"/>
                  <a:pt x="13745" y="13745"/>
                </a:cubicBezTo>
                <a:close/>
                <a:moveTo>
                  <a:pt x="14236" y="6873"/>
                </a:moveTo>
                <a:lnTo>
                  <a:pt x="12273" y="6873"/>
                </a:lnTo>
                <a:cubicBezTo>
                  <a:pt x="12002" y="6873"/>
                  <a:pt x="11782" y="7092"/>
                  <a:pt x="11782" y="7364"/>
                </a:cubicBezTo>
                <a:lnTo>
                  <a:pt x="11782" y="14236"/>
                </a:lnTo>
                <a:cubicBezTo>
                  <a:pt x="11782" y="14508"/>
                  <a:pt x="12002" y="14727"/>
                  <a:pt x="12273"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8836" y="13745"/>
                </a:moveTo>
                <a:lnTo>
                  <a:pt x="7855" y="13745"/>
                </a:lnTo>
                <a:lnTo>
                  <a:pt x="7855" y="7855"/>
                </a:lnTo>
                <a:lnTo>
                  <a:pt x="8836" y="7855"/>
                </a:lnTo>
                <a:cubicBezTo>
                  <a:pt x="8836" y="7855"/>
                  <a:pt x="8836" y="13745"/>
                  <a:pt x="8836" y="13745"/>
                </a:cubicBezTo>
                <a:close/>
                <a:moveTo>
                  <a:pt x="9327" y="6873"/>
                </a:moveTo>
                <a:lnTo>
                  <a:pt x="7364" y="6873"/>
                </a:lnTo>
                <a:cubicBezTo>
                  <a:pt x="7093" y="6873"/>
                  <a:pt x="6873" y="7092"/>
                  <a:pt x="6873" y="7364"/>
                </a:cubicBezTo>
                <a:lnTo>
                  <a:pt x="6873" y="14236"/>
                </a:lnTo>
                <a:cubicBezTo>
                  <a:pt x="6873" y="14508"/>
                  <a:pt x="7093" y="14727"/>
                  <a:pt x="7364" y="14727"/>
                </a:cubicBezTo>
                <a:lnTo>
                  <a:pt x="9327" y="14727"/>
                </a:lnTo>
                <a:cubicBezTo>
                  <a:pt x="9598" y="14727"/>
                  <a:pt x="9818" y="14508"/>
                  <a:pt x="9818" y="14236"/>
                </a:cubicBezTo>
                <a:lnTo>
                  <a:pt x="9818" y="7364"/>
                </a:lnTo>
                <a:cubicBezTo>
                  <a:pt x="9818" y="7092"/>
                  <a:pt x="9598" y="6873"/>
                  <a:pt x="9327"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0" name="Shape 2710"/>
          <p:cNvSpPr/>
          <p:nvPr/>
        </p:nvSpPr>
        <p:spPr>
          <a:xfrm>
            <a:off x="1460536"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3" y="6873"/>
                  <a:pt x="6873" y="7092"/>
                  <a:pt x="6873" y="7364"/>
                </a:cubicBezTo>
                <a:lnTo>
                  <a:pt x="6873" y="14236"/>
                </a:lnTo>
                <a:cubicBezTo>
                  <a:pt x="6873" y="14508"/>
                  <a:pt x="7093" y="14727"/>
                  <a:pt x="7364" y="14727"/>
                </a:cubicBezTo>
                <a:lnTo>
                  <a:pt x="14236" y="14727"/>
                </a:lnTo>
                <a:cubicBezTo>
                  <a:pt x="14507" y="14727"/>
                  <a:pt x="14727" y="14508"/>
                  <a:pt x="14727" y="14236"/>
                </a:cubicBezTo>
                <a:lnTo>
                  <a:pt x="14727" y="7364"/>
                </a:lnTo>
                <a:cubicBezTo>
                  <a:pt x="14727" y="7092"/>
                  <a:pt x="14507" y="6873"/>
                  <a:pt x="14236" y="6873"/>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1" name="Shape 2711"/>
          <p:cNvSpPr/>
          <p:nvPr/>
        </p:nvSpPr>
        <p:spPr>
          <a:xfrm>
            <a:off x="1860482"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800" y="13745"/>
                </a:moveTo>
                <a:cubicBezTo>
                  <a:pt x="9173" y="13745"/>
                  <a:pt x="7855" y="12427"/>
                  <a:pt x="7855" y="10800"/>
                </a:cubicBezTo>
                <a:cubicBezTo>
                  <a:pt x="7855" y="9173"/>
                  <a:pt x="9173" y="7855"/>
                  <a:pt x="10800" y="7855"/>
                </a:cubicBezTo>
                <a:cubicBezTo>
                  <a:pt x="12427" y="7855"/>
                  <a:pt x="13745" y="9173"/>
                  <a:pt x="13745" y="10800"/>
                </a:cubicBezTo>
                <a:cubicBezTo>
                  <a:pt x="13745" y="12427"/>
                  <a:pt x="12427" y="13745"/>
                  <a:pt x="10800" y="13745"/>
                </a:cubicBezTo>
                <a:moveTo>
                  <a:pt x="10800" y="6873"/>
                </a:moveTo>
                <a:cubicBezTo>
                  <a:pt x="8631" y="6873"/>
                  <a:pt x="6873" y="8631"/>
                  <a:pt x="6873" y="10800"/>
                </a:cubicBezTo>
                <a:cubicBezTo>
                  <a:pt x="6873" y="12969"/>
                  <a:pt x="8631" y="14727"/>
                  <a:pt x="10800" y="14727"/>
                </a:cubicBezTo>
                <a:cubicBezTo>
                  <a:pt x="12969" y="14727"/>
                  <a:pt x="14727" y="12969"/>
                  <a:pt x="14727" y="10800"/>
                </a:cubicBezTo>
                <a:cubicBezTo>
                  <a:pt x="14727" y="8631"/>
                  <a:pt x="12969"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2" name="Shape 2712"/>
          <p:cNvSpPr/>
          <p:nvPr/>
        </p:nvSpPr>
        <p:spPr>
          <a:xfrm>
            <a:off x="226042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3888"/>
                </a:moveTo>
                <a:lnTo>
                  <a:pt x="10800" y="7712"/>
                </a:lnTo>
                <a:lnTo>
                  <a:pt x="16204" y="10800"/>
                </a:lnTo>
                <a:cubicBezTo>
                  <a:pt x="16204" y="10800"/>
                  <a:pt x="10800" y="13888"/>
                  <a:pt x="10800" y="13888"/>
                </a:cubicBezTo>
                <a:close/>
                <a:moveTo>
                  <a:pt x="17484" y="10422"/>
                </a:moveTo>
                <a:lnTo>
                  <a:pt x="17489" y="10416"/>
                </a:lnTo>
                <a:lnTo>
                  <a:pt x="17402" y="10367"/>
                </a:lnTo>
                <a:cubicBezTo>
                  <a:pt x="17389" y="10361"/>
                  <a:pt x="17378" y="10351"/>
                  <a:pt x="17365" y="10346"/>
                </a:cubicBezTo>
                <a:lnTo>
                  <a:pt x="10616" y="6489"/>
                </a:lnTo>
                <a:lnTo>
                  <a:pt x="10611" y="6495"/>
                </a:lnTo>
                <a:cubicBezTo>
                  <a:pt x="10527" y="6428"/>
                  <a:pt x="10425" y="6382"/>
                  <a:pt x="10309" y="6382"/>
                </a:cubicBezTo>
                <a:cubicBezTo>
                  <a:pt x="10038" y="6382"/>
                  <a:pt x="9818" y="6601"/>
                  <a:pt x="9818" y="6873"/>
                </a:cubicBezTo>
                <a:lnTo>
                  <a:pt x="9818" y="14727"/>
                </a:lnTo>
                <a:cubicBezTo>
                  <a:pt x="9818" y="14999"/>
                  <a:pt x="10038" y="15218"/>
                  <a:pt x="10309" y="15218"/>
                </a:cubicBezTo>
                <a:cubicBezTo>
                  <a:pt x="10425" y="15218"/>
                  <a:pt x="10527" y="15172"/>
                  <a:pt x="10611" y="15105"/>
                </a:cubicBezTo>
                <a:lnTo>
                  <a:pt x="10616" y="15111"/>
                </a:lnTo>
                <a:lnTo>
                  <a:pt x="17365" y="11254"/>
                </a:lnTo>
                <a:cubicBezTo>
                  <a:pt x="17378" y="11249"/>
                  <a:pt x="17388" y="11239"/>
                  <a:pt x="17401" y="11233"/>
                </a:cubicBezTo>
                <a:lnTo>
                  <a:pt x="17489" y="11184"/>
                </a:lnTo>
                <a:lnTo>
                  <a:pt x="17484" y="11178"/>
                </a:lnTo>
                <a:cubicBezTo>
                  <a:pt x="17596" y="11088"/>
                  <a:pt x="17673" y="10955"/>
                  <a:pt x="17673" y="10800"/>
                </a:cubicBezTo>
                <a:cubicBezTo>
                  <a:pt x="17673" y="10645"/>
                  <a:pt x="17596" y="10512"/>
                  <a:pt x="17484" y="10422"/>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6684" y="6495"/>
                </a:moveTo>
                <a:cubicBezTo>
                  <a:pt x="6600" y="6428"/>
                  <a:pt x="6498" y="6382"/>
                  <a:pt x="6382" y="6382"/>
                </a:cubicBezTo>
                <a:cubicBezTo>
                  <a:pt x="6111" y="6382"/>
                  <a:pt x="5891" y="6601"/>
                  <a:pt x="5891" y="6873"/>
                </a:cubicBezTo>
                <a:lnTo>
                  <a:pt x="5891" y="14727"/>
                </a:lnTo>
                <a:cubicBezTo>
                  <a:pt x="5891" y="14999"/>
                  <a:pt x="6111" y="15218"/>
                  <a:pt x="6382" y="15218"/>
                </a:cubicBezTo>
                <a:cubicBezTo>
                  <a:pt x="6498" y="15218"/>
                  <a:pt x="6600" y="15172"/>
                  <a:pt x="6684" y="15105"/>
                </a:cubicBezTo>
                <a:lnTo>
                  <a:pt x="6689" y="15111"/>
                </a:lnTo>
                <a:lnTo>
                  <a:pt x="8836" y="13883"/>
                </a:lnTo>
                <a:lnTo>
                  <a:pt x="8836" y="12766"/>
                </a:lnTo>
                <a:lnTo>
                  <a:pt x="6873" y="13888"/>
                </a:lnTo>
                <a:lnTo>
                  <a:pt x="6873" y="7712"/>
                </a:lnTo>
                <a:lnTo>
                  <a:pt x="8836" y="8834"/>
                </a:lnTo>
                <a:lnTo>
                  <a:pt x="8836" y="7716"/>
                </a:lnTo>
                <a:lnTo>
                  <a:pt x="6689" y="6489"/>
                </a:lnTo>
                <a:cubicBezTo>
                  <a:pt x="6689" y="6489"/>
                  <a:pt x="6684" y="6495"/>
                  <a:pt x="6684" y="649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3" name="Shape 2713"/>
          <p:cNvSpPr/>
          <p:nvPr/>
        </p:nvSpPr>
        <p:spPr>
          <a:xfrm>
            <a:off x="2660374"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4236"/>
                </a:moveTo>
                <a:lnTo>
                  <a:pt x="13745" y="14236"/>
                </a:lnTo>
                <a:lnTo>
                  <a:pt x="13745" y="7364"/>
                </a:lnTo>
                <a:lnTo>
                  <a:pt x="14727" y="7364"/>
                </a:lnTo>
                <a:cubicBezTo>
                  <a:pt x="14727" y="7364"/>
                  <a:pt x="14727" y="14236"/>
                  <a:pt x="14727" y="14236"/>
                </a:cubicBezTo>
                <a:close/>
                <a:moveTo>
                  <a:pt x="6873" y="13888"/>
                </a:moveTo>
                <a:lnTo>
                  <a:pt x="6873" y="7712"/>
                </a:lnTo>
                <a:lnTo>
                  <a:pt x="12277" y="10800"/>
                </a:lnTo>
                <a:cubicBezTo>
                  <a:pt x="12277" y="10800"/>
                  <a:pt x="6873" y="13888"/>
                  <a:pt x="6873" y="13888"/>
                </a:cubicBezTo>
                <a:close/>
                <a:moveTo>
                  <a:pt x="15218" y="6382"/>
                </a:moveTo>
                <a:lnTo>
                  <a:pt x="13255" y="6382"/>
                </a:lnTo>
                <a:cubicBezTo>
                  <a:pt x="12983" y="6382"/>
                  <a:pt x="12764" y="6601"/>
                  <a:pt x="12764" y="6873"/>
                </a:cubicBezTo>
                <a:lnTo>
                  <a:pt x="12764" y="9961"/>
                </a:lnTo>
                <a:lnTo>
                  <a:pt x="6689" y="6489"/>
                </a:lnTo>
                <a:lnTo>
                  <a:pt x="6684" y="6495"/>
                </a:lnTo>
                <a:cubicBezTo>
                  <a:pt x="6600" y="6428"/>
                  <a:pt x="6498" y="6382"/>
                  <a:pt x="6382" y="6382"/>
                </a:cubicBezTo>
                <a:cubicBezTo>
                  <a:pt x="6110" y="6382"/>
                  <a:pt x="5891" y="6601"/>
                  <a:pt x="5891" y="6873"/>
                </a:cubicBezTo>
                <a:lnTo>
                  <a:pt x="5891" y="14727"/>
                </a:lnTo>
                <a:cubicBezTo>
                  <a:pt x="5891" y="14999"/>
                  <a:pt x="6110" y="15218"/>
                  <a:pt x="6382" y="15218"/>
                </a:cubicBezTo>
                <a:cubicBezTo>
                  <a:pt x="6498" y="15218"/>
                  <a:pt x="6600" y="15172"/>
                  <a:pt x="6684" y="15105"/>
                </a:cubicBezTo>
                <a:lnTo>
                  <a:pt x="6689" y="15111"/>
                </a:lnTo>
                <a:lnTo>
                  <a:pt x="12764" y="11639"/>
                </a:lnTo>
                <a:lnTo>
                  <a:pt x="12764" y="14727"/>
                </a:lnTo>
                <a:cubicBezTo>
                  <a:pt x="12764" y="14999"/>
                  <a:pt x="12983" y="15218"/>
                  <a:pt x="13255" y="15218"/>
                </a:cubicBezTo>
                <a:lnTo>
                  <a:pt x="15218" y="15218"/>
                </a:lnTo>
                <a:cubicBezTo>
                  <a:pt x="15490" y="15218"/>
                  <a:pt x="15709" y="14999"/>
                  <a:pt x="15709" y="14727"/>
                </a:cubicBezTo>
                <a:lnTo>
                  <a:pt x="15709" y="6873"/>
                </a:lnTo>
                <a:cubicBezTo>
                  <a:pt x="15709" y="6601"/>
                  <a:pt x="15490" y="6382"/>
                  <a:pt x="15218" y="6382"/>
                </a:cubicBezTo>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4" name="Shape 2714"/>
          <p:cNvSpPr/>
          <p:nvPr/>
        </p:nvSpPr>
        <p:spPr>
          <a:xfrm>
            <a:off x="3060320"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8" y="20618"/>
                  <a:pt x="982" y="16222"/>
                  <a:pt x="982" y="10800"/>
                </a:cubicBezTo>
                <a:cubicBezTo>
                  <a:pt x="982" y="5377"/>
                  <a:pt x="5378"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8054" y="9818"/>
                </a:moveTo>
                <a:lnTo>
                  <a:pt x="10800" y="7072"/>
                </a:lnTo>
                <a:lnTo>
                  <a:pt x="13547" y="9818"/>
                </a:lnTo>
                <a:cubicBezTo>
                  <a:pt x="13547" y="9818"/>
                  <a:pt x="8054" y="9818"/>
                  <a:pt x="8054" y="9818"/>
                </a:cubicBezTo>
                <a:close/>
                <a:moveTo>
                  <a:pt x="15111" y="10002"/>
                </a:moveTo>
                <a:lnTo>
                  <a:pt x="15083" y="9975"/>
                </a:lnTo>
                <a:cubicBezTo>
                  <a:pt x="15076" y="9968"/>
                  <a:pt x="15069" y="9960"/>
                  <a:pt x="15061" y="9953"/>
                </a:cubicBezTo>
                <a:lnTo>
                  <a:pt x="11184" y="6075"/>
                </a:lnTo>
                <a:lnTo>
                  <a:pt x="11177" y="6080"/>
                </a:lnTo>
                <a:cubicBezTo>
                  <a:pt x="11088" y="5968"/>
                  <a:pt x="10955" y="5891"/>
                  <a:pt x="10800" y="5891"/>
                </a:cubicBezTo>
                <a:cubicBezTo>
                  <a:pt x="10645" y="5891"/>
                  <a:pt x="10512" y="5968"/>
                  <a:pt x="10422" y="6080"/>
                </a:cubicBezTo>
                <a:lnTo>
                  <a:pt x="10416" y="6075"/>
                </a:lnTo>
                <a:lnTo>
                  <a:pt x="6539" y="9953"/>
                </a:lnTo>
                <a:cubicBezTo>
                  <a:pt x="6531" y="9960"/>
                  <a:pt x="6524" y="9968"/>
                  <a:pt x="6517" y="9975"/>
                </a:cubicBezTo>
                <a:lnTo>
                  <a:pt x="6489" y="10002"/>
                </a:lnTo>
                <a:lnTo>
                  <a:pt x="6495" y="10007"/>
                </a:lnTo>
                <a:cubicBezTo>
                  <a:pt x="6428" y="10091"/>
                  <a:pt x="6382" y="10193"/>
                  <a:pt x="6382" y="10309"/>
                </a:cubicBezTo>
                <a:cubicBezTo>
                  <a:pt x="6382" y="10580"/>
                  <a:pt x="6601" y="10800"/>
                  <a:pt x="6873" y="10800"/>
                </a:cubicBezTo>
                <a:lnTo>
                  <a:pt x="14727" y="10800"/>
                </a:lnTo>
                <a:cubicBezTo>
                  <a:pt x="14999" y="10800"/>
                  <a:pt x="15218" y="10580"/>
                  <a:pt x="15218" y="10309"/>
                </a:cubicBezTo>
                <a:cubicBezTo>
                  <a:pt x="15218" y="10193"/>
                  <a:pt x="15172" y="10091"/>
                  <a:pt x="15105" y="10007"/>
                </a:cubicBezTo>
                <a:cubicBezTo>
                  <a:pt x="15105" y="10007"/>
                  <a:pt x="15111" y="10002"/>
                  <a:pt x="15111" y="10002"/>
                </a:cubicBezTo>
                <a:close/>
                <a:moveTo>
                  <a:pt x="14236" y="13745"/>
                </a:moveTo>
                <a:lnTo>
                  <a:pt x="7364" y="13745"/>
                </a:lnTo>
                <a:lnTo>
                  <a:pt x="7364" y="12764"/>
                </a:lnTo>
                <a:lnTo>
                  <a:pt x="14236" y="12764"/>
                </a:lnTo>
                <a:cubicBezTo>
                  <a:pt x="14236" y="12764"/>
                  <a:pt x="14236" y="13745"/>
                  <a:pt x="14236" y="13745"/>
                </a:cubicBezTo>
                <a:close/>
                <a:moveTo>
                  <a:pt x="14727" y="11782"/>
                </a:moveTo>
                <a:lnTo>
                  <a:pt x="6873" y="11782"/>
                </a:lnTo>
                <a:cubicBezTo>
                  <a:pt x="6601" y="11782"/>
                  <a:pt x="6382" y="12001"/>
                  <a:pt x="6382" y="12273"/>
                </a:cubicBezTo>
                <a:lnTo>
                  <a:pt x="6382" y="14236"/>
                </a:lnTo>
                <a:cubicBezTo>
                  <a:pt x="6382" y="14508"/>
                  <a:pt x="6601" y="14727"/>
                  <a:pt x="6873" y="14727"/>
                </a:cubicBezTo>
                <a:lnTo>
                  <a:pt x="14727" y="14727"/>
                </a:lnTo>
                <a:cubicBezTo>
                  <a:pt x="14999" y="14727"/>
                  <a:pt x="15218" y="14508"/>
                  <a:pt x="15218" y="14236"/>
                </a:cubicBezTo>
                <a:lnTo>
                  <a:pt x="15218" y="12273"/>
                </a:lnTo>
                <a:cubicBezTo>
                  <a:pt x="15218" y="12001"/>
                  <a:pt x="14999" y="11782"/>
                  <a:pt x="147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5" name="Shape 2715"/>
          <p:cNvSpPr/>
          <p:nvPr/>
        </p:nvSpPr>
        <p:spPr>
          <a:xfrm>
            <a:off x="3460265"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7855" y="982"/>
                </a:moveTo>
                <a:lnTo>
                  <a:pt x="9818" y="982"/>
                </a:lnTo>
                <a:lnTo>
                  <a:pt x="9818" y="0"/>
                </a:lnTo>
                <a:lnTo>
                  <a:pt x="7855" y="0"/>
                </a:lnTo>
                <a:cubicBezTo>
                  <a:pt x="7855" y="0"/>
                  <a:pt x="7855" y="982"/>
                  <a:pt x="7855" y="982"/>
                </a:cubicBezTo>
                <a:close/>
                <a:moveTo>
                  <a:pt x="11782" y="982"/>
                </a:moveTo>
                <a:lnTo>
                  <a:pt x="13745" y="982"/>
                </a:lnTo>
                <a:lnTo>
                  <a:pt x="13745" y="0"/>
                </a:lnTo>
                <a:lnTo>
                  <a:pt x="11782" y="0"/>
                </a:lnTo>
                <a:cubicBezTo>
                  <a:pt x="11782" y="0"/>
                  <a:pt x="11782" y="982"/>
                  <a:pt x="11782" y="982"/>
                </a:cubicBezTo>
                <a:close/>
                <a:moveTo>
                  <a:pt x="15709" y="982"/>
                </a:moveTo>
                <a:lnTo>
                  <a:pt x="17673" y="982"/>
                </a:lnTo>
                <a:lnTo>
                  <a:pt x="17673" y="0"/>
                </a:lnTo>
                <a:lnTo>
                  <a:pt x="15709" y="0"/>
                </a:lnTo>
                <a:cubicBezTo>
                  <a:pt x="15709" y="0"/>
                  <a:pt x="15709" y="982"/>
                  <a:pt x="15709"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3745"/>
                </a:moveTo>
                <a:lnTo>
                  <a:pt x="21600" y="13745"/>
                </a:lnTo>
                <a:lnTo>
                  <a:pt x="21600" y="11782"/>
                </a:lnTo>
                <a:lnTo>
                  <a:pt x="20618" y="11782"/>
                </a:lnTo>
                <a:cubicBezTo>
                  <a:pt x="20618" y="11782"/>
                  <a:pt x="20618" y="13745"/>
                  <a:pt x="20618" y="13745"/>
                </a:cubicBezTo>
                <a:close/>
                <a:moveTo>
                  <a:pt x="20618" y="17673"/>
                </a:moveTo>
                <a:lnTo>
                  <a:pt x="21600" y="17673"/>
                </a:lnTo>
                <a:lnTo>
                  <a:pt x="21600" y="15709"/>
                </a:lnTo>
                <a:lnTo>
                  <a:pt x="20618" y="15709"/>
                </a:lnTo>
                <a:cubicBezTo>
                  <a:pt x="20618" y="15709"/>
                  <a:pt x="20618" y="17673"/>
                  <a:pt x="20618" y="17673"/>
                </a:cubicBezTo>
                <a:close/>
                <a:moveTo>
                  <a:pt x="1250" y="19636"/>
                </a:moveTo>
                <a:lnTo>
                  <a:pt x="175" y="19636"/>
                </a:lnTo>
                <a:cubicBezTo>
                  <a:pt x="472" y="20467"/>
                  <a:pt x="1130" y="21123"/>
                  <a:pt x="1964" y="21420"/>
                </a:cubicBezTo>
                <a:lnTo>
                  <a:pt x="1964" y="20346"/>
                </a:lnTo>
                <a:cubicBezTo>
                  <a:pt x="1669" y="20174"/>
                  <a:pt x="1423" y="19929"/>
                  <a:pt x="1250" y="19636"/>
                </a:cubicBezTo>
                <a:moveTo>
                  <a:pt x="20350" y="1964"/>
                </a:moveTo>
                <a:lnTo>
                  <a:pt x="21426" y="1964"/>
                </a:lnTo>
                <a:cubicBezTo>
                  <a:pt x="21128" y="1133"/>
                  <a:pt x="20470" y="477"/>
                  <a:pt x="19636" y="180"/>
                </a:cubicBezTo>
                <a:lnTo>
                  <a:pt x="19636" y="1254"/>
                </a:lnTo>
                <a:cubicBezTo>
                  <a:pt x="19931" y="1426"/>
                  <a:pt x="20177" y="1670"/>
                  <a:pt x="20350" y="1964"/>
                </a:cubicBezTo>
                <a:moveTo>
                  <a:pt x="982" y="15709"/>
                </a:moveTo>
                <a:lnTo>
                  <a:pt x="0" y="15709"/>
                </a:lnTo>
                <a:lnTo>
                  <a:pt x="0" y="17673"/>
                </a:lnTo>
                <a:lnTo>
                  <a:pt x="982" y="17673"/>
                </a:lnTo>
                <a:cubicBezTo>
                  <a:pt x="982" y="17673"/>
                  <a:pt x="982" y="15709"/>
                  <a:pt x="982" y="15709"/>
                </a:cubicBezTo>
                <a:close/>
                <a:moveTo>
                  <a:pt x="982" y="7855"/>
                </a:moveTo>
                <a:lnTo>
                  <a:pt x="0" y="7855"/>
                </a:lnTo>
                <a:lnTo>
                  <a:pt x="0" y="9818"/>
                </a:lnTo>
                <a:lnTo>
                  <a:pt x="982" y="9818"/>
                </a:lnTo>
                <a:cubicBezTo>
                  <a:pt x="982" y="9818"/>
                  <a:pt x="982" y="7855"/>
                  <a:pt x="982" y="7855"/>
                </a:cubicBezTo>
                <a:close/>
                <a:moveTo>
                  <a:pt x="982" y="3927"/>
                </a:moveTo>
                <a:lnTo>
                  <a:pt x="0" y="3927"/>
                </a:lnTo>
                <a:lnTo>
                  <a:pt x="0" y="5891"/>
                </a:lnTo>
                <a:lnTo>
                  <a:pt x="982" y="5891"/>
                </a:lnTo>
                <a:cubicBezTo>
                  <a:pt x="982" y="5891"/>
                  <a:pt x="982" y="3927"/>
                  <a:pt x="982" y="3927"/>
                </a:cubicBezTo>
                <a:close/>
                <a:moveTo>
                  <a:pt x="982" y="11782"/>
                </a:moveTo>
                <a:lnTo>
                  <a:pt x="0" y="11782"/>
                </a:lnTo>
                <a:lnTo>
                  <a:pt x="0" y="13745"/>
                </a:lnTo>
                <a:lnTo>
                  <a:pt x="982" y="13745"/>
                </a:lnTo>
                <a:cubicBezTo>
                  <a:pt x="982" y="13745"/>
                  <a:pt x="982" y="11782"/>
                  <a:pt x="982" y="11782"/>
                </a:cubicBezTo>
                <a:close/>
                <a:moveTo>
                  <a:pt x="3927" y="982"/>
                </a:moveTo>
                <a:lnTo>
                  <a:pt x="5891" y="982"/>
                </a:lnTo>
                <a:lnTo>
                  <a:pt x="5891" y="0"/>
                </a:lnTo>
                <a:lnTo>
                  <a:pt x="3927" y="0"/>
                </a:lnTo>
                <a:cubicBezTo>
                  <a:pt x="3927" y="0"/>
                  <a:pt x="3927" y="982"/>
                  <a:pt x="3927" y="982"/>
                </a:cubicBezTo>
                <a:close/>
                <a:moveTo>
                  <a:pt x="7855" y="21600"/>
                </a:moveTo>
                <a:lnTo>
                  <a:pt x="9818" y="21600"/>
                </a:lnTo>
                <a:lnTo>
                  <a:pt x="9818" y="20618"/>
                </a:lnTo>
                <a:lnTo>
                  <a:pt x="7855" y="20618"/>
                </a:lnTo>
                <a:cubicBezTo>
                  <a:pt x="7855" y="20618"/>
                  <a:pt x="7855" y="21600"/>
                  <a:pt x="7855" y="21600"/>
                </a:cubicBezTo>
                <a:close/>
                <a:moveTo>
                  <a:pt x="3927" y="21600"/>
                </a:moveTo>
                <a:lnTo>
                  <a:pt x="5891" y="21600"/>
                </a:lnTo>
                <a:lnTo>
                  <a:pt x="5891" y="20618"/>
                </a:lnTo>
                <a:lnTo>
                  <a:pt x="3927" y="20618"/>
                </a:lnTo>
                <a:cubicBezTo>
                  <a:pt x="3927" y="20618"/>
                  <a:pt x="3927" y="21600"/>
                  <a:pt x="3927" y="21600"/>
                </a:cubicBezTo>
                <a:close/>
                <a:moveTo>
                  <a:pt x="175" y="1964"/>
                </a:moveTo>
                <a:lnTo>
                  <a:pt x="1250" y="1964"/>
                </a:lnTo>
                <a:cubicBezTo>
                  <a:pt x="1423" y="1670"/>
                  <a:pt x="1669" y="1426"/>
                  <a:pt x="1964" y="1254"/>
                </a:cubicBezTo>
                <a:lnTo>
                  <a:pt x="1964" y="180"/>
                </a:lnTo>
                <a:cubicBezTo>
                  <a:pt x="1130" y="477"/>
                  <a:pt x="472" y="1133"/>
                  <a:pt x="17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6" name="Shape 2716"/>
          <p:cNvSpPr/>
          <p:nvPr/>
        </p:nvSpPr>
        <p:spPr>
          <a:xfrm>
            <a:off x="3860211"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13745"/>
                </a:moveTo>
                <a:lnTo>
                  <a:pt x="7855" y="13745"/>
                </a:lnTo>
                <a:lnTo>
                  <a:pt x="7855" y="7855"/>
                </a:lnTo>
                <a:lnTo>
                  <a:pt x="13745" y="7855"/>
                </a:lnTo>
                <a:cubicBezTo>
                  <a:pt x="13745" y="7855"/>
                  <a:pt x="13745" y="13745"/>
                  <a:pt x="13745" y="13745"/>
                </a:cubicBezTo>
                <a:close/>
                <a:moveTo>
                  <a:pt x="14236" y="6873"/>
                </a:moveTo>
                <a:lnTo>
                  <a:pt x="7364" y="6873"/>
                </a:lnTo>
                <a:cubicBezTo>
                  <a:pt x="7092" y="6873"/>
                  <a:pt x="6873" y="7092"/>
                  <a:pt x="6873" y="7364"/>
                </a:cubicBezTo>
                <a:lnTo>
                  <a:pt x="6873" y="14236"/>
                </a:lnTo>
                <a:cubicBezTo>
                  <a:pt x="6873" y="14508"/>
                  <a:pt x="7092" y="14727"/>
                  <a:pt x="7364" y="14727"/>
                </a:cubicBezTo>
                <a:lnTo>
                  <a:pt x="14236" y="14727"/>
                </a:lnTo>
                <a:cubicBezTo>
                  <a:pt x="14508" y="14727"/>
                  <a:pt x="14727" y="14508"/>
                  <a:pt x="14727" y="14236"/>
                </a:cubicBezTo>
                <a:lnTo>
                  <a:pt x="14727" y="7364"/>
                </a:lnTo>
                <a:cubicBezTo>
                  <a:pt x="14727" y="7092"/>
                  <a:pt x="14508" y="6873"/>
                  <a:pt x="14236" y="6873"/>
                </a:cubicBezTo>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11782" y="21600"/>
                </a:moveTo>
                <a:lnTo>
                  <a:pt x="13745" y="21600"/>
                </a:lnTo>
                <a:lnTo>
                  <a:pt x="13745" y="20618"/>
                </a:lnTo>
                <a:lnTo>
                  <a:pt x="11782" y="20618"/>
                </a:lnTo>
                <a:cubicBezTo>
                  <a:pt x="11782" y="20618"/>
                  <a:pt x="11782" y="21600"/>
                  <a:pt x="11782" y="21600"/>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9818"/>
                </a:moveTo>
                <a:lnTo>
                  <a:pt x="21600" y="9818"/>
                </a:lnTo>
                <a:lnTo>
                  <a:pt x="21600" y="7855"/>
                </a:lnTo>
                <a:lnTo>
                  <a:pt x="20618" y="7855"/>
                </a:lnTo>
                <a:cubicBezTo>
                  <a:pt x="20618" y="7855"/>
                  <a:pt x="20618" y="9818"/>
                  <a:pt x="20618" y="9818"/>
                </a:cubicBezTo>
                <a:close/>
                <a:moveTo>
                  <a:pt x="20618" y="17673"/>
                </a:moveTo>
                <a:lnTo>
                  <a:pt x="21600" y="17673"/>
                </a:lnTo>
                <a:lnTo>
                  <a:pt x="21600" y="15709"/>
                </a:lnTo>
                <a:lnTo>
                  <a:pt x="20618" y="15709"/>
                </a:lnTo>
                <a:cubicBezTo>
                  <a:pt x="20618" y="15709"/>
                  <a:pt x="20618" y="17673"/>
                  <a:pt x="20618" y="17673"/>
                </a:cubicBezTo>
                <a:close/>
                <a:moveTo>
                  <a:pt x="15709" y="982"/>
                </a:moveTo>
                <a:lnTo>
                  <a:pt x="17673" y="982"/>
                </a:lnTo>
                <a:lnTo>
                  <a:pt x="17673" y="0"/>
                </a:lnTo>
                <a:lnTo>
                  <a:pt x="15709" y="0"/>
                </a:lnTo>
                <a:cubicBezTo>
                  <a:pt x="15709" y="0"/>
                  <a:pt x="15709" y="982"/>
                  <a:pt x="15709" y="982"/>
                </a:cubicBezTo>
                <a:close/>
                <a:moveTo>
                  <a:pt x="3927" y="982"/>
                </a:moveTo>
                <a:lnTo>
                  <a:pt x="5891" y="982"/>
                </a:lnTo>
                <a:lnTo>
                  <a:pt x="5891" y="0"/>
                </a:lnTo>
                <a:lnTo>
                  <a:pt x="3927" y="0"/>
                </a:lnTo>
                <a:cubicBezTo>
                  <a:pt x="3927" y="0"/>
                  <a:pt x="3927" y="982"/>
                  <a:pt x="3927" y="982"/>
                </a:cubicBezTo>
                <a:close/>
                <a:moveTo>
                  <a:pt x="20618" y="13745"/>
                </a:moveTo>
                <a:lnTo>
                  <a:pt x="21600" y="13745"/>
                </a:lnTo>
                <a:lnTo>
                  <a:pt x="21600" y="11782"/>
                </a:lnTo>
                <a:lnTo>
                  <a:pt x="20618" y="11782"/>
                </a:lnTo>
                <a:cubicBezTo>
                  <a:pt x="20618" y="11782"/>
                  <a:pt x="20618" y="13745"/>
                  <a:pt x="20618" y="13745"/>
                </a:cubicBezTo>
                <a:close/>
                <a:moveTo>
                  <a:pt x="982" y="7855"/>
                </a:moveTo>
                <a:lnTo>
                  <a:pt x="0" y="7855"/>
                </a:lnTo>
                <a:lnTo>
                  <a:pt x="0" y="9818"/>
                </a:lnTo>
                <a:lnTo>
                  <a:pt x="982" y="9818"/>
                </a:lnTo>
                <a:cubicBezTo>
                  <a:pt x="982" y="9818"/>
                  <a:pt x="982" y="7855"/>
                  <a:pt x="982" y="7855"/>
                </a:cubicBezTo>
                <a:close/>
                <a:moveTo>
                  <a:pt x="9818" y="0"/>
                </a:moveTo>
                <a:lnTo>
                  <a:pt x="7855" y="0"/>
                </a:lnTo>
                <a:lnTo>
                  <a:pt x="7855" y="982"/>
                </a:lnTo>
                <a:lnTo>
                  <a:pt x="9818" y="982"/>
                </a:lnTo>
                <a:cubicBezTo>
                  <a:pt x="9818" y="982"/>
                  <a:pt x="9818" y="0"/>
                  <a:pt x="9818" y="0"/>
                </a:cubicBezTo>
                <a:close/>
                <a:moveTo>
                  <a:pt x="982" y="3927"/>
                </a:moveTo>
                <a:lnTo>
                  <a:pt x="0" y="3927"/>
                </a:lnTo>
                <a:lnTo>
                  <a:pt x="0" y="5891"/>
                </a:lnTo>
                <a:lnTo>
                  <a:pt x="982" y="5891"/>
                </a:lnTo>
                <a:cubicBezTo>
                  <a:pt x="982" y="5891"/>
                  <a:pt x="982" y="3927"/>
                  <a:pt x="982" y="3927"/>
                </a:cubicBezTo>
                <a:close/>
                <a:moveTo>
                  <a:pt x="20350" y="1964"/>
                </a:moveTo>
                <a:lnTo>
                  <a:pt x="21426" y="1964"/>
                </a:lnTo>
                <a:cubicBezTo>
                  <a:pt x="21128" y="1133"/>
                  <a:pt x="20470" y="477"/>
                  <a:pt x="19636" y="180"/>
                </a:cubicBezTo>
                <a:lnTo>
                  <a:pt x="19636" y="1254"/>
                </a:lnTo>
                <a:cubicBezTo>
                  <a:pt x="19931" y="1426"/>
                  <a:pt x="20177" y="1670"/>
                  <a:pt x="20350" y="1964"/>
                </a:cubicBezTo>
                <a:moveTo>
                  <a:pt x="13745" y="0"/>
                </a:moveTo>
                <a:lnTo>
                  <a:pt x="11782" y="0"/>
                </a:lnTo>
                <a:lnTo>
                  <a:pt x="11782" y="982"/>
                </a:lnTo>
                <a:lnTo>
                  <a:pt x="13745" y="982"/>
                </a:lnTo>
                <a:cubicBezTo>
                  <a:pt x="13745" y="982"/>
                  <a:pt x="13745" y="0"/>
                  <a:pt x="13745" y="0"/>
                </a:cubicBezTo>
                <a:close/>
                <a:moveTo>
                  <a:pt x="3927" y="21600"/>
                </a:moveTo>
                <a:lnTo>
                  <a:pt x="5891" y="21600"/>
                </a:lnTo>
                <a:lnTo>
                  <a:pt x="5891" y="20618"/>
                </a:lnTo>
                <a:lnTo>
                  <a:pt x="3927" y="20618"/>
                </a:lnTo>
                <a:cubicBezTo>
                  <a:pt x="3927" y="20618"/>
                  <a:pt x="3927" y="21600"/>
                  <a:pt x="3927" y="21600"/>
                </a:cubicBezTo>
                <a:close/>
                <a:moveTo>
                  <a:pt x="1250" y="19636"/>
                </a:moveTo>
                <a:lnTo>
                  <a:pt x="175" y="19636"/>
                </a:lnTo>
                <a:cubicBezTo>
                  <a:pt x="472" y="20467"/>
                  <a:pt x="1130" y="21123"/>
                  <a:pt x="1964" y="21420"/>
                </a:cubicBezTo>
                <a:lnTo>
                  <a:pt x="1964" y="20346"/>
                </a:lnTo>
                <a:cubicBezTo>
                  <a:pt x="1669" y="20174"/>
                  <a:pt x="1423" y="19929"/>
                  <a:pt x="1250" y="19636"/>
                </a:cubicBezTo>
                <a:moveTo>
                  <a:pt x="175" y="1964"/>
                </a:moveTo>
                <a:lnTo>
                  <a:pt x="1250" y="1964"/>
                </a:lnTo>
                <a:cubicBezTo>
                  <a:pt x="1423" y="1670"/>
                  <a:pt x="1669" y="1426"/>
                  <a:pt x="1964" y="1254"/>
                </a:cubicBezTo>
                <a:lnTo>
                  <a:pt x="1964" y="180"/>
                </a:lnTo>
                <a:cubicBezTo>
                  <a:pt x="1130" y="477"/>
                  <a:pt x="472" y="1133"/>
                  <a:pt x="175" y="1964"/>
                </a:cubicBezTo>
                <a:moveTo>
                  <a:pt x="982" y="15709"/>
                </a:moveTo>
                <a:lnTo>
                  <a:pt x="0" y="15709"/>
                </a:lnTo>
                <a:lnTo>
                  <a:pt x="0" y="17673"/>
                </a:lnTo>
                <a:lnTo>
                  <a:pt x="982" y="17673"/>
                </a:lnTo>
                <a:cubicBezTo>
                  <a:pt x="982" y="17673"/>
                  <a:pt x="982" y="15709"/>
                  <a:pt x="982" y="15709"/>
                </a:cubicBezTo>
                <a:close/>
                <a:moveTo>
                  <a:pt x="982" y="11782"/>
                </a:moveTo>
                <a:lnTo>
                  <a:pt x="0" y="11782"/>
                </a:lnTo>
                <a:lnTo>
                  <a:pt x="0" y="13745"/>
                </a:lnTo>
                <a:lnTo>
                  <a:pt x="982" y="13745"/>
                </a:lnTo>
                <a:cubicBezTo>
                  <a:pt x="982" y="13745"/>
                  <a:pt x="982" y="11782"/>
                  <a:pt x="982"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7" name="Shape 2717"/>
          <p:cNvSpPr/>
          <p:nvPr/>
        </p:nvSpPr>
        <p:spPr>
          <a:xfrm>
            <a:off x="4260157" y="307947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1782"/>
                </a:moveTo>
                <a:cubicBezTo>
                  <a:pt x="14592" y="11782"/>
                  <a:pt x="14469" y="11837"/>
                  <a:pt x="14380" y="11926"/>
                </a:cubicBezTo>
                <a:lnTo>
                  <a:pt x="11291" y="15015"/>
                </a:lnTo>
                <a:lnTo>
                  <a:pt x="11291" y="5400"/>
                </a:lnTo>
                <a:cubicBezTo>
                  <a:pt x="11291" y="5129"/>
                  <a:pt x="11071" y="4909"/>
                  <a:pt x="10800" y="4909"/>
                </a:cubicBezTo>
                <a:cubicBezTo>
                  <a:pt x="10529" y="4909"/>
                  <a:pt x="10309" y="5129"/>
                  <a:pt x="10309" y="5400"/>
                </a:cubicBezTo>
                <a:lnTo>
                  <a:pt x="10309" y="15015"/>
                </a:lnTo>
                <a:lnTo>
                  <a:pt x="7220" y="11926"/>
                </a:lnTo>
                <a:cubicBezTo>
                  <a:pt x="7131" y="11837"/>
                  <a:pt x="7008" y="11782"/>
                  <a:pt x="6873" y="11782"/>
                </a:cubicBezTo>
                <a:cubicBezTo>
                  <a:pt x="6601" y="11782"/>
                  <a:pt x="6382" y="12001"/>
                  <a:pt x="6382" y="12273"/>
                </a:cubicBezTo>
                <a:cubicBezTo>
                  <a:pt x="6382" y="12408"/>
                  <a:pt x="6437" y="12531"/>
                  <a:pt x="6526" y="12620"/>
                </a:cubicBezTo>
                <a:lnTo>
                  <a:pt x="10453" y="16547"/>
                </a:lnTo>
                <a:cubicBezTo>
                  <a:pt x="10542" y="16636"/>
                  <a:pt x="10664" y="16691"/>
                  <a:pt x="10800" y="16691"/>
                </a:cubicBezTo>
                <a:cubicBezTo>
                  <a:pt x="10936" y="16691"/>
                  <a:pt x="11058" y="16636"/>
                  <a:pt x="11147" y="16547"/>
                </a:cubicBezTo>
                <a:lnTo>
                  <a:pt x="15074" y="12620"/>
                </a:lnTo>
                <a:cubicBezTo>
                  <a:pt x="15163" y="12531"/>
                  <a:pt x="15218" y="12408"/>
                  <a:pt x="15218" y="12273"/>
                </a:cubicBezTo>
                <a:cubicBezTo>
                  <a:pt x="15218" y="12001"/>
                  <a:pt x="14999" y="11782"/>
                  <a:pt x="14727" y="11782"/>
                </a:cubicBezTo>
                <a:moveTo>
                  <a:pt x="11782" y="21600"/>
                </a:moveTo>
                <a:lnTo>
                  <a:pt x="13745" y="21600"/>
                </a:lnTo>
                <a:lnTo>
                  <a:pt x="13745" y="20618"/>
                </a:lnTo>
                <a:lnTo>
                  <a:pt x="11782" y="20618"/>
                </a:lnTo>
                <a:cubicBezTo>
                  <a:pt x="11782" y="20618"/>
                  <a:pt x="11782" y="21600"/>
                  <a:pt x="11782" y="21600"/>
                </a:cubicBezTo>
                <a:close/>
                <a:moveTo>
                  <a:pt x="7855" y="21600"/>
                </a:moveTo>
                <a:lnTo>
                  <a:pt x="9818" y="21600"/>
                </a:lnTo>
                <a:lnTo>
                  <a:pt x="9818" y="20618"/>
                </a:lnTo>
                <a:lnTo>
                  <a:pt x="7855" y="20618"/>
                </a:lnTo>
                <a:cubicBezTo>
                  <a:pt x="7855" y="20618"/>
                  <a:pt x="7855" y="21600"/>
                  <a:pt x="7855" y="21600"/>
                </a:cubicBezTo>
                <a:close/>
                <a:moveTo>
                  <a:pt x="15709" y="21600"/>
                </a:moveTo>
                <a:lnTo>
                  <a:pt x="17673" y="21600"/>
                </a:lnTo>
                <a:lnTo>
                  <a:pt x="17673" y="20618"/>
                </a:lnTo>
                <a:lnTo>
                  <a:pt x="15709" y="20618"/>
                </a:lnTo>
                <a:cubicBezTo>
                  <a:pt x="15709" y="20618"/>
                  <a:pt x="15709" y="21600"/>
                  <a:pt x="15709" y="21600"/>
                </a:cubicBezTo>
                <a:close/>
                <a:moveTo>
                  <a:pt x="20618" y="9818"/>
                </a:moveTo>
                <a:lnTo>
                  <a:pt x="21600" y="9818"/>
                </a:lnTo>
                <a:lnTo>
                  <a:pt x="21600" y="7855"/>
                </a:lnTo>
                <a:lnTo>
                  <a:pt x="20618" y="7855"/>
                </a:lnTo>
                <a:cubicBezTo>
                  <a:pt x="20618" y="7855"/>
                  <a:pt x="20618" y="9818"/>
                  <a:pt x="20618" y="9818"/>
                </a:cubicBezTo>
                <a:close/>
                <a:moveTo>
                  <a:pt x="3927" y="982"/>
                </a:moveTo>
                <a:lnTo>
                  <a:pt x="5891" y="982"/>
                </a:lnTo>
                <a:lnTo>
                  <a:pt x="5891" y="0"/>
                </a:lnTo>
                <a:lnTo>
                  <a:pt x="3927" y="0"/>
                </a:lnTo>
                <a:cubicBezTo>
                  <a:pt x="3927" y="0"/>
                  <a:pt x="3927" y="982"/>
                  <a:pt x="3927" y="982"/>
                </a:cubicBezTo>
                <a:close/>
                <a:moveTo>
                  <a:pt x="19636" y="20346"/>
                </a:moveTo>
                <a:lnTo>
                  <a:pt x="19636" y="21420"/>
                </a:lnTo>
                <a:cubicBezTo>
                  <a:pt x="20470" y="21123"/>
                  <a:pt x="21128" y="20467"/>
                  <a:pt x="21426" y="19636"/>
                </a:cubicBezTo>
                <a:lnTo>
                  <a:pt x="20350" y="19636"/>
                </a:lnTo>
                <a:cubicBezTo>
                  <a:pt x="20177" y="19929"/>
                  <a:pt x="19931" y="20174"/>
                  <a:pt x="19636" y="20346"/>
                </a:cubicBezTo>
                <a:moveTo>
                  <a:pt x="20618" y="5891"/>
                </a:moveTo>
                <a:lnTo>
                  <a:pt x="21600" y="5891"/>
                </a:lnTo>
                <a:lnTo>
                  <a:pt x="21600" y="3927"/>
                </a:lnTo>
                <a:lnTo>
                  <a:pt x="20618" y="3927"/>
                </a:lnTo>
                <a:cubicBezTo>
                  <a:pt x="20618" y="3927"/>
                  <a:pt x="20618" y="5891"/>
                  <a:pt x="20618" y="5891"/>
                </a:cubicBezTo>
                <a:close/>
                <a:moveTo>
                  <a:pt x="20618" y="17673"/>
                </a:moveTo>
                <a:lnTo>
                  <a:pt x="21600" y="17673"/>
                </a:lnTo>
                <a:lnTo>
                  <a:pt x="21600" y="15709"/>
                </a:lnTo>
                <a:lnTo>
                  <a:pt x="20618" y="15709"/>
                </a:lnTo>
                <a:cubicBezTo>
                  <a:pt x="20618" y="15709"/>
                  <a:pt x="20618" y="17673"/>
                  <a:pt x="20618" y="1767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982" y="3927"/>
                </a:moveTo>
                <a:lnTo>
                  <a:pt x="0" y="3927"/>
                </a:lnTo>
                <a:lnTo>
                  <a:pt x="0" y="5891"/>
                </a:lnTo>
                <a:lnTo>
                  <a:pt x="982" y="5891"/>
                </a:lnTo>
                <a:cubicBezTo>
                  <a:pt x="982" y="5891"/>
                  <a:pt x="982" y="3927"/>
                  <a:pt x="982" y="3927"/>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8" y="1133"/>
                  <a:pt x="20470" y="477"/>
                  <a:pt x="19636" y="180"/>
                </a:cubicBezTo>
                <a:lnTo>
                  <a:pt x="19636" y="1254"/>
                </a:lnTo>
                <a:cubicBezTo>
                  <a:pt x="19931" y="1426"/>
                  <a:pt x="20177" y="1670"/>
                  <a:pt x="20350" y="1964"/>
                </a:cubicBezTo>
                <a:moveTo>
                  <a:pt x="982" y="7855"/>
                </a:moveTo>
                <a:lnTo>
                  <a:pt x="0" y="7855"/>
                </a:lnTo>
                <a:lnTo>
                  <a:pt x="0" y="9818"/>
                </a:lnTo>
                <a:lnTo>
                  <a:pt x="982" y="9818"/>
                </a:lnTo>
                <a:cubicBezTo>
                  <a:pt x="982" y="9818"/>
                  <a:pt x="982" y="7855"/>
                  <a:pt x="982" y="7855"/>
                </a:cubicBezTo>
                <a:close/>
                <a:moveTo>
                  <a:pt x="13745" y="0"/>
                </a:moveTo>
                <a:lnTo>
                  <a:pt x="11782" y="0"/>
                </a:lnTo>
                <a:lnTo>
                  <a:pt x="11782" y="982"/>
                </a:lnTo>
                <a:lnTo>
                  <a:pt x="13745" y="982"/>
                </a:lnTo>
                <a:cubicBezTo>
                  <a:pt x="13745" y="982"/>
                  <a:pt x="13745" y="0"/>
                  <a:pt x="13745" y="0"/>
                </a:cubicBezTo>
                <a:close/>
                <a:moveTo>
                  <a:pt x="982" y="11782"/>
                </a:moveTo>
                <a:lnTo>
                  <a:pt x="0" y="11782"/>
                </a:lnTo>
                <a:lnTo>
                  <a:pt x="0" y="13745"/>
                </a:lnTo>
                <a:lnTo>
                  <a:pt x="982" y="13745"/>
                </a:lnTo>
                <a:cubicBezTo>
                  <a:pt x="982" y="13745"/>
                  <a:pt x="982" y="11782"/>
                  <a:pt x="982" y="11782"/>
                </a:cubicBezTo>
                <a:close/>
                <a:moveTo>
                  <a:pt x="175" y="1964"/>
                </a:moveTo>
                <a:lnTo>
                  <a:pt x="1250" y="1964"/>
                </a:lnTo>
                <a:cubicBezTo>
                  <a:pt x="1423" y="1670"/>
                  <a:pt x="1669" y="1426"/>
                  <a:pt x="1964" y="1254"/>
                </a:cubicBezTo>
                <a:lnTo>
                  <a:pt x="1964" y="180"/>
                </a:lnTo>
                <a:cubicBezTo>
                  <a:pt x="1130" y="477"/>
                  <a:pt x="472" y="1133"/>
                  <a:pt x="175" y="1964"/>
                </a:cubicBezTo>
                <a:moveTo>
                  <a:pt x="1250" y="19636"/>
                </a:moveTo>
                <a:lnTo>
                  <a:pt x="175" y="19636"/>
                </a:lnTo>
                <a:cubicBezTo>
                  <a:pt x="472" y="20467"/>
                  <a:pt x="1130" y="21123"/>
                  <a:pt x="1964" y="21420"/>
                </a:cubicBezTo>
                <a:lnTo>
                  <a:pt x="1964" y="20346"/>
                </a:lnTo>
                <a:cubicBezTo>
                  <a:pt x="1669" y="20174"/>
                  <a:pt x="1423" y="19929"/>
                  <a:pt x="1250" y="19636"/>
                </a:cubicBezTo>
                <a:moveTo>
                  <a:pt x="3927" y="21600"/>
                </a:moveTo>
                <a:lnTo>
                  <a:pt x="5891" y="21600"/>
                </a:lnTo>
                <a:lnTo>
                  <a:pt x="5891" y="20618"/>
                </a:lnTo>
                <a:lnTo>
                  <a:pt x="3927" y="20618"/>
                </a:lnTo>
                <a:cubicBezTo>
                  <a:pt x="3927" y="20618"/>
                  <a:pt x="3927" y="21600"/>
                  <a:pt x="3927" y="21600"/>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8" name="Shape 2718"/>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3927" y="982"/>
                </a:moveTo>
                <a:lnTo>
                  <a:pt x="5891" y="982"/>
                </a:lnTo>
                <a:lnTo>
                  <a:pt x="5891" y="0"/>
                </a:lnTo>
                <a:lnTo>
                  <a:pt x="3927" y="0"/>
                </a:lnTo>
                <a:cubicBezTo>
                  <a:pt x="3927" y="0"/>
                  <a:pt x="3927" y="982"/>
                  <a:pt x="3927" y="982"/>
                </a:cubicBezTo>
                <a:close/>
                <a:moveTo>
                  <a:pt x="11782" y="21600"/>
                </a:moveTo>
                <a:lnTo>
                  <a:pt x="13745" y="21600"/>
                </a:lnTo>
                <a:lnTo>
                  <a:pt x="13745" y="20618"/>
                </a:lnTo>
                <a:lnTo>
                  <a:pt x="11782" y="20618"/>
                </a:lnTo>
                <a:cubicBezTo>
                  <a:pt x="11782" y="20618"/>
                  <a:pt x="11782" y="21600"/>
                  <a:pt x="11782" y="21600"/>
                </a:cubicBezTo>
                <a:close/>
                <a:moveTo>
                  <a:pt x="15709" y="21600"/>
                </a:moveTo>
                <a:lnTo>
                  <a:pt x="17673" y="21600"/>
                </a:lnTo>
                <a:lnTo>
                  <a:pt x="17673" y="20618"/>
                </a:lnTo>
                <a:lnTo>
                  <a:pt x="15709" y="20618"/>
                </a:lnTo>
                <a:cubicBezTo>
                  <a:pt x="15709" y="20618"/>
                  <a:pt x="15709" y="21600"/>
                  <a:pt x="15709" y="21600"/>
                </a:cubicBezTo>
                <a:close/>
                <a:moveTo>
                  <a:pt x="20618" y="5891"/>
                </a:moveTo>
                <a:lnTo>
                  <a:pt x="21600" y="5891"/>
                </a:lnTo>
                <a:lnTo>
                  <a:pt x="21600" y="3927"/>
                </a:lnTo>
                <a:lnTo>
                  <a:pt x="20618" y="3927"/>
                </a:lnTo>
                <a:cubicBezTo>
                  <a:pt x="20618" y="3927"/>
                  <a:pt x="20618" y="5891"/>
                  <a:pt x="20618" y="5891"/>
                </a:cubicBezTo>
                <a:close/>
                <a:moveTo>
                  <a:pt x="11147" y="5053"/>
                </a:moveTo>
                <a:cubicBezTo>
                  <a:pt x="11058" y="4964"/>
                  <a:pt x="10935" y="4909"/>
                  <a:pt x="10800" y="4909"/>
                </a:cubicBezTo>
                <a:cubicBezTo>
                  <a:pt x="10665" y="4909"/>
                  <a:pt x="10542" y="4964"/>
                  <a:pt x="10453" y="5053"/>
                </a:cubicBezTo>
                <a:lnTo>
                  <a:pt x="6526" y="8980"/>
                </a:lnTo>
                <a:cubicBezTo>
                  <a:pt x="6437" y="9069"/>
                  <a:pt x="6382" y="9192"/>
                  <a:pt x="6382" y="9327"/>
                </a:cubicBezTo>
                <a:cubicBezTo>
                  <a:pt x="6382" y="9599"/>
                  <a:pt x="6602" y="9818"/>
                  <a:pt x="6873" y="9818"/>
                </a:cubicBezTo>
                <a:cubicBezTo>
                  <a:pt x="7008" y="9818"/>
                  <a:pt x="7131" y="9764"/>
                  <a:pt x="7220" y="9674"/>
                </a:cubicBezTo>
                <a:lnTo>
                  <a:pt x="10309" y="6585"/>
                </a:lnTo>
                <a:lnTo>
                  <a:pt x="10309" y="16200"/>
                </a:lnTo>
                <a:cubicBezTo>
                  <a:pt x="10309" y="16471"/>
                  <a:pt x="10529" y="16691"/>
                  <a:pt x="10800" y="16691"/>
                </a:cubicBezTo>
                <a:cubicBezTo>
                  <a:pt x="11071" y="16691"/>
                  <a:pt x="11291" y="16471"/>
                  <a:pt x="11291" y="16200"/>
                </a:cubicBezTo>
                <a:lnTo>
                  <a:pt x="11291" y="6585"/>
                </a:lnTo>
                <a:lnTo>
                  <a:pt x="14380" y="9674"/>
                </a:lnTo>
                <a:cubicBezTo>
                  <a:pt x="14469" y="9764"/>
                  <a:pt x="14592" y="9818"/>
                  <a:pt x="14727" y="9818"/>
                </a:cubicBezTo>
                <a:cubicBezTo>
                  <a:pt x="14998" y="9818"/>
                  <a:pt x="15218" y="9599"/>
                  <a:pt x="15218" y="9327"/>
                </a:cubicBezTo>
                <a:cubicBezTo>
                  <a:pt x="15218" y="9192"/>
                  <a:pt x="15163" y="9069"/>
                  <a:pt x="15074" y="8980"/>
                </a:cubicBezTo>
                <a:cubicBezTo>
                  <a:pt x="15074" y="8980"/>
                  <a:pt x="11147" y="5053"/>
                  <a:pt x="11147" y="5053"/>
                </a:cubicBezTo>
                <a:close/>
                <a:moveTo>
                  <a:pt x="20618" y="13745"/>
                </a:moveTo>
                <a:lnTo>
                  <a:pt x="21600" y="13745"/>
                </a:lnTo>
                <a:lnTo>
                  <a:pt x="21600" y="11782"/>
                </a:lnTo>
                <a:lnTo>
                  <a:pt x="20618" y="11782"/>
                </a:lnTo>
                <a:cubicBezTo>
                  <a:pt x="20618" y="11782"/>
                  <a:pt x="20618" y="13745"/>
                  <a:pt x="20618" y="13745"/>
                </a:cubicBezTo>
                <a:close/>
                <a:moveTo>
                  <a:pt x="15709" y="982"/>
                </a:moveTo>
                <a:lnTo>
                  <a:pt x="17673" y="982"/>
                </a:lnTo>
                <a:lnTo>
                  <a:pt x="17673" y="0"/>
                </a:lnTo>
                <a:lnTo>
                  <a:pt x="15709" y="0"/>
                </a:lnTo>
                <a:cubicBezTo>
                  <a:pt x="15709" y="0"/>
                  <a:pt x="15709" y="982"/>
                  <a:pt x="15709" y="982"/>
                </a:cubicBezTo>
                <a:close/>
                <a:moveTo>
                  <a:pt x="20618" y="9818"/>
                </a:moveTo>
                <a:lnTo>
                  <a:pt x="21600" y="9818"/>
                </a:lnTo>
                <a:lnTo>
                  <a:pt x="21600" y="7855"/>
                </a:lnTo>
                <a:lnTo>
                  <a:pt x="20618" y="7855"/>
                </a:lnTo>
                <a:cubicBezTo>
                  <a:pt x="20618" y="7855"/>
                  <a:pt x="20618" y="9818"/>
                  <a:pt x="20618" y="9818"/>
                </a:cubicBezTo>
                <a:close/>
                <a:moveTo>
                  <a:pt x="19636" y="20346"/>
                </a:moveTo>
                <a:lnTo>
                  <a:pt x="19636" y="21420"/>
                </a:lnTo>
                <a:cubicBezTo>
                  <a:pt x="20469" y="21123"/>
                  <a:pt x="21129" y="20467"/>
                  <a:pt x="21426" y="19636"/>
                </a:cubicBezTo>
                <a:lnTo>
                  <a:pt x="20350" y="19636"/>
                </a:lnTo>
                <a:cubicBezTo>
                  <a:pt x="20177" y="19929"/>
                  <a:pt x="19931" y="20174"/>
                  <a:pt x="19636" y="20346"/>
                </a:cubicBezTo>
                <a:moveTo>
                  <a:pt x="20618" y="17673"/>
                </a:moveTo>
                <a:lnTo>
                  <a:pt x="21600" y="17673"/>
                </a:lnTo>
                <a:lnTo>
                  <a:pt x="21600" y="15709"/>
                </a:lnTo>
                <a:lnTo>
                  <a:pt x="20618" y="15709"/>
                </a:lnTo>
                <a:cubicBezTo>
                  <a:pt x="20618" y="15709"/>
                  <a:pt x="20618" y="17673"/>
                  <a:pt x="20618" y="17673"/>
                </a:cubicBezTo>
                <a:close/>
                <a:moveTo>
                  <a:pt x="7855" y="21600"/>
                </a:moveTo>
                <a:lnTo>
                  <a:pt x="9818" y="21600"/>
                </a:lnTo>
                <a:lnTo>
                  <a:pt x="9818" y="20618"/>
                </a:lnTo>
                <a:lnTo>
                  <a:pt x="7855" y="20618"/>
                </a:lnTo>
                <a:cubicBezTo>
                  <a:pt x="7855" y="20618"/>
                  <a:pt x="7855" y="21600"/>
                  <a:pt x="7855" y="21600"/>
                </a:cubicBezTo>
                <a:close/>
                <a:moveTo>
                  <a:pt x="9818" y="0"/>
                </a:moveTo>
                <a:lnTo>
                  <a:pt x="7855" y="0"/>
                </a:lnTo>
                <a:lnTo>
                  <a:pt x="7855" y="982"/>
                </a:lnTo>
                <a:lnTo>
                  <a:pt x="9818" y="982"/>
                </a:lnTo>
                <a:cubicBezTo>
                  <a:pt x="9818" y="982"/>
                  <a:pt x="9818" y="0"/>
                  <a:pt x="9818" y="0"/>
                </a:cubicBezTo>
                <a:close/>
                <a:moveTo>
                  <a:pt x="20350" y="1964"/>
                </a:moveTo>
                <a:lnTo>
                  <a:pt x="21426" y="1964"/>
                </a:lnTo>
                <a:cubicBezTo>
                  <a:pt x="21129" y="1133"/>
                  <a:pt x="20469" y="477"/>
                  <a:pt x="19636" y="180"/>
                </a:cubicBezTo>
                <a:lnTo>
                  <a:pt x="19636" y="1254"/>
                </a:lnTo>
                <a:cubicBezTo>
                  <a:pt x="19931" y="1426"/>
                  <a:pt x="20177" y="1670"/>
                  <a:pt x="20350" y="1964"/>
                </a:cubicBezTo>
                <a:moveTo>
                  <a:pt x="982" y="3927"/>
                </a:moveTo>
                <a:lnTo>
                  <a:pt x="0" y="3927"/>
                </a:lnTo>
                <a:lnTo>
                  <a:pt x="0" y="5891"/>
                </a:lnTo>
                <a:lnTo>
                  <a:pt x="982" y="5891"/>
                </a:lnTo>
                <a:cubicBezTo>
                  <a:pt x="982" y="5891"/>
                  <a:pt x="982" y="3927"/>
                  <a:pt x="982" y="3927"/>
                </a:cubicBezTo>
                <a:close/>
                <a:moveTo>
                  <a:pt x="3927" y="21600"/>
                </a:moveTo>
                <a:lnTo>
                  <a:pt x="5891" y="21600"/>
                </a:lnTo>
                <a:lnTo>
                  <a:pt x="5891" y="20618"/>
                </a:lnTo>
                <a:lnTo>
                  <a:pt x="3927" y="20618"/>
                </a:lnTo>
                <a:cubicBezTo>
                  <a:pt x="3927" y="20618"/>
                  <a:pt x="3927" y="21600"/>
                  <a:pt x="3927" y="21600"/>
                </a:cubicBezTo>
                <a:close/>
                <a:moveTo>
                  <a:pt x="13745" y="0"/>
                </a:moveTo>
                <a:lnTo>
                  <a:pt x="11782" y="0"/>
                </a:lnTo>
                <a:lnTo>
                  <a:pt x="11782" y="982"/>
                </a:lnTo>
                <a:lnTo>
                  <a:pt x="13745" y="982"/>
                </a:lnTo>
                <a:cubicBezTo>
                  <a:pt x="13745" y="982"/>
                  <a:pt x="13745" y="0"/>
                  <a:pt x="13745" y="0"/>
                </a:cubicBezTo>
                <a:close/>
                <a:moveTo>
                  <a:pt x="174" y="1964"/>
                </a:moveTo>
                <a:lnTo>
                  <a:pt x="1250" y="1964"/>
                </a:lnTo>
                <a:cubicBezTo>
                  <a:pt x="1423" y="1670"/>
                  <a:pt x="1669" y="1426"/>
                  <a:pt x="1964" y="1254"/>
                </a:cubicBezTo>
                <a:lnTo>
                  <a:pt x="1964" y="180"/>
                </a:lnTo>
                <a:cubicBezTo>
                  <a:pt x="1131" y="477"/>
                  <a:pt x="472" y="1133"/>
                  <a:pt x="174" y="1964"/>
                </a:cubicBezTo>
                <a:moveTo>
                  <a:pt x="1250" y="19636"/>
                </a:moveTo>
                <a:lnTo>
                  <a:pt x="174" y="19636"/>
                </a:lnTo>
                <a:cubicBezTo>
                  <a:pt x="472" y="20467"/>
                  <a:pt x="1131" y="21123"/>
                  <a:pt x="1964" y="21420"/>
                </a:cubicBezTo>
                <a:lnTo>
                  <a:pt x="1964" y="20346"/>
                </a:lnTo>
                <a:cubicBezTo>
                  <a:pt x="1669" y="20174"/>
                  <a:pt x="1423" y="19929"/>
                  <a:pt x="1250" y="19636"/>
                </a:cubicBezTo>
                <a:moveTo>
                  <a:pt x="982" y="11782"/>
                </a:moveTo>
                <a:lnTo>
                  <a:pt x="0" y="11782"/>
                </a:lnTo>
                <a:lnTo>
                  <a:pt x="0" y="13745"/>
                </a:lnTo>
                <a:lnTo>
                  <a:pt x="982" y="13745"/>
                </a:lnTo>
                <a:cubicBezTo>
                  <a:pt x="982" y="13745"/>
                  <a:pt x="982" y="11782"/>
                  <a:pt x="982" y="11782"/>
                </a:cubicBezTo>
                <a:close/>
                <a:moveTo>
                  <a:pt x="982" y="7855"/>
                </a:moveTo>
                <a:lnTo>
                  <a:pt x="0" y="7855"/>
                </a:lnTo>
                <a:lnTo>
                  <a:pt x="0" y="9818"/>
                </a:lnTo>
                <a:lnTo>
                  <a:pt x="982" y="9818"/>
                </a:lnTo>
                <a:cubicBezTo>
                  <a:pt x="982" y="9818"/>
                  <a:pt x="982" y="7855"/>
                  <a:pt x="982" y="7855"/>
                </a:cubicBezTo>
                <a:close/>
                <a:moveTo>
                  <a:pt x="982" y="15709"/>
                </a:moveTo>
                <a:lnTo>
                  <a:pt x="0" y="15709"/>
                </a:lnTo>
                <a:lnTo>
                  <a:pt x="0" y="17673"/>
                </a:lnTo>
                <a:lnTo>
                  <a:pt x="982" y="17673"/>
                </a:lnTo>
                <a:cubicBezTo>
                  <a:pt x="982" y="17673"/>
                  <a:pt x="982" y="15709"/>
                  <a:pt x="982" y="157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19" name="Shape 2719"/>
          <p:cNvSpPr/>
          <p:nvPr/>
        </p:nvSpPr>
        <p:spPr>
          <a:xfrm>
            <a:off x="1060590"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600"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7446" y="18078"/>
                </a:moveTo>
                <a:lnTo>
                  <a:pt x="18081" y="18771"/>
                </a:lnTo>
                <a:cubicBezTo>
                  <a:pt x="18572" y="18323"/>
                  <a:pt x="19024" y="17827"/>
                  <a:pt x="19424" y="17297"/>
                </a:cubicBezTo>
                <a:lnTo>
                  <a:pt x="18672" y="16732"/>
                </a:lnTo>
                <a:cubicBezTo>
                  <a:pt x="18307" y="17216"/>
                  <a:pt x="17894" y="17669"/>
                  <a:pt x="17446" y="18078"/>
                </a:cubicBezTo>
                <a:moveTo>
                  <a:pt x="19632" y="15184"/>
                </a:moveTo>
                <a:lnTo>
                  <a:pt x="20474" y="15602"/>
                </a:lnTo>
                <a:cubicBezTo>
                  <a:pt x="20770" y="15008"/>
                  <a:pt x="21012" y="14383"/>
                  <a:pt x="21194" y="13743"/>
                </a:cubicBezTo>
                <a:lnTo>
                  <a:pt x="20288" y="13487"/>
                </a:lnTo>
                <a:cubicBezTo>
                  <a:pt x="20123" y="14071"/>
                  <a:pt x="19901" y="14642"/>
                  <a:pt x="19632" y="15184"/>
                </a:cubicBezTo>
                <a:moveTo>
                  <a:pt x="2873" y="4886"/>
                </a:moveTo>
                <a:lnTo>
                  <a:pt x="2120" y="4322"/>
                </a:lnTo>
                <a:cubicBezTo>
                  <a:pt x="1721" y="4854"/>
                  <a:pt x="1369" y="5424"/>
                  <a:pt x="1074" y="6018"/>
                </a:cubicBezTo>
                <a:lnTo>
                  <a:pt x="1917" y="6435"/>
                </a:lnTo>
                <a:cubicBezTo>
                  <a:pt x="2186" y="5892"/>
                  <a:pt x="2508" y="5371"/>
                  <a:pt x="2873" y="4886"/>
                </a:cubicBezTo>
                <a:moveTo>
                  <a:pt x="943" y="11741"/>
                </a:moveTo>
                <a:lnTo>
                  <a:pt x="6" y="11829"/>
                </a:lnTo>
                <a:cubicBezTo>
                  <a:pt x="69" y="12492"/>
                  <a:pt x="194" y="13151"/>
                  <a:pt x="377" y="13786"/>
                </a:cubicBezTo>
                <a:lnTo>
                  <a:pt x="1281" y="13527"/>
                </a:lnTo>
                <a:cubicBezTo>
                  <a:pt x="1114" y="12946"/>
                  <a:pt x="1000" y="12346"/>
                  <a:pt x="943" y="11741"/>
                </a:cubicBezTo>
                <a:moveTo>
                  <a:pt x="1265" y="8133"/>
                </a:moveTo>
                <a:lnTo>
                  <a:pt x="359" y="7879"/>
                </a:lnTo>
                <a:cubicBezTo>
                  <a:pt x="179" y="8516"/>
                  <a:pt x="59" y="9176"/>
                  <a:pt x="0" y="9838"/>
                </a:cubicBezTo>
                <a:lnTo>
                  <a:pt x="938" y="9921"/>
                </a:lnTo>
                <a:cubicBezTo>
                  <a:pt x="991" y="9316"/>
                  <a:pt x="1101" y="8714"/>
                  <a:pt x="1265" y="8133"/>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765" y="182"/>
                </a:moveTo>
                <a:cubicBezTo>
                  <a:pt x="12115" y="61"/>
                  <a:pt x="11448" y="0"/>
                  <a:pt x="10788" y="0"/>
                </a:cubicBezTo>
                <a:lnTo>
                  <a:pt x="10787" y="0"/>
                </a:lnTo>
                <a:lnTo>
                  <a:pt x="10736" y="0"/>
                </a:lnTo>
                <a:lnTo>
                  <a:pt x="10779" y="940"/>
                </a:lnTo>
                <a:cubicBezTo>
                  <a:pt x="11389" y="940"/>
                  <a:pt x="12000" y="995"/>
                  <a:pt x="12594" y="1105"/>
                </a:cubicBezTo>
                <a:cubicBezTo>
                  <a:pt x="12594" y="1105"/>
                  <a:pt x="12765" y="182"/>
                  <a:pt x="12765" y="182"/>
                </a:cubicBezTo>
                <a:close/>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0" name="Shape 2720"/>
          <p:cNvSpPr/>
          <p:nvPr/>
        </p:nvSpPr>
        <p:spPr>
          <a:xfrm>
            <a:off x="1460535"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14735"/>
                </a:moveTo>
                <a:cubicBezTo>
                  <a:pt x="8622" y="14735"/>
                  <a:pt x="6857" y="12973"/>
                  <a:pt x="6857" y="10800"/>
                </a:cubicBezTo>
                <a:cubicBezTo>
                  <a:pt x="6857" y="8627"/>
                  <a:pt x="8622" y="6865"/>
                  <a:pt x="10800" y="6865"/>
                </a:cubicBezTo>
                <a:cubicBezTo>
                  <a:pt x="12978" y="6865"/>
                  <a:pt x="14743" y="8627"/>
                  <a:pt x="14743" y="10800"/>
                </a:cubicBezTo>
                <a:cubicBezTo>
                  <a:pt x="14743" y="12973"/>
                  <a:pt x="12978" y="14735"/>
                  <a:pt x="10800" y="14735"/>
                </a:cubicBezTo>
                <a:moveTo>
                  <a:pt x="10800" y="5881"/>
                </a:moveTo>
                <a:cubicBezTo>
                  <a:pt x="8078" y="5881"/>
                  <a:pt x="5871" y="8083"/>
                  <a:pt x="5871" y="10800"/>
                </a:cubicBezTo>
                <a:cubicBezTo>
                  <a:pt x="5871" y="13517"/>
                  <a:pt x="8078" y="15719"/>
                  <a:pt x="10800" y="15719"/>
                </a:cubicBezTo>
                <a:cubicBezTo>
                  <a:pt x="13522" y="15719"/>
                  <a:pt x="15729" y="13517"/>
                  <a:pt x="15729" y="10800"/>
                </a:cubicBezTo>
                <a:cubicBezTo>
                  <a:pt x="15729" y="8083"/>
                  <a:pt x="13522" y="5881"/>
                  <a:pt x="10800" y="5881"/>
                </a:cubicBezTo>
                <a:moveTo>
                  <a:pt x="10800" y="20661"/>
                </a:moveTo>
                <a:lnTo>
                  <a:pt x="10801" y="21600"/>
                </a:lnTo>
                <a:cubicBezTo>
                  <a:pt x="11469" y="21598"/>
                  <a:pt x="12137" y="21536"/>
                  <a:pt x="12788" y="21415"/>
                </a:cubicBezTo>
                <a:lnTo>
                  <a:pt x="12614" y="20491"/>
                </a:lnTo>
                <a:cubicBezTo>
                  <a:pt x="12020" y="20603"/>
                  <a:pt x="11409" y="20660"/>
                  <a:pt x="10800" y="20661"/>
                </a:cubicBezTo>
                <a:moveTo>
                  <a:pt x="18660" y="4854"/>
                </a:moveTo>
                <a:lnTo>
                  <a:pt x="19411" y="4287"/>
                </a:lnTo>
                <a:cubicBezTo>
                  <a:pt x="19011" y="3759"/>
                  <a:pt x="18558" y="3264"/>
                  <a:pt x="18065" y="2816"/>
                </a:cubicBezTo>
                <a:lnTo>
                  <a:pt x="17432" y="3510"/>
                </a:lnTo>
                <a:cubicBezTo>
                  <a:pt x="17882" y="3919"/>
                  <a:pt x="18295" y="4371"/>
                  <a:pt x="18660" y="485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5546" y="2435"/>
                </a:moveTo>
                <a:lnTo>
                  <a:pt x="5048" y="1639"/>
                </a:lnTo>
                <a:cubicBezTo>
                  <a:pt x="4484" y="1991"/>
                  <a:pt x="3950" y="2397"/>
                  <a:pt x="3460" y="2846"/>
                </a:cubicBezTo>
                <a:lnTo>
                  <a:pt x="4096" y="3538"/>
                </a:lnTo>
                <a:cubicBezTo>
                  <a:pt x="4544" y="3127"/>
                  <a:pt x="5032" y="2756"/>
                  <a:pt x="5546" y="2435"/>
                </a:cubicBezTo>
                <a:moveTo>
                  <a:pt x="8924" y="1113"/>
                </a:moveTo>
                <a:lnTo>
                  <a:pt x="8748" y="190"/>
                </a:lnTo>
                <a:cubicBezTo>
                  <a:pt x="8093" y="315"/>
                  <a:pt x="7448" y="501"/>
                  <a:pt x="6830" y="743"/>
                </a:cubicBezTo>
                <a:lnTo>
                  <a:pt x="7173" y="1617"/>
                </a:lnTo>
                <a:cubicBezTo>
                  <a:pt x="7738" y="1396"/>
                  <a:pt x="8327" y="1226"/>
                  <a:pt x="8924" y="1113"/>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2873" y="4886"/>
                </a:moveTo>
                <a:lnTo>
                  <a:pt x="2120" y="4322"/>
                </a:lnTo>
                <a:cubicBezTo>
                  <a:pt x="1721" y="4854"/>
                  <a:pt x="1369" y="5424"/>
                  <a:pt x="1074" y="6018"/>
                </a:cubicBezTo>
                <a:lnTo>
                  <a:pt x="1917" y="6435"/>
                </a:lnTo>
                <a:cubicBezTo>
                  <a:pt x="2186" y="5892"/>
                  <a:pt x="2508" y="5371"/>
                  <a:pt x="2873" y="4886"/>
                </a:cubicBezTo>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1" name="Shape 2721"/>
          <p:cNvSpPr/>
          <p:nvPr/>
        </p:nvSpPr>
        <p:spPr>
          <a:xfrm>
            <a:off x="1860482" y="3479418"/>
            <a:ext cx="208659" cy="209069"/>
          </a:xfrm>
          <a:custGeom>
            <a:avLst/>
            <a:gdLst/>
            <a:ahLst/>
            <a:cxnLst>
              <a:cxn ang="0">
                <a:pos x="wd2" y="hd2"/>
              </a:cxn>
              <a:cxn ang="5400000">
                <a:pos x="wd2" y="hd2"/>
              </a:cxn>
              <a:cxn ang="10800000">
                <a:pos x="wd2" y="hd2"/>
              </a:cxn>
              <a:cxn ang="16200000">
                <a:pos x="wd2" y="hd2"/>
              </a:cxn>
            </a:cxnLst>
            <a:rect l="0" t="0" r="r" b="b"/>
            <a:pathLst>
              <a:path w="21600" h="21600" extrusionOk="0">
                <a:moveTo>
                  <a:pt x="14365" y="19991"/>
                </a:moveTo>
                <a:lnTo>
                  <a:pt x="14707" y="20866"/>
                </a:lnTo>
                <a:cubicBezTo>
                  <a:pt x="15328" y="20625"/>
                  <a:pt x="15928" y="20324"/>
                  <a:pt x="16492" y="19973"/>
                </a:cubicBezTo>
                <a:lnTo>
                  <a:pt x="15994" y="19176"/>
                </a:lnTo>
                <a:cubicBezTo>
                  <a:pt x="15479" y="19497"/>
                  <a:pt x="14931" y="19771"/>
                  <a:pt x="14365" y="19991"/>
                </a:cubicBezTo>
                <a:moveTo>
                  <a:pt x="10800" y="20661"/>
                </a:moveTo>
                <a:lnTo>
                  <a:pt x="10801" y="21600"/>
                </a:lnTo>
                <a:cubicBezTo>
                  <a:pt x="11469" y="21598"/>
                  <a:pt x="12137" y="21536"/>
                  <a:pt x="12788" y="21415"/>
                </a:cubicBezTo>
                <a:lnTo>
                  <a:pt x="12614" y="20491"/>
                </a:lnTo>
                <a:cubicBezTo>
                  <a:pt x="12020" y="20603"/>
                  <a:pt x="11409" y="20660"/>
                  <a:pt x="10800" y="20661"/>
                </a:cubicBezTo>
                <a:moveTo>
                  <a:pt x="11148" y="16559"/>
                </a:moveTo>
                <a:lnTo>
                  <a:pt x="15092" y="12624"/>
                </a:lnTo>
                <a:cubicBezTo>
                  <a:pt x="15181" y="12535"/>
                  <a:pt x="15236" y="12412"/>
                  <a:pt x="15236" y="12276"/>
                </a:cubicBezTo>
                <a:cubicBezTo>
                  <a:pt x="15236" y="12004"/>
                  <a:pt x="15015" y="11784"/>
                  <a:pt x="14743" y="11784"/>
                </a:cubicBezTo>
                <a:cubicBezTo>
                  <a:pt x="14607" y="11784"/>
                  <a:pt x="14483" y="11839"/>
                  <a:pt x="14395" y="11928"/>
                </a:cubicBezTo>
                <a:lnTo>
                  <a:pt x="11293" y="15024"/>
                </a:lnTo>
                <a:lnTo>
                  <a:pt x="11293" y="5389"/>
                </a:lnTo>
                <a:cubicBezTo>
                  <a:pt x="11293" y="5117"/>
                  <a:pt x="11072" y="4897"/>
                  <a:pt x="10800" y="4897"/>
                </a:cubicBezTo>
                <a:cubicBezTo>
                  <a:pt x="10528" y="4897"/>
                  <a:pt x="10307" y="5117"/>
                  <a:pt x="10307" y="5389"/>
                </a:cubicBezTo>
                <a:lnTo>
                  <a:pt x="10307" y="15024"/>
                </a:lnTo>
                <a:lnTo>
                  <a:pt x="7206" y="11928"/>
                </a:lnTo>
                <a:cubicBezTo>
                  <a:pt x="7117" y="11839"/>
                  <a:pt x="6993" y="11784"/>
                  <a:pt x="6857" y="11784"/>
                </a:cubicBezTo>
                <a:cubicBezTo>
                  <a:pt x="6585" y="11784"/>
                  <a:pt x="6364" y="12004"/>
                  <a:pt x="6364" y="12276"/>
                </a:cubicBezTo>
                <a:cubicBezTo>
                  <a:pt x="6364" y="12412"/>
                  <a:pt x="6419" y="12535"/>
                  <a:pt x="6508" y="12624"/>
                </a:cubicBezTo>
                <a:lnTo>
                  <a:pt x="10452" y="16559"/>
                </a:lnTo>
                <a:cubicBezTo>
                  <a:pt x="10541" y="16648"/>
                  <a:pt x="10664" y="16703"/>
                  <a:pt x="10800" y="16703"/>
                </a:cubicBezTo>
                <a:cubicBezTo>
                  <a:pt x="10936" y="16703"/>
                  <a:pt x="11059" y="16648"/>
                  <a:pt x="11148" y="16559"/>
                </a:cubicBezTo>
                <a:moveTo>
                  <a:pt x="18660" y="4854"/>
                </a:moveTo>
                <a:lnTo>
                  <a:pt x="19411" y="4287"/>
                </a:lnTo>
                <a:cubicBezTo>
                  <a:pt x="19011" y="3759"/>
                  <a:pt x="18558" y="3264"/>
                  <a:pt x="18065" y="2816"/>
                </a:cubicBezTo>
                <a:lnTo>
                  <a:pt x="17432" y="3510"/>
                </a:lnTo>
                <a:cubicBezTo>
                  <a:pt x="17882" y="3919"/>
                  <a:pt x="18295" y="4371"/>
                  <a:pt x="18660" y="4854"/>
                </a:cubicBezTo>
                <a:moveTo>
                  <a:pt x="6893" y="20882"/>
                </a:moveTo>
                <a:cubicBezTo>
                  <a:pt x="7514" y="21121"/>
                  <a:pt x="8160" y="21302"/>
                  <a:pt x="8814" y="21422"/>
                </a:cubicBezTo>
                <a:lnTo>
                  <a:pt x="8985" y="20499"/>
                </a:lnTo>
                <a:cubicBezTo>
                  <a:pt x="8387" y="20389"/>
                  <a:pt x="7797" y="20223"/>
                  <a:pt x="7231" y="20006"/>
                </a:cubicBezTo>
                <a:cubicBezTo>
                  <a:pt x="7231" y="20006"/>
                  <a:pt x="6893" y="20882"/>
                  <a:pt x="6893" y="20882"/>
                </a:cubicBezTo>
                <a:close/>
                <a:moveTo>
                  <a:pt x="21553" y="9794"/>
                </a:moveTo>
                <a:lnTo>
                  <a:pt x="20617" y="9880"/>
                </a:lnTo>
                <a:cubicBezTo>
                  <a:pt x="20644" y="10182"/>
                  <a:pt x="20659" y="10492"/>
                  <a:pt x="20659" y="10800"/>
                </a:cubicBezTo>
                <a:cubicBezTo>
                  <a:pt x="20659" y="11099"/>
                  <a:pt x="20645" y="11401"/>
                  <a:pt x="20619" y="11699"/>
                </a:cubicBezTo>
                <a:lnTo>
                  <a:pt x="21556" y="11784"/>
                </a:lnTo>
                <a:cubicBezTo>
                  <a:pt x="21585" y="11458"/>
                  <a:pt x="21600" y="11127"/>
                  <a:pt x="21600" y="10800"/>
                </a:cubicBezTo>
                <a:cubicBezTo>
                  <a:pt x="21599" y="10462"/>
                  <a:pt x="21584" y="10124"/>
                  <a:pt x="21553" y="9794"/>
                </a:cubicBezTo>
                <a:moveTo>
                  <a:pt x="21187" y="7835"/>
                </a:moveTo>
                <a:cubicBezTo>
                  <a:pt x="21005" y="7197"/>
                  <a:pt x="20761" y="6573"/>
                  <a:pt x="20463" y="5978"/>
                </a:cubicBezTo>
                <a:lnTo>
                  <a:pt x="19622" y="6399"/>
                </a:lnTo>
                <a:cubicBezTo>
                  <a:pt x="19893" y="6941"/>
                  <a:pt x="20115" y="7510"/>
                  <a:pt x="20282" y="8094"/>
                </a:cubicBezTo>
                <a:cubicBezTo>
                  <a:pt x="20282" y="8094"/>
                  <a:pt x="21187" y="7835"/>
                  <a:pt x="21187" y="7835"/>
                </a:cubicBezTo>
                <a:close/>
                <a:moveTo>
                  <a:pt x="19632" y="15184"/>
                </a:moveTo>
                <a:lnTo>
                  <a:pt x="20474" y="15602"/>
                </a:lnTo>
                <a:cubicBezTo>
                  <a:pt x="20770" y="15008"/>
                  <a:pt x="21012" y="14383"/>
                  <a:pt x="21194" y="13743"/>
                </a:cubicBezTo>
                <a:lnTo>
                  <a:pt x="20288" y="13487"/>
                </a:lnTo>
                <a:cubicBezTo>
                  <a:pt x="20123" y="14071"/>
                  <a:pt x="19901" y="14642"/>
                  <a:pt x="19632" y="15184"/>
                </a:cubicBezTo>
                <a:moveTo>
                  <a:pt x="17446" y="18078"/>
                </a:moveTo>
                <a:lnTo>
                  <a:pt x="18081" y="18771"/>
                </a:lnTo>
                <a:cubicBezTo>
                  <a:pt x="18572" y="18323"/>
                  <a:pt x="19024" y="17827"/>
                  <a:pt x="19424" y="17297"/>
                </a:cubicBezTo>
                <a:lnTo>
                  <a:pt x="18672" y="16732"/>
                </a:lnTo>
                <a:cubicBezTo>
                  <a:pt x="18307" y="17216"/>
                  <a:pt x="17894" y="17669"/>
                  <a:pt x="17446" y="18078"/>
                </a:cubicBezTo>
                <a:moveTo>
                  <a:pt x="8924" y="1113"/>
                </a:moveTo>
                <a:lnTo>
                  <a:pt x="8748" y="190"/>
                </a:lnTo>
                <a:cubicBezTo>
                  <a:pt x="8093" y="315"/>
                  <a:pt x="7448" y="501"/>
                  <a:pt x="6830" y="743"/>
                </a:cubicBezTo>
                <a:lnTo>
                  <a:pt x="7173" y="1617"/>
                </a:lnTo>
                <a:cubicBezTo>
                  <a:pt x="7738" y="1396"/>
                  <a:pt x="8327" y="1226"/>
                  <a:pt x="8924" y="1113"/>
                </a:cubicBezTo>
                <a:moveTo>
                  <a:pt x="12594" y="1105"/>
                </a:moveTo>
                <a:lnTo>
                  <a:pt x="12765" y="182"/>
                </a:lnTo>
                <a:cubicBezTo>
                  <a:pt x="12115" y="61"/>
                  <a:pt x="11448" y="0"/>
                  <a:pt x="10788" y="0"/>
                </a:cubicBezTo>
                <a:lnTo>
                  <a:pt x="10787" y="0"/>
                </a:lnTo>
                <a:lnTo>
                  <a:pt x="10736" y="0"/>
                </a:lnTo>
                <a:lnTo>
                  <a:pt x="10779" y="940"/>
                </a:lnTo>
                <a:cubicBezTo>
                  <a:pt x="11389" y="940"/>
                  <a:pt x="12000" y="995"/>
                  <a:pt x="12594" y="1105"/>
                </a:cubicBezTo>
                <a:moveTo>
                  <a:pt x="16473" y="1615"/>
                </a:moveTo>
                <a:cubicBezTo>
                  <a:pt x="15908" y="1264"/>
                  <a:pt x="15306" y="966"/>
                  <a:pt x="14686" y="726"/>
                </a:cubicBezTo>
                <a:lnTo>
                  <a:pt x="14347" y="1602"/>
                </a:lnTo>
                <a:cubicBezTo>
                  <a:pt x="14912" y="1821"/>
                  <a:pt x="15462" y="2094"/>
                  <a:pt x="15978" y="2413"/>
                </a:cubicBezTo>
                <a:cubicBezTo>
                  <a:pt x="15978" y="2413"/>
                  <a:pt x="16473" y="1615"/>
                  <a:pt x="16473" y="1615"/>
                </a:cubicBezTo>
                <a:close/>
                <a:moveTo>
                  <a:pt x="3510" y="18800"/>
                </a:moveTo>
                <a:cubicBezTo>
                  <a:pt x="4003" y="19247"/>
                  <a:pt x="4539" y="19650"/>
                  <a:pt x="5105" y="19997"/>
                </a:cubicBezTo>
                <a:lnTo>
                  <a:pt x="5599" y="19198"/>
                </a:lnTo>
                <a:cubicBezTo>
                  <a:pt x="5083" y="18881"/>
                  <a:pt x="4592" y="18513"/>
                  <a:pt x="4142" y="18105"/>
                </a:cubicBezTo>
                <a:cubicBezTo>
                  <a:pt x="4142" y="18105"/>
                  <a:pt x="3510" y="18800"/>
                  <a:pt x="3510" y="18800"/>
                </a:cubicBezTo>
                <a:close/>
                <a:moveTo>
                  <a:pt x="2873" y="4886"/>
                </a:moveTo>
                <a:lnTo>
                  <a:pt x="2120" y="4322"/>
                </a:lnTo>
                <a:cubicBezTo>
                  <a:pt x="1721" y="4854"/>
                  <a:pt x="1369" y="5424"/>
                  <a:pt x="1074" y="6018"/>
                </a:cubicBezTo>
                <a:lnTo>
                  <a:pt x="1917" y="6435"/>
                </a:lnTo>
                <a:cubicBezTo>
                  <a:pt x="2186" y="5892"/>
                  <a:pt x="2508" y="5371"/>
                  <a:pt x="2873" y="4886"/>
                </a:cubicBezTo>
                <a:moveTo>
                  <a:pt x="5546" y="2435"/>
                </a:moveTo>
                <a:lnTo>
                  <a:pt x="5048" y="1639"/>
                </a:lnTo>
                <a:cubicBezTo>
                  <a:pt x="4484" y="1991"/>
                  <a:pt x="3950" y="2397"/>
                  <a:pt x="3460" y="2846"/>
                </a:cubicBezTo>
                <a:lnTo>
                  <a:pt x="4096" y="3538"/>
                </a:lnTo>
                <a:cubicBezTo>
                  <a:pt x="4544" y="3127"/>
                  <a:pt x="5032" y="2756"/>
                  <a:pt x="5546" y="2435"/>
                </a:cubicBezTo>
                <a:moveTo>
                  <a:pt x="1105" y="15642"/>
                </a:moveTo>
                <a:cubicBezTo>
                  <a:pt x="1403" y="16235"/>
                  <a:pt x="1759" y="16804"/>
                  <a:pt x="2161" y="17332"/>
                </a:cubicBezTo>
                <a:lnTo>
                  <a:pt x="2910" y="16763"/>
                </a:lnTo>
                <a:cubicBezTo>
                  <a:pt x="2542" y="16281"/>
                  <a:pt x="2218" y="15762"/>
                  <a:pt x="1945" y="15220"/>
                </a:cubicBezTo>
                <a:cubicBezTo>
                  <a:pt x="1945" y="15220"/>
                  <a:pt x="1105" y="15642"/>
                  <a:pt x="1105" y="15642"/>
                </a:cubicBezTo>
                <a:close/>
                <a:moveTo>
                  <a:pt x="1265" y="8133"/>
                </a:moveTo>
                <a:lnTo>
                  <a:pt x="359" y="7879"/>
                </a:lnTo>
                <a:cubicBezTo>
                  <a:pt x="179" y="8516"/>
                  <a:pt x="59" y="9176"/>
                  <a:pt x="0" y="9838"/>
                </a:cubicBezTo>
                <a:lnTo>
                  <a:pt x="938" y="9921"/>
                </a:lnTo>
                <a:cubicBezTo>
                  <a:pt x="991" y="9316"/>
                  <a:pt x="1101" y="8714"/>
                  <a:pt x="1265" y="8133"/>
                </a:cubicBezTo>
                <a:moveTo>
                  <a:pt x="943" y="11741"/>
                </a:moveTo>
                <a:lnTo>
                  <a:pt x="6" y="11829"/>
                </a:lnTo>
                <a:cubicBezTo>
                  <a:pt x="69" y="12492"/>
                  <a:pt x="194" y="13151"/>
                  <a:pt x="377" y="13786"/>
                </a:cubicBezTo>
                <a:lnTo>
                  <a:pt x="1281" y="13527"/>
                </a:lnTo>
                <a:cubicBezTo>
                  <a:pt x="1114" y="12946"/>
                  <a:pt x="1000" y="12346"/>
                  <a:pt x="943"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2" name="Shape 2722"/>
          <p:cNvSpPr/>
          <p:nvPr/>
        </p:nvSpPr>
        <p:spPr>
          <a:xfrm>
            <a:off x="2260428" y="3479418"/>
            <a:ext cx="208654" cy="209069"/>
          </a:xfrm>
          <a:custGeom>
            <a:avLst/>
            <a:gdLst/>
            <a:ahLst/>
            <a:cxnLst>
              <a:cxn ang="0">
                <a:pos x="wd2" y="hd2"/>
              </a:cxn>
              <a:cxn ang="5400000">
                <a:pos x="wd2" y="hd2"/>
              </a:cxn>
              <a:cxn ang="10800000">
                <a:pos x="wd2" y="hd2"/>
              </a:cxn>
              <a:cxn ang="16200000">
                <a:pos x="wd2" y="hd2"/>
              </a:cxn>
            </a:cxnLst>
            <a:rect l="0" t="0" r="r" b="b"/>
            <a:pathLst>
              <a:path w="21600" h="21600" extrusionOk="0">
                <a:moveTo>
                  <a:pt x="10800" y="20661"/>
                </a:moveTo>
                <a:lnTo>
                  <a:pt x="10802" y="21600"/>
                </a:lnTo>
                <a:cubicBezTo>
                  <a:pt x="11469" y="21598"/>
                  <a:pt x="12137" y="21536"/>
                  <a:pt x="12788" y="21415"/>
                </a:cubicBezTo>
                <a:lnTo>
                  <a:pt x="12615" y="20491"/>
                </a:lnTo>
                <a:cubicBezTo>
                  <a:pt x="12020" y="20603"/>
                  <a:pt x="11409" y="20660"/>
                  <a:pt x="10800" y="20661"/>
                </a:cubicBezTo>
                <a:moveTo>
                  <a:pt x="14365" y="19991"/>
                </a:moveTo>
                <a:lnTo>
                  <a:pt x="14707" y="20866"/>
                </a:lnTo>
                <a:cubicBezTo>
                  <a:pt x="15328" y="20625"/>
                  <a:pt x="15928" y="20324"/>
                  <a:pt x="16492" y="19973"/>
                </a:cubicBezTo>
                <a:lnTo>
                  <a:pt x="15994" y="19176"/>
                </a:lnTo>
                <a:cubicBezTo>
                  <a:pt x="15479" y="19497"/>
                  <a:pt x="14932" y="19771"/>
                  <a:pt x="14365" y="19991"/>
                </a:cubicBezTo>
                <a:moveTo>
                  <a:pt x="11293" y="16211"/>
                </a:moveTo>
                <a:lnTo>
                  <a:pt x="11293" y="6576"/>
                </a:lnTo>
                <a:lnTo>
                  <a:pt x="14395" y="9672"/>
                </a:lnTo>
                <a:cubicBezTo>
                  <a:pt x="14484" y="9761"/>
                  <a:pt x="14607" y="9816"/>
                  <a:pt x="14743" y="9816"/>
                </a:cubicBezTo>
                <a:cubicBezTo>
                  <a:pt x="15016" y="9816"/>
                  <a:pt x="15236" y="9596"/>
                  <a:pt x="15236" y="9324"/>
                </a:cubicBezTo>
                <a:cubicBezTo>
                  <a:pt x="15236" y="9189"/>
                  <a:pt x="15181" y="9065"/>
                  <a:pt x="15092" y="8976"/>
                </a:cubicBezTo>
                <a:lnTo>
                  <a:pt x="11149" y="5041"/>
                </a:lnTo>
                <a:cubicBezTo>
                  <a:pt x="11059" y="4952"/>
                  <a:pt x="10936" y="4897"/>
                  <a:pt x="10800" y="4897"/>
                </a:cubicBezTo>
                <a:cubicBezTo>
                  <a:pt x="10664" y="4897"/>
                  <a:pt x="10541" y="4952"/>
                  <a:pt x="10452" y="5041"/>
                </a:cubicBezTo>
                <a:lnTo>
                  <a:pt x="6509" y="8976"/>
                </a:lnTo>
                <a:cubicBezTo>
                  <a:pt x="6419" y="9065"/>
                  <a:pt x="6364" y="9189"/>
                  <a:pt x="6364" y="9324"/>
                </a:cubicBezTo>
                <a:cubicBezTo>
                  <a:pt x="6364" y="9596"/>
                  <a:pt x="6584" y="9816"/>
                  <a:pt x="6857" y="9816"/>
                </a:cubicBezTo>
                <a:cubicBezTo>
                  <a:pt x="6993" y="9816"/>
                  <a:pt x="7116" y="9761"/>
                  <a:pt x="7206" y="9672"/>
                </a:cubicBezTo>
                <a:lnTo>
                  <a:pt x="10307" y="6576"/>
                </a:lnTo>
                <a:lnTo>
                  <a:pt x="10307" y="16211"/>
                </a:lnTo>
                <a:cubicBezTo>
                  <a:pt x="10307" y="16483"/>
                  <a:pt x="10528" y="16703"/>
                  <a:pt x="10800" y="16703"/>
                </a:cubicBezTo>
                <a:cubicBezTo>
                  <a:pt x="11072" y="16703"/>
                  <a:pt x="11293" y="16483"/>
                  <a:pt x="11293" y="16211"/>
                </a:cubicBezTo>
                <a:moveTo>
                  <a:pt x="17446" y="18078"/>
                </a:moveTo>
                <a:lnTo>
                  <a:pt x="18081" y="18770"/>
                </a:lnTo>
                <a:cubicBezTo>
                  <a:pt x="18572" y="18323"/>
                  <a:pt x="19024" y="17827"/>
                  <a:pt x="19424" y="17297"/>
                </a:cubicBezTo>
                <a:lnTo>
                  <a:pt x="18673" y="16732"/>
                </a:lnTo>
                <a:cubicBezTo>
                  <a:pt x="18307" y="17216"/>
                  <a:pt x="17894" y="17669"/>
                  <a:pt x="17446" y="18078"/>
                </a:cubicBezTo>
                <a:moveTo>
                  <a:pt x="21553" y="9794"/>
                </a:moveTo>
                <a:lnTo>
                  <a:pt x="20617" y="9880"/>
                </a:lnTo>
                <a:cubicBezTo>
                  <a:pt x="20645" y="10182"/>
                  <a:pt x="20659" y="10492"/>
                  <a:pt x="20659" y="10800"/>
                </a:cubicBezTo>
                <a:cubicBezTo>
                  <a:pt x="20659" y="11099"/>
                  <a:pt x="20646" y="11401"/>
                  <a:pt x="20619" y="11699"/>
                </a:cubicBezTo>
                <a:lnTo>
                  <a:pt x="21556" y="11784"/>
                </a:lnTo>
                <a:cubicBezTo>
                  <a:pt x="21586" y="11458"/>
                  <a:pt x="21600" y="11127"/>
                  <a:pt x="21600" y="10800"/>
                </a:cubicBezTo>
                <a:cubicBezTo>
                  <a:pt x="21600" y="10462"/>
                  <a:pt x="21584" y="10124"/>
                  <a:pt x="21553" y="9794"/>
                </a:cubicBezTo>
                <a:moveTo>
                  <a:pt x="18660" y="4853"/>
                </a:moveTo>
                <a:lnTo>
                  <a:pt x="19412" y="4287"/>
                </a:lnTo>
                <a:cubicBezTo>
                  <a:pt x="19011" y="3759"/>
                  <a:pt x="18558" y="3264"/>
                  <a:pt x="18066" y="2816"/>
                </a:cubicBezTo>
                <a:lnTo>
                  <a:pt x="17432" y="3510"/>
                </a:lnTo>
                <a:cubicBezTo>
                  <a:pt x="17882" y="3919"/>
                  <a:pt x="18295" y="4371"/>
                  <a:pt x="18660" y="4853"/>
                </a:cubicBezTo>
                <a:moveTo>
                  <a:pt x="6893" y="20882"/>
                </a:moveTo>
                <a:cubicBezTo>
                  <a:pt x="7513" y="21121"/>
                  <a:pt x="8160" y="21302"/>
                  <a:pt x="8814" y="21422"/>
                </a:cubicBezTo>
                <a:lnTo>
                  <a:pt x="8984" y="20499"/>
                </a:lnTo>
                <a:cubicBezTo>
                  <a:pt x="8387" y="20389"/>
                  <a:pt x="7797" y="20223"/>
                  <a:pt x="7231" y="20006"/>
                </a:cubicBezTo>
                <a:cubicBezTo>
                  <a:pt x="7231" y="20006"/>
                  <a:pt x="6893" y="20882"/>
                  <a:pt x="6893" y="20882"/>
                </a:cubicBezTo>
                <a:close/>
                <a:moveTo>
                  <a:pt x="19632" y="15184"/>
                </a:moveTo>
                <a:lnTo>
                  <a:pt x="20474" y="15602"/>
                </a:lnTo>
                <a:cubicBezTo>
                  <a:pt x="20770" y="15008"/>
                  <a:pt x="21013" y="14383"/>
                  <a:pt x="21194" y="13743"/>
                </a:cubicBezTo>
                <a:lnTo>
                  <a:pt x="20288" y="13487"/>
                </a:lnTo>
                <a:cubicBezTo>
                  <a:pt x="20123" y="14071"/>
                  <a:pt x="19902" y="14642"/>
                  <a:pt x="19632" y="15184"/>
                </a:cubicBezTo>
                <a:moveTo>
                  <a:pt x="21187" y="7835"/>
                </a:moveTo>
                <a:cubicBezTo>
                  <a:pt x="21005" y="7197"/>
                  <a:pt x="20761" y="6573"/>
                  <a:pt x="20464" y="5978"/>
                </a:cubicBezTo>
                <a:lnTo>
                  <a:pt x="19622" y="6399"/>
                </a:lnTo>
                <a:cubicBezTo>
                  <a:pt x="19893" y="6941"/>
                  <a:pt x="20115" y="7510"/>
                  <a:pt x="20282" y="8094"/>
                </a:cubicBezTo>
                <a:cubicBezTo>
                  <a:pt x="20282" y="8094"/>
                  <a:pt x="21187" y="7835"/>
                  <a:pt x="21187" y="7835"/>
                </a:cubicBezTo>
                <a:close/>
                <a:moveTo>
                  <a:pt x="8923" y="1113"/>
                </a:moveTo>
                <a:lnTo>
                  <a:pt x="8747" y="190"/>
                </a:lnTo>
                <a:cubicBezTo>
                  <a:pt x="8093" y="315"/>
                  <a:pt x="7448" y="501"/>
                  <a:pt x="6829" y="743"/>
                </a:cubicBezTo>
                <a:lnTo>
                  <a:pt x="7174" y="1617"/>
                </a:lnTo>
                <a:cubicBezTo>
                  <a:pt x="7737" y="1396"/>
                  <a:pt x="8326" y="1226"/>
                  <a:pt x="8923" y="1113"/>
                </a:cubicBezTo>
                <a:moveTo>
                  <a:pt x="16474" y="1615"/>
                </a:moveTo>
                <a:cubicBezTo>
                  <a:pt x="15907" y="1264"/>
                  <a:pt x="15307" y="966"/>
                  <a:pt x="14687" y="726"/>
                </a:cubicBezTo>
                <a:lnTo>
                  <a:pt x="14346" y="1602"/>
                </a:lnTo>
                <a:cubicBezTo>
                  <a:pt x="14913" y="1821"/>
                  <a:pt x="15462" y="2094"/>
                  <a:pt x="15978" y="2413"/>
                </a:cubicBezTo>
                <a:cubicBezTo>
                  <a:pt x="15978" y="2413"/>
                  <a:pt x="16474" y="1615"/>
                  <a:pt x="16474" y="1615"/>
                </a:cubicBezTo>
                <a:close/>
                <a:moveTo>
                  <a:pt x="2873" y="4886"/>
                </a:moveTo>
                <a:lnTo>
                  <a:pt x="2120" y="4322"/>
                </a:lnTo>
                <a:cubicBezTo>
                  <a:pt x="1720" y="4853"/>
                  <a:pt x="1368" y="5424"/>
                  <a:pt x="1074" y="6018"/>
                </a:cubicBezTo>
                <a:lnTo>
                  <a:pt x="1917" y="6435"/>
                </a:lnTo>
                <a:cubicBezTo>
                  <a:pt x="2186" y="5892"/>
                  <a:pt x="2508" y="5371"/>
                  <a:pt x="2873" y="4886"/>
                </a:cubicBezTo>
                <a:moveTo>
                  <a:pt x="3509" y="18800"/>
                </a:moveTo>
                <a:cubicBezTo>
                  <a:pt x="4003" y="19247"/>
                  <a:pt x="4539" y="19650"/>
                  <a:pt x="5104" y="19997"/>
                </a:cubicBezTo>
                <a:lnTo>
                  <a:pt x="5598" y="19198"/>
                </a:lnTo>
                <a:cubicBezTo>
                  <a:pt x="5082" y="18881"/>
                  <a:pt x="4592" y="18513"/>
                  <a:pt x="4142" y="18105"/>
                </a:cubicBezTo>
                <a:cubicBezTo>
                  <a:pt x="4142" y="18105"/>
                  <a:pt x="3509" y="18800"/>
                  <a:pt x="3509" y="18800"/>
                </a:cubicBezTo>
                <a:close/>
                <a:moveTo>
                  <a:pt x="12594" y="1105"/>
                </a:moveTo>
                <a:lnTo>
                  <a:pt x="12765" y="182"/>
                </a:lnTo>
                <a:cubicBezTo>
                  <a:pt x="12116" y="61"/>
                  <a:pt x="11448" y="0"/>
                  <a:pt x="10788" y="0"/>
                </a:cubicBezTo>
                <a:lnTo>
                  <a:pt x="10787" y="0"/>
                </a:lnTo>
                <a:lnTo>
                  <a:pt x="10736" y="0"/>
                </a:lnTo>
                <a:lnTo>
                  <a:pt x="10779" y="940"/>
                </a:lnTo>
                <a:cubicBezTo>
                  <a:pt x="11389" y="940"/>
                  <a:pt x="12000" y="995"/>
                  <a:pt x="12594" y="1105"/>
                </a:cubicBezTo>
                <a:moveTo>
                  <a:pt x="1104" y="15642"/>
                </a:moveTo>
                <a:cubicBezTo>
                  <a:pt x="1403" y="16235"/>
                  <a:pt x="1758" y="16804"/>
                  <a:pt x="2161" y="17332"/>
                </a:cubicBezTo>
                <a:lnTo>
                  <a:pt x="2910" y="16763"/>
                </a:lnTo>
                <a:cubicBezTo>
                  <a:pt x="2542" y="16281"/>
                  <a:pt x="2218" y="15762"/>
                  <a:pt x="1945" y="15220"/>
                </a:cubicBezTo>
                <a:cubicBezTo>
                  <a:pt x="1945" y="15220"/>
                  <a:pt x="1104" y="15642"/>
                  <a:pt x="1104" y="15642"/>
                </a:cubicBezTo>
                <a:close/>
                <a:moveTo>
                  <a:pt x="5546" y="2435"/>
                </a:moveTo>
                <a:lnTo>
                  <a:pt x="5047" y="1639"/>
                </a:lnTo>
                <a:cubicBezTo>
                  <a:pt x="4484" y="1991"/>
                  <a:pt x="3950" y="2397"/>
                  <a:pt x="3460" y="2846"/>
                </a:cubicBezTo>
                <a:lnTo>
                  <a:pt x="4096" y="3538"/>
                </a:lnTo>
                <a:cubicBezTo>
                  <a:pt x="4544" y="3127"/>
                  <a:pt x="5031" y="2756"/>
                  <a:pt x="5546" y="2435"/>
                </a:cubicBezTo>
                <a:moveTo>
                  <a:pt x="1264" y="8133"/>
                </a:moveTo>
                <a:lnTo>
                  <a:pt x="358" y="7879"/>
                </a:lnTo>
                <a:cubicBezTo>
                  <a:pt x="179" y="8516"/>
                  <a:pt x="59" y="9176"/>
                  <a:pt x="0" y="9838"/>
                </a:cubicBezTo>
                <a:lnTo>
                  <a:pt x="938" y="9921"/>
                </a:lnTo>
                <a:cubicBezTo>
                  <a:pt x="991" y="9317"/>
                  <a:pt x="1101" y="8714"/>
                  <a:pt x="1264" y="8133"/>
                </a:cubicBezTo>
                <a:moveTo>
                  <a:pt x="942" y="11741"/>
                </a:moveTo>
                <a:lnTo>
                  <a:pt x="6" y="11829"/>
                </a:lnTo>
                <a:cubicBezTo>
                  <a:pt x="69" y="12492"/>
                  <a:pt x="194" y="13151"/>
                  <a:pt x="377" y="13786"/>
                </a:cubicBezTo>
                <a:lnTo>
                  <a:pt x="1281" y="13527"/>
                </a:lnTo>
                <a:cubicBezTo>
                  <a:pt x="1114" y="12946"/>
                  <a:pt x="1000" y="12346"/>
                  <a:pt x="942" y="11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3" name="Shape 2723"/>
          <p:cNvSpPr/>
          <p:nvPr/>
        </p:nvSpPr>
        <p:spPr>
          <a:xfrm>
            <a:off x="266037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8345" y="10309"/>
                </a:moveTo>
                <a:lnTo>
                  <a:pt x="7899" y="10309"/>
                </a:lnTo>
                <a:cubicBezTo>
                  <a:pt x="7974" y="9863"/>
                  <a:pt x="8153" y="9453"/>
                  <a:pt x="8405" y="9099"/>
                </a:cubicBezTo>
                <a:lnTo>
                  <a:pt x="8717" y="9412"/>
                </a:lnTo>
                <a:cubicBezTo>
                  <a:pt x="8909" y="9604"/>
                  <a:pt x="9220" y="9604"/>
                  <a:pt x="9412" y="9412"/>
                </a:cubicBezTo>
                <a:cubicBezTo>
                  <a:pt x="9603" y="9220"/>
                  <a:pt x="9603" y="8909"/>
                  <a:pt x="9412" y="8717"/>
                </a:cubicBezTo>
                <a:lnTo>
                  <a:pt x="9101" y="8407"/>
                </a:lnTo>
                <a:cubicBezTo>
                  <a:pt x="9454" y="8157"/>
                  <a:pt x="9864" y="7979"/>
                  <a:pt x="10309" y="7904"/>
                </a:cubicBezTo>
                <a:lnTo>
                  <a:pt x="10309" y="8345"/>
                </a:lnTo>
                <a:cubicBezTo>
                  <a:pt x="10309" y="8617"/>
                  <a:pt x="10529" y="8836"/>
                  <a:pt x="10800" y="8836"/>
                </a:cubicBezTo>
                <a:cubicBezTo>
                  <a:pt x="11071" y="8836"/>
                  <a:pt x="11291" y="8617"/>
                  <a:pt x="11291" y="8345"/>
                </a:cubicBezTo>
                <a:lnTo>
                  <a:pt x="11291" y="7904"/>
                </a:lnTo>
                <a:cubicBezTo>
                  <a:pt x="11737" y="7979"/>
                  <a:pt x="12146" y="8157"/>
                  <a:pt x="12499" y="8407"/>
                </a:cubicBezTo>
                <a:lnTo>
                  <a:pt x="12188" y="8717"/>
                </a:lnTo>
                <a:cubicBezTo>
                  <a:pt x="11997" y="8909"/>
                  <a:pt x="11997" y="9220"/>
                  <a:pt x="12188" y="9412"/>
                </a:cubicBezTo>
                <a:cubicBezTo>
                  <a:pt x="12380" y="9604"/>
                  <a:pt x="12691" y="9604"/>
                  <a:pt x="12883" y="9412"/>
                </a:cubicBezTo>
                <a:lnTo>
                  <a:pt x="13195" y="9099"/>
                </a:lnTo>
                <a:cubicBezTo>
                  <a:pt x="13447" y="9453"/>
                  <a:pt x="13626" y="9863"/>
                  <a:pt x="13701" y="10309"/>
                </a:cubicBezTo>
                <a:lnTo>
                  <a:pt x="13255" y="10309"/>
                </a:lnTo>
                <a:cubicBezTo>
                  <a:pt x="12983" y="10309"/>
                  <a:pt x="12764" y="10529"/>
                  <a:pt x="12764" y="10800"/>
                </a:cubicBezTo>
                <a:cubicBezTo>
                  <a:pt x="12764" y="11071"/>
                  <a:pt x="12983" y="11291"/>
                  <a:pt x="13255" y="11291"/>
                </a:cubicBezTo>
                <a:lnTo>
                  <a:pt x="13701" y="11291"/>
                </a:lnTo>
                <a:cubicBezTo>
                  <a:pt x="13626" y="11738"/>
                  <a:pt x="13447" y="12147"/>
                  <a:pt x="13195" y="12501"/>
                </a:cubicBezTo>
                <a:lnTo>
                  <a:pt x="12883" y="12188"/>
                </a:lnTo>
                <a:cubicBezTo>
                  <a:pt x="12691" y="11997"/>
                  <a:pt x="12380" y="11997"/>
                  <a:pt x="12188" y="12188"/>
                </a:cubicBezTo>
                <a:cubicBezTo>
                  <a:pt x="11997" y="12380"/>
                  <a:pt x="11997" y="12691"/>
                  <a:pt x="12188" y="12883"/>
                </a:cubicBezTo>
                <a:lnTo>
                  <a:pt x="12499" y="13193"/>
                </a:lnTo>
                <a:cubicBezTo>
                  <a:pt x="12146" y="13444"/>
                  <a:pt x="11737" y="13621"/>
                  <a:pt x="11291" y="13696"/>
                </a:cubicBezTo>
                <a:lnTo>
                  <a:pt x="11291" y="13255"/>
                </a:lnTo>
                <a:cubicBezTo>
                  <a:pt x="11291" y="12983"/>
                  <a:pt x="11071" y="12764"/>
                  <a:pt x="10800" y="12764"/>
                </a:cubicBezTo>
                <a:cubicBezTo>
                  <a:pt x="10529" y="12764"/>
                  <a:pt x="10309" y="12983"/>
                  <a:pt x="10309" y="13255"/>
                </a:cubicBezTo>
                <a:lnTo>
                  <a:pt x="10309" y="13696"/>
                </a:lnTo>
                <a:cubicBezTo>
                  <a:pt x="9864" y="13621"/>
                  <a:pt x="9454" y="13444"/>
                  <a:pt x="9101" y="13193"/>
                </a:cubicBezTo>
                <a:lnTo>
                  <a:pt x="9412" y="12883"/>
                </a:lnTo>
                <a:cubicBezTo>
                  <a:pt x="9603" y="12691"/>
                  <a:pt x="9603" y="12380"/>
                  <a:pt x="9412" y="12188"/>
                </a:cubicBezTo>
                <a:cubicBezTo>
                  <a:pt x="9220" y="11997"/>
                  <a:pt x="8909" y="11997"/>
                  <a:pt x="8717" y="12188"/>
                </a:cubicBezTo>
                <a:lnTo>
                  <a:pt x="8405" y="12501"/>
                </a:lnTo>
                <a:cubicBezTo>
                  <a:pt x="8153" y="12147"/>
                  <a:pt x="7974" y="11738"/>
                  <a:pt x="7899" y="11291"/>
                </a:cubicBezTo>
                <a:lnTo>
                  <a:pt x="8345" y="11291"/>
                </a:lnTo>
                <a:cubicBezTo>
                  <a:pt x="8617" y="11291"/>
                  <a:pt x="8836" y="11071"/>
                  <a:pt x="8836" y="10800"/>
                </a:cubicBezTo>
                <a:cubicBezTo>
                  <a:pt x="8836" y="10529"/>
                  <a:pt x="8617" y="10309"/>
                  <a:pt x="8345" y="10309"/>
                </a:cubicBezTo>
                <a:moveTo>
                  <a:pt x="8023" y="13577"/>
                </a:moveTo>
                <a:lnTo>
                  <a:pt x="8023" y="13578"/>
                </a:lnTo>
                <a:cubicBezTo>
                  <a:pt x="8734" y="14288"/>
                  <a:pt x="9716" y="14727"/>
                  <a:pt x="10800" y="14727"/>
                </a:cubicBezTo>
                <a:cubicBezTo>
                  <a:pt x="11884" y="14727"/>
                  <a:pt x="12866" y="14288"/>
                  <a:pt x="13577" y="13578"/>
                </a:cubicBezTo>
                <a:lnTo>
                  <a:pt x="13577" y="13577"/>
                </a:lnTo>
                <a:lnTo>
                  <a:pt x="13577" y="13577"/>
                </a:lnTo>
                <a:cubicBezTo>
                  <a:pt x="14288" y="12866"/>
                  <a:pt x="14727" y="11884"/>
                  <a:pt x="14727" y="10800"/>
                </a:cubicBezTo>
                <a:cubicBezTo>
                  <a:pt x="14727" y="8631"/>
                  <a:pt x="12969" y="6873"/>
                  <a:pt x="10800" y="6873"/>
                </a:cubicBezTo>
                <a:cubicBezTo>
                  <a:pt x="8631" y="6873"/>
                  <a:pt x="6873" y="8631"/>
                  <a:pt x="6873" y="10800"/>
                </a:cubicBezTo>
                <a:cubicBezTo>
                  <a:pt x="6873" y="11884"/>
                  <a:pt x="7311" y="12866"/>
                  <a:pt x="8023" y="13577"/>
                </a:cubicBezTo>
                <a:cubicBezTo>
                  <a:pt x="8023" y="13577"/>
                  <a:pt x="8023" y="13577"/>
                  <a:pt x="8023" y="13577"/>
                </a:cubicBezTo>
                <a:close/>
                <a:moveTo>
                  <a:pt x="10800" y="11782"/>
                </a:moveTo>
                <a:cubicBezTo>
                  <a:pt x="11342" y="11782"/>
                  <a:pt x="11782" y="11342"/>
                  <a:pt x="11782" y="10800"/>
                </a:cubicBezTo>
                <a:cubicBezTo>
                  <a:pt x="11782" y="10258"/>
                  <a:pt x="11342" y="9818"/>
                  <a:pt x="10800" y="9818"/>
                </a:cubicBezTo>
                <a:cubicBezTo>
                  <a:pt x="10258" y="9818"/>
                  <a:pt x="9818" y="10258"/>
                  <a:pt x="9818" y="10800"/>
                </a:cubicBezTo>
                <a:cubicBezTo>
                  <a:pt x="9818" y="11342"/>
                  <a:pt x="10258" y="11782"/>
                  <a:pt x="10800" y="11782"/>
                </a:cubicBezTo>
                <a:moveTo>
                  <a:pt x="17673" y="5891"/>
                </a:moveTo>
                <a:cubicBezTo>
                  <a:pt x="17131" y="5891"/>
                  <a:pt x="16691" y="6331"/>
                  <a:pt x="16691" y="6873"/>
                </a:cubicBezTo>
                <a:lnTo>
                  <a:pt x="16691" y="7855"/>
                </a:lnTo>
                <a:cubicBezTo>
                  <a:pt x="16691" y="8396"/>
                  <a:pt x="17131" y="8836"/>
                  <a:pt x="17673" y="8836"/>
                </a:cubicBezTo>
                <a:lnTo>
                  <a:pt x="17673" y="12764"/>
                </a:lnTo>
                <a:cubicBezTo>
                  <a:pt x="17131" y="12764"/>
                  <a:pt x="16691" y="13204"/>
                  <a:pt x="16691" y="13745"/>
                </a:cubicBezTo>
                <a:lnTo>
                  <a:pt x="16691" y="14727"/>
                </a:lnTo>
                <a:cubicBezTo>
                  <a:pt x="16691" y="15270"/>
                  <a:pt x="17131" y="15709"/>
                  <a:pt x="17673" y="15709"/>
                </a:cubicBezTo>
                <a:lnTo>
                  <a:pt x="17673" y="17673"/>
                </a:lnTo>
                <a:lnTo>
                  <a:pt x="3927" y="17673"/>
                </a:lnTo>
                <a:lnTo>
                  <a:pt x="3927" y="3927"/>
                </a:lnTo>
                <a:lnTo>
                  <a:pt x="17673" y="3927"/>
                </a:lnTo>
                <a:cubicBezTo>
                  <a:pt x="17673" y="3927"/>
                  <a:pt x="17673" y="5891"/>
                  <a:pt x="17673" y="5891"/>
                </a:cubicBezTo>
                <a:close/>
                <a:moveTo>
                  <a:pt x="18655" y="5891"/>
                </a:moveTo>
                <a:lnTo>
                  <a:pt x="18655" y="2945"/>
                </a:lnTo>
                <a:lnTo>
                  <a:pt x="2945" y="2945"/>
                </a:lnTo>
                <a:lnTo>
                  <a:pt x="2945" y="18655"/>
                </a:lnTo>
                <a:lnTo>
                  <a:pt x="18655" y="18655"/>
                </a:lnTo>
                <a:lnTo>
                  <a:pt x="18655" y="15709"/>
                </a:lnTo>
                <a:cubicBezTo>
                  <a:pt x="19196" y="15709"/>
                  <a:pt x="19636" y="15270"/>
                  <a:pt x="19636" y="14727"/>
                </a:cubicBezTo>
                <a:lnTo>
                  <a:pt x="19636" y="13745"/>
                </a:lnTo>
                <a:cubicBezTo>
                  <a:pt x="19636" y="13204"/>
                  <a:pt x="19196" y="12764"/>
                  <a:pt x="18655" y="12764"/>
                </a:cubicBezTo>
                <a:lnTo>
                  <a:pt x="18655" y="8836"/>
                </a:lnTo>
                <a:cubicBezTo>
                  <a:pt x="19196" y="8836"/>
                  <a:pt x="19636" y="8396"/>
                  <a:pt x="19636" y="7855"/>
                </a:cubicBezTo>
                <a:lnTo>
                  <a:pt x="19636" y="6873"/>
                </a:lnTo>
                <a:cubicBezTo>
                  <a:pt x="19636" y="6331"/>
                  <a:pt x="19196" y="5891"/>
                  <a:pt x="18655"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4" name="Shape 2724"/>
          <p:cNvSpPr/>
          <p:nvPr/>
        </p:nvSpPr>
        <p:spPr>
          <a:xfrm>
            <a:off x="306032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5709"/>
                </a:moveTo>
                <a:lnTo>
                  <a:pt x="5891" y="15709"/>
                </a:lnTo>
                <a:lnTo>
                  <a:pt x="5891" y="11782"/>
                </a:lnTo>
                <a:lnTo>
                  <a:pt x="15709" y="11782"/>
                </a:lnTo>
                <a:cubicBezTo>
                  <a:pt x="15709" y="11782"/>
                  <a:pt x="15709" y="15709"/>
                  <a:pt x="15709" y="15709"/>
                </a:cubicBezTo>
                <a:close/>
                <a:moveTo>
                  <a:pt x="16691" y="10800"/>
                </a:moveTo>
                <a:lnTo>
                  <a:pt x="4909" y="10800"/>
                </a:lnTo>
                <a:lnTo>
                  <a:pt x="4909" y="16691"/>
                </a:lnTo>
                <a:lnTo>
                  <a:pt x="16691" y="16691"/>
                </a:lnTo>
                <a:cubicBezTo>
                  <a:pt x="16691" y="16691"/>
                  <a:pt x="16691" y="10800"/>
                  <a:pt x="16691" y="10800"/>
                </a:cubicBezTo>
                <a:close/>
                <a:moveTo>
                  <a:pt x="11782" y="13745"/>
                </a:moveTo>
                <a:lnTo>
                  <a:pt x="9818" y="13745"/>
                </a:lnTo>
                <a:lnTo>
                  <a:pt x="9818" y="14727"/>
                </a:lnTo>
                <a:lnTo>
                  <a:pt x="11782" y="14727"/>
                </a:lnTo>
                <a:cubicBezTo>
                  <a:pt x="11782" y="14727"/>
                  <a:pt x="11782" y="13745"/>
                  <a:pt x="11782" y="13745"/>
                </a:cubicBezTo>
                <a:close/>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1782" y="5891"/>
                </a:moveTo>
                <a:lnTo>
                  <a:pt x="9818" y="5891"/>
                </a:lnTo>
                <a:lnTo>
                  <a:pt x="9818" y="6873"/>
                </a:lnTo>
                <a:lnTo>
                  <a:pt x="11782" y="6873"/>
                </a:lnTo>
                <a:cubicBezTo>
                  <a:pt x="11782" y="6873"/>
                  <a:pt x="11782" y="5891"/>
                  <a:pt x="11782" y="5891"/>
                </a:cubicBezTo>
                <a:close/>
                <a:moveTo>
                  <a:pt x="15709" y="7855"/>
                </a:moveTo>
                <a:lnTo>
                  <a:pt x="5891" y="7855"/>
                </a:lnTo>
                <a:lnTo>
                  <a:pt x="5891" y="3927"/>
                </a:lnTo>
                <a:lnTo>
                  <a:pt x="15709" y="3927"/>
                </a:lnTo>
                <a:cubicBezTo>
                  <a:pt x="15709" y="3927"/>
                  <a:pt x="15709" y="7855"/>
                  <a:pt x="15709" y="7855"/>
                </a:cubicBezTo>
                <a:close/>
                <a:moveTo>
                  <a:pt x="16691" y="2945"/>
                </a:moveTo>
                <a:lnTo>
                  <a:pt x="4909" y="2945"/>
                </a:lnTo>
                <a:lnTo>
                  <a:pt x="4909" y="8836"/>
                </a:lnTo>
                <a:lnTo>
                  <a:pt x="16691" y="8836"/>
                </a:lnTo>
                <a:cubicBezTo>
                  <a:pt x="16691" y="8836"/>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5" name="Shape 2725"/>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655" y="17673"/>
                </a:moveTo>
                <a:cubicBezTo>
                  <a:pt x="18655" y="18214"/>
                  <a:pt x="18214" y="18655"/>
                  <a:pt x="17673" y="18655"/>
                </a:cubicBezTo>
                <a:lnTo>
                  <a:pt x="3927" y="18655"/>
                </a:lnTo>
                <a:cubicBezTo>
                  <a:pt x="3385" y="18655"/>
                  <a:pt x="2945" y="18214"/>
                  <a:pt x="2945" y="17673"/>
                </a:cubicBezTo>
                <a:lnTo>
                  <a:pt x="2945" y="982"/>
                </a:lnTo>
                <a:lnTo>
                  <a:pt x="18655" y="982"/>
                </a:lnTo>
                <a:cubicBezTo>
                  <a:pt x="18655" y="982"/>
                  <a:pt x="18655" y="17673"/>
                  <a:pt x="18655" y="17673"/>
                </a:cubicBezTo>
                <a:close/>
                <a:moveTo>
                  <a:pt x="21109" y="0"/>
                </a:moveTo>
                <a:lnTo>
                  <a:pt x="491" y="0"/>
                </a:lnTo>
                <a:cubicBezTo>
                  <a:pt x="220" y="0"/>
                  <a:pt x="0" y="220"/>
                  <a:pt x="0" y="491"/>
                </a:cubicBezTo>
                <a:cubicBezTo>
                  <a:pt x="0" y="762"/>
                  <a:pt x="220" y="982"/>
                  <a:pt x="491" y="982"/>
                </a:cubicBezTo>
                <a:lnTo>
                  <a:pt x="1964" y="982"/>
                </a:lnTo>
                <a:lnTo>
                  <a:pt x="1964" y="17673"/>
                </a:lnTo>
                <a:cubicBezTo>
                  <a:pt x="1964" y="18757"/>
                  <a:pt x="2843" y="19636"/>
                  <a:pt x="3927" y="19636"/>
                </a:cubicBezTo>
                <a:lnTo>
                  <a:pt x="4909" y="19636"/>
                </a:lnTo>
                <a:lnTo>
                  <a:pt x="4909" y="21109"/>
                </a:lnTo>
                <a:cubicBezTo>
                  <a:pt x="4909" y="21380"/>
                  <a:pt x="5129" y="21600"/>
                  <a:pt x="5400" y="21600"/>
                </a:cubicBezTo>
                <a:cubicBezTo>
                  <a:pt x="5671" y="21600"/>
                  <a:pt x="5891" y="21380"/>
                  <a:pt x="5891" y="21109"/>
                </a:cubicBezTo>
                <a:lnTo>
                  <a:pt x="5891" y="19636"/>
                </a:lnTo>
                <a:lnTo>
                  <a:pt x="15709" y="19636"/>
                </a:lnTo>
                <a:lnTo>
                  <a:pt x="15709" y="21109"/>
                </a:lnTo>
                <a:cubicBezTo>
                  <a:pt x="15709" y="21380"/>
                  <a:pt x="15929" y="21600"/>
                  <a:pt x="16200" y="21600"/>
                </a:cubicBezTo>
                <a:cubicBezTo>
                  <a:pt x="16471" y="21600"/>
                  <a:pt x="16691" y="21380"/>
                  <a:pt x="16691" y="21109"/>
                </a:cubicBezTo>
                <a:lnTo>
                  <a:pt x="16691" y="19636"/>
                </a:lnTo>
                <a:lnTo>
                  <a:pt x="17673" y="19636"/>
                </a:lnTo>
                <a:cubicBezTo>
                  <a:pt x="18757" y="19636"/>
                  <a:pt x="19636" y="18757"/>
                  <a:pt x="19636" y="17673"/>
                </a:cubicBezTo>
                <a:lnTo>
                  <a:pt x="19636" y="982"/>
                </a:lnTo>
                <a:lnTo>
                  <a:pt x="21109" y="982"/>
                </a:lnTo>
                <a:cubicBezTo>
                  <a:pt x="21380" y="982"/>
                  <a:pt x="21600" y="762"/>
                  <a:pt x="21600" y="491"/>
                </a:cubicBezTo>
                <a:cubicBezTo>
                  <a:pt x="21600" y="220"/>
                  <a:pt x="21380" y="0"/>
                  <a:pt x="21109" y="0"/>
                </a:cubicBezTo>
                <a:moveTo>
                  <a:pt x="15709" y="10800"/>
                </a:moveTo>
                <a:lnTo>
                  <a:pt x="11782" y="10800"/>
                </a:lnTo>
                <a:lnTo>
                  <a:pt x="11782" y="9818"/>
                </a:lnTo>
                <a:lnTo>
                  <a:pt x="9818" y="9818"/>
                </a:lnTo>
                <a:lnTo>
                  <a:pt x="9818" y="10800"/>
                </a:lnTo>
                <a:lnTo>
                  <a:pt x="5891" y="10800"/>
                </a:lnTo>
                <a:lnTo>
                  <a:pt x="5891" y="8836"/>
                </a:lnTo>
                <a:lnTo>
                  <a:pt x="15709" y="8836"/>
                </a:lnTo>
                <a:cubicBezTo>
                  <a:pt x="15709" y="8836"/>
                  <a:pt x="15709" y="10800"/>
                  <a:pt x="15709" y="10800"/>
                </a:cubicBezTo>
                <a:close/>
                <a:moveTo>
                  <a:pt x="16691" y="7855"/>
                </a:moveTo>
                <a:lnTo>
                  <a:pt x="4909" y="7855"/>
                </a:lnTo>
                <a:lnTo>
                  <a:pt x="4909" y="11782"/>
                </a:lnTo>
                <a:lnTo>
                  <a:pt x="16691" y="11782"/>
                </a:lnTo>
                <a:cubicBezTo>
                  <a:pt x="16691" y="11782"/>
                  <a:pt x="16691" y="7855"/>
                  <a:pt x="16691" y="7855"/>
                </a:cubicBezTo>
                <a:close/>
                <a:moveTo>
                  <a:pt x="15709" y="15709"/>
                </a:moveTo>
                <a:lnTo>
                  <a:pt x="11782" y="15709"/>
                </a:lnTo>
                <a:lnTo>
                  <a:pt x="11782" y="14727"/>
                </a:lnTo>
                <a:lnTo>
                  <a:pt x="9818" y="14727"/>
                </a:lnTo>
                <a:lnTo>
                  <a:pt x="9818" y="15709"/>
                </a:lnTo>
                <a:lnTo>
                  <a:pt x="5891" y="15709"/>
                </a:lnTo>
                <a:lnTo>
                  <a:pt x="5891" y="13745"/>
                </a:lnTo>
                <a:lnTo>
                  <a:pt x="15709" y="13745"/>
                </a:lnTo>
                <a:cubicBezTo>
                  <a:pt x="15709" y="13745"/>
                  <a:pt x="15709" y="15709"/>
                  <a:pt x="15709" y="15709"/>
                </a:cubicBezTo>
                <a:close/>
                <a:moveTo>
                  <a:pt x="16691" y="12764"/>
                </a:moveTo>
                <a:lnTo>
                  <a:pt x="4909" y="12764"/>
                </a:lnTo>
                <a:lnTo>
                  <a:pt x="4909" y="16691"/>
                </a:lnTo>
                <a:lnTo>
                  <a:pt x="16691" y="16691"/>
                </a:lnTo>
                <a:cubicBezTo>
                  <a:pt x="16691" y="16691"/>
                  <a:pt x="16691" y="12764"/>
                  <a:pt x="16691" y="12764"/>
                </a:cubicBezTo>
                <a:close/>
                <a:moveTo>
                  <a:pt x="15709" y="5891"/>
                </a:moveTo>
                <a:lnTo>
                  <a:pt x="11782" y="5891"/>
                </a:lnTo>
                <a:lnTo>
                  <a:pt x="11782" y="4909"/>
                </a:lnTo>
                <a:lnTo>
                  <a:pt x="9818" y="4909"/>
                </a:lnTo>
                <a:lnTo>
                  <a:pt x="9818" y="5891"/>
                </a:lnTo>
                <a:lnTo>
                  <a:pt x="5891" y="5891"/>
                </a:lnTo>
                <a:lnTo>
                  <a:pt x="5891" y="3927"/>
                </a:lnTo>
                <a:lnTo>
                  <a:pt x="15709" y="3927"/>
                </a:lnTo>
                <a:cubicBezTo>
                  <a:pt x="15709" y="3927"/>
                  <a:pt x="15709" y="5891"/>
                  <a:pt x="15709" y="5891"/>
                </a:cubicBezTo>
                <a:close/>
                <a:moveTo>
                  <a:pt x="16691" y="2945"/>
                </a:moveTo>
                <a:lnTo>
                  <a:pt x="4909" y="2945"/>
                </a:lnTo>
                <a:lnTo>
                  <a:pt x="4909" y="6873"/>
                </a:lnTo>
                <a:lnTo>
                  <a:pt x="16691" y="6873"/>
                </a:lnTo>
                <a:cubicBezTo>
                  <a:pt x="16691" y="6873"/>
                  <a:pt x="16691" y="2945"/>
                  <a:pt x="16691"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6" name="Shape 2726"/>
          <p:cNvSpPr/>
          <p:nvPr/>
        </p:nvSpPr>
        <p:spPr>
          <a:xfrm>
            <a:off x="3879256" y="3479418"/>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800" y="13745"/>
                </a:moveTo>
                <a:lnTo>
                  <a:pt x="16800" y="13745"/>
                </a:lnTo>
                <a:lnTo>
                  <a:pt x="16800" y="17673"/>
                </a:lnTo>
                <a:lnTo>
                  <a:pt x="4800" y="17673"/>
                </a:lnTo>
                <a:cubicBezTo>
                  <a:pt x="4800" y="17673"/>
                  <a:pt x="4800" y="13745"/>
                  <a:pt x="4800" y="13745"/>
                </a:cubicBezTo>
                <a:close/>
                <a:moveTo>
                  <a:pt x="4800" y="8836"/>
                </a:moveTo>
                <a:lnTo>
                  <a:pt x="16800" y="8836"/>
                </a:lnTo>
                <a:lnTo>
                  <a:pt x="16800" y="12764"/>
                </a:lnTo>
                <a:lnTo>
                  <a:pt x="4800" y="12764"/>
                </a:lnTo>
                <a:cubicBezTo>
                  <a:pt x="4800" y="12764"/>
                  <a:pt x="4800" y="8836"/>
                  <a:pt x="4800" y="8836"/>
                </a:cubicBezTo>
                <a:close/>
                <a:moveTo>
                  <a:pt x="4800" y="3927"/>
                </a:moveTo>
                <a:lnTo>
                  <a:pt x="16800" y="3927"/>
                </a:lnTo>
                <a:lnTo>
                  <a:pt x="16800" y="7855"/>
                </a:lnTo>
                <a:lnTo>
                  <a:pt x="4800" y="7855"/>
                </a:lnTo>
                <a:cubicBezTo>
                  <a:pt x="4800" y="7855"/>
                  <a:pt x="4800" y="3927"/>
                  <a:pt x="4800" y="3927"/>
                </a:cubicBezTo>
                <a:close/>
                <a:moveTo>
                  <a:pt x="3600" y="18655"/>
                </a:moveTo>
                <a:lnTo>
                  <a:pt x="18000" y="18655"/>
                </a:lnTo>
                <a:lnTo>
                  <a:pt x="18000" y="2945"/>
                </a:lnTo>
                <a:lnTo>
                  <a:pt x="3600" y="2945"/>
                </a:lnTo>
                <a:cubicBezTo>
                  <a:pt x="3600" y="2945"/>
                  <a:pt x="3600" y="18655"/>
                  <a:pt x="3600" y="18655"/>
                </a:cubicBezTo>
                <a:close/>
                <a:moveTo>
                  <a:pt x="20400" y="19636"/>
                </a:moveTo>
                <a:cubicBezTo>
                  <a:pt x="20400" y="20178"/>
                  <a:pt x="19862" y="20618"/>
                  <a:pt x="19200" y="20618"/>
                </a:cubicBezTo>
                <a:lnTo>
                  <a:pt x="2400" y="20618"/>
                </a:lnTo>
                <a:cubicBezTo>
                  <a:pt x="1738" y="20618"/>
                  <a:pt x="1200" y="20178"/>
                  <a:pt x="1200" y="19636"/>
                </a:cubicBezTo>
                <a:lnTo>
                  <a:pt x="1200" y="1964"/>
                </a:lnTo>
                <a:cubicBezTo>
                  <a:pt x="1200" y="1422"/>
                  <a:pt x="1738" y="982"/>
                  <a:pt x="2400" y="982"/>
                </a:cubicBezTo>
                <a:lnTo>
                  <a:pt x="19200" y="982"/>
                </a:lnTo>
                <a:cubicBezTo>
                  <a:pt x="19862" y="982"/>
                  <a:pt x="20400" y="1422"/>
                  <a:pt x="20400" y="1964"/>
                </a:cubicBezTo>
                <a:cubicBezTo>
                  <a:pt x="20400" y="1964"/>
                  <a:pt x="20400" y="19636"/>
                  <a:pt x="20400" y="19636"/>
                </a:cubicBezTo>
                <a:close/>
                <a:moveTo>
                  <a:pt x="192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1964"/>
                </a:lnTo>
                <a:cubicBezTo>
                  <a:pt x="21600" y="879"/>
                  <a:pt x="20525" y="0"/>
                  <a:pt x="19200" y="0"/>
                </a:cubicBezTo>
                <a:moveTo>
                  <a:pt x="9600" y="16691"/>
                </a:moveTo>
                <a:lnTo>
                  <a:pt x="12000" y="16691"/>
                </a:lnTo>
                <a:lnTo>
                  <a:pt x="12000" y="15709"/>
                </a:lnTo>
                <a:lnTo>
                  <a:pt x="9600" y="15709"/>
                </a:lnTo>
                <a:cubicBezTo>
                  <a:pt x="9600" y="15709"/>
                  <a:pt x="9600" y="16691"/>
                  <a:pt x="9600" y="16691"/>
                </a:cubicBezTo>
                <a:close/>
                <a:moveTo>
                  <a:pt x="9600" y="6873"/>
                </a:moveTo>
                <a:lnTo>
                  <a:pt x="12000" y="6873"/>
                </a:lnTo>
                <a:lnTo>
                  <a:pt x="12000" y="5891"/>
                </a:lnTo>
                <a:lnTo>
                  <a:pt x="9600" y="5891"/>
                </a:lnTo>
                <a:cubicBezTo>
                  <a:pt x="9600" y="5891"/>
                  <a:pt x="9600" y="6873"/>
                  <a:pt x="9600" y="6873"/>
                </a:cubicBezTo>
                <a:close/>
                <a:moveTo>
                  <a:pt x="9600" y="11782"/>
                </a:moveTo>
                <a:lnTo>
                  <a:pt x="12000" y="11782"/>
                </a:lnTo>
                <a:lnTo>
                  <a:pt x="12000" y="10800"/>
                </a:lnTo>
                <a:lnTo>
                  <a:pt x="9600" y="10800"/>
                </a:lnTo>
                <a:cubicBezTo>
                  <a:pt x="9600" y="10800"/>
                  <a:pt x="9600" y="11782"/>
                  <a:pt x="9600" y="1178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7" name="Shape 2727"/>
          <p:cNvSpPr/>
          <p:nvPr/>
        </p:nvSpPr>
        <p:spPr>
          <a:xfrm>
            <a:off x="426015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5"/>
                  <a:pt x="7532" y="13745"/>
                  <a:pt x="8345" y="13745"/>
                </a:cubicBezTo>
                <a:lnTo>
                  <a:pt x="9327" y="13745"/>
                </a:lnTo>
                <a:cubicBezTo>
                  <a:pt x="10140" y="13745"/>
                  <a:pt x="10800" y="14405"/>
                  <a:pt x="10800" y="15218"/>
                </a:cubicBezTo>
                <a:cubicBezTo>
                  <a:pt x="10800" y="16031"/>
                  <a:pt x="10140" y="16691"/>
                  <a:pt x="9327" y="16691"/>
                </a:cubicBezTo>
                <a:moveTo>
                  <a:pt x="15218" y="4418"/>
                </a:moveTo>
                <a:cubicBezTo>
                  <a:pt x="15192" y="4418"/>
                  <a:pt x="15170" y="4429"/>
                  <a:pt x="15145" y="4433"/>
                </a:cubicBezTo>
                <a:lnTo>
                  <a:pt x="15143" y="4424"/>
                </a:lnTo>
                <a:lnTo>
                  <a:pt x="11483" y="3967"/>
                </a:lnTo>
                <a:cubicBezTo>
                  <a:pt x="11424" y="3942"/>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6" y="8306"/>
                </a:lnTo>
                <a:cubicBezTo>
                  <a:pt x="15085" y="8332"/>
                  <a:pt x="15150" y="8345"/>
                  <a:pt x="15218" y="8345"/>
                </a:cubicBezTo>
                <a:cubicBezTo>
                  <a:pt x="15234" y="8345"/>
                  <a:pt x="15248" y="8338"/>
                  <a:pt x="15264" y="8336"/>
                </a:cubicBezTo>
                <a:lnTo>
                  <a:pt x="15293" y="8340"/>
                </a:lnTo>
                <a:lnTo>
                  <a:pt x="15292" y="8331"/>
                </a:lnTo>
                <a:cubicBezTo>
                  <a:pt x="15526" y="8294"/>
                  <a:pt x="15709" y="8100"/>
                  <a:pt x="15709" y="7855"/>
                </a:cubicBezTo>
                <a:lnTo>
                  <a:pt x="15709" y="4909"/>
                </a:lnTo>
                <a:cubicBezTo>
                  <a:pt x="15709" y="4638"/>
                  <a:pt x="15490" y="4418"/>
                  <a:pt x="15218" y="4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8" name="Shape 2728"/>
          <p:cNvSpPr/>
          <p:nvPr/>
        </p:nvSpPr>
        <p:spPr>
          <a:xfrm>
            <a:off x="66064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7318"/>
                </a:moveTo>
                <a:lnTo>
                  <a:pt x="11782" y="6949"/>
                </a:lnTo>
                <a:lnTo>
                  <a:pt x="11782" y="4956"/>
                </a:lnTo>
                <a:lnTo>
                  <a:pt x="14727" y="5324"/>
                </a:lnTo>
                <a:cubicBezTo>
                  <a:pt x="14727" y="5324"/>
                  <a:pt x="14727" y="7318"/>
                  <a:pt x="14727" y="7318"/>
                </a:cubicBezTo>
                <a:close/>
                <a:moveTo>
                  <a:pt x="9327" y="16691"/>
                </a:moveTo>
                <a:lnTo>
                  <a:pt x="8345" y="16691"/>
                </a:lnTo>
                <a:cubicBezTo>
                  <a:pt x="7532" y="16691"/>
                  <a:pt x="6873" y="16031"/>
                  <a:pt x="6873" y="15218"/>
                </a:cubicBezTo>
                <a:cubicBezTo>
                  <a:pt x="6873" y="14406"/>
                  <a:pt x="7532" y="13745"/>
                  <a:pt x="8345" y="13745"/>
                </a:cubicBezTo>
                <a:lnTo>
                  <a:pt x="9327" y="13745"/>
                </a:lnTo>
                <a:cubicBezTo>
                  <a:pt x="10141" y="13745"/>
                  <a:pt x="10800" y="14406"/>
                  <a:pt x="10800" y="15218"/>
                </a:cubicBezTo>
                <a:cubicBezTo>
                  <a:pt x="10800" y="16031"/>
                  <a:pt x="10141" y="16691"/>
                  <a:pt x="9327" y="16691"/>
                </a:cubicBezTo>
                <a:moveTo>
                  <a:pt x="15218" y="4418"/>
                </a:moveTo>
                <a:cubicBezTo>
                  <a:pt x="15192" y="4418"/>
                  <a:pt x="15170" y="4429"/>
                  <a:pt x="15145" y="4433"/>
                </a:cubicBezTo>
                <a:lnTo>
                  <a:pt x="15144" y="4424"/>
                </a:lnTo>
                <a:lnTo>
                  <a:pt x="11483" y="3967"/>
                </a:lnTo>
                <a:cubicBezTo>
                  <a:pt x="11424" y="3941"/>
                  <a:pt x="11359" y="3927"/>
                  <a:pt x="11291" y="3927"/>
                </a:cubicBezTo>
                <a:cubicBezTo>
                  <a:pt x="11275" y="3927"/>
                  <a:pt x="11261" y="3935"/>
                  <a:pt x="11245" y="3937"/>
                </a:cubicBezTo>
                <a:lnTo>
                  <a:pt x="11216" y="3933"/>
                </a:lnTo>
                <a:lnTo>
                  <a:pt x="11218" y="3942"/>
                </a:lnTo>
                <a:cubicBezTo>
                  <a:pt x="10983" y="3979"/>
                  <a:pt x="10800" y="4173"/>
                  <a:pt x="10800" y="4418"/>
                </a:cubicBezTo>
                <a:lnTo>
                  <a:pt x="10800" y="13266"/>
                </a:lnTo>
                <a:cubicBezTo>
                  <a:pt x="10389" y="12955"/>
                  <a:pt x="9882" y="12764"/>
                  <a:pt x="9327" y="12764"/>
                </a:cubicBezTo>
                <a:lnTo>
                  <a:pt x="8345" y="12764"/>
                </a:lnTo>
                <a:cubicBezTo>
                  <a:pt x="6990" y="12764"/>
                  <a:pt x="5891" y="13862"/>
                  <a:pt x="5891" y="15218"/>
                </a:cubicBezTo>
                <a:cubicBezTo>
                  <a:pt x="5891" y="16574"/>
                  <a:pt x="6990" y="17673"/>
                  <a:pt x="8345" y="17673"/>
                </a:cubicBezTo>
                <a:lnTo>
                  <a:pt x="9327" y="17673"/>
                </a:lnTo>
                <a:cubicBezTo>
                  <a:pt x="10683" y="17673"/>
                  <a:pt x="11782" y="16574"/>
                  <a:pt x="11782" y="15218"/>
                </a:cubicBezTo>
                <a:lnTo>
                  <a:pt x="11782" y="7901"/>
                </a:lnTo>
                <a:lnTo>
                  <a:pt x="15027" y="8307"/>
                </a:lnTo>
                <a:cubicBezTo>
                  <a:pt x="15085" y="8332"/>
                  <a:pt x="15150" y="8345"/>
                  <a:pt x="15218" y="8345"/>
                </a:cubicBezTo>
                <a:cubicBezTo>
                  <a:pt x="15234" y="8345"/>
                  <a:pt x="15248" y="8338"/>
                  <a:pt x="15264" y="8336"/>
                </a:cubicBezTo>
                <a:lnTo>
                  <a:pt x="15293" y="8340"/>
                </a:lnTo>
                <a:lnTo>
                  <a:pt x="15291" y="8331"/>
                </a:lnTo>
                <a:cubicBezTo>
                  <a:pt x="15526" y="8294"/>
                  <a:pt x="15709" y="8100"/>
                  <a:pt x="15709" y="7855"/>
                </a:cubicBezTo>
                <a:lnTo>
                  <a:pt x="15709" y="4909"/>
                </a:lnTo>
                <a:cubicBezTo>
                  <a:pt x="15709" y="4638"/>
                  <a:pt x="15489" y="4418"/>
                  <a:pt x="15218"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29" name="Shape 2729"/>
          <p:cNvSpPr/>
          <p:nvPr/>
        </p:nvSpPr>
        <p:spPr>
          <a:xfrm>
            <a:off x="106059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7318"/>
                </a:moveTo>
                <a:lnTo>
                  <a:pt x="14727" y="6949"/>
                </a:lnTo>
                <a:lnTo>
                  <a:pt x="14727" y="4956"/>
                </a:lnTo>
                <a:lnTo>
                  <a:pt x="17673" y="5324"/>
                </a:lnTo>
                <a:cubicBezTo>
                  <a:pt x="17673" y="5324"/>
                  <a:pt x="17673" y="7318"/>
                  <a:pt x="17673" y="7318"/>
                </a:cubicBezTo>
                <a:close/>
                <a:moveTo>
                  <a:pt x="12273" y="16691"/>
                </a:moveTo>
                <a:lnTo>
                  <a:pt x="11291" y="16691"/>
                </a:lnTo>
                <a:cubicBezTo>
                  <a:pt x="10477" y="16691"/>
                  <a:pt x="9818" y="16031"/>
                  <a:pt x="9818" y="15218"/>
                </a:cubicBezTo>
                <a:cubicBezTo>
                  <a:pt x="9818" y="14406"/>
                  <a:pt x="10477" y="13745"/>
                  <a:pt x="11291" y="13745"/>
                </a:cubicBezTo>
                <a:lnTo>
                  <a:pt x="12273" y="13745"/>
                </a:lnTo>
                <a:cubicBezTo>
                  <a:pt x="13086" y="13745"/>
                  <a:pt x="13745" y="14406"/>
                  <a:pt x="13745" y="15218"/>
                </a:cubicBezTo>
                <a:cubicBezTo>
                  <a:pt x="13745" y="16031"/>
                  <a:pt x="13086" y="16691"/>
                  <a:pt x="12273" y="16691"/>
                </a:cubicBezTo>
                <a:moveTo>
                  <a:pt x="18164" y="4418"/>
                </a:moveTo>
                <a:cubicBezTo>
                  <a:pt x="18138" y="4418"/>
                  <a:pt x="18115" y="4429"/>
                  <a:pt x="18091" y="4433"/>
                </a:cubicBezTo>
                <a:lnTo>
                  <a:pt x="18089" y="4424"/>
                </a:lnTo>
                <a:lnTo>
                  <a:pt x="14428" y="3967"/>
                </a:lnTo>
                <a:cubicBezTo>
                  <a:pt x="14369" y="3941"/>
                  <a:pt x="14305" y="3927"/>
                  <a:pt x="14236" y="3927"/>
                </a:cubicBezTo>
                <a:cubicBezTo>
                  <a:pt x="14220" y="3927"/>
                  <a:pt x="14206" y="3935"/>
                  <a:pt x="14191" y="3937"/>
                </a:cubicBezTo>
                <a:lnTo>
                  <a:pt x="14162" y="3933"/>
                </a:lnTo>
                <a:lnTo>
                  <a:pt x="14163" y="3942"/>
                </a:lnTo>
                <a:cubicBezTo>
                  <a:pt x="13929" y="3979"/>
                  <a:pt x="13745" y="4173"/>
                  <a:pt x="13745" y="4418"/>
                </a:cubicBezTo>
                <a:lnTo>
                  <a:pt x="13745" y="13266"/>
                </a:lnTo>
                <a:cubicBezTo>
                  <a:pt x="13335" y="12955"/>
                  <a:pt x="12828" y="12764"/>
                  <a:pt x="12273" y="12764"/>
                </a:cubicBezTo>
                <a:lnTo>
                  <a:pt x="11291" y="12764"/>
                </a:lnTo>
                <a:cubicBezTo>
                  <a:pt x="9935" y="12764"/>
                  <a:pt x="8836" y="13862"/>
                  <a:pt x="8836" y="15218"/>
                </a:cubicBezTo>
                <a:cubicBezTo>
                  <a:pt x="8836" y="16574"/>
                  <a:pt x="9935" y="17673"/>
                  <a:pt x="11291" y="17673"/>
                </a:cubicBezTo>
                <a:lnTo>
                  <a:pt x="12273" y="17673"/>
                </a:lnTo>
                <a:cubicBezTo>
                  <a:pt x="13629" y="17673"/>
                  <a:pt x="14727" y="16574"/>
                  <a:pt x="14727" y="15218"/>
                </a:cubicBezTo>
                <a:lnTo>
                  <a:pt x="14727" y="7901"/>
                </a:lnTo>
                <a:lnTo>
                  <a:pt x="17972" y="8307"/>
                </a:lnTo>
                <a:cubicBezTo>
                  <a:pt x="18031" y="8332"/>
                  <a:pt x="18095" y="8345"/>
                  <a:pt x="18164" y="8345"/>
                </a:cubicBezTo>
                <a:cubicBezTo>
                  <a:pt x="18180" y="8345"/>
                  <a:pt x="18194" y="8338"/>
                  <a:pt x="18210" y="8336"/>
                </a:cubicBezTo>
                <a:lnTo>
                  <a:pt x="18238" y="8340"/>
                </a:lnTo>
                <a:lnTo>
                  <a:pt x="18237" y="8331"/>
                </a:lnTo>
                <a:cubicBezTo>
                  <a:pt x="18471" y="8294"/>
                  <a:pt x="18655" y="8100"/>
                  <a:pt x="18655" y="7855"/>
                </a:cubicBezTo>
                <a:lnTo>
                  <a:pt x="18655" y="4909"/>
                </a:lnTo>
                <a:cubicBezTo>
                  <a:pt x="18655" y="4638"/>
                  <a:pt x="18434" y="4418"/>
                  <a:pt x="18164" y="4418"/>
                </a:cubicBezTo>
                <a:moveTo>
                  <a:pt x="10800" y="10309"/>
                </a:moveTo>
                <a:cubicBezTo>
                  <a:pt x="10800" y="10038"/>
                  <a:pt x="10580" y="9818"/>
                  <a:pt x="10309" y="9818"/>
                </a:cubicBezTo>
                <a:lnTo>
                  <a:pt x="4418" y="9818"/>
                </a:lnTo>
                <a:cubicBezTo>
                  <a:pt x="4147" y="9818"/>
                  <a:pt x="3927" y="10038"/>
                  <a:pt x="3927" y="10309"/>
                </a:cubicBezTo>
                <a:cubicBezTo>
                  <a:pt x="3927" y="10580"/>
                  <a:pt x="4147" y="10800"/>
                  <a:pt x="4418" y="10800"/>
                </a:cubicBezTo>
                <a:lnTo>
                  <a:pt x="10309" y="10800"/>
                </a:lnTo>
                <a:cubicBezTo>
                  <a:pt x="10580" y="10800"/>
                  <a:pt x="10800" y="10580"/>
                  <a:pt x="10800" y="10309"/>
                </a:cubicBezTo>
                <a:moveTo>
                  <a:pt x="4418" y="6873"/>
                </a:moveTo>
                <a:lnTo>
                  <a:pt x="10309" y="6873"/>
                </a:lnTo>
                <a:cubicBezTo>
                  <a:pt x="10580" y="6873"/>
                  <a:pt x="10800" y="6653"/>
                  <a:pt x="10800" y="6382"/>
                </a:cubicBezTo>
                <a:cubicBezTo>
                  <a:pt x="10800" y="6110"/>
                  <a:pt x="10580" y="5891"/>
                  <a:pt x="10309" y="5891"/>
                </a:cubicBezTo>
                <a:lnTo>
                  <a:pt x="4418" y="5891"/>
                </a:lnTo>
                <a:cubicBezTo>
                  <a:pt x="4147" y="5891"/>
                  <a:pt x="3927" y="6110"/>
                  <a:pt x="3927" y="6382"/>
                </a:cubicBezTo>
                <a:cubicBezTo>
                  <a:pt x="3927" y="6653"/>
                  <a:pt x="4147" y="6873"/>
                  <a:pt x="4418" y="6873"/>
                </a:cubicBezTo>
                <a:moveTo>
                  <a:pt x="4418" y="8836"/>
                </a:moveTo>
                <a:lnTo>
                  <a:pt x="10309" y="8836"/>
                </a:lnTo>
                <a:cubicBezTo>
                  <a:pt x="10580" y="8836"/>
                  <a:pt x="10800" y="8617"/>
                  <a:pt x="10800" y="8345"/>
                </a:cubicBezTo>
                <a:cubicBezTo>
                  <a:pt x="10800" y="8074"/>
                  <a:pt x="10580" y="7855"/>
                  <a:pt x="10309" y="7855"/>
                </a:cubicBezTo>
                <a:lnTo>
                  <a:pt x="4418" y="7855"/>
                </a:lnTo>
                <a:cubicBezTo>
                  <a:pt x="4147" y="7855"/>
                  <a:pt x="3927" y="8074"/>
                  <a:pt x="3927" y="8345"/>
                </a:cubicBezTo>
                <a:cubicBezTo>
                  <a:pt x="3927" y="8617"/>
                  <a:pt x="4147" y="8836"/>
                  <a:pt x="4418" y="8836"/>
                </a:cubicBezTo>
                <a:moveTo>
                  <a:pt x="20618" y="19636"/>
                </a:moveTo>
                <a:cubicBezTo>
                  <a:pt x="20618" y="20179"/>
                  <a:pt x="20178"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8"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0" name="Shape 2730"/>
          <p:cNvSpPr/>
          <p:nvPr/>
        </p:nvSpPr>
        <p:spPr>
          <a:xfrm>
            <a:off x="1460536"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691" y="5988"/>
                </a:moveTo>
                <a:lnTo>
                  <a:pt x="8836" y="7734"/>
                </a:lnTo>
                <a:lnTo>
                  <a:pt x="8836" y="5794"/>
                </a:lnTo>
                <a:lnTo>
                  <a:pt x="16691" y="4048"/>
                </a:lnTo>
                <a:cubicBezTo>
                  <a:pt x="16691" y="4048"/>
                  <a:pt x="16691" y="5988"/>
                  <a:pt x="16691" y="5988"/>
                </a:cubicBezTo>
                <a:close/>
                <a:moveTo>
                  <a:pt x="15218" y="15709"/>
                </a:moveTo>
                <a:lnTo>
                  <a:pt x="14236" y="15709"/>
                </a:lnTo>
                <a:cubicBezTo>
                  <a:pt x="13423" y="15709"/>
                  <a:pt x="12764" y="15050"/>
                  <a:pt x="12764" y="14236"/>
                </a:cubicBezTo>
                <a:cubicBezTo>
                  <a:pt x="12764" y="13423"/>
                  <a:pt x="13423" y="12764"/>
                  <a:pt x="14236" y="12764"/>
                </a:cubicBezTo>
                <a:lnTo>
                  <a:pt x="15218" y="12764"/>
                </a:lnTo>
                <a:cubicBezTo>
                  <a:pt x="16032" y="12764"/>
                  <a:pt x="16691" y="13423"/>
                  <a:pt x="16691" y="14236"/>
                </a:cubicBezTo>
                <a:cubicBezTo>
                  <a:pt x="16691" y="15050"/>
                  <a:pt x="16032" y="15709"/>
                  <a:pt x="15218" y="15709"/>
                </a:cubicBezTo>
                <a:moveTo>
                  <a:pt x="6382" y="17673"/>
                </a:moveTo>
                <a:lnTo>
                  <a:pt x="5400" y="17673"/>
                </a:lnTo>
                <a:cubicBezTo>
                  <a:pt x="4586" y="17673"/>
                  <a:pt x="3927" y="17014"/>
                  <a:pt x="3927" y="16200"/>
                </a:cubicBezTo>
                <a:cubicBezTo>
                  <a:pt x="3927" y="15387"/>
                  <a:pt x="4586" y="14727"/>
                  <a:pt x="5400" y="14727"/>
                </a:cubicBezTo>
                <a:lnTo>
                  <a:pt x="6382" y="14727"/>
                </a:lnTo>
                <a:cubicBezTo>
                  <a:pt x="7195" y="14727"/>
                  <a:pt x="7855" y="15387"/>
                  <a:pt x="7855" y="16200"/>
                </a:cubicBezTo>
                <a:cubicBezTo>
                  <a:pt x="7855" y="17014"/>
                  <a:pt x="7195" y="17673"/>
                  <a:pt x="6382" y="17673"/>
                </a:cubicBezTo>
                <a:moveTo>
                  <a:pt x="17182" y="2945"/>
                </a:moveTo>
                <a:cubicBezTo>
                  <a:pt x="17148" y="2945"/>
                  <a:pt x="17119" y="2958"/>
                  <a:pt x="17088" y="2965"/>
                </a:cubicBezTo>
                <a:lnTo>
                  <a:pt x="17086" y="2955"/>
                </a:lnTo>
                <a:lnTo>
                  <a:pt x="8249" y="4919"/>
                </a:lnTo>
                <a:lnTo>
                  <a:pt x="8251" y="4928"/>
                </a:lnTo>
                <a:cubicBezTo>
                  <a:pt x="8027" y="4973"/>
                  <a:pt x="7855" y="5162"/>
                  <a:pt x="7855" y="5400"/>
                </a:cubicBezTo>
                <a:lnTo>
                  <a:pt x="7855" y="14248"/>
                </a:lnTo>
                <a:cubicBezTo>
                  <a:pt x="7444" y="13937"/>
                  <a:pt x="6937" y="13745"/>
                  <a:pt x="6382" y="13745"/>
                </a:cubicBezTo>
                <a:lnTo>
                  <a:pt x="5400" y="13745"/>
                </a:lnTo>
                <a:cubicBezTo>
                  <a:pt x="4044" y="13745"/>
                  <a:pt x="2945" y="14844"/>
                  <a:pt x="2945" y="16200"/>
                </a:cubicBezTo>
                <a:cubicBezTo>
                  <a:pt x="2945" y="17556"/>
                  <a:pt x="4044" y="18655"/>
                  <a:pt x="5400" y="18655"/>
                </a:cubicBezTo>
                <a:lnTo>
                  <a:pt x="6382" y="18655"/>
                </a:lnTo>
                <a:cubicBezTo>
                  <a:pt x="7737" y="18655"/>
                  <a:pt x="8836" y="17556"/>
                  <a:pt x="8836" y="16200"/>
                </a:cubicBezTo>
                <a:lnTo>
                  <a:pt x="8836" y="8739"/>
                </a:lnTo>
                <a:lnTo>
                  <a:pt x="16691" y="6994"/>
                </a:lnTo>
                <a:lnTo>
                  <a:pt x="16691" y="12284"/>
                </a:lnTo>
                <a:cubicBezTo>
                  <a:pt x="16280" y="11974"/>
                  <a:pt x="15773" y="11782"/>
                  <a:pt x="15218" y="11782"/>
                </a:cubicBezTo>
                <a:lnTo>
                  <a:pt x="14236" y="11782"/>
                </a:lnTo>
                <a:cubicBezTo>
                  <a:pt x="12881" y="11782"/>
                  <a:pt x="11782" y="12881"/>
                  <a:pt x="11782" y="14236"/>
                </a:cubicBezTo>
                <a:cubicBezTo>
                  <a:pt x="11782" y="15592"/>
                  <a:pt x="12881" y="16691"/>
                  <a:pt x="14236" y="16691"/>
                </a:cubicBezTo>
                <a:lnTo>
                  <a:pt x="15218" y="16691"/>
                </a:lnTo>
                <a:cubicBezTo>
                  <a:pt x="16573" y="16691"/>
                  <a:pt x="17673" y="15592"/>
                  <a:pt x="17673" y="14236"/>
                </a:cubicBezTo>
                <a:lnTo>
                  <a:pt x="17673" y="3436"/>
                </a:lnTo>
                <a:cubicBezTo>
                  <a:pt x="17673" y="3165"/>
                  <a:pt x="17453" y="2945"/>
                  <a:pt x="17182"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1" name="Shape 2731"/>
          <p:cNvSpPr/>
          <p:nvPr/>
        </p:nvSpPr>
        <p:spPr>
          <a:xfrm>
            <a:off x="1860482"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474" y="6862"/>
                </a:moveTo>
                <a:lnTo>
                  <a:pt x="18121" y="9450"/>
                </a:lnTo>
                <a:lnTo>
                  <a:pt x="17427" y="8686"/>
                </a:lnTo>
                <a:lnTo>
                  <a:pt x="19780" y="6098"/>
                </a:lnTo>
                <a:cubicBezTo>
                  <a:pt x="19869" y="6000"/>
                  <a:pt x="19992" y="5940"/>
                  <a:pt x="20127" y="5940"/>
                </a:cubicBezTo>
                <a:cubicBezTo>
                  <a:pt x="20398" y="5940"/>
                  <a:pt x="20618" y="6182"/>
                  <a:pt x="20618" y="6480"/>
                </a:cubicBezTo>
                <a:cubicBezTo>
                  <a:pt x="20618" y="6629"/>
                  <a:pt x="20563" y="6764"/>
                  <a:pt x="20474" y="6862"/>
                </a:cubicBezTo>
                <a:moveTo>
                  <a:pt x="21600" y="6480"/>
                </a:moveTo>
                <a:cubicBezTo>
                  <a:pt x="21600" y="5586"/>
                  <a:pt x="20941" y="4860"/>
                  <a:pt x="20127" y="4860"/>
                </a:cubicBezTo>
                <a:cubicBezTo>
                  <a:pt x="19720" y="4860"/>
                  <a:pt x="19352" y="5041"/>
                  <a:pt x="19086" y="5335"/>
                </a:cubicBezTo>
                <a:lnTo>
                  <a:pt x="6813" y="18835"/>
                </a:lnTo>
                <a:cubicBezTo>
                  <a:pt x="6547" y="19128"/>
                  <a:pt x="6382" y="19533"/>
                  <a:pt x="6382" y="19980"/>
                </a:cubicBezTo>
                <a:cubicBezTo>
                  <a:pt x="6382" y="20874"/>
                  <a:pt x="7041" y="21600"/>
                  <a:pt x="7855" y="21600"/>
                </a:cubicBezTo>
                <a:cubicBezTo>
                  <a:pt x="8262" y="21600"/>
                  <a:pt x="8630" y="21419"/>
                  <a:pt x="8896" y="21125"/>
                </a:cubicBezTo>
                <a:lnTo>
                  <a:pt x="21169" y="7625"/>
                </a:lnTo>
                <a:cubicBezTo>
                  <a:pt x="21435" y="7332"/>
                  <a:pt x="21600" y="6927"/>
                  <a:pt x="21600" y="6480"/>
                </a:cubicBezTo>
                <a:moveTo>
                  <a:pt x="20127" y="14040"/>
                </a:moveTo>
                <a:lnTo>
                  <a:pt x="18655" y="14040"/>
                </a:lnTo>
                <a:lnTo>
                  <a:pt x="18655" y="11918"/>
                </a:lnTo>
                <a:lnTo>
                  <a:pt x="15744" y="15120"/>
                </a:lnTo>
                <a:lnTo>
                  <a:pt x="20127" y="15120"/>
                </a:lnTo>
                <a:cubicBezTo>
                  <a:pt x="20398" y="15120"/>
                  <a:pt x="20618" y="15362"/>
                  <a:pt x="20618" y="15660"/>
                </a:cubicBezTo>
                <a:cubicBezTo>
                  <a:pt x="20618" y="15958"/>
                  <a:pt x="20398" y="16200"/>
                  <a:pt x="20127" y="16200"/>
                </a:cubicBezTo>
                <a:lnTo>
                  <a:pt x="14762" y="16200"/>
                </a:lnTo>
                <a:lnTo>
                  <a:pt x="13780" y="17280"/>
                </a:lnTo>
                <a:lnTo>
                  <a:pt x="20127" y="17280"/>
                </a:lnTo>
                <a:cubicBezTo>
                  <a:pt x="20941" y="17280"/>
                  <a:pt x="21600" y="16554"/>
                  <a:pt x="21600" y="15660"/>
                </a:cubicBezTo>
                <a:cubicBezTo>
                  <a:pt x="21600" y="14766"/>
                  <a:pt x="20941" y="14040"/>
                  <a:pt x="20127" y="14040"/>
                </a:cubicBezTo>
                <a:moveTo>
                  <a:pt x="7820" y="16200"/>
                </a:moveTo>
                <a:lnTo>
                  <a:pt x="1473" y="16200"/>
                </a:lnTo>
                <a:cubicBezTo>
                  <a:pt x="1202" y="16200"/>
                  <a:pt x="982" y="15958"/>
                  <a:pt x="982" y="15660"/>
                </a:cubicBezTo>
                <a:cubicBezTo>
                  <a:pt x="982" y="15362"/>
                  <a:pt x="1202" y="15120"/>
                  <a:pt x="1473" y="15120"/>
                </a:cubicBezTo>
                <a:lnTo>
                  <a:pt x="8802" y="15120"/>
                </a:lnTo>
                <a:lnTo>
                  <a:pt x="12729" y="10800"/>
                </a:lnTo>
                <a:lnTo>
                  <a:pt x="3927" y="10800"/>
                </a:lnTo>
                <a:lnTo>
                  <a:pt x="3927" y="1080"/>
                </a:lnTo>
                <a:lnTo>
                  <a:pt x="17673" y="1080"/>
                </a:lnTo>
                <a:lnTo>
                  <a:pt x="17673" y="5362"/>
                </a:lnTo>
                <a:lnTo>
                  <a:pt x="18655" y="4282"/>
                </a:lnTo>
                <a:lnTo>
                  <a:pt x="18655" y="540"/>
                </a:lnTo>
                <a:cubicBezTo>
                  <a:pt x="18655" y="242"/>
                  <a:pt x="18434" y="0"/>
                  <a:pt x="18164" y="0"/>
                </a:cubicBezTo>
                <a:lnTo>
                  <a:pt x="3436" y="0"/>
                </a:lnTo>
                <a:cubicBezTo>
                  <a:pt x="3166" y="0"/>
                  <a:pt x="2945" y="242"/>
                  <a:pt x="2945" y="540"/>
                </a:cubicBezTo>
                <a:lnTo>
                  <a:pt x="2945" y="14040"/>
                </a:lnTo>
                <a:lnTo>
                  <a:pt x="1473" y="14040"/>
                </a:lnTo>
                <a:cubicBezTo>
                  <a:pt x="659" y="14040"/>
                  <a:pt x="0" y="14766"/>
                  <a:pt x="0" y="15660"/>
                </a:cubicBezTo>
                <a:cubicBezTo>
                  <a:pt x="0" y="16554"/>
                  <a:pt x="659" y="17280"/>
                  <a:pt x="1473" y="17280"/>
                </a:cubicBezTo>
                <a:lnTo>
                  <a:pt x="6838" y="17280"/>
                </a:lnTo>
                <a:cubicBezTo>
                  <a:pt x="6838" y="17280"/>
                  <a:pt x="7820" y="16200"/>
                  <a:pt x="7820" y="162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2" name="Shape 2732"/>
          <p:cNvSpPr/>
          <p:nvPr/>
        </p:nvSpPr>
        <p:spPr>
          <a:xfrm>
            <a:off x="2260427" y="39364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9236" y="19413"/>
                </a:moveTo>
                <a:lnTo>
                  <a:pt x="13945" y="13593"/>
                </a:lnTo>
                <a:cubicBezTo>
                  <a:pt x="14130" y="12747"/>
                  <a:pt x="14236" y="11802"/>
                  <a:pt x="14236" y="10800"/>
                </a:cubicBezTo>
                <a:cubicBezTo>
                  <a:pt x="14236" y="9799"/>
                  <a:pt x="14130" y="8854"/>
                  <a:pt x="13945" y="8007"/>
                </a:cubicBezTo>
                <a:lnTo>
                  <a:pt x="19236" y="2187"/>
                </a:lnTo>
                <a:cubicBezTo>
                  <a:pt x="20007" y="2465"/>
                  <a:pt x="20618" y="6209"/>
                  <a:pt x="20618" y="10800"/>
                </a:cubicBezTo>
                <a:cubicBezTo>
                  <a:pt x="20618" y="15392"/>
                  <a:pt x="20007" y="19136"/>
                  <a:pt x="19236" y="19413"/>
                </a:cubicBezTo>
                <a:moveTo>
                  <a:pt x="11291" y="15120"/>
                </a:moveTo>
                <a:lnTo>
                  <a:pt x="10309" y="15120"/>
                </a:lnTo>
                <a:cubicBezTo>
                  <a:pt x="9225" y="15120"/>
                  <a:pt x="8345" y="13186"/>
                  <a:pt x="8345" y="10800"/>
                </a:cubicBezTo>
                <a:cubicBezTo>
                  <a:pt x="8345" y="8414"/>
                  <a:pt x="9225" y="6480"/>
                  <a:pt x="10309" y="6480"/>
                </a:cubicBezTo>
                <a:lnTo>
                  <a:pt x="11291" y="6480"/>
                </a:lnTo>
                <a:cubicBezTo>
                  <a:pt x="12375" y="6480"/>
                  <a:pt x="13255" y="8414"/>
                  <a:pt x="13255" y="10800"/>
                </a:cubicBezTo>
                <a:cubicBezTo>
                  <a:pt x="13255" y="13186"/>
                  <a:pt x="12375" y="15120"/>
                  <a:pt x="11291" y="15120"/>
                </a:cubicBezTo>
                <a:moveTo>
                  <a:pt x="7654" y="13593"/>
                </a:moveTo>
                <a:lnTo>
                  <a:pt x="2363" y="19413"/>
                </a:lnTo>
                <a:cubicBezTo>
                  <a:pt x="1593" y="19135"/>
                  <a:pt x="982" y="15391"/>
                  <a:pt x="982" y="10800"/>
                </a:cubicBezTo>
                <a:cubicBezTo>
                  <a:pt x="982" y="6209"/>
                  <a:pt x="1593" y="2465"/>
                  <a:pt x="2363" y="2187"/>
                </a:cubicBezTo>
                <a:lnTo>
                  <a:pt x="7654" y="8007"/>
                </a:lnTo>
                <a:cubicBezTo>
                  <a:pt x="7470" y="8854"/>
                  <a:pt x="7364" y="9799"/>
                  <a:pt x="7364" y="10800"/>
                </a:cubicBezTo>
                <a:cubicBezTo>
                  <a:pt x="7364" y="11802"/>
                  <a:pt x="7470" y="12747"/>
                  <a:pt x="7654" y="13593"/>
                </a:cubicBezTo>
                <a:moveTo>
                  <a:pt x="19145" y="0"/>
                </a:moveTo>
                <a:cubicBezTo>
                  <a:pt x="19066" y="0"/>
                  <a:pt x="18994" y="51"/>
                  <a:pt x="18928" y="124"/>
                </a:cubicBezTo>
                <a:lnTo>
                  <a:pt x="18925" y="114"/>
                </a:lnTo>
                <a:lnTo>
                  <a:pt x="13374" y="6221"/>
                </a:lnTo>
                <a:cubicBezTo>
                  <a:pt x="12841" y="5047"/>
                  <a:pt x="12105" y="4320"/>
                  <a:pt x="11291" y="4320"/>
                </a:cubicBezTo>
                <a:lnTo>
                  <a:pt x="10309" y="4320"/>
                </a:lnTo>
                <a:cubicBezTo>
                  <a:pt x="9495" y="4320"/>
                  <a:pt x="8758" y="5047"/>
                  <a:pt x="8225" y="6221"/>
                </a:cubicBezTo>
                <a:lnTo>
                  <a:pt x="2674" y="114"/>
                </a:lnTo>
                <a:lnTo>
                  <a:pt x="2671" y="124"/>
                </a:lnTo>
                <a:cubicBezTo>
                  <a:pt x="2606" y="51"/>
                  <a:pt x="2534" y="0"/>
                  <a:pt x="2455" y="0"/>
                </a:cubicBezTo>
                <a:cubicBezTo>
                  <a:pt x="1099" y="0"/>
                  <a:pt x="0" y="4835"/>
                  <a:pt x="0" y="10800"/>
                </a:cubicBezTo>
                <a:cubicBezTo>
                  <a:pt x="0" y="16765"/>
                  <a:pt x="1099" y="21600"/>
                  <a:pt x="2455" y="21600"/>
                </a:cubicBezTo>
                <a:cubicBezTo>
                  <a:pt x="2534" y="21600"/>
                  <a:pt x="2605" y="21549"/>
                  <a:pt x="2671" y="21477"/>
                </a:cubicBezTo>
                <a:lnTo>
                  <a:pt x="2674" y="21486"/>
                </a:lnTo>
                <a:lnTo>
                  <a:pt x="8225" y="15379"/>
                </a:lnTo>
                <a:cubicBezTo>
                  <a:pt x="8758" y="16554"/>
                  <a:pt x="9495" y="17280"/>
                  <a:pt x="10309" y="17280"/>
                </a:cubicBezTo>
                <a:lnTo>
                  <a:pt x="11291" y="17280"/>
                </a:lnTo>
                <a:cubicBezTo>
                  <a:pt x="12105" y="17280"/>
                  <a:pt x="12842" y="16554"/>
                  <a:pt x="13375" y="15379"/>
                </a:cubicBezTo>
                <a:lnTo>
                  <a:pt x="18940" y="21501"/>
                </a:lnTo>
                <a:lnTo>
                  <a:pt x="18941" y="21496"/>
                </a:lnTo>
                <a:cubicBezTo>
                  <a:pt x="19003" y="21560"/>
                  <a:pt x="19072" y="21600"/>
                  <a:pt x="19145" y="21600"/>
                </a:cubicBezTo>
                <a:cubicBezTo>
                  <a:pt x="20501" y="21600"/>
                  <a:pt x="21600" y="16765"/>
                  <a:pt x="21600" y="10800"/>
                </a:cubicBezTo>
                <a:cubicBezTo>
                  <a:pt x="21600" y="4835"/>
                  <a:pt x="20501" y="0"/>
                  <a:pt x="19145"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3" name="Shape 2733"/>
          <p:cNvSpPr/>
          <p:nvPr/>
        </p:nvSpPr>
        <p:spPr>
          <a:xfrm>
            <a:off x="2727030" y="3879364"/>
            <a:ext cx="7618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364"/>
                </a:moveTo>
                <a:lnTo>
                  <a:pt x="2804" y="17041"/>
                </a:lnTo>
                <a:lnTo>
                  <a:pt x="9142" y="5518"/>
                </a:lnTo>
                <a:lnTo>
                  <a:pt x="9803" y="5724"/>
                </a:lnTo>
                <a:cubicBezTo>
                  <a:pt x="9859" y="5747"/>
                  <a:pt x="9925" y="5764"/>
                  <a:pt x="9991" y="5783"/>
                </a:cubicBezTo>
                <a:lnTo>
                  <a:pt x="10130" y="5826"/>
                </a:lnTo>
                <a:lnTo>
                  <a:pt x="10141" y="5820"/>
                </a:lnTo>
                <a:cubicBezTo>
                  <a:pt x="10339" y="5861"/>
                  <a:pt x="10555" y="5891"/>
                  <a:pt x="10800" y="5891"/>
                </a:cubicBezTo>
                <a:cubicBezTo>
                  <a:pt x="11045" y="5891"/>
                  <a:pt x="11261" y="5861"/>
                  <a:pt x="11459" y="5820"/>
                </a:cubicBezTo>
                <a:lnTo>
                  <a:pt x="11470" y="5826"/>
                </a:lnTo>
                <a:lnTo>
                  <a:pt x="11609" y="5783"/>
                </a:lnTo>
                <a:cubicBezTo>
                  <a:pt x="11675" y="5764"/>
                  <a:pt x="11741" y="5747"/>
                  <a:pt x="11797" y="5724"/>
                </a:cubicBezTo>
                <a:lnTo>
                  <a:pt x="12457" y="5518"/>
                </a:lnTo>
                <a:lnTo>
                  <a:pt x="14283" y="8836"/>
                </a:lnTo>
                <a:lnTo>
                  <a:pt x="10800" y="8836"/>
                </a:lnTo>
                <a:cubicBezTo>
                  <a:pt x="10054" y="8836"/>
                  <a:pt x="9450" y="9056"/>
                  <a:pt x="9450" y="9327"/>
                </a:cubicBezTo>
                <a:cubicBezTo>
                  <a:pt x="9450" y="9599"/>
                  <a:pt x="10054" y="9818"/>
                  <a:pt x="10800" y="9818"/>
                </a:cubicBezTo>
                <a:lnTo>
                  <a:pt x="14824" y="9818"/>
                </a:lnTo>
                <a:lnTo>
                  <a:pt x="18796" y="17041"/>
                </a:lnTo>
                <a:cubicBezTo>
                  <a:pt x="18796" y="17041"/>
                  <a:pt x="10800" y="20364"/>
                  <a:pt x="10800" y="20364"/>
                </a:cubicBezTo>
                <a:close/>
                <a:moveTo>
                  <a:pt x="2776" y="2264"/>
                </a:moveTo>
                <a:cubicBezTo>
                  <a:pt x="3291" y="1541"/>
                  <a:pt x="6683" y="982"/>
                  <a:pt x="10800" y="982"/>
                </a:cubicBezTo>
                <a:cubicBezTo>
                  <a:pt x="14917" y="982"/>
                  <a:pt x="18308" y="1541"/>
                  <a:pt x="18825" y="2264"/>
                </a:cubicBezTo>
                <a:lnTo>
                  <a:pt x="10800" y="4765"/>
                </a:lnTo>
                <a:cubicBezTo>
                  <a:pt x="10800" y="4765"/>
                  <a:pt x="2776" y="2264"/>
                  <a:pt x="2776" y="2264"/>
                </a:cubicBezTo>
                <a:close/>
                <a:moveTo>
                  <a:pt x="21551" y="17094"/>
                </a:moveTo>
                <a:lnTo>
                  <a:pt x="21578" y="17093"/>
                </a:lnTo>
                <a:lnTo>
                  <a:pt x="17575" y="9818"/>
                </a:lnTo>
                <a:lnTo>
                  <a:pt x="18900" y="9818"/>
                </a:lnTo>
                <a:cubicBezTo>
                  <a:pt x="19646" y="9818"/>
                  <a:pt x="20250" y="9599"/>
                  <a:pt x="20250" y="9327"/>
                </a:cubicBezTo>
                <a:cubicBezTo>
                  <a:pt x="20250" y="9056"/>
                  <a:pt x="19646" y="8836"/>
                  <a:pt x="18900" y="8836"/>
                </a:cubicBezTo>
                <a:lnTo>
                  <a:pt x="17036" y="8836"/>
                </a:lnTo>
                <a:lnTo>
                  <a:pt x="14828" y="4820"/>
                </a:lnTo>
                <a:lnTo>
                  <a:pt x="14801" y="4822"/>
                </a:lnTo>
                <a:cubicBezTo>
                  <a:pt x="14795" y="4812"/>
                  <a:pt x="14792" y="4803"/>
                  <a:pt x="14785" y="4793"/>
                </a:cubicBezTo>
                <a:lnTo>
                  <a:pt x="20920" y="2881"/>
                </a:lnTo>
                <a:lnTo>
                  <a:pt x="20909" y="2874"/>
                </a:lnTo>
                <a:cubicBezTo>
                  <a:pt x="21315" y="2789"/>
                  <a:pt x="21600" y="2637"/>
                  <a:pt x="21600" y="2455"/>
                </a:cubicBezTo>
                <a:cubicBezTo>
                  <a:pt x="21600" y="1099"/>
                  <a:pt x="16764" y="0"/>
                  <a:pt x="10800" y="0"/>
                </a:cubicBezTo>
                <a:cubicBezTo>
                  <a:pt x="4836" y="0"/>
                  <a:pt x="0" y="1099"/>
                  <a:pt x="0" y="2455"/>
                </a:cubicBezTo>
                <a:cubicBezTo>
                  <a:pt x="0" y="2637"/>
                  <a:pt x="285" y="2789"/>
                  <a:pt x="691" y="2874"/>
                </a:cubicBezTo>
                <a:lnTo>
                  <a:pt x="680" y="2881"/>
                </a:lnTo>
                <a:lnTo>
                  <a:pt x="6815" y="4793"/>
                </a:lnTo>
                <a:cubicBezTo>
                  <a:pt x="6808" y="4802"/>
                  <a:pt x="6805" y="4812"/>
                  <a:pt x="6799" y="4822"/>
                </a:cubicBezTo>
                <a:lnTo>
                  <a:pt x="6772" y="4820"/>
                </a:lnTo>
                <a:lnTo>
                  <a:pt x="22" y="17093"/>
                </a:lnTo>
                <a:lnTo>
                  <a:pt x="49" y="17094"/>
                </a:lnTo>
                <a:cubicBezTo>
                  <a:pt x="34" y="17123"/>
                  <a:pt x="0" y="17151"/>
                  <a:pt x="0" y="17182"/>
                </a:cubicBezTo>
                <a:cubicBezTo>
                  <a:pt x="0" y="17306"/>
                  <a:pt x="137" y="17416"/>
                  <a:pt x="345" y="17502"/>
                </a:cubicBezTo>
                <a:lnTo>
                  <a:pt x="335" y="17505"/>
                </a:lnTo>
                <a:lnTo>
                  <a:pt x="9785" y="21432"/>
                </a:lnTo>
                <a:lnTo>
                  <a:pt x="9795" y="21429"/>
                </a:lnTo>
                <a:cubicBezTo>
                  <a:pt x="10041" y="21532"/>
                  <a:pt x="10394" y="21600"/>
                  <a:pt x="10800" y="21600"/>
                </a:cubicBezTo>
                <a:cubicBezTo>
                  <a:pt x="11206" y="21600"/>
                  <a:pt x="11557" y="21532"/>
                  <a:pt x="11805" y="21429"/>
                </a:cubicBezTo>
                <a:lnTo>
                  <a:pt x="11815" y="21432"/>
                </a:lnTo>
                <a:lnTo>
                  <a:pt x="21265" y="17505"/>
                </a:lnTo>
                <a:lnTo>
                  <a:pt x="21255" y="17502"/>
                </a:lnTo>
                <a:cubicBezTo>
                  <a:pt x="21463" y="17416"/>
                  <a:pt x="21600" y="17306"/>
                  <a:pt x="21600" y="17182"/>
                </a:cubicBezTo>
                <a:cubicBezTo>
                  <a:pt x="21600" y="17151"/>
                  <a:pt x="21566" y="17123"/>
                  <a:pt x="21551" y="170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4" name="Shape 2734"/>
          <p:cNvSpPr/>
          <p:nvPr/>
        </p:nvSpPr>
        <p:spPr>
          <a:xfrm>
            <a:off x="3060320" y="3907932"/>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09" y="9450"/>
                </a:moveTo>
                <a:lnTo>
                  <a:pt x="9140" y="9450"/>
                </a:lnTo>
                <a:lnTo>
                  <a:pt x="8293" y="7123"/>
                </a:lnTo>
                <a:lnTo>
                  <a:pt x="8289" y="7126"/>
                </a:lnTo>
                <a:cubicBezTo>
                  <a:pt x="8208" y="6906"/>
                  <a:pt x="8046" y="6750"/>
                  <a:pt x="7855" y="6750"/>
                </a:cubicBezTo>
                <a:cubicBezTo>
                  <a:pt x="7663" y="6750"/>
                  <a:pt x="7501" y="6906"/>
                  <a:pt x="7420" y="7126"/>
                </a:cubicBezTo>
                <a:lnTo>
                  <a:pt x="7415" y="7123"/>
                </a:lnTo>
                <a:lnTo>
                  <a:pt x="6569" y="9450"/>
                </a:lnTo>
                <a:lnTo>
                  <a:pt x="5400" y="9450"/>
                </a:lnTo>
                <a:cubicBezTo>
                  <a:pt x="5129" y="9450"/>
                  <a:pt x="4909" y="9752"/>
                  <a:pt x="4909" y="10125"/>
                </a:cubicBezTo>
                <a:cubicBezTo>
                  <a:pt x="4909" y="10571"/>
                  <a:pt x="5128" y="10687"/>
                  <a:pt x="5128" y="10687"/>
                </a:cubicBezTo>
                <a:lnTo>
                  <a:pt x="6405" y="11857"/>
                </a:lnTo>
                <a:lnTo>
                  <a:pt x="5914" y="14014"/>
                </a:lnTo>
                <a:cubicBezTo>
                  <a:pt x="5905" y="14067"/>
                  <a:pt x="5891" y="14118"/>
                  <a:pt x="5891" y="14175"/>
                </a:cubicBezTo>
                <a:cubicBezTo>
                  <a:pt x="5891" y="14548"/>
                  <a:pt x="6110" y="14850"/>
                  <a:pt x="6382" y="14850"/>
                </a:cubicBezTo>
                <a:cubicBezTo>
                  <a:pt x="6483" y="14850"/>
                  <a:pt x="6574" y="14801"/>
                  <a:pt x="6650" y="14727"/>
                </a:cubicBezTo>
                <a:lnTo>
                  <a:pt x="7855" y="13636"/>
                </a:lnTo>
                <a:lnTo>
                  <a:pt x="9055" y="14737"/>
                </a:lnTo>
                <a:cubicBezTo>
                  <a:pt x="9055" y="14737"/>
                  <a:pt x="9127" y="14850"/>
                  <a:pt x="9327" y="14850"/>
                </a:cubicBezTo>
                <a:cubicBezTo>
                  <a:pt x="9599" y="14850"/>
                  <a:pt x="9818" y="14548"/>
                  <a:pt x="9818" y="14175"/>
                </a:cubicBezTo>
                <a:cubicBezTo>
                  <a:pt x="9818" y="14117"/>
                  <a:pt x="9798" y="14070"/>
                  <a:pt x="9787" y="14017"/>
                </a:cubicBezTo>
                <a:lnTo>
                  <a:pt x="9304" y="11857"/>
                </a:lnTo>
                <a:lnTo>
                  <a:pt x="10581" y="10687"/>
                </a:lnTo>
                <a:cubicBezTo>
                  <a:pt x="10581" y="10687"/>
                  <a:pt x="10800" y="10571"/>
                  <a:pt x="10800" y="10125"/>
                </a:cubicBezTo>
                <a:cubicBezTo>
                  <a:pt x="10800" y="9752"/>
                  <a:pt x="10580" y="9450"/>
                  <a:pt x="10309" y="9450"/>
                </a:cubicBezTo>
                <a:moveTo>
                  <a:pt x="13255" y="11475"/>
                </a:moveTo>
                <a:lnTo>
                  <a:pt x="15218" y="11475"/>
                </a:lnTo>
                <a:cubicBezTo>
                  <a:pt x="15490" y="11475"/>
                  <a:pt x="15709" y="11173"/>
                  <a:pt x="15709" y="10800"/>
                </a:cubicBezTo>
                <a:cubicBezTo>
                  <a:pt x="15709" y="10427"/>
                  <a:pt x="15490" y="10125"/>
                  <a:pt x="15218" y="10125"/>
                </a:cubicBezTo>
                <a:lnTo>
                  <a:pt x="13255" y="10125"/>
                </a:lnTo>
                <a:cubicBezTo>
                  <a:pt x="12983" y="10125"/>
                  <a:pt x="12764" y="10427"/>
                  <a:pt x="12764" y="10800"/>
                </a:cubicBezTo>
                <a:cubicBezTo>
                  <a:pt x="12764" y="11173"/>
                  <a:pt x="12983" y="11475"/>
                  <a:pt x="13255" y="11475"/>
                </a:cubicBezTo>
                <a:moveTo>
                  <a:pt x="16200" y="12150"/>
                </a:moveTo>
                <a:lnTo>
                  <a:pt x="13255" y="12150"/>
                </a:lnTo>
                <a:cubicBezTo>
                  <a:pt x="12983" y="12150"/>
                  <a:pt x="12764" y="12452"/>
                  <a:pt x="12764" y="12825"/>
                </a:cubicBezTo>
                <a:cubicBezTo>
                  <a:pt x="12764" y="13198"/>
                  <a:pt x="12983" y="13500"/>
                  <a:pt x="13255" y="13500"/>
                </a:cubicBezTo>
                <a:lnTo>
                  <a:pt x="16200" y="13500"/>
                </a:lnTo>
                <a:cubicBezTo>
                  <a:pt x="16471" y="13500"/>
                  <a:pt x="16691" y="13198"/>
                  <a:pt x="16691" y="12825"/>
                </a:cubicBezTo>
                <a:cubicBezTo>
                  <a:pt x="16691" y="12452"/>
                  <a:pt x="16471" y="12150"/>
                  <a:pt x="16200" y="12150"/>
                </a:cubicBezTo>
                <a:moveTo>
                  <a:pt x="20618" y="14768"/>
                </a:moveTo>
                <a:lnTo>
                  <a:pt x="20618" y="17550"/>
                </a:lnTo>
                <a:lnTo>
                  <a:pt x="982" y="17550"/>
                </a:lnTo>
                <a:lnTo>
                  <a:pt x="982" y="14768"/>
                </a:lnTo>
                <a:cubicBezTo>
                  <a:pt x="2102" y="14393"/>
                  <a:pt x="2945" y="12759"/>
                  <a:pt x="2945" y="10800"/>
                </a:cubicBezTo>
                <a:cubicBezTo>
                  <a:pt x="2945" y="8841"/>
                  <a:pt x="2102" y="7207"/>
                  <a:pt x="982" y="6832"/>
                </a:cubicBezTo>
                <a:lnTo>
                  <a:pt x="982" y="4050"/>
                </a:lnTo>
                <a:lnTo>
                  <a:pt x="20618" y="4050"/>
                </a:lnTo>
                <a:lnTo>
                  <a:pt x="20618" y="6832"/>
                </a:lnTo>
                <a:cubicBezTo>
                  <a:pt x="19498" y="7207"/>
                  <a:pt x="18655" y="8841"/>
                  <a:pt x="18655" y="10800"/>
                </a:cubicBezTo>
                <a:cubicBezTo>
                  <a:pt x="18655" y="12759"/>
                  <a:pt x="19498" y="14393"/>
                  <a:pt x="20618" y="14768"/>
                </a:cubicBezTo>
                <a:moveTo>
                  <a:pt x="20618" y="20250"/>
                </a:moveTo>
                <a:lnTo>
                  <a:pt x="18655" y="20250"/>
                </a:lnTo>
                <a:lnTo>
                  <a:pt x="18655" y="18900"/>
                </a:lnTo>
                <a:lnTo>
                  <a:pt x="20618" y="18900"/>
                </a:lnTo>
                <a:cubicBezTo>
                  <a:pt x="20618" y="18900"/>
                  <a:pt x="20618" y="20250"/>
                  <a:pt x="20618" y="20250"/>
                </a:cubicBezTo>
                <a:close/>
                <a:moveTo>
                  <a:pt x="17673" y="20250"/>
                </a:moveTo>
                <a:lnTo>
                  <a:pt x="982" y="20250"/>
                </a:lnTo>
                <a:lnTo>
                  <a:pt x="982" y="18900"/>
                </a:lnTo>
                <a:lnTo>
                  <a:pt x="17673" y="18900"/>
                </a:lnTo>
                <a:cubicBezTo>
                  <a:pt x="17673" y="18900"/>
                  <a:pt x="17673" y="20250"/>
                  <a:pt x="17673" y="20250"/>
                </a:cubicBezTo>
                <a:close/>
                <a:moveTo>
                  <a:pt x="982" y="1350"/>
                </a:moveTo>
                <a:lnTo>
                  <a:pt x="17673" y="1350"/>
                </a:lnTo>
                <a:lnTo>
                  <a:pt x="17673" y="2700"/>
                </a:lnTo>
                <a:lnTo>
                  <a:pt x="982" y="2700"/>
                </a:lnTo>
                <a:cubicBezTo>
                  <a:pt x="982" y="2700"/>
                  <a:pt x="982" y="1350"/>
                  <a:pt x="982" y="1350"/>
                </a:cubicBezTo>
                <a:close/>
                <a:moveTo>
                  <a:pt x="18655" y="1350"/>
                </a:moveTo>
                <a:lnTo>
                  <a:pt x="20618" y="1350"/>
                </a:lnTo>
                <a:lnTo>
                  <a:pt x="20618" y="2700"/>
                </a:lnTo>
                <a:lnTo>
                  <a:pt x="18655" y="2700"/>
                </a:lnTo>
                <a:cubicBezTo>
                  <a:pt x="18655" y="2700"/>
                  <a:pt x="18655" y="1350"/>
                  <a:pt x="18655" y="1350"/>
                </a:cubicBezTo>
                <a:close/>
                <a:moveTo>
                  <a:pt x="21109" y="8100"/>
                </a:moveTo>
                <a:cubicBezTo>
                  <a:pt x="21380" y="8100"/>
                  <a:pt x="21600" y="7798"/>
                  <a:pt x="21600" y="7425"/>
                </a:cubicBezTo>
                <a:lnTo>
                  <a:pt x="21600" y="1350"/>
                </a:lnTo>
                <a:cubicBezTo>
                  <a:pt x="21600" y="605"/>
                  <a:pt x="21160" y="0"/>
                  <a:pt x="20618" y="0"/>
                </a:cubicBezTo>
                <a:lnTo>
                  <a:pt x="982" y="0"/>
                </a:lnTo>
                <a:cubicBezTo>
                  <a:pt x="439" y="0"/>
                  <a:pt x="0" y="605"/>
                  <a:pt x="0" y="1350"/>
                </a:cubicBezTo>
                <a:lnTo>
                  <a:pt x="0" y="7425"/>
                </a:lnTo>
                <a:cubicBezTo>
                  <a:pt x="0" y="7798"/>
                  <a:pt x="220" y="8100"/>
                  <a:pt x="491" y="8100"/>
                </a:cubicBezTo>
                <a:cubicBezTo>
                  <a:pt x="1304" y="8100"/>
                  <a:pt x="1964" y="9309"/>
                  <a:pt x="1964" y="10800"/>
                </a:cubicBezTo>
                <a:cubicBezTo>
                  <a:pt x="1964" y="12291"/>
                  <a:pt x="1304" y="13500"/>
                  <a:pt x="491" y="13500"/>
                </a:cubicBezTo>
                <a:cubicBezTo>
                  <a:pt x="220" y="13500"/>
                  <a:pt x="0" y="13802"/>
                  <a:pt x="0" y="14175"/>
                </a:cubicBezTo>
                <a:lnTo>
                  <a:pt x="0" y="20250"/>
                </a:lnTo>
                <a:cubicBezTo>
                  <a:pt x="0" y="20995"/>
                  <a:pt x="439" y="21600"/>
                  <a:pt x="982" y="21600"/>
                </a:cubicBezTo>
                <a:lnTo>
                  <a:pt x="20618" y="21600"/>
                </a:lnTo>
                <a:cubicBezTo>
                  <a:pt x="21160" y="21600"/>
                  <a:pt x="21600" y="20995"/>
                  <a:pt x="21600" y="20250"/>
                </a:cubicBezTo>
                <a:lnTo>
                  <a:pt x="21600" y="14175"/>
                </a:lnTo>
                <a:cubicBezTo>
                  <a:pt x="21600" y="13802"/>
                  <a:pt x="21380" y="13500"/>
                  <a:pt x="21109" y="13500"/>
                </a:cubicBezTo>
                <a:cubicBezTo>
                  <a:pt x="20296" y="13500"/>
                  <a:pt x="19636" y="12291"/>
                  <a:pt x="19636" y="10800"/>
                </a:cubicBezTo>
                <a:cubicBezTo>
                  <a:pt x="19636" y="9309"/>
                  <a:pt x="20296" y="8100"/>
                  <a:pt x="21109" y="8100"/>
                </a:cubicBezTo>
                <a:moveTo>
                  <a:pt x="16200" y="8100"/>
                </a:moveTo>
                <a:lnTo>
                  <a:pt x="13255" y="8100"/>
                </a:lnTo>
                <a:cubicBezTo>
                  <a:pt x="12983" y="8100"/>
                  <a:pt x="12764" y="8402"/>
                  <a:pt x="12764" y="8775"/>
                </a:cubicBezTo>
                <a:cubicBezTo>
                  <a:pt x="12764" y="9148"/>
                  <a:pt x="12983" y="9450"/>
                  <a:pt x="13255" y="9450"/>
                </a:cubicBezTo>
                <a:lnTo>
                  <a:pt x="16200" y="9450"/>
                </a:lnTo>
                <a:cubicBezTo>
                  <a:pt x="16471" y="9450"/>
                  <a:pt x="16691" y="9148"/>
                  <a:pt x="16691" y="8775"/>
                </a:cubicBezTo>
                <a:cubicBezTo>
                  <a:pt x="16691" y="8402"/>
                  <a:pt x="16471" y="8100"/>
                  <a:pt x="162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5" name="Shape 2735"/>
          <p:cNvSpPr/>
          <p:nvPr/>
        </p:nvSpPr>
        <p:spPr>
          <a:xfrm>
            <a:off x="3460265" y="3898409"/>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1291" y="12000"/>
                </a:moveTo>
                <a:lnTo>
                  <a:pt x="13255" y="12000"/>
                </a:lnTo>
                <a:cubicBezTo>
                  <a:pt x="13526" y="12000"/>
                  <a:pt x="13745" y="11732"/>
                  <a:pt x="13745" y="11400"/>
                </a:cubicBezTo>
                <a:cubicBezTo>
                  <a:pt x="13745" y="11068"/>
                  <a:pt x="13526" y="10800"/>
                  <a:pt x="13255" y="10800"/>
                </a:cubicBezTo>
                <a:lnTo>
                  <a:pt x="11291" y="10800"/>
                </a:lnTo>
                <a:cubicBezTo>
                  <a:pt x="11020" y="10800"/>
                  <a:pt x="10800" y="11068"/>
                  <a:pt x="10800" y="11400"/>
                </a:cubicBezTo>
                <a:cubicBezTo>
                  <a:pt x="10800" y="11732"/>
                  <a:pt x="11020" y="12000"/>
                  <a:pt x="11291" y="12000"/>
                </a:cubicBezTo>
                <a:moveTo>
                  <a:pt x="11291" y="13800"/>
                </a:moveTo>
                <a:lnTo>
                  <a:pt x="12273" y="13800"/>
                </a:lnTo>
                <a:cubicBezTo>
                  <a:pt x="12544" y="13800"/>
                  <a:pt x="12764" y="13532"/>
                  <a:pt x="12764" y="13200"/>
                </a:cubicBezTo>
                <a:cubicBezTo>
                  <a:pt x="12764" y="12868"/>
                  <a:pt x="12544" y="12600"/>
                  <a:pt x="12273" y="12600"/>
                </a:cubicBezTo>
                <a:lnTo>
                  <a:pt x="11291" y="12600"/>
                </a:lnTo>
                <a:cubicBezTo>
                  <a:pt x="11020" y="12600"/>
                  <a:pt x="10800" y="12868"/>
                  <a:pt x="10800" y="13200"/>
                </a:cubicBezTo>
                <a:cubicBezTo>
                  <a:pt x="10800" y="13532"/>
                  <a:pt x="11020" y="13800"/>
                  <a:pt x="11291" y="13800"/>
                </a:cubicBezTo>
                <a:moveTo>
                  <a:pt x="11291" y="15600"/>
                </a:moveTo>
                <a:lnTo>
                  <a:pt x="13255" y="15600"/>
                </a:lnTo>
                <a:cubicBezTo>
                  <a:pt x="13526" y="15600"/>
                  <a:pt x="13745" y="15332"/>
                  <a:pt x="13745" y="15000"/>
                </a:cubicBezTo>
                <a:cubicBezTo>
                  <a:pt x="13745" y="14668"/>
                  <a:pt x="13526" y="14400"/>
                  <a:pt x="13255" y="14400"/>
                </a:cubicBezTo>
                <a:lnTo>
                  <a:pt x="11291" y="14400"/>
                </a:lnTo>
                <a:cubicBezTo>
                  <a:pt x="11020" y="14400"/>
                  <a:pt x="10800" y="14668"/>
                  <a:pt x="10800" y="15000"/>
                </a:cubicBezTo>
                <a:cubicBezTo>
                  <a:pt x="10800" y="15332"/>
                  <a:pt x="11020" y="15600"/>
                  <a:pt x="11291" y="15600"/>
                </a:cubicBezTo>
                <a:moveTo>
                  <a:pt x="20618" y="0"/>
                </a:moveTo>
                <a:lnTo>
                  <a:pt x="3927" y="0"/>
                </a:lnTo>
                <a:cubicBezTo>
                  <a:pt x="3385" y="0"/>
                  <a:pt x="2945" y="538"/>
                  <a:pt x="2945" y="1200"/>
                </a:cubicBezTo>
                <a:lnTo>
                  <a:pt x="2945" y="3000"/>
                </a:lnTo>
                <a:cubicBezTo>
                  <a:pt x="2945" y="3332"/>
                  <a:pt x="3165" y="3600"/>
                  <a:pt x="3436" y="3600"/>
                </a:cubicBezTo>
                <a:cubicBezTo>
                  <a:pt x="3708" y="3600"/>
                  <a:pt x="3927" y="3332"/>
                  <a:pt x="3927" y="3000"/>
                </a:cubicBezTo>
                <a:lnTo>
                  <a:pt x="3927" y="1200"/>
                </a:lnTo>
                <a:lnTo>
                  <a:pt x="20618" y="1200"/>
                </a:lnTo>
                <a:lnTo>
                  <a:pt x="20618" y="15600"/>
                </a:lnTo>
                <a:lnTo>
                  <a:pt x="20127" y="15600"/>
                </a:lnTo>
                <a:cubicBezTo>
                  <a:pt x="19856" y="15600"/>
                  <a:pt x="19636" y="15868"/>
                  <a:pt x="19636" y="16200"/>
                </a:cubicBezTo>
                <a:cubicBezTo>
                  <a:pt x="19636" y="16532"/>
                  <a:pt x="19856" y="16800"/>
                  <a:pt x="20127" y="16800"/>
                </a:cubicBezTo>
                <a:lnTo>
                  <a:pt x="20618" y="16800"/>
                </a:lnTo>
                <a:cubicBezTo>
                  <a:pt x="21160" y="16800"/>
                  <a:pt x="21600" y="16263"/>
                  <a:pt x="21600" y="15600"/>
                </a:cubicBezTo>
                <a:lnTo>
                  <a:pt x="21600" y="1200"/>
                </a:lnTo>
                <a:cubicBezTo>
                  <a:pt x="21600" y="538"/>
                  <a:pt x="21160" y="0"/>
                  <a:pt x="20618" y="0"/>
                </a:cubicBezTo>
                <a:moveTo>
                  <a:pt x="5091" y="13116"/>
                </a:moveTo>
                <a:lnTo>
                  <a:pt x="6156" y="13983"/>
                </a:lnTo>
                <a:lnTo>
                  <a:pt x="5747" y="15581"/>
                </a:lnTo>
                <a:cubicBezTo>
                  <a:pt x="5738" y="15620"/>
                  <a:pt x="5727" y="15657"/>
                  <a:pt x="5727" y="15700"/>
                </a:cubicBezTo>
                <a:cubicBezTo>
                  <a:pt x="5727" y="15976"/>
                  <a:pt x="5911" y="16200"/>
                  <a:pt x="6136" y="16200"/>
                </a:cubicBezTo>
                <a:cubicBezTo>
                  <a:pt x="6221" y="16200"/>
                  <a:pt x="6296" y="16164"/>
                  <a:pt x="6360" y="16110"/>
                </a:cubicBezTo>
                <a:lnTo>
                  <a:pt x="7364" y="15301"/>
                </a:lnTo>
                <a:lnTo>
                  <a:pt x="8364" y="16116"/>
                </a:lnTo>
                <a:cubicBezTo>
                  <a:pt x="8364" y="16116"/>
                  <a:pt x="8424" y="16200"/>
                  <a:pt x="8591" y="16200"/>
                </a:cubicBezTo>
                <a:cubicBezTo>
                  <a:pt x="8817" y="16200"/>
                  <a:pt x="9000" y="15976"/>
                  <a:pt x="9000" y="15700"/>
                </a:cubicBezTo>
                <a:cubicBezTo>
                  <a:pt x="9000" y="15657"/>
                  <a:pt x="8983" y="15622"/>
                  <a:pt x="8974" y="15583"/>
                </a:cubicBezTo>
                <a:lnTo>
                  <a:pt x="8572" y="13983"/>
                </a:lnTo>
                <a:lnTo>
                  <a:pt x="9636" y="13116"/>
                </a:lnTo>
                <a:cubicBezTo>
                  <a:pt x="9636" y="13116"/>
                  <a:pt x="9818" y="13030"/>
                  <a:pt x="9818" y="12700"/>
                </a:cubicBezTo>
                <a:cubicBezTo>
                  <a:pt x="9818" y="12424"/>
                  <a:pt x="9635" y="12200"/>
                  <a:pt x="9409" y="12200"/>
                </a:cubicBezTo>
                <a:lnTo>
                  <a:pt x="8435" y="12200"/>
                </a:lnTo>
                <a:lnTo>
                  <a:pt x="7730" y="10477"/>
                </a:lnTo>
                <a:lnTo>
                  <a:pt x="7726" y="10479"/>
                </a:lnTo>
                <a:cubicBezTo>
                  <a:pt x="7658" y="10315"/>
                  <a:pt x="7524" y="10200"/>
                  <a:pt x="7364" y="10200"/>
                </a:cubicBezTo>
                <a:cubicBezTo>
                  <a:pt x="7204" y="10200"/>
                  <a:pt x="7069" y="10315"/>
                  <a:pt x="7001" y="10479"/>
                </a:cubicBezTo>
                <a:lnTo>
                  <a:pt x="6998" y="10477"/>
                </a:lnTo>
                <a:lnTo>
                  <a:pt x="6293" y="12200"/>
                </a:lnTo>
                <a:lnTo>
                  <a:pt x="5319" y="12200"/>
                </a:lnTo>
                <a:cubicBezTo>
                  <a:pt x="5092" y="12200"/>
                  <a:pt x="4909" y="12424"/>
                  <a:pt x="4909" y="12700"/>
                </a:cubicBezTo>
                <a:cubicBezTo>
                  <a:pt x="4909" y="13030"/>
                  <a:pt x="5091" y="13116"/>
                  <a:pt x="5091" y="13116"/>
                </a:cubicBezTo>
                <a:moveTo>
                  <a:pt x="17673" y="7200"/>
                </a:moveTo>
                <a:lnTo>
                  <a:pt x="16691" y="7200"/>
                </a:lnTo>
                <a:lnTo>
                  <a:pt x="16691" y="6000"/>
                </a:lnTo>
                <a:lnTo>
                  <a:pt x="17673" y="6000"/>
                </a:lnTo>
                <a:cubicBezTo>
                  <a:pt x="17673" y="6000"/>
                  <a:pt x="17673" y="7200"/>
                  <a:pt x="17673" y="7200"/>
                </a:cubicBezTo>
                <a:close/>
                <a:moveTo>
                  <a:pt x="17673" y="10947"/>
                </a:moveTo>
                <a:cubicBezTo>
                  <a:pt x="17102" y="11278"/>
                  <a:pt x="16691" y="12157"/>
                  <a:pt x="16691" y="13200"/>
                </a:cubicBezTo>
                <a:cubicBezTo>
                  <a:pt x="16691" y="14244"/>
                  <a:pt x="17102" y="15122"/>
                  <a:pt x="17673" y="15453"/>
                </a:cubicBezTo>
                <a:lnTo>
                  <a:pt x="17673" y="18000"/>
                </a:lnTo>
                <a:lnTo>
                  <a:pt x="982" y="18000"/>
                </a:lnTo>
                <a:lnTo>
                  <a:pt x="982" y="15453"/>
                </a:lnTo>
                <a:cubicBezTo>
                  <a:pt x="1552" y="15122"/>
                  <a:pt x="1964" y="14244"/>
                  <a:pt x="1964" y="13200"/>
                </a:cubicBezTo>
                <a:cubicBezTo>
                  <a:pt x="1964" y="12157"/>
                  <a:pt x="1552" y="11278"/>
                  <a:pt x="982" y="10947"/>
                </a:cubicBezTo>
                <a:lnTo>
                  <a:pt x="982" y="8400"/>
                </a:lnTo>
                <a:lnTo>
                  <a:pt x="17673" y="8400"/>
                </a:lnTo>
                <a:cubicBezTo>
                  <a:pt x="17673" y="8400"/>
                  <a:pt x="17673" y="10947"/>
                  <a:pt x="17673" y="10947"/>
                </a:cubicBezTo>
                <a:close/>
                <a:moveTo>
                  <a:pt x="17673" y="20400"/>
                </a:moveTo>
                <a:lnTo>
                  <a:pt x="16691" y="20400"/>
                </a:lnTo>
                <a:lnTo>
                  <a:pt x="16691" y="19200"/>
                </a:lnTo>
                <a:lnTo>
                  <a:pt x="17673" y="19200"/>
                </a:lnTo>
                <a:cubicBezTo>
                  <a:pt x="17673" y="19200"/>
                  <a:pt x="17673" y="20400"/>
                  <a:pt x="17673" y="20400"/>
                </a:cubicBezTo>
                <a:close/>
                <a:moveTo>
                  <a:pt x="15709" y="20400"/>
                </a:moveTo>
                <a:lnTo>
                  <a:pt x="982" y="20400"/>
                </a:lnTo>
                <a:lnTo>
                  <a:pt x="982" y="19200"/>
                </a:lnTo>
                <a:lnTo>
                  <a:pt x="15709" y="19200"/>
                </a:lnTo>
                <a:cubicBezTo>
                  <a:pt x="15709" y="19200"/>
                  <a:pt x="15709" y="20400"/>
                  <a:pt x="15709" y="20400"/>
                </a:cubicBezTo>
                <a:close/>
                <a:moveTo>
                  <a:pt x="982" y="6000"/>
                </a:moveTo>
                <a:lnTo>
                  <a:pt x="15709" y="6000"/>
                </a:lnTo>
                <a:lnTo>
                  <a:pt x="15709" y="7200"/>
                </a:lnTo>
                <a:lnTo>
                  <a:pt x="982" y="7200"/>
                </a:lnTo>
                <a:cubicBezTo>
                  <a:pt x="982" y="7200"/>
                  <a:pt x="982" y="6000"/>
                  <a:pt x="982" y="6000"/>
                </a:cubicBezTo>
                <a:close/>
                <a:moveTo>
                  <a:pt x="17673" y="4800"/>
                </a:moveTo>
                <a:lnTo>
                  <a:pt x="982" y="4800"/>
                </a:lnTo>
                <a:cubicBezTo>
                  <a:pt x="439" y="4800"/>
                  <a:pt x="0" y="5338"/>
                  <a:pt x="0" y="6000"/>
                </a:cubicBezTo>
                <a:lnTo>
                  <a:pt x="0" y="11400"/>
                </a:lnTo>
                <a:cubicBezTo>
                  <a:pt x="0" y="11732"/>
                  <a:pt x="220" y="12000"/>
                  <a:pt x="491" y="12000"/>
                </a:cubicBezTo>
                <a:cubicBezTo>
                  <a:pt x="762" y="12000"/>
                  <a:pt x="982" y="12538"/>
                  <a:pt x="982" y="13200"/>
                </a:cubicBezTo>
                <a:cubicBezTo>
                  <a:pt x="982" y="13862"/>
                  <a:pt x="762" y="14400"/>
                  <a:pt x="491" y="14400"/>
                </a:cubicBezTo>
                <a:cubicBezTo>
                  <a:pt x="220" y="14400"/>
                  <a:pt x="0" y="14668"/>
                  <a:pt x="0" y="15000"/>
                </a:cubicBezTo>
                <a:lnTo>
                  <a:pt x="0" y="20400"/>
                </a:lnTo>
                <a:cubicBezTo>
                  <a:pt x="0" y="21063"/>
                  <a:pt x="439" y="21600"/>
                  <a:pt x="982" y="21600"/>
                </a:cubicBezTo>
                <a:lnTo>
                  <a:pt x="17673" y="21600"/>
                </a:lnTo>
                <a:cubicBezTo>
                  <a:pt x="18214" y="21600"/>
                  <a:pt x="18655" y="21063"/>
                  <a:pt x="18655" y="20400"/>
                </a:cubicBezTo>
                <a:lnTo>
                  <a:pt x="18655" y="15000"/>
                </a:lnTo>
                <a:cubicBezTo>
                  <a:pt x="18655" y="14668"/>
                  <a:pt x="18435" y="14400"/>
                  <a:pt x="18164" y="14400"/>
                </a:cubicBezTo>
                <a:cubicBezTo>
                  <a:pt x="17892" y="14400"/>
                  <a:pt x="17673" y="13862"/>
                  <a:pt x="17673" y="13200"/>
                </a:cubicBezTo>
                <a:cubicBezTo>
                  <a:pt x="17673" y="12538"/>
                  <a:pt x="17892" y="12000"/>
                  <a:pt x="18164" y="12000"/>
                </a:cubicBezTo>
                <a:cubicBezTo>
                  <a:pt x="18435" y="12000"/>
                  <a:pt x="18655" y="11732"/>
                  <a:pt x="18655" y="11400"/>
                </a:cubicBezTo>
                <a:lnTo>
                  <a:pt x="18655" y="6000"/>
                </a:lnTo>
                <a:cubicBezTo>
                  <a:pt x="18655" y="5338"/>
                  <a:pt x="18214" y="4800"/>
                  <a:pt x="17673"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6" name="Shape 2736"/>
          <p:cNvSpPr/>
          <p:nvPr/>
        </p:nvSpPr>
        <p:spPr>
          <a:xfrm>
            <a:off x="3860211"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18655"/>
                </a:lnTo>
                <a:lnTo>
                  <a:pt x="2945" y="18655"/>
                </a:lnTo>
                <a:cubicBezTo>
                  <a:pt x="2945" y="18655"/>
                  <a:pt x="2945" y="2945"/>
                  <a:pt x="2945" y="2945"/>
                </a:cubicBezTo>
                <a:close/>
                <a:moveTo>
                  <a:pt x="1964" y="19636"/>
                </a:moveTo>
                <a:lnTo>
                  <a:pt x="19636" y="19636"/>
                </a:lnTo>
                <a:lnTo>
                  <a:pt x="19636"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7" name="Shape 2737"/>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8" name="Shape 2738"/>
          <p:cNvSpPr/>
          <p:nvPr/>
        </p:nvSpPr>
        <p:spPr>
          <a:xfrm>
            <a:off x="66064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39" name="Shape 2739"/>
          <p:cNvSpPr/>
          <p:nvPr/>
        </p:nvSpPr>
        <p:spPr>
          <a:xfrm>
            <a:off x="106059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0" name="Shape 2740"/>
          <p:cNvSpPr/>
          <p:nvPr/>
        </p:nvSpPr>
        <p:spPr>
          <a:xfrm>
            <a:off x="1460536"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2945"/>
                </a:moveTo>
                <a:lnTo>
                  <a:pt x="18655" y="2945"/>
                </a:lnTo>
                <a:lnTo>
                  <a:pt x="18655" y="18655"/>
                </a:lnTo>
                <a:lnTo>
                  <a:pt x="12273" y="18655"/>
                </a:lnTo>
                <a:cubicBezTo>
                  <a:pt x="12273" y="18655"/>
                  <a:pt x="12273" y="2945"/>
                  <a:pt x="12273" y="2945"/>
                </a:cubicBezTo>
                <a:close/>
                <a:moveTo>
                  <a:pt x="11291" y="19636"/>
                </a:moveTo>
                <a:lnTo>
                  <a:pt x="19636" y="19636"/>
                </a:lnTo>
                <a:lnTo>
                  <a:pt x="19636" y="1964"/>
                </a:lnTo>
                <a:lnTo>
                  <a:pt x="11291" y="1964"/>
                </a:lnTo>
                <a:cubicBezTo>
                  <a:pt x="11291" y="1964"/>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2945"/>
                </a:moveTo>
                <a:lnTo>
                  <a:pt x="9327" y="2945"/>
                </a:lnTo>
                <a:lnTo>
                  <a:pt x="9327" y="9327"/>
                </a:lnTo>
                <a:lnTo>
                  <a:pt x="2945" y="9327"/>
                </a:lnTo>
                <a:cubicBezTo>
                  <a:pt x="2945" y="9327"/>
                  <a:pt x="2945" y="2945"/>
                  <a:pt x="2945" y="2945"/>
                </a:cubicBezTo>
                <a:close/>
                <a:moveTo>
                  <a:pt x="1964" y="10309"/>
                </a:moveTo>
                <a:lnTo>
                  <a:pt x="10309" y="10309"/>
                </a:lnTo>
                <a:lnTo>
                  <a:pt x="10309"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1" name="Shape 2741"/>
          <p:cNvSpPr/>
          <p:nvPr/>
        </p:nvSpPr>
        <p:spPr>
          <a:xfrm>
            <a:off x="1860482"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12273"/>
                </a:moveTo>
                <a:lnTo>
                  <a:pt x="18655" y="12273"/>
                </a:lnTo>
                <a:lnTo>
                  <a:pt x="18655" y="18655"/>
                </a:lnTo>
                <a:lnTo>
                  <a:pt x="2945" y="18655"/>
                </a:lnTo>
                <a:cubicBezTo>
                  <a:pt x="2945" y="18655"/>
                  <a:pt x="2945" y="12273"/>
                  <a:pt x="2945" y="12273"/>
                </a:cubicBezTo>
                <a:close/>
                <a:moveTo>
                  <a:pt x="1964" y="19636"/>
                </a:moveTo>
                <a:lnTo>
                  <a:pt x="19636" y="19636"/>
                </a:lnTo>
                <a:lnTo>
                  <a:pt x="19636" y="11291"/>
                </a:lnTo>
                <a:lnTo>
                  <a:pt x="1964" y="11291"/>
                </a:lnTo>
                <a:cubicBezTo>
                  <a:pt x="1964" y="11291"/>
                  <a:pt x="1964" y="19636"/>
                  <a:pt x="1964" y="19636"/>
                </a:cubicBezTo>
                <a:close/>
                <a:moveTo>
                  <a:pt x="9327" y="9327"/>
                </a:moveTo>
                <a:lnTo>
                  <a:pt x="2945" y="9327"/>
                </a:lnTo>
                <a:lnTo>
                  <a:pt x="2945" y="2945"/>
                </a:lnTo>
                <a:lnTo>
                  <a:pt x="9327" y="2945"/>
                </a:lnTo>
                <a:cubicBezTo>
                  <a:pt x="9327" y="2945"/>
                  <a:pt x="9327" y="9327"/>
                  <a:pt x="9327" y="9327"/>
                </a:cubicBezTo>
                <a:close/>
                <a:moveTo>
                  <a:pt x="10309" y="1964"/>
                </a:moveTo>
                <a:lnTo>
                  <a:pt x="1964" y="1964"/>
                </a:lnTo>
                <a:lnTo>
                  <a:pt x="1964" y="10309"/>
                </a:lnTo>
                <a:lnTo>
                  <a:pt x="10309" y="10309"/>
                </a:lnTo>
                <a:cubicBezTo>
                  <a:pt x="10309" y="10309"/>
                  <a:pt x="10309" y="1964"/>
                  <a:pt x="10309"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2" name="Shape 2742"/>
          <p:cNvSpPr/>
          <p:nvPr/>
        </p:nvSpPr>
        <p:spPr>
          <a:xfrm>
            <a:off x="226042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2945"/>
                </a:moveTo>
                <a:lnTo>
                  <a:pt x="18655" y="2945"/>
                </a:lnTo>
                <a:lnTo>
                  <a:pt x="18655" y="9327"/>
                </a:lnTo>
                <a:lnTo>
                  <a:pt x="12273" y="9327"/>
                </a:lnTo>
                <a:cubicBezTo>
                  <a:pt x="12273" y="9327"/>
                  <a:pt x="12273" y="2945"/>
                  <a:pt x="12273" y="2945"/>
                </a:cubicBezTo>
                <a:close/>
                <a:moveTo>
                  <a:pt x="11291" y="10309"/>
                </a:moveTo>
                <a:lnTo>
                  <a:pt x="19636" y="10309"/>
                </a:lnTo>
                <a:lnTo>
                  <a:pt x="19636" y="1964"/>
                </a:lnTo>
                <a:lnTo>
                  <a:pt x="11291" y="1964"/>
                </a:lnTo>
                <a:cubicBezTo>
                  <a:pt x="11291" y="1964"/>
                  <a:pt x="11291" y="10309"/>
                  <a:pt x="11291" y="10309"/>
                </a:cubicBezTo>
                <a:close/>
                <a:moveTo>
                  <a:pt x="2945" y="2945"/>
                </a:moveTo>
                <a:lnTo>
                  <a:pt x="9327" y="2945"/>
                </a:lnTo>
                <a:lnTo>
                  <a:pt x="9327" y="18655"/>
                </a:lnTo>
                <a:lnTo>
                  <a:pt x="2945" y="18655"/>
                </a:lnTo>
                <a:cubicBezTo>
                  <a:pt x="2945" y="18655"/>
                  <a:pt x="2945" y="2945"/>
                  <a:pt x="2945" y="2945"/>
                </a:cubicBezTo>
                <a:close/>
                <a:moveTo>
                  <a:pt x="1964" y="19636"/>
                </a:moveTo>
                <a:lnTo>
                  <a:pt x="10309" y="19636"/>
                </a:lnTo>
                <a:lnTo>
                  <a:pt x="10309" y="1964"/>
                </a:lnTo>
                <a:lnTo>
                  <a:pt x="1964" y="1964"/>
                </a:lnTo>
                <a:cubicBezTo>
                  <a:pt x="1964" y="1964"/>
                  <a:pt x="1964" y="19636"/>
                  <a:pt x="1964"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3" name="Shape 2743"/>
          <p:cNvSpPr/>
          <p:nvPr/>
        </p:nvSpPr>
        <p:spPr>
          <a:xfrm>
            <a:off x="2660374"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273" y="12273"/>
                </a:moveTo>
                <a:lnTo>
                  <a:pt x="18655" y="12273"/>
                </a:lnTo>
                <a:lnTo>
                  <a:pt x="18655" y="18655"/>
                </a:lnTo>
                <a:lnTo>
                  <a:pt x="12273" y="18655"/>
                </a:lnTo>
                <a:cubicBezTo>
                  <a:pt x="12273" y="18655"/>
                  <a:pt x="12273" y="12273"/>
                  <a:pt x="12273" y="12273"/>
                </a:cubicBezTo>
                <a:close/>
                <a:moveTo>
                  <a:pt x="11291" y="19636"/>
                </a:moveTo>
                <a:lnTo>
                  <a:pt x="19636" y="19636"/>
                </a:lnTo>
                <a:lnTo>
                  <a:pt x="19636" y="11291"/>
                </a:lnTo>
                <a:lnTo>
                  <a:pt x="11291" y="11291"/>
                </a:lnTo>
                <a:cubicBezTo>
                  <a:pt x="11291" y="11291"/>
                  <a:pt x="11291" y="19636"/>
                  <a:pt x="11291" y="19636"/>
                </a:cubicBezTo>
                <a:close/>
                <a:moveTo>
                  <a:pt x="2945" y="2945"/>
                </a:moveTo>
                <a:lnTo>
                  <a:pt x="18655" y="2945"/>
                </a:lnTo>
                <a:lnTo>
                  <a:pt x="18655" y="9327"/>
                </a:lnTo>
                <a:lnTo>
                  <a:pt x="2945" y="9327"/>
                </a:lnTo>
                <a:cubicBezTo>
                  <a:pt x="2945" y="9327"/>
                  <a:pt x="2945" y="2945"/>
                  <a:pt x="2945" y="2945"/>
                </a:cubicBezTo>
                <a:close/>
                <a:moveTo>
                  <a:pt x="1964" y="10309"/>
                </a:moveTo>
                <a:lnTo>
                  <a:pt x="19636" y="10309"/>
                </a:lnTo>
                <a:lnTo>
                  <a:pt x="19636" y="1964"/>
                </a:lnTo>
                <a:lnTo>
                  <a:pt x="1964" y="1964"/>
                </a:lnTo>
                <a:cubicBezTo>
                  <a:pt x="1964" y="1964"/>
                  <a:pt x="1964" y="10309"/>
                  <a:pt x="1964" y="10309"/>
                </a:cubicBezTo>
                <a:close/>
                <a:moveTo>
                  <a:pt x="2945" y="12273"/>
                </a:moveTo>
                <a:lnTo>
                  <a:pt x="9327" y="12273"/>
                </a:lnTo>
                <a:lnTo>
                  <a:pt x="9327" y="18655"/>
                </a:lnTo>
                <a:lnTo>
                  <a:pt x="2945" y="18655"/>
                </a:lnTo>
                <a:cubicBezTo>
                  <a:pt x="2945" y="18655"/>
                  <a:pt x="2945" y="12273"/>
                  <a:pt x="2945" y="12273"/>
                </a:cubicBezTo>
                <a:close/>
                <a:moveTo>
                  <a:pt x="1964" y="19636"/>
                </a:moveTo>
                <a:lnTo>
                  <a:pt x="10309" y="19636"/>
                </a:lnTo>
                <a:lnTo>
                  <a:pt x="10309" y="11291"/>
                </a:lnTo>
                <a:lnTo>
                  <a:pt x="1964" y="11291"/>
                </a:lnTo>
                <a:cubicBezTo>
                  <a:pt x="1964" y="11291"/>
                  <a:pt x="1964" y="19636"/>
                  <a:pt x="1964" y="19636"/>
                </a:cubicBezTo>
                <a:close/>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4" name="Shape 2744"/>
          <p:cNvSpPr/>
          <p:nvPr/>
        </p:nvSpPr>
        <p:spPr>
          <a:xfrm>
            <a:off x="3060320"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327" y="9327"/>
                </a:moveTo>
                <a:lnTo>
                  <a:pt x="12273" y="9327"/>
                </a:lnTo>
                <a:lnTo>
                  <a:pt x="12273" y="12273"/>
                </a:lnTo>
                <a:lnTo>
                  <a:pt x="9327" y="12273"/>
                </a:lnTo>
                <a:cubicBezTo>
                  <a:pt x="9327" y="12273"/>
                  <a:pt x="9327" y="9327"/>
                  <a:pt x="9327" y="9327"/>
                </a:cubicBezTo>
                <a:close/>
                <a:moveTo>
                  <a:pt x="8345" y="13255"/>
                </a:moveTo>
                <a:lnTo>
                  <a:pt x="13255" y="13255"/>
                </a:lnTo>
                <a:lnTo>
                  <a:pt x="13255" y="8345"/>
                </a:lnTo>
                <a:lnTo>
                  <a:pt x="8345" y="8345"/>
                </a:lnTo>
                <a:cubicBezTo>
                  <a:pt x="8345" y="8345"/>
                  <a:pt x="8345" y="13255"/>
                  <a:pt x="8345" y="13255"/>
                </a:cubicBezTo>
                <a:close/>
                <a:moveTo>
                  <a:pt x="9327" y="15709"/>
                </a:moveTo>
                <a:lnTo>
                  <a:pt x="12273" y="15709"/>
                </a:lnTo>
                <a:lnTo>
                  <a:pt x="12273" y="18655"/>
                </a:lnTo>
                <a:lnTo>
                  <a:pt x="9327" y="18655"/>
                </a:lnTo>
                <a:cubicBezTo>
                  <a:pt x="9327" y="18655"/>
                  <a:pt x="9327" y="15709"/>
                  <a:pt x="9327" y="15709"/>
                </a:cubicBezTo>
                <a:close/>
                <a:moveTo>
                  <a:pt x="8345" y="19636"/>
                </a:moveTo>
                <a:lnTo>
                  <a:pt x="13255" y="19636"/>
                </a:lnTo>
                <a:lnTo>
                  <a:pt x="13255" y="14727"/>
                </a:lnTo>
                <a:lnTo>
                  <a:pt x="8345" y="14727"/>
                </a:lnTo>
                <a:cubicBezTo>
                  <a:pt x="8345" y="14727"/>
                  <a:pt x="8345" y="19636"/>
                  <a:pt x="8345" y="19636"/>
                </a:cubicBezTo>
                <a:close/>
                <a:moveTo>
                  <a:pt x="15709" y="2945"/>
                </a:moveTo>
                <a:lnTo>
                  <a:pt x="18655" y="2945"/>
                </a:lnTo>
                <a:lnTo>
                  <a:pt x="18655" y="5891"/>
                </a:lnTo>
                <a:lnTo>
                  <a:pt x="15709" y="5891"/>
                </a:lnTo>
                <a:cubicBezTo>
                  <a:pt x="15709" y="5891"/>
                  <a:pt x="15709" y="2945"/>
                  <a:pt x="15709" y="2945"/>
                </a:cubicBezTo>
                <a:close/>
                <a:moveTo>
                  <a:pt x="14727" y="6873"/>
                </a:moveTo>
                <a:lnTo>
                  <a:pt x="19636" y="6873"/>
                </a:lnTo>
                <a:lnTo>
                  <a:pt x="19636" y="1964"/>
                </a:lnTo>
                <a:lnTo>
                  <a:pt x="14727" y="1964"/>
                </a:lnTo>
                <a:cubicBezTo>
                  <a:pt x="14727" y="1964"/>
                  <a:pt x="14727" y="6873"/>
                  <a:pt x="14727" y="6873"/>
                </a:cubicBezTo>
                <a:close/>
                <a:moveTo>
                  <a:pt x="15709" y="9327"/>
                </a:moveTo>
                <a:lnTo>
                  <a:pt x="18655" y="9327"/>
                </a:lnTo>
                <a:lnTo>
                  <a:pt x="18655" y="12273"/>
                </a:lnTo>
                <a:lnTo>
                  <a:pt x="15709" y="12273"/>
                </a:lnTo>
                <a:cubicBezTo>
                  <a:pt x="15709" y="12273"/>
                  <a:pt x="15709" y="9327"/>
                  <a:pt x="15709" y="9327"/>
                </a:cubicBezTo>
                <a:close/>
                <a:moveTo>
                  <a:pt x="14727" y="13255"/>
                </a:moveTo>
                <a:lnTo>
                  <a:pt x="19636" y="13255"/>
                </a:lnTo>
                <a:lnTo>
                  <a:pt x="19636" y="8345"/>
                </a:lnTo>
                <a:lnTo>
                  <a:pt x="14727" y="8345"/>
                </a:lnTo>
                <a:cubicBezTo>
                  <a:pt x="14727" y="8345"/>
                  <a:pt x="14727" y="13255"/>
                  <a:pt x="14727" y="13255"/>
                </a:cubicBezTo>
                <a:close/>
                <a:moveTo>
                  <a:pt x="9327" y="2945"/>
                </a:moveTo>
                <a:lnTo>
                  <a:pt x="12273" y="2945"/>
                </a:lnTo>
                <a:lnTo>
                  <a:pt x="12273" y="5891"/>
                </a:lnTo>
                <a:lnTo>
                  <a:pt x="9327" y="5891"/>
                </a:lnTo>
                <a:cubicBezTo>
                  <a:pt x="9327" y="5891"/>
                  <a:pt x="9327" y="2945"/>
                  <a:pt x="9327" y="2945"/>
                </a:cubicBezTo>
                <a:close/>
                <a:moveTo>
                  <a:pt x="8345" y="6873"/>
                </a:moveTo>
                <a:lnTo>
                  <a:pt x="13255" y="6873"/>
                </a:lnTo>
                <a:lnTo>
                  <a:pt x="13255" y="1964"/>
                </a:lnTo>
                <a:lnTo>
                  <a:pt x="8345" y="1964"/>
                </a:lnTo>
                <a:cubicBezTo>
                  <a:pt x="8345" y="1964"/>
                  <a:pt x="8345" y="6873"/>
                  <a:pt x="8345" y="6873"/>
                </a:cubicBezTo>
                <a:close/>
                <a:moveTo>
                  <a:pt x="2945" y="9327"/>
                </a:moveTo>
                <a:lnTo>
                  <a:pt x="5891" y="9327"/>
                </a:lnTo>
                <a:lnTo>
                  <a:pt x="5891" y="12273"/>
                </a:lnTo>
                <a:lnTo>
                  <a:pt x="2945" y="12273"/>
                </a:lnTo>
                <a:cubicBezTo>
                  <a:pt x="2945" y="12273"/>
                  <a:pt x="2945" y="9327"/>
                  <a:pt x="2945" y="9327"/>
                </a:cubicBezTo>
                <a:close/>
                <a:moveTo>
                  <a:pt x="1964" y="13255"/>
                </a:moveTo>
                <a:lnTo>
                  <a:pt x="6873" y="13255"/>
                </a:lnTo>
                <a:lnTo>
                  <a:pt x="6873" y="8345"/>
                </a:lnTo>
                <a:lnTo>
                  <a:pt x="1964" y="8345"/>
                </a:lnTo>
                <a:cubicBezTo>
                  <a:pt x="1964" y="8345"/>
                  <a:pt x="1964" y="13255"/>
                  <a:pt x="1964" y="13255"/>
                </a:cubicBezTo>
                <a:close/>
                <a:moveTo>
                  <a:pt x="2945" y="2945"/>
                </a:moveTo>
                <a:lnTo>
                  <a:pt x="5891" y="2945"/>
                </a:lnTo>
                <a:lnTo>
                  <a:pt x="5891" y="5891"/>
                </a:lnTo>
                <a:lnTo>
                  <a:pt x="2945" y="5891"/>
                </a:lnTo>
                <a:cubicBezTo>
                  <a:pt x="2945" y="5891"/>
                  <a:pt x="2945" y="2945"/>
                  <a:pt x="2945" y="2945"/>
                </a:cubicBezTo>
                <a:close/>
                <a:moveTo>
                  <a:pt x="1964" y="6873"/>
                </a:moveTo>
                <a:lnTo>
                  <a:pt x="6873" y="6873"/>
                </a:lnTo>
                <a:lnTo>
                  <a:pt x="6873" y="1964"/>
                </a:lnTo>
                <a:lnTo>
                  <a:pt x="1964" y="1964"/>
                </a:lnTo>
                <a:cubicBezTo>
                  <a:pt x="1964" y="1964"/>
                  <a:pt x="1964" y="6873"/>
                  <a:pt x="1964" y="6873"/>
                </a:cubicBezTo>
                <a:close/>
                <a:moveTo>
                  <a:pt x="20618" y="19636"/>
                </a:moveTo>
                <a:cubicBezTo>
                  <a:pt x="20618" y="20178"/>
                  <a:pt x="20178" y="20618"/>
                  <a:pt x="19636" y="20618"/>
                </a:cubicBezTo>
                <a:lnTo>
                  <a:pt x="1964" y="20618"/>
                </a:lnTo>
                <a:cubicBezTo>
                  <a:pt x="1421" y="20618"/>
                  <a:pt x="982" y="20178"/>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945" y="15709"/>
                </a:moveTo>
                <a:lnTo>
                  <a:pt x="5891" y="15709"/>
                </a:lnTo>
                <a:lnTo>
                  <a:pt x="5891" y="18655"/>
                </a:lnTo>
                <a:lnTo>
                  <a:pt x="2945" y="18655"/>
                </a:lnTo>
                <a:cubicBezTo>
                  <a:pt x="2945" y="18655"/>
                  <a:pt x="2945" y="15709"/>
                  <a:pt x="2945" y="15709"/>
                </a:cubicBezTo>
                <a:close/>
                <a:moveTo>
                  <a:pt x="1964" y="19636"/>
                </a:moveTo>
                <a:lnTo>
                  <a:pt x="6873" y="19636"/>
                </a:lnTo>
                <a:lnTo>
                  <a:pt x="6873" y="14727"/>
                </a:lnTo>
                <a:lnTo>
                  <a:pt x="1964" y="14727"/>
                </a:lnTo>
                <a:cubicBezTo>
                  <a:pt x="1964" y="14727"/>
                  <a:pt x="1964" y="19636"/>
                  <a:pt x="1964" y="19636"/>
                </a:cubicBezTo>
                <a:close/>
                <a:moveTo>
                  <a:pt x="15709" y="15709"/>
                </a:moveTo>
                <a:lnTo>
                  <a:pt x="18655" y="15709"/>
                </a:lnTo>
                <a:lnTo>
                  <a:pt x="18655" y="18655"/>
                </a:lnTo>
                <a:lnTo>
                  <a:pt x="15709" y="18655"/>
                </a:lnTo>
                <a:cubicBezTo>
                  <a:pt x="15709" y="18655"/>
                  <a:pt x="15709" y="15709"/>
                  <a:pt x="15709" y="15709"/>
                </a:cubicBezTo>
                <a:close/>
                <a:moveTo>
                  <a:pt x="14727" y="19636"/>
                </a:moveTo>
                <a:lnTo>
                  <a:pt x="19636" y="19636"/>
                </a:lnTo>
                <a:lnTo>
                  <a:pt x="19636" y="14727"/>
                </a:lnTo>
                <a:lnTo>
                  <a:pt x="14727" y="14727"/>
                </a:lnTo>
                <a:cubicBezTo>
                  <a:pt x="14727" y="14727"/>
                  <a:pt x="14727" y="19636"/>
                  <a:pt x="14727" y="1963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5" name="Shape 2745"/>
          <p:cNvSpPr/>
          <p:nvPr/>
        </p:nvSpPr>
        <p:spPr>
          <a:xfrm>
            <a:off x="3460265"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3745" y="20618"/>
                </a:lnTo>
                <a:cubicBezTo>
                  <a:pt x="13204" y="20618"/>
                  <a:pt x="12764" y="20178"/>
                  <a:pt x="12764" y="19636"/>
                </a:cubicBezTo>
                <a:lnTo>
                  <a:pt x="12764" y="13745"/>
                </a:lnTo>
                <a:cubicBezTo>
                  <a:pt x="12764" y="13204"/>
                  <a:pt x="13204" y="12764"/>
                  <a:pt x="13745" y="12764"/>
                </a:cubicBezTo>
                <a:lnTo>
                  <a:pt x="19636" y="12764"/>
                </a:lnTo>
                <a:cubicBezTo>
                  <a:pt x="20178" y="12764"/>
                  <a:pt x="20618" y="13204"/>
                  <a:pt x="20618" y="13745"/>
                </a:cubicBezTo>
                <a:cubicBezTo>
                  <a:pt x="20618" y="13745"/>
                  <a:pt x="20618" y="19636"/>
                  <a:pt x="20618" y="19636"/>
                </a:cubicBezTo>
                <a:close/>
                <a:moveTo>
                  <a:pt x="19636" y="11782"/>
                </a:moveTo>
                <a:lnTo>
                  <a:pt x="13745" y="11782"/>
                </a:lnTo>
                <a:cubicBezTo>
                  <a:pt x="12661" y="11782"/>
                  <a:pt x="11782" y="12661"/>
                  <a:pt x="11782" y="13745"/>
                </a:cubicBezTo>
                <a:lnTo>
                  <a:pt x="11782" y="19636"/>
                </a:lnTo>
                <a:cubicBezTo>
                  <a:pt x="11782" y="20721"/>
                  <a:pt x="12661" y="21600"/>
                  <a:pt x="13745" y="21600"/>
                </a:cubicBezTo>
                <a:lnTo>
                  <a:pt x="19636" y="21600"/>
                </a:lnTo>
                <a:cubicBezTo>
                  <a:pt x="20721" y="21600"/>
                  <a:pt x="21600" y="20721"/>
                  <a:pt x="21600" y="19636"/>
                </a:cubicBezTo>
                <a:lnTo>
                  <a:pt x="21600" y="13745"/>
                </a:lnTo>
                <a:cubicBezTo>
                  <a:pt x="21600" y="12661"/>
                  <a:pt x="20721" y="11782"/>
                  <a:pt x="19636" y="11782"/>
                </a:cubicBezTo>
                <a:moveTo>
                  <a:pt x="20618" y="7855"/>
                </a:moveTo>
                <a:cubicBezTo>
                  <a:pt x="20618" y="8396"/>
                  <a:pt x="20178" y="8836"/>
                  <a:pt x="19636" y="8836"/>
                </a:cubicBezTo>
                <a:lnTo>
                  <a:pt x="13745" y="8836"/>
                </a:lnTo>
                <a:cubicBezTo>
                  <a:pt x="13204" y="8836"/>
                  <a:pt x="12764" y="8396"/>
                  <a:pt x="12764" y="7855"/>
                </a:cubicBezTo>
                <a:lnTo>
                  <a:pt x="12764" y="1964"/>
                </a:lnTo>
                <a:cubicBezTo>
                  <a:pt x="12764" y="1422"/>
                  <a:pt x="13204" y="982"/>
                  <a:pt x="13745" y="982"/>
                </a:cubicBezTo>
                <a:lnTo>
                  <a:pt x="19636" y="982"/>
                </a:lnTo>
                <a:cubicBezTo>
                  <a:pt x="20178" y="982"/>
                  <a:pt x="20618" y="1422"/>
                  <a:pt x="20618" y="1964"/>
                </a:cubicBezTo>
                <a:cubicBezTo>
                  <a:pt x="20618" y="1964"/>
                  <a:pt x="20618" y="7855"/>
                  <a:pt x="20618" y="7855"/>
                </a:cubicBezTo>
                <a:close/>
                <a:moveTo>
                  <a:pt x="19636" y="0"/>
                </a:moveTo>
                <a:lnTo>
                  <a:pt x="13745" y="0"/>
                </a:lnTo>
                <a:cubicBezTo>
                  <a:pt x="12661" y="0"/>
                  <a:pt x="11782" y="879"/>
                  <a:pt x="11782" y="1964"/>
                </a:cubicBezTo>
                <a:lnTo>
                  <a:pt x="11782" y="7855"/>
                </a:lnTo>
                <a:cubicBezTo>
                  <a:pt x="11782" y="8939"/>
                  <a:pt x="12661" y="9818"/>
                  <a:pt x="13745" y="9818"/>
                </a:cubicBezTo>
                <a:lnTo>
                  <a:pt x="19636" y="9818"/>
                </a:lnTo>
                <a:cubicBezTo>
                  <a:pt x="20721" y="9818"/>
                  <a:pt x="21600" y="8939"/>
                  <a:pt x="21600" y="7855"/>
                </a:cubicBezTo>
                <a:lnTo>
                  <a:pt x="21600" y="1964"/>
                </a:lnTo>
                <a:cubicBezTo>
                  <a:pt x="21600" y="879"/>
                  <a:pt x="20721" y="0"/>
                  <a:pt x="19636" y="0"/>
                </a:cubicBezTo>
                <a:moveTo>
                  <a:pt x="8836" y="7855"/>
                </a:moveTo>
                <a:cubicBezTo>
                  <a:pt x="8836" y="8396"/>
                  <a:pt x="8396" y="8836"/>
                  <a:pt x="7855" y="8836"/>
                </a:cubicBezTo>
                <a:lnTo>
                  <a:pt x="1964" y="8836"/>
                </a:lnTo>
                <a:cubicBezTo>
                  <a:pt x="1421" y="8836"/>
                  <a:pt x="982" y="8396"/>
                  <a:pt x="982" y="7855"/>
                </a:cubicBezTo>
                <a:lnTo>
                  <a:pt x="982" y="1964"/>
                </a:lnTo>
                <a:cubicBezTo>
                  <a:pt x="982" y="1422"/>
                  <a:pt x="1421" y="982"/>
                  <a:pt x="1964" y="982"/>
                </a:cubicBezTo>
                <a:lnTo>
                  <a:pt x="7855" y="982"/>
                </a:lnTo>
                <a:cubicBezTo>
                  <a:pt x="8396" y="982"/>
                  <a:pt x="8836" y="1422"/>
                  <a:pt x="8836" y="1964"/>
                </a:cubicBezTo>
                <a:cubicBezTo>
                  <a:pt x="8836" y="1964"/>
                  <a:pt x="8836" y="7855"/>
                  <a:pt x="8836" y="7855"/>
                </a:cubicBezTo>
                <a:close/>
                <a:moveTo>
                  <a:pt x="7855" y="0"/>
                </a:moveTo>
                <a:lnTo>
                  <a:pt x="1964" y="0"/>
                </a:lnTo>
                <a:cubicBezTo>
                  <a:pt x="879" y="0"/>
                  <a:pt x="0" y="879"/>
                  <a:pt x="0" y="1964"/>
                </a:cubicBezTo>
                <a:lnTo>
                  <a:pt x="0" y="7855"/>
                </a:lnTo>
                <a:cubicBezTo>
                  <a:pt x="0" y="8939"/>
                  <a:pt x="879" y="9818"/>
                  <a:pt x="1964" y="9818"/>
                </a:cubicBezTo>
                <a:lnTo>
                  <a:pt x="7855" y="9818"/>
                </a:lnTo>
                <a:cubicBezTo>
                  <a:pt x="8939" y="9818"/>
                  <a:pt x="9818" y="8939"/>
                  <a:pt x="9818" y="7855"/>
                </a:cubicBezTo>
                <a:lnTo>
                  <a:pt x="9818" y="1964"/>
                </a:lnTo>
                <a:cubicBezTo>
                  <a:pt x="9818" y="879"/>
                  <a:pt x="8939" y="0"/>
                  <a:pt x="7855" y="0"/>
                </a:cubicBezTo>
                <a:moveTo>
                  <a:pt x="8836" y="19636"/>
                </a:moveTo>
                <a:cubicBezTo>
                  <a:pt x="8836" y="20178"/>
                  <a:pt x="8396" y="20618"/>
                  <a:pt x="7855" y="20618"/>
                </a:cubicBezTo>
                <a:lnTo>
                  <a:pt x="1964" y="20618"/>
                </a:lnTo>
                <a:cubicBezTo>
                  <a:pt x="1421" y="20618"/>
                  <a:pt x="982" y="20178"/>
                  <a:pt x="982" y="19636"/>
                </a:cubicBezTo>
                <a:lnTo>
                  <a:pt x="982" y="13745"/>
                </a:lnTo>
                <a:cubicBezTo>
                  <a:pt x="982" y="13204"/>
                  <a:pt x="1421" y="12764"/>
                  <a:pt x="1964" y="12764"/>
                </a:cubicBezTo>
                <a:lnTo>
                  <a:pt x="7855" y="12764"/>
                </a:lnTo>
                <a:cubicBezTo>
                  <a:pt x="8396" y="12764"/>
                  <a:pt x="8836" y="13204"/>
                  <a:pt x="8836" y="13745"/>
                </a:cubicBezTo>
                <a:cubicBezTo>
                  <a:pt x="8836" y="13745"/>
                  <a:pt x="8836" y="19636"/>
                  <a:pt x="8836" y="19636"/>
                </a:cubicBezTo>
                <a:close/>
                <a:moveTo>
                  <a:pt x="7855" y="11782"/>
                </a:moveTo>
                <a:lnTo>
                  <a:pt x="1964" y="11782"/>
                </a:lnTo>
                <a:cubicBezTo>
                  <a:pt x="879" y="11782"/>
                  <a:pt x="0" y="12661"/>
                  <a:pt x="0" y="13745"/>
                </a:cubicBezTo>
                <a:lnTo>
                  <a:pt x="0" y="19636"/>
                </a:lnTo>
                <a:cubicBezTo>
                  <a:pt x="0" y="20721"/>
                  <a:pt x="879" y="21600"/>
                  <a:pt x="1964" y="21600"/>
                </a:cubicBezTo>
                <a:lnTo>
                  <a:pt x="7855" y="21600"/>
                </a:lnTo>
                <a:cubicBezTo>
                  <a:pt x="8939" y="21600"/>
                  <a:pt x="9818" y="20721"/>
                  <a:pt x="9818" y="19636"/>
                </a:cubicBezTo>
                <a:lnTo>
                  <a:pt x="9818" y="13745"/>
                </a:lnTo>
                <a:cubicBezTo>
                  <a:pt x="9818" y="12661"/>
                  <a:pt x="8939" y="11782"/>
                  <a:pt x="785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6" name="Shape 2746"/>
          <p:cNvSpPr/>
          <p:nvPr/>
        </p:nvSpPr>
        <p:spPr>
          <a:xfrm>
            <a:off x="3860211"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2764"/>
                </a:moveTo>
                <a:lnTo>
                  <a:pt x="16691" y="12764"/>
                </a:lnTo>
                <a:lnTo>
                  <a:pt x="16691" y="8836"/>
                </a:lnTo>
                <a:lnTo>
                  <a:pt x="20618" y="8836"/>
                </a:lnTo>
                <a:cubicBezTo>
                  <a:pt x="20618" y="8836"/>
                  <a:pt x="20618" y="12764"/>
                  <a:pt x="20618" y="12764"/>
                </a:cubicBezTo>
                <a:close/>
                <a:moveTo>
                  <a:pt x="20618" y="7855"/>
                </a:moveTo>
                <a:lnTo>
                  <a:pt x="16691" y="7855"/>
                </a:lnTo>
                <a:cubicBezTo>
                  <a:pt x="16149" y="7855"/>
                  <a:pt x="15709" y="8295"/>
                  <a:pt x="15709" y="8836"/>
                </a:cubicBezTo>
                <a:lnTo>
                  <a:pt x="15709" y="12764"/>
                </a:lnTo>
                <a:cubicBezTo>
                  <a:pt x="15709" y="13305"/>
                  <a:pt x="16149" y="13745"/>
                  <a:pt x="16691" y="13745"/>
                </a:cubicBezTo>
                <a:lnTo>
                  <a:pt x="20618" y="13745"/>
                </a:lnTo>
                <a:cubicBezTo>
                  <a:pt x="21160" y="13745"/>
                  <a:pt x="21600" y="13305"/>
                  <a:pt x="21600" y="12764"/>
                </a:cubicBezTo>
                <a:lnTo>
                  <a:pt x="21600" y="8836"/>
                </a:lnTo>
                <a:cubicBezTo>
                  <a:pt x="21600" y="8295"/>
                  <a:pt x="21160" y="7855"/>
                  <a:pt x="20618" y="7855"/>
                </a:cubicBezTo>
                <a:moveTo>
                  <a:pt x="12764" y="20618"/>
                </a:moveTo>
                <a:lnTo>
                  <a:pt x="8836" y="20618"/>
                </a:lnTo>
                <a:lnTo>
                  <a:pt x="8836" y="16691"/>
                </a:lnTo>
                <a:lnTo>
                  <a:pt x="12764" y="16691"/>
                </a:lnTo>
                <a:cubicBezTo>
                  <a:pt x="12764" y="16691"/>
                  <a:pt x="12764" y="20618"/>
                  <a:pt x="12764" y="20618"/>
                </a:cubicBezTo>
                <a:close/>
                <a:moveTo>
                  <a:pt x="12764" y="15709"/>
                </a:moveTo>
                <a:lnTo>
                  <a:pt x="8836" y="15709"/>
                </a:lnTo>
                <a:cubicBezTo>
                  <a:pt x="8295" y="15709"/>
                  <a:pt x="7855" y="16149"/>
                  <a:pt x="7855" y="16691"/>
                </a:cubicBezTo>
                <a:lnTo>
                  <a:pt x="7855" y="20618"/>
                </a:lnTo>
                <a:cubicBezTo>
                  <a:pt x="7855" y="21160"/>
                  <a:pt x="8295" y="21600"/>
                  <a:pt x="8836" y="21600"/>
                </a:cubicBezTo>
                <a:lnTo>
                  <a:pt x="12764" y="21600"/>
                </a:lnTo>
                <a:cubicBezTo>
                  <a:pt x="13305" y="21600"/>
                  <a:pt x="13745" y="21160"/>
                  <a:pt x="13745" y="20618"/>
                </a:cubicBezTo>
                <a:lnTo>
                  <a:pt x="13745" y="16691"/>
                </a:lnTo>
                <a:cubicBezTo>
                  <a:pt x="13745" y="16149"/>
                  <a:pt x="13305" y="15709"/>
                  <a:pt x="12764" y="15709"/>
                </a:cubicBezTo>
                <a:moveTo>
                  <a:pt x="12764" y="12764"/>
                </a:moveTo>
                <a:lnTo>
                  <a:pt x="8836" y="12764"/>
                </a:lnTo>
                <a:lnTo>
                  <a:pt x="8836" y="8836"/>
                </a:lnTo>
                <a:lnTo>
                  <a:pt x="12764" y="8836"/>
                </a:lnTo>
                <a:cubicBezTo>
                  <a:pt x="12764" y="8836"/>
                  <a:pt x="12764" y="12764"/>
                  <a:pt x="12764" y="12764"/>
                </a:cubicBezTo>
                <a:close/>
                <a:moveTo>
                  <a:pt x="12764" y="7855"/>
                </a:moveTo>
                <a:lnTo>
                  <a:pt x="8836" y="7855"/>
                </a:lnTo>
                <a:cubicBezTo>
                  <a:pt x="8295" y="7855"/>
                  <a:pt x="7855" y="8295"/>
                  <a:pt x="7855" y="8836"/>
                </a:cubicBezTo>
                <a:lnTo>
                  <a:pt x="7855" y="12764"/>
                </a:lnTo>
                <a:cubicBezTo>
                  <a:pt x="7855" y="13305"/>
                  <a:pt x="8295" y="13745"/>
                  <a:pt x="8836" y="13745"/>
                </a:cubicBezTo>
                <a:lnTo>
                  <a:pt x="12764" y="13745"/>
                </a:lnTo>
                <a:cubicBezTo>
                  <a:pt x="13305" y="13745"/>
                  <a:pt x="13745" y="13305"/>
                  <a:pt x="13745" y="12764"/>
                </a:cubicBezTo>
                <a:lnTo>
                  <a:pt x="13745" y="8836"/>
                </a:lnTo>
                <a:cubicBezTo>
                  <a:pt x="13745" y="8295"/>
                  <a:pt x="13305" y="7855"/>
                  <a:pt x="12764" y="7855"/>
                </a:cubicBezTo>
                <a:moveTo>
                  <a:pt x="4909" y="4909"/>
                </a:moveTo>
                <a:lnTo>
                  <a:pt x="982" y="4909"/>
                </a:lnTo>
                <a:lnTo>
                  <a:pt x="982" y="982"/>
                </a:lnTo>
                <a:lnTo>
                  <a:pt x="4909" y="982"/>
                </a:lnTo>
                <a:cubicBezTo>
                  <a:pt x="4909" y="982"/>
                  <a:pt x="4909" y="4909"/>
                  <a:pt x="4909" y="4909"/>
                </a:cubicBezTo>
                <a:close/>
                <a:moveTo>
                  <a:pt x="4909" y="0"/>
                </a:moveTo>
                <a:lnTo>
                  <a:pt x="982" y="0"/>
                </a:lnTo>
                <a:cubicBezTo>
                  <a:pt x="440" y="0"/>
                  <a:pt x="0" y="440"/>
                  <a:pt x="0" y="982"/>
                </a:cubicBezTo>
                <a:lnTo>
                  <a:pt x="0" y="4909"/>
                </a:lnTo>
                <a:cubicBezTo>
                  <a:pt x="0" y="5451"/>
                  <a:pt x="440" y="5891"/>
                  <a:pt x="982" y="5891"/>
                </a:cubicBezTo>
                <a:lnTo>
                  <a:pt x="4909" y="5891"/>
                </a:lnTo>
                <a:cubicBezTo>
                  <a:pt x="5451" y="5891"/>
                  <a:pt x="5891" y="5451"/>
                  <a:pt x="5891" y="4909"/>
                </a:cubicBezTo>
                <a:lnTo>
                  <a:pt x="5891" y="982"/>
                </a:lnTo>
                <a:cubicBezTo>
                  <a:pt x="5891" y="440"/>
                  <a:pt x="5451" y="0"/>
                  <a:pt x="4909" y="0"/>
                </a:cubicBezTo>
                <a:moveTo>
                  <a:pt x="20618" y="20618"/>
                </a:moveTo>
                <a:lnTo>
                  <a:pt x="16691" y="20618"/>
                </a:lnTo>
                <a:lnTo>
                  <a:pt x="16691" y="16691"/>
                </a:lnTo>
                <a:lnTo>
                  <a:pt x="20618" y="16691"/>
                </a:lnTo>
                <a:cubicBezTo>
                  <a:pt x="20618" y="16691"/>
                  <a:pt x="20618" y="20618"/>
                  <a:pt x="20618" y="20618"/>
                </a:cubicBezTo>
                <a:close/>
                <a:moveTo>
                  <a:pt x="20618" y="15709"/>
                </a:moveTo>
                <a:lnTo>
                  <a:pt x="16691" y="15709"/>
                </a:lnTo>
                <a:cubicBezTo>
                  <a:pt x="16149" y="15709"/>
                  <a:pt x="15709" y="16149"/>
                  <a:pt x="15709" y="16691"/>
                </a:cubicBezTo>
                <a:lnTo>
                  <a:pt x="15709" y="20618"/>
                </a:lnTo>
                <a:cubicBezTo>
                  <a:pt x="15709" y="21160"/>
                  <a:pt x="16149" y="21600"/>
                  <a:pt x="16691" y="21600"/>
                </a:cubicBezTo>
                <a:lnTo>
                  <a:pt x="20618" y="21600"/>
                </a:lnTo>
                <a:cubicBezTo>
                  <a:pt x="21160" y="21600"/>
                  <a:pt x="21600" y="21160"/>
                  <a:pt x="21600" y="20618"/>
                </a:cubicBezTo>
                <a:lnTo>
                  <a:pt x="21600" y="16691"/>
                </a:lnTo>
                <a:cubicBezTo>
                  <a:pt x="21600" y="16149"/>
                  <a:pt x="21160" y="15709"/>
                  <a:pt x="20618" y="15709"/>
                </a:cubicBezTo>
                <a:moveTo>
                  <a:pt x="20618" y="4909"/>
                </a:moveTo>
                <a:lnTo>
                  <a:pt x="16691" y="4909"/>
                </a:lnTo>
                <a:lnTo>
                  <a:pt x="16691" y="982"/>
                </a:lnTo>
                <a:lnTo>
                  <a:pt x="20618" y="982"/>
                </a:lnTo>
                <a:cubicBezTo>
                  <a:pt x="20618" y="982"/>
                  <a:pt x="20618" y="4909"/>
                  <a:pt x="20618" y="4909"/>
                </a:cubicBezTo>
                <a:close/>
                <a:moveTo>
                  <a:pt x="20618" y="0"/>
                </a:moveTo>
                <a:lnTo>
                  <a:pt x="16691" y="0"/>
                </a:lnTo>
                <a:cubicBezTo>
                  <a:pt x="16149" y="0"/>
                  <a:pt x="15709" y="440"/>
                  <a:pt x="15709" y="982"/>
                </a:cubicBezTo>
                <a:lnTo>
                  <a:pt x="15709" y="4909"/>
                </a:lnTo>
                <a:cubicBezTo>
                  <a:pt x="15709" y="5451"/>
                  <a:pt x="16149" y="5891"/>
                  <a:pt x="16691"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16691"/>
                </a:lnTo>
                <a:lnTo>
                  <a:pt x="4909" y="16691"/>
                </a:lnTo>
                <a:cubicBezTo>
                  <a:pt x="4909" y="16691"/>
                  <a:pt x="4909" y="20618"/>
                  <a:pt x="4909" y="20618"/>
                </a:cubicBezTo>
                <a:close/>
                <a:moveTo>
                  <a:pt x="4909" y="15709"/>
                </a:moveTo>
                <a:lnTo>
                  <a:pt x="982" y="15709"/>
                </a:lnTo>
                <a:cubicBezTo>
                  <a:pt x="440" y="15709"/>
                  <a:pt x="0" y="16149"/>
                  <a:pt x="0" y="16691"/>
                </a:cubicBezTo>
                <a:lnTo>
                  <a:pt x="0" y="20618"/>
                </a:lnTo>
                <a:cubicBezTo>
                  <a:pt x="0" y="21160"/>
                  <a:pt x="440" y="21600"/>
                  <a:pt x="982" y="21600"/>
                </a:cubicBezTo>
                <a:lnTo>
                  <a:pt x="4909" y="21600"/>
                </a:lnTo>
                <a:cubicBezTo>
                  <a:pt x="5451" y="21600"/>
                  <a:pt x="5891" y="21160"/>
                  <a:pt x="5891" y="20618"/>
                </a:cubicBezTo>
                <a:lnTo>
                  <a:pt x="5891" y="16691"/>
                </a:lnTo>
                <a:cubicBezTo>
                  <a:pt x="5891" y="16149"/>
                  <a:pt x="5451" y="15709"/>
                  <a:pt x="4909" y="15709"/>
                </a:cubicBezTo>
                <a:moveTo>
                  <a:pt x="12764" y="4909"/>
                </a:moveTo>
                <a:lnTo>
                  <a:pt x="8836" y="4909"/>
                </a:lnTo>
                <a:lnTo>
                  <a:pt x="8836" y="982"/>
                </a:lnTo>
                <a:lnTo>
                  <a:pt x="12764" y="982"/>
                </a:lnTo>
                <a:cubicBezTo>
                  <a:pt x="12764" y="982"/>
                  <a:pt x="12764" y="4909"/>
                  <a:pt x="12764" y="4909"/>
                </a:cubicBezTo>
                <a:close/>
                <a:moveTo>
                  <a:pt x="12764" y="0"/>
                </a:moveTo>
                <a:lnTo>
                  <a:pt x="8836" y="0"/>
                </a:lnTo>
                <a:cubicBezTo>
                  <a:pt x="8295" y="0"/>
                  <a:pt x="7855" y="440"/>
                  <a:pt x="7855" y="982"/>
                </a:cubicBezTo>
                <a:lnTo>
                  <a:pt x="7855" y="4909"/>
                </a:lnTo>
                <a:cubicBezTo>
                  <a:pt x="7855" y="5451"/>
                  <a:pt x="8295" y="5891"/>
                  <a:pt x="8836" y="5891"/>
                </a:cubicBezTo>
                <a:lnTo>
                  <a:pt x="12764" y="5891"/>
                </a:lnTo>
                <a:cubicBezTo>
                  <a:pt x="13305" y="5891"/>
                  <a:pt x="13745" y="5451"/>
                  <a:pt x="13745" y="4909"/>
                </a:cubicBezTo>
                <a:lnTo>
                  <a:pt x="13745" y="982"/>
                </a:lnTo>
                <a:cubicBezTo>
                  <a:pt x="13745" y="440"/>
                  <a:pt x="13305" y="0"/>
                  <a:pt x="12764" y="0"/>
                </a:cubicBezTo>
                <a:moveTo>
                  <a:pt x="4909" y="12764"/>
                </a:moveTo>
                <a:lnTo>
                  <a:pt x="982" y="12764"/>
                </a:lnTo>
                <a:lnTo>
                  <a:pt x="982" y="8836"/>
                </a:lnTo>
                <a:lnTo>
                  <a:pt x="4909" y="8836"/>
                </a:lnTo>
                <a:cubicBezTo>
                  <a:pt x="4909" y="8836"/>
                  <a:pt x="4909" y="12764"/>
                  <a:pt x="4909" y="12764"/>
                </a:cubicBezTo>
                <a:close/>
                <a:moveTo>
                  <a:pt x="4909" y="7855"/>
                </a:moveTo>
                <a:lnTo>
                  <a:pt x="982" y="7855"/>
                </a:lnTo>
                <a:cubicBezTo>
                  <a:pt x="440" y="7855"/>
                  <a:pt x="0" y="8295"/>
                  <a:pt x="0" y="8836"/>
                </a:cubicBezTo>
                <a:lnTo>
                  <a:pt x="0" y="12764"/>
                </a:lnTo>
                <a:cubicBezTo>
                  <a:pt x="0" y="13305"/>
                  <a:pt x="440" y="13745"/>
                  <a:pt x="982" y="13745"/>
                </a:cubicBezTo>
                <a:lnTo>
                  <a:pt x="4909" y="13745"/>
                </a:lnTo>
                <a:cubicBezTo>
                  <a:pt x="5451" y="13745"/>
                  <a:pt x="5891" y="13305"/>
                  <a:pt x="5891" y="12764"/>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7" name="Shape 2747"/>
          <p:cNvSpPr/>
          <p:nvPr/>
        </p:nvSpPr>
        <p:spPr>
          <a:xfrm>
            <a:off x="4260157" y="427931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618"/>
                </a:moveTo>
                <a:lnTo>
                  <a:pt x="8836" y="20618"/>
                </a:lnTo>
                <a:lnTo>
                  <a:pt x="8836" y="8836"/>
                </a:lnTo>
                <a:lnTo>
                  <a:pt x="20618" y="8836"/>
                </a:lnTo>
                <a:cubicBezTo>
                  <a:pt x="20618" y="8836"/>
                  <a:pt x="20618" y="20618"/>
                  <a:pt x="20618" y="20618"/>
                </a:cubicBezTo>
                <a:close/>
                <a:moveTo>
                  <a:pt x="20618" y="7855"/>
                </a:moveTo>
                <a:lnTo>
                  <a:pt x="8836" y="7855"/>
                </a:lnTo>
                <a:cubicBezTo>
                  <a:pt x="8295" y="7855"/>
                  <a:pt x="7855" y="8295"/>
                  <a:pt x="7855" y="8836"/>
                </a:cubicBezTo>
                <a:lnTo>
                  <a:pt x="7855" y="20618"/>
                </a:lnTo>
                <a:cubicBezTo>
                  <a:pt x="7855" y="21160"/>
                  <a:pt x="8295" y="21600"/>
                  <a:pt x="8836" y="21600"/>
                </a:cubicBezTo>
                <a:lnTo>
                  <a:pt x="20618" y="21600"/>
                </a:lnTo>
                <a:cubicBezTo>
                  <a:pt x="21160" y="21600"/>
                  <a:pt x="21600" y="21160"/>
                  <a:pt x="21600" y="20618"/>
                </a:cubicBezTo>
                <a:lnTo>
                  <a:pt x="21600" y="8836"/>
                </a:lnTo>
                <a:cubicBezTo>
                  <a:pt x="21600" y="8295"/>
                  <a:pt x="21160" y="7855"/>
                  <a:pt x="20618" y="7855"/>
                </a:cubicBezTo>
                <a:moveTo>
                  <a:pt x="20618" y="4909"/>
                </a:moveTo>
                <a:lnTo>
                  <a:pt x="982" y="4909"/>
                </a:lnTo>
                <a:lnTo>
                  <a:pt x="982" y="982"/>
                </a:lnTo>
                <a:lnTo>
                  <a:pt x="20618" y="982"/>
                </a:lnTo>
                <a:cubicBezTo>
                  <a:pt x="20618" y="982"/>
                  <a:pt x="20618" y="4909"/>
                  <a:pt x="20618" y="4909"/>
                </a:cubicBezTo>
                <a:close/>
                <a:moveTo>
                  <a:pt x="20618" y="0"/>
                </a:moveTo>
                <a:lnTo>
                  <a:pt x="982" y="0"/>
                </a:lnTo>
                <a:cubicBezTo>
                  <a:pt x="440" y="0"/>
                  <a:pt x="0" y="440"/>
                  <a:pt x="0" y="982"/>
                </a:cubicBezTo>
                <a:lnTo>
                  <a:pt x="0" y="4909"/>
                </a:lnTo>
                <a:cubicBezTo>
                  <a:pt x="0" y="5451"/>
                  <a:pt x="440" y="5891"/>
                  <a:pt x="982" y="5891"/>
                </a:cubicBezTo>
                <a:lnTo>
                  <a:pt x="20618" y="5891"/>
                </a:lnTo>
                <a:cubicBezTo>
                  <a:pt x="21160" y="5891"/>
                  <a:pt x="21600" y="5451"/>
                  <a:pt x="21600" y="4909"/>
                </a:cubicBezTo>
                <a:lnTo>
                  <a:pt x="21600" y="982"/>
                </a:lnTo>
                <a:cubicBezTo>
                  <a:pt x="21600" y="440"/>
                  <a:pt x="21160" y="0"/>
                  <a:pt x="20618" y="0"/>
                </a:cubicBezTo>
                <a:moveTo>
                  <a:pt x="4909" y="20618"/>
                </a:moveTo>
                <a:lnTo>
                  <a:pt x="982" y="20618"/>
                </a:lnTo>
                <a:lnTo>
                  <a:pt x="982" y="8836"/>
                </a:lnTo>
                <a:lnTo>
                  <a:pt x="4909" y="8836"/>
                </a:lnTo>
                <a:cubicBezTo>
                  <a:pt x="4909" y="8836"/>
                  <a:pt x="4909" y="20618"/>
                  <a:pt x="4909" y="20618"/>
                </a:cubicBezTo>
                <a:close/>
                <a:moveTo>
                  <a:pt x="4909" y="7855"/>
                </a:moveTo>
                <a:lnTo>
                  <a:pt x="982" y="7855"/>
                </a:lnTo>
                <a:cubicBezTo>
                  <a:pt x="440" y="7855"/>
                  <a:pt x="0" y="8295"/>
                  <a:pt x="0" y="8836"/>
                </a:cubicBezTo>
                <a:lnTo>
                  <a:pt x="0" y="20618"/>
                </a:lnTo>
                <a:cubicBezTo>
                  <a:pt x="0" y="21160"/>
                  <a:pt x="440" y="21600"/>
                  <a:pt x="982" y="21600"/>
                </a:cubicBezTo>
                <a:lnTo>
                  <a:pt x="4909" y="21600"/>
                </a:lnTo>
                <a:cubicBezTo>
                  <a:pt x="5451" y="21600"/>
                  <a:pt x="5891" y="21160"/>
                  <a:pt x="5891" y="20618"/>
                </a:cubicBezTo>
                <a:lnTo>
                  <a:pt x="5891" y="8836"/>
                </a:lnTo>
                <a:cubicBezTo>
                  <a:pt x="5891" y="8295"/>
                  <a:pt x="5451" y="7855"/>
                  <a:pt x="4909"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8" name="Shape 2748"/>
          <p:cNvSpPr/>
          <p:nvPr/>
        </p:nvSpPr>
        <p:spPr>
          <a:xfrm>
            <a:off x="4679147" y="307946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8280" y="18579"/>
                </a:moveTo>
                <a:cubicBezTo>
                  <a:pt x="20323" y="16614"/>
                  <a:pt x="21600" y="13859"/>
                  <a:pt x="21600" y="10800"/>
                </a:cubicBezTo>
                <a:cubicBezTo>
                  <a:pt x="21600" y="4835"/>
                  <a:pt x="16764" y="0"/>
                  <a:pt x="10800" y="0"/>
                </a:cubicBezTo>
                <a:cubicBezTo>
                  <a:pt x="4836" y="0"/>
                  <a:pt x="0" y="4835"/>
                  <a:pt x="0" y="10800"/>
                </a:cubicBezTo>
                <a:cubicBezTo>
                  <a:pt x="0" y="13859"/>
                  <a:pt x="1277" y="16614"/>
                  <a:pt x="3320" y="18579"/>
                </a:cubicBezTo>
                <a:lnTo>
                  <a:pt x="2107" y="20762"/>
                </a:lnTo>
                <a:cubicBezTo>
                  <a:pt x="2019" y="20851"/>
                  <a:pt x="1964" y="20974"/>
                  <a:pt x="1964" y="21109"/>
                </a:cubicBezTo>
                <a:cubicBezTo>
                  <a:pt x="1964" y="21380"/>
                  <a:pt x="2184" y="21600"/>
                  <a:pt x="2455" y="21600"/>
                </a:cubicBezTo>
                <a:cubicBezTo>
                  <a:pt x="2590" y="21600"/>
                  <a:pt x="2713" y="21545"/>
                  <a:pt x="2802" y="21456"/>
                </a:cubicBezTo>
                <a:cubicBezTo>
                  <a:pt x="2858" y="21400"/>
                  <a:pt x="2894" y="21327"/>
                  <a:pt x="2917" y="21248"/>
                </a:cubicBezTo>
                <a:lnTo>
                  <a:pt x="4044" y="19219"/>
                </a:lnTo>
                <a:cubicBezTo>
                  <a:pt x="5895" y="20706"/>
                  <a:pt x="8242" y="21600"/>
                  <a:pt x="10800" y="21600"/>
                </a:cubicBezTo>
                <a:cubicBezTo>
                  <a:pt x="13358" y="21600"/>
                  <a:pt x="15705" y="20706"/>
                  <a:pt x="17555" y="19219"/>
                </a:cubicBezTo>
                <a:lnTo>
                  <a:pt x="18683" y="21248"/>
                </a:lnTo>
                <a:cubicBezTo>
                  <a:pt x="18743" y="21450"/>
                  <a:pt x="18923" y="21600"/>
                  <a:pt x="19145" y="21600"/>
                </a:cubicBezTo>
                <a:cubicBezTo>
                  <a:pt x="19416" y="21600"/>
                  <a:pt x="19636" y="21380"/>
                  <a:pt x="19636" y="21109"/>
                </a:cubicBezTo>
                <a:cubicBezTo>
                  <a:pt x="19636" y="20974"/>
                  <a:pt x="19581" y="20851"/>
                  <a:pt x="19493" y="20762"/>
                </a:cubicBezTo>
                <a:cubicBezTo>
                  <a:pt x="19493" y="20762"/>
                  <a:pt x="18280" y="18579"/>
                  <a:pt x="18280" y="18579"/>
                </a:cubicBezTo>
                <a:close/>
                <a:moveTo>
                  <a:pt x="10800" y="16691"/>
                </a:moveTo>
                <a:cubicBezTo>
                  <a:pt x="7547" y="16691"/>
                  <a:pt x="4909" y="14053"/>
                  <a:pt x="4909" y="10800"/>
                </a:cubicBezTo>
                <a:cubicBezTo>
                  <a:pt x="4909" y="7547"/>
                  <a:pt x="7547" y="4909"/>
                  <a:pt x="10800" y="4909"/>
                </a:cubicBezTo>
                <a:cubicBezTo>
                  <a:pt x="14053" y="4909"/>
                  <a:pt x="16691" y="7547"/>
                  <a:pt x="16691" y="10800"/>
                </a:cubicBezTo>
                <a:cubicBezTo>
                  <a:pt x="16691" y="14053"/>
                  <a:pt x="14053" y="16691"/>
                  <a:pt x="10800" y="16691"/>
                </a:cubicBezTo>
                <a:moveTo>
                  <a:pt x="10800" y="3927"/>
                </a:moveTo>
                <a:cubicBezTo>
                  <a:pt x="7004" y="3927"/>
                  <a:pt x="3927" y="7004"/>
                  <a:pt x="3927" y="10800"/>
                </a:cubicBezTo>
                <a:cubicBezTo>
                  <a:pt x="3927" y="14596"/>
                  <a:pt x="7004" y="17673"/>
                  <a:pt x="10800" y="17673"/>
                </a:cubicBezTo>
                <a:cubicBezTo>
                  <a:pt x="14596" y="17673"/>
                  <a:pt x="17673" y="14596"/>
                  <a:pt x="17673" y="10800"/>
                </a:cubicBezTo>
                <a:cubicBezTo>
                  <a:pt x="17673" y="7004"/>
                  <a:pt x="14596" y="3927"/>
                  <a:pt x="10800" y="3927"/>
                </a:cubicBezTo>
                <a:moveTo>
                  <a:pt x="10800" y="12764"/>
                </a:moveTo>
                <a:cubicBezTo>
                  <a:pt x="9716" y="12764"/>
                  <a:pt x="8836" y="11884"/>
                  <a:pt x="8836" y="10800"/>
                </a:cubicBezTo>
                <a:cubicBezTo>
                  <a:pt x="8836" y="9716"/>
                  <a:pt x="9716" y="8836"/>
                  <a:pt x="10800" y="8836"/>
                </a:cubicBezTo>
                <a:cubicBezTo>
                  <a:pt x="11884" y="8836"/>
                  <a:pt x="12764" y="9716"/>
                  <a:pt x="12764" y="10800"/>
                </a:cubicBezTo>
                <a:cubicBezTo>
                  <a:pt x="12764" y="11884"/>
                  <a:pt x="11884" y="12764"/>
                  <a:pt x="10800" y="12764"/>
                </a:cubicBezTo>
                <a:moveTo>
                  <a:pt x="10800" y="7855"/>
                </a:moveTo>
                <a:cubicBezTo>
                  <a:pt x="9173" y="7855"/>
                  <a:pt x="7855" y="9173"/>
                  <a:pt x="7855" y="10800"/>
                </a:cubicBezTo>
                <a:cubicBezTo>
                  <a:pt x="7855" y="12427"/>
                  <a:pt x="9173" y="13745"/>
                  <a:pt x="10800" y="13745"/>
                </a:cubicBezTo>
                <a:cubicBezTo>
                  <a:pt x="12427" y="13745"/>
                  <a:pt x="13745" y="12427"/>
                  <a:pt x="13745" y="10800"/>
                </a:cubicBezTo>
                <a:cubicBezTo>
                  <a:pt x="13745" y="9173"/>
                  <a:pt x="12427" y="7855"/>
                  <a:pt x="108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49" name="Shape 2749"/>
          <p:cNvSpPr/>
          <p:nvPr/>
        </p:nvSpPr>
        <p:spPr>
          <a:xfrm>
            <a:off x="5117184"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20057" y="2884"/>
                </a:moveTo>
                <a:cubicBezTo>
                  <a:pt x="19862" y="3005"/>
                  <a:pt x="15661" y="5580"/>
                  <a:pt x="11606" y="4718"/>
                </a:cubicBezTo>
                <a:cubicBezTo>
                  <a:pt x="9681" y="4310"/>
                  <a:pt x="8390" y="3899"/>
                  <a:pt x="7251" y="3535"/>
                </a:cubicBezTo>
                <a:cubicBezTo>
                  <a:pt x="5426" y="2953"/>
                  <a:pt x="4042" y="2513"/>
                  <a:pt x="1543" y="2647"/>
                </a:cubicBezTo>
                <a:lnTo>
                  <a:pt x="1543" y="982"/>
                </a:lnTo>
                <a:lnTo>
                  <a:pt x="20057" y="982"/>
                </a:lnTo>
                <a:cubicBezTo>
                  <a:pt x="20057" y="982"/>
                  <a:pt x="20057" y="2884"/>
                  <a:pt x="20057" y="2884"/>
                </a:cubicBezTo>
                <a:close/>
                <a:moveTo>
                  <a:pt x="20057" y="5891"/>
                </a:moveTo>
                <a:cubicBezTo>
                  <a:pt x="20057" y="9144"/>
                  <a:pt x="15912" y="11782"/>
                  <a:pt x="10800" y="11782"/>
                </a:cubicBezTo>
                <a:cubicBezTo>
                  <a:pt x="5688" y="11782"/>
                  <a:pt x="1543" y="9144"/>
                  <a:pt x="1543" y="5891"/>
                </a:cubicBezTo>
                <a:lnTo>
                  <a:pt x="1543" y="3634"/>
                </a:lnTo>
                <a:cubicBezTo>
                  <a:pt x="3681" y="3500"/>
                  <a:pt x="4767" y="3841"/>
                  <a:pt x="6560" y="4413"/>
                </a:cubicBezTo>
                <a:cubicBezTo>
                  <a:pt x="7686" y="4772"/>
                  <a:pt x="9088" y="5219"/>
                  <a:pt x="11118" y="5650"/>
                </a:cubicBezTo>
                <a:cubicBezTo>
                  <a:pt x="11869" y="5809"/>
                  <a:pt x="12616" y="5877"/>
                  <a:pt x="13343" y="5877"/>
                </a:cubicBezTo>
                <a:cubicBezTo>
                  <a:pt x="16154" y="5877"/>
                  <a:pt x="18675" y="4862"/>
                  <a:pt x="20057" y="4176"/>
                </a:cubicBezTo>
                <a:cubicBezTo>
                  <a:pt x="20057" y="4176"/>
                  <a:pt x="20057" y="5891"/>
                  <a:pt x="20057" y="5891"/>
                </a:cubicBezTo>
                <a:close/>
                <a:moveTo>
                  <a:pt x="20829" y="0"/>
                </a:moveTo>
                <a:lnTo>
                  <a:pt x="771" y="0"/>
                </a:lnTo>
                <a:cubicBezTo>
                  <a:pt x="346" y="0"/>
                  <a:pt x="0" y="220"/>
                  <a:pt x="0" y="491"/>
                </a:cubicBezTo>
                <a:lnTo>
                  <a:pt x="0" y="5891"/>
                </a:lnTo>
                <a:cubicBezTo>
                  <a:pt x="0" y="9521"/>
                  <a:pt x="4426" y="12486"/>
                  <a:pt x="10029" y="12739"/>
                </a:cubicBezTo>
                <a:lnTo>
                  <a:pt x="10029" y="20618"/>
                </a:lnTo>
                <a:lnTo>
                  <a:pt x="3857" y="20618"/>
                </a:lnTo>
                <a:cubicBezTo>
                  <a:pt x="3432" y="20618"/>
                  <a:pt x="3086" y="20838"/>
                  <a:pt x="3086" y="21109"/>
                </a:cubicBezTo>
                <a:cubicBezTo>
                  <a:pt x="3086" y="21380"/>
                  <a:pt x="3432" y="21600"/>
                  <a:pt x="3857" y="21600"/>
                </a:cubicBezTo>
                <a:lnTo>
                  <a:pt x="17743" y="21600"/>
                </a:lnTo>
                <a:cubicBezTo>
                  <a:pt x="18168" y="21600"/>
                  <a:pt x="18514" y="21380"/>
                  <a:pt x="18514" y="21109"/>
                </a:cubicBezTo>
                <a:cubicBezTo>
                  <a:pt x="18514" y="20838"/>
                  <a:pt x="18168" y="20618"/>
                  <a:pt x="17743" y="20618"/>
                </a:cubicBezTo>
                <a:lnTo>
                  <a:pt x="11571" y="20618"/>
                </a:lnTo>
                <a:lnTo>
                  <a:pt x="11571" y="12739"/>
                </a:lnTo>
                <a:cubicBezTo>
                  <a:pt x="17174" y="12486"/>
                  <a:pt x="21600" y="9521"/>
                  <a:pt x="21600" y="5891"/>
                </a:cubicBezTo>
                <a:lnTo>
                  <a:pt x="21600" y="491"/>
                </a:lnTo>
                <a:cubicBezTo>
                  <a:pt x="21600" y="220"/>
                  <a:pt x="21254" y="0"/>
                  <a:pt x="2082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0" name="Shape 2750"/>
          <p:cNvSpPr/>
          <p:nvPr/>
        </p:nvSpPr>
        <p:spPr>
          <a:xfrm>
            <a:off x="5536175" y="3079463"/>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0800"/>
                </a:moveTo>
                <a:lnTo>
                  <a:pt x="2160" y="10800"/>
                </a:lnTo>
                <a:lnTo>
                  <a:pt x="2160" y="8836"/>
                </a:lnTo>
                <a:cubicBezTo>
                  <a:pt x="2160" y="7752"/>
                  <a:pt x="4094" y="6873"/>
                  <a:pt x="6480" y="6873"/>
                </a:cubicBezTo>
                <a:lnTo>
                  <a:pt x="15120" y="6873"/>
                </a:lnTo>
                <a:cubicBezTo>
                  <a:pt x="17506" y="6873"/>
                  <a:pt x="19440" y="7752"/>
                  <a:pt x="19440" y="8836"/>
                </a:cubicBezTo>
                <a:cubicBezTo>
                  <a:pt x="19440" y="8836"/>
                  <a:pt x="19440" y="10800"/>
                  <a:pt x="19440" y="10800"/>
                </a:cubicBezTo>
                <a:close/>
                <a:moveTo>
                  <a:pt x="19440" y="15709"/>
                </a:moveTo>
                <a:lnTo>
                  <a:pt x="2160" y="15709"/>
                </a:lnTo>
                <a:lnTo>
                  <a:pt x="2160" y="11782"/>
                </a:lnTo>
                <a:lnTo>
                  <a:pt x="19440" y="11782"/>
                </a:lnTo>
                <a:cubicBezTo>
                  <a:pt x="19440" y="11782"/>
                  <a:pt x="19440" y="15709"/>
                  <a:pt x="19440" y="15709"/>
                </a:cubicBezTo>
                <a:close/>
                <a:moveTo>
                  <a:pt x="19440" y="18655"/>
                </a:moveTo>
                <a:cubicBezTo>
                  <a:pt x="19440" y="19739"/>
                  <a:pt x="17506" y="20618"/>
                  <a:pt x="15120" y="20618"/>
                </a:cubicBezTo>
                <a:lnTo>
                  <a:pt x="6480" y="20618"/>
                </a:lnTo>
                <a:cubicBezTo>
                  <a:pt x="4094" y="20618"/>
                  <a:pt x="2160" y="19739"/>
                  <a:pt x="2160" y="18655"/>
                </a:cubicBezTo>
                <a:lnTo>
                  <a:pt x="2160" y="16691"/>
                </a:lnTo>
                <a:lnTo>
                  <a:pt x="19440" y="16691"/>
                </a:lnTo>
                <a:cubicBezTo>
                  <a:pt x="19440" y="16691"/>
                  <a:pt x="19440" y="18655"/>
                  <a:pt x="19440" y="18655"/>
                </a:cubicBezTo>
                <a:close/>
                <a:moveTo>
                  <a:pt x="8640" y="2945"/>
                </a:moveTo>
                <a:lnTo>
                  <a:pt x="12960" y="2945"/>
                </a:lnTo>
                <a:lnTo>
                  <a:pt x="12960" y="5891"/>
                </a:lnTo>
                <a:lnTo>
                  <a:pt x="8640" y="5891"/>
                </a:lnTo>
                <a:cubicBezTo>
                  <a:pt x="8640" y="5891"/>
                  <a:pt x="8640" y="2945"/>
                  <a:pt x="8640" y="2945"/>
                </a:cubicBezTo>
                <a:close/>
                <a:moveTo>
                  <a:pt x="8640" y="982"/>
                </a:moveTo>
                <a:lnTo>
                  <a:pt x="12960" y="982"/>
                </a:lnTo>
                <a:lnTo>
                  <a:pt x="12960" y="1964"/>
                </a:lnTo>
                <a:lnTo>
                  <a:pt x="8640" y="1964"/>
                </a:lnTo>
                <a:cubicBezTo>
                  <a:pt x="8640" y="1964"/>
                  <a:pt x="8640" y="982"/>
                  <a:pt x="8640" y="982"/>
                </a:cubicBezTo>
                <a:close/>
                <a:moveTo>
                  <a:pt x="15120" y="5891"/>
                </a:moveTo>
                <a:lnTo>
                  <a:pt x="15120" y="982"/>
                </a:lnTo>
                <a:cubicBezTo>
                  <a:pt x="15120" y="440"/>
                  <a:pt x="14152" y="0"/>
                  <a:pt x="12960" y="0"/>
                </a:cubicBezTo>
                <a:lnTo>
                  <a:pt x="8640" y="0"/>
                </a:lnTo>
                <a:cubicBezTo>
                  <a:pt x="7448" y="0"/>
                  <a:pt x="6480" y="440"/>
                  <a:pt x="6480" y="982"/>
                </a:cubicBezTo>
                <a:lnTo>
                  <a:pt x="6480" y="5891"/>
                </a:lnTo>
                <a:cubicBezTo>
                  <a:pt x="2901" y="5891"/>
                  <a:pt x="0" y="7209"/>
                  <a:pt x="0" y="8836"/>
                </a:cubicBezTo>
                <a:lnTo>
                  <a:pt x="0" y="18655"/>
                </a:lnTo>
                <a:cubicBezTo>
                  <a:pt x="0" y="20281"/>
                  <a:pt x="2901" y="21600"/>
                  <a:pt x="6480" y="21600"/>
                </a:cubicBezTo>
                <a:lnTo>
                  <a:pt x="15120" y="21600"/>
                </a:lnTo>
                <a:cubicBezTo>
                  <a:pt x="18698" y="21600"/>
                  <a:pt x="21600" y="20281"/>
                  <a:pt x="21600" y="18655"/>
                </a:cubicBezTo>
                <a:lnTo>
                  <a:pt x="21600" y="8836"/>
                </a:lnTo>
                <a:cubicBezTo>
                  <a:pt x="21600" y="7209"/>
                  <a:pt x="18698" y="5891"/>
                  <a:pt x="1512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1" name="Shape 2751"/>
          <p:cNvSpPr/>
          <p:nvPr/>
        </p:nvSpPr>
        <p:spPr>
          <a:xfrm>
            <a:off x="5917075" y="3079463"/>
            <a:ext cx="133315" cy="209495"/>
          </a:xfrm>
          <a:custGeom>
            <a:avLst/>
            <a:gdLst/>
            <a:ahLst/>
            <a:cxnLst>
              <a:cxn ang="0">
                <a:pos x="wd2" y="hd2"/>
              </a:cxn>
              <a:cxn ang="5400000">
                <a:pos x="wd2" y="hd2"/>
              </a:cxn>
              <a:cxn ang="10800000">
                <a:pos x="wd2" y="hd2"/>
              </a:cxn>
              <a:cxn ang="16200000">
                <a:pos x="wd2" y="hd2"/>
              </a:cxn>
            </a:cxnLst>
            <a:rect l="0" t="0" r="r" b="b"/>
            <a:pathLst>
              <a:path w="21600" h="21600" extrusionOk="0">
                <a:moveTo>
                  <a:pt x="13114" y="15709"/>
                </a:moveTo>
                <a:cubicBezTo>
                  <a:pt x="12689" y="15709"/>
                  <a:pt x="12343" y="15929"/>
                  <a:pt x="12343" y="16200"/>
                </a:cubicBezTo>
                <a:cubicBezTo>
                  <a:pt x="12343" y="16471"/>
                  <a:pt x="12689" y="16691"/>
                  <a:pt x="13114" y="16691"/>
                </a:cubicBezTo>
                <a:cubicBezTo>
                  <a:pt x="13540" y="16691"/>
                  <a:pt x="13886" y="16471"/>
                  <a:pt x="13886" y="16200"/>
                </a:cubicBezTo>
                <a:cubicBezTo>
                  <a:pt x="13886" y="15929"/>
                  <a:pt x="13540" y="15709"/>
                  <a:pt x="13114" y="15709"/>
                </a:cubicBezTo>
                <a:moveTo>
                  <a:pt x="13886" y="7855"/>
                </a:moveTo>
                <a:cubicBezTo>
                  <a:pt x="13034" y="7855"/>
                  <a:pt x="12343" y="8295"/>
                  <a:pt x="12343" y="8836"/>
                </a:cubicBezTo>
                <a:cubicBezTo>
                  <a:pt x="12343" y="9379"/>
                  <a:pt x="13034" y="9818"/>
                  <a:pt x="13886" y="9818"/>
                </a:cubicBezTo>
                <a:cubicBezTo>
                  <a:pt x="14737" y="9818"/>
                  <a:pt x="15429" y="9379"/>
                  <a:pt x="15429" y="8836"/>
                </a:cubicBezTo>
                <a:cubicBezTo>
                  <a:pt x="15429" y="8295"/>
                  <a:pt x="14737" y="7855"/>
                  <a:pt x="13886" y="7855"/>
                </a:cubicBezTo>
                <a:moveTo>
                  <a:pt x="8486" y="17673"/>
                </a:moveTo>
                <a:cubicBezTo>
                  <a:pt x="8060" y="17673"/>
                  <a:pt x="7714" y="17892"/>
                  <a:pt x="7714" y="18164"/>
                </a:cubicBezTo>
                <a:cubicBezTo>
                  <a:pt x="7714" y="18435"/>
                  <a:pt x="8060" y="18655"/>
                  <a:pt x="8486" y="18655"/>
                </a:cubicBezTo>
                <a:cubicBezTo>
                  <a:pt x="8911" y="18655"/>
                  <a:pt x="9257" y="18435"/>
                  <a:pt x="9257" y="18164"/>
                </a:cubicBezTo>
                <a:cubicBezTo>
                  <a:pt x="9257" y="17892"/>
                  <a:pt x="8911" y="17673"/>
                  <a:pt x="8486" y="17673"/>
                </a:cubicBezTo>
                <a:moveTo>
                  <a:pt x="9257" y="10800"/>
                </a:moveTo>
                <a:cubicBezTo>
                  <a:pt x="9257" y="10258"/>
                  <a:pt x="8566" y="9818"/>
                  <a:pt x="7714" y="9818"/>
                </a:cubicBezTo>
                <a:cubicBezTo>
                  <a:pt x="6863" y="9818"/>
                  <a:pt x="6171" y="10258"/>
                  <a:pt x="6171" y="10800"/>
                </a:cubicBezTo>
                <a:cubicBezTo>
                  <a:pt x="6171" y="11343"/>
                  <a:pt x="6863" y="11782"/>
                  <a:pt x="7714" y="11782"/>
                </a:cubicBezTo>
                <a:cubicBezTo>
                  <a:pt x="8566" y="11782"/>
                  <a:pt x="9257" y="11343"/>
                  <a:pt x="9257" y="10800"/>
                </a:cubicBezTo>
                <a:moveTo>
                  <a:pt x="10029" y="13745"/>
                </a:moveTo>
                <a:cubicBezTo>
                  <a:pt x="9603" y="13745"/>
                  <a:pt x="9257" y="13965"/>
                  <a:pt x="9257" y="14236"/>
                </a:cubicBezTo>
                <a:cubicBezTo>
                  <a:pt x="9257" y="14508"/>
                  <a:pt x="9603" y="14727"/>
                  <a:pt x="10029" y="14727"/>
                </a:cubicBezTo>
                <a:cubicBezTo>
                  <a:pt x="10454" y="14727"/>
                  <a:pt x="10800" y="14508"/>
                  <a:pt x="10800" y="14236"/>
                </a:cubicBezTo>
                <a:cubicBezTo>
                  <a:pt x="10800" y="13965"/>
                  <a:pt x="10454" y="13745"/>
                  <a:pt x="10029" y="13745"/>
                </a:cubicBezTo>
                <a:moveTo>
                  <a:pt x="20057" y="1964"/>
                </a:moveTo>
                <a:lnTo>
                  <a:pt x="1543" y="1964"/>
                </a:lnTo>
                <a:lnTo>
                  <a:pt x="1543" y="982"/>
                </a:lnTo>
                <a:lnTo>
                  <a:pt x="20057" y="982"/>
                </a:lnTo>
                <a:cubicBezTo>
                  <a:pt x="20057" y="982"/>
                  <a:pt x="20057" y="1964"/>
                  <a:pt x="20057" y="1964"/>
                </a:cubicBezTo>
                <a:close/>
                <a:moveTo>
                  <a:pt x="16971" y="4033"/>
                </a:moveTo>
                <a:cubicBezTo>
                  <a:pt x="16079" y="4186"/>
                  <a:pt x="15266" y="4419"/>
                  <a:pt x="14349" y="4691"/>
                </a:cubicBezTo>
                <a:cubicBezTo>
                  <a:pt x="13209" y="5030"/>
                  <a:pt x="11919" y="5413"/>
                  <a:pt x="9994" y="5794"/>
                </a:cubicBezTo>
                <a:cubicBezTo>
                  <a:pt x="8093" y="6170"/>
                  <a:pt x="6167" y="5840"/>
                  <a:pt x="4629" y="5373"/>
                </a:cubicBezTo>
                <a:lnTo>
                  <a:pt x="4629" y="2945"/>
                </a:lnTo>
                <a:lnTo>
                  <a:pt x="16971" y="2945"/>
                </a:lnTo>
                <a:cubicBezTo>
                  <a:pt x="16971" y="2945"/>
                  <a:pt x="16971" y="4033"/>
                  <a:pt x="16971" y="4033"/>
                </a:cubicBezTo>
                <a:close/>
                <a:moveTo>
                  <a:pt x="16971" y="16691"/>
                </a:moveTo>
                <a:cubicBezTo>
                  <a:pt x="16971" y="18860"/>
                  <a:pt x="14208" y="20618"/>
                  <a:pt x="10800" y="20618"/>
                </a:cubicBezTo>
                <a:cubicBezTo>
                  <a:pt x="7391" y="20618"/>
                  <a:pt x="4629" y="18860"/>
                  <a:pt x="4629" y="16691"/>
                </a:cubicBezTo>
                <a:lnTo>
                  <a:pt x="4629" y="6384"/>
                </a:lnTo>
                <a:cubicBezTo>
                  <a:pt x="5722" y="6667"/>
                  <a:pt x="6954" y="6874"/>
                  <a:pt x="8257" y="6874"/>
                </a:cubicBezTo>
                <a:cubicBezTo>
                  <a:pt x="8984" y="6874"/>
                  <a:pt x="9731" y="6811"/>
                  <a:pt x="10481" y="6662"/>
                </a:cubicBezTo>
                <a:cubicBezTo>
                  <a:pt x="12512" y="6261"/>
                  <a:pt x="13914" y="5844"/>
                  <a:pt x="15040" y="5510"/>
                </a:cubicBezTo>
                <a:cubicBezTo>
                  <a:pt x="15760" y="5295"/>
                  <a:pt x="16366" y="5119"/>
                  <a:pt x="16971" y="4989"/>
                </a:cubicBezTo>
                <a:cubicBezTo>
                  <a:pt x="16971" y="4989"/>
                  <a:pt x="16971" y="16691"/>
                  <a:pt x="16971" y="16691"/>
                </a:cubicBezTo>
                <a:close/>
                <a:moveTo>
                  <a:pt x="20057" y="0"/>
                </a:moveTo>
                <a:lnTo>
                  <a:pt x="1543" y="0"/>
                </a:lnTo>
                <a:cubicBezTo>
                  <a:pt x="691" y="0"/>
                  <a:pt x="0" y="440"/>
                  <a:pt x="0" y="982"/>
                </a:cubicBezTo>
                <a:lnTo>
                  <a:pt x="0" y="1964"/>
                </a:lnTo>
                <a:cubicBezTo>
                  <a:pt x="0" y="2506"/>
                  <a:pt x="691" y="2945"/>
                  <a:pt x="1543" y="2945"/>
                </a:cubicBezTo>
                <a:lnTo>
                  <a:pt x="3086" y="2945"/>
                </a:lnTo>
                <a:lnTo>
                  <a:pt x="3086" y="16691"/>
                </a:lnTo>
                <a:cubicBezTo>
                  <a:pt x="3086" y="19402"/>
                  <a:pt x="6539" y="21600"/>
                  <a:pt x="10800" y="21600"/>
                </a:cubicBezTo>
                <a:cubicBezTo>
                  <a:pt x="15061" y="21600"/>
                  <a:pt x="18514" y="19402"/>
                  <a:pt x="18514" y="16691"/>
                </a:cubicBezTo>
                <a:lnTo>
                  <a:pt x="18514" y="2945"/>
                </a:lnTo>
                <a:lnTo>
                  <a:pt x="20057" y="2945"/>
                </a:lnTo>
                <a:cubicBezTo>
                  <a:pt x="20909" y="2945"/>
                  <a:pt x="21600" y="2506"/>
                  <a:pt x="21600" y="1964"/>
                </a:cubicBezTo>
                <a:lnTo>
                  <a:pt x="21600" y="982"/>
                </a:lnTo>
                <a:cubicBezTo>
                  <a:pt x="21600" y="440"/>
                  <a:pt x="20909" y="0"/>
                  <a:pt x="20057"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2" name="Shape 2752"/>
          <p:cNvSpPr/>
          <p:nvPr/>
        </p:nvSpPr>
        <p:spPr>
          <a:xfrm>
            <a:off x="6297976"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00" y="17673"/>
                </a:moveTo>
                <a:cubicBezTo>
                  <a:pt x="12269" y="17673"/>
                  <a:pt x="12000" y="17892"/>
                  <a:pt x="12000" y="18164"/>
                </a:cubicBezTo>
                <a:cubicBezTo>
                  <a:pt x="12000" y="18435"/>
                  <a:pt x="12269" y="18655"/>
                  <a:pt x="12600" y="18655"/>
                </a:cubicBezTo>
                <a:cubicBezTo>
                  <a:pt x="12931" y="18655"/>
                  <a:pt x="13200" y="18435"/>
                  <a:pt x="13200" y="18164"/>
                </a:cubicBezTo>
                <a:cubicBezTo>
                  <a:pt x="13200" y="17892"/>
                  <a:pt x="12931" y="17673"/>
                  <a:pt x="12600" y="17673"/>
                </a:cubicBezTo>
                <a:moveTo>
                  <a:pt x="10800" y="13745"/>
                </a:moveTo>
                <a:cubicBezTo>
                  <a:pt x="10138" y="13745"/>
                  <a:pt x="9600" y="14186"/>
                  <a:pt x="9600" y="14727"/>
                </a:cubicBezTo>
                <a:cubicBezTo>
                  <a:pt x="9600" y="15269"/>
                  <a:pt x="10138" y="15709"/>
                  <a:pt x="10800" y="15709"/>
                </a:cubicBezTo>
                <a:cubicBezTo>
                  <a:pt x="11462" y="15709"/>
                  <a:pt x="12000" y="15269"/>
                  <a:pt x="12000" y="14727"/>
                </a:cubicBezTo>
                <a:cubicBezTo>
                  <a:pt x="12000" y="14186"/>
                  <a:pt x="11462" y="13745"/>
                  <a:pt x="10800" y="13745"/>
                </a:cubicBezTo>
                <a:moveTo>
                  <a:pt x="12600" y="10800"/>
                </a:moveTo>
                <a:cubicBezTo>
                  <a:pt x="12269" y="10800"/>
                  <a:pt x="12000" y="10580"/>
                  <a:pt x="12000" y="10309"/>
                </a:cubicBezTo>
                <a:cubicBezTo>
                  <a:pt x="12000" y="10038"/>
                  <a:pt x="12269" y="9818"/>
                  <a:pt x="12600" y="9818"/>
                </a:cubicBezTo>
                <a:cubicBezTo>
                  <a:pt x="12931" y="9818"/>
                  <a:pt x="13200" y="10038"/>
                  <a:pt x="13200" y="10309"/>
                </a:cubicBezTo>
                <a:cubicBezTo>
                  <a:pt x="13200" y="10580"/>
                  <a:pt x="12931" y="10800"/>
                  <a:pt x="12600" y="10800"/>
                </a:cubicBezTo>
                <a:moveTo>
                  <a:pt x="12600" y="8836"/>
                </a:moveTo>
                <a:cubicBezTo>
                  <a:pt x="11606" y="8836"/>
                  <a:pt x="10800" y="9496"/>
                  <a:pt x="10800" y="10309"/>
                </a:cubicBezTo>
                <a:cubicBezTo>
                  <a:pt x="10800" y="11123"/>
                  <a:pt x="11606" y="11782"/>
                  <a:pt x="12600" y="11782"/>
                </a:cubicBezTo>
                <a:cubicBezTo>
                  <a:pt x="13594" y="11782"/>
                  <a:pt x="14400" y="11123"/>
                  <a:pt x="14400" y="10309"/>
                </a:cubicBezTo>
                <a:cubicBezTo>
                  <a:pt x="14400" y="9496"/>
                  <a:pt x="13594" y="8836"/>
                  <a:pt x="12600" y="8836"/>
                </a:cubicBezTo>
                <a:moveTo>
                  <a:pt x="17760" y="20618"/>
                </a:moveTo>
                <a:lnTo>
                  <a:pt x="3840" y="20618"/>
                </a:lnTo>
                <a:cubicBezTo>
                  <a:pt x="2134" y="19151"/>
                  <a:pt x="1200" y="17248"/>
                  <a:pt x="1200" y="15218"/>
                </a:cubicBezTo>
                <a:cubicBezTo>
                  <a:pt x="1200" y="12593"/>
                  <a:pt x="2796" y="10152"/>
                  <a:pt x="5468" y="8688"/>
                </a:cubicBezTo>
                <a:cubicBezTo>
                  <a:pt x="5800" y="8506"/>
                  <a:pt x="6000" y="8199"/>
                  <a:pt x="6000" y="7872"/>
                </a:cubicBezTo>
                <a:lnTo>
                  <a:pt x="6000" y="6529"/>
                </a:lnTo>
                <a:cubicBezTo>
                  <a:pt x="6729" y="6758"/>
                  <a:pt x="7567" y="6924"/>
                  <a:pt x="8484" y="6924"/>
                </a:cubicBezTo>
                <a:cubicBezTo>
                  <a:pt x="9499" y="6924"/>
                  <a:pt x="10603" y="6723"/>
                  <a:pt x="11748" y="6188"/>
                </a:cubicBezTo>
                <a:cubicBezTo>
                  <a:pt x="13252" y="5485"/>
                  <a:pt x="14575" y="5306"/>
                  <a:pt x="15600" y="5323"/>
                </a:cubicBezTo>
                <a:lnTo>
                  <a:pt x="15600" y="7872"/>
                </a:lnTo>
                <a:cubicBezTo>
                  <a:pt x="15600" y="8199"/>
                  <a:pt x="15800" y="8506"/>
                  <a:pt x="16132" y="8688"/>
                </a:cubicBezTo>
                <a:cubicBezTo>
                  <a:pt x="18804" y="10152"/>
                  <a:pt x="20400" y="12593"/>
                  <a:pt x="20400" y="15218"/>
                </a:cubicBezTo>
                <a:cubicBezTo>
                  <a:pt x="20400" y="17248"/>
                  <a:pt x="19466" y="19151"/>
                  <a:pt x="17760" y="20618"/>
                </a:cubicBezTo>
                <a:moveTo>
                  <a:pt x="15600" y="2945"/>
                </a:moveTo>
                <a:lnTo>
                  <a:pt x="15600" y="4340"/>
                </a:lnTo>
                <a:cubicBezTo>
                  <a:pt x="14391" y="4322"/>
                  <a:pt x="12860" y="4538"/>
                  <a:pt x="11152" y="5336"/>
                </a:cubicBezTo>
                <a:cubicBezTo>
                  <a:pt x="9163" y="6265"/>
                  <a:pt x="7312" y="5965"/>
                  <a:pt x="6000" y="5473"/>
                </a:cubicBezTo>
                <a:lnTo>
                  <a:pt x="6000" y="2945"/>
                </a:lnTo>
                <a:cubicBezTo>
                  <a:pt x="6000" y="2945"/>
                  <a:pt x="15600" y="2945"/>
                  <a:pt x="15600" y="2945"/>
                </a:cubicBezTo>
                <a:close/>
                <a:moveTo>
                  <a:pt x="3600" y="982"/>
                </a:moveTo>
                <a:lnTo>
                  <a:pt x="18000" y="982"/>
                </a:lnTo>
                <a:lnTo>
                  <a:pt x="18000" y="1964"/>
                </a:lnTo>
                <a:lnTo>
                  <a:pt x="3600" y="1964"/>
                </a:lnTo>
                <a:cubicBezTo>
                  <a:pt x="3600" y="1964"/>
                  <a:pt x="3600" y="982"/>
                  <a:pt x="3600" y="982"/>
                </a:cubicBezTo>
                <a:close/>
                <a:moveTo>
                  <a:pt x="16800" y="7872"/>
                </a:moveTo>
                <a:lnTo>
                  <a:pt x="16800" y="2945"/>
                </a:ln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800" y="2945"/>
                </a:lnTo>
                <a:lnTo>
                  <a:pt x="4800" y="7872"/>
                </a:lnTo>
                <a:cubicBezTo>
                  <a:pt x="1906" y="9457"/>
                  <a:pt x="0" y="12155"/>
                  <a:pt x="0" y="15218"/>
                </a:cubicBezTo>
                <a:cubicBezTo>
                  <a:pt x="0" y="17730"/>
                  <a:pt x="1286" y="19991"/>
                  <a:pt x="3342" y="21600"/>
                </a:cubicBezTo>
                <a:lnTo>
                  <a:pt x="18258" y="21600"/>
                </a:lnTo>
                <a:cubicBezTo>
                  <a:pt x="20313" y="19991"/>
                  <a:pt x="21600" y="17730"/>
                  <a:pt x="21600" y="15218"/>
                </a:cubicBezTo>
                <a:cubicBezTo>
                  <a:pt x="21600" y="12155"/>
                  <a:pt x="19693" y="9457"/>
                  <a:pt x="16800" y="7872"/>
                </a:cubicBezTo>
                <a:moveTo>
                  <a:pt x="16200" y="15709"/>
                </a:moveTo>
                <a:cubicBezTo>
                  <a:pt x="15869" y="15709"/>
                  <a:pt x="15600" y="15929"/>
                  <a:pt x="15600" y="16200"/>
                </a:cubicBezTo>
                <a:cubicBezTo>
                  <a:pt x="15600" y="16471"/>
                  <a:pt x="15869" y="16691"/>
                  <a:pt x="16200" y="16691"/>
                </a:cubicBezTo>
                <a:cubicBezTo>
                  <a:pt x="16531" y="16691"/>
                  <a:pt x="16800" y="16471"/>
                  <a:pt x="16800" y="16200"/>
                </a:cubicBezTo>
                <a:cubicBezTo>
                  <a:pt x="16800" y="15929"/>
                  <a:pt x="16531" y="15709"/>
                  <a:pt x="16200" y="15709"/>
                </a:cubicBezTo>
                <a:moveTo>
                  <a:pt x="7800" y="11782"/>
                </a:moveTo>
                <a:cubicBezTo>
                  <a:pt x="7469" y="11782"/>
                  <a:pt x="7200" y="12001"/>
                  <a:pt x="7200" y="12273"/>
                </a:cubicBezTo>
                <a:cubicBezTo>
                  <a:pt x="7200" y="12544"/>
                  <a:pt x="7469" y="12764"/>
                  <a:pt x="7800" y="12764"/>
                </a:cubicBezTo>
                <a:cubicBezTo>
                  <a:pt x="8131" y="12764"/>
                  <a:pt x="8400" y="12544"/>
                  <a:pt x="8400" y="12273"/>
                </a:cubicBezTo>
                <a:cubicBezTo>
                  <a:pt x="8400" y="12001"/>
                  <a:pt x="8131" y="11782"/>
                  <a:pt x="7800" y="11782"/>
                </a:cubicBezTo>
                <a:moveTo>
                  <a:pt x="6000" y="15709"/>
                </a:moveTo>
                <a:cubicBezTo>
                  <a:pt x="5338" y="15709"/>
                  <a:pt x="4800" y="16149"/>
                  <a:pt x="4800" y="16691"/>
                </a:cubicBezTo>
                <a:cubicBezTo>
                  <a:pt x="4800" y="17233"/>
                  <a:pt x="5338" y="17673"/>
                  <a:pt x="6000" y="17673"/>
                </a:cubicBezTo>
                <a:cubicBezTo>
                  <a:pt x="6662" y="17673"/>
                  <a:pt x="7200" y="17233"/>
                  <a:pt x="7200" y="16691"/>
                </a:cubicBezTo>
                <a:cubicBezTo>
                  <a:pt x="7200" y="16149"/>
                  <a:pt x="6662" y="15709"/>
                  <a:pt x="6000"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3" name="Shape 2753"/>
          <p:cNvSpPr/>
          <p:nvPr/>
        </p:nvSpPr>
        <p:spPr>
          <a:xfrm>
            <a:off x="6697921"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00" y="18655"/>
                </a:moveTo>
                <a:cubicBezTo>
                  <a:pt x="13468" y="18655"/>
                  <a:pt x="13200" y="18874"/>
                  <a:pt x="13200" y="19145"/>
                </a:cubicBezTo>
                <a:cubicBezTo>
                  <a:pt x="13200" y="19417"/>
                  <a:pt x="13468" y="19636"/>
                  <a:pt x="13800" y="19636"/>
                </a:cubicBezTo>
                <a:cubicBezTo>
                  <a:pt x="14132" y="19636"/>
                  <a:pt x="14400" y="19417"/>
                  <a:pt x="14400" y="19145"/>
                </a:cubicBezTo>
                <a:cubicBezTo>
                  <a:pt x="14400" y="18874"/>
                  <a:pt x="14132" y="18655"/>
                  <a:pt x="13800" y="18655"/>
                </a:cubicBezTo>
                <a:moveTo>
                  <a:pt x="10200" y="15709"/>
                </a:moveTo>
                <a:cubicBezTo>
                  <a:pt x="9868" y="15709"/>
                  <a:pt x="9600" y="15490"/>
                  <a:pt x="9600" y="15218"/>
                </a:cubicBezTo>
                <a:cubicBezTo>
                  <a:pt x="9600" y="14947"/>
                  <a:pt x="9868" y="14727"/>
                  <a:pt x="10200" y="14727"/>
                </a:cubicBezTo>
                <a:cubicBezTo>
                  <a:pt x="10532" y="14727"/>
                  <a:pt x="10800" y="14947"/>
                  <a:pt x="10800" y="15218"/>
                </a:cubicBezTo>
                <a:cubicBezTo>
                  <a:pt x="10800" y="15490"/>
                  <a:pt x="10532" y="15709"/>
                  <a:pt x="10200" y="15709"/>
                </a:cubicBezTo>
                <a:moveTo>
                  <a:pt x="10200" y="13745"/>
                </a:moveTo>
                <a:cubicBezTo>
                  <a:pt x="9206" y="13745"/>
                  <a:pt x="8400" y="14405"/>
                  <a:pt x="8400" y="15218"/>
                </a:cubicBezTo>
                <a:cubicBezTo>
                  <a:pt x="8400" y="16031"/>
                  <a:pt x="9206" y="16691"/>
                  <a:pt x="10200" y="16691"/>
                </a:cubicBezTo>
                <a:cubicBezTo>
                  <a:pt x="11194" y="16691"/>
                  <a:pt x="12000" y="16031"/>
                  <a:pt x="12000" y="15218"/>
                </a:cubicBezTo>
                <a:cubicBezTo>
                  <a:pt x="12000" y="14405"/>
                  <a:pt x="11194" y="13745"/>
                  <a:pt x="10200" y="13745"/>
                </a:cubicBezTo>
                <a:moveTo>
                  <a:pt x="15600" y="13745"/>
                </a:moveTo>
                <a:cubicBezTo>
                  <a:pt x="14938" y="13745"/>
                  <a:pt x="14400" y="14186"/>
                  <a:pt x="14400" y="14727"/>
                </a:cubicBezTo>
                <a:cubicBezTo>
                  <a:pt x="14400" y="15269"/>
                  <a:pt x="14938" y="15709"/>
                  <a:pt x="15600" y="15709"/>
                </a:cubicBezTo>
                <a:cubicBezTo>
                  <a:pt x="16262" y="15709"/>
                  <a:pt x="16800" y="15269"/>
                  <a:pt x="16800" y="14727"/>
                </a:cubicBezTo>
                <a:cubicBezTo>
                  <a:pt x="16800" y="14186"/>
                  <a:pt x="16262" y="13745"/>
                  <a:pt x="15600" y="13745"/>
                </a:cubicBezTo>
                <a:moveTo>
                  <a:pt x="14400" y="20618"/>
                </a:moveTo>
                <a:lnTo>
                  <a:pt x="7200" y="20618"/>
                </a:lnTo>
                <a:cubicBezTo>
                  <a:pt x="3892" y="20618"/>
                  <a:pt x="1200" y="18416"/>
                  <a:pt x="1200" y="15709"/>
                </a:cubicBezTo>
                <a:cubicBezTo>
                  <a:pt x="1200" y="13123"/>
                  <a:pt x="2182" y="11620"/>
                  <a:pt x="3320" y="9880"/>
                </a:cubicBezTo>
                <a:cubicBezTo>
                  <a:pt x="3477" y="9639"/>
                  <a:pt x="3636" y="9392"/>
                  <a:pt x="3797" y="9140"/>
                </a:cubicBezTo>
                <a:cubicBezTo>
                  <a:pt x="3905" y="9093"/>
                  <a:pt x="6420" y="8038"/>
                  <a:pt x="9814" y="9625"/>
                </a:cubicBezTo>
                <a:cubicBezTo>
                  <a:pt x="10959" y="10160"/>
                  <a:pt x="12064" y="10360"/>
                  <a:pt x="13079" y="10360"/>
                </a:cubicBezTo>
                <a:cubicBezTo>
                  <a:pt x="15152" y="10360"/>
                  <a:pt x="16846" y="9523"/>
                  <a:pt x="17711" y="8991"/>
                </a:cubicBezTo>
                <a:cubicBezTo>
                  <a:pt x="17902" y="9295"/>
                  <a:pt x="18093" y="9592"/>
                  <a:pt x="18280" y="9880"/>
                </a:cubicBezTo>
                <a:cubicBezTo>
                  <a:pt x="19418" y="11620"/>
                  <a:pt x="20400" y="13123"/>
                  <a:pt x="20400" y="15709"/>
                </a:cubicBezTo>
                <a:cubicBezTo>
                  <a:pt x="20400" y="18416"/>
                  <a:pt x="17708" y="20618"/>
                  <a:pt x="14400" y="20618"/>
                </a:cubicBezTo>
                <a:moveTo>
                  <a:pt x="5967" y="2945"/>
                </a:moveTo>
                <a:lnTo>
                  <a:pt x="15633" y="2945"/>
                </a:lnTo>
                <a:cubicBezTo>
                  <a:pt x="15782" y="5133"/>
                  <a:pt x="16425" y="6735"/>
                  <a:pt x="17180" y="8090"/>
                </a:cubicBezTo>
                <a:cubicBezTo>
                  <a:pt x="16281" y="8690"/>
                  <a:pt x="13509" y="10220"/>
                  <a:pt x="10410" y="8772"/>
                </a:cubicBezTo>
                <a:cubicBezTo>
                  <a:pt x="7921" y="7609"/>
                  <a:pt x="5800" y="7679"/>
                  <a:pt x="4520" y="7912"/>
                </a:cubicBezTo>
                <a:cubicBezTo>
                  <a:pt x="5231" y="6594"/>
                  <a:pt x="5824" y="5037"/>
                  <a:pt x="5967" y="2945"/>
                </a:cubicBezTo>
                <a:moveTo>
                  <a:pt x="3600" y="982"/>
                </a:moveTo>
                <a:lnTo>
                  <a:pt x="18000" y="982"/>
                </a:lnTo>
                <a:lnTo>
                  <a:pt x="18000" y="1964"/>
                </a:lnTo>
                <a:lnTo>
                  <a:pt x="3600" y="1964"/>
                </a:lnTo>
                <a:cubicBezTo>
                  <a:pt x="3600" y="1964"/>
                  <a:pt x="3600" y="982"/>
                  <a:pt x="3600" y="982"/>
                </a:cubicBezTo>
                <a:close/>
                <a:moveTo>
                  <a:pt x="16843" y="2945"/>
                </a:moveTo>
                <a:lnTo>
                  <a:pt x="18000" y="2945"/>
                </a:lnTo>
                <a:cubicBezTo>
                  <a:pt x="18662" y="2945"/>
                  <a:pt x="19200" y="2505"/>
                  <a:pt x="19200" y="1964"/>
                </a:cubicBezTo>
                <a:lnTo>
                  <a:pt x="19200" y="982"/>
                </a:lnTo>
                <a:cubicBezTo>
                  <a:pt x="19200" y="440"/>
                  <a:pt x="18662" y="0"/>
                  <a:pt x="18000" y="0"/>
                </a:cubicBezTo>
                <a:lnTo>
                  <a:pt x="3600" y="0"/>
                </a:lnTo>
                <a:cubicBezTo>
                  <a:pt x="2938" y="0"/>
                  <a:pt x="2400" y="440"/>
                  <a:pt x="2400" y="982"/>
                </a:cubicBezTo>
                <a:lnTo>
                  <a:pt x="2400" y="1964"/>
                </a:lnTo>
                <a:cubicBezTo>
                  <a:pt x="2400" y="2505"/>
                  <a:pt x="2938" y="2945"/>
                  <a:pt x="3600" y="2945"/>
                </a:cubicBezTo>
                <a:lnTo>
                  <a:pt x="4757" y="2945"/>
                </a:lnTo>
                <a:cubicBezTo>
                  <a:pt x="4322" y="8937"/>
                  <a:pt x="0" y="10114"/>
                  <a:pt x="0" y="15709"/>
                </a:cubicBezTo>
                <a:cubicBezTo>
                  <a:pt x="0" y="18962"/>
                  <a:pt x="3224" y="21600"/>
                  <a:pt x="7200" y="21600"/>
                </a:cubicBezTo>
                <a:lnTo>
                  <a:pt x="14400" y="21600"/>
                </a:lnTo>
                <a:cubicBezTo>
                  <a:pt x="18376" y="21600"/>
                  <a:pt x="21600" y="18962"/>
                  <a:pt x="21600" y="15709"/>
                </a:cubicBezTo>
                <a:cubicBezTo>
                  <a:pt x="21600" y="10114"/>
                  <a:pt x="17278" y="8937"/>
                  <a:pt x="16843" y="2945"/>
                </a:cubicBezTo>
                <a:moveTo>
                  <a:pt x="17400" y="11782"/>
                </a:moveTo>
                <a:cubicBezTo>
                  <a:pt x="17068" y="11782"/>
                  <a:pt x="16800" y="12001"/>
                  <a:pt x="16800" y="12273"/>
                </a:cubicBezTo>
                <a:cubicBezTo>
                  <a:pt x="16800" y="12544"/>
                  <a:pt x="17068" y="12764"/>
                  <a:pt x="17400" y="12764"/>
                </a:cubicBezTo>
                <a:cubicBezTo>
                  <a:pt x="17732" y="12764"/>
                  <a:pt x="18000" y="12544"/>
                  <a:pt x="18000" y="12273"/>
                </a:cubicBezTo>
                <a:cubicBezTo>
                  <a:pt x="18000" y="12001"/>
                  <a:pt x="17732" y="11782"/>
                  <a:pt x="17400" y="11782"/>
                </a:cubicBezTo>
                <a:moveTo>
                  <a:pt x="6000" y="10800"/>
                </a:moveTo>
                <a:cubicBezTo>
                  <a:pt x="5338" y="10800"/>
                  <a:pt x="4800" y="11240"/>
                  <a:pt x="4800" y="11782"/>
                </a:cubicBezTo>
                <a:cubicBezTo>
                  <a:pt x="4800" y="12324"/>
                  <a:pt x="5338" y="12764"/>
                  <a:pt x="6000" y="12764"/>
                </a:cubicBezTo>
                <a:cubicBezTo>
                  <a:pt x="6662" y="12764"/>
                  <a:pt x="7200" y="12324"/>
                  <a:pt x="7200" y="11782"/>
                </a:cubicBezTo>
                <a:cubicBezTo>
                  <a:pt x="7200" y="11240"/>
                  <a:pt x="6662" y="10800"/>
                  <a:pt x="6000" y="10800"/>
                </a:cubicBezTo>
                <a:moveTo>
                  <a:pt x="5400" y="16691"/>
                </a:moveTo>
                <a:cubicBezTo>
                  <a:pt x="5068" y="16691"/>
                  <a:pt x="4800" y="16910"/>
                  <a:pt x="4800" y="17182"/>
                </a:cubicBezTo>
                <a:cubicBezTo>
                  <a:pt x="4800" y="17453"/>
                  <a:pt x="5068" y="17673"/>
                  <a:pt x="5400" y="17673"/>
                </a:cubicBezTo>
                <a:cubicBezTo>
                  <a:pt x="5732" y="17673"/>
                  <a:pt x="6000" y="17453"/>
                  <a:pt x="6000" y="17182"/>
                </a:cubicBezTo>
                <a:cubicBezTo>
                  <a:pt x="6000" y="16910"/>
                  <a:pt x="5732" y="16691"/>
                  <a:pt x="540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4" name="Shape 2754"/>
          <p:cNvSpPr/>
          <p:nvPr/>
        </p:nvSpPr>
        <p:spPr>
          <a:xfrm>
            <a:off x="7088345" y="3079463"/>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5709"/>
                </a:moveTo>
                <a:cubicBezTo>
                  <a:pt x="10203" y="15709"/>
                  <a:pt x="9720" y="16149"/>
                  <a:pt x="9720" y="16691"/>
                </a:cubicBezTo>
                <a:cubicBezTo>
                  <a:pt x="9720" y="17233"/>
                  <a:pt x="10203" y="17673"/>
                  <a:pt x="10800" y="17673"/>
                </a:cubicBezTo>
                <a:cubicBezTo>
                  <a:pt x="11396" y="17673"/>
                  <a:pt x="11880" y="17233"/>
                  <a:pt x="11880" y="16691"/>
                </a:cubicBezTo>
                <a:cubicBezTo>
                  <a:pt x="11880" y="16149"/>
                  <a:pt x="11396" y="15709"/>
                  <a:pt x="10800" y="15709"/>
                </a:cubicBezTo>
                <a:moveTo>
                  <a:pt x="12960" y="10800"/>
                </a:moveTo>
                <a:cubicBezTo>
                  <a:pt x="12363" y="10800"/>
                  <a:pt x="11880" y="11240"/>
                  <a:pt x="11880" y="11782"/>
                </a:cubicBezTo>
                <a:cubicBezTo>
                  <a:pt x="11880" y="12324"/>
                  <a:pt x="12363" y="12764"/>
                  <a:pt x="12960" y="12764"/>
                </a:cubicBezTo>
                <a:cubicBezTo>
                  <a:pt x="13556" y="12764"/>
                  <a:pt x="14040" y="12324"/>
                  <a:pt x="14040" y="11782"/>
                </a:cubicBezTo>
                <a:cubicBezTo>
                  <a:pt x="14040" y="11240"/>
                  <a:pt x="13556" y="10800"/>
                  <a:pt x="12960" y="10800"/>
                </a:cubicBezTo>
                <a:moveTo>
                  <a:pt x="15660" y="14727"/>
                </a:moveTo>
                <a:cubicBezTo>
                  <a:pt x="15362" y="14727"/>
                  <a:pt x="15120" y="14947"/>
                  <a:pt x="15120" y="15218"/>
                </a:cubicBezTo>
                <a:cubicBezTo>
                  <a:pt x="15120" y="15490"/>
                  <a:pt x="15362" y="15709"/>
                  <a:pt x="15660" y="15709"/>
                </a:cubicBezTo>
                <a:cubicBezTo>
                  <a:pt x="15958" y="15709"/>
                  <a:pt x="16200" y="15490"/>
                  <a:pt x="16200" y="15218"/>
                </a:cubicBezTo>
                <a:cubicBezTo>
                  <a:pt x="16200" y="14947"/>
                  <a:pt x="15958" y="14727"/>
                  <a:pt x="15660" y="14727"/>
                </a:cubicBezTo>
                <a:moveTo>
                  <a:pt x="16740" y="17673"/>
                </a:moveTo>
                <a:cubicBezTo>
                  <a:pt x="16442" y="17673"/>
                  <a:pt x="16200" y="17892"/>
                  <a:pt x="16200" y="18164"/>
                </a:cubicBezTo>
                <a:cubicBezTo>
                  <a:pt x="16200" y="18435"/>
                  <a:pt x="16442" y="18655"/>
                  <a:pt x="16740" y="18655"/>
                </a:cubicBezTo>
                <a:cubicBezTo>
                  <a:pt x="17038" y="18655"/>
                  <a:pt x="17280" y="18435"/>
                  <a:pt x="17280" y="18164"/>
                </a:cubicBezTo>
                <a:cubicBezTo>
                  <a:pt x="17280" y="17892"/>
                  <a:pt x="17038" y="17673"/>
                  <a:pt x="16740" y="17673"/>
                </a:cubicBezTo>
                <a:moveTo>
                  <a:pt x="7020" y="13745"/>
                </a:moveTo>
                <a:cubicBezTo>
                  <a:pt x="6722" y="13745"/>
                  <a:pt x="6480" y="13525"/>
                  <a:pt x="6480" y="13255"/>
                </a:cubicBezTo>
                <a:cubicBezTo>
                  <a:pt x="6480" y="12983"/>
                  <a:pt x="6722" y="12764"/>
                  <a:pt x="7020" y="12764"/>
                </a:cubicBezTo>
                <a:cubicBezTo>
                  <a:pt x="7318" y="12764"/>
                  <a:pt x="7560" y="12983"/>
                  <a:pt x="7560" y="13255"/>
                </a:cubicBezTo>
                <a:cubicBezTo>
                  <a:pt x="7560" y="13525"/>
                  <a:pt x="7318" y="13745"/>
                  <a:pt x="7020" y="13745"/>
                </a:cubicBezTo>
                <a:moveTo>
                  <a:pt x="7020" y="11782"/>
                </a:moveTo>
                <a:cubicBezTo>
                  <a:pt x="6126" y="11782"/>
                  <a:pt x="5400" y="12441"/>
                  <a:pt x="5400" y="13255"/>
                </a:cubicBezTo>
                <a:cubicBezTo>
                  <a:pt x="5400" y="14068"/>
                  <a:pt x="6126" y="14727"/>
                  <a:pt x="7020" y="14727"/>
                </a:cubicBezTo>
                <a:cubicBezTo>
                  <a:pt x="7914" y="14727"/>
                  <a:pt x="8640" y="14068"/>
                  <a:pt x="8640" y="13255"/>
                </a:cubicBezTo>
                <a:cubicBezTo>
                  <a:pt x="8640" y="12441"/>
                  <a:pt x="7914" y="11782"/>
                  <a:pt x="7020" y="11782"/>
                </a:cubicBezTo>
                <a:moveTo>
                  <a:pt x="16200" y="20618"/>
                </a:moveTo>
                <a:lnTo>
                  <a:pt x="5400" y="20618"/>
                </a:lnTo>
                <a:cubicBezTo>
                  <a:pt x="5224" y="20618"/>
                  <a:pt x="1080" y="20574"/>
                  <a:pt x="1080" y="16691"/>
                </a:cubicBezTo>
                <a:cubicBezTo>
                  <a:pt x="1080" y="12965"/>
                  <a:pt x="3149" y="11214"/>
                  <a:pt x="4975" y="9670"/>
                </a:cubicBezTo>
                <a:cubicBezTo>
                  <a:pt x="6031" y="8777"/>
                  <a:pt x="7028" y="7920"/>
                  <a:pt x="7400" y="6808"/>
                </a:cubicBezTo>
                <a:cubicBezTo>
                  <a:pt x="7683" y="6848"/>
                  <a:pt x="7974" y="6878"/>
                  <a:pt x="8279" y="6878"/>
                </a:cubicBezTo>
                <a:cubicBezTo>
                  <a:pt x="9182" y="6878"/>
                  <a:pt x="10166" y="6687"/>
                  <a:pt x="11184" y="6177"/>
                </a:cubicBezTo>
                <a:cubicBezTo>
                  <a:pt x="12256" y="5642"/>
                  <a:pt x="13226" y="5425"/>
                  <a:pt x="14040" y="5367"/>
                </a:cubicBezTo>
                <a:lnTo>
                  <a:pt x="14040" y="5891"/>
                </a:lnTo>
                <a:cubicBezTo>
                  <a:pt x="14040" y="7483"/>
                  <a:pt x="15296" y="8546"/>
                  <a:pt x="16625" y="9670"/>
                </a:cubicBezTo>
                <a:cubicBezTo>
                  <a:pt x="18451" y="11214"/>
                  <a:pt x="20520" y="12965"/>
                  <a:pt x="20520" y="16691"/>
                </a:cubicBezTo>
                <a:cubicBezTo>
                  <a:pt x="20520" y="20474"/>
                  <a:pt x="16637" y="20614"/>
                  <a:pt x="16200" y="20618"/>
                </a:cubicBezTo>
                <a:moveTo>
                  <a:pt x="14040" y="2945"/>
                </a:moveTo>
                <a:lnTo>
                  <a:pt x="14040" y="4432"/>
                </a:lnTo>
                <a:cubicBezTo>
                  <a:pt x="13069" y="4489"/>
                  <a:pt x="11917" y="4734"/>
                  <a:pt x="10654" y="5365"/>
                </a:cubicBezTo>
                <a:cubicBezTo>
                  <a:pt x="9547" y="5920"/>
                  <a:pt x="8485" y="6015"/>
                  <a:pt x="7560" y="5894"/>
                </a:cubicBezTo>
                <a:lnTo>
                  <a:pt x="7560" y="5891"/>
                </a:lnTo>
                <a:lnTo>
                  <a:pt x="7560" y="2945"/>
                </a:lnTo>
                <a:cubicBezTo>
                  <a:pt x="7560" y="2945"/>
                  <a:pt x="14040" y="2945"/>
                  <a:pt x="14040" y="2945"/>
                </a:cubicBezTo>
                <a:close/>
                <a:moveTo>
                  <a:pt x="5400" y="982"/>
                </a:moveTo>
                <a:lnTo>
                  <a:pt x="16200" y="982"/>
                </a:lnTo>
                <a:lnTo>
                  <a:pt x="16200" y="1964"/>
                </a:lnTo>
                <a:lnTo>
                  <a:pt x="5400" y="1964"/>
                </a:lnTo>
                <a:cubicBezTo>
                  <a:pt x="5400" y="1964"/>
                  <a:pt x="5400" y="982"/>
                  <a:pt x="5400" y="982"/>
                </a:cubicBezTo>
                <a:close/>
                <a:moveTo>
                  <a:pt x="15120" y="5891"/>
                </a:moveTo>
                <a:lnTo>
                  <a:pt x="15120" y="2945"/>
                </a:lnTo>
                <a:lnTo>
                  <a:pt x="16200" y="2945"/>
                </a:lnTo>
                <a:cubicBezTo>
                  <a:pt x="16796" y="2945"/>
                  <a:pt x="17280" y="2505"/>
                  <a:pt x="17280" y="1964"/>
                </a:cubicBezTo>
                <a:lnTo>
                  <a:pt x="17280" y="982"/>
                </a:lnTo>
                <a:cubicBezTo>
                  <a:pt x="17280" y="440"/>
                  <a:pt x="16796" y="0"/>
                  <a:pt x="16200" y="0"/>
                </a:cubicBezTo>
                <a:lnTo>
                  <a:pt x="5400" y="0"/>
                </a:lnTo>
                <a:cubicBezTo>
                  <a:pt x="4803" y="0"/>
                  <a:pt x="4320" y="440"/>
                  <a:pt x="4320" y="982"/>
                </a:cubicBezTo>
                <a:lnTo>
                  <a:pt x="4320" y="1964"/>
                </a:lnTo>
                <a:cubicBezTo>
                  <a:pt x="4320" y="2505"/>
                  <a:pt x="4803" y="2945"/>
                  <a:pt x="5400" y="2945"/>
                </a:cubicBezTo>
                <a:lnTo>
                  <a:pt x="6480" y="2945"/>
                </a:lnTo>
                <a:lnTo>
                  <a:pt x="6480" y="5891"/>
                </a:lnTo>
                <a:cubicBezTo>
                  <a:pt x="6480" y="8836"/>
                  <a:pt x="0" y="9818"/>
                  <a:pt x="0" y="16691"/>
                </a:cubicBezTo>
                <a:cubicBezTo>
                  <a:pt x="0" y="21600"/>
                  <a:pt x="5400" y="21600"/>
                  <a:pt x="5400" y="21600"/>
                </a:cubicBezTo>
                <a:lnTo>
                  <a:pt x="16200" y="21600"/>
                </a:lnTo>
                <a:cubicBezTo>
                  <a:pt x="16200" y="21600"/>
                  <a:pt x="21600" y="21600"/>
                  <a:pt x="21600" y="16691"/>
                </a:cubicBezTo>
                <a:cubicBezTo>
                  <a:pt x="21600" y="9818"/>
                  <a:pt x="15120" y="8836"/>
                  <a:pt x="15120" y="5891"/>
                </a:cubicBezTo>
                <a:moveTo>
                  <a:pt x="5940" y="16691"/>
                </a:moveTo>
                <a:cubicBezTo>
                  <a:pt x="5642" y="16691"/>
                  <a:pt x="5400" y="16910"/>
                  <a:pt x="5400" y="17182"/>
                </a:cubicBezTo>
                <a:cubicBezTo>
                  <a:pt x="5400" y="17453"/>
                  <a:pt x="5642" y="17673"/>
                  <a:pt x="5940" y="17673"/>
                </a:cubicBezTo>
                <a:cubicBezTo>
                  <a:pt x="6238" y="17673"/>
                  <a:pt x="6480" y="17453"/>
                  <a:pt x="6480" y="17182"/>
                </a:cubicBezTo>
                <a:cubicBezTo>
                  <a:pt x="6480" y="16910"/>
                  <a:pt x="6238" y="16691"/>
                  <a:pt x="5940" y="166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5" name="Shape 2755"/>
          <p:cNvSpPr/>
          <p:nvPr/>
        </p:nvSpPr>
        <p:spPr>
          <a:xfrm>
            <a:off x="7497813" y="307946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4909"/>
                </a:moveTo>
                <a:lnTo>
                  <a:pt x="19200" y="4909"/>
                </a:lnTo>
                <a:lnTo>
                  <a:pt x="19200" y="2945"/>
                </a:lnTo>
                <a:cubicBezTo>
                  <a:pt x="19200" y="2674"/>
                  <a:pt x="18932" y="2455"/>
                  <a:pt x="18600" y="2455"/>
                </a:cubicBezTo>
                <a:cubicBezTo>
                  <a:pt x="18268" y="2455"/>
                  <a:pt x="18000" y="2674"/>
                  <a:pt x="18000" y="2945"/>
                </a:cubicBezTo>
                <a:lnTo>
                  <a:pt x="18000" y="4909"/>
                </a:lnTo>
                <a:lnTo>
                  <a:pt x="16800" y="4909"/>
                </a:lnTo>
                <a:lnTo>
                  <a:pt x="16800" y="2945"/>
                </a:lnTo>
                <a:cubicBezTo>
                  <a:pt x="16800" y="2674"/>
                  <a:pt x="16532" y="2455"/>
                  <a:pt x="16200" y="2455"/>
                </a:cubicBezTo>
                <a:cubicBezTo>
                  <a:pt x="15868" y="2455"/>
                  <a:pt x="15600" y="2674"/>
                  <a:pt x="15600" y="2945"/>
                </a:cubicBezTo>
                <a:lnTo>
                  <a:pt x="15600" y="4909"/>
                </a:lnTo>
                <a:lnTo>
                  <a:pt x="14400" y="4909"/>
                </a:lnTo>
                <a:lnTo>
                  <a:pt x="14400" y="2455"/>
                </a:lnTo>
                <a:cubicBezTo>
                  <a:pt x="14400" y="2183"/>
                  <a:pt x="14132" y="1964"/>
                  <a:pt x="13800" y="1964"/>
                </a:cubicBezTo>
                <a:cubicBezTo>
                  <a:pt x="13468" y="1964"/>
                  <a:pt x="13200" y="2183"/>
                  <a:pt x="13200" y="2455"/>
                </a:cubicBezTo>
                <a:lnTo>
                  <a:pt x="13200" y="4909"/>
                </a:lnTo>
                <a:lnTo>
                  <a:pt x="12000" y="4909"/>
                </a:lnTo>
                <a:lnTo>
                  <a:pt x="12000" y="2945"/>
                </a:lnTo>
                <a:cubicBezTo>
                  <a:pt x="12000" y="2674"/>
                  <a:pt x="11732" y="2455"/>
                  <a:pt x="11400" y="2455"/>
                </a:cubicBezTo>
                <a:cubicBezTo>
                  <a:pt x="11068" y="2455"/>
                  <a:pt x="10800" y="2674"/>
                  <a:pt x="10800" y="2945"/>
                </a:cubicBezTo>
                <a:lnTo>
                  <a:pt x="10800" y="4909"/>
                </a:lnTo>
                <a:lnTo>
                  <a:pt x="9600" y="4909"/>
                </a:lnTo>
                <a:lnTo>
                  <a:pt x="9600" y="2455"/>
                </a:lnTo>
                <a:cubicBezTo>
                  <a:pt x="9600" y="2183"/>
                  <a:pt x="9332" y="1964"/>
                  <a:pt x="9000" y="1964"/>
                </a:cubicBezTo>
                <a:cubicBezTo>
                  <a:pt x="8668" y="1964"/>
                  <a:pt x="8400" y="2183"/>
                  <a:pt x="8400" y="2455"/>
                </a:cubicBezTo>
                <a:lnTo>
                  <a:pt x="8400" y="4909"/>
                </a:lnTo>
                <a:lnTo>
                  <a:pt x="6000" y="4909"/>
                </a:lnTo>
                <a:lnTo>
                  <a:pt x="6000" y="2945"/>
                </a:lnTo>
                <a:cubicBezTo>
                  <a:pt x="6000" y="2674"/>
                  <a:pt x="5732" y="2455"/>
                  <a:pt x="5400" y="2455"/>
                </a:cubicBezTo>
                <a:cubicBezTo>
                  <a:pt x="5068" y="2455"/>
                  <a:pt x="4800" y="2674"/>
                  <a:pt x="4800" y="2945"/>
                </a:cubicBezTo>
                <a:lnTo>
                  <a:pt x="4800" y="4909"/>
                </a:lnTo>
                <a:lnTo>
                  <a:pt x="3600" y="4909"/>
                </a:lnTo>
                <a:lnTo>
                  <a:pt x="3600" y="2455"/>
                </a:lnTo>
                <a:cubicBezTo>
                  <a:pt x="3600" y="2183"/>
                  <a:pt x="3332" y="1964"/>
                  <a:pt x="3000" y="1964"/>
                </a:cubicBezTo>
                <a:cubicBezTo>
                  <a:pt x="2668" y="1964"/>
                  <a:pt x="2400" y="2183"/>
                  <a:pt x="2400" y="2455"/>
                </a:cubicBezTo>
                <a:lnTo>
                  <a:pt x="2400" y="4909"/>
                </a:lnTo>
                <a:lnTo>
                  <a:pt x="1200" y="4909"/>
                </a:lnTo>
                <a:lnTo>
                  <a:pt x="1200" y="982"/>
                </a:lnTo>
                <a:lnTo>
                  <a:pt x="20400" y="982"/>
                </a:lnTo>
                <a:cubicBezTo>
                  <a:pt x="20400" y="982"/>
                  <a:pt x="20400" y="4909"/>
                  <a:pt x="20400" y="4909"/>
                </a:cubicBezTo>
                <a:close/>
                <a:moveTo>
                  <a:pt x="20400" y="10309"/>
                </a:moveTo>
                <a:lnTo>
                  <a:pt x="19200" y="10309"/>
                </a:lnTo>
                <a:lnTo>
                  <a:pt x="19200" y="7855"/>
                </a:lnTo>
                <a:cubicBezTo>
                  <a:pt x="19200" y="7583"/>
                  <a:pt x="18932" y="7364"/>
                  <a:pt x="18600" y="7364"/>
                </a:cubicBezTo>
                <a:cubicBezTo>
                  <a:pt x="18268" y="7364"/>
                  <a:pt x="18000" y="7583"/>
                  <a:pt x="18000" y="7855"/>
                </a:cubicBezTo>
                <a:lnTo>
                  <a:pt x="18000" y="10309"/>
                </a:lnTo>
                <a:lnTo>
                  <a:pt x="16800" y="10309"/>
                </a:lnTo>
                <a:lnTo>
                  <a:pt x="16800" y="7364"/>
                </a:lnTo>
                <a:cubicBezTo>
                  <a:pt x="16800" y="7092"/>
                  <a:pt x="16532" y="6873"/>
                  <a:pt x="16200" y="6873"/>
                </a:cubicBezTo>
                <a:cubicBezTo>
                  <a:pt x="15868" y="6873"/>
                  <a:pt x="15600" y="7092"/>
                  <a:pt x="15600" y="7364"/>
                </a:cubicBezTo>
                <a:lnTo>
                  <a:pt x="15600" y="10309"/>
                </a:lnTo>
                <a:lnTo>
                  <a:pt x="14400" y="10309"/>
                </a:lnTo>
                <a:lnTo>
                  <a:pt x="14400" y="7855"/>
                </a:lnTo>
                <a:cubicBezTo>
                  <a:pt x="14400" y="7583"/>
                  <a:pt x="14132" y="7364"/>
                  <a:pt x="13800" y="7364"/>
                </a:cubicBezTo>
                <a:cubicBezTo>
                  <a:pt x="13468" y="7364"/>
                  <a:pt x="13200" y="7583"/>
                  <a:pt x="13200" y="7855"/>
                </a:cubicBezTo>
                <a:lnTo>
                  <a:pt x="13200" y="10309"/>
                </a:lnTo>
                <a:lnTo>
                  <a:pt x="12000" y="10309"/>
                </a:lnTo>
                <a:lnTo>
                  <a:pt x="12000" y="7364"/>
                </a:lnTo>
                <a:cubicBezTo>
                  <a:pt x="12000" y="7092"/>
                  <a:pt x="11732" y="6873"/>
                  <a:pt x="11400" y="6873"/>
                </a:cubicBezTo>
                <a:cubicBezTo>
                  <a:pt x="11068" y="6873"/>
                  <a:pt x="10800" y="7092"/>
                  <a:pt x="10800" y="7364"/>
                </a:cubicBezTo>
                <a:lnTo>
                  <a:pt x="10800" y="10309"/>
                </a:lnTo>
                <a:lnTo>
                  <a:pt x="8400" y="10309"/>
                </a:lnTo>
                <a:lnTo>
                  <a:pt x="8400" y="7855"/>
                </a:lnTo>
                <a:cubicBezTo>
                  <a:pt x="8400" y="7583"/>
                  <a:pt x="8132" y="7364"/>
                  <a:pt x="7800" y="7364"/>
                </a:cubicBezTo>
                <a:cubicBezTo>
                  <a:pt x="7468" y="7364"/>
                  <a:pt x="7200" y="7583"/>
                  <a:pt x="7200" y="7855"/>
                </a:cubicBezTo>
                <a:lnTo>
                  <a:pt x="7200" y="10309"/>
                </a:lnTo>
                <a:lnTo>
                  <a:pt x="6000" y="10309"/>
                </a:lnTo>
                <a:lnTo>
                  <a:pt x="6000" y="7855"/>
                </a:lnTo>
                <a:cubicBezTo>
                  <a:pt x="6000" y="7583"/>
                  <a:pt x="5732" y="7364"/>
                  <a:pt x="5400" y="7364"/>
                </a:cubicBezTo>
                <a:cubicBezTo>
                  <a:pt x="5068" y="7364"/>
                  <a:pt x="4800" y="7583"/>
                  <a:pt x="4800" y="7855"/>
                </a:cubicBezTo>
                <a:lnTo>
                  <a:pt x="4800" y="10309"/>
                </a:lnTo>
                <a:lnTo>
                  <a:pt x="3600" y="10309"/>
                </a:lnTo>
                <a:lnTo>
                  <a:pt x="3600" y="7364"/>
                </a:lnTo>
                <a:cubicBezTo>
                  <a:pt x="3600" y="7092"/>
                  <a:pt x="3332" y="6873"/>
                  <a:pt x="3000" y="6873"/>
                </a:cubicBezTo>
                <a:cubicBezTo>
                  <a:pt x="2668" y="6873"/>
                  <a:pt x="2400" y="7092"/>
                  <a:pt x="2400" y="7364"/>
                </a:cubicBezTo>
                <a:lnTo>
                  <a:pt x="2400" y="10309"/>
                </a:lnTo>
                <a:lnTo>
                  <a:pt x="1200" y="10309"/>
                </a:lnTo>
                <a:lnTo>
                  <a:pt x="1200" y="5891"/>
                </a:lnTo>
                <a:lnTo>
                  <a:pt x="20400" y="5891"/>
                </a:lnTo>
                <a:cubicBezTo>
                  <a:pt x="20400" y="5891"/>
                  <a:pt x="20400" y="10309"/>
                  <a:pt x="20400" y="10309"/>
                </a:cubicBezTo>
                <a:close/>
                <a:moveTo>
                  <a:pt x="20400" y="15709"/>
                </a:moveTo>
                <a:lnTo>
                  <a:pt x="19200" y="15709"/>
                </a:lnTo>
                <a:lnTo>
                  <a:pt x="19200" y="13255"/>
                </a:lnTo>
                <a:cubicBezTo>
                  <a:pt x="19200" y="12983"/>
                  <a:pt x="18932" y="12764"/>
                  <a:pt x="18600" y="12764"/>
                </a:cubicBezTo>
                <a:cubicBezTo>
                  <a:pt x="18268" y="12764"/>
                  <a:pt x="18000" y="12983"/>
                  <a:pt x="18000" y="13255"/>
                </a:cubicBezTo>
                <a:lnTo>
                  <a:pt x="18000" y="15709"/>
                </a:lnTo>
                <a:lnTo>
                  <a:pt x="16800" y="15709"/>
                </a:lnTo>
                <a:lnTo>
                  <a:pt x="16800" y="13255"/>
                </a:lnTo>
                <a:cubicBezTo>
                  <a:pt x="16800" y="12983"/>
                  <a:pt x="16532" y="12764"/>
                  <a:pt x="16200" y="12764"/>
                </a:cubicBezTo>
                <a:cubicBezTo>
                  <a:pt x="15868" y="12764"/>
                  <a:pt x="15600" y="12983"/>
                  <a:pt x="15600" y="13255"/>
                </a:cubicBezTo>
                <a:lnTo>
                  <a:pt x="15600" y="15709"/>
                </a:lnTo>
                <a:lnTo>
                  <a:pt x="13200" y="15709"/>
                </a:lnTo>
                <a:lnTo>
                  <a:pt x="13200" y="13745"/>
                </a:lnTo>
                <a:cubicBezTo>
                  <a:pt x="13200" y="13474"/>
                  <a:pt x="12932" y="13255"/>
                  <a:pt x="12600" y="13255"/>
                </a:cubicBezTo>
                <a:cubicBezTo>
                  <a:pt x="12268" y="13255"/>
                  <a:pt x="12000" y="13474"/>
                  <a:pt x="12000" y="13745"/>
                </a:cubicBezTo>
                <a:lnTo>
                  <a:pt x="12000" y="15709"/>
                </a:lnTo>
                <a:lnTo>
                  <a:pt x="10800" y="15709"/>
                </a:lnTo>
                <a:lnTo>
                  <a:pt x="10800" y="13745"/>
                </a:lnTo>
                <a:cubicBezTo>
                  <a:pt x="10800" y="13474"/>
                  <a:pt x="10532" y="13255"/>
                  <a:pt x="10200" y="13255"/>
                </a:cubicBezTo>
                <a:cubicBezTo>
                  <a:pt x="9868" y="13255"/>
                  <a:pt x="9600" y="13474"/>
                  <a:pt x="9600" y="13745"/>
                </a:cubicBezTo>
                <a:lnTo>
                  <a:pt x="9600" y="15709"/>
                </a:lnTo>
                <a:lnTo>
                  <a:pt x="8400" y="15709"/>
                </a:lnTo>
                <a:lnTo>
                  <a:pt x="8400" y="13255"/>
                </a:lnTo>
                <a:cubicBezTo>
                  <a:pt x="8400" y="12983"/>
                  <a:pt x="8132" y="12764"/>
                  <a:pt x="7800" y="12764"/>
                </a:cubicBezTo>
                <a:cubicBezTo>
                  <a:pt x="7468" y="12764"/>
                  <a:pt x="7200" y="12983"/>
                  <a:pt x="7200" y="13255"/>
                </a:cubicBezTo>
                <a:lnTo>
                  <a:pt x="7200" y="15709"/>
                </a:lnTo>
                <a:lnTo>
                  <a:pt x="6000" y="15709"/>
                </a:lnTo>
                <a:lnTo>
                  <a:pt x="6000" y="13745"/>
                </a:lnTo>
                <a:cubicBezTo>
                  <a:pt x="6000" y="13474"/>
                  <a:pt x="5732" y="13255"/>
                  <a:pt x="5400" y="13255"/>
                </a:cubicBezTo>
                <a:cubicBezTo>
                  <a:pt x="5068" y="13255"/>
                  <a:pt x="4800" y="13474"/>
                  <a:pt x="4800" y="13745"/>
                </a:cubicBezTo>
                <a:lnTo>
                  <a:pt x="4800" y="15709"/>
                </a:lnTo>
                <a:lnTo>
                  <a:pt x="1200" y="15709"/>
                </a:lnTo>
                <a:lnTo>
                  <a:pt x="1200" y="11291"/>
                </a:lnTo>
                <a:lnTo>
                  <a:pt x="20400" y="11291"/>
                </a:lnTo>
                <a:cubicBezTo>
                  <a:pt x="20400" y="11291"/>
                  <a:pt x="20400" y="15709"/>
                  <a:pt x="20400" y="15709"/>
                </a:cubicBezTo>
                <a:close/>
                <a:moveTo>
                  <a:pt x="20400" y="20618"/>
                </a:moveTo>
                <a:lnTo>
                  <a:pt x="19200" y="20618"/>
                </a:lnTo>
                <a:lnTo>
                  <a:pt x="19200" y="18655"/>
                </a:lnTo>
                <a:cubicBezTo>
                  <a:pt x="19200" y="18383"/>
                  <a:pt x="18932" y="18164"/>
                  <a:pt x="18600" y="18164"/>
                </a:cubicBezTo>
                <a:cubicBezTo>
                  <a:pt x="18268" y="18164"/>
                  <a:pt x="18000" y="18383"/>
                  <a:pt x="18000" y="18655"/>
                </a:cubicBezTo>
                <a:lnTo>
                  <a:pt x="18000" y="20618"/>
                </a:lnTo>
                <a:lnTo>
                  <a:pt x="16800" y="20618"/>
                </a:lnTo>
                <a:lnTo>
                  <a:pt x="16800" y="18655"/>
                </a:lnTo>
                <a:cubicBezTo>
                  <a:pt x="16800" y="18383"/>
                  <a:pt x="16532" y="18164"/>
                  <a:pt x="16200" y="18164"/>
                </a:cubicBezTo>
                <a:cubicBezTo>
                  <a:pt x="15868" y="18164"/>
                  <a:pt x="15600" y="18383"/>
                  <a:pt x="15600" y="18655"/>
                </a:cubicBezTo>
                <a:lnTo>
                  <a:pt x="15600" y="20618"/>
                </a:lnTo>
                <a:lnTo>
                  <a:pt x="14400" y="20618"/>
                </a:lnTo>
                <a:lnTo>
                  <a:pt x="14400" y="18164"/>
                </a:lnTo>
                <a:cubicBezTo>
                  <a:pt x="14400" y="17892"/>
                  <a:pt x="14132" y="17673"/>
                  <a:pt x="13800" y="17673"/>
                </a:cubicBezTo>
                <a:cubicBezTo>
                  <a:pt x="13468" y="17673"/>
                  <a:pt x="13200" y="17892"/>
                  <a:pt x="13200" y="18164"/>
                </a:cubicBezTo>
                <a:lnTo>
                  <a:pt x="13200" y="20618"/>
                </a:lnTo>
                <a:lnTo>
                  <a:pt x="10800" y="20618"/>
                </a:lnTo>
                <a:lnTo>
                  <a:pt x="10800" y="18164"/>
                </a:lnTo>
                <a:cubicBezTo>
                  <a:pt x="10800" y="17892"/>
                  <a:pt x="10532" y="17673"/>
                  <a:pt x="10200" y="17673"/>
                </a:cubicBezTo>
                <a:cubicBezTo>
                  <a:pt x="9868" y="17673"/>
                  <a:pt x="9600" y="17892"/>
                  <a:pt x="9600" y="18164"/>
                </a:cubicBezTo>
                <a:lnTo>
                  <a:pt x="9600" y="20618"/>
                </a:lnTo>
                <a:lnTo>
                  <a:pt x="8400" y="20618"/>
                </a:lnTo>
                <a:lnTo>
                  <a:pt x="8400" y="18655"/>
                </a:lnTo>
                <a:cubicBezTo>
                  <a:pt x="8400" y="18383"/>
                  <a:pt x="8132" y="18164"/>
                  <a:pt x="7800" y="18164"/>
                </a:cubicBezTo>
                <a:cubicBezTo>
                  <a:pt x="7468" y="18164"/>
                  <a:pt x="7200" y="18383"/>
                  <a:pt x="7200" y="18655"/>
                </a:cubicBezTo>
                <a:lnTo>
                  <a:pt x="7200" y="20618"/>
                </a:lnTo>
                <a:lnTo>
                  <a:pt x="6000" y="20618"/>
                </a:lnTo>
                <a:lnTo>
                  <a:pt x="6000" y="18164"/>
                </a:lnTo>
                <a:cubicBezTo>
                  <a:pt x="6000" y="17892"/>
                  <a:pt x="5732" y="17673"/>
                  <a:pt x="5400" y="17673"/>
                </a:cubicBezTo>
                <a:cubicBezTo>
                  <a:pt x="5068" y="17673"/>
                  <a:pt x="4800" y="17892"/>
                  <a:pt x="4800" y="18164"/>
                </a:cubicBezTo>
                <a:lnTo>
                  <a:pt x="4800" y="20618"/>
                </a:lnTo>
                <a:lnTo>
                  <a:pt x="3600" y="20618"/>
                </a:lnTo>
                <a:lnTo>
                  <a:pt x="3600" y="18655"/>
                </a:lnTo>
                <a:cubicBezTo>
                  <a:pt x="3600" y="18383"/>
                  <a:pt x="3332" y="18164"/>
                  <a:pt x="3000" y="18164"/>
                </a:cubicBezTo>
                <a:cubicBezTo>
                  <a:pt x="2668" y="18164"/>
                  <a:pt x="2400" y="18383"/>
                  <a:pt x="2400" y="18655"/>
                </a:cubicBezTo>
                <a:lnTo>
                  <a:pt x="2400" y="20618"/>
                </a:lnTo>
                <a:lnTo>
                  <a:pt x="1200" y="20618"/>
                </a:lnTo>
                <a:lnTo>
                  <a:pt x="1200" y="16691"/>
                </a:lnTo>
                <a:lnTo>
                  <a:pt x="20400" y="16691"/>
                </a:lnTo>
                <a:cubicBezTo>
                  <a:pt x="20400" y="16691"/>
                  <a:pt x="20400" y="20618"/>
                  <a:pt x="20400" y="20618"/>
                </a:cubicBezTo>
                <a:close/>
                <a:moveTo>
                  <a:pt x="20400" y="0"/>
                </a:moveTo>
                <a:lnTo>
                  <a:pt x="1200" y="0"/>
                </a:lnTo>
                <a:cubicBezTo>
                  <a:pt x="537" y="0"/>
                  <a:pt x="0" y="440"/>
                  <a:pt x="0" y="982"/>
                </a:cubicBezTo>
                <a:lnTo>
                  <a:pt x="0" y="20618"/>
                </a:lnTo>
                <a:cubicBezTo>
                  <a:pt x="0" y="21160"/>
                  <a:pt x="537" y="21600"/>
                  <a:pt x="1200" y="21600"/>
                </a:cubicBezTo>
                <a:lnTo>
                  <a:pt x="20400" y="21600"/>
                </a:lnTo>
                <a:cubicBezTo>
                  <a:pt x="21062" y="21600"/>
                  <a:pt x="21600" y="21160"/>
                  <a:pt x="21600" y="20618"/>
                </a:cubicBezTo>
                <a:lnTo>
                  <a:pt x="21600" y="982"/>
                </a:lnTo>
                <a:cubicBezTo>
                  <a:pt x="21600" y="440"/>
                  <a:pt x="21062" y="0"/>
                  <a:pt x="204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6" name="Shape 2756"/>
          <p:cNvSpPr/>
          <p:nvPr/>
        </p:nvSpPr>
        <p:spPr>
          <a:xfrm>
            <a:off x="7878715" y="3136599"/>
            <a:ext cx="209495" cy="95226"/>
          </a:xfrm>
          <a:custGeom>
            <a:avLst/>
            <a:gdLst/>
            <a:ahLst/>
            <a:cxnLst>
              <a:cxn ang="0">
                <a:pos x="wd2" y="hd2"/>
              </a:cxn>
              <a:cxn ang="5400000">
                <a:pos x="wd2" y="hd2"/>
              </a:cxn>
              <a:cxn ang="10800000">
                <a:pos x="wd2" y="hd2"/>
              </a:cxn>
              <a:cxn ang="16200000">
                <a:pos x="wd2" y="hd2"/>
              </a:cxn>
            </a:cxnLst>
            <a:rect l="0" t="0" r="r" b="b"/>
            <a:pathLst>
              <a:path w="21600" h="21600" extrusionOk="0">
                <a:moveTo>
                  <a:pt x="18900" y="19440"/>
                </a:moveTo>
                <a:cubicBezTo>
                  <a:pt x="17951" y="19440"/>
                  <a:pt x="17182" y="17747"/>
                  <a:pt x="17182" y="15660"/>
                </a:cubicBezTo>
                <a:cubicBezTo>
                  <a:pt x="17182" y="14601"/>
                  <a:pt x="17381" y="13647"/>
                  <a:pt x="17700" y="12960"/>
                </a:cubicBezTo>
                <a:lnTo>
                  <a:pt x="3900" y="12960"/>
                </a:lnTo>
                <a:cubicBezTo>
                  <a:pt x="4219" y="13647"/>
                  <a:pt x="4418" y="14601"/>
                  <a:pt x="4418" y="15660"/>
                </a:cubicBezTo>
                <a:cubicBezTo>
                  <a:pt x="4418" y="17747"/>
                  <a:pt x="3649" y="19440"/>
                  <a:pt x="2700" y="19440"/>
                </a:cubicBezTo>
                <a:cubicBezTo>
                  <a:pt x="1751" y="19440"/>
                  <a:pt x="982" y="17747"/>
                  <a:pt x="982" y="15660"/>
                </a:cubicBezTo>
                <a:cubicBezTo>
                  <a:pt x="982" y="13757"/>
                  <a:pt x="1623" y="12199"/>
                  <a:pt x="2455" y="11935"/>
                </a:cubicBezTo>
                <a:lnTo>
                  <a:pt x="2455" y="11880"/>
                </a:lnTo>
                <a:cubicBezTo>
                  <a:pt x="2726" y="11880"/>
                  <a:pt x="2945" y="11397"/>
                  <a:pt x="2945" y="10800"/>
                </a:cubicBezTo>
                <a:cubicBezTo>
                  <a:pt x="2945" y="10203"/>
                  <a:pt x="2726" y="9720"/>
                  <a:pt x="2455" y="9720"/>
                </a:cubicBezTo>
                <a:lnTo>
                  <a:pt x="2455" y="9665"/>
                </a:lnTo>
                <a:cubicBezTo>
                  <a:pt x="1623" y="9401"/>
                  <a:pt x="982" y="7843"/>
                  <a:pt x="982" y="5940"/>
                </a:cubicBezTo>
                <a:cubicBezTo>
                  <a:pt x="982" y="3852"/>
                  <a:pt x="1751" y="2160"/>
                  <a:pt x="2700" y="2160"/>
                </a:cubicBezTo>
                <a:cubicBezTo>
                  <a:pt x="3649" y="2160"/>
                  <a:pt x="4418" y="3852"/>
                  <a:pt x="4418" y="5940"/>
                </a:cubicBezTo>
                <a:cubicBezTo>
                  <a:pt x="4418" y="6999"/>
                  <a:pt x="4219" y="7954"/>
                  <a:pt x="3900" y="8640"/>
                </a:cubicBezTo>
                <a:lnTo>
                  <a:pt x="17700" y="8640"/>
                </a:lnTo>
                <a:cubicBezTo>
                  <a:pt x="17381" y="7954"/>
                  <a:pt x="17182" y="6999"/>
                  <a:pt x="17182" y="5940"/>
                </a:cubicBezTo>
                <a:cubicBezTo>
                  <a:pt x="17182" y="3852"/>
                  <a:pt x="17951" y="2160"/>
                  <a:pt x="18900" y="2160"/>
                </a:cubicBezTo>
                <a:cubicBezTo>
                  <a:pt x="19849" y="2160"/>
                  <a:pt x="20618" y="3852"/>
                  <a:pt x="20618" y="5940"/>
                </a:cubicBezTo>
                <a:cubicBezTo>
                  <a:pt x="20618" y="7843"/>
                  <a:pt x="19977" y="9401"/>
                  <a:pt x="19145" y="9665"/>
                </a:cubicBezTo>
                <a:lnTo>
                  <a:pt x="19145" y="9720"/>
                </a:lnTo>
                <a:cubicBezTo>
                  <a:pt x="18874" y="9720"/>
                  <a:pt x="18655" y="10203"/>
                  <a:pt x="18655" y="10800"/>
                </a:cubicBezTo>
                <a:cubicBezTo>
                  <a:pt x="18655" y="11397"/>
                  <a:pt x="18874" y="11880"/>
                  <a:pt x="19145" y="11880"/>
                </a:cubicBezTo>
                <a:lnTo>
                  <a:pt x="19145" y="11935"/>
                </a:lnTo>
                <a:cubicBezTo>
                  <a:pt x="19977" y="12199"/>
                  <a:pt x="20618" y="13757"/>
                  <a:pt x="20618" y="15660"/>
                </a:cubicBezTo>
                <a:cubicBezTo>
                  <a:pt x="20618" y="17747"/>
                  <a:pt x="19849" y="19440"/>
                  <a:pt x="18900" y="19440"/>
                </a:cubicBezTo>
                <a:moveTo>
                  <a:pt x="20449" y="10800"/>
                </a:moveTo>
                <a:cubicBezTo>
                  <a:pt x="21145" y="9725"/>
                  <a:pt x="21600" y="7950"/>
                  <a:pt x="21600" y="5940"/>
                </a:cubicBezTo>
                <a:cubicBezTo>
                  <a:pt x="21600" y="2660"/>
                  <a:pt x="20391" y="0"/>
                  <a:pt x="18900" y="0"/>
                </a:cubicBezTo>
                <a:cubicBezTo>
                  <a:pt x="17409" y="0"/>
                  <a:pt x="16200" y="2660"/>
                  <a:pt x="16200" y="5940"/>
                </a:cubicBezTo>
                <a:cubicBezTo>
                  <a:pt x="16200" y="6124"/>
                  <a:pt x="16208" y="6301"/>
                  <a:pt x="16215" y="6480"/>
                </a:cubicBezTo>
                <a:lnTo>
                  <a:pt x="5385" y="6480"/>
                </a:lnTo>
                <a:cubicBezTo>
                  <a:pt x="5392" y="6301"/>
                  <a:pt x="5400" y="6124"/>
                  <a:pt x="5400" y="5940"/>
                </a:cubicBezTo>
                <a:cubicBezTo>
                  <a:pt x="5400" y="2660"/>
                  <a:pt x="4191" y="0"/>
                  <a:pt x="2700" y="0"/>
                </a:cubicBezTo>
                <a:cubicBezTo>
                  <a:pt x="1209" y="0"/>
                  <a:pt x="0" y="2660"/>
                  <a:pt x="0" y="5940"/>
                </a:cubicBezTo>
                <a:cubicBezTo>
                  <a:pt x="0" y="7950"/>
                  <a:pt x="455" y="9725"/>
                  <a:pt x="1151" y="10800"/>
                </a:cubicBezTo>
                <a:cubicBezTo>
                  <a:pt x="455" y="11875"/>
                  <a:pt x="0" y="13649"/>
                  <a:pt x="0" y="15660"/>
                </a:cubicBezTo>
                <a:cubicBezTo>
                  <a:pt x="0" y="18940"/>
                  <a:pt x="1209" y="21600"/>
                  <a:pt x="2700" y="21600"/>
                </a:cubicBezTo>
                <a:cubicBezTo>
                  <a:pt x="4191" y="21600"/>
                  <a:pt x="5400" y="18940"/>
                  <a:pt x="5400" y="15660"/>
                </a:cubicBezTo>
                <a:cubicBezTo>
                  <a:pt x="5400" y="15476"/>
                  <a:pt x="5392" y="15298"/>
                  <a:pt x="5385" y="15120"/>
                </a:cubicBezTo>
                <a:lnTo>
                  <a:pt x="16215" y="15120"/>
                </a:lnTo>
                <a:cubicBezTo>
                  <a:pt x="16208" y="15298"/>
                  <a:pt x="16200" y="15476"/>
                  <a:pt x="16200" y="15660"/>
                </a:cubicBezTo>
                <a:cubicBezTo>
                  <a:pt x="16200" y="18940"/>
                  <a:pt x="17409" y="21600"/>
                  <a:pt x="18900" y="21600"/>
                </a:cubicBezTo>
                <a:cubicBezTo>
                  <a:pt x="20391" y="21600"/>
                  <a:pt x="21600" y="18940"/>
                  <a:pt x="21600" y="15660"/>
                </a:cubicBezTo>
                <a:cubicBezTo>
                  <a:pt x="21600" y="13649"/>
                  <a:pt x="21145" y="11875"/>
                  <a:pt x="20449"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7" name="Shape 2757"/>
          <p:cNvSpPr/>
          <p:nvPr/>
        </p:nvSpPr>
        <p:spPr>
          <a:xfrm>
            <a:off x="8278659" y="3079464"/>
            <a:ext cx="209549" cy="209550"/>
          </a:xfrm>
          <a:custGeom>
            <a:avLst/>
            <a:gdLst/>
            <a:ahLst/>
            <a:cxnLst>
              <a:cxn ang="0">
                <a:pos x="wd2" y="hd2"/>
              </a:cxn>
              <a:cxn ang="5400000">
                <a:pos x="wd2" y="hd2"/>
              </a:cxn>
              <a:cxn ang="10800000">
                <a:pos x="wd2" y="hd2"/>
              </a:cxn>
              <a:cxn ang="16200000">
                <a:pos x="wd2" y="hd2"/>
              </a:cxn>
            </a:cxnLst>
            <a:rect l="0" t="0" r="r" b="b"/>
            <a:pathLst>
              <a:path w="21084" h="21085" extrusionOk="0">
                <a:moveTo>
                  <a:pt x="6690" y="19632"/>
                </a:moveTo>
                <a:cubicBezTo>
                  <a:pt x="6035" y="20288"/>
                  <a:pt x="4973" y="20288"/>
                  <a:pt x="4318" y="19632"/>
                </a:cubicBezTo>
                <a:cubicBezTo>
                  <a:pt x="3731" y="19043"/>
                  <a:pt x="3675" y="18127"/>
                  <a:pt x="4141" y="17471"/>
                </a:cubicBezTo>
                <a:lnTo>
                  <a:pt x="4127" y="17458"/>
                </a:lnTo>
                <a:cubicBezTo>
                  <a:pt x="4237" y="17311"/>
                  <a:pt x="4231" y="17106"/>
                  <a:pt x="4096" y="16973"/>
                </a:cubicBezTo>
                <a:cubicBezTo>
                  <a:pt x="3963" y="16842"/>
                  <a:pt x="3758" y="16835"/>
                  <a:pt x="3610" y="16939"/>
                </a:cubicBezTo>
                <a:lnTo>
                  <a:pt x="3601" y="16931"/>
                </a:lnTo>
                <a:cubicBezTo>
                  <a:pt x="2946" y="17395"/>
                  <a:pt x="2036" y="17338"/>
                  <a:pt x="1449" y="16752"/>
                </a:cubicBezTo>
                <a:cubicBezTo>
                  <a:pt x="794" y="16097"/>
                  <a:pt x="794" y="15035"/>
                  <a:pt x="1449" y="14381"/>
                </a:cubicBezTo>
                <a:cubicBezTo>
                  <a:pt x="2104" y="13726"/>
                  <a:pt x="3166" y="13726"/>
                  <a:pt x="3821" y="14381"/>
                </a:cubicBezTo>
                <a:cubicBezTo>
                  <a:pt x="4110" y="14670"/>
                  <a:pt x="4264" y="15040"/>
                  <a:pt x="4297" y="15418"/>
                </a:cubicBezTo>
                <a:lnTo>
                  <a:pt x="9862" y="9852"/>
                </a:lnTo>
                <a:lnTo>
                  <a:pt x="15417" y="4298"/>
                </a:lnTo>
                <a:cubicBezTo>
                  <a:pt x="15038" y="4264"/>
                  <a:pt x="14669" y="4111"/>
                  <a:pt x="14380" y="3821"/>
                </a:cubicBezTo>
                <a:cubicBezTo>
                  <a:pt x="13725" y="3166"/>
                  <a:pt x="13725" y="2105"/>
                  <a:pt x="14380" y="1450"/>
                </a:cubicBezTo>
                <a:cubicBezTo>
                  <a:pt x="15034" y="795"/>
                  <a:pt x="16096" y="795"/>
                  <a:pt x="16751" y="1450"/>
                </a:cubicBezTo>
                <a:cubicBezTo>
                  <a:pt x="17332" y="2031"/>
                  <a:pt x="17394" y="2932"/>
                  <a:pt x="16943" y="3585"/>
                </a:cubicBezTo>
                <a:lnTo>
                  <a:pt x="16949" y="3592"/>
                </a:lnTo>
                <a:cubicBezTo>
                  <a:pt x="16829" y="3738"/>
                  <a:pt x="16832" y="3953"/>
                  <a:pt x="16971" y="4089"/>
                </a:cubicBezTo>
                <a:cubicBezTo>
                  <a:pt x="17109" y="4225"/>
                  <a:pt x="17323" y="4230"/>
                  <a:pt x="17473" y="4114"/>
                </a:cubicBezTo>
                <a:lnTo>
                  <a:pt x="17487" y="4129"/>
                </a:lnTo>
                <a:cubicBezTo>
                  <a:pt x="18142" y="3675"/>
                  <a:pt x="19047" y="3737"/>
                  <a:pt x="19631" y="4319"/>
                </a:cubicBezTo>
                <a:cubicBezTo>
                  <a:pt x="20287" y="4974"/>
                  <a:pt x="20287" y="6036"/>
                  <a:pt x="19631" y="6691"/>
                </a:cubicBezTo>
                <a:cubicBezTo>
                  <a:pt x="18974" y="7346"/>
                  <a:pt x="17909" y="7346"/>
                  <a:pt x="17253" y="6691"/>
                </a:cubicBezTo>
                <a:cubicBezTo>
                  <a:pt x="16962" y="6400"/>
                  <a:pt x="16807" y="6029"/>
                  <a:pt x="16775" y="5650"/>
                </a:cubicBezTo>
                <a:lnTo>
                  <a:pt x="5650" y="16775"/>
                </a:lnTo>
                <a:cubicBezTo>
                  <a:pt x="6029" y="16808"/>
                  <a:pt x="6400" y="16963"/>
                  <a:pt x="6690" y="17254"/>
                </a:cubicBezTo>
                <a:cubicBezTo>
                  <a:pt x="7344" y="17910"/>
                  <a:pt x="7344" y="18975"/>
                  <a:pt x="6690" y="19632"/>
                </a:cubicBezTo>
                <a:moveTo>
                  <a:pt x="7277" y="16503"/>
                </a:moveTo>
                <a:lnTo>
                  <a:pt x="16501" y="7278"/>
                </a:lnTo>
                <a:cubicBezTo>
                  <a:pt x="16528" y="7307"/>
                  <a:pt x="16545" y="7340"/>
                  <a:pt x="16573" y="7368"/>
                </a:cubicBezTo>
                <a:cubicBezTo>
                  <a:pt x="17605" y="8397"/>
                  <a:pt x="19278" y="8397"/>
                  <a:pt x="20310" y="7368"/>
                </a:cubicBezTo>
                <a:cubicBezTo>
                  <a:pt x="21342" y="6339"/>
                  <a:pt x="21342" y="4671"/>
                  <a:pt x="20310" y="3641"/>
                </a:cubicBezTo>
                <a:cubicBezTo>
                  <a:pt x="19726" y="3059"/>
                  <a:pt x="18937" y="2818"/>
                  <a:pt x="18175" y="2895"/>
                </a:cubicBezTo>
                <a:cubicBezTo>
                  <a:pt x="18250" y="2137"/>
                  <a:pt x="18009" y="1353"/>
                  <a:pt x="17428" y="772"/>
                </a:cubicBezTo>
                <a:cubicBezTo>
                  <a:pt x="16399" y="-257"/>
                  <a:pt x="14731" y="-257"/>
                  <a:pt x="13702" y="772"/>
                </a:cubicBezTo>
                <a:cubicBezTo>
                  <a:pt x="12673" y="1802"/>
                  <a:pt x="12673" y="3470"/>
                  <a:pt x="13702" y="4498"/>
                </a:cubicBezTo>
                <a:cubicBezTo>
                  <a:pt x="13729" y="4526"/>
                  <a:pt x="13763" y="4543"/>
                  <a:pt x="13791" y="4569"/>
                </a:cubicBezTo>
                <a:lnTo>
                  <a:pt x="4568" y="13791"/>
                </a:lnTo>
                <a:cubicBezTo>
                  <a:pt x="4542" y="13763"/>
                  <a:pt x="4526" y="13730"/>
                  <a:pt x="4498" y="13703"/>
                </a:cubicBezTo>
                <a:cubicBezTo>
                  <a:pt x="3469" y="12674"/>
                  <a:pt x="1801" y="12674"/>
                  <a:pt x="772" y="13703"/>
                </a:cubicBezTo>
                <a:cubicBezTo>
                  <a:pt x="-258" y="14732"/>
                  <a:pt x="-258" y="16400"/>
                  <a:pt x="772" y="17429"/>
                </a:cubicBezTo>
                <a:cubicBezTo>
                  <a:pt x="1353" y="18010"/>
                  <a:pt x="2136" y="18251"/>
                  <a:pt x="2895" y="18176"/>
                </a:cubicBezTo>
                <a:cubicBezTo>
                  <a:pt x="2818" y="18938"/>
                  <a:pt x="3058" y="19727"/>
                  <a:pt x="3641" y="20311"/>
                </a:cubicBezTo>
                <a:cubicBezTo>
                  <a:pt x="4670" y="21343"/>
                  <a:pt x="6338" y="21343"/>
                  <a:pt x="7367" y="20311"/>
                </a:cubicBezTo>
                <a:cubicBezTo>
                  <a:pt x="8396" y="19279"/>
                  <a:pt x="8396" y="17606"/>
                  <a:pt x="7367" y="16574"/>
                </a:cubicBezTo>
                <a:cubicBezTo>
                  <a:pt x="7339" y="16546"/>
                  <a:pt x="7306" y="16529"/>
                  <a:pt x="7277" y="16503"/>
                </a:cubicBezTo>
                <a:moveTo>
                  <a:pt x="16558" y="13703"/>
                </a:moveTo>
                <a:cubicBezTo>
                  <a:pt x="16530" y="13731"/>
                  <a:pt x="16513" y="13764"/>
                  <a:pt x="16487" y="13793"/>
                </a:cubicBezTo>
                <a:lnTo>
                  <a:pt x="14254" y="11560"/>
                </a:lnTo>
                <a:cubicBezTo>
                  <a:pt x="14067" y="11391"/>
                  <a:pt x="13780" y="11393"/>
                  <a:pt x="13601" y="11573"/>
                </a:cubicBezTo>
                <a:cubicBezTo>
                  <a:pt x="13421" y="11753"/>
                  <a:pt x="13419" y="12039"/>
                  <a:pt x="13588" y="12226"/>
                </a:cubicBezTo>
                <a:lnTo>
                  <a:pt x="13576" y="12237"/>
                </a:lnTo>
                <a:lnTo>
                  <a:pt x="16759" y="15420"/>
                </a:lnTo>
                <a:cubicBezTo>
                  <a:pt x="16792" y="15041"/>
                  <a:pt x="16947" y="14671"/>
                  <a:pt x="17238" y="14381"/>
                </a:cubicBezTo>
                <a:cubicBezTo>
                  <a:pt x="17895" y="13726"/>
                  <a:pt x="18959" y="13726"/>
                  <a:pt x="19615" y="14381"/>
                </a:cubicBezTo>
                <a:cubicBezTo>
                  <a:pt x="20273" y="15035"/>
                  <a:pt x="20273" y="16097"/>
                  <a:pt x="19615" y="16752"/>
                </a:cubicBezTo>
                <a:cubicBezTo>
                  <a:pt x="19027" y="17339"/>
                  <a:pt x="18112" y="17395"/>
                  <a:pt x="17455" y="16929"/>
                </a:cubicBezTo>
                <a:lnTo>
                  <a:pt x="17442" y="16942"/>
                </a:lnTo>
                <a:cubicBezTo>
                  <a:pt x="17295" y="16832"/>
                  <a:pt x="17090" y="16839"/>
                  <a:pt x="16957" y="16974"/>
                </a:cubicBezTo>
                <a:cubicBezTo>
                  <a:pt x="16826" y="17107"/>
                  <a:pt x="16819" y="17312"/>
                  <a:pt x="16923" y="17460"/>
                </a:cubicBezTo>
                <a:lnTo>
                  <a:pt x="16915" y="17469"/>
                </a:lnTo>
                <a:cubicBezTo>
                  <a:pt x="17379" y="18124"/>
                  <a:pt x="17322" y="19034"/>
                  <a:pt x="16736" y="19621"/>
                </a:cubicBezTo>
                <a:cubicBezTo>
                  <a:pt x="16081" y="20276"/>
                  <a:pt x="15019" y="20276"/>
                  <a:pt x="14365" y="19621"/>
                </a:cubicBezTo>
                <a:cubicBezTo>
                  <a:pt x="13710" y="18966"/>
                  <a:pt x="13710" y="17904"/>
                  <a:pt x="14365" y="17250"/>
                </a:cubicBezTo>
                <a:cubicBezTo>
                  <a:pt x="14654" y="16960"/>
                  <a:pt x="15024" y="16807"/>
                  <a:pt x="15402" y="16773"/>
                </a:cubicBezTo>
                <a:lnTo>
                  <a:pt x="12222" y="13592"/>
                </a:lnTo>
                <a:lnTo>
                  <a:pt x="12218" y="13596"/>
                </a:lnTo>
                <a:cubicBezTo>
                  <a:pt x="12031" y="13427"/>
                  <a:pt x="11744" y="13428"/>
                  <a:pt x="11565" y="13609"/>
                </a:cubicBezTo>
                <a:cubicBezTo>
                  <a:pt x="11385" y="13789"/>
                  <a:pt x="11383" y="14075"/>
                  <a:pt x="11552" y="14262"/>
                </a:cubicBezTo>
                <a:lnTo>
                  <a:pt x="13776" y="16501"/>
                </a:lnTo>
                <a:cubicBezTo>
                  <a:pt x="13748" y="16528"/>
                  <a:pt x="13714" y="16544"/>
                  <a:pt x="13687" y="16572"/>
                </a:cubicBezTo>
                <a:cubicBezTo>
                  <a:pt x="12658" y="17601"/>
                  <a:pt x="12658" y="19269"/>
                  <a:pt x="13687" y="20298"/>
                </a:cubicBezTo>
                <a:cubicBezTo>
                  <a:pt x="14716" y="21328"/>
                  <a:pt x="16384" y="21328"/>
                  <a:pt x="17413" y="20298"/>
                </a:cubicBezTo>
                <a:cubicBezTo>
                  <a:pt x="17994" y="19717"/>
                  <a:pt x="18235" y="18934"/>
                  <a:pt x="18160" y="18175"/>
                </a:cubicBezTo>
                <a:cubicBezTo>
                  <a:pt x="18922" y="18252"/>
                  <a:pt x="19711" y="18011"/>
                  <a:pt x="20295" y="17429"/>
                </a:cubicBezTo>
                <a:cubicBezTo>
                  <a:pt x="21327" y="16400"/>
                  <a:pt x="21327" y="14732"/>
                  <a:pt x="20295" y="13703"/>
                </a:cubicBezTo>
                <a:cubicBezTo>
                  <a:pt x="19263" y="12674"/>
                  <a:pt x="17590" y="12674"/>
                  <a:pt x="16558" y="13703"/>
                </a:cubicBezTo>
                <a:moveTo>
                  <a:pt x="4511" y="7368"/>
                </a:moveTo>
                <a:cubicBezTo>
                  <a:pt x="4539" y="7340"/>
                  <a:pt x="4556" y="7306"/>
                  <a:pt x="4582" y="7278"/>
                </a:cubicBezTo>
                <a:lnTo>
                  <a:pt x="6815" y="9511"/>
                </a:lnTo>
                <a:cubicBezTo>
                  <a:pt x="7002" y="9679"/>
                  <a:pt x="7289" y="9678"/>
                  <a:pt x="7468" y="9498"/>
                </a:cubicBezTo>
                <a:cubicBezTo>
                  <a:pt x="7649" y="9318"/>
                  <a:pt x="7650" y="9031"/>
                  <a:pt x="7481" y="8844"/>
                </a:cubicBezTo>
                <a:lnTo>
                  <a:pt x="7493" y="8833"/>
                </a:lnTo>
                <a:lnTo>
                  <a:pt x="4309" y="5650"/>
                </a:lnTo>
                <a:cubicBezTo>
                  <a:pt x="4277" y="6029"/>
                  <a:pt x="4122" y="6400"/>
                  <a:pt x="3831" y="6691"/>
                </a:cubicBezTo>
                <a:cubicBezTo>
                  <a:pt x="3175" y="7346"/>
                  <a:pt x="2110" y="7346"/>
                  <a:pt x="1453" y="6691"/>
                </a:cubicBezTo>
                <a:cubicBezTo>
                  <a:pt x="797" y="6036"/>
                  <a:pt x="797" y="4974"/>
                  <a:pt x="1453" y="4319"/>
                </a:cubicBezTo>
                <a:cubicBezTo>
                  <a:pt x="2042" y="3732"/>
                  <a:pt x="2957" y="3676"/>
                  <a:pt x="3614" y="4142"/>
                </a:cubicBezTo>
                <a:lnTo>
                  <a:pt x="3627" y="4128"/>
                </a:lnTo>
                <a:cubicBezTo>
                  <a:pt x="3774" y="4238"/>
                  <a:pt x="3979" y="4232"/>
                  <a:pt x="4112" y="4097"/>
                </a:cubicBezTo>
                <a:cubicBezTo>
                  <a:pt x="4243" y="3963"/>
                  <a:pt x="4250" y="3759"/>
                  <a:pt x="4146" y="3610"/>
                </a:cubicBezTo>
                <a:lnTo>
                  <a:pt x="4154" y="3602"/>
                </a:lnTo>
                <a:cubicBezTo>
                  <a:pt x="3690" y="2947"/>
                  <a:pt x="3746" y="2036"/>
                  <a:pt x="4333" y="1450"/>
                </a:cubicBezTo>
                <a:cubicBezTo>
                  <a:pt x="4988" y="795"/>
                  <a:pt x="6050" y="795"/>
                  <a:pt x="6705" y="1450"/>
                </a:cubicBezTo>
                <a:cubicBezTo>
                  <a:pt x="7359" y="2105"/>
                  <a:pt x="7359" y="3166"/>
                  <a:pt x="6705" y="3821"/>
                </a:cubicBezTo>
                <a:cubicBezTo>
                  <a:pt x="6415" y="4111"/>
                  <a:pt x="6046" y="4264"/>
                  <a:pt x="5667" y="4298"/>
                </a:cubicBezTo>
                <a:lnTo>
                  <a:pt x="8847" y="7478"/>
                </a:lnTo>
                <a:lnTo>
                  <a:pt x="8851" y="7475"/>
                </a:lnTo>
                <a:cubicBezTo>
                  <a:pt x="9038" y="7644"/>
                  <a:pt x="9325" y="7642"/>
                  <a:pt x="9504" y="7462"/>
                </a:cubicBezTo>
                <a:cubicBezTo>
                  <a:pt x="9684" y="7282"/>
                  <a:pt x="9686" y="6995"/>
                  <a:pt x="9517" y="6808"/>
                </a:cubicBezTo>
                <a:lnTo>
                  <a:pt x="7293" y="4569"/>
                </a:lnTo>
                <a:cubicBezTo>
                  <a:pt x="7321" y="4543"/>
                  <a:pt x="7355" y="4526"/>
                  <a:pt x="7382" y="4498"/>
                </a:cubicBezTo>
                <a:cubicBezTo>
                  <a:pt x="8411" y="3470"/>
                  <a:pt x="8411" y="1802"/>
                  <a:pt x="7382" y="772"/>
                </a:cubicBezTo>
                <a:cubicBezTo>
                  <a:pt x="6353" y="-257"/>
                  <a:pt x="4685" y="-257"/>
                  <a:pt x="3656" y="772"/>
                </a:cubicBezTo>
                <a:cubicBezTo>
                  <a:pt x="3075" y="1353"/>
                  <a:pt x="2834" y="2137"/>
                  <a:pt x="2909" y="2895"/>
                </a:cubicBezTo>
                <a:cubicBezTo>
                  <a:pt x="2147" y="2818"/>
                  <a:pt x="1358" y="3059"/>
                  <a:pt x="774" y="3641"/>
                </a:cubicBezTo>
                <a:cubicBezTo>
                  <a:pt x="-258" y="4671"/>
                  <a:pt x="-258" y="6339"/>
                  <a:pt x="774" y="7368"/>
                </a:cubicBezTo>
                <a:cubicBezTo>
                  <a:pt x="1806" y="8397"/>
                  <a:pt x="3479" y="8397"/>
                  <a:pt x="4511" y="736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8" name="Shape 2758"/>
          <p:cNvSpPr/>
          <p:nvPr/>
        </p:nvSpPr>
        <p:spPr>
          <a:xfrm>
            <a:off x="467914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982" y="6873"/>
                </a:moveTo>
                <a:lnTo>
                  <a:pt x="14727" y="6873"/>
                </a:lnTo>
                <a:lnTo>
                  <a:pt x="14727" y="8836"/>
                </a:lnTo>
                <a:lnTo>
                  <a:pt x="982" y="8836"/>
                </a:lnTo>
                <a:cubicBezTo>
                  <a:pt x="982" y="8836"/>
                  <a:pt x="982" y="6873"/>
                  <a:pt x="982" y="6873"/>
                </a:cubicBezTo>
                <a:close/>
                <a:moveTo>
                  <a:pt x="982" y="9818"/>
                </a:moveTo>
                <a:lnTo>
                  <a:pt x="14727" y="9818"/>
                </a:lnTo>
                <a:cubicBezTo>
                  <a:pt x="15269" y="9818"/>
                  <a:pt x="15709" y="9378"/>
                  <a:pt x="15709" y="8836"/>
                </a:cubicBezTo>
                <a:lnTo>
                  <a:pt x="15709" y="6873"/>
                </a:lnTo>
                <a:cubicBezTo>
                  <a:pt x="15709" y="6331"/>
                  <a:pt x="15269" y="5891"/>
                  <a:pt x="14727" y="5891"/>
                </a:cubicBezTo>
                <a:lnTo>
                  <a:pt x="982" y="5891"/>
                </a:lnTo>
                <a:cubicBezTo>
                  <a:pt x="440" y="5891"/>
                  <a:pt x="0" y="6331"/>
                  <a:pt x="0" y="6873"/>
                </a:cubicBezTo>
                <a:lnTo>
                  <a:pt x="0" y="8836"/>
                </a:lnTo>
                <a:cubicBezTo>
                  <a:pt x="0" y="9378"/>
                  <a:pt x="440" y="9818"/>
                  <a:pt x="982" y="9818"/>
                </a:cubicBezTo>
                <a:moveTo>
                  <a:pt x="14727" y="20618"/>
                </a:moveTo>
                <a:lnTo>
                  <a:pt x="982" y="20618"/>
                </a:lnTo>
                <a:lnTo>
                  <a:pt x="982" y="18655"/>
                </a:lnTo>
                <a:lnTo>
                  <a:pt x="14727" y="18655"/>
                </a:lnTo>
                <a:cubicBezTo>
                  <a:pt x="14727" y="18655"/>
                  <a:pt x="14727" y="20618"/>
                  <a:pt x="14727" y="20618"/>
                </a:cubicBezTo>
                <a:close/>
                <a:moveTo>
                  <a:pt x="14727" y="17673"/>
                </a:moveTo>
                <a:lnTo>
                  <a:pt x="982" y="17673"/>
                </a:lnTo>
                <a:cubicBezTo>
                  <a:pt x="440" y="17673"/>
                  <a:pt x="0" y="18113"/>
                  <a:pt x="0" y="18655"/>
                </a:cubicBezTo>
                <a:lnTo>
                  <a:pt x="0" y="20618"/>
                </a:lnTo>
                <a:cubicBezTo>
                  <a:pt x="0" y="21160"/>
                  <a:pt x="440" y="21600"/>
                  <a:pt x="982" y="21600"/>
                </a:cubicBezTo>
                <a:lnTo>
                  <a:pt x="14727" y="21600"/>
                </a:lnTo>
                <a:cubicBezTo>
                  <a:pt x="15269" y="21600"/>
                  <a:pt x="15709" y="21160"/>
                  <a:pt x="15709" y="20618"/>
                </a:cubicBezTo>
                <a:lnTo>
                  <a:pt x="15709" y="18655"/>
                </a:lnTo>
                <a:cubicBezTo>
                  <a:pt x="15709" y="18113"/>
                  <a:pt x="15269" y="17673"/>
                  <a:pt x="14727"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59" name="Shape 2759"/>
          <p:cNvSpPr/>
          <p:nvPr/>
        </p:nvSpPr>
        <p:spPr>
          <a:xfrm>
            <a:off x="5079094"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3927" y="6873"/>
                </a:moveTo>
                <a:lnTo>
                  <a:pt x="17673" y="6873"/>
                </a:lnTo>
                <a:lnTo>
                  <a:pt x="17673" y="8836"/>
                </a:lnTo>
                <a:lnTo>
                  <a:pt x="3927" y="8836"/>
                </a:lnTo>
                <a:cubicBezTo>
                  <a:pt x="3927" y="8836"/>
                  <a:pt x="3927" y="6873"/>
                  <a:pt x="3927" y="6873"/>
                </a:cubicBezTo>
                <a:close/>
                <a:moveTo>
                  <a:pt x="17673" y="9818"/>
                </a:moveTo>
                <a:cubicBezTo>
                  <a:pt x="18215" y="9818"/>
                  <a:pt x="18655" y="9378"/>
                  <a:pt x="18655" y="8836"/>
                </a:cubicBezTo>
                <a:lnTo>
                  <a:pt x="18655" y="6873"/>
                </a:lnTo>
                <a:cubicBezTo>
                  <a:pt x="18655" y="6331"/>
                  <a:pt x="18215" y="5891"/>
                  <a:pt x="17673" y="5891"/>
                </a:cubicBezTo>
                <a:lnTo>
                  <a:pt x="3927" y="5891"/>
                </a:lnTo>
                <a:cubicBezTo>
                  <a:pt x="3385" y="5891"/>
                  <a:pt x="2945" y="6331"/>
                  <a:pt x="2945" y="6873"/>
                </a:cubicBezTo>
                <a:lnTo>
                  <a:pt x="2945" y="8836"/>
                </a:lnTo>
                <a:cubicBezTo>
                  <a:pt x="2945" y="9378"/>
                  <a:pt x="3385" y="9818"/>
                  <a:pt x="3927" y="9818"/>
                </a:cubicBezTo>
                <a:cubicBezTo>
                  <a:pt x="3927" y="9818"/>
                  <a:pt x="17673" y="9818"/>
                  <a:pt x="17673" y="9818"/>
                </a:cubicBezTo>
                <a:close/>
                <a:moveTo>
                  <a:pt x="17673" y="20618"/>
                </a:moveTo>
                <a:lnTo>
                  <a:pt x="3927" y="20618"/>
                </a:lnTo>
                <a:lnTo>
                  <a:pt x="3927" y="18655"/>
                </a:lnTo>
                <a:lnTo>
                  <a:pt x="17673" y="18655"/>
                </a:lnTo>
                <a:cubicBezTo>
                  <a:pt x="17673" y="18655"/>
                  <a:pt x="17673" y="20618"/>
                  <a:pt x="17673" y="20618"/>
                </a:cubicBezTo>
                <a:close/>
                <a:moveTo>
                  <a:pt x="17673" y="17673"/>
                </a:moveTo>
                <a:lnTo>
                  <a:pt x="3927" y="17673"/>
                </a:lnTo>
                <a:cubicBezTo>
                  <a:pt x="3385" y="17673"/>
                  <a:pt x="2945" y="18113"/>
                  <a:pt x="2945" y="18655"/>
                </a:cubicBezTo>
                <a:lnTo>
                  <a:pt x="2945" y="20618"/>
                </a:lnTo>
                <a:cubicBezTo>
                  <a:pt x="2945" y="21160"/>
                  <a:pt x="3385" y="21600"/>
                  <a:pt x="3927" y="21600"/>
                </a:cubicBezTo>
                <a:lnTo>
                  <a:pt x="17673" y="21600"/>
                </a:lnTo>
                <a:cubicBezTo>
                  <a:pt x="18215" y="21600"/>
                  <a:pt x="18655" y="21160"/>
                  <a:pt x="18655" y="20618"/>
                </a:cubicBezTo>
                <a:lnTo>
                  <a:pt x="18655" y="18655"/>
                </a:lnTo>
                <a:cubicBezTo>
                  <a:pt x="18655" y="18113"/>
                  <a:pt x="18215" y="17673"/>
                  <a:pt x="17673"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0" name="Shape 2760"/>
          <p:cNvSpPr/>
          <p:nvPr/>
        </p:nvSpPr>
        <p:spPr>
          <a:xfrm>
            <a:off x="547904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6873" y="8836"/>
                </a:lnTo>
                <a:lnTo>
                  <a:pt x="6873" y="6873"/>
                </a:lnTo>
                <a:lnTo>
                  <a:pt x="20618" y="6873"/>
                </a:lnTo>
                <a:cubicBezTo>
                  <a:pt x="20618" y="6873"/>
                  <a:pt x="20618" y="8836"/>
                  <a:pt x="20618" y="8836"/>
                </a:cubicBezTo>
                <a:close/>
                <a:moveTo>
                  <a:pt x="20618" y="5891"/>
                </a:moveTo>
                <a:lnTo>
                  <a:pt x="6873" y="5891"/>
                </a:lnTo>
                <a:cubicBezTo>
                  <a:pt x="6331" y="5891"/>
                  <a:pt x="5891" y="6331"/>
                  <a:pt x="5891" y="6873"/>
                </a:cubicBezTo>
                <a:lnTo>
                  <a:pt x="5891" y="8836"/>
                </a:lnTo>
                <a:cubicBezTo>
                  <a:pt x="5891" y="9378"/>
                  <a:pt x="6331" y="9818"/>
                  <a:pt x="6873" y="9818"/>
                </a:cubicBezTo>
                <a:lnTo>
                  <a:pt x="20618" y="9818"/>
                </a:lnTo>
                <a:cubicBezTo>
                  <a:pt x="21160" y="9818"/>
                  <a:pt x="21600" y="9378"/>
                  <a:pt x="21600" y="8836"/>
                </a:cubicBezTo>
                <a:lnTo>
                  <a:pt x="21600" y="6873"/>
                </a:lnTo>
                <a:cubicBezTo>
                  <a:pt x="21600" y="6331"/>
                  <a:pt x="21160" y="5891"/>
                  <a:pt x="20618" y="5891"/>
                </a:cubicBezTo>
                <a:moveTo>
                  <a:pt x="20618" y="20618"/>
                </a:moveTo>
                <a:lnTo>
                  <a:pt x="6873" y="20618"/>
                </a:lnTo>
                <a:lnTo>
                  <a:pt x="6873" y="18655"/>
                </a:lnTo>
                <a:lnTo>
                  <a:pt x="20618" y="18655"/>
                </a:lnTo>
                <a:cubicBezTo>
                  <a:pt x="20618" y="18655"/>
                  <a:pt x="20618" y="20618"/>
                  <a:pt x="20618" y="20618"/>
                </a:cubicBezTo>
                <a:close/>
                <a:moveTo>
                  <a:pt x="20618" y="17673"/>
                </a:moveTo>
                <a:lnTo>
                  <a:pt x="6873" y="17673"/>
                </a:lnTo>
                <a:cubicBezTo>
                  <a:pt x="6331" y="17673"/>
                  <a:pt x="5891" y="18113"/>
                  <a:pt x="5891" y="18655"/>
                </a:cubicBezTo>
                <a:lnTo>
                  <a:pt x="5891" y="20618"/>
                </a:lnTo>
                <a:cubicBezTo>
                  <a:pt x="5891" y="21160"/>
                  <a:pt x="6331" y="21600"/>
                  <a:pt x="6873"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1" name="Shape 2761"/>
          <p:cNvSpPr/>
          <p:nvPr/>
        </p:nvSpPr>
        <p:spPr>
          <a:xfrm>
            <a:off x="587898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4727"/>
                </a:moveTo>
                <a:lnTo>
                  <a:pt x="982" y="14727"/>
                </a:lnTo>
                <a:lnTo>
                  <a:pt x="982" y="12764"/>
                </a:lnTo>
                <a:lnTo>
                  <a:pt x="20618" y="12764"/>
                </a:lnTo>
                <a:cubicBezTo>
                  <a:pt x="20618" y="12764"/>
                  <a:pt x="20618" y="14727"/>
                  <a:pt x="20618" y="14727"/>
                </a:cubicBezTo>
                <a:close/>
                <a:moveTo>
                  <a:pt x="20618" y="11782"/>
                </a:moveTo>
                <a:lnTo>
                  <a:pt x="982" y="11782"/>
                </a:lnTo>
                <a:cubicBezTo>
                  <a:pt x="440" y="11782"/>
                  <a:pt x="0" y="12222"/>
                  <a:pt x="0" y="12764"/>
                </a:cubicBezTo>
                <a:lnTo>
                  <a:pt x="0" y="14727"/>
                </a:lnTo>
                <a:cubicBezTo>
                  <a:pt x="0" y="15270"/>
                  <a:pt x="440" y="15709"/>
                  <a:pt x="982" y="15709"/>
                </a:cubicBezTo>
                <a:lnTo>
                  <a:pt x="20618" y="15709"/>
                </a:lnTo>
                <a:cubicBezTo>
                  <a:pt x="21160" y="15709"/>
                  <a:pt x="21600" y="15270"/>
                  <a:pt x="21600" y="14727"/>
                </a:cubicBezTo>
                <a:lnTo>
                  <a:pt x="21600" y="12764"/>
                </a:lnTo>
                <a:cubicBezTo>
                  <a:pt x="21600" y="12222"/>
                  <a:pt x="21160" y="11782"/>
                  <a:pt x="20618" y="11782"/>
                </a:cubicBezTo>
                <a:moveTo>
                  <a:pt x="20618" y="8836"/>
                </a:moveTo>
                <a:lnTo>
                  <a:pt x="982" y="8836"/>
                </a:lnTo>
                <a:lnTo>
                  <a:pt x="982" y="6873"/>
                </a:lnTo>
                <a:lnTo>
                  <a:pt x="20618" y="6873"/>
                </a:lnTo>
                <a:cubicBezTo>
                  <a:pt x="20618" y="6873"/>
                  <a:pt x="20618" y="8836"/>
                  <a:pt x="20618" y="8836"/>
                </a:cubicBezTo>
                <a:close/>
                <a:moveTo>
                  <a:pt x="20618" y="5891"/>
                </a:moveTo>
                <a:lnTo>
                  <a:pt x="982" y="5891"/>
                </a:lnTo>
                <a:cubicBezTo>
                  <a:pt x="440" y="5891"/>
                  <a:pt x="0" y="6331"/>
                  <a:pt x="0" y="6873"/>
                </a:cubicBezTo>
                <a:lnTo>
                  <a:pt x="0" y="8836"/>
                </a:lnTo>
                <a:cubicBezTo>
                  <a:pt x="0" y="9378"/>
                  <a:pt x="440" y="9818"/>
                  <a:pt x="982" y="9818"/>
                </a:cubicBezTo>
                <a:lnTo>
                  <a:pt x="20618" y="9818"/>
                </a:lnTo>
                <a:cubicBezTo>
                  <a:pt x="21160" y="9818"/>
                  <a:pt x="21600" y="9378"/>
                  <a:pt x="21600" y="8836"/>
                </a:cubicBezTo>
                <a:lnTo>
                  <a:pt x="21600" y="6873"/>
                </a:lnTo>
                <a:cubicBezTo>
                  <a:pt x="21600" y="6331"/>
                  <a:pt x="21160" y="5891"/>
                  <a:pt x="20618" y="5891"/>
                </a:cubicBezTo>
                <a:moveTo>
                  <a:pt x="20618" y="2945"/>
                </a:moveTo>
                <a:lnTo>
                  <a:pt x="982" y="2945"/>
                </a:lnTo>
                <a:lnTo>
                  <a:pt x="982" y="982"/>
                </a:lnTo>
                <a:lnTo>
                  <a:pt x="20618" y="982"/>
                </a:lnTo>
                <a:cubicBezTo>
                  <a:pt x="20618" y="982"/>
                  <a:pt x="20618" y="2945"/>
                  <a:pt x="20618" y="2945"/>
                </a:cubicBezTo>
                <a:close/>
                <a:moveTo>
                  <a:pt x="20618" y="0"/>
                </a:moveTo>
                <a:lnTo>
                  <a:pt x="982" y="0"/>
                </a:lnTo>
                <a:cubicBezTo>
                  <a:pt x="440" y="0"/>
                  <a:pt x="0" y="440"/>
                  <a:pt x="0" y="982"/>
                </a:cubicBezTo>
                <a:lnTo>
                  <a:pt x="0" y="2945"/>
                </a:lnTo>
                <a:cubicBezTo>
                  <a:pt x="0" y="3487"/>
                  <a:pt x="440" y="3927"/>
                  <a:pt x="982" y="3927"/>
                </a:cubicBezTo>
                <a:lnTo>
                  <a:pt x="20618" y="3927"/>
                </a:lnTo>
                <a:cubicBezTo>
                  <a:pt x="21160" y="3927"/>
                  <a:pt x="21600" y="3487"/>
                  <a:pt x="21600" y="2945"/>
                </a:cubicBezTo>
                <a:lnTo>
                  <a:pt x="21600" y="982"/>
                </a:lnTo>
                <a:cubicBezTo>
                  <a:pt x="21600" y="440"/>
                  <a:pt x="21160" y="0"/>
                  <a:pt x="20618" y="0"/>
                </a:cubicBezTo>
                <a:moveTo>
                  <a:pt x="20618" y="20618"/>
                </a:moveTo>
                <a:lnTo>
                  <a:pt x="982" y="20618"/>
                </a:lnTo>
                <a:lnTo>
                  <a:pt x="982" y="18655"/>
                </a:lnTo>
                <a:lnTo>
                  <a:pt x="20618" y="18655"/>
                </a:lnTo>
                <a:cubicBezTo>
                  <a:pt x="20618" y="18655"/>
                  <a:pt x="20618" y="20618"/>
                  <a:pt x="20618" y="20618"/>
                </a:cubicBezTo>
                <a:close/>
                <a:moveTo>
                  <a:pt x="20618" y="17673"/>
                </a:moveTo>
                <a:lnTo>
                  <a:pt x="982" y="17673"/>
                </a:lnTo>
                <a:cubicBezTo>
                  <a:pt x="440" y="17673"/>
                  <a:pt x="0" y="18113"/>
                  <a:pt x="0" y="18655"/>
                </a:cubicBezTo>
                <a:lnTo>
                  <a:pt x="0" y="20618"/>
                </a:lnTo>
                <a:cubicBezTo>
                  <a:pt x="0" y="21160"/>
                  <a:pt x="440" y="21600"/>
                  <a:pt x="982" y="21600"/>
                </a:cubicBezTo>
                <a:lnTo>
                  <a:pt x="20618" y="21600"/>
                </a:lnTo>
                <a:cubicBezTo>
                  <a:pt x="21160" y="21600"/>
                  <a:pt x="21600" y="21160"/>
                  <a:pt x="21600" y="20618"/>
                </a:cubicBezTo>
                <a:lnTo>
                  <a:pt x="21600" y="18655"/>
                </a:lnTo>
                <a:cubicBezTo>
                  <a:pt x="21600" y="18113"/>
                  <a:pt x="21160" y="17673"/>
                  <a:pt x="20618"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2" name="Shape 2762"/>
          <p:cNvSpPr/>
          <p:nvPr/>
        </p:nvSpPr>
        <p:spPr>
          <a:xfrm>
            <a:off x="6278931"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982"/>
                </a:moveTo>
                <a:cubicBezTo>
                  <a:pt x="19520" y="982"/>
                  <a:pt x="20618" y="2081"/>
                  <a:pt x="20618" y="3436"/>
                </a:cubicBezTo>
                <a:cubicBezTo>
                  <a:pt x="20618" y="4792"/>
                  <a:pt x="19520" y="5891"/>
                  <a:pt x="18164" y="5891"/>
                </a:cubicBezTo>
                <a:cubicBezTo>
                  <a:pt x="16808" y="5891"/>
                  <a:pt x="15709" y="4792"/>
                  <a:pt x="15709" y="3436"/>
                </a:cubicBezTo>
                <a:cubicBezTo>
                  <a:pt x="15709" y="2081"/>
                  <a:pt x="16808" y="982"/>
                  <a:pt x="18164" y="982"/>
                </a:cubicBezTo>
                <a:moveTo>
                  <a:pt x="18164" y="6873"/>
                </a:moveTo>
                <a:cubicBezTo>
                  <a:pt x="20062" y="6873"/>
                  <a:pt x="21600" y="5334"/>
                  <a:pt x="21600" y="3436"/>
                </a:cubicBezTo>
                <a:cubicBezTo>
                  <a:pt x="21600" y="1538"/>
                  <a:pt x="20062" y="0"/>
                  <a:pt x="18164" y="0"/>
                </a:cubicBezTo>
                <a:cubicBezTo>
                  <a:pt x="16266" y="0"/>
                  <a:pt x="14727" y="1538"/>
                  <a:pt x="14727" y="3436"/>
                </a:cubicBezTo>
                <a:cubicBezTo>
                  <a:pt x="14727" y="5334"/>
                  <a:pt x="16266" y="6873"/>
                  <a:pt x="18164" y="6873"/>
                </a:cubicBezTo>
                <a:moveTo>
                  <a:pt x="18164" y="3927"/>
                </a:moveTo>
                <a:lnTo>
                  <a:pt x="18655" y="3927"/>
                </a:lnTo>
                <a:cubicBezTo>
                  <a:pt x="18925" y="3927"/>
                  <a:pt x="19145" y="3708"/>
                  <a:pt x="19145" y="3436"/>
                </a:cubicBezTo>
                <a:cubicBezTo>
                  <a:pt x="19145" y="3165"/>
                  <a:pt x="18925" y="2945"/>
                  <a:pt x="18655" y="2945"/>
                </a:cubicBezTo>
                <a:lnTo>
                  <a:pt x="18655" y="2455"/>
                </a:lnTo>
                <a:cubicBezTo>
                  <a:pt x="18655" y="2183"/>
                  <a:pt x="18434" y="1964"/>
                  <a:pt x="18164" y="1964"/>
                </a:cubicBezTo>
                <a:cubicBezTo>
                  <a:pt x="17893" y="1964"/>
                  <a:pt x="17673" y="2183"/>
                  <a:pt x="17673" y="2455"/>
                </a:cubicBezTo>
                <a:lnTo>
                  <a:pt x="17673" y="3436"/>
                </a:lnTo>
                <a:cubicBezTo>
                  <a:pt x="17673" y="3708"/>
                  <a:pt x="17893" y="3927"/>
                  <a:pt x="18164" y="3927"/>
                </a:cubicBezTo>
                <a:moveTo>
                  <a:pt x="9818" y="11782"/>
                </a:moveTo>
                <a:lnTo>
                  <a:pt x="4909" y="11782"/>
                </a:lnTo>
                <a:lnTo>
                  <a:pt x="4909" y="8836"/>
                </a:lnTo>
                <a:lnTo>
                  <a:pt x="9818" y="8836"/>
                </a:lnTo>
                <a:cubicBezTo>
                  <a:pt x="9818" y="8836"/>
                  <a:pt x="9818" y="11782"/>
                  <a:pt x="9818" y="11782"/>
                </a:cubicBezTo>
                <a:close/>
                <a:moveTo>
                  <a:pt x="21109" y="12764"/>
                </a:moveTo>
                <a:lnTo>
                  <a:pt x="11291" y="12764"/>
                </a:lnTo>
                <a:cubicBezTo>
                  <a:pt x="11562" y="12764"/>
                  <a:pt x="11782" y="12544"/>
                  <a:pt x="11782" y="12273"/>
                </a:cubicBezTo>
                <a:cubicBezTo>
                  <a:pt x="11782" y="12001"/>
                  <a:pt x="11562" y="11782"/>
                  <a:pt x="11291" y="11782"/>
                </a:cubicBezTo>
                <a:lnTo>
                  <a:pt x="10800" y="11782"/>
                </a:lnTo>
                <a:lnTo>
                  <a:pt x="10800" y="8836"/>
                </a:lnTo>
                <a:cubicBezTo>
                  <a:pt x="10800" y="8295"/>
                  <a:pt x="10360" y="7855"/>
                  <a:pt x="9818" y="7855"/>
                </a:cubicBezTo>
                <a:lnTo>
                  <a:pt x="4909" y="7855"/>
                </a:lnTo>
                <a:cubicBezTo>
                  <a:pt x="4367" y="7855"/>
                  <a:pt x="3927" y="8295"/>
                  <a:pt x="3927" y="8836"/>
                </a:cubicBezTo>
                <a:lnTo>
                  <a:pt x="3927" y="11782"/>
                </a:lnTo>
                <a:lnTo>
                  <a:pt x="3436" y="11782"/>
                </a:lnTo>
                <a:cubicBezTo>
                  <a:pt x="3166" y="11782"/>
                  <a:pt x="2945" y="12001"/>
                  <a:pt x="2945" y="12273"/>
                </a:cubicBezTo>
                <a:cubicBezTo>
                  <a:pt x="2945" y="12544"/>
                  <a:pt x="3166" y="12764"/>
                  <a:pt x="3436" y="12764"/>
                </a:cubicBezTo>
                <a:lnTo>
                  <a:pt x="491" y="12764"/>
                </a:lnTo>
                <a:cubicBezTo>
                  <a:pt x="220" y="12764"/>
                  <a:pt x="0" y="12983"/>
                  <a:pt x="0" y="13255"/>
                </a:cubicBezTo>
                <a:cubicBezTo>
                  <a:pt x="0" y="13526"/>
                  <a:pt x="220" y="13745"/>
                  <a:pt x="491" y="13745"/>
                </a:cubicBezTo>
                <a:lnTo>
                  <a:pt x="2945" y="13745"/>
                </a:lnTo>
                <a:lnTo>
                  <a:pt x="2945" y="21109"/>
                </a:lnTo>
                <a:cubicBezTo>
                  <a:pt x="2945" y="21380"/>
                  <a:pt x="3166" y="21600"/>
                  <a:pt x="3436" y="21600"/>
                </a:cubicBezTo>
                <a:cubicBezTo>
                  <a:pt x="3707" y="21600"/>
                  <a:pt x="3927" y="21380"/>
                  <a:pt x="3927" y="21109"/>
                </a:cubicBezTo>
                <a:lnTo>
                  <a:pt x="3927" y="13745"/>
                </a:lnTo>
                <a:lnTo>
                  <a:pt x="17673" y="13745"/>
                </a:lnTo>
                <a:lnTo>
                  <a:pt x="17673" y="21109"/>
                </a:lnTo>
                <a:cubicBezTo>
                  <a:pt x="17673" y="21380"/>
                  <a:pt x="17893" y="21600"/>
                  <a:pt x="18164" y="21600"/>
                </a:cubicBezTo>
                <a:cubicBezTo>
                  <a:pt x="18434" y="21600"/>
                  <a:pt x="18655" y="21380"/>
                  <a:pt x="18655" y="21109"/>
                </a:cubicBezTo>
                <a:lnTo>
                  <a:pt x="18655" y="13745"/>
                </a:lnTo>
                <a:lnTo>
                  <a:pt x="21109" y="13745"/>
                </a:lnTo>
                <a:cubicBezTo>
                  <a:pt x="21380" y="13745"/>
                  <a:pt x="21600" y="13526"/>
                  <a:pt x="21600" y="13255"/>
                </a:cubicBezTo>
                <a:cubicBezTo>
                  <a:pt x="21600" y="12983"/>
                  <a:pt x="21380" y="12764"/>
                  <a:pt x="21109"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3" name="Shape 2763"/>
          <p:cNvSpPr/>
          <p:nvPr/>
        </p:nvSpPr>
        <p:spPr>
          <a:xfrm>
            <a:off x="6678877"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5"/>
                  <a:pt x="3404" y="982"/>
                  <a:pt x="6382" y="982"/>
                </a:cubicBezTo>
                <a:cubicBezTo>
                  <a:pt x="7780" y="982"/>
                  <a:pt x="9107" y="1518"/>
                  <a:pt x="10120" y="2491"/>
                </a:cubicBezTo>
                <a:lnTo>
                  <a:pt x="10585" y="2939"/>
                </a:lnTo>
                <a:lnTo>
                  <a:pt x="8836" y="6873"/>
                </a:lnTo>
                <a:lnTo>
                  <a:pt x="11291" y="9818"/>
                </a:lnTo>
                <a:lnTo>
                  <a:pt x="9327" y="14236"/>
                </a:lnTo>
                <a:lnTo>
                  <a:pt x="10800" y="16691"/>
                </a:lnTo>
                <a:lnTo>
                  <a:pt x="10432" y="14236"/>
                </a:lnTo>
                <a:lnTo>
                  <a:pt x="12365" y="9542"/>
                </a:lnTo>
                <a:lnTo>
                  <a:pt x="10002" y="6781"/>
                </a:lnTo>
                <a:lnTo>
                  <a:pt x="12069" y="2007"/>
                </a:lnTo>
                <a:cubicBezTo>
                  <a:pt x="12984" y="1345"/>
                  <a:pt x="14076" y="982"/>
                  <a:pt x="15218" y="982"/>
                </a:cubicBezTo>
                <a:cubicBezTo>
                  <a:pt x="18196" y="982"/>
                  <a:pt x="20618" y="3405"/>
                  <a:pt x="20618" y="6382"/>
                </a:cubicBezTo>
                <a:cubicBezTo>
                  <a:pt x="20618" y="6725"/>
                  <a:pt x="20579" y="7008"/>
                  <a:pt x="20579" y="7008"/>
                </a:cubicBezTo>
                <a:moveTo>
                  <a:pt x="21600" y="6382"/>
                </a:moveTo>
                <a:cubicBezTo>
                  <a:pt x="21600" y="2857"/>
                  <a:pt x="18743" y="0"/>
                  <a:pt x="15218" y="0"/>
                </a:cubicBezTo>
                <a:cubicBezTo>
                  <a:pt x="13502" y="0"/>
                  <a:pt x="11947" y="681"/>
                  <a:pt x="10800" y="1783"/>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4" name="Shape 2764"/>
          <p:cNvSpPr/>
          <p:nvPr/>
        </p:nvSpPr>
        <p:spPr>
          <a:xfrm>
            <a:off x="7078822" y="3488932"/>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588" y="6611"/>
                </a:moveTo>
                <a:cubicBezTo>
                  <a:pt x="20587" y="6619"/>
                  <a:pt x="20587" y="6627"/>
                  <a:pt x="20586" y="6635"/>
                </a:cubicBezTo>
                <a:cubicBezTo>
                  <a:pt x="20585" y="6640"/>
                  <a:pt x="20582" y="6674"/>
                  <a:pt x="20581" y="6680"/>
                </a:cubicBezTo>
                <a:cubicBezTo>
                  <a:pt x="20107" y="11287"/>
                  <a:pt x="14607" y="17428"/>
                  <a:pt x="12595" y="19086"/>
                </a:cubicBezTo>
                <a:lnTo>
                  <a:pt x="11905" y="15660"/>
                </a:lnTo>
                <a:lnTo>
                  <a:pt x="13960" y="10631"/>
                </a:lnTo>
                <a:lnTo>
                  <a:pt x="11429" y="7425"/>
                </a:lnTo>
                <a:lnTo>
                  <a:pt x="12699" y="2550"/>
                </a:lnTo>
                <a:cubicBezTo>
                  <a:pt x="12708" y="2540"/>
                  <a:pt x="12713" y="2534"/>
                  <a:pt x="12723" y="2524"/>
                </a:cubicBezTo>
                <a:cubicBezTo>
                  <a:pt x="13572" y="1625"/>
                  <a:pt x="14916" y="1080"/>
                  <a:pt x="16088" y="1080"/>
                </a:cubicBezTo>
                <a:cubicBezTo>
                  <a:pt x="18586" y="1080"/>
                  <a:pt x="20618" y="3315"/>
                  <a:pt x="20618" y="6063"/>
                </a:cubicBezTo>
                <a:cubicBezTo>
                  <a:pt x="20618" y="6262"/>
                  <a:pt x="20598" y="6506"/>
                  <a:pt x="20588" y="6611"/>
                </a:cubicBezTo>
                <a:moveTo>
                  <a:pt x="21600" y="6063"/>
                </a:moveTo>
                <a:cubicBezTo>
                  <a:pt x="21600" y="2715"/>
                  <a:pt x="19132" y="0"/>
                  <a:pt x="16088" y="0"/>
                </a:cubicBezTo>
                <a:cubicBezTo>
                  <a:pt x="14607" y="0"/>
                  <a:pt x="12974" y="748"/>
                  <a:pt x="11983" y="1794"/>
                </a:cubicBezTo>
                <a:lnTo>
                  <a:pt x="11985" y="1802"/>
                </a:lnTo>
                <a:cubicBezTo>
                  <a:pt x="11900" y="1871"/>
                  <a:pt x="11839" y="1965"/>
                  <a:pt x="11809" y="2079"/>
                </a:cubicBezTo>
                <a:lnTo>
                  <a:pt x="11797" y="2076"/>
                </a:lnTo>
                <a:lnTo>
                  <a:pt x="10309" y="7560"/>
                </a:lnTo>
                <a:lnTo>
                  <a:pt x="12764" y="10800"/>
                </a:lnTo>
                <a:lnTo>
                  <a:pt x="10800" y="15660"/>
                </a:lnTo>
                <a:lnTo>
                  <a:pt x="11797" y="20098"/>
                </a:lnTo>
                <a:lnTo>
                  <a:pt x="11803" y="20097"/>
                </a:lnTo>
                <a:cubicBezTo>
                  <a:pt x="11853" y="20337"/>
                  <a:pt x="12039" y="20520"/>
                  <a:pt x="12273" y="20520"/>
                </a:cubicBezTo>
                <a:cubicBezTo>
                  <a:pt x="12410" y="20520"/>
                  <a:pt x="12534" y="20457"/>
                  <a:pt x="12623" y="20357"/>
                </a:cubicBezTo>
                <a:cubicBezTo>
                  <a:pt x="14361" y="19225"/>
                  <a:pt x="20995" y="12270"/>
                  <a:pt x="21558" y="6787"/>
                </a:cubicBezTo>
                <a:lnTo>
                  <a:pt x="21558" y="6791"/>
                </a:lnTo>
                <a:cubicBezTo>
                  <a:pt x="21559" y="6791"/>
                  <a:pt x="21600" y="6399"/>
                  <a:pt x="21600" y="6063"/>
                </a:cubicBezTo>
                <a:moveTo>
                  <a:pt x="1019" y="7760"/>
                </a:moveTo>
                <a:cubicBezTo>
                  <a:pt x="1018" y="7754"/>
                  <a:pt x="1015" y="7720"/>
                  <a:pt x="1014" y="7715"/>
                </a:cubicBezTo>
                <a:cubicBezTo>
                  <a:pt x="1013" y="7707"/>
                  <a:pt x="1013" y="7699"/>
                  <a:pt x="1012" y="7691"/>
                </a:cubicBezTo>
                <a:cubicBezTo>
                  <a:pt x="1002" y="7586"/>
                  <a:pt x="982" y="7342"/>
                  <a:pt x="982" y="7143"/>
                </a:cubicBezTo>
                <a:cubicBezTo>
                  <a:pt x="982" y="4395"/>
                  <a:pt x="3014" y="2160"/>
                  <a:pt x="5512" y="2160"/>
                </a:cubicBezTo>
                <a:cubicBezTo>
                  <a:pt x="6634" y="2160"/>
                  <a:pt x="7908" y="2664"/>
                  <a:pt x="8760" y="3495"/>
                </a:cubicBezTo>
                <a:lnTo>
                  <a:pt x="7364" y="8640"/>
                </a:lnTo>
                <a:lnTo>
                  <a:pt x="9818" y="11880"/>
                </a:lnTo>
                <a:lnTo>
                  <a:pt x="7855" y="16740"/>
                </a:lnTo>
                <a:lnTo>
                  <a:pt x="8531" y="19752"/>
                </a:lnTo>
                <a:cubicBezTo>
                  <a:pt x="6242" y="17649"/>
                  <a:pt x="1459" y="12041"/>
                  <a:pt x="1019" y="7760"/>
                </a:cubicBezTo>
                <a:moveTo>
                  <a:pt x="9803" y="20925"/>
                </a:moveTo>
                <a:lnTo>
                  <a:pt x="8959" y="16740"/>
                </a:lnTo>
                <a:lnTo>
                  <a:pt x="11015" y="11711"/>
                </a:lnTo>
                <a:lnTo>
                  <a:pt x="8484" y="8505"/>
                </a:lnTo>
                <a:lnTo>
                  <a:pt x="9799" y="3457"/>
                </a:lnTo>
                <a:lnTo>
                  <a:pt x="9791" y="3454"/>
                </a:lnTo>
                <a:cubicBezTo>
                  <a:pt x="9804" y="3407"/>
                  <a:pt x="9818" y="3360"/>
                  <a:pt x="9818" y="3308"/>
                </a:cubicBezTo>
                <a:cubicBezTo>
                  <a:pt x="9818" y="3130"/>
                  <a:pt x="9736" y="2981"/>
                  <a:pt x="9615" y="2882"/>
                </a:cubicBezTo>
                <a:lnTo>
                  <a:pt x="9617" y="2874"/>
                </a:lnTo>
                <a:cubicBezTo>
                  <a:pt x="8626" y="1827"/>
                  <a:pt x="6993" y="1080"/>
                  <a:pt x="5512" y="1080"/>
                </a:cubicBezTo>
                <a:cubicBezTo>
                  <a:pt x="2468" y="1080"/>
                  <a:pt x="0" y="3795"/>
                  <a:pt x="0" y="7143"/>
                </a:cubicBezTo>
                <a:cubicBezTo>
                  <a:pt x="0" y="7479"/>
                  <a:pt x="41" y="7871"/>
                  <a:pt x="42" y="7871"/>
                </a:cubicBezTo>
                <a:lnTo>
                  <a:pt x="42" y="7867"/>
                </a:lnTo>
                <a:cubicBezTo>
                  <a:pt x="605" y="13350"/>
                  <a:pt x="7239" y="20305"/>
                  <a:pt x="8977" y="21437"/>
                </a:cubicBezTo>
                <a:cubicBezTo>
                  <a:pt x="9066" y="21537"/>
                  <a:pt x="9190" y="21600"/>
                  <a:pt x="9327" y="21600"/>
                </a:cubicBezTo>
                <a:cubicBezTo>
                  <a:pt x="9599" y="21600"/>
                  <a:pt x="9818" y="21358"/>
                  <a:pt x="9818" y="21060"/>
                </a:cubicBezTo>
                <a:cubicBezTo>
                  <a:pt x="9818" y="21013"/>
                  <a:pt x="9804" y="20971"/>
                  <a:pt x="9794" y="20927"/>
                </a:cubicBezTo>
                <a:cubicBezTo>
                  <a:pt x="9794" y="20927"/>
                  <a:pt x="9803" y="20925"/>
                  <a:pt x="9803" y="2092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5" name="Shape 2765"/>
          <p:cNvSpPr/>
          <p:nvPr/>
        </p:nvSpPr>
        <p:spPr>
          <a:xfrm>
            <a:off x="7478768"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82" y="12764"/>
                </a:moveTo>
                <a:cubicBezTo>
                  <a:pt x="11510" y="12764"/>
                  <a:pt x="11291" y="12984"/>
                  <a:pt x="11291" y="13255"/>
                </a:cubicBezTo>
                <a:cubicBezTo>
                  <a:pt x="11291" y="13526"/>
                  <a:pt x="11510" y="13745"/>
                  <a:pt x="11782" y="13745"/>
                </a:cubicBezTo>
                <a:cubicBezTo>
                  <a:pt x="12053" y="13745"/>
                  <a:pt x="12273" y="13526"/>
                  <a:pt x="12273" y="13255"/>
                </a:cubicBezTo>
                <a:cubicBezTo>
                  <a:pt x="12273" y="12984"/>
                  <a:pt x="12053" y="12764"/>
                  <a:pt x="11782" y="12764"/>
                </a:cubicBezTo>
                <a:moveTo>
                  <a:pt x="14727" y="10800"/>
                </a:moveTo>
                <a:cubicBezTo>
                  <a:pt x="14999" y="10800"/>
                  <a:pt x="15218" y="10580"/>
                  <a:pt x="15218" y="10309"/>
                </a:cubicBezTo>
                <a:cubicBezTo>
                  <a:pt x="15218" y="10038"/>
                  <a:pt x="14999" y="9818"/>
                  <a:pt x="14727" y="9818"/>
                </a:cubicBezTo>
                <a:cubicBezTo>
                  <a:pt x="14456" y="9818"/>
                  <a:pt x="14236" y="10038"/>
                  <a:pt x="14236" y="10309"/>
                </a:cubicBezTo>
                <a:cubicBezTo>
                  <a:pt x="14236" y="10580"/>
                  <a:pt x="14456" y="10800"/>
                  <a:pt x="14727" y="10800"/>
                </a:cubicBezTo>
                <a:moveTo>
                  <a:pt x="19913" y="7150"/>
                </a:moveTo>
                <a:lnTo>
                  <a:pt x="19959" y="7195"/>
                </a:lnTo>
                <a:lnTo>
                  <a:pt x="19468" y="7686"/>
                </a:lnTo>
                <a:lnTo>
                  <a:pt x="19468" y="7687"/>
                </a:lnTo>
                <a:lnTo>
                  <a:pt x="17606" y="9549"/>
                </a:lnTo>
                <a:lnTo>
                  <a:pt x="12052" y="3994"/>
                </a:lnTo>
                <a:lnTo>
                  <a:pt x="13913" y="2132"/>
                </a:lnTo>
                <a:cubicBezTo>
                  <a:pt x="13914" y="2132"/>
                  <a:pt x="13914" y="2132"/>
                  <a:pt x="13914" y="2132"/>
                </a:cubicBezTo>
                <a:lnTo>
                  <a:pt x="14405" y="1641"/>
                </a:lnTo>
                <a:lnTo>
                  <a:pt x="14450" y="1687"/>
                </a:lnTo>
                <a:cubicBezTo>
                  <a:pt x="15086" y="1244"/>
                  <a:pt x="15857" y="982"/>
                  <a:pt x="16691" y="982"/>
                </a:cubicBezTo>
                <a:cubicBezTo>
                  <a:pt x="18860" y="982"/>
                  <a:pt x="20618" y="2740"/>
                  <a:pt x="20618" y="4909"/>
                </a:cubicBezTo>
                <a:cubicBezTo>
                  <a:pt x="20618" y="5743"/>
                  <a:pt x="20356" y="6514"/>
                  <a:pt x="19913" y="7150"/>
                </a:cubicBezTo>
                <a:moveTo>
                  <a:pt x="10242" y="16912"/>
                </a:moveTo>
                <a:lnTo>
                  <a:pt x="4689" y="11358"/>
                </a:lnTo>
                <a:lnTo>
                  <a:pt x="11358" y="4689"/>
                </a:lnTo>
                <a:lnTo>
                  <a:pt x="16911" y="10243"/>
                </a:lnTo>
                <a:cubicBezTo>
                  <a:pt x="16911" y="10243"/>
                  <a:pt x="10242" y="16912"/>
                  <a:pt x="10242" y="16912"/>
                </a:cubicBezTo>
                <a:close/>
                <a:moveTo>
                  <a:pt x="7686" y="19468"/>
                </a:moveTo>
                <a:cubicBezTo>
                  <a:pt x="6975" y="20179"/>
                  <a:pt x="5994" y="20618"/>
                  <a:pt x="4909" y="20618"/>
                </a:cubicBezTo>
                <a:cubicBezTo>
                  <a:pt x="2740" y="20618"/>
                  <a:pt x="982" y="18860"/>
                  <a:pt x="982" y="16691"/>
                </a:cubicBezTo>
                <a:cubicBezTo>
                  <a:pt x="982" y="15606"/>
                  <a:pt x="1421" y="14625"/>
                  <a:pt x="2132" y="13914"/>
                </a:cubicBezTo>
                <a:lnTo>
                  <a:pt x="3994" y="12052"/>
                </a:lnTo>
                <a:lnTo>
                  <a:pt x="9548" y="17606"/>
                </a:lnTo>
                <a:cubicBezTo>
                  <a:pt x="9548" y="17606"/>
                  <a:pt x="7686" y="19468"/>
                  <a:pt x="7686" y="19468"/>
                </a:cubicBezTo>
                <a:close/>
                <a:moveTo>
                  <a:pt x="21600" y="4909"/>
                </a:moveTo>
                <a:cubicBezTo>
                  <a:pt x="21600" y="2198"/>
                  <a:pt x="19402" y="0"/>
                  <a:pt x="16691" y="0"/>
                </a:cubicBezTo>
                <a:cubicBezTo>
                  <a:pt x="15586" y="0"/>
                  <a:pt x="14570" y="370"/>
                  <a:pt x="13749" y="986"/>
                </a:cubicBezTo>
                <a:lnTo>
                  <a:pt x="13710" y="947"/>
                </a:lnTo>
                <a:lnTo>
                  <a:pt x="13221" y="1437"/>
                </a:lnTo>
                <a:cubicBezTo>
                  <a:pt x="13220" y="1438"/>
                  <a:pt x="13220" y="1438"/>
                  <a:pt x="13219" y="1439"/>
                </a:cubicBezTo>
                <a:lnTo>
                  <a:pt x="1438" y="13220"/>
                </a:lnTo>
                <a:cubicBezTo>
                  <a:pt x="549" y="14108"/>
                  <a:pt x="0" y="15336"/>
                  <a:pt x="0" y="16691"/>
                </a:cubicBezTo>
                <a:cubicBezTo>
                  <a:pt x="0" y="19402"/>
                  <a:pt x="2198" y="21600"/>
                  <a:pt x="4909" y="21600"/>
                </a:cubicBezTo>
                <a:cubicBezTo>
                  <a:pt x="6265" y="21600"/>
                  <a:pt x="7492" y="21051"/>
                  <a:pt x="8380" y="20162"/>
                </a:cubicBezTo>
                <a:lnTo>
                  <a:pt x="20162" y="8381"/>
                </a:lnTo>
                <a:lnTo>
                  <a:pt x="20163" y="8380"/>
                </a:lnTo>
                <a:lnTo>
                  <a:pt x="20653" y="7890"/>
                </a:lnTo>
                <a:lnTo>
                  <a:pt x="20614" y="7851"/>
                </a:lnTo>
                <a:cubicBezTo>
                  <a:pt x="21230" y="7030"/>
                  <a:pt x="21600" y="6015"/>
                  <a:pt x="21600" y="4909"/>
                </a:cubicBezTo>
                <a:moveTo>
                  <a:pt x="10800" y="6873"/>
                </a:moveTo>
                <a:cubicBezTo>
                  <a:pt x="10800" y="7144"/>
                  <a:pt x="11020" y="7364"/>
                  <a:pt x="11291" y="7364"/>
                </a:cubicBezTo>
                <a:cubicBezTo>
                  <a:pt x="11562" y="7364"/>
                  <a:pt x="11782" y="7144"/>
                  <a:pt x="11782" y="6873"/>
                </a:cubicBezTo>
                <a:cubicBezTo>
                  <a:pt x="11782" y="6602"/>
                  <a:pt x="11562" y="6382"/>
                  <a:pt x="11291" y="6382"/>
                </a:cubicBezTo>
                <a:cubicBezTo>
                  <a:pt x="11020" y="6382"/>
                  <a:pt x="10800" y="6602"/>
                  <a:pt x="10800" y="6873"/>
                </a:cubicBezTo>
                <a:moveTo>
                  <a:pt x="13255" y="12273"/>
                </a:moveTo>
                <a:cubicBezTo>
                  <a:pt x="13526" y="12273"/>
                  <a:pt x="13745" y="12053"/>
                  <a:pt x="13745" y="11782"/>
                </a:cubicBezTo>
                <a:cubicBezTo>
                  <a:pt x="13745" y="11511"/>
                  <a:pt x="13526" y="11291"/>
                  <a:pt x="13255" y="11291"/>
                </a:cubicBezTo>
                <a:cubicBezTo>
                  <a:pt x="12983" y="11291"/>
                  <a:pt x="12764" y="11511"/>
                  <a:pt x="12764" y="11782"/>
                </a:cubicBezTo>
                <a:cubicBezTo>
                  <a:pt x="12764" y="12053"/>
                  <a:pt x="12983" y="12273"/>
                  <a:pt x="13255" y="12273"/>
                </a:cubicBezTo>
                <a:moveTo>
                  <a:pt x="12273" y="9818"/>
                </a:moveTo>
                <a:cubicBezTo>
                  <a:pt x="12544" y="9818"/>
                  <a:pt x="12764" y="9599"/>
                  <a:pt x="12764" y="9327"/>
                </a:cubicBezTo>
                <a:cubicBezTo>
                  <a:pt x="12764" y="9056"/>
                  <a:pt x="12544" y="8836"/>
                  <a:pt x="12273" y="8836"/>
                </a:cubicBezTo>
                <a:cubicBezTo>
                  <a:pt x="12001" y="8836"/>
                  <a:pt x="11782" y="9056"/>
                  <a:pt x="11782" y="9327"/>
                </a:cubicBezTo>
                <a:cubicBezTo>
                  <a:pt x="11782" y="9599"/>
                  <a:pt x="12001" y="9818"/>
                  <a:pt x="12273" y="9818"/>
                </a:cubicBezTo>
                <a:moveTo>
                  <a:pt x="10800" y="10309"/>
                </a:moveTo>
                <a:cubicBezTo>
                  <a:pt x="10529" y="10309"/>
                  <a:pt x="10309" y="10529"/>
                  <a:pt x="10309" y="10800"/>
                </a:cubicBezTo>
                <a:cubicBezTo>
                  <a:pt x="10309" y="11071"/>
                  <a:pt x="10529" y="11291"/>
                  <a:pt x="10800" y="11291"/>
                </a:cubicBezTo>
                <a:cubicBezTo>
                  <a:pt x="11071" y="11291"/>
                  <a:pt x="11291" y="11071"/>
                  <a:pt x="11291" y="10800"/>
                </a:cubicBezTo>
                <a:cubicBezTo>
                  <a:pt x="11291" y="10529"/>
                  <a:pt x="11071" y="10309"/>
                  <a:pt x="10800" y="10309"/>
                </a:cubicBezTo>
                <a:moveTo>
                  <a:pt x="10309" y="14236"/>
                </a:moveTo>
                <a:cubicBezTo>
                  <a:pt x="10038" y="14236"/>
                  <a:pt x="9818" y="14456"/>
                  <a:pt x="9818" y="14727"/>
                </a:cubicBezTo>
                <a:cubicBezTo>
                  <a:pt x="9818" y="14999"/>
                  <a:pt x="10038" y="15218"/>
                  <a:pt x="10309" y="15218"/>
                </a:cubicBezTo>
                <a:cubicBezTo>
                  <a:pt x="10580" y="15218"/>
                  <a:pt x="10800" y="14999"/>
                  <a:pt x="10800" y="14727"/>
                </a:cubicBezTo>
                <a:cubicBezTo>
                  <a:pt x="10800" y="14456"/>
                  <a:pt x="10580" y="14236"/>
                  <a:pt x="10309" y="14236"/>
                </a:cubicBezTo>
                <a:moveTo>
                  <a:pt x="9818" y="8836"/>
                </a:moveTo>
                <a:cubicBezTo>
                  <a:pt x="10090" y="8836"/>
                  <a:pt x="10309" y="8617"/>
                  <a:pt x="10309" y="8345"/>
                </a:cubicBezTo>
                <a:cubicBezTo>
                  <a:pt x="10309" y="8075"/>
                  <a:pt x="10090" y="7855"/>
                  <a:pt x="9818" y="7855"/>
                </a:cubicBezTo>
                <a:cubicBezTo>
                  <a:pt x="9547" y="7855"/>
                  <a:pt x="9327" y="8075"/>
                  <a:pt x="9327" y="8345"/>
                </a:cubicBezTo>
                <a:cubicBezTo>
                  <a:pt x="9327" y="8617"/>
                  <a:pt x="9547" y="8836"/>
                  <a:pt x="9818" y="8836"/>
                </a:cubicBezTo>
                <a:moveTo>
                  <a:pt x="6873" y="10800"/>
                </a:moveTo>
                <a:cubicBezTo>
                  <a:pt x="6601" y="10800"/>
                  <a:pt x="6382" y="11020"/>
                  <a:pt x="6382" y="11291"/>
                </a:cubicBezTo>
                <a:cubicBezTo>
                  <a:pt x="6382" y="11562"/>
                  <a:pt x="6601" y="11782"/>
                  <a:pt x="6873" y="11782"/>
                </a:cubicBezTo>
                <a:cubicBezTo>
                  <a:pt x="7144" y="11782"/>
                  <a:pt x="7364" y="11562"/>
                  <a:pt x="7364" y="11291"/>
                </a:cubicBezTo>
                <a:cubicBezTo>
                  <a:pt x="7364" y="11020"/>
                  <a:pt x="7144" y="10800"/>
                  <a:pt x="6873" y="10800"/>
                </a:cubicBezTo>
                <a:moveTo>
                  <a:pt x="8345" y="9327"/>
                </a:moveTo>
                <a:cubicBezTo>
                  <a:pt x="8074" y="9327"/>
                  <a:pt x="7855" y="9547"/>
                  <a:pt x="7855" y="9818"/>
                </a:cubicBezTo>
                <a:cubicBezTo>
                  <a:pt x="7855" y="10090"/>
                  <a:pt x="8074" y="10309"/>
                  <a:pt x="8345" y="10309"/>
                </a:cubicBezTo>
                <a:cubicBezTo>
                  <a:pt x="8617" y="10309"/>
                  <a:pt x="8836" y="10090"/>
                  <a:pt x="8836" y="9818"/>
                </a:cubicBezTo>
                <a:cubicBezTo>
                  <a:pt x="8836" y="9547"/>
                  <a:pt x="8617" y="9327"/>
                  <a:pt x="8345" y="9327"/>
                </a:cubicBezTo>
                <a:moveTo>
                  <a:pt x="9327" y="11782"/>
                </a:moveTo>
                <a:cubicBezTo>
                  <a:pt x="9056" y="11782"/>
                  <a:pt x="8836" y="12001"/>
                  <a:pt x="8836" y="12273"/>
                </a:cubicBezTo>
                <a:cubicBezTo>
                  <a:pt x="8836" y="12544"/>
                  <a:pt x="9056" y="12764"/>
                  <a:pt x="9327" y="12764"/>
                </a:cubicBezTo>
                <a:cubicBezTo>
                  <a:pt x="9599" y="12764"/>
                  <a:pt x="9818" y="12544"/>
                  <a:pt x="9818" y="12273"/>
                </a:cubicBezTo>
                <a:cubicBezTo>
                  <a:pt x="9818" y="12001"/>
                  <a:pt x="9599"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6" name="Shape 2766"/>
          <p:cNvSpPr/>
          <p:nvPr/>
        </p:nvSpPr>
        <p:spPr>
          <a:xfrm>
            <a:off x="7878715"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7" name="Shape 2767"/>
          <p:cNvSpPr/>
          <p:nvPr/>
        </p:nvSpPr>
        <p:spPr>
          <a:xfrm>
            <a:off x="8278660" y="3479409"/>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8" name="Shape 2768"/>
          <p:cNvSpPr/>
          <p:nvPr/>
        </p:nvSpPr>
        <p:spPr>
          <a:xfrm>
            <a:off x="4679147" y="3946012"/>
            <a:ext cx="209495" cy="76181"/>
          </a:xfrm>
          <a:custGeom>
            <a:avLst/>
            <a:gdLst/>
            <a:ahLst/>
            <a:cxnLst>
              <a:cxn ang="0">
                <a:pos x="wd2" y="hd2"/>
              </a:cxn>
              <a:cxn ang="5400000">
                <a:pos x="wd2" y="hd2"/>
              </a:cxn>
              <a:cxn ang="10800000">
                <a:pos x="wd2" y="hd2"/>
              </a:cxn>
              <a:cxn ang="16200000">
                <a:pos x="wd2" y="hd2"/>
              </a:cxn>
            </a:cxnLst>
            <a:rect l="0" t="0" r="r" b="b"/>
            <a:pathLst>
              <a:path w="21600" h="21600" extrusionOk="0">
                <a:moveTo>
                  <a:pt x="17673" y="18900"/>
                </a:moveTo>
                <a:lnTo>
                  <a:pt x="11291" y="18900"/>
                </a:lnTo>
                <a:lnTo>
                  <a:pt x="11291" y="2700"/>
                </a:lnTo>
                <a:lnTo>
                  <a:pt x="17673" y="2700"/>
                </a:lnTo>
                <a:cubicBezTo>
                  <a:pt x="19300" y="2700"/>
                  <a:pt x="20618" y="6328"/>
                  <a:pt x="20618" y="10800"/>
                </a:cubicBezTo>
                <a:cubicBezTo>
                  <a:pt x="20618" y="15273"/>
                  <a:pt x="19300" y="18900"/>
                  <a:pt x="17673" y="18900"/>
                </a:cubicBezTo>
                <a:moveTo>
                  <a:pt x="6382" y="13500"/>
                </a:moveTo>
                <a:cubicBezTo>
                  <a:pt x="6111" y="13500"/>
                  <a:pt x="5891" y="12896"/>
                  <a:pt x="5891" y="12150"/>
                </a:cubicBezTo>
                <a:cubicBezTo>
                  <a:pt x="5891" y="11404"/>
                  <a:pt x="6111" y="10800"/>
                  <a:pt x="6382" y="10800"/>
                </a:cubicBezTo>
                <a:cubicBezTo>
                  <a:pt x="6653" y="10800"/>
                  <a:pt x="6873" y="11404"/>
                  <a:pt x="6873" y="12150"/>
                </a:cubicBezTo>
                <a:cubicBezTo>
                  <a:pt x="6873" y="12896"/>
                  <a:pt x="6653" y="13500"/>
                  <a:pt x="6382" y="13500"/>
                </a:cubicBezTo>
                <a:moveTo>
                  <a:pt x="3927" y="10800"/>
                </a:moveTo>
                <a:cubicBezTo>
                  <a:pt x="3385" y="10800"/>
                  <a:pt x="2945" y="9592"/>
                  <a:pt x="2945" y="8100"/>
                </a:cubicBezTo>
                <a:cubicBezTo>
                  <a:pt x="2945" y="6610"/>
                  <a:pt x="3385" y="5400"/>
                  <a:pt x="3927" y="5400"/>
                </a:cubicBezTo>
                <a:cubicBezTo>
                  <a:pt x="4469" y="5400"/>
                  <a:pt x="4909" y="6610"/>
                  <a:pt x="4909" y="8100"/>
                </a:cubicBezTo>
                <a:cubicBezTo>
                  <a:pt x="4909" y="9592"/>
                  <a:pt x="4469" y="10800"/>
                  <a:pt x="3927" y="10800"/>
                </a:cubicBezTo>
                <a:moveTo>
                  <a:pt x="17673" y="0"/>
                </a:moveTo>
                <a:lnTo>
                  <a:pt x="3927" y="0"/>
                </a:lnTo>
                <a:cubicBezTo>
                  <a:pt x="1758" y="0"/>
                  <a:pt x="0" y="4836"/>
                  <a:pt x="0" y="10800"/>
                </a:cubicBezTo>
                <a:cubicBezTo>
                  <a:pt x="0" y="16764"/>
                  <a:pt x="1758" y="21600"/>
                  <a:pt x="3927" y="21600"/>
                </a:cubicBezTo>
                <a:lnTo>
                  <a:pt x="17673" y="21600"/>
                </a:lnTo>
                <a:cubicBezTo>
                  <a:pt x="19842" y="21600"/>
                  <a:pt x="21600" y="16764"/>
                  <a:pt x="21600" y="10800"/>
                </a:cubicBezTo>
                <a:cubicBezTo>
                  <a:pt x="21600" y="4836"/>
                  <a:pt x="19842" y="0"/>
                  <a:pt x="17673"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69" name="Shape 2769"/>
          <p:cNvSpPr/>
          <p:nvPr/>
        </p:nvSpPr>
        <p:spPr>
          <a:xfrm>
            <a:off x="5107661"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 y="8836"/>
                </a:moveTo>
                <a:cubicBezTo>
                  <a:pt x="1350" y="7752"/>
                  <a:pt x="2559" y="6873"/>
                  <a:pt x="4050" y="6873"/>
                </a:cubicBezTo>
                <a:lnTo>
                  <a:pt x="17550" y="6873"/>
                </a:lnTo>
                <a:cubicBezTo>
                  <a:pt x="19041" y="6873"/>
                  <a:pt x="20250" y="7752"/>
                  <a:pt x="20250" y="8836"/>
                </a:cubicBezTo>
                <a:cubicBezTo>
                  <a:pt x="20250" y="8836"/>
                  <a:pt x="1350" y="8836"/>
                  <a:pt x="1350" y="8836"/>
                </a:cubicBezTo>
                <a:close/>
                <a:moveTo>
                  <a:pt x="14850" y="12764"/>
                </a:moveTo>
                <a:lnTo>
                  <a:pt x="14850" y="14727"/>
                </a:lnTo>
                <a:lnTo>
                  <a:pt x="12150" y="14727"/>
                </a:lnTo>
                <a:lnTo>
                  <a:pt x="12150" y="16691"/>
                </a:lnTo>
                <a:lnTo>
                  <a:pt x="9450" y="16691"/>
                </a:lnTo>
                <a:lnTo>
                  <a:pt x="9450" y="14727"/>
                </a:lnTo>
                <a:lnTo>
                  <a:pt x="6750" y="14727"/>
                </a:lnTo>
                <a:lnTo>
                  <a:pt x="6750" y="12764"/>
                </a:lnTo>
                <a:lnTo>
                  <a:pt x="9450" y="12764"/>
                </a:lnTo>
                <a:lnTo>
                  <a:pt x="9450" y="10800"/>
                </a:lnTo>
                <a:lnTo>
                  <a:pt x="12150" y="10800"/>
                </a:lnTo>
                <a:lnTo>
                  <a:pt x="12150" y="12764"/>
                </a:lnTo>
                <a:cubicBezTo>
                  <a:pt x="12150" y="12764"/>
                  <a:pt x="14850" y="12764"/>
                  <a:pt x="14850" y="12764"/>
                </a:cubicBezTo>
                <a:close/>
                <a:moveTo>
                  <a:pt x="17550" y="20618"/>
                </a:moveTo>
                <a:lnTo>
                  <a:pt x="4050" y="20618"/>
                </a:lnTo>
                <a:cubicBezTo>
                  <a:pt x="2559" y="20618"/>
                  <a:pt x="1350" y="19739"/>
                  <a:pt x="1350" y="18655"/>
                </a:cubicBezTo>
                <a:lnTo>
                  <a:pt x="20250" y="18655"/>
                </a:lnTo>
                <a:cubicBezTo>
                  <a:pt x="20250" y="19739"/>
                  <a:pt x="19041" y="20618"/>
                  <a:pt x="17550" y="20618"/>
                </a:cubicBezTo>
                <a:moveTo>
                  <a:pt x="6750" y="2945"/>
                </a:moveTo>
                <a:lnTo>
                  <a:pt x="14850" y="2945"/>
                </a:lnTo>
                <a:lnTo>
                  <a:pt x="14850" y="4909"/>
                </a:lnTo>
                <a:lnTo>
                  <a:pt x="6750" y="4909"/>
                </a:lnTo>
                <a:cubicBezTo>
                  <a:pt x="6750" y="4909"/>
                  <a:pt x="6750" y="2945"/>
                  <a:pt x="6750" y="2945"/>
                </a:cubicBezTo>
                <a:close/>
                <a:moveTo>
                  <a:pt x="6750" y="982"/>
                </a:moveTo>
                <a:lnTo>
                  <a:pt x="14850" y="982"/>
                </a:lnTo>
                <a:lnTo>
                  <a:pt x="14850" y="1964"/>
                </a:lnTo>
                <a:lnTo>
                  <a:pt x="6750" y="1964"/>
                </a:lnTo>
                <a:cubicBezTo>
                  <a:pt x="6750" y="1964"/>
                  <a:pt x="6750" y="982"/>
                  <a:pt x="6750" y="982"/>
                </a:cubicBezTo>
                <a:close/>
                <a:moveTo>
                  <a:pt x="17550" y="5891"/>
                </a:moveTo>
                <a:lnTo>
                  <a:pt x="16200" y="5891"/>
                </a:lnTo>
                <a:lnTo>
                  <a:pt x="16200" y="4909"/>
                </a:lnTo>
                <a:lnTo>
                  <a:pt x="16200" y="982"/>
                </a:lnTo>
                <a:cubicBezTo>
                  <a:pt x="16200" y="440"/>
                  <a:pt x="15595" y="0"/>
                  <a:pt x="14850" y="0"/>
                </a:cubicBezTo>
                <a:lnTo>
                  <a:pt x="6750" y="0"/>
                </a:lnTo>
                <a:cubicBezTo>
                  <a:pt x="6005" y="0"/>
                  <a:pt x="5400" y="440"/>
                  <a:pt x="5400" y="982"/>
                </a:cubicBezTo>
                <a:lnTo>
                  <a:pt x="5400" y="4909"/>
                </a:lnTo>
                <a:lnTo>
                  <a:pt x="5400" y="5891"/>
                </a:lnTo>
                <a:lnTo>
                  <a:pt x="4050" y="5891"/>
                </a:lnTo>
                <a:cubicBezTo>
                  <a:pt x="1813" y="5891"/>
                  <a:pt x="0" y="7210"/>
                  <a:pt x="0" y="8836"/>
                </a:cubicBezTo>
                <a:lnTo>
                  <a:pt x="0" y="18655"/>
                </a:lnTo>
                <a:cubicBezTo>
                  <a:pt x="0" y="20282"/>
                  <a:pt x="1813" y="21600"/>
                  <a:pt x="4050" y="21600"/>
                </a:cubicBezTo>
                <a:lnTo>
                  <a:pt x="17550" y="21600"/>
                </a:lnTo>
                <a:cubicBezTo>
                  <a:pt x="19787" y="21600"/>
                  <a:pt x="21600" y="20282"/>
                  <a:pt x="21600" y="18655"/>
                </a:cubicBezTo>
                <a:lnTo>
                  <a:pt x="21600" y="8836"/>
                </a:lnTo>
                <a:cubicBezTo>
                  <a:pt x="21600" y="7210"/>
                  <a:pt x="19787" y="5891"/>
                  <a:pt x="17550"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0" name="Shape 2770"/>
          <p:cNvSpPr/>
          <p:nvPr/>
        </p:nvSpPr>
        <p:spPr>
          <a:xfrm>
            <a:off x="5479040"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1" name="Shape 2771"/>
          <p:cNvSpPr/>
          <p:nvPr/>
        </p:nvSpPr>
        <p:spPr>
          <a:xfrm>
            <a:off x="5878985"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8836"/>
                </a:moveTo>
                <a:cubicBezTo>
                  <a:pt x="15812" y="8836"/>
                  <a:pt x="16691" y="9716"/>
                  <a:pt x="16691" y="10800"/>
                </a:cubicBezTo>
                <a:cubicBezTo>
                  <a:pt x="16691" y="11884"/>
                  <a:pt x="15812" y="12764"/>
                  <a:pt x="14727" y="12764"/>
                </a:cubicBezTo>
                <a:cubicBezTo>
                  <a:pt x="13643" y="12764"/>
                  <a:pt x="12764" y="11884"/>
                  <a:pt x="12764" y="10800"/>
                </a:cubicBezTo>
                <a:cubicBezTo>
                  <a:pt x="12764" y="9716"/>
                  <a:pt x="13643" y="8836"/>
                  <a:pt x="14727" y="8836"/>
                </a:cubicBezTo>
                <a:moveTo>
                  <a:pt x="14727" y="13745"/>
                </a:moveTo>
                <a:cubicBezTo>
                  <a:pt x="16354" y="13745"/>
                  <a:pt x="17673" y="12427"/>
                  <a:pt x="17673" y="10800"/>
                </a:cubicBezTo>
                <a:cubicBezTo>
                  <a:pt x="17673" y="9174"/>
                  <a:pt x="16354" y="7855"/>
                  <a:pt x="14727" y="7855"/>
                </a:cubicBezTo>
                <a:cubicBezTo>
                  <a:pt x="13100" y="7855"/>
                  <a:pt x="11782" y="9174"/>
                  <a:pt x="11782" y="10800"/>
                </a:cubicBezTo>
                <a:cubicBezTo>
                  <a:pt x="11782" y="12427"/>
                  <a:pt x="13100" y="13745"/>
                  <a:pt x="14727" y="13745"/>
                </a:cubicBezTo>
                <a:moveTo>
                  <a:pt x="6873" y="7308"/>
                </a:moveTo>
                <a:lnTo>
                  <a:pt x="8442" y="9818"/>
                </a:lnTo>
                <a:lnTo>
                  <a:pt x="5304" y="9818"/>
                </a:lnTo>
                <a:cubicBezTo>
                  <a:pt x="5304" y="9818"/>
                  <a:pt x="6873" y="7308"/>
                  <a:pt x="6873" y="7308"/>
                </a:cubicBezTo>
                <a:close/>
                <a:moveTo>
                  <a:pt x="4418" y="10800"/>
                </a:moveTo>
                <a:lnTo>
                  <a:pt x="9327" y="10800"/>
                </a:lnTo>
                <a:cubicBezTo>
                  <a:pt x="9598" y="10800"/>
                  <a:pt x="9818" y="10580"/>
                  <a:pt x="9818" y="10309"/>
                </a:cubicBezTo>
                <a:cubicBezTo>
                  <a:pt x="9818" y="10208"/>
                  <a:pt x="9780" y="10120"/>
                  <a:pt x="9728" y="10042"/>
                </a:cubicBezTo>
                <a:lnTo>
                  <a:pt x="9736" y="10037"/>
                </a:lnTo>
                <a:lnTo>
                  <a:pt x="7281" y="6110"/>
                </a:lnTo>
                <a:lnTo>
                  <a:pt x="7274" y="6114"/>
                </a:lnTo>
                <a:cubicBezTo>
                  <a:pt x="7186" y="5983"/>
                  <a:pt x="7043" y="5891"/>
                  <a:pt x="6873" y="5891"/>
                </a:cubicBezTo>
                <a:cubicBezTo>
                  <a:pt x="6702" y="5891"/>
                  <a:pt x="6560" y="5983"/>
                  <a:pt x="6472" y="6114"/>
                </a:cubicBezTo>
                <a:lnTo>
                  <a:pt x="6464" y="6110"/>
                </a:lnTo>
                <a:lnTo>
                  <a:pt x="4010" y="10037"/>
                </a:lnTo>
                <a:lnTo>
                  <a:pt x="4018" y="10042"/>
                </a:lnTo>
                <a:cubicBezTo>
                  <a:pt x="3965" y="10120"/>
                  <a:pt x="3927" y="10208"/>
                  <a:pt x="3927" y="10309"/>
                </a:cubicBezTo>
                <a:cubicBezTo>
                  <a:pt x="3927" y="10580"/>
                  <a:pt x="4147" y="10800"/>
                  <a:pt x="4418" y="10800"/>
                </a:cubicBezTo>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2" name="Shape 2772"/>
          <p:cNvSpPr/>
          <p:nvPr/>
        </p:nvSpPr>
        <p:spPr>
          <a:xfrm>
            <a:off x="6278931"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9" y="20851"/>
                  <a:pt x="7364" y="20974"/>
                  <a:pt x="7364" y="21109"/>
                </a:cubicBezTo>
                <a:cubicBezTo>
                  <a:pt x="7364" y="21380"/>
                  <a:pt x="7584" y="21600"/>
                  <a:pt x="7855" y="21600"/>
                </a:cubicBezTo>
                <a:cubicBezTo>
                  <a:pt x="7990" y="21600"/>
                  <a:pt x="8113" y="21545"/>
                  <a:pt x="8202" y="21456"/>
                </a:cubicBezTo>
                <a:lnTo>
                  <a:pt x="10800" y="18858"/>
                </a:lnTo>
                <a:lnTo>
                  <a:pt x="13398" y="21456"/>
                </a:lnTo>
                <a:cubicBezTo>
                  <a:pt x="13487" y="21545"/>
                  <a:pt x="13610" y="21600"/>
                  <a:pt x="13745" y="21600"/>
                </a:cubicBezTo>
                <a:cubicBezTo>
                  <a:pt x="14016" y="21600"/>
                  <a:pt x="14236" y="21380"/>
                  <a:pt x="14236" y="21109"/>
                </a:cubicBezTo>
                <a:cubicBezTo>
                  <a:pt x="14236" y="20974"/>
                  <a:pt x="14181"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2273" y="12764"/>
                </a:moveTo>
                <a:lnTo>
                  <a:pt x="17182" y="12764"/>
                </a:lnTo>
                <a:cubicBezTo>
                  <a:pt x="17453" y="12764"/>
                  <a:pt x="17673" y="12544"/>
                  <a:pt x="17673" y="12273"/>
                </a:cubicBezTo>
                <a:cubicBezTo>
                  <a:pt x="17673" y="12002"/>
                  <a:pt x="17453" y="11782"/>
                  <a:pt x="17182" y="11782"/>
                </a:cubicBezTo>
                <a:lnTo>
                  <a:pt x="12273" y="11782"/>
                </a:lnTo>
                <a:cubicBezTo>
                  <a:pt x="12002" y="11782"/>
                  <a:pt x="11782" y="12002"/>
                  <a:pt x="11782" y="12273"/>
                </a:cubicBezTo>
                <a:cubicBezTo>
                  <a:pt x="11782" y="12544"/>
                  <a:pt x="12002" y="12764"/>
                  <a:pt x="12273" y="12764"/>
                </a:cubicBezTo>
                <a:moveTo>
                  <a:pt x="4909" y="6873"/>
                </a:moveTo>
                <a:lnTo>
                  <a:pt x="8836" y="6873"/>
                </a:lnTo>
                <a:lnTo>
                  <a:pt x="8836" y="11782"/>
                </a:lnTo>
                <a:lnTo>
                  <a:pt x="4909" y="11782"/>
                </a:lnTo>
                <a:cubicBezTo>
                  <a:pt x="4909" y="11782"/>
                  <a:pt x="4909" y="6873"/>
                  <a:pt x="4909" y="6873"/>
                </a:cubicBezTo>
                <a:close/>
                <a:moveTo>
                  <a:pt x="4909" y="12764"/>
                </a:moveTo>
                <a:lnTo>
                  <a:pt x="8836" y="12764"/>
                </a:lnTo>
                <a:cubicBezTo>
                  <a:pt x="9378" y="12764"/>
                  <a:pt x="9818" y="12325"/>
                  <a:pt x="9818" y="11782"/>
                </a:cubicBezTo>
                <a:lnTo>
                  <a:pt x="9818" y="6873"/>
                </a:lnTo>
                <a:cubicBezTo>
                  <a:pt x="9818" y="6331"/>
                  <a:pt x="9378" y="5891"/>
                  <a:pt x="8836" y="5891"/>
                </a:cubicBezTo>
                <a:lnTo>
                  <a:pt x="4909" y="5891"/>
                </a:lnTo>
                <a:cubicBezTo>
                  <a:pt x="4367" y="5891"/>
                  <a:pt x="3927" y="6331"/>
                  <a:pt x="3927" y="6873"/>
                </a:cubicBezTo>
                <a:lnTo>
                  <a:pt x="3927" y="11782"/>
                </a:lnTo>
                <a:cubicBezTo>
                  <a:pt x="3927" y="12325"/>
                  <a:pt x="4367" y="12764"/>
                  <a:pt x="4909" y="12764"/>
                </a:cubicBezTo>
                <a:moveTo>
                  <a:pt x="12273" y="10800"/>
                </a:moveTo>
                <a:lnTo>
                  <a:pt x="14236" y="10800"/>
                </a:lnTo>
                <a:cubicBezTo>
                  <a:pt x="14507" y="10800"/>
                  <a:pt x="14727" y="10580"/>
                  <a:pt x="14727" y="10309"/>
                </a:cubicBezTo>
                <a:cubicBezTo>
                  <a:pt x="14727" y="10038"/>
                  <a:pt x="14507" y="9818"/>
                  <a:pt x="14236" y="9818"/>
                </a:cubicBezTo>
                <a:lnTo>
                  <a:pt x="12273" y="9818"/>
                </a:lnTo>
                <a:cubicBezTo>
                  <a:pt x="12002" y="9818"/>
                  <a:pt x="11782" y="10038"/>
                  <a:pt x="11782" y="10309"/>
                </a:cubicBezTo>
                <a:cubicBezTo>
                  <a:pt x="11782" y="10580"/>
                  <a:pt x="12002" y="10800"/>
                  <a:pt x="12273" y="10800"/>
                </a:cubicBezTo>
                <a:moveTo>
                  <a:pt x="12273" y="6873"/>
                </a:moveTo>
                <a:lnTo>
                  <a:pt x="15218" y="6873"/>
                </a:lnTo>
                <a:cubicBezTo>
                  <a:pt x="15489" y="6873"/>
                  <a:pt x="15709" y="6653"/>
                  <a:pt x="15709" y="6382"/>
                </a:cubicBezTo>
                <a:cubicBezTo>
                  <a:pt x="15709" y="6111"/>
                  <a:pt x="15489" y="5891"/>
                  <a:pt x="15218" y="5891"/>
                </a:cubicBezTo>
                <a:lnTo>
                  <a:pt x="12273" y="5891"/>
                </a:lnTo>
                <a:cubicBezTo>
                  <a:pt x="12002" y="5891"/>
                  <a:pt x="11782" y="6111"/>
                  <a:pt x="11782" y="6382"/>
                </a:cubicBezTo>
                <a:cubicBezTo>
                  <a:pt x="11782" y="6653"/>
                  <a:pt x="12002" y="6873"/>
                  <a:pt x="12273" y="6873"/>
                </a:cubicBezTo>
                <a:moveTo>
                  <a:pt x="12273" y="8836"/>
                </a:moveTo>
                <a:lnTo>
                  <a:pt x="17182" y="8836"/>
                </a:lnTo>
                <a:cubicBezTo>
                  <a:pt x="17453" y="8836"/>
                  <a:pt x="17673" y="8617"/>
                  <a:pt x="17673" y="8345"/>
                </a:cubicBezTo>
                <a:cubicBezTo>
                  <a:pt x="17673" y="8075"/>
                  <a:pt x="17453" y="7855"/>
                  <a:pt x="17182" y="7855"/>
                </a:cubicBezTo>
                <a:lnTo>
                  <a:pt x="12273" y="7855"/>
                </a:lnTo>
                <a:cubicBezTo>
                  <a:pt x="12002" y="7855"/>
                  <a:pt x="11782" y="8075"/>
                  <a:pt x="11782" y="8345"/>
                </a:cubicBezTo>
                <a:cubicBezTo>
                  <a:pt x="11782" y="8617"/>
                  <a:pt x="12002" y="8836"/>
                  <a:pt x="12273"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3" name="Shape 2773"/>
          <p:cNvSpPr/>
          <p:nvPr/>
        </p:nvSpPr>
        <p:spPr>
          <a:xfrm>
            <a:off x="6678877"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8" y="0"/>
                  <a:pt x="9818" y="440"/>
                  <a:pt x="9818" y="982"/>
                </a:cubicBezTo>
                <a:lnTo>
                  <a:pt x="982" y="982"/>
                </a:lnTo>
                <a:cubicBezTo>
                  <a:pt x="440" y="982"/>
                  <a:pt x="0" y="1422"/>
                  <a:pt x="0" y="1964"/>
                </a:cubicBezTo>
                <a:lnTo>
                  <a:pt x="0" y="2945"/>
                </a:lnTo>
                <a:cubicBezTo>
                  <a:pt x="0" y="3488"/>
                  <a:pt x="440" y="3927"/>
                  <a:pt x="982" y="3927"/>
                </a:cubicBezTo>
                <a:lnTo>
                  <a:pt x="982" y="15709"/>
                </a:lnTo>
                <a:cubicBezTo>
                  <a:pt x="982" y="16252"/>
                  <a:pt x="1422" y="16691"/>
                  <a:pt x="1964" y="16691"/>
                </a:cubicBezTo>
                <a:lnTo>
                  <a:pt x="10309" y="16691"/>
                </a:lnTo>
                <a:lnTo>
                  <a:pt x="10309" y="17960"/>
                </a:lnTo>
                <a:lnTo>
                  <a:pt x="7507" y="20762"/>
                </a:lnTo>
                <a:cubicBezTo>
                  <a:pt x="7418"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4909" y="12764"/>
                </a:moveTo>
                <a:cubicBezTo>
                  <a:pt x="5180" y="12764"/>
                  <a:pt x="5400" y="12544"/>
                  <a:pt x="5400" y="12273"/>
                </a:cubicBezTo>
                <a:cubicBezTo>
                  <a:pt x="5400" y="9290"/>
                  <a:pt x="7818" y="6873"/>
                  <a:pt x="10800" y="6873"/>
                </a:cubicBezTo>
                <a:cubicBezTo>
                  <a:pt x="13782" y="6873"/>
                  <a:pt x="16200" y="9290"/>
                  <a:pt x="16200" y="12273"/>
                </a:cubicBezTo>
                <a:cubicBezTo>
                  <a:pt x="16200" y="12544"/>
                  <a:pt x="16420" y="12764"/>
                  <a:pt x="16691" y="12764"/>
                </a:cubicBezTo>
                <a:cubicBezTo>
                  <a:pt x="16962" y="12764"/>
                  <a:pt x="17182" y="12544"/>
                  <a:pt x="17182" y="12273"/>
                </a:cubicBezTo>
                <a:cubicBezTo>
                  <a:pt x="17182" y="8748"/>
                  <a:pt x="14325" y="5891"/>
                  <a:pt x="10800" y="5891"/>
                </a:cubicBezTo>
                <a:cubicBezTo>
                  <a:pt x="7275" y="5891"/>
                  <a:pt x="4418" y="8748"/>
                  <a:pt x="4418" y="12273"/>
                </a:cubicBezTo>
                <a:cubicBezTo>
                  <a:pt x="4418" y="12544"/>
                  <a:pt x="4638" y="12764"/>
                  <a:pt x="4909" y="12764"/>
                </a:cubicBezTo>
                <a:moveTo>
                  <a:pt x="10800" y="11782"/>
                </a:moveTo>
                <a:cubicBezTo>
                  <a:pt x="10529" y="11782"/>
                  <a:pt x="10309" y="12002"/>
                  <a:pt x="10309" y="12273"/>
                </a:cubicBezTo>
                <a:cubicBezTo>
                  <a:pt x="10309" y="12544"/>
                  <a:pt x="10529" y="12764"/>
                  <a:pt x="10800" y="12764"/>
                </a:cubicBezTo>
                <a:cubicBezTo>
                  <a:pt x="11071" y="12764"/>
                  <a:pt x="11291" y="12544"/>
                  <a:pt x="11291" y="12273"/>
                </a:cubicBezTo>
                <a:cubicBezTo>
                  <a:pt x="11291" y="12002"/>
                  <a:pt x="11071" y="11782"/>
                  <a:pt x="10800" y="11782"/>
                </a:cubicBezTo>
                <a:moveTo>
                  <a:pt x="10800" y="8836"/>
                </a:moveTo>
                <a:cubicBezTo>
                  <a:pt x="8903" y="8836"/>
                  <a:pt x="7364" y="10375"/>
                  <a:pt x="7364" y="12273"/>
                </a:cubicBezTo>
                <a:cubicBezTo>
                  <a:pt x="7364" y="12544"/>
                  <a:pt x="7583" y="12764"/>
                  <a:pt x="7855" y="12764"/>
                </a:cubicBezTo>
                <a:cubicBezTo>
                  <a:pt x="8126" y="12764"/>
                  <a:pt x="8345" y="12544"/>
                  <a:pt x="8345" y="12273"/>
                </a:cubicBezTo>
                <a:cubicBezTo>
                  <a:pt x="8345" y="10917"/>
                  <a:pt x="9444" y="9818"/>
                  <a:pt x="10800" y="9818"/>
                </a:cubicBezTo>
                <a:cubicBezTo>
                  <a:pt x="12156" y="9818"/>
                  <a:pt x="13255" y="10917"/>
                  <a:pt x="13255" y="12273"/>
                </a:cubicBezTo>
                <a:cubicBezTo>
                  <a:pt x="13255" y="12544"/>
                  <a:pt x="13474" y="12764"/>
                  <a:pt x="13745" y="12764"/>
                </a:cubicBezTo>
                <a:cubicBezTo>
                  <a:pt x="14017" y="12764"/>
                  <a:pt x="14236" y="12544"/>
                  <a:pt x="14236" y="12273"/>
                </a:cubicBezTo>
                <a:cubicBezTo>
                  <a:pt x="14236" y="10375"/>
                  <a:pt x="12698" y="8836"/>
                  <a:pt x="108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4" name="Shape 2774"/>
          <p:cNvSpPr/>
          <p:nvPr/>
        </p:nvSpPr>
        <p:spPr>
          <a:xfrm>
            <a:off x="7078822" y="387935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945"/>
                </a:moveTo>
                <a:lnTo>
                  <a:pt x="982" y="2945"/>
                </a:lnTo>
                <a:lnTo>
                  <a:pt x="982" y="1964"/>
                </a:lnTo>
                <a:lnTo>
                  <a:pt x="20618" y="1964"/>
                </a:lnTo>
                <a:cubicBezTo>
                  <a:pt x="20618" y="1964"/>
                  <a:pt x="20618" y="2945"/>
                  <a:pt x="20618" y="2945"/>
                </a:cubicBezTo>
                <a:close/>
                <a:moveTo>
                  <a:pt x="19636" y="15709"/>
                </a:moveTo>
                <a:lnTo>
                  <a:pt x="1964" y="15709"/>
                </a:lnTo>
                <a:lnTo>
                  <a:pt x="1964" y="3927"/>
                </a:lnTo>
                <a:lnTo>
                  <a:pt x="19636" y="3927"/>
                </a:lnTo>
                <a:cubicBezTo>
                  <a:pt x="19636" y="3927"/>
                  <a:pt x="19636" y="15709"/>
                  <a:pt x="19636" y="15709"/>
                </a:cubicBezTo>
                <a:close/>
                <a:moveTo>
                  <a:pt x="20618" y="982"/>
                </a:moveTo>
                <a:lnTo>
                  <a:pt x="11782" y="982"/>
                </a:lnTo>
                <a:cubicBezTo>
                  <a:pt x="11782" y="440"/>
                  <a:pt x="11342" y="0"/>
                  <a:pt x="10800" y="0"/>
                </a:cubicBezTo>
                <a:cubicBezTo>
                  <a:pt x="10257" y="0"/>
                  <a:pt x="9818" y="440"/>
                  <a:pt x="9818" y="982"/>
                </a:cubicBezTo>
                <a:lnTo>
                  <a:pt x="982" y="982"/>
                </a:lnTo>
                <a:cubicBezTo>
                  <a:pt x="439" y="982"/>
                  <a:pt x="0" y="1422"/>
                  <a:pt x="0" y="1964"/>
                </a:cubicBezTo>
                <a:lnTo>
                  <a:pt x="0" y="2945"/>
                </a:lnTo>
                <a:cubicBezTo>
                  <a:pt x="0" y="3488"/>
                  <a:pt x="439" y="3927"/>
                  <a:pt x="982" y="3927"/>
                </a:cubicBezTo>
                <a:lnTo>
                  <a:pt x="982" y="15709"/>
                </a:lnTo>
                <a:cubicBezTo>
                  <a:pt x="982" y="16252"/>
                  <a:pt x="1421" y="16691"/>
                  <a:pt x="1964" y="16691"/>
                </a:cubicBezTo>
                <a:lnTo>
                  <a:pt x="10309" y="16691"/>
                </a:lnTo>
                <a:lnTo>
                  <a:pt x="10309" y="17960"/>
                </a:lnTo>
                <a:lnTo>
                  <a:pt x="7507" y="20762"/>
                </a:lnTo>
                <a:cubicBezTo>
                  <a:pt x="7419" y="20851"/>
                  <a:pt x="7364" y="20974"/>
                  <a:pt x="7364" y="21109"/>
                </a:cubicBezTo>
                <a:cubicBezTo>
                  <a:pt x="7364" y="21380"/>
                  <a:pt x="7583" y="21600"/>
                  <a:pt x="7855" y="21600"/>
                </a:cubicBezTo>
                <a:cubicBezTo>
                  <a:pt x="7990" y="21600"/>
                  <a:pt x="8113" y="21545"/>
                  <a:pt x="8202" y="21456"/>
                </a:cubicBezTo>
                <a:lnTo>
                  <a:pt x="10800" y="18858"/>
                </a:lnTo>
                <a:lnTo>
                  <a:pt x="13398" y="21456"/>
                </a:lnTo>
                <a:cubicBezTo>
                  <a:pt x="13488" y="21545"/>
                  <a:pt x="13610" y="21600"/>
                  <a:pt x="13745" y="21600"/>
                </a:cubicBezTo>
                <a:cubicBezTo>
                  <a:pt x="14017" y="21600"/>
                  <a:pt x="14236" y="21380"/>
                  <a:pt x="14236" y="21109"/>
                </a:cubicBezTo>
                <a:cubicBezTo>
                  <a:pt x="14236" y="20974"/>
                  <a:pt x="14182" y="20851"/>
                  <a:pt x="14093" y="20762"/>
                </a:cubicBezTo>
                <a:lnTo>
                  <a:pt x="11291" y="17960"/>
                </a:lnTo>
                <a:lnTo>
                  <a:pt x="11291" y="16691"/>
                </a:lnTo>
                <a:lnTo>
                  <a:pt x="19636" y="16691"/>
                </a:lnTo>
                <a:cubicBezTo>
                  <a:pt x="20178" y="16691"/>
                  <a:pt x="20618" y="16252"/>
                  <a:pt x="20618" y="15709"/>
                </a:cubicBezTo>
                <a:lnTo>
                  <a:pt x="20618" y="3927"/>
                </a:lnTo>
                <a:cubicBezTo>
                  <a:pt x="21160" y="3927"/>
                  <a:pt x="21600" y="3488"/>
                  <a:pt x="21600" y="2945"/>
                </a:cubicBezTo>
                <a:lnTo>
                  <a:pt x="21600" y="1964"/>
                </a:lnTo>
                <a:cubicBezTo>
                  <a:pt x="21600" y="1422"/>
                  <a:pt x="21160" y="982"/>
                  <a:pt x="20618" y="982"/>
                </a:cubicBezTo>
                <a:moveTo>
                  <a:pt x="16200" y="5891"/>
                </a:moveTo>
                <a:cubicBezTo>
                  <a:pt x="16471" y="5891"/>
                  <a:pt x="16691" y="6111"/>
                  <a:pt x="16691" y="6382"/>
                </a:cubicBezTo>
                <a:cubicBezTo>
                  <a:pt x="16691" y="6653"/>
                  <a:pt x="16471" y="6873"/>
                  <a:pt x="16200" y="6873"/>
                </a:cubicBezTo>
                <a:cubicBezTo>
                  <a:pt x="15929" y="6873"/>
                  <a:pt x="15709" y="6653"/>
                  <a:pt x="15709" y="6382"/>
                </a:cubicBezTo>
                <a:cubicBezTo>
                  <a:pt x="15709" y="6111"/>
                  <a:pt x="15929" y="5891"/>
                  <a:pt x="16200" y="5891"/>
                </a:cubicBezTo>
                <a:moveTo>
                  <a:pt x="16200" y="7855"/>
                </a:moveTo>
                <a:cubicBezTo>
                  <a:pt x="17013" y="7855"/>
                  <a:pt x="17673" y="7196"/>
                  <a:pt x="17673" y="6382"/>
                </a:cubicBezTo>
                <a:cubicBezTo>
                  <a:pt x="17673" y="5569"/>
                  <a:pt x="17013" y="4909"/>
                  <a:pt x="16200" y="4909"/>
                </a:cubicBezTo>
                <a:cubicBezTo>
                  <a:pt x="15387" y="4909"/>
                  <a:pt x="14727" y="5569"/>
                  <a:pt x="14727" y="6382"/>
                </a:cubicBezTo>
                <a:cubicBezTo>
                  <a:pt x="14727" y="7196"/>
                  <a:pt x="15387" y="7855"/>
                  <a:pt x="16200" y="7855"/>
                </a:cubicBezTo>
                <a:moveTo>
                  <a:pt x="8422" y="8135"/>
                </a:moveTo>
                <a:lnTo>
                  <a:pt x="11926" y="11638"/>
                </a:lnTo>
                <a:cubicBezTo>
                  <a:pt x="12015" y="11727"/>
                  <a:pt x="12138" y="11782"/>
                  <a:pt x="12273" y="11782"/>
                </a:cubicBezTo>
                <a:cubicBezTo>
                  <a:pt x="12408" y="11782"/>
                  <a:pt x="12531" y="11727"/>
                  <a:pt x="12620" y="11638"/>
                </a:cubicBezTo>
                <a:lnTo>
                  <a:pt x="14183" y="10075"/>
                </a:lnTo>
                <a:lnTo>
                  <a:pt x="16200" y="12764"/>
                </a:lnTo>
                <a:lnTo>
                  <a:pt x="5336" y="12764"/>
                </a:lnTo>
                <a:cubicBezTo>
                  <a:pt x="5336" y="12764"/>
                  <a:pt x="8422" y="8135"/>
                  <a:pt x="8422" y="8135"/>
                </a:cubicBezTo>
                <a:close/>
                <a:moveTo>
                  <a:pt x="4418" y="13745"/>
                </a:moveTo>
                <a:lnTo>
                  <a:pt x="17182" y="13745"/>
                </a:lnTo>
                <a:cubicBezTo>
                  <a:pt x="17453" y="13745"/>
                  <a:pt x="17673" y="13526"/>
                  <a:pt x="17673" y="13255"/>
                </a:cubicBezTo>
                <a:cubicBezTo>
                  <a:pt x="17673" y="13144"/>
                  <a:pt x="17630" y="13047"/>
                  <a:pt x="17568" y="12965"/>
                </a:cubicBezTo>
                <a:lnTo>
                  <a:pt x="17575" y="12960"/>
                </a:lnTo>
                <a:lnTo>
                  <a:pt x="14629" y="9033"/>
                </a:lnTo>
                <a:lnTo>
                  <a:pt x="14622" y="9038"/>
                </a:lnTo>
                <a:cubicBezTo>
                  <a:pt x="14533" y="8919"/>
                  <a:pt x="14397" y="8836"/>
                  <a:pt x="14236" y="8836"/>
                </a:cubicBezTo>
                <a:cubicBezTo>
                  <a:pt x="14101" y="8836"/>
                  <a:pt x="13978" y="8891"/>
                  <a:pt x="13889" y="8980"/>
                </a:cubicBezTo>
                <a:lnTo>
                  <a:pt x="12273" y="10597"/>
                </a:lnTo>
                <a:lnTo>
                  <a:pt x="8693" y="7017"/>
                </a:lnTo>
                <a:cubicBezTo>
                  <a:pt x="8604" y="6928"/>
                  <a:pt x="8481" y="6873"/>
                  <a:pt x="8345" y="6873"/>
                </a:cubicBezTo>
                <a:cubicBezTo>
                  <a:pt x="8175" y="6873"/>
                  <a:pt x="8033" y="6965"/>
                  <a:pt x="7945" y="7097"/>
                </a:cubicBezTo>
                <a:lnTo>
                  <a:pt x="7937" y="7091"/>
                </a:lnTo>
                <a:lnTo>
                  <a:pt x="4010" y="12982"/>
                </a:lnTo>
                <a:lnTo>
                  <a:pt x="4017" y="12988"/>
                </a:lnTo>
                <a:cubicBezTo>
                  <a:pt x="3965" y="13066"/>
                  <a:pt x="3927" y="13154"/>
                  <a:pt x="3927" y="13255"/>
                </a:cubicBezTo>
                <a:cubicBezTo>
                  <a:pt x="3927" y="13526"/>
                  <a:pt x="4147" y="13745"/>
                  <a:pt x="4418"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5" name="Shape 2775"/>
          <p:cNvSpPr/>
          <p:nvPr/>
        </p:nvSpPr>
        <p:spPr>
          <a:xfrm>
            <a:off x="7478768" y="3912684"/>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800" y="10755"/>
                </a:moveTo>
                <a:lnTo>
                  <a:pt x="1866" y="6075"/>
                </a:lnTo>
                <a:lnTo>
                  <a:pt x="10800" y="1395"/>
                </a:lnTo>
                <a:lnTo>
                  <a:pt x="19735" y="6075"/>
                </a:lnTo>
                <a:cubicBezTo>
                  <a:pt x="19735" y="6075"/>
                  <a:pt x="10800" y="10755"/>
                  <a:pt x="10800" y="10755"/>
                </a:cubicBezTo>
                <a:close/>
                <a:moveTo>
                  <a:pt x="18031" y="17315"/>
                </a:moveTo>
                <a:lnTo>
                  <a:pt x="14834" y="16216"/>
                </a:lnTo>
                <a:lnTo>
                  <a:pt x="14832" y="16229"/>
                </a:lnTo>
                <a:cubicBezTo>
                  <a:pt x="14797" y="16218"/>
                  <a:pt x="14765" y="16200"/>
                  <a:pt x="14727" y="16200"/>
                </a:cubicBezTo>
                <a:cubicBezTo>
                  <a:pt x="14627" y="16200"/>
                  <a:pt x="14538" y="16251"/>
                  <a:pt x="14460" y="16324"/>
                </a:cubicBezTo>
                <a:lnTo>
                  <a:pt x="14455" y="16313"/>
                </a:lnTo>
                <a:lnTo>
                  <a:pt x="10820" y="20061"/>
                </a:lnTo>
                <a:lnTo>
                  <a:pt x="7658" y="16334"/>
                </a:lnTo>
                <a:lnTo>
                  <a:pt x="7653" y="16344"/>
                </a:lnTo>
                <a:cubicBezTo>
                  <a:pt x="7571" y="16259"/>
                  <a:pt x="7474" y="16200"/>
                  <a:pt x="7364" y="16200"/>
                </a:cubicBezTo>
                <a:cubicBezTo>
                  <a:pt x="7327" y="16200"/>
                  <a:pt x="7294" y="16218"/>
                  <a:pt x="7259" y="16229"/>
                </a:cubicBezTo>
                <a:lnTo>
                  <a:pt x="7257" y="16216"/>
                </a:lnTo>
                <a:lnTo>
                  <a:pt x="4013" y="17331"/>
                </a:lnTo>
                <a:lnTo>
                  <a:pt x="4767" y="9035"/>
                </a:lnTo>
                <a:lnTo>
                  <a:pt x="10589" y="12084"/>
                </a:lnTo>
                <a:lnTo>
                  <a:pt x="10591" y="12080"/>
                </a:lnTo>
                <a:cubicBezTo>
                  <a:pt x="10655" y="12122"/>
                  <a:pt x="10724" y="12150"/>
                  <a:pt x="10800" y="12150"/>
                </a:cubicBezTo>
                <a:cubicBezTo>
                  <a:pt x="10876" y="12150"/>
                  <a:pt x="10946" y="12122"/>
                  <a:pt x="11009" y="12080"/>
                </a:cubicBezTo>
                <a:lnTo>
                  <a:pt x="11011" y="12084"/>
                </a:lnTo>
                <a:lnTo>
                  <a:pt x="16897" y="9001"/>
                </a:lnTo>
                <a:cubicBezTo>
                  <a:pt x="16897" y="9001"/>
                  <a:pt x="18031" y="17315"/>
                  <a:pt x="18031" y="17315"/>
                </a:cubicBezTo>
                <a:close/>
                <a:moveTo>
                  <a:pt x="21600" y="6075"/>
                </a:moveTo>
                <a:cubicBezTo>
                  <a:pt x="21600" y="5806"/>
                  <a:pt x="21484" y="5579"/>
                  <a:pt x="21319" y="5470"/>
                </a:cubicBezTo>
                <a:lnTo>
                  <a:pt x="21320" y="5466"/>
                </a:lnTo>
                <a:lnTo>
                  <a:pt x="21306" y="5458"/>
                </a:lnTo>
                <a:cubicBezTo>
                  <a:pt x="21301" y="5455"/>
                  <a:pt x="21296" y="5453"/>
                  <a:pt x="21292" y="5451"/>
                </a:cubicBezTo>
                <a:lnTo>
                  <a:pt x="11011" y="66"/>
                </a:lnTo>
                <a:lnTo>
                  <a:pt x="11009" y="70"/>
                </a:lnTo>
                <a:cubicBezTo>
                  <a:pt x="10946" y="28"/>
                  <a:pt x="10876" y="0"/>
                  <a:pt x="10800" y="0"/>
                </a:cubicBezTo>
                <a:cubicBezTo>
                  <a:pt x="10724" y="0"/>
                  <a:pt x="10655" y="28"/>
                  <a:pt x="10591" y="70"/>
                </a:cubicBezTo>
                <a:lnTo>
                  <a:pt x="10589" y="66"/>
                </a:lnTo>
                <a:lnTo>
                  <a:pt x="309" y="5451"/>
                </a:lnTo>
                <a:cubicBezTo>
                  <a:pt x="304" y="5453"/>
                  <a:pt x="299" y="5455"/>
                  <a:pt x="295" y="5458"/>
                </a:cubicBezTo>
                <a:lnTo>
                  <a:pt x="280" y="5466"/>
                </a:lnTo>
                <a:lnTo>
                  <a:pt x="281" y="5470"/>
                </a:lnTo>
                <a:cubicBezTo>
                  <a:pt x="116" y="5579"/>
                  <a:pt x="0" y="5806"/>
                  <a:pt x="0" y="6075"/>
                </a:cubicBezTo>
                <a:cubicBezTo>
                  <a:pt x="0" y="6344"/>
                  <a:pt x="116" y="6571"/>
                  <a:pt x="281" y="6680"/>
                </a:cubicBezTo>
                <a:lnTo>
                  <a:pt x="280" y="6684"/>
                </a:lnTo>
                <a:lnTo>
                  <a:pt x="295" y="6692"/>
                </a:lnTo>
                <a:cubicBezTo>
                  <a:pt x="299" y="6695"/>
                  <a:pt x="304" y="6697"/>
                  <a:pt x="309" y="6699"/>
                </a:cubicBezTo>
                <a:lnTo>
                  <a:pt x="1230" y="7182"/>
                </a:lnTo>
                <a:lnTo>
                  <a:pt x="608" y="13603"/>
                </a:lnTo>
                <a:cubicBezTo>
                  <a:pt x="251" y="13805"/>
                  <a:pt x="0" y="14287"/>
                  <a:pt x="0" y="14850"/>
                </a:cubicBezTo>
                <a:cubicBezTo>
                  <a:pt x="0" y="15596"/>
                  <a:pt x="439" y="16200"/>
                  <a:pt x="982" y="16200"/>
                </a:cubicBezTo>
                <a:cubicBezTo>
                  <a:pt x="1524" y="16200"/>
                  <a:pt x="1964" y="15596"/>
                  <a:pt x="1964" y="14850"/>
                </a:cubicBezTo>
                <a:cubicBezTo>
                  <a:pt x="1964" y="14416"/>
                  <a:pt x="1812" y="14034"/>
                  <a:pt x="1580" y="13787"/>
                </a:cubicBezTo>
                <a:lnTo>
                  <a:pt x="2173" y="7676"/>
                </a:lnTo>
                <a:lnTo>
                  <a:pt x="3822" y="8540"/>
                </a:lnTo>
                <a:lnTo>
                  <a:pt x="2950" y="18135"/>
                </a:lnTo>
                <a:lnTo>
                  <a:pt x="2958" y="18138"/>
                </a:lnTo>
                <a:cubicBezTo>
                  <a:pt x="2955" y="18167"/>
                  <a:pt x="2945" y="18193"/>
                  <a:pt x="2945" y="18225"/>
                </a:cubicBezTo>
                <a:cubicBezTo>
                  <a:pt x="2945" y="18598"/>
                  <a:pt x="3165" y="18900"/>
                  <a:pt x="3436" y="18900"/>
                </a:cubicBezTo>
                <a:cubicBezTo>
                  <a:pt x="3474" y="18900"/>
                  <a:pt x="3506" y="18884"/>
                  <a:pt x="3541" y="18873"/>
                </a:cubicBezTo>
                <a:lnTo>
                  <a:pt x="3543" y="18884"/>
                </a:lnTo>
                <a:lnTo>
                  <a:pt x="7238" y="17613"/>
                </a:lnTo>
                <a:lnTo>
                  <a:pt x="10506" y="21465"/>
                </a:lnTo>
                <a:lnTo>
                  <a:pt x="10510" y="21456"/>
                </a:lnTo>
                <a:cubicBezTo>
                  <a:pt x="10593" y="21541"/>
                  <a:pt x="10690" y="21600"/>
                  <a:pt x="10800" y="21600"/>
                </a:cubicBezTo>
                <a:cubicBezTo>
                  <a:pt x="10901" y="21600"/>
                  <a:pt x="10989" y="21548"/>
                  <a:pt x="11068" y="21476"/>
                </a:cubicBezTo>
                <a:lnTo>
                  <a:pt x="11072" y="21487"/>
                </a:lnTo>
                <a:lnTo>
                  <a:pt x="14834" y="17607"/>
                </a:lnTo>
                <a:lnTo>
                  <a:pt x="18548" y="18884"/>
                </a:lnTo>
                <a:lnTo>
                  <a:pt x="18550" y="18871"/>
                </a:lnTo>
                <a:cubicBezTo>
                  <a:pt x="18585" y="18882"/>
                  <a:pt x="18618" y="18900"/>
                  <a:pt x="18655" y="18900"/>
                </a:cubicBezTo>
                <a:cubicBezTo>
                  <a:pt x="18926" y="18900"/>
                  <a:pt x="19145" y="18598"/>
                  <a:pt x="19145" y="18225"/>
                </a:cubicBezTo>
                <a:cubicBezTo>
                  <a:pt x="19145" y="18181"/>
                  <a:pt x="19135" y="18143"/>
                  <a:pt x="19130" y="18102"/>
                </a:cubicBezTo>
                <a:lnTo>
                  <a:pt x="19137" y="18100"/>
                </a:lnTo>
                <a:lnTo>
                  <a:pt x="17830" y="8513"/>
                </a:lnTo>
                <a:lnTo>
                  <a:pt x="21292" y="6699"/>
                </a:lnTo>
                <a:cubicBezTo>
                  <a:pt x="21296" y="6697"/>
                  <a:pt x="21301" y="6695"/>
                  <a:pt x="21306" y="6692"/>
                </a:cubicBezTo>
                <a:lnTo>
                  <a:pt x="21320" y="6684"/>
                </a:lnTo>
                <a:lnTo>
                  <a:pt x="21319" y="6680"/>
                </a:lnTo>
                <a:cubicBezTo>
                  <a:pt x="21484" y="6571"/>
                  <a:pt x="21600" y="6344"/>
                  <a:pt x="21600" y="607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6" name="Shape 2776"/>
          <p:cNvSpPr/>
          <p:nvPr/>
        </p:nvSpPr>
        <p:spPr>
          <a:xfrm>
            <a:off x="7926326" y="3879355"/>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6300" y="7855"/>
                </a:moveTo>
                <a:lnTo>
                  <a:pt x="9900" y="7855"/>
                </a:lnTo>
                <a:lnTo>
                  <a:pt x="9900" y="9818"/>
                </a:lnTo>
                <a:cubicBezTo>
                  <a:pt x="9900" y="10090"/>
                  <a:pt x="10303" y="10309"/>
                  <a:pt x="10800" y="10309"/>
                </a:cubicBezTo>
                <a:cubicBezTo>
                  <a:pt x="11297" y="10309"/>
                  <a:pt x="11700" y="10090"/>
                  <a:pt x="11700" y="9818"/>
                </a:cubicBezTo>
                <a:lnTo>
                  <a:pt x="11700" y="7855"/>
                </a:lnTo>
                <a:lnTo>
                  <a:pt x="15300" y="7855"/>
                </a:lnTo>
                <a:cubicBezTo>
                  <a:pt x="15797" y="7855"/>
                  <a:pt x="16200" y="7635"/>
                  <a:pt x="16200" y="7364"/>
                </a:cubicBezTo>
                <a:cubicBezTo>
                  <a:pt x="16200" y="7092"/>
                  <a:pt x="15797" y="6873"/>
                  <a:pt x="15300" y="6873"/>
                </a:cubicBezTo>
                <a:lnTo>
                  <a:pt x="11700" y="6873"/>
                </a:lnTo>
                <a:lnTo>
                  <a:pt x="11700" y="4909"/>
                </a:lnTo>
                <a:cubicBezTo>
                  <a:pt x="11700" y="4638"/>
                  <a:pt x="11297" y="4418"/>
                  <a:pt x="10800" y="4418"/>
                </a:cubicBezTo>
                <a:cubicBezTo>
                  <a:pt x="10303" y="4418"/>
                  <a:pt x="9900" y="4638"/>
                  <a:pt x="9900" y="4909"/>
                </a:cubicBezTo>
                <a:lnTo>
                  <a:pt x="9900" y="6873"/>
                </a:lnTo>
                <a:lnTo>
                  <a:pt x="6300" y="6873"/>
                </a:lnTo>
                <a:cubicBezTo>
                  <a:pt x="5803" y="6873"/>
                  <a:pt x="5400" y="7092"/>
                  <a:pt x="5400" y="7364"/>
                </a:cubicBezTo>
                <a:cubicBezTo>
                  <a:pt x="5400" y="7635"/>
                  <a:pt x="5803" y="7855"/>
                  <a:pt x="6300" y="7855"/>
                </a:cubicBezTo>
                <a:moveTo>
                  <a:pt x="19800" y="19847"/>
                </a:moveTo>
                <a:lnTo>
                  <a:pt x="11464" y="14886"/>
                </a:lnTo>
                <a:lnTo>
                  <a:pt x="11457" y="14889"/>
                </a:lnTo>
                <a:cubicBezTo>
                  <a:pt x="11294" y="14791"/>
                  <a:pt x="11063" y="14727"/>
                  <a:pt x="10800" y="14727"/>
                </a:cubicBezTo>
                <a:cubicBezTo>
                  <a:pt x="10537" y="14727"/>
                  <a:pt x="10306" y="14791"/>
                  <a:pt x="10142" y="14889"/>
                </a:cubicBezTo>
                <a:lnTo>
                  <a:pt x="10136" y="14886"/>
                </a:lnTo>
                <a:lnTo>
                  <a:pt x="1800" y="19847"/>
                </a:lnTo>
                <a:lnTo>
                  <a:pt x="1800" y="982"/>
                </a:lnTo>
                <a:lnTo>
                  <a:pt x="19800" y="982"/>
                </a:lnTo>
                <a:cubicBezTo>
                  <a:pt x="19800" y="982"/>
                  <a:pt x="19800" y="19847"/>
                  <a:pt x="19800" y="19847"/>
                </a:cubicBezTo>
                <a:close/>
                <a:moveTo>
                  <a:pt x="20700" y="0"/>
                </a:moveTo>
                <a:lnTo>
                  <a:pt x="900" y="0"/>
                </a:lnTo>
                <a:cubicBezTo>
                  <a:pt x="403" y="0"/>
                  <a:pt x="0" y="220"/>
                  <a:pt x="0" y="491"/>
                </a:cubicBezTo>
                <a:lnTo>
                  <a:pt x="0" y="21109"/>
                </a:lnTo>
                <a:cubicBezTo>
                  <a:pt x="0" y="21380"/>
                  <a:pt x="403" y="21600"/>
                  <a:pt x="900" y="21600"/>
                </a:cubicBezTo>
                <a:cubicBezTo>
                  <a:pt x="1163" y="21600"/>
                  <a:pt x="1394" y="21536"/>
                  <a:pt x="1559" y="21438"/>
                </a:cubicBezTo>
                <a:lnTo>
                  <a:pt x="1564" y="21441"/>
                </a:lnTo>
                <a:lnTo>
                  <a:pt x="10800" y="15945"/>
                </a:lnTo>
                <a:lnTo>
                  <a:pt x="20036" y="21441"/>
                </a:lnTo>
                <a:lnTo>
                  <a:pt x="20041" y="21438"/>
                </a:lnTo>
                <a:cubicBezTo>
                  <a:pt x="20206" y="21536"/>
                  <a:pt x="20437"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7" name="Shape 2777"/>
          <p:cNvSpPr/>
          <p:nvPr/>
        </p:nvSpPr>
        <p:spPr>
          <a:xfrm>
            <a:off x="8307228" y="387935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250" y="20095"/>
                </a:moveTo>
                <a:lnTo>
                  <a:pt x="11298" y="14886"/>
                </a:lnTo>
                <a:lnTo>
                  <a:pt x="11293" y="14890"/>
                </a:lnTo>
                <a:cubicBezTo>
                  <a:pt x="11170" y="14791"/>
                  <a:pt x="10997" y="14727"/>
                  <a:pt x="10800" y="14727"/>
                </a:cubicBezTo>
                <a:cubicBezTo>
                  <a:pt x="10603" y="14727"/>
                  <a:pt x="10430" y="14791"/>
                  <a:pt x="10306" y="14890"/>
                </a:cubicBezTo>
                <a:lnTo>
                  <a:pt x="10302" y="14886"/>
                </a:lnTo>
                <a:lnTo>
                  <a:pt x="1350" y="20095"/>
                </a:lnTo>
                <a:lnTo>
                  <a:pt x="1350" y="982"/>
                </a:lnTo>
                <a:lnTo>
                  <a:pt x="20250" y="982"/>
                </a:lnTo>
                <a:cubicBezTo>
                  <a:pt x="20250" y="982"/>
                  <a:pt x="20250" y="20095"/>
                  <a:pt x="20250" y="20095"/>
                </a:cubicBezTo>
                <a:close/>
                <a:moveTo>
                  <a:pt x="20925" y="0"/>
                </a:moveTo>
                <a:lnTo>
                  <a:pt x="675" y="0"/>
                </a:lnTo>
                <a:cubicBezTo>
                  <a:pt x="302" y="0"/>
                  <a:pt x="0" y="220"/>
                  <a:pt x="0" y="491"/>
                </a:cubicBezTo>
                <a:lnTo>
                  <a:pt x="0" y="21109"/>
                </a:lnTo>
                <a:cubicBezTo>
                  <a:pt x="0" y="21380"/>
                  <a:pt x="302" y="21600"/>
                  <a:pt x="675" y="21600"/>
                </a:cubicBezTo>
                <a:cubicBezTo>
                  <a:pt x="872" y="21600"/>
                  <a:pt x="1045" y="21537"/>
                  <a:pt x="1169" y="21438"/>
                </a:cubicBezTo>
                <a:lnTo>
                  <a:pt x="1173" y="21441"/>
                </a:lnTo>
                <a:lnTo>
                  <a:pt x="10800" y="15839"/>
                </a:lnTo>
                <a:lnTo>
                  <a:pt x="20427" y="21441"/>
                </a:lnTo>
                <a:lnTo>
                  <a:pt x="20431" y="21438"/>
                </a:lnTo>
                <a:cubicBezTo>
                  <a:pt x="20555" y="21537"/>
                  <a:pt x="20728" y="21600"/>
                  <a:pt x="20925" y="21600"/>
                </a:cubicBezTo>
                <a:cubicBezTo>
                  <a:pt x="21298" y="21600"/>
                  <a:pt x="21600" y="21380"/>
                  <a:pt x="21600" y="21109"/>
                </a:cubicBezTo>
                <a:lnTo>
                  <a:pt x="21600" y="491"/>
                </a:lnTo>
                <a:cubicBezTo>
                  <a:pt x="21600" y="220"/>
                  <a:pt x="21298" y="0"/>
                  <a:pt x="20925" y="0"/>
                </a:cubicBezTo>
                <a:moveTo>
                  <a:pt x="7337" y="7850"/>
                </a:moveTo>
                <a:lnTo>
                  <a:pt x="9710" y="7850"/>
                </a:lnTo>
                <a:lnTo>
                  <a:pt x="10039" y="7213"/>
                </a:lnTo>
                <a:lnTo>
                  <a:pt x="10800" y="5738"/>
                </a:lnTo>
                <a:lnTo>
                  <a:pt x="11561" y="7213"/>
                </a:lnTo>
                <a:lnTo>
                  <a:pt x="11890" y="7850"/>
                </a:lnTo>
                <a:lnTo>
                  <a:pt x="14263" y="7850"/>
                </a:lnTo>
                <a:lnTo>
                  <a:pt x="13014" y="8550"/>
                </a:lnTo>
                <a:lnTo>
                  <a:pt x="12253" y="8976"/>
                </a:lnTo>
                <a:lnTo>
                  <a:pt x="12557" y="9638"/>
                </a:lnTo>
                <a:lnTo>
                  <a:pt x="13240" y="11130"/>
                </a:lnTo>
                <a:lnTo>
                  <a:pt x="11598" y="10254"/>
                </a:lnTo>
                <a:lnTo>
                  <a:pt x="10800" y="9828"/>
                </a:lnTo>
                <a:lnTo>
                  <a:pt x="10002" y="10254"/>
                </a:lnTo>
                <a:lnTo>
                  <a:pt x="8360" y="11130"/>
                </a:lnTo>
                <a:lnTo>
                  <a:pt x="9043" y="9638"/>
                </a:lnTo>
                <a:lnTo>
                  <a:pt x="9347" y="8976"/>
                </a:lnTo>
                <a:lnTo>
                  <a:pt x="8586" y="8550"/>
                </a:lnTo>
                <a:cubicBezTo>
                  <a:pt x="8586" y="8550"/>
                  <a:pt x="7337" y="7850"/>
                  <a:pt x="7337" y="7850"/>
                </a:cubicBezTo>
                <a:close/>
                <a:moveTo>
                  <a:pt x="5737" y="13745"/>
                </a:moveTo>
                <a:lnTo>
                  <a:pt x="10800" y="11045"/>
                </a:lnTo>
                <a:lnTo>
                  <a:pt x="15863" y="13745"/>
                </a:lnTo>
                <a:lnTo>
                  <a:pt x="13838" y="9328"/>
                </a:lnTo>
                <a:lnTo>
                  <a:pt x="18225" y="6868"/>
                </a:lnTo>
                <a:lnTo>
                  <a:pt x="12825" y="6868"/>
                </a:lnTo>
                <a:lnTo>
                  <a:pt x="10800" y="2945"/>
                </a:lnTo>
                <a:lnTo>
                  <a:pt x="8775" y="6868"/>
                </a:lnTo>
                <a:lnTo>
                  <a:pt x="3375" y="6868"/>
                </a:lnTo>
                <a:lnTo>
                  <a:pt x="7762" y="9328"/>
                </a:lnTo>
                <a:cubicBezTo>
                  <a:pt x="7762" y="9328"/>
                  <a:pt x="5737" y="13745"/>
                  <a:pt x="5737" y="137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8" name="Shape 2778"/>
          <p:cNvSpPr/>
          <p:nvPr/>
        </p:nvSpPr>
        <p:spPr>
          <a:xfrm>
            <a:off x="4679147"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481" y="12956"/>
                </a:moveTo>
                <a:cubicBezTo>
                  <a:pt x="17070" y="12258"/>
                  <a:pt x="16576" y="11533"/>
                  <a:pt x="16011" y="10795"/>
                </a:cubicBezTo>
                <a:cubicBezTo>
                  <a:pt x="16573" y="10063"/>
                  <a:pt x="17072" y="9339"/>
                  <a:pt x="17481" y="8644"/>
                </a:cubicBezTo>
                <a:cubicBezTo>
                  <a:pt x="19410" y="9181"/>
                  <a:pt x="20618" y="9948"/>
                  <a:pt x="20618" y="10800"/>
                </a:cubicBezTo>
                <a:cubicBezTo>
                  <a:pt x="20618" y="11652"/>
                  <a:pt x="19410" y="12419"/>
                  <a:pt x="17481" y="12956"/>
                </a:cubicBezTo>
                <a:moveTo>
                  <a:pt x="17742" y="17743"/>
                </a:moveTo>
                <a:cubicBezTo>
                  <a:pt x="17140" y="18345"/>
                  <a:pt x="15740" y="18028"/>
                  <a:pt x="13996" y="17045"/>
                </a:cubicBezTo>
                <a:cubicBezTo>
                  <a:pt x="14198" y="16261"/>
                  <a:pt x="14365" y="15406"/>
                  <a:pt x="14487" y="14488"/>
                </a:cubicBezTo>
                <a:cubicBezTo>
                  <a:pt x="15405" y="14366"/>
                  <a:pt x="16261" y="14198"/>
                  <a:pt x="17044" y="13996"/>
                </a:cubicBezTo>
                <a:cubicBezTo>
                  <a:pt x="18028" y="15740"/>
                  <a:pt x="18345" y="17140"/>
                  <a:pt x="17742" y="17743"/>
                </a:cubicBezTo>
                <a:moveTo>
                  <a:pt x="15404" y="11561"/>
                </a:moveTo>
                <a:cubicBezTo>
                  <a:pt x="15837" y="12119"/>
                  <a:pt x="16219" y="12662"/>
                  <a:pt x="16554" y="13185"/>
                </a:cubicBezTo>
                <a:cubicBezTo>
                  <a:pt x="15950" y="13317"/>
                  <a:pt x="15295" y="13429"/>
                  <a:pt x="14597" y="13517"/>
                </a:cubicBezTo>
                <a:cubicBezTo>
                  <a:pt x="14631" y="13155"/>
                  <a:pt x="14655" y="12784"/>
                  <a:pt x="14677" y="12409"/>
                </a:cubicBezTo>
                <a:cubicBezTo>
                  <a:pt x="14930" y="12127"/>
                  <a:pt x="15170" y="11844"/>
                  <a:pt x="15404" y="11561"/>
                </a:cubicBezTo>
                <a:moveTo>
                  <a:pt x="15402" y="10032"/>
                </a:moveTo>
                <a:cubicBezTo>
                  <a:pt x="15170" y="9752"/>
                  <a:pt x="14928" y="9471"/>
                  <a:pt x="14677" y="9191"/>
                </a:cubicBezTo>
                <a:cubicBezTo>
                  <a:pt x="14655" y="8817"/>
                  <a:pt x="14631" y="8445"/>
                  <a:pt x="14597" y="8084"/>
                </a:cubicBezTo>
                <a:cubicBezTo>
                  <a:pt x="15295" y="8171"/>
                  <a:pt x="15950" y="8283"/>
                  <a:pt x="16554" y="8415"/>
                </a:cubicBezTo>
                <a:cubicBezTo>
                  <a:pt x="16221" y="8935"/>
                  <a:pt x="15832" y="9478"/>
                  <a:pt x="15402" y="10032"/>
                </a:cubicBezTo>
                <a:moveTo>
                  <a:pt x="17742" y="3857"/>
                </a:moveTo>
                <a:cubicBezTo>
                  <a:pt x="18345" y="4460"/>
                  <a:pt x="18028" y="5860"/>
                  <a:pt x="17044" y="7604"/>
                </a:cubicBezTo>
                <a:cubicBezTo>
                  <a:pt x="16261" y="7402"/>
                  <a:pt x="15405" y="7234"/>
                  <a:pt x="14487" y="7112"/>
                </a:cubicBezTo>
                <a:cubicBezTo>
                  <a:pt x="14365" y="6194"/>
                  <a:pt x="14198" y="5339"/>
                  <a:pt x="13996" y="4555"/>
                </a:cubicBezTo>
                <a:cubicBezTo>
                  <a:pt x="15740" y="3572"/>
                  <a:pt x="17140" y="3255"/>
                  <a:pt x="17742" y="3857"/>
                </a:cubicBezTo>
                <a:moveTo>
                  <a:pt x="13718" y="12012"/>
                </a:moveTo>
                <a:cubicBezTo>
                  <a:pt x="13448" y="12303"/>
                  <a:pt x="13172" y="12593"/>
                  <a:pt x="12882" y="12883"/>
                </a:cubicBezTo>
                <a:cubicBezTo>
                  <a:pt x="12593" y="13172"/>
                  <a:pt x="12303" y="13449"/>
                  <a:pt x="12012" y="13719"/>
                </a:cubicBezTo>
                <a:cubicBezTo>
                  <a:pt x="11614" y="13733"/>
                  <a:pt x="11212" y="13745"/>
                  <a:pt x="10800" y="13745"/>
                </a:cubicBezTo>
                <a:cubicBezTo>
                  <a:pt x="10387" y="13745"/>
                  <a:pt x="9985" y="13733"/>
                  <a:pt x="9587" y="13719"/>
                </a:cubicBezTo>
                <a:cubicBezTo>
                  <a:pt x="9297" y="13449"/>
                  <a:pt x="9006" y="13172"/>
                  <a:pt x="8717" y="12883"/>
                </a:cubicBezTo>
                <a:cubicBezTo>
                  <a:pt x="8428" y="12593"/>
                  <a:pt x="8152" y="12303"/>
                  <a:pt x="7881" y="12012"/>
                </a:cubicBezTo>
                <a:cubicBezTo>
                  <a:pt x="7866" y="11614"/>
                  <a:pt x="7855" y="11212"/>
                  <a:pt x="7855" y="10800"/>
                </a:cubicBezTo>
                <a:cubicBezTo>
                  <a:pt x="7855" y="10388"/>
                  <a:pt x="7866" y="9986"/>
                  <a:pt x="7881" y="9587"/>
                </a:cubicBezTo>
                <a:cubicBezTo>
                  <a:pt x="8152" y="9297"/>
                  <a:pt x="8428" y="9007"/>
                  <a:pt x="8717" y="8717"/>
                </a:cubicBezTo>
                <a:cubicBezTo>
                  <a:pt x="9006" y="8428"/>
                  <a:pt x="9297" y="8151"/>
                  <a:pt x="9587" y="7881"/>
                </a:cubicBezTo>
                <a:cubicBezTo>
                  <a:pt x="9985" y="7867"/>
                  <a:pt x="10387" y="7855"/>
                  <a:pt x="10800" y="7855"/>
                </a:cubicBezTo>
                <a:cubicBezTo>
                  <a:pt x="11212" y="7855"/>
                  <a:pt x="11614" y="7867"/>
                  <a:pt x="12012" y="7881"/>
                </a:cubicBezTo>
                <a:cubicBezTo>
                  <a:pt x="12303" y="8151"/>
                  <a:pt x="12593" y="8428"/>
                  <a:pt x="12882" y="8717"/>
                </a:cubicBezTo>
                <a:cubicBezTo>
                  <a:pt x="13172" y="9007"/>
                  <a:pt x="13448" y="9297"/>
                  <a:pt x="13718" y="9587"/>
                </a:cubicBezTo>
                <a:cubicBezTo>
                  <a:pt x="13733" y="9986"/>
                  <a:pt x="13745" y="10388"/>
                  <a:pt x="13745" y="10800"/>
                </a:cubicBezTo>
                <a:cubicBezTo>
                  <a:pt x="13745" y="11212"/>
                  <a:pt x="13733" y="11614"/>
                  <a:pt x="13718" y="12012"/>
                </a:cubicBezTo>
                <a:moveTo>
                  <a:pt x="13185" y="16555"/>
                </a:moveTo>
                <a:cubicBezTo>
                  <a:pt x="12662" y="16219"/>
                  <a:pt x="12120" y="15837"/>
                  <a:pt x="11561" y="15404"/>
                </a:cubicBezTo>
                <a:cubicBezTo>
                  <a:pt x="11844" y="15170"/>
                  <a:pt x="12127" y="14931"/>
                  <a:pt x="12409" y="14677"/>
                </a:cubicBezTo>
                <a:cubicBezTo>
                  <a:pt x="12783" y="14655"/>
                  <a:pt x="13155" y="14631"/>
                  <a:pt x="13517" y="14597"/>
                </a:cubicBezTo>
                <a:cubicBezTo>
                  <a:pt x="13429" y="15295"/>
                  <a:pt x="13316" y="15950"/>
                  <a:pt x="13185" y="16555"/>
                </a:cubicBezTo>
                <a:moveTo>
                  <a:pt x="10800" y="20618"/>
                </a:moveTo>
                <a:cubicBezTo>
                  <a:pt x="9948" y="20618"/>
                  <a:pt x="9181" y="19410"/>
                  <a:pt x="8643" y="17481"/>
                </a:cubicBezTo>
                <a:cubicBezTo>
                  <a:pt x="9339" y="17072"/>
                  <a:pt x="10062" y="16573"/>
                  <a:pt x="10795" y="16011"/>
                </a:cubicBezTo>
                <a:cubicBezTo>
                  <a:pt x="11532" y="16576"/>
                  <a:pt x="12258" y="17070"/>
                  <a:pt x="12957" y="17481"/>
                </a:cubicBezTo>
                <a:cubicBezTo>
                  <a:pt x="12419" y="19410"/>
                  <a:pt x="11652" y="20618"/>
                  <a:pt x="10800" y="20618"/>
                </a:cubicBezTo>
                <a:moveTo>
                  <a:pt x="8083" y="14597"/>
                </a:moveTo>
                <a:cubicBezTo>
                  <a:pt x="8445" y="14631"/>
                  <a:pt x="8816" y="14655"/>
                  <a:pt x="9190" y="14677"/>
                </a:cubicBezTo>
                <a:cubicBezTo>
                  <a:pt x="9471" y="14929"/>
                  <a:pt x="9751" y="15170"/>
                  <a:pt x="10032" y="15403"/>
                </a:cubicBezTo>
                <a:cubicBezTo>
                  <a:pt x="9478" y="15832"/>
                  <a:pt x="8935" y="16221"/>
                  <a:pt x="8415" y="16555"/>
                </a:cubicBezTo>
                <a:cubicBezTo>
                  <a:pt x="8283" y="15950"/>
                  <a:pt x="8171" y="15295"/>
                  <a:pt x="8083" y="14597"/>
                </a:cubicBezTo>
                <a:moveTo>
                  <a:pt x="8415" y="5045"/>
                </a:moveTo>
                <a:cubicBezTo>
                  <a:pt x="8938" y="5381"/>
                  <a:pt x="9480" y="5762"/>
                  <a:pt x="10038" y="6196"/>
                </a:cubicBezTo>
                <a:cubicBezTo>
                  <a:pt x="9756" y="6430"/>
                  <a:pt x="9473" y="6670"/>
                  <a:pt x="9190" y="6924"/>
                </a:cubicBezTo>
                <a:cubicBezTo>
                  <a:pt x="8816" y="6945"/>
                  <a:pt x="8445" y="6969"/>
                  <a:pt x="8083" y="7003"/>
                </a:cubicBezTo>
                <a:cubicBezTo>
                  <a:pt x="8171" y="6305"/>
                  <a:pt x="8283" y="5650"/>
                  <a:pt x="8415" y="5045"/>
                </a:cubicBezTo>
                <a:moveTo>
                  <a:pt x="10800" y="982"/>
                </a:moveTo>
                <a:cubicBezTo>
                  <a:pt x="11652" y="982"/>
                  <a:pt x="12419" y="2191"/>
                  <a:pt x="12957" y="4119"/>
                </a:cubicBezTo>
                <a:cubicBezTo>
                  <a:pt x="12261" y="4528"/>
                  <a:pt x="11537" y="5027"/>
                  <a:pt x="10804" y="5589"/>
                </a:cubicBezTo>
                <a:cubicBezTo>
                  <a:pt x="10067" y="5024"/>
                  <a:pt x="9341" y="4530"/>
                  <a:pt x="8643" y="4119"/>
                </a:cubicBezTo>
                <a:cubicBezTo>
                  <a:pt x="9181" y="2191"/>
                  <a:pt x="9948" y="982"/>
                  <a:pt x="10800" y="982"/>
                </a:cubicBezTo>
                <a:moveTo>
                  <a:pt x="13517" y="7003"/>
                </a:moveTo>
                <a:cubicBezTo>
                  <a:pt x="13155" y="6969"/>
                  <a:pt x="12783" y="6945"/>
                  <a:pt x="12409" y="6924"/>
                </a:cubicBezTo>
                <a:cubicBezTo>
                  <a:pt x="12129" y="6671"/>
                  <a:pt x="11848" y="6430"/>
                  <a:pt x="11568" y="6198"/>
                </a:cubicBezTo>
                <a:cubicBezTo>
                  <a:pt x="12122" y="5768"/>
                  <a:pt x="12665" y="5379"/>
                  <a:pt x="13185" y="5045"/>
                </a:cubicBezTo>
                <a:cubicBezTo>
                  <a:pt x="13316" y="5650"/>
                  <a:pt x="13429" y="6305"/>
                  <a:pt x="13517" y="7003"/>
                </a:cubicBezTo>
                <a:moveTo>
                  <a:pt x="7112" y="7112"/>
                </a:moveTo>
                <a:cubicBezTo>
                  <a:pt x="6194" y="7234"/>
                  <a:pt x="5339" y="7402"/>
                  <a:pt x="4555" y="7604"/>
                </a:cubicBezTo>
                <a:cubicBezTo>
                  <a:pt x="3572" y="5860"/>
                  <a:pt x="3255" y="4460"/>
                  <a:pt x="3858" y="3857"/>
                </a:cubicBezTo>
                <a:cubicBezTo>
                  <a:pt x="4460" y="3255"/>
                  <a:pt x="5860" y="3572"/>
                  <a:pt x="7604" y="4555"/>
                </a:cubicBezTo>
                <a:cubicBezTo>
                  <a:pt x="7402" y="5339"/>
                  <a:pt x="7234" y="6194"/>
                  <a:pt x="7112" y="7112"/>
                </a:cubicBezTo>
                <a:moveTo>
                  <a:pt x="3858" y="17743"/>
                </a:moveTo>
                <a:cubicBezTo>
                  <a:pt x="3255" y="17140"/>
                  <a:pt x="3572" y="15740"/>
                  <a:pt x="4555" y="13996"/>
                </a:cubicBezTo>
                <a:cubicBezTo>
                  <a:pt x="5339" y="14198"/>
                  <a:pt x="6194" y="14366"/>
                  <a:pt x="7112" y="14488"/>
                </a:cubicBezTo>
                <a:cubicBezTo>
                  <a:pt x="7234" y="15406"/>
                  <a:pt x="7402" y="16261"/>
                  <a:pt x="7604" y="17045"/>
                </a:cubicBezTo>
                <a:cubicBezTo>
                  <a:pt x="5860" y="18028"/>
                  <a:pt x="4460" y="18345"/>
                  <a:pt x="3858" y="17743"/>
                </a:cubicBezTo>
                <a:moveTo>
                  <a:pt x="7003" y="13517"/>
                </a:moveTo>
                <a:cubicBezTo>
                  <a:pt x="6305" y="13429"/>
                  <a:pt x="5650" y="13317"/>
                  <a:pt x="5045" y="13185"/>
                </a:cubicBezTo>
                <a:cubicBezTo>
                  <a:pt x="5379" y="12665"/>
                  <a:pt x="5768" y="12122"/>
                  <a:pt x="6197" y="11568"/>
                </a:cubicBezTo>
                <a:cubicBezTo>
                  <a:pt x="6429" y="11848"/>
                  <a:pt x="6671" y="12129"/>
                  <a:pt x="6923" y="12409"/>
                </a:cubicBezTo>
                <a:cubicBezTo>
                  <a:pt x="6944" y="12784"/>
                  <a:pt x="6968" y="13155"/>
                  <a:pt x="7003" y="13517"/>
                </a:cubicBezTo>
                <a:moveTo>
                  <a:pt x="6923" y="9191"/>
                </a:moveTo>
                <a:cubicBezTo>
                  <a:pt x="6669" y="9473"/>
                  <a:pt x="6429" y="9756"/>
                  <a:pt x="6196" y="10039"/>
                </a:cubicBezTo>
                <a:cubicBezTo>
                  <a:pt x="5763" y="9481"/>
                  <a:pt x="5381" y="8938"/>
                  <a:pt x="5045" y="8415"/>
                </a:cubicBezTo>
                <a:cubicBezTo>
                  <a:pt x="5650" y="8283"/>
                  <a:pt x="6305" y="8171"/>
                  <a:pt x="7003" y="8084"/>
                </a:cubicBezTo>
                <a:cubicBezTo>
                  <a:pt x="6968" y="8445"/>
                  <a:pt x="6944" y="8816"/>
                  <a:pt x="6923" y="9191"/>
                </a:cubicBezTo>
                <a:moveTo>
                  <a:pt x="982" y="10800"/>
                </a:moveTo>
                <a:cubicBezTo>
                  <a:pt x="982" y="9948"/>
                  <a:pt x="2190" y="9181"/>
                  <a:pt x="4119" y="8644"/>
                </a:cubicBezTo>
                <a:cubicBezTo>
                  <a:pt x="4530" y="9342"/>
                  <a:pt x="5023" y="10067"/>
                  <a:pt x="5588" y="10805"/>
                </a:cubicBezTo>
                <a:cubicBezTo>
                  <a:pt x="5027" y="11537"/>
                  <a:pt x="4528" y="12262"/>
                  <a:pt x="4119" y="12956"/>
                </a:cubicBezTo>
                <a:cubicBezTo>
                  <a:pt x="2190" y="12419"/>
                  <a:pt x="982" y="11652"/>
                  <a:pt x="982" y="10800"/>
                </a:cubicBezTo>
                <a:moveTo>
                  <a:pt x="21600" y="10800"/>
                </a:moveTo>
                <a:cubicBezTo>
                  <a:pt x="21600" y="9624"/>
                  <a:pt x="20173" y="8571"/>
                  <a:pt x="17918" y="7853"/>
                </a:cubicBezTo>
                <a:cubicBezTo>
                  <a:pt x="19002" y="5750"/>
                  <a:pt x="19269" y="3995"/>
                  <a:pt x="18437" y="3163"/>
                </a:cubicBezTo>
                <a:cubicBezTo>
                  <a:pt x="17605" y="2332"/>
                  <a:pt x="15850" y="2598"/>
                  <a:pt x="13748" y="3682"/>
                </a:cubicBezTo>
                <a:cubicBezTo>
                  <a:pt x="13029" y="1427"/>
                  <a:pt x="11976" y="0"/>
                  <a:pt x="10800" y="0"/>
                </a:cubicBezTo>
                <a:cubicBezTo>
                  <a:pt x="9623" y="0"/>
                  <a:pt x="8571" y="1427"/>
                  <a:pt x="7852" y="3682"/>
                </a:cubicBezTo>
                <a:cubicBezTo>
                  <a:pt x="5750" y="2598"/>
                  <a:pt x="3995" y="2332"/>
                  <a:pt x="3163" y="3163"/>
                </a:cubicBezTo>
                <a:cubicBezTo>
                  <a:pt x="2331" y="3995"/>
                  <a:pt x="2598" y="5750"/>
                  <a:pt x="3682" y="7853"/>
                </a:cubicBezTo>
                <a:cubicBezTo>
                  <a:pt x="1426" y="8571"/>
                  <a:pt x="0" y="9624"/>
                  <a:pt x="0" y="10800"/>
                </a:cubicBezTo>
                <a:cubicBezTo>
                  <a:pt x="0" y="11976"/>
                  <a:pt x="1426" y="13029"/>
                  <a:pt x="3682" y="13748"/>
                </a:cubicBezTo>
                <a:cubicBezTo>
                  <a:pt x="2598" y="15851"/>
                  <a:pt x="2331" y="17605"/>
                  <a:pt x="3163" y="18437"/>
                </a:cubicBezTo>
                <a:cubicBezTo>
                  <a:pt x="3995" y="19268"/>
                  <a:pt x="5750" y="19002"/>
                  <a:pt x="7852" y="17918"/>
                </a:cubicBezTo>
                <a:cubicBezTo>
                  <a:pt x="8571" y="20173"/>
                  <a:pt x="9623" y="21600"/>
                  <a:pt x="10800" y="21600"/>
                </a:cubicBezTo>
                <a:cubicBezTo>
                  <a:pt x="11976" y="21600"/>
                  <a:pt x="13029" y="20173"/>
                  <a:pt x="13748" y="17918"/>
                </a:cubicBezTo>
                <a:cubicBezTo>
                  <a:pt x="15850" y="19002"/>
                  <a:pt x="17605" y="19268"/>
                  <a:pt x="18437" y="18437"/>
                </a:cubicBezTo>
                <a:cubicBezTo>
                  <a:pt x="19269" y="17605"/>
                  <a:pt x="19002" y="15851"/>
                  <a:pt x="17918" y="13748"/>
                </a:cubicBezTo>
                <a:cubicBezTo>
                  <a:pt x="20173" y="13029"/>
                  <a:pt x="21600" y="11976"/>
                  <a:pt x="21600" y="10800"/>
                </a:cubicBezTo>
                <a:moveTo>
                  <a:pt x="10800" y="9818"/>
                </a:moveTo>
                <a:cubicBezTo>
                  <a:pt x="10258" y="9818"/>
                  <a:pt x="9818" y="10258"/>
                  <a:pt x="9818" y="10800"/>
                </a:cubicBezTo>
                <a:cubicBezTo>
                  <a:pt x="9818" y="11342"/>
                  <a:pt x="10258" y="11782"/>
                  <a:pt x="10800" y="11782"/>
                </a:cubicBezTo>
                <a:cubicBezTo>
                  <a:pt x="11342" y="11782"/>
                  <a:pt x="11782" y="11342"/>
                  <a:pt x="11782" y="10800"/>
                </a:cubicBezTo>
                <a:cubicBezTo>
                  <a:pt x="11782" y="10258"/>
                  <a:pt x="11342" y="9818"/>
                  <a:pt x="10800"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79" name="Shape 2779"/>
          <p:cNvSpPr/>
          <p:nvPr/>
        </p:nvSpPr>
        <p:spPr>
          <a:xfrm>
            <a:off x="5107661" y="4279300"/>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867" y="16691"/>
                </a:moveTo>
                <a:lnTo>
                  <a:pt x="5303" y="12525"/>
                </a:lnTo>
                <a:lnTo>
                  <a:pt x="5294" y="12521"/>
                </a:lnTo>
                <a:cubicBezTo>
                  <a:pt x="5355" y="12447"/>
                  <a:pt x="5400" y="12365"/>
                  <a:pt x="5400" y="12273"/>
                </a:cubicBezTo>
                <a:cubicBezTo>
                  <a:pt x="5400" y="12001"/>
                  <a:pt x="5098" y="11782"/>
                  <a:pt x="4725" y="11782"/>
                </a:cubicBezTo>
                <a:lnTo>
                  <a:pt x="3375" y="11782"/>
                </a:lnTo>
                <a:lnTo>
                  <a:pt x="6615" y="8640"/>
                </a:lnTo>
                <a:lnTo>
                  <a:pt x="6606" y="8635"/>
                </a:lnTo>
                <a:cubicBezTo>
                  <a:pt x="6691" y="8553"/>
                  <a:pt x="6750" y="8456"/>
                  <a:pt x="6750" y="8345"/>
                </a:cubicBezTo>
                <a:cubicBezTo>
                  <a:pt x="6750" y="8075"/>
                  <a:pt x="6448" y="7855"/>
                  <a:pt x="6075" y="7855"/>
                </a:cubicBezTo>
                <a:lnTo>
                  <a:pt x="4855" y="7855"/>
                </a:lnTo>
                <a:lnTo>
                  <a:pt x="8548" y="4785"/>
                </a:lnTo>
                <a:lnTo>
                  <a:pt x="8544" y="4782"/>
                </a:lnTo>
                <a:cubicBezTo>
                  <a:pt x="8683" y="4691"/>
                  <a:pt x="8775" y="4564"/>
                  <a:pt x="8775" y="4418"/>
                </a:cubicBezTo>
                <a:cubicBezTo>
                  <a:pt x="8775" y="4147"/>
                  <a:pt x="8473" y="3927"/>
                  <a:pt x="8100" y="3927"/>
                </a:cubicBezTo>
                <a:lnTo>
                  <a:pt x="7029" y="3927"/>
                </a:lnTo>
                <a:lnTo>
                  <a:pt x="10800" y="1185"/>
                </a:lnTo>
                <a:lnTo>
                  <a:pt x="14571" y="3927"/>
                </a:lnTo>
                <a:lnTo>
                  <a:pt x="13500" y="3927"/>
                </a:lnTo>
                <a:cubicBezTo>
                  <a:pt x="13128" y="3927"/>
                  <a:pt x="12825" y="4147"/>
                  <a:pt x="12825" y="4418"/>
                </a:cubicBezTo>
                <a:cubicBezTo>
                  <a:pt x="12825" y="4564"/>
                  <a:pt x="12917" y="4691"/>
                  <a:pt x="13056" y="4782"/>
                </a:cubicBezTo>
                <a:lnTo>
                  <a:pt x="13052" y="4785"/>
                </a:lnTo>
                <a:lnTo>
                  <a:pt x="16744" y="7855"/>
                </a:lnTo>
                <a:lnTo>
                  <a:pt x="15525" y="7855"/>
                </a:lnTo>
                <a:cubicBezTo>
                  <a:pt x="15153" y="7855"/>
                  <a:pt x="14850" y="8075"/>
                  <a:pt x="14850" y="8345"/>
                </a:cubicBezTo>
                <a:cubicBezTo>
                  <a:pt x="14850" y="8456"/>
                  <a:pt x="14909" y="8553"/>
                  <a:pt x="14994" y="8635"/>
                </a:cubicBezTo>
                <a:lnTo>
                  <a:pt x="14985" y="8640"/>
                </a:lnTo>
                <a:lnTo>
                  <a:pt x="18225" y="11782"/>
                </a:lnTo>
                <a:lnTo>
                  <a:pt x="16875" y="11782"/>
                </a:lnTo>
                <a:cubicBezTo>
                  <a:pt x="16503" y="11782"/>
                  <a:pt x="16200" y="12001"/>
                  <a:pt x="16200" y="12273"/>
                </a:cubicBezTo>
                <a:cubicBezTo>
                  <a:pt x="16200" y="12365"/>
                  <a:pt x="16244" y="12447"/>
                  <a:pt x="16306" y="12521"/>
                </a:cubicBezTo>
                <a:lnTo>
                  <a:pt x="16296" y="12525"/>
                </a:lnTo>
                <a:lnTo>
                  <a:pt x="19733" y="16691"/>
                </a:lnTo>
                <a:cubicBezTo>
                  <a:pt x="19733" y="16691"/>
                  <a:pt x="1867" y="16691"/>
                  <a:pt x="1867" y="16691"/>
                </a:cubicBezTo>
                <a:close/>
                <a:moveTo>
                  <a:pt x="12150" y="20618"/>
                </a:moveTo>
                <a:lnTo>
                  <a:pt x="9450" y="20618"/>
                </a:lnTo>
                <a:lnTo>
                  <a:pt x="9450" y="17673"/>
                </a:lnTo>
                <a:lnTo>
                  <a:pt x="12150" y="17673"/>
                </a:lnTo>
                <a:cubicBezTo>
                  <a:pt x="12150" y="17673"/>
                  <a:pt x="12150" y="20618"/>
                  <a:pt x="12150" y="20618"/>
                </a:cubicBezTo>
                <a:close/>
                <a:moveTo>
                  <a:pt x="21494" y="16933"/>
                </a:moveTo>
                <a:lnTo>
                  <a:pt x="21503" y="16929"/>
                </a:lnTo>
                <a:lnTo>
                  <a:pt x="18067" y="12764"/>
                </a:lnTo>
                <a:lnTo>
                  <a:pt x="19575" y="12764"/>
                </a:lnTo>
                <a:cubicBezTo>
                  <a:pt x="19948" y="12764"/>
                  <a:pt x="20250" y="12544"/>
                  <a:pt x="20250" y="12273"/>
                </a:cubicBezTo>
                <a:cubicBezTo>
                  <a:pt x="20250" y="12162"/>
                  <a:pt x="20191" y="12066"/>
                  <a:pt x="20106" y="11983"/>
                </a:cubicBezTo>
                <a:lnTo>
                  <a:pt x="20115" y="11978"/>
                </a:lnTo>
                <a:lnTo>
                  <a:pt x="16875" y="8836"/>
                </a:lnTo>
                <a:lnTo>
                  <a:pt x="18225" y="8836"/>
                </a:lnTo>
                <a:cubicBezTo>
                  <a:pt x="18598" y="8836"/>
                  <a:pt x="18900" y="8617"/>
                  <a:pt x="18900" y="8345"/>
                </a:cubicBezTo>
                <a:cubicBezTo>
                  <a:pt x="18900" y="8200"/>
                  <a:pt x="18808" y="8072"/>
                  <a:pt x="18669" y="7982"/>
                </a:cubicBezTo>
                <a:lnTo>
                  <a:pt x="18673" y="7978"/>
                </a:lnTo>
                <a:lnTo>
                  <a:pt x="14980" y="4909"/>
                </a:lnTo>
                <a:lnTo>
                  <a:pt x="16200" y="4909"/>
                </a:lnTo>
                <a:cubicBezTo>
                  <a:pt x="16573" y="4909"/>
                  <a:pt x="16875" y="4690"/>
                  <a:pt x="16875" y="4418"/>
                </a:cubicBezTo>
                <a:cubicBezTo>
                  <a:pt x="16875" y="4283"/>
                  <a:pt x="16800" y="4160"/>
                  <a:pt x="16677" y="4071"/>
                </a:cubicBezTo>
                <a:lnTo>
                  <a:pt x="11277" y="144"/>
                </a:lnTo>
                <a:cubicBezTo>
                  <a:pt x="11155" y="55"/>
                  <a:pt x="10986" y="0"/>
                  <a:pt x="10800" y="0"/>
                </a:cubicBezTo>
                <a:cubicBezTo>
                  <a:pt x="10614" y="0"/>
                  <a:pt x="10445" y="55"/>
                  <a:pt x="10323" y="144"/>
                </a:cubicBezTo>
                <a:lnTo>
                  <a:pt x="4923" y="4071"/>
                </a:lnTo>
                <a:cubicBezTo>
                  <a:pt x="4801" y="4160"/>
                  <a:pt x="4725" y="4283"/>
                  <a:pt x="4725" y="4418"/>
                </a:cubicBezTo>
                <a:cubicBezTo>
                  <a:pt x="4725" y="4690"/>
                  <a:pt x="5028" y="4909"/>
                  <a:pt x="5400" y="4909"/>
                </a:cubicBezTo>
                <a:lnTo>
                  <a:pt x="6619" y="4909"/>
                </a:lnTo>
                <a:lnTo>
                  <a:pt x="2927" y="7978"/>
                </a:lnTo>
                <a:lnTo>
                  <a:pt x="2931" y="7982"/>
                </a:lnTo>
                <a:cubicBezTo>
                  <a:pt x="2792" y="8072"/>
                  <a:pt x="2700" y="8200"/>
                  <a:pt x="2700" y="8345"/>
                </a:cubicBezTo>
                <a:cubicBezTo>
                  <a:pt x="2700" y="8617"/>
                  <a:pt x="3003" y="8836"/>
                  <a:pt x="3375" y="8836"/>
                </a:cubicBezTo>
                <a:lnTo>
                  <a:pt x="4725" y="8836"/>
                </a:lnTo>
                <a:lnTo>
                  <a:pt x="1485" y="11978"/>
                </a:lnTo>
                <a:lnTo>
                  <a:pt x="1494" y="11983"/>
                </a:lnTo>
                <a:cubicBezTo>
                  <a:pt x="1409" y="12066"/>
                  <a:pt x="1350" y="12162"/>
                  <a:pt x="1350" y="12273"/>
                </a:cubicBezTo>
                <a:cubicBezTo>
                  <a:pt x="1350" y="12544"/>
                  <a:pt x="1653" y="12764"/>
                  <a:pt x="2025" y="12764"/>
                </a:cubicBezTo>
                <a:lnTo>
                  <a:pt x="3533" y="12764"/>
                </a:lnTo>
                <a:lnTo>
                  <a:pt x="96" y="16929"/>
                </a:lnTo>
                <a:lnTo>
                  <a:pt x="106" y="16933"/>
                </a:lnTo>
                <a:cubicBezTo>
                  <a:pt x="44" y="17007"/>
                  <a:pt x="0" y="17089"/>
                  <a:pt x="0" y="17182"/>
                </a:cubicBezTo>
                <a:cubicBezTo>
                  <a:pt x="0" y="17453"/>
                  <a:pt x="303" y="17673"/>
                  <a:pt x="675" y="17673"/>
                </a:cubicBezTo>
                <a:lnTo>
                  <a:pt x="8100" y="17673"/>
                </a:lnTo>
                <a:lnTo>
                  <a:pt x="8100" y="21109"/>
                </a:lnTo>
                <a:cubicBezTo>
                  <a:pt x="8100" y="21380"/>
                  <a:pt x="8403" y="21600"/>
                  <a:pt x="8775" y="21600"/>
                </a:cubicBezTo>
                <a:lnTo>
                  <a:pt x="12825" y="21600"/>
                </a:lnTo>
                <a:cubicBezTo>
                  <a:pt x="13198" y="21600"/>
                  <a:pt x="13500" y="21380"/>
                  <a:pt x="13500" y="21109"/>
                </a:cubicBezTo>
                <a:lnTo>
                  <a:pt x="13500" y="17673"/>
                </a:lnTo>
                <a:lnTo>
                  <a:pt x="20925" y="17673"/>
                </a:lnTo>
                <a:cubicBezTo>
                  <a:pt x="21298" y="17673"/>
                  <a:pt x="21600" y="17453"/>
                  <a:pt x="21600" y="17182"/>
                </a:cubicBezTo>
                <a:cubicBezTo>
                  <a:pt x="21600" y="17089"/>
                  <a:pt x="21555" y="17007"/>
                  <a:pt x="21494" y="1693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0" name="Shape 2780"/>
          <p:cNvSpPr/>
          <p:nvPr/>
        </p:nvSpPr>
        <p:spPr>
          <a:xfrm>
            <a:off x="5536175" y="4279300"/>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9440" y="14727"/>
                </a:moveTo>
                <a:lnTo>
                  <a:pt x="2160" y="14727"/>
                </a:lnTo>
                <a:lnTo>
                  <a:pt x="2160" y="4909"/>
                </a:lnTo>
                <a:cubicBezTo>
                  <a:pt x="2160" y="2740"/>
                  <a:pt x="6028" y="982"/>
                  <a:pt x="10800" y="982"/>
                </a:cubicBezTo>
                <a:cubicBezTo>
                  <a:pt x="15571" y="982"/>
                  <a:pt x="19440" y="2740"/>
                  <a:pt x="19440" y="4909"/>
                </a:cubicBezTo>
                <a:cubicBezTo>
                  <a:pt x="19440" y="4909"/>
                  <a:pt x="19440" y="14727"/>
                  <a:pt x="19440" y="14727"/>
                </a:cubicBezTo>
                <a:close/>
                <a:moveTo>
                  <a:pt x="10800" y="0"/>
                </a:moveTo>
                <a:cubicBezTo>
                  <a:pt x="4835" y="0"/>
                  <a:pt x="0" y="2198"/>
                  <a:pt x="0" y="4909"/>
                </a:cubicBezTo>
                <a:lnTo>
                  <a:pt x="0" y="14727"/>
                </a:lnTo>
                <a:cubicBezTo>
                  <a:pt x="0" y="15269"/>
                  <a:pt x="968" y="15709"/>
                  <a:pt x="2160" y="15709"/>
                </a:cubicBezTo>
                <a:lnTo>
                  <a:pt x="9720" y="15709"/>
                </a:lnTo>
                <a:lnTo>
                  <a:pt x="9720" y="21109"/>
                </a:lnTo>
                <a:cubicBezTo>
                  <a:pt x="9720" y="21380"/>
                  <a:pt x="10204" y="21600"/>
                  <a:pt x="10800" y="21600"/>
                </a:cubicBezTo>
                <a:cubicBezTo>
                  <a:pt x="11396" y="21600"/>
                  <a:pt x="11880" y="21380"/>
                  <a:pt x="11880" y="21109"/>
                </a:cubicBezTo>
                <a:lnTo>
                  <a:pt x="11880" y="15709"/>
                </a:lnTo>
                <a:lnTo>
                  <a:pt x="19440" y="15709"/>
                </a:lnTo>
                <a:cubicBezTo>
                  <a:pt x="20632" y="15709"/>
                  <a:pt x="21600" y="15269"/>
                  <a:pt x="21600" y="14727"/>
                </a:cubicBezTo>
                <a:lnTo>
                  <a:pt x="21600" y="4909"/>
                </a:lnTo>
                <a:cubicBezTo>
                  <a:pt x="21600" y="2198"/>
                  <a:pt x="16765" y="0"/>
                  <a:pt x="10800" y="0"/>
                </a:cubicBezTo>
                <a:moveTo>
                  <a:pt x="7560" y="4909"/>
                </a:moveTo>
                <a:cubicBezTo>
                  <a:pt x="6964" y="4909"/>
                  <a:pt x="6480" y="5129"/>
                  <a:pt x="6480" y="5400"/>
                </a:cubicBezTo>
                <a:lnTo>
                  <a:pt x="6480" y="12273"/>
                </a:lnTo>
                <a:cubicBezTo>
                  <a:pt x="6480" y="12544"/>
                  <a:pt x="6964" y="12764"/>
                  <a:pt x="7560" y="12764"/>
                </a:cubicBezTo>
                <a:cubicBezTo>
                  <a:pt x="8156" y="12764"/>
                  <a:pt x="8640" y="12544"/>
                  <a:pt x="8640" y="12273"/>
                </a:cubicBezTo>
                <a:lnTo>
                  <a:pt x="8640" y="5400"/>
                </a:lnTo>
                <a:cubicBezTo>
                  <a:pt x="8640" y="5129"/>
                  <a:pt x="8156" y="4909"/>
                  <a:pt x="7560" y="4909"/>
                </a:cubicBezTo>
                <a:moveTo>
                  <a:pt x="14040" y="4909"/>
                </a:moveTo>
                <a:cubicBezTo>
                  <a:pt x="13444" y="4909"/>
                  <a:pt x="12960" y="5129"/>
                  <a:pt x="12960" y="5400"/>
                </a:cubicBezTo>
                <a:lnTo>
                  <a:pt x="12960" y="12273"/>
                </a:lnTo>
                <a:cubicBezTo>
                  <a:pt x="12960" y="12544"/>
                  <a:pt x="13444" y="12764"/>
                  <a:pt x="14040" y="12764"/>
                </a:cubicBezTo>
                <a:cubicBezTo>
                  <a:pt x="14636" y="12764"/>
                  <a:pt x="15120" y="12544"/>
                  <a:pt x="15120" y="12273"/>
                </a:cubicBezTo>
                <a:lnTo>
                  <a:pt x="15120" y="5400"/>
                </a:lnTo>
                <a:cubicBezTo>
                  <a:pt x="15120" y="5129"/>
                  <a:pt x="14636" y="4909"/>
                  <a:pt x="1404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1" name="Shape 2781"/>
          <p:cNvSpPr/>
          <p:nvPr/>
        </p:nvSpPr>
        <p:spPr>
          <a:xfrm>
            <a:off x="5878985"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6873"/>
                </a:moveTo>
                <a:cubicBezTo>
                  <a:pt x="6162" y="6873"/>
                  <a:pt x="6382" y="6653"/>
                  <a:pt x="6382" y="6382"/>
                </a:cubicBezTo>
                <a:lnTo>
                  <a:pt x="6382" y="1473"/>
                </a:lnTo>
                <a:cubicBezTo>
                  <a:pt x="6382" y="1201"/>
                  <a:pt x="6162" y="982"/>
                  <a:pt x="5891" y="982"/>
                </a:cubicBezTo>
                <a:cubicBezTo>
                  <a:pt x="5620" y="982"/>
                  <a:pt x="5400" y="1201"/>
                  <a:pt x="5400" y="1473"/>
                </a:cubicBezTo>
                <a:lnTo>
                  <a:pt x="5400" y="6382"/>
                </a:lnTo>
                <a:cubicBezTo>
                  <a:pt x="5400" y="6653"/>
                  <a:pt x="5620" y="6873"/>
                  <a:pt x="5891" y="6873"/>
                </a:cubicBezTo>
                <a:moveTo>
                  <a:pt x="2945" y="5891"/>
                </a:moveTo>
                <a:cubicBezTo>
                  <a:pt x="3216" y="5891"/>
                  <a:pt x="3436" y="5671"/>
                  <a:pt x="3436" y="5400"/>
                </a:cubicBezTo>
                <a:lnTo>
                  <a:pt x="3436" y="2455"/>
                </a:lnTo>
                <a:cubicBezTo>
                  <a:pt x="3436" y="2183"/>
                  <a:pt x="3216" y="1964"/>
                  <a:pt x="2945" y="1964"/>
                </a:cubicBezTo>
                <a:cubicBezTo>
                  <a:pt x="2675" y="1964"/>
                  <a:pt x="2455" y="2183"/>
                  <a:pt x="2455" y="2455"/>
                </a:cubicBezTo>
                <a:lnTo>
                  <a:pt x="2455" y="5400"/>
                </a:lnTo>
                <a:cubicBezTo>
                  <a:pt x="2455" y="5671"/>
                  <a:pt x="2675" y="5891"/>
                  <a:pt x="2945" y="5891"/>
                </a:cubicBezTo>
                <a:moveTo>
                  <a:pt x="18655" y="15218"/>
                </a:moveTo>
                <a:lnTo>
                  <a:pt x="17648" y="15218"/>
                </a:lnTo>
                <a:cubicBezTo>
                  <a:pt x="17660" y="15056"/>
                  <a:pt x="17673" y="14893"/>
                  <a:pt x="17673" y="14727"/>
                </a:cubicBezTo>
                <a:lnTo>
                  <a:pt x="17673" y="11291"/>
                </a:lnTo>
                <a:lnTo>
                  <a:pt x="18655" y="11291"/>
                </a:lnTo>
                <a:cubicBezTo>
                  <a:pt x="19739" y="11291"/>
                  <a:pt x="20618" y="12170"/>
                  <a:pt x="20618" y="13255"/>
                </a:cubicBezTo>
                <a:cubicBezTo>
                  <a:pt x="20618" y="14339"/>
                  <a:pt x="19739" y="15218"/>
                  <a:pt x="18655" y="15218"/>
                </a:cubicBezTo>
                <a:moveTo>
                  <a:pt x="16691" y="14727"/>
                </a:moveTo>
                <a:cubicBezTo>
                  <a:pt x="16691" y="15802"/>
                  <a:pt x="16399" y="16805"/>
                  <a:pt x="15896" y="17673"/>
                </a:cubicBezTo>
                <a:lnTo>
                  <a:pt x="1777" y="17673"/>
                </a:lnTo>
                <a:cubicBezTo>
                  <a:pt x="1274" y="16805"/>
                  <a:pt x="982" y="15802"/>
                  <a:pt x="982" y="14727"/>
                </a:cubicBezTo>
                <a:lnTo>
                  <a:pt x="982" y="8836"/>
                </a:lnTo>
                <a:lnTo>
                  <a:pt x="16691" y="8836"/>
                </a:lnTo>
                <a:cubicBezTo>
                  <a:pt x="16691" y="8836"/>
                  <a:pt x="16691" y="14727"/>
                  <a:pt x="16691" y="14727"/>
                </a:cubicBezTo>
                <a:close/>
                <a:moveTo>
                  <a:pt x="10800" y="20618"/>
                </a:moveTo>
                <a:lnTo>
                  <a:pt x="6873" y="20618"/>
                </a:lnTo>
                <a:cubicBezTo>
                  <a:pt x="5131" y="20618"/>
                  <a:pt x="3569" y="19857"/>
                  <a:pt x="2491" y="18655"/>
                </a:cubicBezTo>
                <a:lnTo>
                  <a:pt x="15182" y="18655"/>
                </a:lnTo>
                <a:cubicBezTo>
                  <a:pt x="14103" y="19857"/>
                  <a:pt x="12542" y="20618"/>
                  <a:pt x="10800" y="20618"/>
                </a:cubicBezTo>
                <a:moveTo>
                  <a:pt x="18655" y="10309"/>
                </a:moveTo>
                <a:lnTo>
                  <a:pt x="17673" y="10309"/>
                </a:lnTo>
                <a:lnTo>
                  <a:pt x="17673" y="8836"/>
                </a:lnTo>
                <a:cubicBezTo>
                  <a:pt x="17673" y="8295"/>
                  <a:pt x="17233" y="7855"/>
                  <a:pt x="16691" y="7855"/>
                </a:cubicBezTo>
                <a:lnTo>
                  <a:pt x="982" y="7855"/>
                </a:lnTo>
                <a:cubicBezTo>
                  <a:pt x="440" y="7855"/>
                  <a:pt x="0" y="8295"/>
                  <a:pt x="0" y="8836"/>
                </a:cubicBezTo>
                <a:lnTo>
                  <a:pt x="0" y="14727"/>
                </a:lnTo>
                <a:cubicBezTo>
                  <a:pt x="0" y="17232"/>
                  <a:pt x="1344" y="19417"/>
                  <a:pt x="3346" y="20618"/>
                </a:cubicBezTo>
                <a:lnTo>
                  <a:pt x="491" y="20618"/>
                </a:lnTo>
                <a:cubicBezTo>
                  <a:pt x="220" y="20618"/>
                  <a:pt x="0" y="20838"/>
                  <a:pt x="0" y="21109"/>
                </a:cubicBezTo>
                <a:cubicBezTo>
                  <a:pt x="0" y="21380"/>
                  <a:pt x="220" y="21600"/>
                  <a:pt x="491" y="21600"/>
                </a:cubicBezTo>
                <a:lnTo>
                  <a:pt x="17182" y="21600"/>
                </a:lnTo>
                <a:cubicBezTo>
                  <a:pt x="17453" y="21600"/>
                  <a:pt x="17673" y="21380"/>
                  <a:pt x="17673" y="21109"/>
                </a:cubicBezTo>
                <a:cubicBezTo>
                  <a:pt x="17673" y="20838"/>
                  <a:pt x="17453" y="20618"/>
                  <a:pt x="17182" y="20618"/>
                </a:cubicBezTo>
                <a:lnTo>
                  <a:pt x="14330" y="20618"/>
                </a:lnTo>
                <a:cubicBezTo>
                  <a:pt x="15925" y="19659"/>
                  <a:pt x="17101" y="18074"/>
                  <a:pt x="17511" y="16200"/>
                </a:cubicBezTo>
                <a:lnTo>
                  <a:pt x="18655" y="16200"/>
                </a:lnTo>
                <a:cubicBezTo>
                  <a:pt x="20281" y="16200"/>
                  <a:pt x="21600" y="14882"/>
                  <a:pt x="21600" y="13255"/>
                </a:cubicBezTo>
                <a:cubicBezTo>
                  <a:pt x="21600" y="11628"/>
                  <a:pt x="20281" y="10309"/>
                  <a:pt x="18655" y="10309"/>
                </a:cubicBezTo>
                <a:moveTo>
                  <a:pt x="11782" y="5891"/>
                </a:moveTo>
                <a:cubicBezTo>
                  <a:pt x="12053" y="5891"/>
                  <a:pt x="12273" y="5671"/>
                  <a:pt x="12273" y="5400"/>
                </a:cubicBezTo>
                <a:lnTo>
                  <a:pt x="12273" y="2455"/>
                </a:lnTo>
                <a:cubicBezTo>
                  <a:pt x="12273" y="2183"/>
                  <a:pt x="12053" y="1964"/>
                  <a:pt x="11782" y="1964"/>
                </a:cubicBezTo>
                <a:cubicBezTo>
                  <a:pt x="11511" y="1964"/>
                  <a:pt x="11291" y="2183"/>
                  <a:pt x="11291" y="2455"/>
                </a:cubicBezTo>
                <a:lnTo>
                  <a:pt x="11291" y="5400"/>
                </a:lnTo>
                <a:cubicBezTo>
                  <a:pt x="11291" y="5671"/>
                  <a:pt x="11511" y="5891"/>
                  <a:pt x="11782" y="5891"/>
                </a:cubicBezTo>
                <a:moveTo>
                  <a:pt x="14727" y="6873"/>
                </a:moveTo>
                <a:cubicBezTo>
                  <a:pt x="14998" y="6873"/>
                  <a:pt x="15218" y="6653"/>
                  <a:pt x="15218" y="6382"/>
                </a:cubicBezTo>
                <a:lnTo>
                  <a:pt x="15218" y="1473"/>
                </a:lnTo>
                <a:cubicBezTo>
                  <a:pt x="15218" y="1201"/>
                  <a:pt x="14998" y="982"/>
                  <a:pt x="14727" y="982"/>
                </a:cubicBezTo>
                <a:cubicBezTo>
                  <a:pt x="14456" y="982"/>
                  <a:pt x="14236" y="1201"/>
                  <a:pt x="14236" y="1473"/>
                </a:cubicBezTo>
                <a:lnTo>
                  <a:pt x="14236" y="6382"/>
                </a:lnTo>
                <a:cubicBezTo>
                  <a:pt x="14236" y="6653"/>
                  <a:pt x="14456" y="6873"/>
                  <a:pt x="14727" y="6873"/>
                </a:cubicBezTo>
                <a:moveTo>
                  <a:pt x="8836" y="5891"/>
                </a:moveTo>
                <a:cubicBezTo>
                  <a:pt x="9107" y="5891"/>
                  <a:pt x="9327" y="5671"/>
                  <a:pt x="9327" y="5400"/>
                </a:cubicBezTo>
                <a:lnTo>
                  <a:pt x="9327" y="491"/>
                </a:lnTo>
                <a:cubicBezTo>
                  <a:pt x="9327" y="220"/>
                  <a:pt x="9107" y="0"/>
                  <a:pt x="8836" y="0"/>
                </a:cubicBezTo>
                <a:cubicBezTo>
                  <a:pt x="8566" y="0"/>
                  <a:pt x="8345" y="220"/>
                  <a:pt x="8345" y="491"/>
                </a:cubicBezTo>
                <a:lnTo>
                  <a:pt x="8345" y="5400"/>
                </a:lnTo>
                <a:cubicBezTo>
                  <a:pt x="8345" y="5671"/>
                  <a:pt x="8566" y="5891"/>
                  <a:pt x="8836" y="58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2" name="Shape 2782"/>
          <p:cNvSpPr/>
          <p:nvPr/>
        </p:nvSpPr>
        <p:spPr>
          <a:xfrm>
            <a:off x="6278931" y="4293584"/>
            <a:ext cx="209697" cy="180970"/>
          </a:xfrm>
          <a:custGeom>
            <a:avLst/>
            <a:gdLst/>
            <a:ahLst/>
            <a:cxnLst>
              <a:cxn ang="0">
                <a:pos x="wd2" y="hd2"/>
              </a:cxn>
              <a:cxn ang="5400000">
                <a:pos x="wd2" y="hd2"/>
              </a:cxn>
              <a:cxn ang="10800000">
                <a:pos x="wd2" y="hd2"/>
              </a:cxn>
              <a:cxn ang="16200000">
                <a:pos x="wd2" y="hd2"/>
              </a:cxn>
            </a:cxnLst>
            <a:rect l="0" t="0" r="r" b="b"/>
            <a:pathLst>
              <a:path w="20683" h="20545" extrusionOk="0">
                <a:moveTo>
                  <a:pt x="9621" y="9676"/>
                </a:moveTo>
                <a:cubicBezTo>
                  <a:pt x="9621" y="9676"/>
                  <a:pt x="9621" y="9675"/>
                  <a:pt x="9621" y="9675"/>
                </a:cubicBezTo>
                <a:lnTo>
                  <a:pt x="9620" y="9674"/>
                </a:lnTo>
                <a:cubicBezTo>
                  <a:pt x="9620" y="9674"/>
                  <a:pt x="9621" y="9676"/>
                  <a:pt x="9621" y="9676"/>
                </a:cubicBezTo>
                <a:close/>
                <a:moveTo>
                  <a:pt x="19582" y="1266"/>
                </a:moveTo>
                <a:cubicBezTo>
                  <a:pt x="18115" y="-422"/>
                  <a:pt x="15737" y="-422"/>
                  <a:pt x="14270" y="1266"/>
                </a:cubicBezTo>
                <a:lnTo>
                  <a:pt x="14934" y="2030"/>
                </a:lnTo>
                <a:cubicBezTo>
                  <a:pt x="16034" y="765"/>
                  <a:pt x="17818" y="765"/>
                  <a:pt x="18918" y="2030"/>
                </a:cubicBezTo>
                <a:cubicBezTo>
                  <a:pt x="20019" y="3297"/>
                  <a:pt x="20019" y="5351"/>
                  <a:pt x="18918" y="6618"/>
                </a:cubicBezTo>
                <a:lnTo>
                  <a:pt x="8956" y="17881"/>
                </a:lnTo>
                <a:lnTo>
                  <a:pt x="9621" y="18645"/>
                </a:lnTo>
                <a:lnTo>
                  <a:pt x="19582" y="7382"/>
                </a:lnTo>
                <a:cubicBezTo>
                  <a:pt x="21050" y="5693"/>
                  <a:pt x="21050" y="2955"/>
                  <a:pt x="19582" y="1266"/>
                </a:cubicBezTo>
                <a:moveTo>
                  <a:pt x="2315" y="17881"/>
                </a:moveTo>
                <a:cubicBezTo>
                  <a:pt x="481" y="15770"/>
                  <a:pt x="481" y="12551"/>
                  <a:pt x="2315" y="10439"/>
                </a:cubicBezTo>
                <a:cubicBezTo>
                  <a:pt x="2317" y="10437"/>
                  <a:pt x="2320" y="10434"/>
                  <a:pt x="2323" y="10431"/>
                </a:cubicBezTo>
                <a:lnTo>
                  <a:pt x="2323" y="10431"/>
                </a:lnTo>
                <a:lnTo>
                  <a:pt x="9289" y="2413"/>
                </a:lnTo>
                <a:cubicBezTo>
                  <a:pt x="9472" y="2201"/>
                  <a:pt x="9472" y="1859"/>
                  <a:pt x="9289" y="1648"/>
                </a:cubicBezTo>
                <a:cubicBezTo>
                  <a:pt x="9105" y="1437"/>
                  <a:pt x="8808" y="1437"/>
                  <a:pt x="8624" y="1648"/>
                </a:cubicBezTo>
                <a:lnTo>
                  <a:pt x="1651" y="9675"/>
                </a:lnTo>
                <a:cubicBezTo>
                  <a:pt x="-550" y="12208"/>
                  <a:pt x="-550" y="16112"/>
                  <a:pt x="1651" y="18645"/>
                </a:cubicBezTo>
                <a:cubicBezTo>
                  <a:pt x="3852" y="21178"/>
                  <a:pt x="7420" y="21178"/>
                  <a:pt x="9621" y="18645"/>
                </a:cubicBezTo>
                <a:lnTo>
                  <a:pt x="8948" y="17889"/>
                </a:lnTo>
                <a:cubicBezTo>
                  <a:pt x="7114" y="19991"/>
                  <a:pt x="4147" y="19989"/>
                  <a:pt x="2315" y="17881"/>
                </a:cubicBezTo>
                <a:moveTo>
                  <a:pt x="6300" y="13497"/>
                </a:moveTo>
                <a:cubicBezTo>
                  <a:pt x="7033" y="14341"/>
                  <a:pt x="8223" y="14341"/>
                  <a:pt x="8956" y="13497"/>
                </a:cubicBezTo>
                <a:lnTo>
                  <a:pt x="13937" y="7764"/>
                </a:lnTo>
                <a:cubicBezTo>
                  <a:pt x="14121" y="7553"/>
                  <a:pt x="14121" y="7211"/>
                  <a:pt x="13937" y="7000"/>
                </a:cubicBezTo>
                <a:cubicBezTo>
                  <a:pt x="13754" y="6789"/>
                  <a:pt x="13457" y="6789"/>
                  <a:pt x="13273" y="7000"/>
                </a:cubicBezTo>
                <a:lnTo>
                  <a:pt x="8292" y="12732"/>
                </a:lnTo>
                <a:cubicBezTo>
                  <a:pt x="7926" y="13155"/>
                  <a:pt x="7331" y="13155"/>
                  <a:pt x="6964" y="12732"/>
                </a:cubicBezTo>
                <a:cubicBezTo>
                  <a:pt x="6597" y="12310"/>
                  <a:pt x="6597" y="11626"/>
                  <a:pt x="6964" y="11204"/>
                </a:cubicBezTo>
                <a:lnTo>
                  <a:pt x="8292" y="9675"/>
                </a:lnTo>
                <a:lnTo>
                  <a:pt x="14934" y="2030"/>
                </a:lnTo>
                <a:lnTo>
                  <a:pt x="14270" y="1266"/>
                </a:lnTo>
                <a:lnTo>
                  <a:pt x="6300" y="10439"/>
                </a:lnTo>
                <a:cubicBezTo>
                  <a:pt x="5566" y="11284"/>
                  <a:pt x="5566" y="12653"/>
                  <a:pt x="6300" y="1349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3" name="Shape 2783"/>
          <p:cNvSpPr/>
          <p:nvPr/>
        </p:nvSpPr>
        <p:spPr>
          <a:xfrm>
            <a:off x="6678877" y="4293584"/>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0800" y="15855"/>
                </a:moveTo>
                <a:lnTo>
                  <a:pt x="1633" y="10800"/>
                </a:lnTo>
                <a:lnTo>
                  <a:pt x="4615" y="9156"/>
                </a:lnTo>
                <a:lnTo>
                  <a:pt x="10589" y="12450"/>
                </a:lnTo>
                <a:lnTo>
                  <a:pt x="10591" y="12446"/>
                </a:lnTo>
                <a:cubicBezTo>
                  <a:pt x="10654" y="12482"/>
                  <a:pt x="10724" y="12505"/>
                  <a:pt x="10800" y="12505"/>
                </a:cubicBezTo>
                <a:cubicBezTo>
                  <a:pt x="10876" y="12505"/>
                  <a:pt x="10946" y="12482"/>
                  <a:pt x="11009" y="12446"/>
                </a:cubicBezTo>
                <a:lnTo>
                  <a:pt x="11011" y="12450"/>
                </a:lnTo>
                <a:lnTo>
                  <a:pt x="16985" y="9156"/>
                </a:lnTo>
                <a:lnTo>
                  <a:pt x="19967" y="10800"/>
                </a:lnTo>
                <a:cubicBezTo>
                  <a:pt x="19967" y="10800"/>
                  <a:pt x="10800" y="15855"/>
                  <a:pt x="10800" y="15855"/>
                </a:cubicBezTo>
                <a:close/>
                <a:moveTo>
                  <a:pt x="19967" y="15347"/>
                </a:moveTo>
                <a:lnTo>
                  <a:pt x="10800" y="20402"/>
                </a:lnTo>
                <a:lnTo>
                  <a:pt x="1633" y="15347"/>
                </a:lnTo>
                <a:lnTo>
                  <a:pt x="4615" y="13703"/>
                </a:lnTo>
                <a:lnTo>
                  <a:pt x="10589" y="16997"/>
                </a:lnTo>
                <a:lnTo>
                  <a:pt x="10591" y="16994"/>
                </a:lnTo>
                <a:cubicBezTo>
                  <a:pt x="10654" y="17029"/>
                  <a:pt x="10724" y="17053"/>
                  <a:pt x="10800" y="17053"/>
                </a:cubicBezTo>
                <a:cubicBezTo>
                  <a:pt x="10876" y="17053"/>
                  <a:pt x="10946" y="17029"/>
                  <a:pt x="11009" y="16994"/>
                </a:cubicBezTo>
                <a:lnTo>
                  <a:pt x="11011" y="16997"/>
                </a:lnTo>
                <a:lnTo>
                  <a:pt x="16985" y="13703"/>
                </a:lnTo>
                <a:cubicBezTo>
                  <a:pt x="16985" y="13703"/>
                  <a:pt x="19967" y="15347"/>
                  <a:pt x="19967" y="15347"/>
                </a:cubicBezTo>
                <a:close/>
                <a:moveTo>
                  <a:pt x="1633" y="6253"/>
                </a:moveTo>
                <a:lnTo>
                  <a:pt x="10800" y="1198"/>
                </a:lnTo>
                <a:lnTo>
                  <a:pt x="19967" y="6253"/>
                </a:lnTo>
                <a:lnTo>
                  <a:pt x="10800" y="11307"/>
                </a:lnTo>
                <a:cubicBezTo>
                  <a:pt x="10800" y="11307"/>
                  <a:pt x="1633" y="6253"/>
                  <a:pt x="1633" y="6253"/>
                </a:cubicBezTo>
                <a:close/>
                <a:moveTo>
                  <a:pt x="21600" y="10800"/>
                </a:moveTo>
                <a:cubicBezTo>
                  <a:pt x="21600" y="10574"/>
                  <a:pt x="21484" y="10383"/>
                  <a:pt x="21319" y="10290"/>
                </a:cubicBezTo>
                <a:lnTo>
                  <a:pt x="21320" y="10287"/>
                </a:lnTo>
                <a:lnTo>
                  <a:pt x="18127" y="8526"/>
                </a:lnTo>
                <a:lnTo>
                  <a:pt x="21320" y="6766"/>
                </a:lnTo>
                <a:lnTo>
                  <a:pt x="21319" y="6762"/>
                </a:lnTo>
                <a:cubicBezTo>
                  <a:pt x="21484" y="6671"/>
                  <a:pt x="21600" y="6479"/>
                  <a:pt x="21600" y="6253"/>
                </a:cubicBezTo>
                <a:cubicBezTo>
                  <a:pt x="21600" y="6027"/>
                  <a:pt x="21484" y="5835"/>
                  <a:pt x="21319" y="5743"/>
                </a:cubicBezTo>
                <a:lnTo>
                  <a:pt x="21320" y="5740"/>
                </a:lnTo>
                <a:lnTo>
                  <a:pt x="11011" y="56"/>
                </a:lnTo>
                <a:lnTo>
                  <a:pt x="11009" y="59"/>
                </a:lnTo>
                <a:cubicBezTo>
                  <a:pt x="10946" y="23"/>
                  <a:pt x="10876" y="0"/>
                  <a:pt x="10800" y="0"/>
                </a:cubicBezTo>
                <a:cubicBezTo>
                  <a:pt x="10724" y="0"/>
                  <a:pt x="10654" y="23"/>
                  <a:pt x="10591" y="59"/>
                </a:cubicBezTo>
                <a:lnTo>
                  <a:pt x="10589" y="56"/>
                </a:lnTo>
                <a:lnTo>
                  <a:pt x="280" y="5740"/>
                </a:lnTo>
                <a:lnTo>
                  <a:pt x="281" y="5743"/>
                </a:lnTo>
                <a:cubicBezTo>
                  <a:pt x="116" y="5835"/>
                  <a:pt x="0" y="6027"/>
                  <a:pt x="0" y="6253"/>
                </a:cubicBezTo>
                <a:cubicBezTo>
                  <a:pt x="0" y="6479"/>
                  <a:pt x="116" y="6671"/>
                  <a:pt x="281" y="6762"/>
                </a:cubicBezTo>
                <a:lnTo>
                  <a:pt x="280" y="6766"/>
                </a:lnTo>
                <a:lnTo>
                  <a:pt x="3473" y="8526"/>
                </a:lnTo>
                <a:lnTo>
                  <a:pt x="280" y="10287"/>
                </a:lnTo>
                <a:lnTo>
                  <a:pt x="281" y="10290"/>
                </a:lnTo>
                <a:cubicBezTo>
                  <a:pt x="116" y="10383"/>
                  <a:pt x="0" y="10574"/>
                  <a:pt x="0" y="10800"/>
                </a:cubicBezTo>
                <a:cubicBezTo>
                  <a:pt x="0" y="11026"/>
                  <a:pt x="116" y="11218"/>
                  <a:pt x="281" y="11310"/>
                </a:cubicBezTo>
                <a:lnTo>
                  <a:pt x="280" y="11313"/>
                </a:lnTo>
                <a:lnTo>
                  <a:pt x="3473" y="13074"/>
                </a:lnTo>
                <a:lnTo>
                  <a:pt x="280" y="14834"/>
                </a:lnTo>
                <a:lnTo>
                  <a:pt x="281" y="14838"/>
                </a:lnTo>
                <a:cubicBezTo>
                  <a:pt x="116" y="14930"/>
                  <a:pt x="0" y="15121"/>
                  <a:pt x="0" y="15347"/>
                </a:cubicBezTo>
                <a:cubicBezTo>
                  <a:pt x="0" y="15574"/>
                  <a:pt x="116" y="15765"/>
                  <a:pt x="281" y="15857"/>
                </a:cubicBezTo>
                <a:lnTo>
                  <a:pt x="280" y="15860"/>
                </a:lnTo>
                <a:lnTo>
                  <a:pt x="10589" y="21544"/>
                </a:lnTo>
                <a:lnTo>
                  <a:pt x="10591" y="21541"/>
                </a:lnTo>
                <a:cubicBezTo>
                  <a:pt x="10654" y="21577"/>
                  <a:pt x="10724" y="21600"/>
                  <a:pt x="10800" y="21600"/>
                </a:cubicBezTo>
                <a:cubicBezTo>
                  <a:pt x="10876" y="21600"/>
                  <a:pt x="10946" y="21577"/>
                  <a:pt x="11009" y="21541"/>
                </a:cubicBezTo>
                <a:lnTo>
                  <a:pt x="11011" y="21544"/>
                </a:lnTo>
                <a:lnTo>
                  <a:pt x="21320" y="15860"/>
                </a:lnTo>
                <a:lnTo>
                  <a:pt x="21319" y="15857"/>
                </a:lnTo>
                <a:cubicBezTo>
                  <a:pt x="21484" y="15765"/>
                  <a:pt x="21600" y="15574"/>
                  <a:pt x="21600" y="15347"/>
                </a:cubicBezTo>
                <a:cubicBezTo>
                  <a:pt x="21600" y="15121"/>
                  <a:pt x="21484" y="14930"/>
                  <a:pt x="21319" y="14838"/>
                </a:cubicBezTo>
                <a:lnTo>
                  <a:pt x="21320" y="14834"/>
                </a:lnTo>
                <a:lnTo>
                  <a:pt x="18127" y="13074"/>
                </a:lnTo>
                <a:lnTo>
                  <a:pt x="21320" y="11313"/>
                </a:lnTo>
                <a:lnTo>
                  <a:pt x="21319" y="11310"/>
                </a:lnTo>
                <a:cubicBezTo>
                  <a:pt x="21484" y="11218"/>
                  <a:pt x="21600" y="1102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4" name="Shape 2784"/>
          <p:cNvSpPr/>
          <p:nvPr/>
        </p:nvSpPr>
        <p:spPr>
          <a:xfrm>
            <a:off x="7078822" y="4279300"/>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353" y="11229"/>
                </a:moveTo>
                <a:lnTo>
                  <a:pt x="20356" y="11234"/>
                </a:lnTo>
                <a:lnTo>
                  <a:pt x="11029" y="16143"/>
                </a:lnTo>
                <a:lnTo>
                  <a:pt x="11026" y="16138"/>
                </a:lnTo>
                <a:cubicBezTo>
                  <a:pt x="10957" y="16174"/>
                  <a:pt x="10883" y="16200"/>
                  <a:pt x="10800" y="16200"/>
                </a:cubicBezTo>
                <a:cubicBezTo>
                  <a:pt x="10717" y="16200"/>
                  <a:pt x="10643" y="16174"/>
                  <a:pt x="10574" y="16138"/>
                </a:cubicBezTo>
                <a:lnTo>
                  <a:pt x="10571" y="16143"/>
                </a:lnTo>
                <a:lnTo>
                  <a:pt x="1244" y="11234"/>
                </a:lnTo>
                <a:lnTo>
                  <a:pt x="1247" y="11229"/>
                </a:lnTo>
                <a:cubicBezTo>
                  <a:pt x="1091" y="11147"/>
                  <a:pt x="982" y="10988"/>
                  <a:pt x="982" y="10800"/>
                </a:cubicBezTo>
                <a:cubicBezTo>
                  <a:pt x="982" y="10612"/>
                  <a:pt x="1091" y="10453"/>
                  <a:pt x="1247" y="10371"/>
                </a:cubicBezTo>
                <a:lnTo>
                  <a:pt x="1244" y="10366"/>
                </a:lnTo>
                <a:lnTo>
                  <a:pt x="3562" y="9146"/>
                </a:lnTo>
                <a:lnTo>
                  <a:pt x="10113" y="12594"/>
                </a:lnTo>
                <a:lnTo>
                  <a:pt x="10117" y="12588"/>
                </a:lnTo>
                <a:cubicBezTo>
                  <a:pt x="10322" y="12697"/>
                  <a:pt x="10552" y="12764"/>
                  <a:pt x="10800" y="12764"/>
                </a:cubicBezTo>
                <a:cubicBezTo>
                  <a:pt x="11048" y="12764"/>
                  <a:pt x="11278" y="12697"/>
                  <a:pt x="11483" y="12588"/>
                </a:cubicBezTo>
                <a:lnTo>
                  <a:pt x="11486" y="12594"/>
                </a:lnTo>
                <a:lnTo>
                  <a:pt x="18038" y="9146"/>
                </a:lnTo>
                <a:lnTo>
                  <a:pt x="20356" y="10366"/>
                </a:lnTo>
                <a:lnTo>
                  <a:pt x="20353" y="10371"/>
                </a:lnTo>
                <a:cubicBezTo>
                  <a:pt x="20509" y="10453"/>
                  <a:pt x="20618" y="10612"/>
                  <a:pt x="20618" y="10800"/>
                </a:cubicBezTo>
                <a:cubicBezTo>
                  <a:pt x="20618" y="10988"/>
                  <a:pt x="20509" y="11147"/>
                  <a:pt x="20353" y="11229"/>
                </a:cubicBezTo>
                <a:moveTo>
                  <a:pt x="20356" y="14784"/>
                </a:moveTo>
                <a:lnTo>
                  <a:pt x="20353" y="14790"/>
                </a:lnTo>
                <a:cubicBezTo>
                  <a:pt x="20509" y="14872"/>
                  <a:pt x="20618" y="15030"/>
                  <a:pt x="20618" y="15218"/>
                </a:cubicBezTo>
                <a:cubicBezTo>
                  <a:pt x="20618" y="15407"/>
                  <a:pt x="20509" y="15565"/>
                  <a:pt x="20353" y="15647"/>
                </a:cubicBezTo>
                <a:lnTo>
                  <a:pt x="20356" y="15653"/>
                </a:lnTo>
                <a:lnTo>
                  <a:pt x="11029" y="20562"/>
                </a:lnTo>
                <a:lnTo>
                  <a:pt x="11026" y="20556"/>
                </a:lnTo>
                <a:cubicBezTo>
                  <a:pt x="10957" y="20592"/>
                  <a:pt x="10883" y="20618"/>
                  <a:pt x="10800" y="20618"/>
                </a:cubicBezTo>
                <a:cubicBezTo>
                  <a:pt x="10717" y="20618"/>
                  <a:pt x="10643" y="20592"/>
                  <a:pt x="10574" y="20556"/>
                </a:cubicBezTo>
                <a:lnTo>
                  <a:pt x="10571" y="20562"/>
                </a:lnTo>
                <a:lnTo>
                  <a:pt x="1244" y="15653"/>
                </a:lnTo>
                <a:lnTo>
                  <a:pt x="1247" y="15647"/>
                </a:lnTo>
                <a:cubicBezTo>
                  <a:pt x="1091" y="15565"/>
                  <a:pt x="982" y="15407"/>
                  <a:pt x="982" y="15218"/>
                </a:cubicBezTo>
                <a:cubicBezTo>
                  <a:pt x="982" y="15030"/>
                  <a:pt x="1091" y="14872"/>
                  <a:pt x="1247" y="14790"/>
                </a:cubicBezTo>
                <a:lnTo>
                  <a:pt x="1244" y="14784"/>
                </a:lnTo>
                <a:lnTo>
                  <a:pt x="3562" y="13564"/>
                </a:lnTo>
                <a:lnTo>
                  <a:pt x="10113" y="17012"/>
                </a:lnTo>
                <a:lnTo>
                  <a:pt x="10117" y="17006"/>
                </a:lnTo>
                <a:cubicBezTo>
                  <a:pt x="10322" y="17115"/>
                  <a:pt x="10552" y="17182"/>
                  <a:pt x="10800" y="17182"/>
                </a:cubicBezTo>
                <a:cubicBezTo>
                  <a:pt x="11048" y="17182"/>
                  <a:pt x="11278" y="17115"/>
                  <a:pt x="11483" y="17006"/>
                </a:cubicBezTo>
                <a:lnTo>
                  <a:pt x="11486" y="17012"/>
                </a:lnTo>
                <a:lnTo>
                  <a:pt x="18038" y="13564"/>
                </a:lnTo>
                <a:cubicBezTo>
                  <a:pt x="18038" y="13564"/>
                  <a:pt x="20356" y="14784"/>
                  <a:pt x="20356" y="14784"/>
                </a:cubicBezTo>
                <a:close/>
                <a:moveTo>
                  <a:pt x="1244" y="6816"/>
                </a:moveTo>
                <a:lnTo>
                  <a:pt x="1247" y="6811"/>
                </a:lnTo>
                <a:cubicBezTo>
                  <a:pt x="1091" y="6728"/>
                  <a:pt x="982" y="6570"/>
                  <a:pt x="982" y="6382"/>
                </a:cubicBezTo>
                <a:cubicBezTo>
                  <a:pt x="982" y="6194"/>
                  <a:pt x="1091" y="6035"/>
                  <a:pt x="1247" y="5953"/>
                </a:cubicBezTo>
                <a:lnTo>
                  <a:pt x="1244" y="5947"/>
                </a:lnTo>
                <a:lnTo>
                  <a:pt x="10571" y="1038"/>
                </a:lnTo>
                <a:lnTo>
                  <a:pt x="10574" y="1044"/>
                </a:lnTo>
                <a:cubicBezTo>
                  <a:pt x="10643" y="1008"/>
                  <a:pt x="10717" y="982"/>
                  <a:pt x="10800" y="982"/>
                </a:cubicBezTo>
                <a:cubicBezTo>
                  <a:pt x="10883" y="982"/>
                  <a:pt x="10957" y="1008"/>
                  <a:pt x="11026" y="1044"/>
                </a:cubicBezTo>
                <a:lnTo>
                  <a:pt x="11029" y="1038"/>
                </a:lnTo>
                <a:lnTo>
                  <a:pt x="20356" y="5947"/>
                </a:lnTo>
                <a:lnTo>
                  <a:pt x="20353" y="5953"/>
                </a:lnTo>
                <a:cubicBezTo>
                  <a:pt x="20509" y="6035"/>
                  <a:pt x="20618" y="6194"/>
                  <a:pt x="20618" y="6382"/>
                </a:cubicBezTo>
                <a:cubicBezTo>
                  <a:pt x="20618" y="6570"/>
                  <a:pt x="20509" y="6728"/>
                  <a:pt x="20353" y="6811"/>
                </a:cubicBezTo>
                <a:lnTo>
                  <a:pt x="20356" y="6816"/>
                </a:lnTo>
                <a:lnTo>
                  <a:pt x="11029" y="11725"/>
                </a:lnTo>
                <a:lnTo>
                  <a:pt x="11026" y="11720"/>
                </a:lnTo>
                <a:cubicBezTo>
                  <a:pt x="10957" y="11756"/>
                  <a:pt x="10883" y="11782"/>
                  <a:pt x="10800" y="11782"/>
                </a:cubicBezTo>
                <a:cubicBezTo>
                  <a:pt x="10717" y="11782"/>
                  <a:pt x="10643" y="11756"/>
                  <a:pt x="10574" y="11720"/>
                </a:cubicBezTo>
                <a:lnTo>
                  <a:pt x="10571" y="11725"/>
                </a:lnTo>
                <a:cubicBezTo>
                  <a:pt x="10571" y="11725"/>
                  <a:pt x="1244" y="6816"/>
                  <a:pt x="1244" y="6816"/>
                </a:cubicBezTo>
                <a:close/>
                <a:moveTo>
                  <a:pt x="21600" y="10800"/>
                </a:moveTo>
                <a:cubicBezTo>
                  <a:pt x="21600" y="10234"/>
                  <a:pt x="21278" y="9749"/>
                  <a:pt x="20810" y="9503"/>
                </a:cubicBezTo>
                <a:lnTo>
                  <a:pt x="20813" y="9497"/>
                </a:lnTo>
                <a:lnTo>
                  <a:pt x="19092" y="8591"/>
                </a:lnTo>
                <a:lnTo>
                  <a:pt x="20813" y="7685"/>
                </a:lnTo>
                <a:lnTo>
                  <a:pt x="20810" y="7679"/>
                </a:lnTo>
                <a:cubicBezTo>
                  <a:pt x="21278" y="7433"/>
                  <a:pt x="21600" y="6948"/>
                  <a:pt x="21600" y="6382"/>
                </a:cubicBezTo>
                <a:cubicBezTo>
                  <a:pt x="21600" y="5816"/>
                  <a:pt x="21278" y="5331"/>
                  <a:pt x="20810" y="5085"/>
                </a:cubicBezTo>
                <a:lnTo>
                  <a:pt x="20813" y="5079"/>
                </a:lnTo>
                <a:lnTo>
                  <a:pt x="11486" y="170"/>
                </a:lnTo>
                <a:lnTo>
                  <a:pt x="11483" y="175"/>
                </a:lnTo>
                <a:cubicBezTo>
                  <a:pt x="11278" y="67"/>
                  <a:pt x="11048" y="0"/>
                  <a:pt x="10800" y="0"/>
                </a:cubicBezTo>
                <a:cubicBezTo>
                  <a:pt x="10552" y="0"/>
                  <a:pt x="10322" y="67"/>
                  <a:pt x="10117" y="175"/>
                </a:cubicBezTo>
                <a:lnTo>
                  <a:pt x="10113" y="170"/>
                </a:lnTo>
                <a:lnTo>
                  <a:pt x="786" y="5079"/>
                </a:lnTo>
                <a:lnTo>
                  <a:pt x="790" y="5085"/>
                </a:lnTo>
                <a:cubicBezTo>
                  <a:pt x="322" y="5331"/>
                  <a:pt x="0" y="5816"/>
                  <a:pt x="0" y="6382"/>
                </a:cubicBezTo>
                <a:cubicBezTo>
                  <a:pt x="0" y="6948"/>
                  <a:pt x="322" y="7433"/>
                  <a:pt x="790" y="7679"/>
                </a:cubicBezTo>
                <a:lnTo>
                  <a:pt x="786" y="7685"/>
                </a:lnTo>
                <a:lnTo>
                  <a:pt x="2508" y="8591"/>
                </a:lnTo>
                <a:lnTo>
                  <a:pt x="786" y="9497"/>
                </a:lnTo>
                <a:lnTo>
                  <a:pt x="790" y="9503"/>
                </a:lnTo>
                <a:cubicBezTo>
                  <a:pt x="322" y="9749"/>
                  <a:pt x="0" y="10234"/>
                  <a:pt x="0" y="10800"/>
                </a:cubicBezTo>
                <a:cubicBezTo>
                  <a:pt x="0" y="11366"/>
                  <a:pt x="322" y="11851"/>
                  <a:pt x="790" y="12097"/>
                </a:cubicBezTo>
                <a:lnTo>
                  <a:pt x="786" y="12103"/>
                </a:lnTo>
                <a:lnTo>
                  <a:pt x="2508" y="13009"/>
                </a:lnTo>
                <a:lnTo>
                  <a:pt x="786" y="13915"/>
                </a:lnTo>
                <a:lnTo>
                  <a:pt x="790" y="13921"/>
                </a:lnTo>
                <a:cubicBezTo>
                  <a:pt x="322" y="14167"/>
                  <a:pt x="0" y="14652"/>
                  <a:pt x="0" y="15218"/>
                </a:cubicBezTo>
                <a:cubicBezTo>
                  <a:pt x="0" y="15784"/>
                  <a:pt x="322" y="16269"/>
                  <a:pt x="790" y="16515"/>
                </a:cubicBezTo>
                <a:lnTo>
                  <a:pt x="786" y="16521"/>
                </a:lnTo>
                <a:lnTo>
                  <a:pt x="10113" y="21430"/>
                </a:lnTo>
                <a:lnTo>
                  <a:pt x="10117" y="21425"/>
                </a:lnTo>
                <a:cubicBezTo>
                  <a:pt x="10322" y="21533"/>
                  <a:pt x="10552" y="21600"/>
                  <a:pt x="10800" y="21600"/>
                </a:cubicBezTo>
                <a:cubicBezTo>
                  <a:pt x="11048" y="21600"/>
                  <a:pt x="11278" y="21533"/>
                  <a:pt x="11483" y="21425"/>
                </a:cubicBezTo>
                <a:lnTo>
                  <a:pt x="11486" y="21430"/>
                </a:lnTo>
                <a:lnTo>
                  <a:pt x="20813" y="16521"/>
                </a:lnTo>
                <a:lnTo>
                  <a:pt x="20810" y="16515"/>
                </a:lnTo>
                <a:cubicBezTo>
                  <a:pt x="21278" y="16269"/>
                  <a:pt x="21600" y="15784"/>
                  <a:pt x="21600" y="15218"/>
                </a:cubicBezTo>
                <a:cubicBezTo>
                  <a:pt x="21600" y="14652"/>
                  <a:pt x="21278" y="14167"/>
                  <a:pt x="20810" y="13921"/>
                </a:cubicBezTo>
                <a:lnTo>
                  <a:pt x="20813" y="13915"/>
                </a:lnTo>
                <a:lnTo>
                  <a:pt x="19092" y="13009"/>
                </a:lnTo>
                <a:lnTo>
                  <a:pt x="20813" y="12103"/>
                </a:lnTo>
                <a:lnTo>
                  <a:pt x="20810" y="12097"/>
                </a:lnTo>
                <a:cubicBezTo>
                  <a:pt x="21278" y="11851"/>
                  <a:pt x="21600" y="11366"/>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5" name="Shape 2785"/>
          <p:cNvSpPr/>
          <p:nvPr/>
        </p:nvSpPr>
        <p:spPr>
          <a:xfrm>
            <a:off x="7478768" y="429834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6691" y="20400"/>
                </a:moveTo>
                <a:cubicBezTo>
                  <a:pt x="14522" y="20400"/>
                  <a:pt x="12764" y="18251"/>
                  <a:pt x="12764" y="15600"/>
                </a:cubicBezTo>
                <a:cubicBezTo>
                  <a:pt x="12764" y="12949"/>
                  <a:pt x="14522" y="10800"/>
                  <a:pt x="16691" y="10800"/>
                </a:cubicBezTo>
                <a:cubicBezTo>
                  <a:pt x="18860" y="10800"/>
                  <a:pt x="20618" y="12949"/>
                  <a:pt x="20618" y="15600"/>
                </a:cubicBezTo>
                <a:cubicBezTo>
                  <a:pt x="20618" y="18251"/>
                  <a:pt x="18860" y="20400"/>
                  <a:pt x="16691" y="20400"/>
                </a:cubicBezTo>
                <a:moveTo>
                  <a:pt x="12762" y="3393"/>
                </a:moveTo>
                <a:lnTo>
                  <a:pt x="12781" y="3388"/>
                </a:lnTo>
                <a:cubicBezTo>
                  <a:pt x="12870" y="2164"/>
                  <a:pt x="13702" y="1200"/>
                  <a:pt x="14727" y="1200"/>
                </a:cubicBezTo>
                <a:cubicBezTo>
                  <a:pt x="15521" y="1200"/>
                  <a:pt x="16202" y="1779"/>
                  <a:pt x="16511" y="2609"/>
                </a:cubicBezTo>
                <a:lnTo>
                  <a:pt x="16509" y="2609"/>
                </a:lnTo>
                <a:lnTo>
                  <a:pt x="19162" y="10421"/>
                </a:lnTo>
                <a:cubicBezTo>
                  <a:pt x="18436" y="9902"/>
                  <a:pt x="17593" y="9600"/>
                  <a:pt x="16691" y="9600"/>
                </a:cubicBezTo>
                <a:cubicBezTo>
                  <a:pt x="15082" y="9600"/>
                  <a:pt x="13658" y="10550"/>
                  <a:pt x="12763" y="12012"/>
                </a:cubicBezTo>
                <a:cubicBezTo>
                  <a:pt x="12763" y="12012"/>
                  <a:pt x="12762" y="3393"/>
                  <a:pt x="12762" y="3393"/>
                </a:cubicBezTo>
                <a:close/>
                <a:moveTo>
                  <a:pt x="11782" y="13200"/>
                </a:moveTo>
                <a:lnTo>
                  <a:pt x="9818" y="13200"/>
                </a:lnTo>
                <a:lnTo>
                  <a:pt x="9818" y="4800"/>
                </a:lnTo>
                <a:lnTo>
                  <a:pt x="11782" y="4800"/>
                </a:lnTo>
                <a:cubicBezTo>
                  <a:pt x="11782" y="4800"/>
                  <a:pt x="11782" y="13200"/>
                  <a:pt x="11782" y="13200"/>
                </a:cubicBezTo>
                <a:close/>
                <a:moveTo>
                  <a:pt x="11782" y="15600"/>
                </a:moveTo>
                <a:lnTo>
                  <a:pt x="9818" y="15600"/>
                </a:lnTo>
                <a:lnTo>
                  <a:pt x="9818" y="14400"/>
                </a:lnTo>
                <a:lnTo>
                  <a:pt x="11782" y="14400"/>
                </a:lnTo>
                <a:cubicBezTo>
                  <a:pt x="11782" y="14400"/>
                  <a:pt x="11782" y="15600"/>
                  <a:pt x="11782" y="15600"/>
                </a:cubicBezTo>
                <a:close/>
                <a:moveTo>
                  <a:pt x="8837" y="12012"/>
                </a:moveTo>
                <a:cubicBezTo>
                  <a:pt x="7942" y="10550"/>
                  <a:pt x="6518" y="9600"/>
                  <a:pt x="4909" y="9600"/>
                </a:cubicBezTo>
                <a:cubicBezTo>
                  <a:pt x="4007" y="9600"/>
                  <a:pt x="3164" y="9902"/>
                  <a:pt x="2438" y="10421"/>
                </a:cubicBezTo>
                <a:lnTo>
                  <a:pt x="5091" y="2609"/>
                </a:lnTo>
                <a:lnTo>
                  <a:pt x="5089" y="2609"/>
                </a:lnTo>
                <a:cubicBezTo>
                  <a:pt x="5398" y="1779"/>
                  <a:pt x="6079" y="1200"/>
                  <a:pt x="6873" y="1200"/>
                </a:cubicBezTo>
                <a:cubicBezTo>
                  <a:pt x="7898" y="1200"/>
                  <a:pt x="8730" y="2164"/>
                  <a:pt x="8819" y="3388"/>
                </a:cubicBezTo>
                <a:lnTo>
                  <a:pt x="8838" y="3393"/>
                </a:lnTo>
                <a:cubicBezTo>
                  <a:pt x="8838" y="3393"/>
                  <a:pt x="8837" y="12012"/>
                  <a:pt x="8837" y="12012"/>
                </a:cubicBezTo>
                <a:close/>
                <a:moveTo>
                  <a:pt x="4909" y="20400"/>
                </a:moveTo>
                <a:cubicBezTo>
                  <a:pt x="2740" y="20400"/>
                  <a:pt x="982" y="18251"/>
                  <a:pt x="982" y="15600"/>
                </a:cubicBezTo>
                <a:cubicBezTo>
                  <a:pt x="982" y="12949"/>
                  <a:pt x="2740" y="10800"/>
                  <a:pt x="4909" y="10800"/>
                </a:cubicBezTo>
                <a:cubicBezTo>
                  <a:pt x="7078" y="10800"/>
                  <a:pt x="8836" y="12949"/>
                  <a:pt x="8836" y="15600"/>
                </a:cubicBezTo>
                <a:cubicBezTo>
                  <a:pt x="8836" y="18251"/>
                  <a:pt x="7078" y="20400"/>
                  <a:pt x="4909" y="20400"/>
                </a:cubicBezTo>
                <a:moveTo>
                  <a:pt x="21102" y="12980"/>
                </a:moveTo>
                <a:lnTo>
                  <a:pt x="17504" y="2400"/>
                </a:lnTo>
                <a:lnTo>
                  <a:pt x="17493" y="2402"/>
                </a:lnTo>
                <a:cubicBezTo>
                  <a:pt x="17088" y="1006"/>
                  <a:pt x="16009" y="0"/>
                  <a:pt x="14727" y="0"/>
                </a:cubicBezTo>
                <a:cubicBezTo>
                  <a:pt x="13101" y="0"/>
                  <a:pt x="11782" y="1612"/>
                  <a:pt x="11782" y="3600"/>
                </a:cubicBezTo>
                <a:lnTo>
                  <a:pt x="9818" y="3600"/>
                </a:lnTo>
                <a:cubicBezTo>
                  <a:pt x="9818" y="1612"/>
                  <a:pt x="8499" y="0"/>
                  <a:pt x="6873" y="0"/>
                </a:cubicBezTo>
                <a:cubicBezTo>
                  <a:pt x="5592" y="0"/>
                  <a:pt x="4512" y="1006"/>
                  <a:pt x="4107" y="2402"/>
                </a:cubicBezTo>
                <a:lnTo>
                  <a:pt x="4096" y="2400"/>
                </a:lnTo>
                <a:lnTo>
                  <a:pt x="498" y="12980"/>
                </a:lnTo>
                <a:cubicBezTo>
                  <a:pt x="182" y="13772"/>
                  <a:pt x="0" y="14659"/>
                  <a:pt x="0" y="15600"/>
                </a:cubicBezTo>
                <a:cubicBezTo>
                  <a:pt x="0" y="18914"/>
                  <a:pt x="2198" y="21600"/>
                  <a:pt x="4909" y="21600"/>
                </a:cubicBezTo>
                <a:cubicBezTo>
                  <a:pt x="7284" y="21600"/>
                  <a:pt x="9265" y="19539"/>
                  <a:pt x="9719" y="16800"/>
                </a:cubicBezTo>
                <a:lnTo>
                  <a:pt x="11881" y="16800"/>
                </a:lnTo>
                <a:cubicBezTo>
                  <a:pt x="12335" y="19539"/>
                  <a:pt x="14316" y="21600"/>
                  <a:pt x="16691" y="21600"/>
                </a:cubicBezTo>
                <a:cubicBezTo>
                  <a:pt x="19402" y="21600"/>
                  <a:pt x="21600" y="18914"/>
                  <a:pt x="21600" y="15600"/>
                </a:cubicBezTo>
                <a:cubicBezTo>
                  <a:pt x="21600" y="14659"/>
                  <a:pt x="21418" y="13772"/>
                  <a:pt x="21102" y="12980"/>
                </a:cubicBezTo>
                <a:moveTo>
                  <a:pt x="16691" y="12000"/>
                </a:moveTo>
                <a:cubicBezTo>
                  <a:pt x="15064" y="12000"/>
                  <a:pt x="13745" y="13612"/>
                  <a:pt x="13745" y="15600"/>
                </a:cubicBezTo>
                <a:cubicBezTo>
                  <a:pt x="13745" y="15932"/>
                  <a:pt x="13965" y="16200"/>
                  <a:pt x="14236" y="16200"/>
                </a:cubicBezTo>
                <a:cubicBezTo>
                  <a:pt x="14508" y="16200"/>
                  <a:pt x="14727" y="15932"/>
                  <a:pt x="14727" y="15600"/>
                </a:cubicBezTo>
                <a:cubicBezTo>
                  <a:pt x="14727" y="14275"/>
                  <a:pt x="15606" y="13200"/>
                  <a:pt x="16691" y="13200"/>
                </a:cubicBezTo>
                <a:cubicBezTo>
                  <a:pt x="16962" y="13200"/>
                  <a:pt x="17182" y="12932"/>
                  <a:pt x="17182" y="12600"/>
                </a:cubicBezTo>
                <a:cubicBezTo>
                  <a:pt x="17182" y="12268"/>
                  <a:pt x="16962" y="12000"/>
                  <a:pt x="16691" y="12000"/>
                </a:cubicBezTo>
                <a:moveTo>
                  <a:pt x="4909" y="12000"/>
                </a:moveTo>
                <a:cubicBezTo>
                  <a:pt x="3282" y="12000"/>
                  <a:pt x="1964" y="13612"/>
                  <a:pt x="1964" y="15600"/>
                </a:cubicBezTo>
                <a:cubicBezTo>
                  <a:pt x="1964" y="15932"/>
                  <a:pt x="2183" y="16200"/>
                  <a:pt x="2455" y="16200"/>
                </a:cubicBezTo>
                <a:cubicBezTo>
                  <a:pt x="2726" y="16200"/>
                  <a:pt x="2945" y="15932"/>
                  <a:pt x="2945" y="15600"/>
                </a:cubicBezTo>
                <a:cubicBezTo>
                  <a:pt x="2945" y="14275"/>
                  <a:pt x="3825" y="13200"/>
                  <a:pt x="4909" y="13200"/>
                </a:cubicBezTo>
                <a:cubicBezTo>
                  <a:pt x="5180" y="13200"/>
                  <a:pt x="5400" y="12932"/>
                  <a:pt x="5400" y="12600"/>
                </a:cubicBezTo>
                <a:cubicBezTo>
                  <a:pt x="5400" y="12268"/>
                  <a:pt x="5180" y="12000"/>
                  <a:pt x="4909" y="12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6" name="Shape 2786"/>
          <p:cNvSpPr/>
          <p:nvPr/>
        </p:nvSpPr>
        <p:spPr>
          <a:xfrm>
            <a:off x="7878714" y="4288823"/>
            <a:ext cx="209345" cy="190462"/>
          </a:xfrm>
          <a:custGeom>
            <a:avLst/>
            <a:gdLst/>
            <a:ahLst/>
            <a:cxnLst>
              <a:cxn ang="0">
                <a:pos x="wd2" y="hd2"/>
              </a:cxn>
              <a:cxn ang="5400000">
                <a:pos x="wd2" y="hd2"/>
              </a:cxn>
              <a:cxn ang="10800000">
                <a:pos x="wd2" y="hd2"/>
              </a:cxn>
              <a:cxn ang="16200000">
                <a:pos x="wd2" y="hd2"/>
              </a:cxn>
            </a:cxnLst>
            <a:rect l="0" t="0" r="r" b="b"/>
            <a:pathLst>
              <a:path w="21079" h="20458" extrusionOk="0">
                <a:moveTo>
                  <a:pt x="8629" y="9718"/>
                </a:moveTo>
                <a:cubicBezTo>
                  <a:pt x="8364" y="9718"/>
                  <a:pt x="8150" y="9946"/>
                  <a:pt x="8150" y="10229"/>
                </a:cubicBezTo>
                <a:cubicBezTo>
                  <a:pt x="8150" y="10512"/>
                  <a:pt x="8364" y="10740"/>
                  <a:pt x="8629" y="10740"/>
                </a:cubicBezTo>
                <a:cubicBezTo>
                  <a:pt x="8894" y="10740"/>
                  <a:pt x="9109" y="10512"/>
                  <a:pt x="9109" y="10229"/>
                </a:cubicBezTo>
                <a:cubicBezTo>
                  <a:pt x="9109" y="9946"/>
                  <a:pt x="8894" y="9718"/>
                  <a:pt x="8629" y="9718"/>
                </a:cubicBezTo>
                <a:moveTo>
                  <a:pt x="19841" y="17227"/>
                </a:moveTo>
                <a:cubicBezTo>
                  <a:pt x="18962" y="17974"/>
                  <a:pt x="18122" y="17900"/>
                  <a:pt x="18122" y="17900"/>
                </a:cubicBezTo>
                <a:cubicBezTo>
                  <a:pt x="17681" y="17900"/>
                  <a:pt x="16277" y="16919"/>
                  <a:pt x="9448" y="11852"/>
                </a:cubicBezTo>
                <a:lnTo>
                  <a:pt x="10866" y="10844"/>
                </a:lnTo>
                <a:cubicBezTo>
                  <a:pt x="10866" y="10844"/>
                  <a:pt x="19841" y="17227"/>
                  <a:pt x="19841" y="17227"/>
                </a:cubicBezTo>
                <a:close/>
                <a:moveTo>
                  <a:pt x="6661" y="12605"/>
                </a:moveTo>
                <a:cubicBezTo>
                  <a:pt x="6010" y="12349"/>
                  <a:pt x="5264" y="12239"/>
                  <a:pt x="4521" y="12267"/>
                </a:cubicBezTo>
                <a:cubicBezTo>
                  <a:pt x="15686" y="3965"/>
                  <a:pt x="17591" y="2558"/>
                  <a:pt x="18122" y="2558"/>
                </a:cubicBezTo>
                <a:cubicBezTo>
                  <a:pt x="18122" y="2558"/>
                  <a:pt x="18962" y="2484"/>
                  <a:pt x="19841" y="3231"/>
                </a:cubicBezTo>
                <a:cubicBezTo>
                  <a:pt x="19841" y="3231"/>
                  <a:pt x="6661" y="12605"/>
                  <a:pt x="6661" y="12605"/>
                </a:cubicBezTo>
                <a:close/>
                <a:moveTo>
                  <a:pt x="5586" y="19031"/>
                </a:moveTo>
                <a:cubicBezTo>
                  <a:pt x="4111" y="19863"/>
                  <a:pt x="2224" y="19369"/>
                  <a:pt x="1372" y="17927"/>
                </a:cubicBezTo>
                <a:cubicBezTo>
                  <a:pt x="520" y="16485"/>
                  <a:pt x="1026" y="14640"/>
                  <a:pt x="2501" y="13808"/>
                </a:cubicBezTo>
                <a:cubicBezTo>
                  <a:pt x="3977" y="12975"/>
                  <a:pt x="6532" y="13092"/>
                  <a:pt x="7383" y="14534"/>
                </a:cubicBezTo>
                <a:cubicBezTo>
                  <a:pt x="8235" y="15977"/>
                  <a:pt x="7062" y="18198"/>
                  <a:pt x="5586" y="19031"/>
                </a:cubicBezTo>
                <a:moveTo>
                  <a:pt x="4521" y="8191"/>
                </a:moveTo>
                <a:cubicBezTo>
                  <a:pt x="5264" y="8219"/>
                  <a:pt x="6010" y="8109"/>
                  <a:pt x="6661" y="7853"/>
                </a:cubicBezTo>
                <a:lnTo>
                  <a:pt x="7765" y="8638"/>
                </a:lnTo>
                <a:cubicBezTo>
                  <a:pt x="7345" y="8950"/>
                  <a:pt x="6901" y="9281"/>
                  <a:pt x="6443" y="9621"/>
                </a:cubicBezTo>
                <a:cubicBezTo>
                  <a:pt x="5833" y="9167"/>
                  <a:pt x="5200" y="8696"/>
                  <a:pt x="4521" y="8191"/>
                </a:cubicBezTo>
                <a:moveTo>
                  <a:pt x="2501" y="6650"/>
                </a:moveTo>
                <a:cubicBezTo>
                  <a:pt x="1026" y="5818"/>
                  <a:pt x="520" y="3973"/>
                  <a:pt x="1372" y="2531"/>
                </a:cubicBezTo>
                <a:cubicBezTo>
                  <a:pt x="2224" y="1089"/>
                  <a:pt x="4111" y="595"/>
                  <a:pt x="5586" y="1427"/>
                </a:cubicBezTo>
                <a:cubicBezTo>
                  <a:pt x="7062" y="2260"/>
                  <a:pt x="8235" y="4481"/>
                  <a:pt x="7383" y="5924"/>
                </a:cubicBezTo>
                <a:cubicBezTo>
                  <a:pt x="6532" y="7366"/>
                  <a:pt x="3977" y="7483"/>
                  <a:pt x="2501" y="6650"/>
                </a:cubicBezTo>
                <a:moveTo>
                  <a:pt x="21079" y="3580"/>
                </a:moveTo>
                <a:cubicBezTo>
                  <a:pt x="21079" y="2451"/>
                  <a:pt x="19262" y="1535"/>
                  <a:pt x="18203" y="1535"/>
                </a:cubicBezTo>
                <a:lnTo>
                  <a:pt x="18122" y="1535"/>
                </a:lnTo>
                <a:cubicBezTo>
                  <a:pt x="17404" y="1535"/>
                  <a:pt x="17139" y="1673"/>
                  <a:pt x="8610" y="8009"/>
                </a:cubicBezTo>
                <a:lnTo>
                  <a:pt x="7613" y="7300"/>
                </a:lnTo>
                <a:cubicBezTo>
                  <a:pt x="7876" y="7084"/>
                  <a:pt x="8104" y="6833"/>
                  <a:pt x="8275" y="6534"/>
                </a:cubicBezTo>
                <a:cubicBezTo>
                  <a:pt x="9372" y="4611"/>
                  <a:pt x="7861" y="1650"/>
                  <a:pt x="5960" y="539"/>
                </a:cubicBezTo>
                <a:cubicBezTo>
                  <a:pt x="4060" y="-571"/>
                  <a:pt x="1629" y="88"/>
                  <a:pt x="532" y="2011"/>
                </a:cubicBezTo>
                <a:cubicBezTo>
                  <a:pt x="-521" y="3857"/>
                  <a:pt x="41" y="6194"/>
                  <a:pt x="1769" y="7361"/>
                </a:cubicBezTo>
                <a:cubicBezTo>
                  <a:pt x="3185" y="8414"/>
                  <a:pt x="4458" y="9360"/>
                  <a:pt x="5626" y="10229"/>
                </a:cubicBezTo>
                <a:cubicBezTo>
                  <a:pt x="4461" y="11096"/>
                  <a:pt x="3178" y="12049"/>
                  <a:pt x="1769" y="13097"/>
                </a:cubicBezTo>
                <a:cubicBezTo>
                  <a:pt x="40" y="14264"/>
                  <a:pt x="-521" y="16601"/>
                  <a:pt x="532" y="18447"/>
                </a:cubicBezTo>
                <a:cubicBezTo>
                  <a:pt x="1629" y="20371"/>
                  <a:pt x="4060" y="21029"/>
                  <a:pt x="5960" y="19919"/>
                </a:cubicBezTo>
                <a:cubicBezTo>
                  <a:pt x="7861" y="18808"/>
                  <a:pt x="9372" y="15847"/>
                  <a:pt x="8275" y="13924"/>
                </a:cubicBezTo>
                <a:cubicBezTo>
                  <a:pt x="8104" y="13625"/>
                  <a:pt x="7876" y="13374"/>
                  <a:pt x="7613" y="13158"/>
                </a:cubicBezTo>
                <a:lnTo>
                  <a:pt x="8610" y="12449"/>
                </a:lnTo>
                <a:cubicBezTo>
                  <a:pt x="17134" y="18781"/>
                  <a:pt x="17404" y="18923"/>
                  <a:pt x="18122" y="18923"/>
                </a:cubicBezTo>
                <a:lnTo>
                  <a:pt x="18203" y="18923"/>
                </a:lnTo>
                <a:cubicBezTo>
                  <a:pt x="19262" y="18923"/>
                  <a:pt x="21079" y="18007"/>
                  <a:pt x="21079" y="16878"/>
                </a:cubicBezTo>
                <a:lnTo>
                  <a:pt x="11731" y="10229"/>
                </a:lnTo>
                <a:cubicBezTo>
                  <a:pt x="11731" y="10229"/>
                  <a:pt x="21079" y="3580"/>
                  <a:pt x="21079" y="3580"/>
                </a:cubicBezTo>
                <a:close/>
                <a:moveTo>
                  <a:pt x="4639" y="16789"/>
                </a:moveTo>
                <a:cubicBezTo>
                  <a:pt x="4496" y="16859"/>
                  <a:pt x="4332" y="16897"/>
                  <a:pt x="4162" y="16897"/>
                </a:cubicBezTo>
                <a:cubicBezTo>
                  <a:pt x="3846" y="16897"/>
                  <a:pt x="3544" y="16764"/>
                  <a:pt x="3411" y="16567"/>
                </a:cubicBezTo>
                <a:cubicBezTo>
                  <a:pt x="3347" y="16471"/>
                  <a:pt x="3351" y="16406"/>
                  <a:pt x="3362" y="16361"/>
                </a:cubicBezTo>
                <a:cubicBezTo>
                  <a:pt x="3392" y="16240"/>
                  <a:pt x="3511" y="16117"/>
                  <a:pt x="3682" y="16034"/>
                </a:cubicBezTo>
                <a:cubicBezTo>
                  <a:pt x="3891" y="15930"/>
                  <a:pt x="4198" y="15869"/>
                  <a:pt x="4503" y="15869"/>
                </a:cubicBezTo>
                <a:cubicBezTo>
                  <a:pt x="4935" y="15869"/>
                  <a:pt x="5194" y="15988"/>
                  <a:pt x="5273" y="16050"/>
                </a:cubicBezTo>
                <a:cubicBezTo>
                  <a:pt x="5252" y="16207"/>
                  <a:pt x="5019" y="16601"/>
                  <a:pt x="4639" y="16789"/>
                </a:cubicBezTo>
                <a:moveTo>
                  <a:pt x="4503" y="14845"/>
                </a:moveTo>
                <a:cubicBezTo>
                  <a:pt x="4065" y="14845"/>
                  <a:pt x="3621" y="14936"/>
                  <a:pt x="3279" y="15105"/>
                </a:cubicBezTo>
                <a:cubicBezTo>
                  <a:pt x="2435" y="15522"/>
                  <a:pt x="2147" y="16443"/>
                  <a:pt x="2633" y="17165"/>
                </a:cubicBezTo>
                <a:cubicBezTo>
                  <a:pt x="2960" y="17649"/>
                  <a:pt x="3553" y="17919"/>
                  <a:pt x="4162" y="17919"/>
                </a:cubicBezTo>
                <a:cubicBezTo>
                  <a:pt x="4461" y="17919"/>
                  <a:pt x="4764" y="17854"/>
                  <a:pt x="5041" y="17717"/>
                </a:cubicBezTo>
                <a:cubicBezTo>
                  <a:pt x="5885" y="17300"/>
                  <a:pt x="6555" y="16190"/>
                  <a:pt x="6069" y="15469"/>
                </a:cubicBezTo>
                <a:cubicBezTo>
                  <a:pt x="5779" y="15040"/>
                  <a:pt x="5146" y="14845"/>
                  <a:pt x="4503" y="14845"/>
                </a:cubicBezTo>
                <a:moveTo>
                  <a:pt x="4503" y="4590"/>
                </a:moveTo>
                <a:cubicBezTo>
                  <a:pt x="4198" y="4590"/>
                  <a:pt x="3891" y="4528"/>
                  <a:pt x="3682" y="4425"/>
                </a:cubicBezTo>
                <a:cubicBezTo>
                  <a:pt x="3511" y="4341"/>
                  <a:pt x="3392" y="4219"/>
                  <a:pt x="3362" y="4098"/>
                </a:cubicBezTo>
                <a:cubicBezTo>
                  <a:pt x="3351" y="4052"/>
                  <a:pt x="3347" y="3987"/>
                  <a:pt x="3411" y="3891"/>
                </a:cubicBezTo>
                <a:cubicBezTo>
                  <a:pt x="3544" y="3694"/>
                  <a:pt x="3846" y="3561"/>
                  <a:pt x="4162" y="3561"/>
                </a:cubicBezTo>
                <a:cubicBezTo>
                  <a:pt x="4332" y="3561"/>
                  <a:pt x="4496" y="3599"/>
                  <a:pt x="4639" y="3669"/>
                </a:cubicBezTo>
                <a:cubicBezTo>
                  <a:pt x="5019" y="3857"/>
                  <a:pt x="5252" y="4252"/>
                  <a:pt x="5273" y="4408"/>
                </a:cubicBezTo>
                <a:cubicBezTo>
                  <a:pt x="5194" y="4470"/>
                  <a:pt x="4935" y="4590"/>
                  <a:pt x="4503" y="4590"/>
                </a:cubicBezTo>
                <a:moveTo>
                  <a:pt x="5041" y="2741"/>
                </a:moveTo>
                <a:cubicBezTo>
                  <a:pt x="4764" y="2604"/>
                  <a:pt x="4461" y="2539"/>
                  <a:pt x="4162" y="2539"/>
                </a:cubicBezTo>
                <a:cubicBezTo>
                  <a:pt x="3553" y="2539"/>
                  <a:pt x="2960" y="2809"/>
                  <a:pt x="2633" y="3294"/>
                </a:cubicBezTo>
                <a:cubicBezTo>
                  <a:pt x="2147" y="4015"/>
                  <a:pt x="2435" y="4937"/>
                  <a:pt x="3279" y="5353"/>
                </a:cubicBezTo>
                <a:cubicBezTo>
                  <a:pt x="3621" y="5522"/>
                  <a:pt x="4065" y="5613"/>
                  <a:pt x="4503" y="5613"/>
                </a:cubicBezTo>
                <a:cubicBezTo>
                  <a:pt x="5146" y="5613"/>
                  <a:pt x="5779" y="5418"/>
                  <a:pt x="6069" y="4990"/>
                </a:cubicBezTo>
                <a:cubicBezTo>
                  <a:pt x="6555" y="4268"/>
                  <a:pt x="5885" y="3158"/>
                  <a:pt x="5041" y="274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87" name="Shape 2787"/>
          <p:cNvSpPr/>
          <p:nvPr/>
        </p:nvSpPr>
        <p:spPr>
          <a:xfrm>
            <a:off x="8278660" y="4279301"/>
            <a:ext cx="209366" cy="209505"/>
          </a:xfrm>
          <a:custGeom>
            <a:avLst/>
            <a:gdLst/>
            <a:ahLst/>
            <a:cxnLst>
              <a:cxn ang="0">
                <a:pos x="wd2" y="hd2"/>
              </a:cxn>
              <a:cxn ang="5400000">
                <a:pos x="wd2" y="hd2"/>
              </a:cxn>
              <a:cxn ang="10800000">
                <a:pos x="wd2" y="hd2"/>
              </a:cxn>
              <a:cxn ang="16200000">
                <a:pos x="wd2" y="hd2"/>
              </a:cxn>
            </a:cxnLst>
            <a:rect l="0" t="0" r="r" b="b"/>
            <a:pathLst>
              <a:path w="21086" h="21600" extrusionOk="0">
                <a:moveTo>
                  <a:pt x="11502" y="10309"/>
                </a:moveTo>
                <a:cubicBezTo>
                  <a:pt x="11767" y="10309"/>
                  <a:pt x="11981" y="10090"/>
                  <a:pt x="11981" y="9818"/>
                </a:cubicBezTo>
                <a:cubicBezTo>
                  <a:pt x="11981" y="9547"/>
                  <a:pt x="11767" y="9327"/>
                  <a:pt x="11502" y="9327"/>
                </a:cubicBezTo>
                <a:cubicBezTo>
                  <a:pt x="11237" y="9327"/>
                  <a:pt x="11022" y="9547"/>
                  <a:pt x="11022" y="9818"/>
                </a:cubicBezTo>
                <a:cubicBezTo>
                  <a:pt x="11022" y="10090"/>
                  <a:pt x="11237" y="10309"/>
                  <a:pt x="11502" y="10309"/>
                </a:cubicBezTo>
                <a:moveTo>
                  <a:pt x="15818" y="4909"/>
                </a:moveTo>
                <a:cubicBezTo>
                  <a:pt x="16083" y="4909"/>
                  <a:pt x="16297" y="5129"/>
                  <a:pt x="16297" y="5400"/>
                </a:cubicBezTo>
                <a:cubicBezTo>
                  <a:pt x="16297" y="5672"/>
                  <a:pt x="16083" y="5891"/>
                  <a:pt x="15818" y="5891"/>
                </a:cubicBezTo>
                <a:cubicBezTo>
                  <a:pt x="15553" y="5891"/>
                  <a:pt x="15338" y="5672"/>
                  <a:pt x="15338" y="5400"/>
                </a:cubicBezTo>
                <a:cubicBezTo>
                  <a:pt x="15338" y="5129"/>
                  <a:pt x="15553" y="4909"/>
                  <a:pt x="15818" y="4909"/>
                </a:cubicBezTo>
                <a:moveTo>
                  <a:pt x="15818" y="6873"/>
                </a:moveTo>
                <a:cubicBezTo>
                  <a:pt x="16612" y="6873"/>
                  <a:pt x="17256" y="6213"/>
                  <a:pt x="17256" y="5400"/>
                </a:cubicBezTo>
                <a:cubicBezTo>
                  <a:pt x="17256" y="4587"/>
                  <a:pt x="16612" y="3928"/>
                  <a:pt x="15818" y="3928"/>
                </a:cubicBezTo>
                <a:cubicBezTo>
                  <a:pt x="15023" y="3928"/>
                  <a:pt x="14379" y="4587"/>
                  <a:pt x="14379" y="5400"/>
                </a:cubicBezTo>
                <a:cubicBezTo>
                  <a:pt x="14379" y="6213"/>
                  <a:pt x="15023" y="6873"/>
                  <a:pt x="15818" y="6873"/>
                </a:cubicBezTo>
                <a:moveTo>
                  <a:pt x="12941" y="11782"/>
                </a:moveTo>
                <a:cubicBezTo>
                  <a:pt x="13206" y="11782"/>
                  <a:pt x="13420" y="11562"/>
                  <a:pt x="13420" y="11291"/>
                </a:cubicBezTo>
                <a:cubicBezTo>
                  <a:pt x="13420" y="11020"/>
                  <a:pt x="13206" y="10800"/>
                  <a:pt x="12941" y="10800"/>
                </a:cubicBezTo>
                <a:cubicBezTo>
                  <a:pt x="12675" y="10800"/>
                  <a:pt x="12461" y="11020"/>
                  <a:pt x="12461" y="11291"/>
                </a:cubicBezTo>
                <a:cubicBezTo>
                  <a:pt x="12461" y="11562"/>
                  <a:pt x="12675" y="11782"/>
                  <a:pt x="12941" y="11782"/>
                </a:cubicBezTo>
                <a:moveTo>
                  <a:pt x="10063" y="7855"/>
                </a:moveTo>
                <a:cubicBezTo>
                  <a:pt x="9798" y="7855"/>
                  <a:pt x="9584" y="8074"/>
                  <a:pt x="9584" y="8346"/>
                </a:cubicBezTo>
                <a:cubicBezTo>
                  <a:pt x="9584" y="8617"/>
                  <a:pt x="9798" y="8836"/>
                  <a:pt x="10063" y="8836"/>
                </a:cubicBezTo>
                <a:cubicBezTo>
                  <a:pt x="10328" y="8836"/>
                  <a:pt x="10543" y="8617"/>
                  <a:pt x="10543" y="8346"/>
                </a:cubicBezTo>
                <a:cubicBezTo>
                  <a:pt x="10543" y="8074"/>
                  <a:pt x="10328" y="7855"/>
                  <a:pt x="10063" y="7855"/>
                </a:cubicBezTo>
                <a:moveTo>
                  <a:pt x="1718" y="19842"/>
                </a:moveTo>
                <a:lnTo>
                  <a:pt x="3451" y="15392"/>
                </a:lnTo>
                <a:cubicBezTo>
                  <a:pt x="3684" y="15834"/>
                  <a:pt x="3973" y="16253"/>
                  <a:pt x="4312" y="16642"/>
                </a:cubicBezTo>
                <a:cubicBezTo>
                  <a:pt x="4824" y="17230"/>
                  <a:pt x="5418" y="17711"/>
                  <a:pt x="6061" y="18068"/>
                </a:cubicBezTo>
                <a:cubicBezTo>
                  <a:pt x="6061" y="18068"/>
                  <a:pt x="1718" y="19842"/>
                  <a:pt x="1718" y="19842"/>
                </a:cubicBezTo>
                <a:close/>
                <a:moveTo>
                  <a:pt x="3717" y="12060"/>
                </a:moveTo>
                <a:lnTo>
                  <a:pt x="0" y="21600"/>
                </a:lnTo>
                <a:lnTo>
                  <a:pt x="9319" y="17795"/>
                </a:lnTo>
                <a:cubicBezTo>
                  <a:pt x="9153" y="17815"/>
                  <a:pt x="8987" y="17824"/>
                  <a:pt x="8822" y="17824"/>
                </a:cubicBezTo>
                <a:cubicBezTo>
                  <a:pt x="5971" y="17824"/>
                  <a:pt x="3389" y="15002"/>
                  <a:pt x="3717" y="12060"/>
                </a:cubicBezTo>
                <a:moveTo>
                  <a:pt x="16115" y="10657"/>
                </a:moveTo>
                <a:cubicBezTo>
                  <a:pt x="15925" y="10851"/>
                  <a:pt x="15627" y="11171"/>
                  <a:pt x="15280" y="11542"/>
                </a:cubicBezTo>
                <a:cubicBezTo>
                  <a:pt x="14662" y="12204"/>
                  <a:pt x="13712" y="13221"/>
                  <a:pt x="13147" y="13753"/>
                </a:cubicBezTo>
                <a:lnTo>
                  <a:pt x="7665" y="8141"/>
                </a:lnTo>
                <a:cubicBezTo>
                  <a:pt x="8185" y="7563"/>
                  <a:pt x="9179" y="6590"/>
                  <a:pt x="9825" y="5958"/>
                </a:cubicBezTo>
                <a:cubicBezTo>
                  <a:pt x="10188" y="5603"/>
                  <a:pt x="10500" y="5298"/>
                  <a:pt x="10690" y="5103"/>
                </a:cubicBezTo>
                <a:cubicBezTo>
                  <a:pt x="13284" y="2447"/>
                  <a:pt x="18271" y="993"/>
                  <a:pt x="20136" y="982"/>
                </a:cubicBezTo>
                <a:cubicBezTo>
                  <a:pt x="20132" y="2572"/>
                  <a:pt x="18824" y="7884"/>
                  <a:pt x="16115" y="10657"/>
                </a:cubicBezTo>
                <a:moveTo>
                  <a:pt x="12477" y="14563"/>
                </a:moveTo>
                <a:cubicBezTo>
                  <a:pt x="12127" y="15873"/>
                  <a:pt x="11665" y="17072"/>
                  <a:pt x="11154" y="18035"/>
                </a:cubicBezTo>
                <a:cubicBezTo>
                  <a:pt x="10943" y="17454"/>
                  <a:pt x="10642" y="16798"/>
                  <a:pt x="10214" y="16110"/>
                </a:cubicBezTo>
                <a:cubicBezTo>
                  <a:pt x="10035" y="15823"/>
                  <a:pt x="9728" y="15656"/>
                  <a:pt x="9405" y="15656"/>
                </a:cubicBezTo>
                <a:cubicBezTo>
                  <a:pt x="9329" y="15656"/>
                  <a:pt x="9252" y="15665"/>
                  <a:pt x="9176" y="15684"/>
                </a:cubicBezTo>
                <a:cubicBezTo>
                  <a:pt x="8990" y="15731"/>
                  <a:pt x="8799" y="15755"/>
                  <a:pt x="8610" y="15755"/>
                </a:cubicBezTo>
                <a:cubicBezTo>
                  <a:pt x="7905" y="15755"/>
                  <a:pt x="7217" y="15432"/>
                  <a:pt x="6621" y="14822"/>
                </a:cubicBezTo>
                <a:cubicBezTo>
                  <a:pt x="5861" y="14044"/>
                  <a:pt x="5561" y="13114"/>
                  <a:pt x="5779" y="12206"/>
                </a:cubicBezTo>
                <a:cubicBezTo>
                  <a:pt x="5877" y="11797"/>
                  <a:pt x="5709" y="11370"/>
                  <a:pt x="5363" y="11144"/>
                </a:cubicBezTo>
                <a:cubicBezTo>
                  <a:pt x="4690" y="10706"/>
                  <a:pt x="4050" y="10398"/>
                  <a:pt x="3482" y="10183"/>
                </a:cubicBezTo>
                <a:cubicBezTo>
                  <a:pt x="4423" y="9658"/>
                  <a:pt x="5594" y="9186"/>
                  <a:pt x="6874" y="8827"/>
                </a:cubicBezTo>
                <a:cubicBezTo>
                  <a:pt x="6900" y="8820"/>
                  <a:pt x="6921" y="8803"/>
                  <a:pt x="6946" y="8793"/>
                </a:cubicBezTo>
                <a:lnTo>
                  <a:pt x="12510" y="14490"/>
                </a:lnTo>
                <a:cubicBezTo>
                  <a:pt x="12501" y="14515"/>
                  <a:pt x="12484" y="14536"/>
                  <a:pt x="12477" y="14563"/>
                </a:cubicBezTo>
                <a:moveTo>
                  <a:pt x="20922" y="167"/>
                </a:moveTo>
                <a:cubicBezTo>
                  <a:pt x="20813" y="55"/>
                  <a:pt x="20545" y="0"/>
                  <a:pt x="20157" y="0"/>
                </a:cubicBezTo>
                <a:cubicBezTo>
                  <a:pt x="18131" y="0"/>
                  <a:pt x="12842" y="1511"/>
                  <a:pt x="10012" y="4409"/>
                </a:cubicBezTo>
                <a:cubicBezTo>
                  <a:pt x="9345" y="5092"/>
                  <a:pt x="7134" y="7175"/>
                  <a:pt x="6621" y="7880"/>
                </a:cubicBezTo>
                <a:cubicBezTo>
                  <a:pt x="4961" y="8346"/>
                  <a:pt x="2544" y="9277"/>
                  <a:pt x="1196" y="10657"/>
                </a:cubicBezTo>
                <a:cubicBezTo>
                  <a:pt x="1196" y="10657"/>
                  <a:pt x="2841" y="10663"/>
                  <a:pt x="4848" y="11972"/>
                </a:cubicBezTo>
                <a:cubicBezTo>
                  <a:pt x="4556" y="13190"/>
                  <a:pt x="4926" y="14475"/>
                  <a:pt x="5943" y="15516"/>
                </a:cubicBezTo>
                <a:cubicBezTo>
                  <a:pt x="6735" y="16327"/>
                  <a:pt x="7672" y="16737"/>
                  <a:pt x="8610" y="16737"/>
                </a:cubicBezTo>
                <a:cubicBezTo>
                  <a:pt x="8876" y="16737"/>
                  <a:pt x="9142" y="16704"/>
                  <a:pt x="9405" y="16637"/>
                </a:cubicBezTo>
                <a:cubicBezTo>
                  <a:pt x="10683" y="18692"/>
                  <a:pt x="10690" y="20376"/>
                  <a:pt x="10690" y="20376"/>
                </a:cubicBezTo>
                <a:cubicBezTo>
                  <a:pt x="12038" y="18996"/>
                  <a:pt x="12948" y="16521"/>
                  <a:pt x="13402" y="14822"/>
                </a:cubicBezTo>
                <a:cubicBezTo>
                  <a:pt x="14091" y="14297"/>
                  <a:pt x="16126" y="12034"/>
                  <a:pt x="16793" y="11351"/>
                </a:cubicBezTo>
                <a:cubicBezTo>
                  <a:pt x="20164" y="7900"/>
                  <a:pt x="21600" y="861"/>
                  <a:pt x="20922" y="16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55" name="Shape 2707"/>
          <p:cNvSpPr/>
          <p:nvPr/>
        </p:nvSpPr>
        <p:spPr>
          <a:xfrm>
            <a:off x="4101767" y="656412"/>
            <a:ext cx="961795"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Electronics</a:t>
            </a:r>
          </a:p>
        </p:txBody>
      </p:sp>
      <p:sp>
        <p:nvSpPr>
          <p:cNvPr id="157" name="Shape 2707"/>
          <p:cNvSpPr/>
          <p:nvPr/>
        </p:nvSpPr>
        <p:spPr>
          <a:xfrm>
            <a:off x="3976732" y="2671929"/>
            <a:ext cx="1211863"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Miscellaneous</a:t>
            </a:r>
          </a:p>
        </p:txBody>
      </p:sp>
    </p:spTree>
    <p:extLst>
      <p:ext uri="{BB962C8B-B14F-4D97-AF65-F5344CB8AC3E}">
        <p14:creationId xmlns:p14="http://schemas.microsoft.com/office/powerpoint/2010/main" val="20328949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0" name="Shape 2790"/>
          <p:cNvSpPr/>
          <p:nvPr/>
        </p:nvSpPr>
        <p:spPr>
          <a:xfrm>
            <a:off x="660644"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3436" y="17550"/>
                </a:moveTo>
                <a:lnTo>
                  <a:pt x="10309" y="17550"/>
                </a:lnTo>
                <a:cubicBezTo>
                  <a:pt x="10580" y="17550"/>
                  <a:pt x="10800" y="17248"/>
                  <a:pt x="10800" y="16875"/>
                </a:cubicBezTo>
                <a:cubicBezTo>
                  <a:pt x="10800" y="16503"/>
                  <a:pt x="10580" y="16200"/>
                  <a:pt x="10309" y="16200"/>
                </a:cubicBezTo>
                <a:lnTo>
                  <a:pt x="3436" y="16200"/>
                </a:lnTo>
                <a:cubicBezTo>
                  <a:pt x="3166" y="16200"/>
                  <a:pt x="2945" y="16503"/>
                  <a:pt x="2945" y="16875"/>
                </a:cubicBezTo>
                <a:cubicBezTo>
                  <a:pt x="2945" y="17248"/>
                  <a:pt x="3166" y="17550"/>
                  <a:pt x="3436" y="17550"/>
                </a:cubicBezTo>
                <a:moveTo>
                  <a:pt x="3436" y="14850"/>
                </a:moveTo>
                <a:lnTo>
                  <a:pt x="12273" y="14850"/>
                </a:lnTo>
                <a:cubicBezTo>
                  <a:pt x="12544" y="14850"/>
                  <a:pt x="12764" y="14548"/>
                  <a:pt x="12764" y="14175"/>
                </a:cubicBezTo>
                <a:cubicBezTo>
                  <a:pt x="12764" y="13803"/>
                  <a:pt x="12544" y="13500"/>
                  <a:pt x="12273" y="13500"/>
                </a:cubicBezTo>
                <a:lnTo>
                  <a:pt x="3436" y="13500"/>
                </a:lnTo>
                <a:cubicBezTo>
                  <a:pt x="3166" y="13500"/>
                  <a:pt x="2945" y="13803"/>
                  <a:pt x="2945" y="14175"/>
                </a:cubicBezTo>
                <a:cubicBezTo>
                  <a:pt x="2945" y="14548"/>
                  <a:pt x="3166" y="14850"/>
                  <a:pt x="3436" y="14850"/>
                </a:cubicBezTo>
                <a:moveTo>
                  <a:pt x="20618" y="4050"/>
                </a:moveTo>
                <a:lnTo>
                  <a:pt x="982" y="4050"/>
                </a:lnTo>
                <a:lnTo>
                  <a:pt x="982" y="1350"/>
                </a:lnTo>
                <a:lnTo>
                  <a:pt x="20618" y="1350"/>
                </a:lnTo>
                <a:cubicBezTo>
                  <a:pt x="20618" y="1350"/>
                  <a:pt x="20618" y="4050"/>
                  <a:pt x="20618" y="4050"/>
                </a:cubicBezTo>
                <a:close/>
                <a:moveTo>
                  <a:pt x="20618" y="20250"/>
                </a:moveTo>
                <a:lnTo>
                  <a:pt x="982" y="20250"/>
                </a:lnTo>
                <a:lnTo>
                  <a:pt x="982" y="9450"/>
                </a:lnTo>
                <a:lnTo>
                  <a:pt x="20618" y="9450"/>
                </a:lnTo>
                <a:cubicBezTo>
                  <a:pt x="20618" y="9450"/>
                  <a:pt x="20618" y="20250"/>
                  <a:pt x="20618" y="20250"/>
                </a:cubicBezTo>
                <a:close/>
                <a:moveTo>
                  <a:pt x="20618" y="0"/>
                </a:moveTo>
                <a:lnTo>
                  <a:pt x="982" y="0"/>
                </a:lnTo>
                <a:cubicBezTo>
                  <a:pt x="440" y="0"/>
                  <a:pt x="0" y="605"/>
                  <a:pt x="0" y="1350"/>
                </a:cubicBezTo>
                <a:lnTo>
                  <a:pt x="0" y="20250"/>
                </a:lnTo>
                <a:cubicBezTo>
                  <a:pt x="0" y="20995"/>
                  <a:pt x="440" y="21600"/>
                  <a:pt x="982" y="21600"/>
                </a:cubicBezTo>
                <a:lnTo>
                  <a:pt x="20618" y="21600"/>
                </a:lnTo>
                <a:cubicBezTo>
                  <a:pt x="21160" y="21600"/>
                  <a:pt x="21600" y="20995"/>
                  <a:pt x="21600" y="20250"/>
                </a:cubicBezTo>
                <a:lnTo>
                  <a:pt x="21600" y="1350"/>
                </a:lnTo>
                <a:cubicBezTo>
                  <a:pt x="21600" y="605"/>
                  <a:pt x="21160" y="0"/>
                  <a:pt x="20618" y="0"/>
                </a:cubicBezTo>
                <a:moveTo>
                  <a:pt x="16200" y="17550"/>
                </a:moveTo>
                <a:lnTo>
                  <a:pt x="18164" y="17550"/>
                </a:lnTo>
                <a:cubicBezTo>
                  <a:pt x="18434" y="17550"/>
                  <a:pt x="18655" y="17248"/>
                  <a:pt x="18655" y="16875"/>
                </a:cubicBezTo>
                <a:lnTo>
                  <a:pt x="18655" y="14175"/>
                </a:lnTo>
                <a:cubicBezTo>
                  <a:pt x="18655" y="13803"/>
                  <a:pt x="18434" y="13500"/>
                  <a:pt x="18164" y="13500"/>
                </a:cubicBezTo>
                <a:lnTo>
                  <a:pt x="16200" y="13500"/>
                </a:lnTo>
                <a:cubicBezTo>
                  <a:pt x="15929" y="13500"/>
                  <a:pt x="15709" y="13803"/>
                  <a:pt x="15709" y="14175"/>
                </a:cubicBezTo>
                <a:lnTo>
                  <a:pt x="15709" y="16875"/>
                </a:lnTo>
                <a:cubicBezTo>
                  <a:pt x="15709" y="17248"/>
                  <a:pt x="15929" y="17550"/>
                  <a:pt x="16200" y="175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1" name="Shape 2791"/>
          <p:cNvSpPr/>
          <p:nvPr/>
        </p:nvSpPr>
        <p:spPr>
          <a:xfrm>
            <a:off x="106059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0"/>
                </a:moveTo>
                <a:lnTo>
                  <a:pt x="4909" y="0"/>
                </a:lnTo>
                <a:cubicBezTo>
                  <a:pt x="4367" y="0"/>
                  <a:pt x="3927" y="538"/>
                  <a:pt x="3927" y="1200"/>
                </a:cubicBezTo>
                <a:lnTo>
                  <a:pt x="3927" y="3000"/>
                </a:lnTo>
                <a:cubicBezTo>
                  <a:pt x="3927" y="3332"/>
                  <a:pt x="4147" y="3600"/>
                  <a:pt x="4418" y="3600"/>
                </a:cubicBezTo>
                <a:cubicBezTo>
                  <a:pt x="4689" y="3600"/>
                  <a:pt x="4909" y="3332"/>
                  <a:pt x="4909" y="3000"/>
                </a:cubicBezTo>
                <a:lnTo>
                  <a:pt x="4909" y="1200"/>
                </a:lnTo>
                <a:lnTo>
                  <a:pt x="20618" y="1200"/>
                </a:lnTo>
                <a:lnTo>
                  <a:pt x="20618" y="15600"/>
                </a:lnTo>
                <a:lnTo>
                  <a:pt x="19145" y="15600"/>
                </a:lnTo>
                <a:cubicBezTo>
                  <a:pt x="18875" y="15600"/>
                  <a:pt x="18655" y="15869"/>
                  <a:pt x="18655" y="16200"/>
                </a:cubicBezTo>
                <a:cubicBezTo>
                  <a:pt x="18655" y="16532"/>
                  <a:pt x="18875" y="16800"/>
                  <a:pt x="19145" y="16800"/>
                </a:cubicBezTo>
                <a:lnTo>
                  <a:pt x="20618" y="16800"/>
                </a:lnTo>
                <a:cubicBezTo>
                  <a:pt x="21160" y="16800"/>
                  <a:pt x="21600" y="16262"/>
                  <a:pt x="21600" y="15600"/>
                </a:cubicBezTo>
                <a:lnTo>
                  <a:pt x="21600" y="1200"/>
                </a:lnTo>
                <a:cubicBezTo>
                  <a:pt x="21600" y="538"/>
                  <a:pt x="21160" y="0"/>
                  <a:pt x="20618" y="0"/>
                </a:cubicBezTo>
                <a:moveTo>
                  <a:pt x="16691" y="8400"/>
                </a:moveTo>
                <a:lnTo>
                  <a:pt x="982" y="8400"/>
                </a:lnTo>
                <a:lnTo>
                  <a:pt x="982" y="6000"/>
                </a:lnTo>
                <a:lnTo>
                  <a:pt x="16691" y="6000"/>
                </a:lnTo>
                <a:cubicBezTo>
                  <a:pt x="16691" y="6000"/>
                  <a:pt x="16691" y="8400"/>
                  <a:pt x="16691" y="8400"/>
                </a:cubicBezTo>
                <a:close/>
                <a:moveTo>
                  <a:pt x="16691" y="20400"/>
                </a:moveTo>
                <a:lnTo>
                  <a:pt x="982" y="20400"/>
                </a:lnTo>
                <a:lnTo>
                  <a:pt x="982" y="12000"/>
                </a:lnTo>
                <a:lnTo>
                  <a:pt x="16691" y="12000"/>
                </a:lnTo>
                <a:cubicBezTo>
                  <a:pt x="16691" y="12000"/>
                  <a:pt x="16691" y="20400"/>
                  <a:pt x="16691" y="20400"/>
                </a:cubicBezTo>
                <a:close/>
                <a:moveTo>
                  <a:pt x="16691" y="4800"/>
                </a:moveTo>
                <a:lnTo>
                  <a:pt x="982" y="4800"/>
                </a:lnTo>
                <a:cubicBezTo>
                  <a:pt x="440" y="4800"/>
                  <a:pt x="0" y="5338"/>
                  <a:pt x="0" y="6000"/>
                </a:cubicBezTo>
                <a:lnTo>
                  <a:pt x="0" y="20400"/>
                </a:lnTo>
                <a:cubicBezTo>
                  <a:pt x="0" y="21062"/>
                  <a:pt x="440" y="21600"/>
                  <a:pt x="982" y="21600"/>
                </a:cubicBezTo>
                <a:lnTo>
                  <a:pt x="16691" y="21600"/>
                </a:lnTo>
                <a:cubicBezTo>
                  <a:pt x="17233" y="21600"/>
                  <a:pt x="17673" y="21062"/>
                  <a:pt x="17673" y="20400"/>
                </a:cubicBezTo>
                <a:lnTo>
                  <a:pt x="17673" y="6000"/>
                </a:lnTo>
                <a:cubicBezTo>
                  <a:pt x="17673" y="5338"/>
                  <a:pt x="17233" y="4800"/>
                  <a:pt x="16691" y="4800"/>
                </a:cubicBezTo>
                <a:moveTo>
                  <a:pt x="3436" y="18000"/>
                </a:moveTo>
                <a:lnTo>
                  <a:pt x="7364" y="18000"/>
                </a:lnTo>
                <a:cubicBezTo>
                  <a:pt x="7634" y="18000"/>
                  <a:pt x="7855" y="17732"/>
                  <a:pt x="7855" y="17400"/>
                </a:cubicBezTo>
                <a:cubicBezTo>
                  <a:pt x="7855" y="17069"/>
                  <a:pt x="7634" y="16800"/>
                  <a:pt x="7364" y="16800"/>
                </a:cubicBezTo>
                <a:lnTo>
                  <a:pt x="3436" y="16800"/>
                </a:lnTo>
                <a:cubicBezTo>
                  <a:pt x="3166" y="16800"/>
                  <a:pt x="2945" y="17069"/>
                  <a:pt x="2945" y="17400"/>
                </a:cubicBezTo>
                <a:cubicBezTo>
                  <a:pt x="2945" y="17732"/>
                  <a:pt x="3166" y="18000"/>
                  <a:pt x="3436" y="18000"/>
                </a:cubicBezTo>
                <a:moveTo>
                  <a:pt x="3436" y="15600"/>
                </a:moveTo>
                <a:lnTo>
                  <a:pt x="9327" y="15600"/>
                </a:lnTo>
                <a:cubicBezTo>
                  <a:pt x="9598" y="15600"/>
                  <a:pt x="9818" y="15332"/>
                  <a:pt x="9818" y="15000"/>
                </a:cubicBezTo>
                <a:cubicBezTo>
                  <a:pt x="9818" y="14668"/>
                  <a:pt x="9598" y="14400"/>
                  <a:pt x="9327" y="14400"/>
                </a:cubicBezTo>
                <a:lnTo>
                  <a:pt x="3436" y="14400"/>
                </a:lnTo>
                <a:cubicBezTo>
                  <a:pt x="3166" y="14400"/>
                  <a:pt x="2945" y="14668"/>
                  <a:pt x="2945" y="15000"/>
                </a:cubicBezTo>
                <a:cubicBezTo>
                  <a:pt x="2945" y="15332"/>
                  <a:pt x="3166" y="15600"/>
                  <a:pt x="3436" y="15600"/>
                </a:cubicBezTo>
                <a:moveTo>
                  <a:pt x="12273" y="18000"/>
                </a:moveTo>
                <a:lnTo>
                  <a:pt x="14236" y="18000"/>
                </a:lnTo>
                <a:cubicBezTo>
                  <a:pt x="14507" y="18000"/>
                  <a:pt x="14727" y="17732"/>
                  <a:pt x="14727" y="17400"/>
                </a:cubicBezTo>
                <a:lnTo>
                  <a:pt x="14727" y="15000"/>
                </a:lnTo>
                <a:cubicBezTo>
                  <a:pt x="14727" y="14668"/>
                  <a:pt x="14507" y="14400"/>
                  <a:pt x="14236" y="14400"/>
                </a:cubicBezTo>
                <a:lnTo>
                  <a:pt x="12273" y="14400"/>
                </a:lnTo>
                <a:cubicBezTo>
                  <a:pt x="12002" y="14400"/>
                  <a:pt x="11782" y="14668"/>
                  <a:pt x="11782" y="15000"/>
                </a:cubicBezTo>
                <a:lnTo>
                  <a:pt x="11782" y="17400"/>
                </a:lnTo>
                <a:cubicBezTo>
                  <a:pt x="11782" y="17732"/>
                  <a:pt x="12002" y="18000"/>
                  <a:pt x="12273" y="180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2" name="Shape 2792"/>
          <p:cNvSpPr/>
          <p:nvPr/>
        </p:nvSpPr>
        <p:spPr>
          <a:xfrm>
            <a:off x="1460536"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949" y="13580"/>
                </a:moveTo>
                <a:cubicBezTo>
                  <a:pt x="11701" y="13784"/>
                  <a:pt x="11474" y="13901"/>
                  <a:pt x="11085" y="13931"/>
                </a:cubicBezTo>
                <a:lnTo>
                  <a:pt x="11085" y="11339"/>
                </a:lnTo>
                <a:cubicBezTo>
                  <a:pt x="11251" y="11383"/>
                  <a:pt x="11321" y="11435"/>
                  <a:pt x="11479" y="11494"/>
                </a:cubicBezTo>
                <a:cubicBezTo>
                  <a:pt x="11638" y="11554"/>
                  <a:pt x="11780" y="11632"/>
                  <a:pt x="11906" y="11728"/>
                </a:cubicBezTo>
                <a:cubicBezTo>
                  <a:pt x="12032" y="11824"/>
                  <a:pt x="12133" y="11943"/>
                  <a:pt x="12208" y="12084"/>
                </a:cubicBezTo>
                <a:cubicBezTo>
                  <a:pt x="12284" y="12225"/>
                  <a:pt x="12322" y="12399"/>
                  <a:pt x="12322" y="12607"/>
                </a:cubicBezTo>
                <a:cubicBezTo>
                  <a:pt x="12322" y="13052"/>
                  <a:pt x="12198" y="13376"/>
                  <a:pt x="11949" y="13580"/>
                </a:cubicBezTo>
                <a:moveTo>
                  <a:pt x="10437" y="9837"/>
                </a:moveTo>
                <a:cubicBezTo>
                  <a:pt x="10286" y="9800"/>
                  <a:pt x="10228" y="9753"/>
                  <a:pt x="10081" y="9698"/>
                </a:cubicBezTo>
                <a:cubicBezTo>
                  <a:pt x="9933" y="9642"/>
                  <a:pt x="9803" y="9570"/>
                  <a:pt x="9692" y="9481"/>
                </a:cubicBezTo>
                <a:cubicBezTo>
                  <a:pt x="9581" y="9392"/>
                  <a:pt x="9489" y="9285"/>
                  <a:pt x="9417" y="9159"/>
                </a:cubicBezTo>
                <a:cubicBezTo>
                  <a:pt x="9345" y="9032"/>
                  <a:pt x="9309" y="8880"/>
                  <a:pt x="9309" y="8702"/>
                </a:cubicBezTo>
                <a:cubicBezTo>
                  <a:pt x="9309" y="8309"/>
                  <a:pt x="9415" y="8030"/>
                  <a:pt x="9627" y="7862"/>
                </a:cubicBezTo>
                <a:cubicBezTo>
                  <a:pt x="9839" y="7696"/>
                  <a:pt x="10048" y="7612"/>
                  <a:pt x="10437" y="7612"/>
                </a:cubicBezTo>
                <a:cubicBezTo>
                  <a:pt x="10437" y="7612"/>
                  <a:pt x="10437" y="9837"/>
                  <a:pt x="10437" y="9837"/>
                </a:cubicBezTo>
                <a:close/>
                <a:moveTo>
                  <a:pt x="12765" y="10727"/>
                </a:moveTo>
                <a:cubicBezTo>
                  <a:pt x="12527" y="10542"/>
                  <a:pt x="12253" y="10390"/>
                  <a:pt x="11944" y="10271"/>
                </a:cubicBezTo>
                <a:cubicBezTo>
                  <a:pt x="11634" y="10153"/>
                  <a:pt x="11410" y="10049"/>
                  <a:pt x="11085" y="9959"/>
                </a:cubicBezTo>
                <a:lnTo>
                  <a:pt x="11085" y="7612"/>
                </a:lnTo>
                <a:cubicBezTo>
                  <a:pt x="11474" y="7612"/>
                  <a:pt x="11665" y="7713"/>
                  <a:pt x="11841" y="7913"/>
                </a:cubicBezTo>
                <a:cubicBezTo>
                  <a:pt x="12017" y="8113"/>
                  <a:pt x="12113" y="8402"/>
                  <a:pt x="12127" y="8781"/>
                </a:cubicBezTo>
                <a:lnTo>
                  <a:pt x="13359" y="8781"/>
                </a:lnTo>
                <a:cubicBezTo>
                  <a:pt x="13359" y="8417"/>
                  <a:pt x="13295" y="8098"/>
                  <a:pt x="13170" y="7824"/>
                </a:cubicBezTo>
                <a:cubicBezTo>
                  <a:pt x="13043" y="7550"/>
                  <a:pt x="12875" y="7323"/>
                  <a:pt x="12662" y="7145"/>
                </a:cubicBezTo>
                <a:cubicBezTo>
                  <a:pt x="12449" y="6967"/>
                  <a:pt x="12200" y="6833"/>
                  <a:pt x="11911" y="6744"/>
                </a:cubicBezTo>
                <a:cubicBezTo>
                  <a:pt x="11623" y="6656"/>
                  <a:pt x="11410" y="6611"/>
                  <a:pt x="11085" y="6611"/>
                </a:cubicBezTo>
                <a:lnTo>
                  <a:pt x="11085" y="5881"/>
                </a:lnTo>
                <a:lnTo>
                  <a:pt x="10437" y="5881"/>
                </a:lnTo>
                <a:lnTo>
                  <a:pt x="10437" y="6611"/>
                </a:lnTo>
                <a:cubicBezTo>
                  <a:pt x="10113" y="6611"/>
                  <a:pt x="9895" y="6659"/>
                  <a:pt x="9600" y="6756"/>
                </a:cubicBezTo>
                <a:cubicBezTo>
                  <a:pt x="9305" y="6852"/>
                  <a:pt x="9044" y="6991"/>
                  <a:pt x="8817" y="7173"/>
                </a:cubicBezTo>
                <a:cubicBezTo>
                  <a:pt x="8590" y="7355"/>
                  <a:pt x="8410" y="7581"/>
                  <a:pt x="8277" y="7852"/>
                </a:cubicBezTo>
                <a:cubicBezTo>
                  <a:pt x="8144" y="8122"/>
                  <a:pt x="8077" y="8436"/>
                  <a:pt x="8077" y="8791"/>
                </a:cubicBezTo>
                <a:cubicBezTo>
                  <a:pt x="8077" y="9199"/>
                  <a:pt x="8150" y="9541"/>
                  <a:pt x="8293" y="9815"/>
                </a:cubicBezTo>
                <a:cubicBezTo>
                  <a:pt x="8438" y="10089"/>
                  <a:pt x="8626" y="10317"/>
                  <a:pt x="8860" y="10499"/>
                </a:cubicBezTo>
                <a:cubicBezTo>
                  <a:pt x="9094" y="10681"/>
                  <a:pt x="9357" y="10829"/>
                  <a:pt x="9649" y="10944"/>
                </a:cubicBezTo>
                <a:cubicBezTo>
                  <a:pt x="9940" y="11059"/>
                  <a:pt x="10142" y="11157"/>
                  <a:pt x="10437" y="11239"/>
                </a:cubicBezTo>
                <a:lnTo>
                  <a:pt x="10437" y="13931"/>
                </a:lnTo>
                <a:cubicBezTo>
                  <a:pt x="9940" y="13916"/>
                  <a:pt x="9676" y="13768"/>
                  <a:pt x="9460" y="13486"/>
                </a:cubicBezTo>
                <a:cubicBezTo>
                  <a:pt x="9244" y="13204"/>
                  <a:pt x="9139" y="12818"/>
                  <a:pt x="9147" y="12329"/>
                </a:cubicBezTo>
                <a:lnTo>
                  <a:pt x="7915" y="12329"/>
                </a:lnTo>
                <a:cubicBezTo>
                  <a:pt x="7908" y="12744"/>
                  <a:pt x="7967" y="13111"/>
                  <a:pt x="8094" y="13430"/>
                </a:cubicBezTo>
                <a:cubicBezTo>
                  <a:pt x="8220" y="13749"/>
                  <a:pt x="8397" y="14018"/>
                  <a:pt x="8628" y="14236"/>
                </a:cubicBezTo>
                <a:cubicBezTo>
                  <a:pt x="8858" y="14455"/>
                  <a:pt x="9136" y="14624"/>
                  <a:pt x="9460" y="14743"/>
                </a:cubicBezTo>
                <a:cubicBezTo>
                  <a:pt x="9784" y="14861"/>
                  <a:pt x="10048" y="14924"/>
                  <a:pt x="10437" y="14932"/>
                </a:cubicBezTo>
                <a:lnTo>
                  <a:pt x="10437" y="15692"/>
                </a:lnTo>
                <a:lnTo>
                  <a:pt x="11085" y="15692"/>
                </a:lnTo>
                <a:lnTo>
                  <a:pt x="11085" y="14932"/>
                </a:lnTo>
                <a:cubicBezTo>
                  <a:pt x="11446" y="14917"/>
                  <a:pt x="11688" y="14856"/>
                  <a:pt x="11998" y="14748"/>
                </a:cubicBezTo>
                <a:cubicBezTo>
                  <a:pt x="12307" y="14641"/>
                  <a:pt x="12578" y="14485"/>
                  <a:pt x="12808" y="14281"/>
                </a:cubicBezTo>
                <a:cubicBezTo>
                  <a:pt x="13038" y="14077"/>
                  <a:pt x="13220" y="13821"/>
                  <a:pt x="13353" y="13513"/>
                </a:cubicBezTo>
                <a:cubicBezTo>
                  <a:pt x="13486" y="13206"/>
                  <a:pt x="13553" y="12844"/>
                  <a:pt x="13553" y="12429"/>
                </a:cubicBezTo>
                <a:cubicBezTo>
                  <a:pt x="13553" y="12028"/>
                  <a:pt x="13481" y="11691"/>
                  <a:pt x="13337" y="11417"/>
                </a:cubicBezTo>
                <a:cubicBezTo>
                  <a:pt x="13193" y="11142"/>
                  <a:pt x="13002" y="10912"/>
                  <a:pt x="12765" y="10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3" name="Shape 2793"/>
          <p:cNvSpPr/>
          <p:nvPr/>
        </p:nvSpPr>
        <p:spPr>
          <a:xfrm>
            <a:off x="1860482"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686" y="14720"/>
                </a:moveTo>
                <a:cubicBezTo>
                  <a:pt x="9513" y="14863"/>
                  <a:pt x="9355" y="14945"/>
                  <a:pt x="9084" y="14965"/>
                </a:cubicBezTo>
                <a:lnTo>
                  <a:pt x="9084" y="13151"/>
                </a:lnTo>
                <a:cubicBezTo>
                  <a:pt x="9199" y="13182"/>
                  <a:pt x="9248" y="13219"/>
                  <a:pt x="9358" y="13260"/>
                </a:cubicBezTo>
                <a:cubicBezTo>
                  <a:pt x="9469" y="13302"/>
                  <a:pt x="9568" y="13357"/>
                  <a:pt x="9656" y="13424"/>
                </a:cubicBezTo>
                <a:cubicBezTo>
                  <a:pt x="9744" y="13491"/>
                  <a:pt x="9814" y="13575"/>
                  <a:pt x="9867" y="13673"/>
                </a:cubicBezTo>
                <a:cubicBezTo>
                  <a:pt x="9920" y="13772"/>
                  <a:pt x="9946" y="13894"/>
                  <a:pt x="9946" y="14039"/>
                </a:cubicBezTo>
                <a:cubicBezTo>
                  <a:pt x="9946" y="14350"/>
                  <a:pt x="9859" y="14577"/>
                  <a:pt x="9686" y="14720"/>
                </a:cubicBezTo>
                <a:moveTo>
                  <a:pt x="8631" y="12100"/>
                </a:moveTo>
                <a:cubicBezTo>
                  <a:pt x="8526" y="12074"/>
                  <a:pt x="8486" y="12041"/>
                  <a:pt x="8383" y="12003"/>
                </a:cubicBezTo>
                <a:cubicBezTo>
                  <a:pt x="8280" y="11964"/>
                  <a:pt x="8189" y="11913"/>
                  <a:pt x="8112" y="11851"/>
                </a:cubicBezTo>
                <a:cubicBezTo>
                  <a:pt x="8034" y="11789"/>
                  <a:pt x="7969" y="11714"/>
                  <a:pt x="7919" y="11625"/>
                </a:cubicBezTo>
                <a:cubicBezTo>
                  <a:pt x="7869" y="11537"/>
                  <a:pt x="7844" y="11431"/>
                  <a:pt x="7844" y="11306"/>
                </a:cubicBezTo>
                <a:cubicBezTo>
                  <a:pt x="7844" y="11031"/>
                  <a:pt x="7918" y="10835"/>
                  <a:pt x="8067" y="10718"/>
                </a:cubicBezTo>
                <a:cubicBezTo>
                  <a:pt x="8214" y="10601"/>
                  <a:pt x="8360" y="10543"/>
                  <a:pt x="8631" y="10543"/>
                </a:cubicBezTo>
                <a:cubicBezTo>
                  <a:pt x="8631" y="10543"/>
                  <a:pt x="8631" y="12100"/>
                  <a:pt x="8631" y="12100"/>
                </a:cubicBezTo>
                <a:close/>
                <a:moveTo>
                  <a:pt x="10255" y="12723"/>
                </a:moveTo>
                <a:cubicBezTo>
                  <a:pt x="10089" y="12593"/>
                  <a:pt x="9898" y="12487"/>
                  <a:pt x="9683" y="12404"/>
                </a:cubicBezTo>
                <a:cubicBezTo>
                  <a:pt x="9466" y="12321"/>
                  <a:pt x="9310" y="12248"/>
                  <a:pt x="9084" y="12186"/>
                </a:cubicBezTo>
                <a:lnTo>
                  <a:pt x="9084" y="10543"/>
                </a:lnTo>
                <a:cubicBezTo>
                  <a:pt x="9355" y="10543"/>
                  <a:pt x="9488" y="10613"/>
                  <a:pt x="9611" y="10753"/>
                </a:cubicBezTo>
                <a:cubicBezTo>
                  <a:pt x="9734" y="10893"/>
                  <a:pt x="9800" y="11096"/>
                  <a:pt x="9810" y="11361"/>
                </a:cubicBezTo>
                <a:lnTo>
                  <a:pt x="10669" y="11361"/>
                </a:lnTo>
                <a:cubicBezTo>
                  <a:pt x="10669" y="11106"/>
                  <a:pt x="10625" y="10883"/>
                  <a:pt x="10537" y="10690"/>
                </a:cubicBezTo>
                <a:cubicBezTo>
                  <a:pt x="10450" y="10499"/>
                  <a:pt x="10331" y="10340"/>
                  <a:pt x="10183" y="10216"/>
                </a:cubicBezTo>
                <a:cubicBezTo>
                  <a:pt x="10035" y="10091"/>
                  <a:pt x="9860" y="9998"/>
                  <a:pt x="9659" y="9935"/>
                </a:cubicBezTo>
                <a:cubicBezTo>
                  <a:pt x="9459" y="9873"/>
                  <a:pt x="9310" y="9842"/>
                  <a:pt x="9084" y="9842"/>
                </a:cubicBezTo>
                <a:lnTo>
                  <a:pt x="9084" y="9331"/>
                </a:lnTo>
                <a:lnTo>
                  <a:pt x="8631" y="9331"/>
                </a:lnTo>
                <a:lnTo>
                  <a:pt x="8631" y="9842"/>
                </a:lnTo>
                <a:cubicBezTo>
                  <a:pt x="8405" y="9842"/>
                  <a:pt x="8253" y="9876"/>
                  <a:pt x="8048" y="9943"/>
                </a:cubicBezTo>
                <a:cubicBezTo>
                  <a:pt x="7842" y="10011"/>
                  <a:pt x="7660" y="10108"/>
                  <a:pt x="7501" y="10235"/>
                </a:cubicBezTo>
                <a:cubicBezTo>
                  <a:pt x="7343" y="10363"/>
                  <a:pt x="7218" y="10521"/>
                  <a:pt x="7125" y="10710"/>
                </a:cubicBezTo>
                <a:cubicBezTo>
                  <a:pt x="7032" y="10899"/>
                  <a:pt x="6985" y="11119"/>
                  <a:pt x="6985" y="11368"/>
                </a:cubicBezTo>
                <a:cubicBezTo>
                  <a:pt x="6985" y="11654"/>
                  <a:pt x="7035" y="11892"/>
                  <a:pt x="7136" y="12085"/>
                </a:cubicBezTo>
                <a:cubicBezTo>
                  <a:pt x="7237" y="12277"/>
                  <a:pt x="7368" y="12436"/>
                  <a:pt x="7531" y="12563"/>
                </a:cubicBezTo>
                <a:cubicBezTo>
                  <a:pt x="7694" y="12691"/>
                  <a:pt x="7878" y="12794"/>
                  <a:pt x="8081" y="12875"/>
                </a:cubicBezTo>
                <a:cubicBezTo>
                  <a:pt x="8285" y="12956"/>
                  <a:pt x="8426" y="13024"/>
                  <a:pt x="8631" y="13081"/>
                </a:cubicBezTo>
                <a:lnTo>
                  <a:pt x="8631" y="14965"/>
                </a:lnTo>
                <a:cubicBezTo>
                  <a:pt x="8285" y="14955"/>
                  <a:pt x="8100" y="14852"/>
                  <a:pt x="7950" y="14654"/>
                </a:cubicBezTo>
                <a:cubicBezTo>
                  <a:pt x="7799" y="14457"/>
                  <a:pt x="7726" y="14187"/>
                  <a:pt x="7731" y="13844"/>
                </a:cubicBezTo>
                <a:lnTo>
                  <a:pt x="6872" y="13844"/>
                </a:lnTo>
                <a:cubicBezTo>
                  <a:pt x="6867" y="14135"/>
                  <a:pt x="6908" y="14392"/>
                  <a:pt x="6996" y="14615"/>
                </a:cubicBezTo>
                <a:cubicBezTo>
                  <a:pt x="7085" y="14839"/>
                  <a:pt x="7209" y="15027"/>
                  <a:pt x="7369" y="15180"/>
                </a:cubicBezTo>
                <a:cubicBezTo>
                  <a:pt x="7530" y="15333"/>
                  <a:pt x="7723" y="15451"/>
                  <a:pt x="7950" y="15534"/>
                </a:cubicBezTo>
                <a:cubicBezTo>
                  <a:pt x="8176" y="15617"/>
                  <a:pt x="8360" y="15661"/>
                  <a:pt x="8631" y="15667"/>
                </a:cubicBezTo>
                <a:lnTo>
                  <a:pt x="8631" y="16199"/>
                </a:lnTo>
                <a:lnTo>
                  <a:pt x="9084" y="16199"/>
                </a:lnTo>
                <a:lnTo>
                  <a:pt x="9084" y="15667"/>
                </a:lnTo>
                <a:cubicBezTo>
                  <a:pt x="9335" y="15656"/>
                  <a:pt x="9504" y="15613"/>
                  <a:pt x="9720" y="15538"/>
                </a:cubicBezTo>
                <a:cubicBezTo>
                  <a:pt x="9936" y="15463"/>
                  <a:pt x="10124" y="15354"/>
                  <a:pt x="10285" y="15211"/>
                </a:cubicBezTo>
                <a:cubicBezTo>
                  <a:pt x="10445" y="15068"/>
                  <a:pt x="10573" y="14889"/>
                  <a:pt x="10666" y="14673"/>
                </a:cubicBezTo>
                <a:cubicBezTo>
                  <a:pt x="10758" y="14459"/>
                  <a:pt x="10805" y="14205"/>
                  <a:pt x="10805" y="13914"/>
                </a:cubicBezTo>
                <a:cubicBezTo>
                  <a:pt x="10805" y="13634"/>
                  <a:pt x="10755" y="13398"/>
                  <a:pt x="10654" y="13206"/>
                </a:cubicBezTo>
                <a:cubicBezTo>
                  <a:pt x="10554" y="13014"/>
                  <a:pt x="10421" y="12853"/>
                  <a:pt x="10255" y="12723"/>
                </a:cubicBezTo>
                <a:moveTo>
                  <a:pt x="12764" y="0"/>
                </a:moveTo>
                <a:cubicBezTo>
                  <a:pt x="9919" y="0"/>
                  <a:pt x="7396" y="1350"/>
                  <a:pt x="5779" y="3437"/>
                </a:cubicBezTo>
                <a:cubicBezTo>
                  <a:pt x="6324" y="3259"/>
                  <a:pt x="6890" y="3132"/>
                  <a:pt x="7472" y="3051"/>
                </a:cubicBezTo>
                <a:cubicBezTo>
                  <a:pt x="8868" y="1774"/>
                  <a:pt x="10722" y="987"/>
                  <a:pt x="12764" y="987"/>
                </a:cubicBezTo>
                <a:cubicBezTo>
                  <a:pt x="17099" y="987"/>
                  <a:pt x="20613" y="4502"/>
                  <a:pt x="20613" y="8836"/>
                </a:cubicBezTo>
                <a:cubicBezTo>
                  <a:pt x="20613"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8836" y="20613"/>
                </a:moveTo>
                <a:cubicBezTo>
                  <a:pt x="4501" y="20613"/>
                  <a:pt x="987" y="17098"/>
                  <a:pt x="987" y="12764"/>
                </a:cubicBezTo>
                <a:cubicBezTo>
                  <a:pt x="987" y="8429"/>
                  <a:pt x="4501" y="4915"/>
                  <a:pt x="8836" y="4915"/>
                </a:cubicBezTo>
                <a:cubicBezTo>
                  <a:pt x="13172" y="4915"/>
                  <a:pt x="16685" y="8429"/>
                  <a:pt x="16685" y="12764"/>
                </a:cubicBezTo>
                <a:cubicBezTo>
                  <a:pt x="16685" y="17098"/>
                  <a:pt x="13172" y="20613"/>
                  <a:pt x="8836" y="20613"/>
                </a:cubicBezTo>
                <a:moveTo>
                  <a:pt x="8836" y="3927"/>
                </a:moveTo>
                <a:cubicBezTo>
                  <a:pt x="3956" y="3927"/>
                  <a:pt x="0" y="7884"/>
                  <a:pt x="0" y="12764"/>
                </a:cubicBezTo>
                <a:cubicBezTo>
                  <a:pt x="0" y="17644"/>
                  <a:pt x="3956" y="21600"/>
                  <a:pt x="8836" y="21600"/>
                </a:cubicBezTo>
                <a:cubicBezTo>
                  <a:pt x="13716" y="21600"/>
                  <a:pt x="17673" y="17644"/>
                  <a:pt x="17673" y="12764"/>
                </a:cubicBezTo>
                <a:cubicBezTo>
                  <a:pt x="17673" y="7884"/>
                  <a:pt x="13716"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4" name="Shape 2794"/>
          <p:cNvSpPr/>
          <p:nvPr/>
        </p:nvSpPr>
        <p:spPr>
          <a:xfrm>
            <a:off x="2260427"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535" y="7724"/>
                </a:moveTo>
                <a:cubicBezTo>
                  <a:pt x="12082" y="7724"/>
                  <a:pt x="12586" y="7961"/>
                  <a:pt x="13047" y="8436"/>
                </a:cubicBezTo>
                <a:lnTo>
                  <a:pt x="13544" y="7424"/>
                </a:lnTo>
                <a:cubicBezTo>
                  <a:pt x="12888" y="6964"/>
                  <a:pt x="12248" y="6734"/>
                  <a:pt x="11621" y="6734"/>
                </a:cubicBezTo>
                <a:cubicBezTo>
                  <a:pt x="10757" y="6734"/>
                  <a:pt x="10048" y="7019"/>
                  <a:pt x="9494" y="7590"/>
                </a:cubicBezTo>
                <a:cubicBezTo>
                  <a:pt x="9019" y="8087"/>
                  <a:pt x="8691" y="8762"/>
                  <a:pt x="8510" y="9615"/>
                </a:cubicBezTo>
                <a:lnTo>
                  <a:pt x="7938" y="9615"/>
                </a:lnTo>
                <a:lnTo>
                  <a:pt x="7658" y="10327"/>
                </a:lnTo>
                <a:lnTo>
                  <a:pt x="8435" y="10327"/>
                </a:lnTo>
                <a:cubicBezTo>
                  <a:pt x="8428" y="10409"/>
                  <a:pt x="8423" y="10483"/>
                  <a:pt x="8419" y="10549"/>
                </a:cubicBezTo>
                <a:cubicBezTo>
                  <a:pt x="8415" y="10616"/>
                  <a:pt x="8414" y="10675"/>
                  <a:pt x="8414" y="10727"/>
                </a:cubicBezTo>
                <a:cubicBezTo>
                  <a:pt x="8414" y="10794"/>
                  <a:pt x="8415" y="10857"/>
                  <a:pt x="8419" y="10916"/>
                </a:cubicBezTo>
                <a:cubicBezTo>
                  <a:pt x="8423" y="10976"/>
                  <a:pt x="8428" y="11032"/>
                  <a:pt x="8435" y="11083"/>
                </a:cubicBezTo>
                <a:lnTo>
                  <a:pt x="7949" y="11083"/>
                </a:lnTo>
                <a:lnTo>
                  <a:pt x="7658" y="11784"/>
                </a:lnTo>
                <a:lnTo>
                  <a:pt x="8489" y="11784"/>
                </a:lnTo>
                <a:cubicBezTo>
                  <a:pt x="8604" y="12674"/>
                  <a:pt x="8896" y="13382"/>
                  <a:pt x="9364" y="13908"/>
                </a:cubicBezTo>
                <a:cubicBezTo>
                  <a:pt x="9904" y="14517"/>
                  <a:pt x="10656" y="14821"/>
                  <a:pt x="11621" y="14821"/>
                </a:cubicBezTo>
                <a:cubicBezTo>
                  <a:pt x="12219" y="14821"/>
                  <a:pt x="12762" y="14658"/>
                  <a:pt x="13252" y="14331"/>
                </a:cubicBezTo>
                <a:lnTo>
                  <a:pt x="13252" y="13097"/>
                </a:lnTo>
                <a:cubicBezTo>
                  <a:pt x="12978" y="13356"/>
                  <a:pt x="12733" y="13542"/>
                  <a:pt x="12517" y="13653"/>
                </a:cubicBezTo>
                <a:cubicBezTo>
                  <a:pt x="12280" y="13772"/>
                  <a:pt x="11981" y="13831"/>
                  <a:pt x="11621" y="13831"/>
                </a:cubicBezTo>
                <a:cubicBezTo>
                  <a:pt x="11067" y="13831"/>
                  <a:pt x="10627" y="13620"/>
                  <a:pt x="10304" y="13197"/>
                </a:cubicBezTo>
                <a:cubicBezTo>
                  <a:pt x="10023" y="12855"/>
                  <a:pt x="9839" y="12385"/>
                  <a:pt x="9753" y="11784"/>
                </a:cubicBezTo>
                <a:lnTo>
                  <a:pt x="11924" y="11784"/>
                </a:lnTo>
                <a:lnTo>
                  <a:pt x="12193" y="11083"/>
                </a:lnTo>
                <a:lnTo>
                  <a:pt x="9699" y="11083"/>
                </a:lnTo>
                <a:cubicBezTo>
                  <a:pt x="9692" y="11046"/>
                  <a:pt x="9688" y="10932"/>
                  <a:pt x="9688" y="10739"/>
                </a:cubicBezTo>
                <a:lnTo>
                  <a:pt x="9688" y="10483"/>
                </a:lnTo>
                <a:cubicBezTo>
                  <a:pt x="9688" y="10416"/>
                  <a:pt x="9692" y="10364"/>
                  <a:pt x="9699" y="10327"/>
                </a:cubicBezTo>
                <a:lnTo>
                  <a:pt x="12344" y="10327"/>
                </a:lnTo>
                <a:lnTo>
                  <a:pt x="12626" y="9615"/>
                </a:lnTo>
                <a:lnTo>
                  <a:pt x="9775" y="9615"/>
                </a:lnTo>
                <a:cubicBezTo>
                  <a:pt x="9868" y="9096"/>
                  <a:pt x="10051" y="8662"/>
                  <a:pt x="10325" y="8314"/>
                </a:cubicBezTo>
                <a:cubicBezTo>
                  <a:pt x="10649" y="7920"/>
                  <a:pt x="11052" y="7724"/>
                  <a:pt x="11535" y="772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5" name="Shape 2795"/>
          <p:cNvSpPr/>
          <p:nvPr/>
        </p:nvSpPr>
        <p:spPr>
          <a:xfrm>
            <a:off x="2660374"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5" y="1349"/>
                  <a:pt x="5780" y="3437"/>
                </a:cubicBezTo>
                <a:cubicBezTo>
                  <a:pt x="6324" y="3259"/>
                  <a:pt x="6890" y="3132"/>
                  <a:pt x="7472" y="3051"/>
                </a:cubicBezTo>
                <a:cubicBezTo>
                  <a:pt x="8868" y="1774"/>
                  <a:pt x="10722" y="987"/>
                  <a:pt x="12764" y="987"/>
                </a:cubicBezTo>
                <a:cubicBezTo>
                  <a:pt x="17098" y="987"/>
                  <a:pt x="20612" y="4502"/>
                  <a:pt x="20612" y="8836"/>
                </a:cubicBezTo>
                <a:cubicBezTo>
                  <a:pt x="20612" y="10878"/>
                  <a:pt x="19827" y="12732"/>
                  <a:pt x="18549" y="14128"/>
                </a:cubicBezTo>
                <a:cubicBezTo>
                  <a:pt x="18468" y="14710"/>
                  <a:pt x="18341" y="15276"/>
                  <a:pt x="18163" y="15821"/>
                </a:cubicBezTo>
                <a:cubicBezTo>
                  <a:pt x="20250" y="14204"/>
                  <a:pt x="21600" y="11681"/>
                  <a:pt x="21600" y="8836"/>
                </a:cubicBezTo>
                <a:cubicBezTo>
                  <a:pt x="21600" y="3956"/>
                  <a:pt x="17644" y="0"/>
                  <a:pt x="12764" y="0"/>
                </a:cubicBezTo>
                <a:moveTo>
                  <a:pt x="9292" y="10539"/>
                </a:moveTo>
                <a:cubicBezTo>
                  <a:pt x="9702" y="10539"/>
                  <a:pt x="10080" y="10712"/>
                  <a:pt x="10426" y="11057"/>
                </a:cubicBezTo>
                <a:lnTo>
                  <a:pt x="10798" y="10320"/>
                </a:lnTo>
                <a:cubicBezTo>
                  <a:pt x="10307" y="9985"/>
                  <a:pt x="9826" y="9817"/>
                  <a:pt x="9356" y="9817"/>
                </a:cubicBezTo>
                <a:cubicBezTo>
                  <a:pt x="8708" y="9817"/>
                  <a:pt x="8176" y="10026"/>
                  <a:pt x="7761" y="10441"/>
                </a:cubicBezTo>
                <a:cubicBezTo>
                  <a:pt x="7404" y="10804"/>
                  <a:pt x="7158" y="11296"/>
                  <a:pt x="7023" y="11917"/>
                </a:cubicBezTo>
                <a:lnTo>
                  <a:pt x="6594" y="11917"/>
                </a:lnTo>
                <a:lnTo>
                  <a:pt x="6384" y="12435"/>
                </a:lnTo>
                <a:lnTo>
                  <a:pt x="6967" y="12435"/>
                </a:lnTo>
                <a:cubicBezTo>
                  <a:pt x="6961" y="12495"/>
                  <a:pt x="6957" y="12549"/>
                  <a:pt x="6955" y="12598"/>
                </a:cubicBezTo>
                <a:cubicBezTo>
                  <a:pt x="6952" y="12646"/>
                  <a:pt x="6950" y="12690"/>
                  <a:pt x="6950" y="12727"/>
                </a:cubicBezTo>
                <a:cubicBezTo>
                  <a:pt x="6950" y="12776"/>
                  <a:pt x="6952" y="12822"/>
                  <a:pt x="6955" y="12865"/>
                </a:cubicBezTo>
                <a:cubicBezTo>
                  <a:pt x="6957" y="12908"/>
                  <a:pt x="6961" y="12949"/>
                  <a:pt x="6967" y="12987"/>
                </a:cubicBezTo>
                <a:lnTo>
                  <a:pt x="6602" y="12987"/>
                </a:lnTo>
                <a:lnTo>
                  <a:pt x="6384" y="13497"/>
                </a:lnTo>
                <a:lnTo>
                  <a:pt x="7007" y="13497"/>
                </a:lnTo>
                <a:cubicBezTo>
                  <a:pt x="7093" y="14146"/>
                  <a:pt x="7313" y="14662"/>
                  <a:pt x="7663" y="15045"/>
                </a:cubicBezTo>
                <a:cubicBezTo>
                  <a:pt x="8068" y="15489"/>
                  <a:pt x="8633" y="15710"/>
                  <a:pt x="9356" y="15710"/>
                </a:cubicBezTo>
                <a:cubicBezTo>
                  <a:pt x="9805" y="15710"/>
                  <a:pt x="10212" y="15591"/>
                  <a:pt x="10579" y="15354"/>
                </a:cubicBezTo>
                <a:lnTo>
                  <a:pt x="10579" y="14454"/>
                </a:lnTo>
                <a:cubicBezTo>
                  <a:pt x="10374" y="14643"/>
                  <a:pt x="10191" y="14778"/>
                  <a:pt x="10029" y="14859"/>
                </a:cubicBezTo>
                <a:cubicBezTo>
                  <a:pt x="9850" y="14945"/>
                  <a:pt x="9626" y="14989"/>
                  <a:pt x="9356" y="14989"/>
                </a:cubicBezTo>
                <a:cubicBezTo>
                  <a:pt x="8940" y="14989"/>
                  <a:pt x="8611" y="14834"/>
                  <a:pt x="8368" y="14527"/>
                </a:cubicBezTo>
                <a:cubicBezTo>
                  <a:pt x="8158" y="14279"/>
                  <a:pt x="8020" y="13935"/>
                  <a:pt x="7955" y="13497"/>
                </a:cubicBezTo>
                <a:lnTo>
                  <a:pt x="9583" y="13497"/>
                </a:lnTo>
                <a:lnTo>
                  <a:pt x="9786" y="12987"/>
                </a:lnTo>
                <a:lnTo>
                  <a:pt x="7914" y="12987"/>
                </a:lnTo>
                <a:cubicBezTo>
                  <a:pt x="7909" y="12960"/>
                  <a:pt x="7906" y="12876"/>
                  <a:pt x="7906" y="12735"/>
                </a:cubicBezTo>
                <a:lnTo>
                  <a:pt x="7906" y="12549"/>
                </a:lnTo>
                <a:cubicBezTo>
                  <a:pt x="7906" y="12500"/>
                  <a:pt x="7909" y="12462"/>
                  <a:pt x="7914" y="12435"/>
                </a:cubicBezTo>
                <a:lnTo>
                  <a:pt x="9899" y="12435"/>
                </a:lnTo>
                <a:lnTo>
                  <a:pt x="10110" y="11917"/>
                </a:lnTo>
                <a:lnTo>
                  <a:pt x="7972" y="11917"/>
                </a:lnTo>
                <a:cubicBezTo>
                  <a:pt x="8042" y="11539"/>
                  <a:pt x="8179" y="11222"/>
                  <a:pt x="8384" y="10968"/>
                </a:cubicBezTo>
                <a:cubicBezTo>
                  <a:pt x="8627" y="10682"/>
                  <a:pt x="8929" y="10539"/>
                  <a:pt x="9292" y="1053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6" name="Shape 2796"/>
          <p:cNvSpPr/>
          <p:nvPr/>
        </p:nvSpPr>
        <p:spPr>
          <a:xfrm>
            <a:off x="3060320"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660" y="9921"/>
                </a:moveTo>
                <a:cubicBezTo>
                  <a:pt x="12438" y="10786"/>
                  <a:pt x="11065" y="10346"/>
                  <a:pt x="10620" y="10238"/>
                </a:cubicBezTo>
                <a:lnTo>
                  <a:pt x="11011" y="8710"/>
                </a:lnTo>
                <a:cubicBezTo>
                  <a:pt x="11457" y="8818"/>
                  <a:pt x="12891" y="9019"/>
                  <a:pt x="12660" y="9921"/>
                </a:cubicBezTo>
                <a:moveTo>
                  <a:pt x="12416" y="12387"/>
                </a:moveTo>
                <a:cubicBezTo>
                  <a:pt x="12172" y="13338"/>
                  <a:pt x="10523" y="12824"/>
                  <a:pt x="9988" y="12695"/>
                </a:cubicBezTo>
                <a:lnTo>
                  <a:pt x="10421" y="11009"/>
                </a:lnTo>
                <a:cubicBezTo>
                  <a:pt x="10956" y="11139"/>
                  <a:pt x="12671" y="11395"/>
                  <a:pt x="12416" y="12387"/>
                </a:cubicBezTo>
                <a:moveTo>
                  <a:pt x="12637" y="8174"/>
                </a:moveTo>
                <a:lnTo>
                  <a:pt x="12960" y="6916"/>
                </a:lnTo>
                <a:lnTo>
                  <a:pt x="12171" y="6726"/>
                </a:lnTo>
                <a:lnTo>
                  <a:pt x="11857" y="7950"/>
                </a:lnTo>
                <a:cubicBezTo>
                  <a:pt x="11649" y="7900"/>
                  <a:pt x="11436" y="7853"/>
                  <a:pt x="11224" y="7806"/>
                </a:cubicBezTo>
                <a:lnTo>
                  <a:pt x="11541" y="6573"/>
                </a:lnTo>
                <a:lnTo>
                  <a:pt x="10753" y="6382"/>
                </a:lnTo>
                <a:lnTo>
                  <a:pt x="10429" y="7640"/>
                </a:lnTo>
                <a:cubicBezTo>
                  <a:pt x="10258" y="7602"/>
                  <a:pt x="10090" y="7565"/>
                  <a:pt x="9926" y="7525"/>
                </a:cubicBezTo>
                <a:lnTo>
                  <a:pt x="9927" y="7521"/>
                </a:lnTo>
                <a:lnTo>
                  <a:pt x="8839" y="7257"/>
                </a:lnTo>
                <a:lnTo>
                  <a:pt x="8629" y="8075"/>
                </a:lnTo>
                <a:cubicBezTo>
                  <a:pt x="8629" y="8075"/>
                  <a:pt x="9214" y="8205"/>
                  <a:pt x="9202" y="8214"/>
                </a:cubicBezTo>
                <a:cubicBezTo>
                  <a:pt x="9521" y="8291"/>
                  <a:pt x="9579" y="8496"/>
                  <a:pt x="9569" y="8658"/>
                </a:cubicBezTo>
                <a:lnTo>
                  <a:pt x="9202" y="10091"/>
                </a:lnTo>
                <a:cubicBezTo>
                  <a:pt x="9224" y="10097"/>
                  <a:pt x="9252" y="10104"/>
                  <a:pt x="9283" y="10116"/>
                </a:cubicBezTo>
                <a:cubicBezTo>
                  <a:pt x="9257" y="10110"/>
                  <a:pt x="9229" y="10103"/>
                  <a:pt x="9200" y="10097"/>
                </a:cubicBezTo>
                <a:lnTo>
                  <a:pt x="8684" y="12103"/>
                </a:lnTo>
                <a:cubicBezTo>
                  <a:pt x="8646" y="12198"/>
                  <a:pt x="8546" y="12339"/>
                  <a:pt x="8323" y="12285"/>
                </a:cubicBezTo>
                <a:cubicBezTo>
                  <a:pt x="8331" y="12297"/>
                  <a:pt x="7749" y="12147"/>
                  <a:pt x="7749" y="12147"/>
                </a:cubicBezTo>
                <a:lnTo>
                  <a:pt x="7358" y="13023"/>
                </a:lnTo>
                <a:lnTo>
                  <a:pt x="8384" y="13271"/>
                </a:lnTo>
                <a:cubicBezTo>
                  <a:pt x="8575" y="13317"/>
                  <a:pt x="8762" y="13366"/>
                  <a:pt x="8946" y="13412"/>
                </a:cubicBezTo>
                <a:lnTo>
                  <a:pt x="8621" y="14684"/>
                </a:lnTo>
                <a:lnTo>
                  <a:pt x="9408" y="14875"/>
                </a:lnTo>
                <a:lnTo>
                  <a:pt x="9731" y="13616"/>
                </a:lnTo>
                <a:cubicBezTo>
                  <a:pt x="9947" y="13673"/>
                  <a:pt x="10156" y="13725"/>
                  <a:pt x="10360" y="13775"/>
                </a:cubicBezTo>
                <a:lnTo>
                  <a:pt x="10038" y="15027"/>
                </a:lnTo>
                <a:lnTo>
                  <a:pt x="10827" y="15218"/>
                </a:lnTo>
                <a:lnTo>
                  <a:pt x="11153" y="13948"/>
                </a:lnTo>
                <a:cubicBezTo>
                  <a:pt x="12499" y="14195"/>
                  <a:pt x="13510" y="14095"/>
                  <a:pt x="13935" y="12915"/>
                </a:cubicBezTo>
                <a:cubicBezTo>
                  <a:pt x="14279" y="11964"/>
                  <a:pt x="13918" y="11416"/>
                  <a:pt x="13210" y="11058"/>
                </a:cubicBezTo>
                <a:cubicBezTo>
                  <a:pt x="13726" y="10943"/>
                  <a:pt x="14115" y="10614"/>
                  <a:pt x="14218" y="9934"/>
                </a:cubicBezTo>
                <a:cubicBezTo>
                  <a:pt x="14361" y="9006"/>
                  <a:pt x="13633" y="8507"/>
                  <a:pt x="12637" y="8174"/>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7" name="Shape 2797"/>
          <p:cNvSpPr/>
          <p:nvPr/>
        </p:nvSpPr>
        <p:spPr>
          <a:xfrm>
            <a:off x="3460265"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052" y="12079"/>
                </a:moveTo>
                <a:cubicBezTo>
                  <a:pt x="9878" y="12752"/>
                  <a:pt x="8799" y="12411"/>
                  <a:pt x="8449" y="12327"/>
                </a:cubicBezTo>
                <a:lnTo>
                  <a:pt x="8758" y="11138"/>
                </a:lnTo>
                <a:cubicBezTo>
                  <a:pt x="9107" y="11222"/>
                  <a:pt x="10234" y="11378"/>
                  <a:pt x="10052" y="12079"/>
                </a:cubicBezTo>
                <a:moveTo>
                  <a:pt x="9860" y="13998"/>
                </a:moveTo>
                <a:cubicBezTo>
                  <a:pt x="9669" y="14737"/>
                  <a:pt x="8373" y="14338"/>
                  <a:pt x="7953" y="14238"/>
                </a:cubicBezTo>
                <a:lnTo>
                  <a:pt x="8293" y="12927"/>
                </a:lnTo>
                <a:cubicBezTo>
                  <a:pt x="8714" y="13027"/>
                  <a:pt x="10060" y="13227"/>
                  <a:pt x="9860" y="13998"/>
                </a:cubicBezTo>
                <a:moveTo>
                  <a:pt x="10034" y="10721"/>
                </a:moveTo>
                <a:lnTo>
                  <a:pt x="10288" y="9743"/>
                </a:lnTo>
                <a:lnTo>
                  <a:pt x="9668" y="9595"/>
                </a:lnTo>
                <a:lnTo>
                  <a:pt x="9421" y="10547"/>
                </a:lnTo>
                <a:cubicBezTo>
                  <a:pt x="9258" y="10508"/>
                  <a:pt x="9090" y="10471"/>
                  <a:pt x="8925" y="10434"/>
                </a:cubicBezTo>
                <a:lnTo>
                  <a:pt x="9173" y="9476"/>
                </a:lnTo>
                <a:lnTo>
                  <a:pt x="8554" y="9328"/>
                </a:lnTo>
                <a:lnTo>
                  <a:pt x="8300" y="10306"/>
                </a:lnTo>
                <a:cubicBezTo>
                  <a:pt x="8165" y="10276"/>
                  <a:pt x="8033" y="10247"/>
                  <a:pt x="7904" y="10216"/>
                </a:cubicBezTo>
                <a:lnTo>
                  <a:pt x="7904" y="10213"/>
                </a:lnTo>
                <a:lnTo>
                  <a:pt x="7050" y="10008"/>
                </a:lnTo>
                <a:lnTo>
                  <a:pt x="6885" y="10644"/>
                </a:lnTo>
                <a:cubicBezTo>
                  <a:pt x="6885" y="10644"/>
                  <a:pt x="7345" y="10745"/>
                  <a:pt x="7335" y="10751"/>
                </a:cubicBezTo>
                <a:cubicBezTo>
                  <a:pt x="7586" y="10812"/>
                  <a:pt x="7632" y="10971"/>
                  <a:pt x="7624" y="11098"/>
                </a:cubicBezTo>
                <a:lnTo>
                  <a:pt x="7335" y="12213"/>
                </a:lnTo>
                <a:cubicBezTo>
                  <a:pt x="7352" y="12216"/>
                  <a:pt x="7375" y="12222"/>
                  <a:pt x="7399" y="12232"/>
                </a:cubicBezTo>
                <a:cubicBezTo>
                  <a:pt x="7379" y="12227"/>
                  <a:pt x="7357" y="12222"/>
                  <a:pt x="7334" y="12216"/>
                </a:cubicBezTo>
                <a:lnTo>
                  <a:pt x="6928" y="13777"/>
                </a:lnTo>
                <a:cubicBezTo>
                  <a:pt x="6898" y="13851"/>
                  <a:pt x="6820" y="13960"/>
                  <a:pt x="6645" y="13919"/>
                </a:cubicBezTo>
                <a:cubicBezTo>
                  <a:pt x="6651" y="13928"/>
                  <a:pt x="6194" y="13811"/>
                  <a:pt x="6194" y="13811"/>
                </a:cubicBezTo>
                <a:lnTo>
                  <a:pt x="5886" y="14492"/>
                </a:lnTo>
                <a:lnTo>
                  <a:pt x="6692" y="14686"/>
                </a:lnTo>
                <a:cubicBezTo>
                  <a:pt x="6843" y="14721"/>
                  <a:pt x="6990" y="14759"/>
                  <a:pt x="7134" y="14795"/>
                </a:cubicBezTo>
                <a:lnTo>
                  <a:pt x="6878" y="15784"/>
                </a:lnTo>
                <a:lnTo>
                  <a:pt x="7497" y="15933"/>
                </a:lnTo>
                <a:lnTo>
                  <a:pt x="7751" y="14954"/>
                </a:lnTo>
                <a:cubicBezTo>
                  <a:pt x="7921" y="14998"/>
                  <a:pt x="8085" y="15039"/>
                  <a:pt x="8245" y="15077"/>
                </a:cubicBezTo>
                <a:lnTo>
                  <a:pt x="7992" y="16051"/>
                </a:lnTo>
                <a:lnTo>
                  <a:pt x="8612" y="16200"/>
                </a:lnTo>
                <a:lnTo>
                  <a:pt x="8868" y="15212"/>
                </a:lnTo>
                <a:cubicBezTo>
                  <a:pt x="9926" y="15404"/>
                  <a:pt x="10720" y="15327"/>
                  <a:pt x="11055" y="14408"/>
                </a:cubicBezTo>
                <a:cubicBezTo>
                  <a:pt x="11324" y="13669"/>
                  <a:pt x="11041" y="13242"/>
                  <a:pt x="10485" y="12965"/>
                </a:cubicBezTo>
                <a:cubicBezTo>
                  <a:pt x="10890" y="12875"/>
                  <a:pt x="11195" y="12619"/>
                  <a:pt x="11277" y="12090"/>
                </a:cubicBezTo>
                <a:cubicBezTo>
                  <a:pt x="11389" y="11368"/>
                  <a:pt x="10816" y="10980"/>
                  <a:pt x="10034" y="10721"/>
                </a:cubicBezTo>
                <a:moveTo>
                  <a:pt x="8836" y="20613"/>
                </a:moveTo>
                <a:cubicBezTo>
                  <a:pt x="4502" y="20613"/>
                  <a:pt x="988" y="17098"/>
                  <a:pt x="988" y="12764"/>
                </a:cubicBezTo>
                <a:cubicBezTo>
                  <a:pt x="988" y="8429"/>
                  <a:pt x="4502" y="4915"/>
                  <a:pt x="8836" y="4915"/>
                </a:cubicBezTo>
                <a:cubicBezTo>
                  <a:pt x="13171" y="4915"/>
                  <a:pt x="16685" y="8429"/>
                  <a:pt x="16685" y="12764"/>
                </a:cubicBezTo>
                <a:cubicBezTo>
                  <a:pt x="16685" y="17098"/>
                  <a:pt x="13171" y="20613"/>
                  <a:pt x="8836" y="20613"/>
                </a:cubicBezTo>
                <a:moveTo>
                  <a:pt x="8836" y="3927"/>
                </a:moveTo>
                <a:cubicBezTo>
                  <a:pt x="3956" y="3927"/>
                  <a:pt x="0" y="7884"/>
                  <a:pt x="0" y="12764"/>
                </a:cubicBezTo>
                <a:cubicBezTo>
                  <a:pt x="0" y="17644"/>
                  <a:pt x="3956" y="21600"/>
                  <a:pt x="8836" y="21600"/>
                </a:cubicBezTo>
                <a:cubicBezTo>
                  <a:pt x="13717" y="21600"/>
                  <a:pt x="17673" y="17644"/>
                  <a:pt x="17673" y="12764"/>
                </a:cubicBezTo>
                <a:cubicBezTo>
                  <a:pt x="17673" y="7884"/>
                  <a:pt x="13717" y="3927"/>
                  <a:pt x="8836" y="3927"/>
                </a:cubicBezTo>
                <a:moveTo>
                  <a:pt x="12764" y="0"/>
                </a:moveTo>
                <a:cubicBezTo>
                  <a:pt x="9919" y="0"/>
                  <a:pt x="7396" y="1350"/>
                  <a:pt x="5780" y="3438"/>
                </a:cubicBezTo>
                <a:cubicBezTo>
                  <a:pt x="6324" y="3259"/>
                  <a:pt x="6890" y="3132"/>
                  <a:pt x="7472" y="3051"/>
                </a:cubicBezTo>
                <a:cubicBezTo>
                  <a:pt x="8868" y="1774"/>
                  <a:pt x="10722" y="987"/>
                  <a:pt x="12764" y="987"/>
                </a:cubicBezTo>
                <a:cubicBezTo>
                  <a:pt x="17098" y="987"/>
                  <a:pt x="20612" y="4501"/>
                  <a:pt x="20612" y="8836"/>
                </a:cubicBezTo>
                <a:cubicBezTo>
                  <a:pt x="20612" y="10878"/>
                  <a:pt x="19827" y="12732"/>
                  <a:pt x="18549" y="14128"/>
                </a:cubicBezTo>
                <a:cubicBezTo>
                  <a:pt x="18468" y="14709"/>
                  <a:pt x="18341" y="15276"/>
                  <a:pt x="18163" y="15821"/>
                </a:cubicBezTo>
                <a:cubicBezTo>
                  <a:pt x="20250" y="14204"/>
                  <a:pt x="21600" y="11681"/>
                  <a:pt x="21600" y="8836"/>
                </a:cubicBezTo>
                <a:cubicBezTo>
                  <a:pt x="21600" y="3956"/>
                  <a:pt x="17644" y="0"/>
                  <a:pt x="12764"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8" name="Shape 2798"/>
          <p:cNvSpPr/>
          <p:nvPr/>
        </p:nvSpPr>
        <p:spPr>
          <a:xfrm>
            <a:off x="3860211" y="1117519"/>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1502" y="11838"/>
                </a:moveTo>
                <a:cubicBezTo>
                  <a:pt x="11425" y="11731"/>
                  <a:pt x="11338" y="11646"/>
                  <a:pt x="11242" y="11581"/>
                </a:cubicBezTo>
                <a:cubicBezTo>
                  <a:pt x="11144" y="11515"/>
                  <a:pt x="11102" y="11458"/>
                  <a:pt x="11001" y="11410"/>
                </a:cubicBezTo>
                <a:lnTo>
                  <a:pt x="11001" y="14261"/>
                </a:lnTo>
                <a:cubicBezTo>
                  <a:pt x="11238" y="14227"/>
                  <a:pt x="11377" y="14100"/>
                  <a:pt x="11528" y="13875"/>
                </a:cubicBezTo>
                <a:cubicBezTo>
                  <a:pt x="11680" y="13651"/>
                  <a:pt x="11756" y="13293"/>
                  <a:pt x="11756" y="12804"/>
                </a:cubicBezTo>
                <a:cubicBezTo>
                  <a:pt x="11756" y="12576"/>
                  <a:pt x="11733" y="12384"/>
                  <a:pt x="11686" y="12229"/>
                </a:cubicBezTo>
                <a:cubicBezTo>
                  <a:pt x="11640" y="12074"/>
                  <a:pt x="11579" y="11944"/>
                  <a:pt x="11502" y="11838"/>
                </a:cubicBezTo>
                <a:moveTo>
                  <a:pt x="17182" y="16200"/>
                </a:moveTo>
                <a:lnTo>
                  <a:pt x="16200" y="16200"/>
                </a:lnTo>
                <a:cubicBezTo>
                  <a:pt x="15929" y="16200"/>
                  <a:pt x="15709" y="16602"/>
                  <a:pt x="15709" y="17100"/>
                </a:cubicBezTo>
                <a:cubicBezTo>
                  <a:pt x="15709" y="17597"/>
                  <a:pt x="15929" y="18000"/>
                  <a:pt x="16200" y="18000"/>
                </a:cubicBezTo>
                <a:lnTo>
                  <a:pt x="17182" y="18000"/>
                </a:lnTo>
                <a:cubicBezTo>
                  <a:pt x="17453" y="18000"/>
                  <a:pt x="17673" y="17597"/>
                  <a:pt x="17673" y="17100"/>
                </a:cubicBezTo>
                <a:cubicBezTo>
                  <a:pt x="17673" y="16602"/>
                  <a:pt x="17453" y="16200"/>
                  <a:pt x="17182" y="16200"/>
                </a:cubicBezTo>
                <a:moveTo>
                  <a:pt x="9917" y="8509"/>
                </a:moveTo>
                <a:cubicBezTo>
                  <a:pt x="9917" y="8706"/>
                  <a:pt x="9938" y="8872"/>
                  <a:pt x="9982" y="9011"/>
                </a:cubicBezTo>
                <a:cubicBezTo>
                  <a:pt x="10026" y="9150"/>
                  <a:pt x="10082" y="9268"/>
                  <a:pt x="10150" y="9366"/>
                </a:cubicBezTo>
                <a:cubicBezTo>
                  <a:pt x="10219" y="9464"/>
                  <a:pt x="10298" y="9544"/>
                  <a:pt x="10388" y="9605"/>
                </a:cubicBezTo>
                <a:cubicBezTo>
                  <a:pt x="10478" y="9665"/>
                  <a:pt x="10513" y="9717"/>
                  <a:pt x="10605" y="9757"/>
                </a:cubicBezTo>
                <a:lnTo>
                  <a:pt x="10605" y="7311"/>
                </a:lnTo>
                <a:cubicBezTo>
                  <a:pt x="10368" y="7311"/>
                  <a:pt x="10241" y="7402"/>
                  <a:pt x="10111" y="7585"/>
                </a:cubicBezTo>
                <a:cubicBezTo>
                  <a:pt x="9981" y="7769"/>
                  <a:pt x="9917" y="8077"/>
                  <a:pt x="9917" y="8509"/>
                </a:cubicBezTo>
                <a:moveTo>
                  <a:pt x="20127" y="3600"/>
                </a:moveTo>
                <a:cubicBezTo>
                  <a:pt x="19856" y="3600"/>
                  <a:pt x="19636" y="3197"/>
                  <a:pt x="19636" y="2700"/>
                </a:cubicBezTo>
                <a:cubicBezTo>
                  <a:pt x="19636" y="2203"/>
                  <a:pt x="19856" y="1800"/>
                  <a:pt x="20127" y="1800"/>
                </a:cubicBezTo>
                <a:cubicBezTo>
                  <a:pt x="20399" y="1800"/>
                  <a:pt x="20618" y="2203"/>
                  <a:pt x="20618" y="2700"/>
                </a:cubicBezTo>
                <a:cubicBezTo>
                  <a:pt x="20618" y="3197"/>
                  <a:pt x="20399" y="3600"/>
                  <a:pt x="20127" y="3600"/>
                </a:cubicBezTo>
                <a:moveTo>
                  <a:pt x="20618" y="16365"/>
                </a:moveTo>
                <a:cubicBezTo>
                  <a:pt x="20464" y="16265"/>
                  <a:pt x="20300" y="16200"/>
                  <a:pt x="20127" y="16200"/>
                </a:cubicBezTo>
                <a:cubicBezTo>
                  <a:pt x="19314" y="16200"/>
                  <a:pt x="18655" y="17408"/>
                  <a:pt x="18655" y="18900"/>
                </a:cubicBezTo>
                <a:cubicBezTo>
                  <a:pt x="18655" y="19217"/>
                  <a:pt x="18690" y="19517"/>
                  <a:pt x="18745" y="19800"/>
                </a:cubicBezTo>
                <a:lnTo>
                  <a:pt x="2855" y="19800"/>
                </a:lnTo>
                <a:cubicBezTo>
                  <a:pt x="2910" y="19517"/>
                  <a:pt x="2945" y="19217"/>
                  <a:pt x="2945" y="18900"/>
                </a:cubicBezTo>
                <a:cubicBezTo>
                  <a:pt x="2945" y="17408"/>
                  <a:pt x="2286" y="16200"/>
                  <a:pt x="1473" y="16200"/>
                </a:cubicBezTo>
                <a:cubicBezTo>
                  <a:pt x="1300" y="16200"/>
                  <a:pt x="1136" y="16265"/>
                  <a:pt x="982" y="16365"/>
                </a:cubicBezTo>
                <a:lnTo>
                  <a:pt x="982" y="5234"/>
                </a:lnTo>
                <a:cubicBezTo>
                  <a:pt x="1136" y="5335"/>
                  <a:pt x="1300" y="5400"/>
                  <a:pt x="1473" y="5400"/>
                </a:cubicBezTo>
                <a:cubicBezTo>
                  <a:pt x="2286" y="5400"/>
                  <a:pt x="2945" y="4191"/>
                  <a:pt x="2945" y="2700"/>
                </a:cubicBezTo>
                <a:cubicBezTo>
                  <a:pt x="2945" y="2382"/>
                  <a:pt x="2910" y="2083"/>
                  <a:pt x="2855" y="1800"/>
                </a:cubicBezTo>
                <a:lnTo>
                  <a:pt x="18745" y="1800"/>
                </a:lnTo>
                <a:cubicBezTo>
                  <a:pt x="18690" y="2083"/>
                  <a:pt x="18655" y="2382"/>
                  <a:pt x="18655" y="2700"/>
                </a:cubicBezTo>
                <a:cubicBezTo>
                  <a:pt x="18655" y="4191"/>
                  <a:pt x="19314" y="5400"/>
                  <a:pt x="20127" y="5400"/>
                </a:cubicBezTo>
                <a:cubicBezTo>
                  <a:pt x="20300" y="5400"/>
                  <a:pt x="20464" y="5335"/>
                  <a:pt x="20618" y="5234"/>
                </a:cubicBezTo>
                <a:cubicBezTo>
                  <a:pt x="20618" y="5234"/>
                  <a:pt x="20618" y="16365"/>
                  <a:pt x="20618" y="16365"/>
                </a:cubicBezTo>
                <a:close/>
                <a:moveTo>
                  <a:pt x="20127" y="19800"/>
                </a:moveTo>
                <a:cubicBezTo>
                  <a:pt x="19856" y="19800"/>
                  <a:pt x="19636" y="19397"/>
                  <a:pt x="19636" y="18900"/>
                </a:cubicBezTo>
                <a:cubicBezTo>
                  <a:pt x="19636" y="18403"/>
                  <a:pt x="19856" y="18000"/>
                  <a:pt x="20127" y="18000"/>
                </a:cubicBezTo>
                <a:cubicBezTo>
                  <a:pt x="20399" y="18000"/>
                  <a:pt x="20618" y="18403"/>
                  <a:pt x="20618" y="18900"/>
                </a:cubicBezTo>
                <a:cubicBezTo>
                  <a:pt x="20618" y="19397"/>
                  <a:pt x="20399" y="19800"/>
                  <a:pt x="20127" y="19800"/>
                </a:cubicBezTo>
                <a:moveTo>
                  <a:pt x="1473" y="19800"/>
                </a:moveTo>
                <a:cubicBezTo>
                  <a:pt x="1201" y="19800"/>
                  <a:pt x="982" y="19397"/>
                  <a:pt x="982" y="18900"/>
                </a:cubicBezTo>
                <a:cubicBezTo>
                  <a:pt x="982" y="18403"/>
                  <a:pt x="1201" y="18000"/>
                  <a:pt x="1473" y="18000"/>
                </a:cubicBezTo>
                <a:cubicBezTo>
                  <a:pt x="1744" y="18000"/>
                  <a:pt x="1964" y="18403"/>
                  <a:pt x="1964" y="18900"/>
                </a:cubicBezTo>
                <a:cubicBezTo>
                  <a:pt x="1964" y="19397"/>
                  <a:pt x="1744" y="19800"/>
                  <a:pt x="1473" y="19800"/>
                </a:cubicBezTo>
                <a:moveTo>
                  <a:pt x="1473" y="1800"/>
                </a:moveTo>
                <a:cubicBezTo>
                  <a:pt x="1744" y="1800"/>
                  <a:pt x="1964" y="2203"/>
                  <a:pt x="1964" y="2700"/>
                </a:cubicBezTo>
                <a:cubicBezTo>
                  <a:pt x="1964" y="3197"/>
                  <a:pt x="1744" y="3600"/>
                  <a:pt x="1473" y="3600"/>
                </a:cubicBezTo>
                <a:cubicBezTo>
                  <a:pt x="1201" y="3600"/>
                  <a:pt x="982" y="3197"/>
                  <a:pt x="982" y="2700"/>
                </a:cubicBezTo>
                <a:cubicBezTo>
                  <a:pt x="982" y="2203"/>
                  <a:pt x="1201" y="1800"/>
                  <a:pt x="1473" y="1800"/>
                </a:cubicBezTo>
                <a:moveTo>
                  <a:pt x="20618" y="0"/>
                </a:moveTo>
                <a:lnTo>
                  <a:pt x="982" y="0"/>
                </a:lnTo>
                <a:cubicBezTo>
                  <a:pt x="440" y="0"/>
                  <a:pt x="0" y="806"/>
                  <a:pt x="0" y="1800"/>
                </a:cubicBezTo>
                <a:lnTo>
                  <a:pt x="0" y="19800"/>
                </a:lnTo>
                <a:cubicBezTo>
                  <a:pt x="0" y="20794"/>
                  <a:pt x="440" y="21600"/>
                  <a:pt x="982" y="21600"/>
                </a:cubicBezTo>
                <a:lnTo>
                  <a:pt x="20618" y="21600"/>
                </a:lnTo>
                <a:cubicBezTo>
                  <a:pt x="21160" y="21600"/>
                  <a:pt x="21600" y="20794"/>
                  <a:pt x="21600" y="19800"/>
                </a:cubicBezTo>
                <a:lnTo>
                  <a:pt x="21600" y="1800"/>
                </a:lnTo>
                <a:cubicBezTo>
                  <a:pt x="21600" y="806"/>
                  <a:pt x="21160" y="0"/>
                  <a:pt x="20618" y="0"/>
                </a:cubicBezTo>
                <a:moveTo>
                  <a:pt x="12385" y="13801"/>
                </a:moveTo>
                <a:cubicBezTo>
                  <a:pt x="12304" y="14141"/>
                  <a:pt x="12193" y="14422"/>
                  <a:pt x="12052" y="14646"/>
                </a:cubicBezTo>
                <a:cubicBezTo>
                  <a:pt x="11912" y="14871"/>
                  <a:pt x="11747" y="15042"/>
                  <a:pt x="11558" y="15160"/>
                </a:cubicBezTo>
                <a:cubicBezTo>
                  <a:pt x="11369" y="15278"/>
                  <a:pt x="11221" y="15345"/>
                  <a:pt x="11001" y="15362"/>
                </a:cubicBezTo>
                <a:lnTo>
                  <a:pt x="11001" y="16198"/>
                </a:lnTo>
                <a:lnTo>
                  <a:pt x="10605" y="16198"/>
                </a:lnTo>
                <a:lnTo>
                  <a:pt x="10605" y="15362"/>
                </a:lnTo>
                <a:cubicBezTo>
                  <a:pt x="10368" y="15353"/>
                  <a:pt x="10206" y="15284"/>
                  <a:pt x="10009" y="15154"/>
                </a:cubicBezTo>
                <a:cubicBezTo>
                  <a:pt x="9811" y="15023"/>
                  <a:pt x="9642" y="14837"/>
                  <a:pt x="9501" y="14596"/>
                </a:cubicBezTo>
                <a:cubicBezTo>
                  <a:pt x="9361" y="14356"/>
                  <a:pt x="9252" y="14061"/>
                  <a:pt x="9175" y="13710"/>
                </a:cubicBezTo>
                <a:cubicBezTo>
                  <a:pt x="9098" y="13359"/>
                  <a:pt x="9062" y="12956"/>
                  <a:pt x="9066" y="12498"/>
                </a:cubicBezTo>
                <a:lnTo>
                  <a:pt x="9818" y="12498"/>
                </a:lnTo>
                <a:cubicBezTo>
                  <a:pt x="9813" y="13036"/>
                  <a:pt x="9877" y="13461"/>
                  <a:pt x="10009" y="13770"/>
                </a:cubicBezTo>
                <a:cubicBezTo>
                  <a:pt x="10140" y="14081"/>
                  <a:pt x="10302" y="14244"/>
                  <a:pt x="10605" y="14261"/>
                </a:cubicBezTo>
                <a:lnTo>
                  <a:pt x="10605" y="11299"/>
                </a:lnTo>
                <a:cubicBezTo>
                  <a:pt x="10425" y="11209"/>
                  <a:pt x="10302" y="11101"/>
                  <a:pt x="10124" y="10974"/>
                </a:cubicBezTo>
                <a:cubicBezTo>
                  <a:pt x="9946" y="10849"/>
                  <a:pt x="9786" y="10686"/>
                  <a:pt x="9643" y="10485"/>
                </a:cubicBezTo>
                <a:cubicBezTo>
                  <a:pt x="9500" y="10285"/>
                  <a:pt x="9385" y="10035"/>
                  <a:pt x="9297" y="9733"/>
                </a:cubicBezTo>
                <a:cubicBezTo>
                  <a:pt x="9209" y="9431"/>
                  <a:pt x="9165" y="9056"/>
                  <a:pt x="9165" y="8607"/>
                </a:cubicBezTo>
                <a:cubicBezTo>
                  <a:pt x="9165" y="8216"/>
                  <a:pt x="9206" y="7871"/>
                  <a:pt x="9287" y="7574"/>
                </a:cubicBezTo>
                <a:cubicBezTo>
                  <a:pt x="9369" y="7276"/>
                  <a:pt x="9478" y="7026"/>
                  <a:pt x="9617" y="6827"/>
                </a:cubicBezTo>
                <a:cubicBezTo>
                  <a:pt x="9755" y="6627"/>
                  <a:pt x="9914" y="6474"/>
                  <a:pt x="10094" y="6368"/>
                </a:cubicBezTo>
                <a:cubicBezTo>
                  <a:pt x="10275" y="6262"/>
                  <a:pt x="10408" y="6209"/>
                  <a:pt x="10605" y="6209"/>
                </a:cubicBezTo>
                <a:lnTo>
                  <a:pt x="10605" y="5406"/>
                </a:lnTo>
                <a:lnTo>
                  <a:pt x="11001" y="5406"/>
                </a:lnTo>
                <a:lnTo>
                  <a:pt x="11001" y="6209"/>
                </a:lnTo>
                <a:cubicBezTo>
                  <a:pt x="11199" y="6209"/>
                  <a:pt x="11329" y="6257"/>
                  <a:pt x="11505" y="6356"/>
                </a:cubicBezTo>
                <a:cubicBezTo>
                  <a:pt x="11681" y="6454"/>
                  <a:pt x="11834" y="6601"/>
                  <a:pt x="11963" y="6796"/>
                </a:cubicBezTo>
                <a:cubicBezTo>
                  <a:pt x="12093" y="6992"/>
                  <a:pt x="12196" y="7241"/>
                  <a:pt x="12273" y="7543"/>
                </a:cubicBezTo>
                <a:cubicBezTo>
                  <a:pt x="12350" y="7845"/>
                  <a:pt x="12389" y="8195"/>
                  <a:pt x="12389" y="8594"/>
                </a:cubicBezTo>
                <a:lnTo>
                  <a:pt x="11637" y="8594"/>
                </a:lnTo>
                <a:cubicBezTo>
                  <a:pt x="11628" y="8179"/>
                  <a:pt x="11570" y="7860"/>
                  <a:pt x="11463" y="7641"/>
                </a:cubicBezTo>
                <a:cubicBezTo>
                  <a:pt x="11355" y="7420"/>
                  <a:pt x="11238" y="7311"/>
                  <a:pt x="11001" y="7311"/>
                </a:cubicBezTo>
                <a:lnTo>
                  <a:pt x="11001" y="9892"/>
                </a:lnTo>
                <a:cubicBezTo>
                  <a:pt x="11199" y="9990"/>
                  <a:pt x="11336" y="10104"/>
                  <a:pt x="11525" y="10235"/>
                </a:cubicBezTo>
                <a:cubicBezTo>
                  <a:pt x="11714" y="10365"/>
                  <a:pt x="11881" y="10532"/>
                  <a:pt x="12026" y="10736"/>
                </a:cubicBezTo>
                <a:cubicBezTo>
                  <a:pt x="12171" y="10940"/>
                  <a:pt x="12287" y="11193"/>
                  <a:pt x="12375" y="11495"/>
                </a:cubicBezTo>
                <a:cubicBezTo>
                  <a:pt x="12463" y="11797"/>
                  <a:pt x="12507" y="12168"/>
                  <a:pt x="12507" y="12608"/>
                </a:cubicBezTo>
                <a:cubicBezTo>
                  <a:pt x="12507" y="13065"/>
                  <a:pt x="12466" y="13463"/>
                  <a:pt x="12385" y="13801"/>
                </a:cubicBezTo>
                <a:moveTo>
                  <a:pt x="10800" y="3600"/>
                </a:moveTo>
                <a:cubicBezTo>
                  <a:pt x="8631" y="3600"/>
                  <a:pt x="6873" y="6824"/>
                  <a:pt x="6873" y="10800"/>
                </a:cubicBezTo>
                <a:cubicBezTo>
                  <a:pt x="6873" y="14776"/>
                  <a:pt x="8631" y="18000"/>
                  <a:pt x="10800" y="18000"/>
                </a:cubicBezTo>
                <a:cubicBezTo>
                  <a:pt x="12969" y="18000"/>
                  <a:pt x="14727" y="14776"/>
                  <a:pt x="14727" y="10800"/>
                </a:cubicBezTo>
                <a:cubicBezTo>
                  <a:pt x="14727" y="6824"/>
                  <a:pt x="12969" y="3600"/>
                  <a:pt x="10800" y="3600"/>
                </a:cubicBezTo>
                <a:moveTo>
                  <a:pt x="5400" y="3600"/>
                </a:moveTo>
                <a:lnTo>
                  <a:pt x="4418" y="3600"/>
                </a:lnTo>
                <a:cubicBezTo>
                  <a:pt x="4147" y="3600"/>
                  <a:pt x="3927" y="4002"/>
                  <a:pt x="3927" y="4500"/>
                </a:cubicBezTo>
                <a:cubicBezTo>
                  <a:pt x="3927" y="4997"/>
                  <a:pt x="4147" y="5400"/>
                  <a:pt x="4418" y="5400"/>
                </a:cubicBezTo>
                <a:lnTo>
                  <a:pt x="5400" y="5400"/>
                </a:lnTo>
                <a:cubicBezTo>
                  <a:pt x="5671" y="5400"/>
                  <a:pt x="5891" y="4997"/>
                  <a:pt x="5891" y="4500"/>
                </a:cubicBezTo>
                <a:cubicBezTo>
                  <a:pt x="5891" y="4002"/>
                  <a:pt x="5671" y="3600"/>
                  <a:pt x="5400" y="36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799" name="Shape 2799"/>
          <p:cNvSpPr/>
          <p:nvPr/>
        </p:nvSpPr>
        <p:spPr>
          <a:xfrm>
            <a:off x="4260157" y="1098475"/>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9916" y="11782"/>
                </a:moveTo>
                <a:cubicBezTo>
                  <a:pt x="9916" y="11929"/>
                  <a:pt x="9939" y="12054"/>
                  <a:pt x="9982" y="12159"/>
                </a:cubicBezTo>
                <a:cubicBezTo>
                  <a:pt x="10026" y="12263"/>
                  <a:pt x="10082" y="12351"/>
                  <a:pt x="10151" y="12425"/>
                </a:cubicBezTo>
                <a:cubicBezTo>
                  <a:pt x="10219" y="12498"/>
                  <a:pt x="10298" y="12557"/>
                  <a:pt x="10388" y="12604"/>
                </a:cubicBezTo>
                <a:cubicBezTo>
                  <a:pt x="10478" y="12650"/>
                  <a:pt x="10513" y="12688"/>
                  <a:pt x="10605" y="12719"/>
                </a:cubicBezTo>
                <a:lnTo>
                  <a:pt x="10605" y="10882"/>
                </a:lnTo>
                <a:cubicBezTo>
                  <a:pt x="10368" y="10882"/>
                  <a:pt x="10241" y="10952"/>
                  <a:pt x="10111" y="11090"/>
                </a:cubicBezTo>
                <a:cubicBezTo>
                  <a:pt x="9981" y="11227"/>
                  <a:pt x="9916" y="11458"/>
                  <a:pt x="9916" y="11782"/>
                </a:cubicBezTo>
                <a:moveTo>
                  <a:pt x="11501" y="14278"/>
                </a:moveTo>
                <a:cubicBezTo>
                  <a:pt x="11425" y="14199"/>
                  <a:pt x="11338" y="14135"/>
                  <a:pt x="11242" y="14086"/>
                </a:cubicBezTo>
                <a:cubicBezTo>
                  <a:pt x="11145" y="14037"/>
                  <a:pt x="11102" y="13994"/>
                  <a:pt x="11001" y="13958"/>
                </a:cubicBezTo>
                <a:lnTo>
                  <a:pt x="11001" y="16096"/>
                </a:lnTo>
                <a:cubicBezTo>
                  <a:pt x="11238" y="16071"/>
                  <a:pt x="11377" y="15975"/>
                  <a:pt x="11528" y="15806"/>
                </a:cubicBezTo>
                <a:cubicBezTo>
                  <a:pt x="11680" y="15638"/>
                  <a:pt x="11756" y="15371"/>
                  <a:pt x="11756" y="15004"/>
                </a:cubicBezTo>
                <a:cubicBezTo>
                  <a:pt x="11756" y="14833"/>
                  <a:pt x="11733" y="14689"/>
                  <a:pt x="11686" y="14572"/>
                </a:cubicBezTo>
                <a:cubicBezTo>
                  <a:pt x="11640" y="14456"/>
                  <a:pt x="11579" y="14358"/>
                  <a:pt x="11501" y="14278"/>
                </a:cubicBezTo>
                <a:moveTo>
                  <a:pt x="12385" y="15751"/>
                </a:moveTo>
                <a:cubicBezTo>
                  <a:pt x="12304" y="16006"/>
                  <a:pt x="12193" y="16216"/>
                  <a:pt x="12052" y="16385"/>
                </a:cubicBezTo>
                <a:cubicBezTo>
                  <a:pt x="11911" y="16553"/>
                  <a:pt x="11747" y="16681"/>
                  <a:pt x="11558" y="16770"/>
                </a:cubicBezTo>
                <a:cubicBezTo>
                  <a:pt x="11369" y="16859"/>
                  <a:pt x="11221" y="16910"/>
                  <a:pt x="11001" y="16922"/>
                </a:cubicBezTo>
                <a:lnTo>
                  <a:pt x="11001" y="17549"/>
                </a:lnTo>
                <a:lnTo>
                  <a:pt x="10605" y="17549"/>
                </a:lnTo>
                <a:lnTo>
                  <a:pt x="10605" y="16922"/>
                </a:lnTo>
                <a:cubicBezTo>
                  <a:pt x="10368" y="16915"/>
                  <a:pt x="10206" y="16863"/>
                  <a:pt x="10009" y="16766"/>
                </a:cubicBezTo>
                <a:cubicBezTo>
                  <a:pt x="9811" y="16667"/>
                  <a:pt x="9642" y="16528"/>
                  <a:pt x="9501" y="16348"/>
                </a:cubicBezTo>
                <a:cubicBezTo>
                  <a:pt x="9361" y="16168"/>
                  <a:pt x="9252" y="15946"/>
                  <a:pt x="9175" y="15683"/>
                </a:cubicBezTo>
                <a:cubicBezTo>
                  <a:pt x="9098" y="15420"/>
                  <a:pt x="9062" y="15117"/>
                  <a:pt x="9066" y="14775"/>
                </a:cubicBezTo>
                <a:lnTo>
                  <a:pt x="9818" y="14775"/>
                </a:lnTo>
                <a:cubicBezTo>
                  <a:pt x="9813" y="15178"/>
                  <a:pt x="9877" y="15496"/>
                  <a:pt x="10009" y="15729"/>
                </a:cubicBezTo>
                <a:cubicBezTo>
                  <a:pt x="10140" y="15961"/>
                  <a:pt x="10302" y="16083"/>
                  <a:pt x="10605" y="16096"/>
                </a:cubicBezTo>
                <a:lnTo>
                  <a:pt x="10605" y="13875"/>
                </a:lnTo>
                <a:cubicBezTo>
                  <a:pt x="10425" y="13807"/>
                  <a:pt x="10302" y="13726"/>
                  <a:pt x="10124" y="13631"/>
                </a:cubicBezTo>
                <a:cubicBezTo>
                  <a:pt x="9946" y="13537"/>
                  <a:pt x="9786" y="13414"/>
                  <a:pt x="9643" y="13264"/>
                </a:cubicBezTo>
                <a:cubicBezTo>
                  <a:pt x="9500" y="13115"/>
                  <a:pt x="9385" y="12927"/>
                  <a:pt x="9297" y="12700"/>
                </a:cubicBezTo>
                <a:cubicBezTo>
                  <a:pt x="9209" y="12474"/>
                  <a:pt x="9165" y="12192"/>
                  <a:pt x="9165" y="11855"/>
                </a:cubicBezTo>
                <a:cubicBezTo>
                  <a:pt x="9165" y="11562"/>
                  <a:pt x="9206" y="11304"/>
                  <a:pt x="9287" y="11080"/>
                </a:cubicBezTo>
                <a:cubicBezTo>
                  <a:pt x="9369" y="10857"/>
                  <a:pt x="9478" y="10670"/>
                  <a:pt x="9617" y="10520"/>
                </a:cubicBezTo>
                <a:cubicBezTo>
                  <a:pt x="9755" y="10370"/>
                  <a:pt x="9914" y="10256"/>
                  <a:pt x="10094" y="10176"/>
                </a:cubicBezTo>
                <a:cubicBezTo>
                  <a:pt x="10274" y="10097"/>
                  <a:pt x="10407" y="10057"/>
                  <a:pt x="10605" y="10057"/>
                </a:cubicBezTo>
                <a:lnTo>
                  <a:pt x="10605" y="9455"/>
                </a:lnTo>
                <a:lnTo>
                  <a:pt x="11001" y="9455"/>
                </a:lnTo>
                <a:lnTo>
                  <a:pt x="11001" y="10057"/>
                </a:lnTo>
                <a:cubicBezTo>
                  <a:pt x="11199" y="10057"/>
                  <a:pt x="11329" y="10093"/>
                  <a:pt x="11505" y="10167"/>
                </a:cubicBezTo>
                <a:cubicBezTo>
                  <a:pt x="11681" y="10240"/>
                  <a:pt x="11834" y="10350"/>
                  <a:pt x="11963" y="10498"/>
                </a:cubicBezTo>
                <a:cubicBezTo>
                  <a:pt x="12093" y="10644"/>
                  <a:pt x="12196" y="10831"/>
                  <a:pt x="12273" y="11057"/>
                </a:cubicBezTo>
                <a:cubicBezTo>
                  <a:pt x="12350" y="11284"/>
                  <a:pt x="12388" y="11547"/>
                  <a:pt x="12388" y="11847"/>
                </a:cubicBezTo>
                <a:lnTo>
                  <a:pt x="11637" y="11847"/>
                </a:lnTo>
                <a:cubicBezTo>
                  <a:pt x="11628" y="11534"/>
                  <a:pt x="11570" y="11296"/>
                  <a:pt x="11463" y="11130"/>
                </a:cubicBezTo>
                <a:cubicBezTo>
                  <a:pt x="11355" y="10965"/>
                  <a:pt x="11238" y="10882"/>
                  <a:pt x="11001" y="10882"/>
                </a:cubicBezTo>
                <a:lnTo>
                  <a:pt x="11001" y="12819"/>
                </a:lnTo>
                <a:cubicBezTo>
                  <a:pt x="11199" y="12894"/>
                  <a:pt x="11336" y="12978"/>
                  <a:pt x="11525" y="13076"/>
                </a:cubicBezTo>
                <a:cubicBezTo>
                  <a:pt x="11714" y="13175"/>
                  <a:pt x="11881" y="13300"/>
                  <a:pt x="12026" y="13453"/>
                </a:cubicBezTo>
                <a:cubicBezTo>
                  <a:pt x="12171" y="13605"/>
                  <a:pt x="12287" y="13795"/>
                  <a:pt x="12375" y="14021"/>
                </a:cubicBezTo>
                <a:cubicBezTo>
                  <a:pt x="12463" y="14248"/>
                  <a:pt x="12507" y="14526"/>
                  <a:pt x="12507" y="14857"/>
                </a:cubicBezTo>
                <a:cubicBezTo>
                  <a:pt x="12507" y="15199"/>
                  <a:pt x="12466" y="15497"/>
                  <a:pt x="12385" y="15751"/>
                </a:cubicBezTo>
                <a:moveTo>
                  <a:pt x="10800" y="8100"/>
                </a:moveTo>
                <a:cubicBezTo>
                  <a:pt x="8631" y="8100"/>
                  <a:pt x="6873" y="10518"/>
                  <a:pt x="6873" y="13500"/>
                </a:cubicBezTo>
                <a:cubicBezTo>
                  <a:pt x="6873" y="16483"/>
                  <a:pt x="8631" y="18900"/>
                  <a:pt x="10800" y="18900"/>
                </a:cubicBezTo>
                <a:cubicBezTo>
                  <a:pt x="12969" y="18900"/>
                  <a:pt x="14727" y="16483"/>
                  <a:pt x="14727" y="13500"/>
                </a:cubicBezTo>
                <a:cubicBezTo>
                  <a:pt x="14727" y="10518"/>
                  <a:pt x="12969" y="8100"/>
                  <a:pt x="10800" y="81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2455" y="4050"/>
                </a:moveTo>
                <a:lnTo>
                  <a:pt x="19145" y="4050"/>
                </a:lnTo>
                <a:cubicBezTo>
                  <a:pt x="19417" y="4050"/>
                  <a:pt x="19636" y="3748"/>
                  <a:pt x="19636" y="3376"/>
                </a:cubicBezTo>
                <a:cubicBezTo>
                  <a:pt x="19636" y="3002"/>
                  <a:pt x="19417" y="2700"/>
                  <a:pt x="19145" y="2700"/>
                </a:cubicBezTo>
                <a:lnTo>
                  <a:pt x="2455" y="2700"/>
                </a:lnTo>
                <a:cubicBezTo>
                  <a:pt x="2183" y="2700"/>
                  <a:pt x="1964" y="3002"/>
                  <a:pt x="1964" y="3376"/>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0" name="Shape 2800"/>
          <p:cNvSpPr/>
          <p:nvPr/>
        </p:nvSpPr>
        <p:spPr>
          <a:xfrm>
            <a:off x="660644"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208" y="15258"/>
                </a:moveTo>
                <a:cubicBezTo>
                  <a:pt x="10138" y="15500"/>
                  <a:pt x="10044" y="15701"/>
                  <a:pt x="9923" y="15861"/>
                </a:cubicBezTo>
                <a:cubicBezTo>
                  <a:pt x="9802" y="16022"/>
                  <a:pt x="9660" y="16144"/>
                  <a:pt x="9499" y="16228"/>
                </a:cubicBezTo>
                <a:cubicBezTo>
                  <a:pt x="9362" y="16300"/>
                  <a:pt x="9243" y="16340"/>
                  <a:pt x="9097" y="16360"/>
                </a:cubicBezTo>
                <a:lnTo>
                  <a:pt x="9097" y="16971"/>
                </a:lnTo>
                <a:lnTo>
                  <a:pt x="8606" y="16971"/>
                </a:lnTo>
                <a:lnTo>
                  <a:pt x="8606" y="16361"/>
                </a:lnTo>
                <a:cubicBezTo>
                  <a:pt x="8446" y="16345"/>
                  <a:pt x="8316" y="16304"/>
                  <a:pt x="8171" y="16224"/>
                </a:cubicBezTo>
                <a:cubicBezTo>
                  <a:pt x="8001" y="16130"/>
                  <a:pt x="7856" y="15998"/>
                  <a:pt x="7736" y="15826"/>
                </a:cubicBezTo>
                <a:cubicBezTo>
                  <a:pt x="7615" y="15655"/>
                  <a:pt x="7522" y="15443"/>
                  <a:pt x="7456" y="15193"/>
                </a:cubicBezTo>
                <a:cubicBezTo>
                  <a:pt x="7390" y="14942"/>
                  <a:pt x="7359" y="14654"/>
                  <a:pt x="7363" y="14327"/>
                </a:cubicBezTo>
                <a:lnTo>
                  <a:pt x="8007" y="14327"/>
                </a:lnTo>
                <a:cubicBezTo>
                  <a:pt x="8003" y="14712"/>
                  <a:pt x="8058" y="15015"/>
                  <a:pt x="8171" y="15236"/>
                </a:cubicBezTo>
                <a:cubicBezTo>
                  <a:pt x="8270" y="15431"/>
                  <a:pt x="8403" y="15530"/>
                  <a:pt x="8606" y="15563"/>
                </a:cubicBezTo>
                <a:lnTo>
                  <a:pt x="8606" y="13432"/>
                </a:lnTo>
                <a:cubicBezTo>
                  <a:pt x="8492" y="13376"/>
                  <a:pt x="8395" y="13313"/>
                  <a:pt x="8270" y="13239"/>
                </a:cubicBezTo>
                <a:cubicBezTo>
                  <a:pt x="8118" y="13149"/>
                  <a:pt x="7980" y="13033"/>
                  <a:pt x="7857" y="12890"/>
                </a:cubicBezTo>
                <a:cubicBezTo>
                  <a:pt x="7735" y="12746"/>
                  <a:pt x="7636" y="12568"/>
                  <a:pt x="7561" y="12352"/>
                </a:cubicBezTo>
                <a:cubicBezTo>
                  <a:pt x="7485" y="12136"/>
                  <a:pt x="7448" y="11868"/>
                  <a:pt x="7448" y="11548"/>
                </a:cubicBezTo>
                <a:cubicBezTo>
                  <a:pt x="7448" y="11268"/>
                  <a:pt x="7483" y="11023"/>
                  <a:pt x="7553" y="10809"/>
                </a:cubicBezTo>
                <a:cubicBezTo>
                  <a:pt x="7622" y="10596"/>
                  <a:pt x="7716" y="10419"/>
                  <a:pt x="7835" y="10276"/>
                </a:cubicBezTo>
                <a:cubicBezTo>
                  <a:pt x="7954" y="10134"/>
                  <a:pt x="8090" y="10024"/>
                  <a:pt x="8244" y="9948"/>
                </a:cubicBezTo>
                <a:cubicBezTo>
                  <a:pt x="8373" y="9885"/>
                  <a:pt x="8479" y="9855"/>
                  <a:pt x="8606" y="9844"/>
                </a:cubicBezTo>
                <a:lnTo>
                  <a:pt x="8606" y="9257"/>
                </a:lnTo>
                <a:lnTo>
                  <a:pt x="9097" y="9257"/>
                </a:lnTo>
                <a:lnTo>
                  <a:pt x="9097" y="9844"/>
                </a:lnTo>
                <a:cubicBezTo>
                  <a:pt x="9224" y="9853"/>
                  <a:pt x="9328" y="9881"/>
                  <a:pt x="9453" y="9939"/>
                </a:cubicBezTo>
                <a:cubicBezTo>
                  <a:pt x="9605" y="10009"/>
                  <a:pt x="9735" y="10114"/>
                  <a:pt x="9847" y="10255"/>
                </a:cubicBezTo>
                <a:cubicBezTo>
                  <a:pt x="9957" y="10394"/>
                  <a:pt x="10046" y="10572"/>
                  <a:pt x="10112" y="10788"/>
                </a:cubicBezTo>
                <a:cubicBezTo>
                  <a:pt x="10178" y="11003"/>
                  <a:pt x="10211" y="11254"/>
                  <a:pt x="10211" y="11540"/>
                </a:cubicBezTo>
                <a:lnTo>
                  <a:pt x="9567" y="11540"/>
                </a:lnTo>
                <a:cubicBezTo>
                  <a:pt x="9559" y="11242"/>
                  <a:pt x="9509" y="11015"/>
                  <a:pt x="9417" y="10857"/>
                </a:cubicBezTo>
                <a:cubicBezTo>
                  <a:pt x="9339" y="10725"/>
                  <a:pt x="9243" y="10661"/>
                  <a:pt x="9097" y="10640"/>
                </a:cubicBezTo>
                <a:lnTo>
                  <a:pt x="9097" y="12504"/>
                </a:lnTo>
                <a:cubicBezTo>
                  <a:pt x="9226" y="12565"/>
                  <a:pt x="9336" y="12633"/>
                  <a:pt x="9471" y="12710"/>
                </a:cubicBezTo>
                <a:cubicBezTo>
                  <a:pt x="9633" y="12804"/>
                  <a:pt x="9776" y="12923"/>
                  <a:pt x="9900" y="13069"/>
                </a:cubicBezTo>
                <a:cubicBezTo>
                  <a:pt x="10024" y="13215"/>
                  <a:pt x="10124" y="13395"/>
                  <a:pt x="10200" y="13610"/>
                </a:cubicBezTo>
                <a:cubicBezTo>
                  <a:pt x="10275" y="13827"/>
                  <a:pt x="10312" y="14091"/>
                  <a:pt x="10312" y="14407"/>
                </a:cubicBezTo>
                <a:cubicBezTo>
                  <a:pt x="10312" y="14732"/>
                  <a:pt x="10278" y="15016"/>
                  <a:pt x="10208" y="15258"/>
                </a:cubicBezTo>
                <a:moveTo>
                  <a:pt x="8836" y="7714"/>
                </a:moveTo>
                <a:cubicBezTo>
                  <a:pt x="6938" y="7714"/>
                  <a:pt x="5400" y="10132"/>
                  <a:pt x="5400" y="13114"/>
                </a:cubicBezTo>
                <a:cubicBezTo>
                  <a:pt x="5400" y="16096"/>
                  <a:pt x="6938" y="18514"/>
                  <a:pt x="8836" y="18514"/>
                </a:cubicBezTo>
                <a:cubicBezTo>
                  <a:pt x="10734" y="18514"/>
                  <a:pt x="12273" y="16096"/>
                  <a:pt x="12273" y="13114"/>
                </a:cubicBezTo>
                <a:cubicBezTo>
                  <a:pt x="12273" y="10132"/>
                  <a:pt x="10734" y="7714"/>
                  <a:pt x="8836" y="7714"/>
                </a:cubicBezTo>
                <a:moveTo>
                  <a:pt x="20618" y="0"/>
                </a:moveTo>
                <a:lnTo>
                  <a:pt x="4909" y="0"/>
                </a:lnTo>
                <a:cubicBezTo>
                  <a:pt x="4367" y="0"/>
                  <a:pt x="3927" y="690"/>
                  <a:pt x="3927" y="1543"/>
                </a:cubicBezTo>
                <a:lnTo>
                  <a:pt x="3927" y="2314"/>
                </a:lnTo>
                <a:cubicBezTo>
                  <a:pt x="3927" y="2740"/>
                  <a:pt x="4147" y="3086"/>
                  <a:pt x="4418" y="3086"/>
                </a:cubicBezTo>
                <a:cubicBezTo>
                  <a:pt x="4689" y="3086"/>
                  <a:pt x="4909" y="2740"/>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0"/>
                  <a:pt x="21600" y="15429"/>
                </a:cubicBezTo>
                <a:lnTo>
                  <a:pt x="21600" y="1543"/>
                </a:lnTo>
                <a:cubicBezTo>
                  <a:pt x="21600" y="690"/>
                  <a:pt x="21160" y="0"/>
                  <a:pt x="20618" y="0"/>
                </a:cubicBezTo>
                <a:moveTo>
                  <a:pt x="9451" y="13856"/>
                </a:moveTo>
                <a:cubicBezTo>
                  <a:pt x="9385" y="13780"/>
                  <a:pt x="9310" y="13718"/>
                  <a:pt x="9228" y="13671"/>
                </a:cubicBezTo>
                <a:cubicBezTo>
                  <a:pt x="9175" y="13642"/>
                  <a:pt x="9137" y="13616"/>
                  <a:pt x="9097" y="13590"/>
                </a:cubicBezTo>
                <a:lnTo>
                  <a:pt x="9097" y="15560"/>
                </a:lnTo>
                <a:cubicBezTo>
                  <a:pt x="9250" y="15523"/>
                  <a:pt x="9363" y="15447"/>
                  <a:pt x="9473" y="15311"/>
                </a:cubicBezTo>
                <a:cubicBezTo>
                  <a:pt x="9604" y="15151"/>
                  <a:pt x="9668" y="14896"/>
                  <a:pt x="9668" y="14545"/>
                </a:cubicBezTo>
                <a:cubicBezTo>
                  <a:pt x="9668" y="14383"/>
                  <a:pt x="9649" y="14246"/>
                  <a:pt x="9609" y="14135"/>
                </a:cubicBezTo>
                <a:cubicBezTo>
                  <a:pt x="9570" y="14024"/>
                  <a:pt x="9517" y="13931"/>
                  <a:pt x="9451" y="13856"/>
                </a:cubicBezTo>
                <a:moveTo>
                  <a:pt x="13255" y="16971"/>
                </a:moveTo>
                <a:cubicBezTo>
                  <a:pt x="12983" y="16971"/>
                  <a:pt x="12764" y="17316"/>
                  <a:pt x="12764" y="17743"/>
                </a:cubicBezTo>
                <a:cubicBezTo>
                  <a:pt x="12764" y="18169"/>
                  <a:pt x="12983" y="18514"/>
                  <a:pt x="13255" y="18514"/>
                </a:cubicBezTo>
                <a:cubicBezTo>
                  <a:pt x="13525" y="18514"/>
                  <a:pt x="13745" y="18169"/>
                  <a:pt x="13745" y="17743"/>
                </a:cubicBezTo>
                <a:cubicBezTo>
                  <a:pt x="13745" y="17316"/>
                  <a:pt x="13525" y="16971"/>
                  <a:pt x="13255" y="16971"/>
                </a:cubicBezTo>
                <a:moveTo>
                  <a:pt x="16200" y="7714"/>
                </a:moveTo>
                <a:cubicBezTo>
                  <a:pt x="15928" y="7714"/>
                  <a:pt x="15709" y="7369"/>
                  <a:pt x="15709" y="6943"/>
                </a:cubicBezTo>
                <a:cubicBezTo>
                  <a:pt x="15709" y="6516"/>
                  <a:pt x="15928" y="6171"/>
                  <a:pt x="16200" y="6171"/>
                </a:cubicBezTo>
                <a:cubicBezTo>
                  <a:pt x="16471" y="6171"/>
                  <a:pt x="16691" y="6516"/>
                  <a:pt x="16691" y="6943"/>
                </a:cubicBezTo>
                <a:cubicBezTo>
                  <a:pt x="16691" y="7369"/>
                  <a:pt x="16471" y="7714"/>
                  <a:pt x="16200" y="7714"/>
                </a:cubicBezTo>
                <a:moveTo>
                  <a:pt x="16691" y="17113"/>
                </a:moveTo>
                <a:cubicBezTo>
                  <a:pt x="16537" y="17027"/>
                  <a:pt x="16373" y="16971"/>
                  <a:pt x="16200" y="16971"/>
                </a:cubicBezTo>
                <a:cubicBezTo>
                  <a:pt x="15386" y="16971"/>
                  <a:pt x="14727" y="18008"/>
                  <a:pt x="14727" y="19286"/>
                </a:cubicBezTo>
                <a:cubicBezTo>
                  <a:pt x="14727" y="19557"/>
                  <a:pt x="14762" y="19814"/>
                  <a:pt x="14817" y="20057"/>
                </a:cubicBezTo>
                <a:lnTo>
                  <a:pt x="2855" y="20057"/>
                </a:lnTo>
                <a:cubicBezTo>
                  <a:pt x="2910" y="19814"/>
                  <a:pt x="2945" y="19557"/>
                  <a:pt x="2945" y="19286"/>
                </a:cubicBezTo>
                <a:cubicBezTo>
                  <a:pt x="2945" y="18008"/>
                  <a:pt x="2286" y="16971"/>
                  <a:pt x="1473" y="16971"/>
                </a:cubicBezTo>
                <a:cubicBezTo>
                  <a:pt x="1299" y="16971"/>
                  <a:pt x="1136" y="17027"/>
                  <a:pt x="982" y="17113"/>
                </a:cubicBezTo>
                <a:lnTo>
                  <a:pt x="982" y="9115"/>
                </a:lnTo>
                <a:cubicBezTo>
                  <a:pt x="1136" y="9202"/>
                  <a:pt x="1299" y="9257"/>
                  <a:pt x="1473" y="9257"/>
                </a:cubicBezTo>
                <a:cubicBezTo>
                  <a:pt x="2286" y="9257"/>
                  <a:pt x="2945" y="8221"/>
                  <a:pt x="2945" y="6943"/>
                </a:cubicBezTo>
                <a:cubicBezTo>
                  <a:pt x="2945" y="6671"/>
                  <a:pt x="2910" y="6414"/>
                  <a:pt x="2855" y="6171"/>
                </a:cubicBezTo>
                <a:lnTo>
                  <a:pt x="14817" y="6171"/>
                </a:lnTo>
                <a:cubicBezTo>
                  <a:pt x="14762" y="6414"/>
                  <a:pt x="14727" y="6671"/>
                  <a:pt x="14727" y="6943"/>
                </a:cubicBezTo>
                <a:cubicBezTo>
                  <a:pt x="14727" y="8221"/>
                  <a:pt x="15386" y="9257"/>
                  <a:pt x="16200" y="9257"/>
                </a:cubicBezTo>
                <a:cubicBezTo>
                  <a:pt x="16373" y="9257"/>
                  <a:pt x="16537" y="9202"/>
                  <a:pt x="16691" y="9115"/>
                </a:cubicBezTo>
                <a:cubicBezTo>
                  <a:pt x="16691" y="9115"/>
                  <a:pt x="16691" y="17113"/>
                  <a:pt x="16691" y="17113"/>
                </a:cubicBezTo>
                <a:close/>
                <a:moveTo>
                  <a:pt x="16200" y="20057"/>
                </a:moveTo>
                <a:cubicBezTo>
                  <a:pt x="15928" y="20057"/>
                  <a:pt x="15709" y="19712"/>
                  <a:pt x="15709" y="19286"/>
                </a:cubicBezTo>
                <a:cubicBezTo>
                  <a:pt x="15709" y="18859"/>
                  <a:pt x="15928" y="18514"/>
                  <a:pt x="16200" y="18514"/>
                </a:cubicBezTo>
                <a:cubicBezTo>
                  <a:pt x="16471" y="18514"/>
                  <a:pt x="16691" y="18859"/>
                  <a:pt x="16691" y="19286"/>
                </a:cubicBezTo>
                <a:cubicBezTo>
                  <a:pt x="16691" y="19712"/>
                  <a:pt x="16471" y="20057"/>
                  <a:pt x="16200" y="20057"/>
                </a:cubicBezTo>
                <a:moveTo>
                  <a:pt x="1473" y="20057"/>
                </a:moveTo>
                <a:cubicBezTo>
                  <a:pt x="1201" y="20057"/>
                  <a:pt x="982" y="19712"/>
                  <a:pt x="982" y="19286"/>
                </a:cubicBezTo>
                <a:cubicBezTo>
                  <a:pt x="982" y="18859"/>
                  <a:pt x="1201" y="18514"/>
                  <a:pt x="1473" y="18514"/>
                </a:cubicBezTo>
                <a:cubicBezTo>
                  <a:pt x="1744" y="18514"/>
                  <a:pt x="1964" y="18859"/>
                  <a:pt x="1964" y="19286"/>
                </a:cubicBezTo>
                <a:cubicBezTo>
                  <a:pt x="1964" y="19712"/>
                  <a:pt x="1744" y="20057"/>
                  <a:pt x="1473" y="20057"/>
                </a:cubicBezTo>
                <a:moveTo>
                  <a:pt x="1473" y="6171"/>
                </a:moveTo>
                <a:cubicBezTo>
                  <a:pt x="1744" y="6171"/>
                  <a:pt x="1964" y="6516"/>
                  <a:pt x="1964" y="6943"/>
                </a:cubicBezTo>
                <a:cubicBezTo>
                  <a:pt x="1964" y="7369"/>
                  <a:pt x="1744" y="7714"/>
                  <a:pt x="1473" y="7714"/>
                </a:cubicBezTo>
                <a:cubicBezTo>
                  <a:pt x="1201" y="7714"/>
                  <a:pt x="982" y="7369"/>
                  <a:pt x="982" y="6943"/>
                </a:cubicBezTo>
                <a:cubicBezTo>
                  <a:pt x="982" y="6516"/>
                  <a:pt x="1201" y="6171"/>
                  <a:pt x="1473" y="6171"/>
                </a:cubicBezTo>
                <a:moveTo>
                  <a:pt x="16691" y="4629"/>
                </a:moveTo>
                <a:lnTo>
                  <a:pt x="982" y="4629"/>
                </a:lnTo>
                <a:cubicBezTo>
                  <a:pt x="439" y="4629"/>
                  <a:pt x="0" y="5319"/>
                  <a:pt x="0" y="6171"/>
                </a:cubicBezTo>
                <a:lnTo>
                  <a:pt x="0" y="20057"/>
                </a:lnTo>
                <a:cubicBezTo>
                  <a:pt x="0" y="20909"/>
                  <a:pt x="439" y="21600"/>
                  <a:pt x="982" y="21600"/>
                </a:cubicBezTo>
                <a:lnTo>
                  <a:pt x="16691" y="21600"/>
                </a:lnTo>
                <a:cubicBezTo>
                  <a:pt x="17233" y="21600"/>
                  <a:pt x="17673" y="20909"/>
                  <a:pt x="17673" y="20057"/>
                </a:cubicBezTo>
                <a:lnTo>
                  <a:pt x="17673" y="6171"/>
                </a:lnTo>
                <a:cubicBezTo>
                  <a:pt x="17673" y="5319"/>
                  <a:pt x="17233" y="4629"/>
                  <a:pt x="16691" y="4629"/>
                </a:cubicBezTo>
                <a:moveTo>
                  <a:pt x="8092" y="11478"/>
                </a:moveTo>
                <a:cubicBezTo>
                  <a:pt x="8092" y="11618"/>
                  <a:pt x="8111" y="11738"/>
                  <a:pt x="8149" y="11836"/>
                </a:cubicBezTo>
                <a:cubicBezTo>
                  <a:pt x="8186" y="11936"/>
                  <a:pt x="8234" y="12020"/>
                  <a:pt x="8293" y="12090"/>
                </a:cubicBezTo>
                <a:cubicBezTo>
                  <a:pt x="8351" y="12160"/>
                  <a:pt x="8419" y="12217"/>
                  <a:pt x="8496" y="12260"/>
                </a:cubicBezTo>
                <a:cubicBezTo>
                  <a:pt x="8542" y="12286"/>
                  <a:pt x="8573" y="12310"/>
                  <a:pt x="8606" y="12330"/>
                </a:cubicBezTo>
                <a:lnTo>
                  <a:pt x="8606" y="10637"/>
                </a:lnTo>
                <a:cubicBezTo>
                  <a:pt x="8457" y="10653"/>
                  <a:pt x="8353" y="10708"/>
                  <a:pt x="8258" y="10818"/>
                </a:cubicBezTo>
                <a:cubicBezTo>
                  <a:pt x="8147" y="10949"/>
                  <a:pt x="8092" y="11170"/>
                  <a:pt x="8092" y="11478"/>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1" name="Shape 2801"/>
          <p:cNvSpPr/>
          <p:nvPr/>
        </p:nvSpPr>
        <p:spPr>
          <a:xfrm>
            <a:off x="1060590" y="1517465"/>
            <a:ext cx="209495" cy="114278"/>
          </a:xfrm>
          <a:custGeom>
            <a:avLst/>
            <a:gdLst/>
            <a:ahLst/>
            <a:cxnLst>
              <a:cxn ang="0">
                <a:pos x="wd2" y="hd2"/>
              </a:cxn>
              <a:cxn ang="5400000">
                <a:pos x="wd2" y="hd2"/>
              </a:cxn>
              <a:cxn ang="10800000">
                <a:pos x="wd2" y="hd2"/>
              </a:cxn>
              <a:cxn ang="16200000">
                <a:pos x="wd2" y="hd2"/>
              </a:cxn>
            </a:cxnLst>
            <a:rect l="0" t="0" r="r" b="b"/>
            <a:pathLst>
              <a:path w="21600" h="21600" extrusionOk="0">
                <a:moveTo>
                  <a:pt x="11858" y="9506"/>
                </a:moveTo>
                <a:lnTo>
                  <a:pt x="11671" y="10299"/>
                </a:lnTo>
                <a:lnTo>
                  <a:pt x="9907" y="10299"/>
                </a:lnTo>
                <a:cubicBezTo>
                  <a:pt x="9902" y="10340"/>
                  <a:pt x="9900" y="10398"/>
                  <a:pt x="9900" y="10472"/>
                </a:cubicBezTo>
                <a:lnTo>
                  <a:pt x="9900" y="10757"/>
                </a:lnTo>
                <a:cubicBezTo>
                  <a:pt x="9900" y="10972"/>
                  <a:pt x="9902" y="11100"/>
                  <a:pt x="9907" y="11141"/>
                </a:cubicBezTo>
                <a:lnTo>
                  <a:pt x="11570" y="11141"/>
                </a:lnTo>
                <a:lnTo>
                  <a:pt x="11390" y="11921"/>
                </a:lnTo>
                <a:lnTo>
                  <a:pt x="9943" y="11921"/>
                </a:lnTo>
                <a:cubicBezTo>
                  <a:pt x="10001" y="12589"/>
                  <a:pt x="10123" y="13114"/>
                  <a:pt x="10311" y="13494"/>
                </a:cubicBezTo>
                <a:cubicBezTo>
                  <a:pt x="10527" y="13964"/>
                  <a:pt x="10819" y="14199"/>
                  <a:pt x="11189" y="14199"/>
                </a:cubicBezTo>
                <a:cubicBezTo>
                  <a:pt x="11429" y="14199"/>
                  <a:pt x="11628" y="14134"/>
                  <a:pt x="11786" y="14001"/>
                </a:cubicBezTo>
                <a:cubicBezTo>
                  <a:pt x="11930" y="13878"/>
                  <a:pt x="12093" y="13671"/>
                  <a:pt x="12276" y="13382"/>
                </a:cubicBezTo>
                <a:lnTo>
                  <a:pt x="12276" y="14756"/>
                </a:lnTo>
                <a:cubicBezTo>
                  <a:pt x="11949" y="15119"/>
                  <a:pt x="11587" y="15301"/>
                  <a:pt x="11189" y="15301"/>
                </a:cubicBezTo>
                <a:cubicBezTo>
                  <a:pt x="10546" y="15301"/>
                  <a:pt x="10044" y="14963"/>
                  <a:pt x="9683" y="14287"/>
                </a:cubicBezTo>
                <a:cubicBezTo>
                  <a:pt x="9372" y="13700"/>
                  <a:pt x="9177" y="12912"/>
                  <a:pt x="9100" y="11921"/>
                </a:cubicBezTo>
                <a:lnTo>
                  <a:pt x="8546" y="11921"/>
                </a:lnTo>
                <a:lnTo>
                  <a:pt x="8740" y="11141"/>
                </a:lnTo>
                <a:lnTo>
                  <a:pt x="9065" y="11141"/>
                </a:lnTo>
                <a:cubicBezTo>
                  <a:pt x="9060" y="11083"/>
                  <a:pt x="9056" y="11022"/>
                  <a:pt x="9054" y="10955"/>
                </a:cubicBezTo>
                <a:cubicBezTo>
                  <a:pt x="9051" y="10889"/>
                  <a:pt x="9050" y="10819"/>
                  <a:pt x="9050" y="10744"/>
                </a:cubicBezTo>
                <a:cubicBezTo>
                  <a:pt x="9050" y="10687"/>
                  <a:pt x="9051" y="10620"/>
                  <a:pt x="9054" y="10547"/>
                </a:cubicBezTo>
                <a:cubicBezTo>
                  <a:pt x="9056" y="10472"/>
                  <a:pt x="9060" y="10389"/>
                  <a:pt x="9065" y="10299"/>
                </a:cubicBezTo>
                <a:lnTo>
                  <a:pt x="8546" y="10299"/>
                </a:lnTo>
                <a:lnTo>
                  <a:pt x="8734" y="9506"/>
                </a:lnTo>
                <a:lnTo>
                  <a:pt x="9115" y="9506"/>
                </a:lnTo>
                <a:cubicBezTo>
                  <a:pt x="9235" y="8557"/>
                  <a:pt x="9453" y="7806"/>
                  <a:pt x="9770" y="7253"/>
                </a:cubicBezTo>
                <a:cubicBezTo>
                  <a:pt x="10140" y="6617"/>
                  <a:pt x="10612" y="6299"/>
                  <a:pt x="11189" y="6299"/>
                </a:cubicBezTo>
                <a:cubicBezTo>
                  <a:pt x="11606" y="6299"/>
                  <a:pt x="12034" y="6555"/>
                  <a:pt x="12470" y="7066"/>
                </a:cubicBezTo>
                <a:lnTo>
                  <a:pt x="12139" y="8193"/>
                </a:lnTo>
                <a:cubicBezTo>
                  <a:pt x="11832" y="7666"/>
                  <a:pt x="11496" y="7401"/>
                  <a:pt x="11131" y="7401"/>
                </a:cubicBezTo>
                <a:cubicBezTo>
                  <a:pt x="10809" y="7401"/>
                  <a:pt x="10541" y="7620"/>
                  <a:pt x="10325" y="8058"/>
                </a:cubicBezTo>
                <a:cubicBezTo>
                  <a:pt x="10142" y="8445"/>
                  <a:pt x="10020" y="8929"/>
                  <a:pt x="9957" y="9506"/>
                </a:cubicBezTo>
                <a:cubicBezTo>
                  <a:pt x="9957" y="9506"/>
                  <a:pt x="11858" y="9506"/>
                  <a:pt x="11858" y="9506"/>
                </a:cubicBezTo>
                <a:close/>
                <a:moveTo>
                  <a:pt x="10800" y="3601"/>
                </a:moveTo>
                <a:cubicBezTo>
                  <a:pt x="8631" y="3601"/>
                  <a:pt x="6873" y="6824"/>
                  <a:pt x="6873" y="10799"/>
                </a:cubicBezTo>
                <a:cubicBezTo>
                  <a:pt x="6873" y="14777"/>
                  <a:pt x="8631" y="18000"/>
                  <a:pt x="10800" y="18000"/>
                </a:cubicBezTo>
                <a:cubicBezTo>
                  <a:pt x="12969" y="18000"/>
                  <a:pt x="14727" y="14777"/>
                  <a:pt x="14727" y="10799"/>
                </a:cubicBezTo>
                <a:cubicBezTo>
                  <a:pt x="14727" y="6824"/>
                  <a:pt x="12969" y="3601"/>
                  <a:pt x="10800" y="3601"/>
                </a:cubicBezTo>
                <a:moveTo>
                  <a:pt x="5400" y="3601"/>
                </a:moveTo>
                <a:lnTo>
                  <a:pt x="4418" y="3601"/>
                </a:lnTo>
                <a:cubicBezTo>
                  <a:pt x="4147" y="3601"/>
                  <a:pt x="3927" y="4003"/>
                  <a:pt x="3927" y="4501"/>
                </a:cubicBezTo>
                <a:cubicBezTo>
                  <a:pt x="3927" y="4998"/>
                  <a:pt x="4147" y="5401"/>
                  <a:pt x="4418" y="5401"/>
                </a:cubicBezTo>
                <a:lnTo>
                  <a:pt x="5400" y="5401"/>
                </a:lnTo>
                <a:cubicBezTo>
                  <a:pt x="5671" y="5401"/>
                  <a:pt x="5891" y="4998"/>
                  <a:pt x="5891" y="4501"/>
                </a:cubicBezTo>
                <a:cubicBezTo>
                  <a:pt x="5891" y="4003"/>
                  <a:pt x="5671" y="3601"/>
                  <a:pt x="5400" y="3601"/>
                </a:cubicBezTo>
                <a:moveTo>
                  <a:pt x="17182" y="16199"/>
                </a:moveTo>
                <a:lnTo>
                  <a:pt x="16200" y="16199"/>
                </a:lnTo>
                <a:cubicBezTo>
                  <a:pt x="15929" y="16199"/>
                  <a:pt x="15709" y="16603"/>
                  <a:pt x="15709" y="17100"/>
                </a:cubicBezTo>
                <a:cubicBezTo>
                  <a:pt x="15709" y="17597"/>
                  <a:pt x="15929" y="18000"/>
                  <a:pt x="16200" y="18000"/>
                </a:cubicBezTo>
                <a:lnTo>
                  <a:pt x="17182" y="18000"/>
                </a:lnTo>
                <a:cubicBezTo>
                  <a:pt x="17453" y="18000"/>
                  <a:pt x="17673" y="17597"/>
                  <a:pt x="17673" y="17100"/>
                </a:cubicBezTo>
                <a:cubicBezTo>
                  <a:pt x="17673" y="16603"/>
                  <a:pt x="17453" y="16199"/>
                  <a:pt x="17182" y="16199"/>
                </a:cubicBezTo>
                <a:moveTo>
                  <a:pt x="20127" y="3601"/>
                </a:moveTo>
                <a:cubicBezTo>
                  <a:pt x="19856" y="3601"/>
                  <a:pt x="19636" y="3198"/>
                  <a:pt x="19636" y="2701"/>
                </a:cubicBezTo>
                <a:cubicBezTo>
                  <a:pt x="19636" y="2203"/>
                  <a:pt x="19856" y="1800"/>
                  <a:pt x="20127" y="1800"/>
                </a:cubicBezTo>
                <a:cubicBezTo>
                  <a:pt x="20398" y="1800"/>
                  <a:pt x="20618" y="2203"/>
                  <a:pt x="20618" y="2701"/>
                </a:cubicBezTo>
                <a:cubicBezTo>
                  <a:pt x="20618" y="3198"/>
                  <a:pt x="20398" y="3601"/>
                  <a:pt x="20127" y="3601"/>
                </a:cubicBezTo>
                <a:moveTo>
                  <a:pt x="20618" y="16365"/>
                </a:moveTo>
                <a:cubicBezTo>
                  <a:pt x="20464" y="16264"/>
                  <a:pt x="20300" y="16199"/>
                  <a:pt x="20127" y="16199"/>
                </a:cubicBezTo>
                <a:cubicBezTo>
                  <a:pt x="19314" y="16199"/>
                  <a:pt x="18655" y="17409"/>
                  <a:pt x="18655" y="18900"/>
                </a:cubicBezTo>
                <a:cubicBezTo>
                  <a:pt x="18655" y="19217"/>
                  <a:pt x="18689" y="19517"/>
                  <a:pt x="18744" y="19800"/>
                </a:cubicBezTo>
                <a:lnTo>
                  <a:pt x="2855" y="19800"/>
                </a:lnTo>
                <a:cubicBezTo>
                  <a:pt x="2910" y="19517"/>
                  <a:pt x="2945" y="19217"/>
                  <a:pt x="2945" y="18900"/>
                </a:cubicBezTo>
                <a:cubicBezTo>
                  <a:pt x="2945" y="17409"/>
                  <a:pt x="2286" y="16199"/>
                  <a:pt x="1473" y="16199"/>
                </a:cubicBezTo>
                <a:cubicBezTo>
                  <a:pt x="1299" y="16199"/>
                  <a:pt x="1136" y="16264"/>
                  <a:pt x="982" y="16365"/>
                </a:cubicBezTo>
                <a:lnTo>
                  <a:pt x="982" y="5235"/>
                </a:lnTo>
                <a:cubicBezTo>
                  <a:pt x="1136" y="5336"/>
                  <a:pt x="1299" y="5401"/>
                  <a:pt x="1473" y="5401"/>
                </a:cubicBezTo>
                <a:cubicBezTo>
                  <a:pt x="2286" y="5401"/>
                  <a:pt x="2945" y="4192"/>
                  <a:pt x="2945" y="2701"/>
                </a:cubicBezTo>
                <a:cubicBezTo>
                  <a:pt x="2945" y="2383"/>
                  <a:pt x="2910" y="2083"/>
                  <a:pt x="2855" y="1800"/>
                </a:cubicBezTo>
                <a:lnTo>
                  <a:pt x="18744" y="1800"/>
                </a:lnTo>
                <a:cubicBezTo>
                  <a:pt x="18689" y="2083"/>
                  <a:pt x="18655" y="2383"/>
                  <a:pt x="18655" y="2701"/>
                </a:cubicBezTo>
                <a:cubicBezTo>
                  <a:pt x="18655" y="4192"/>
                  <a:pt x="19314" y="5401"/>
                  <a:pt x="20127" y="5401"/>
                </a:cubicBezTo>
                <a:cubicBezTo>
                  <a:pt x="20300" y="5401"/>
                  <a:pt x="20464" y="5336"/>
                  <a:pt x="20618" y="5235"/>
                </a:cubicBezTo>
                <a:cubicBezTo>
                  <a:pt x="20618" y="5235"/>
                  <a:pt x="20618" y="16365"/>
                  <a:pt x="20618" y="16365"/>
                </a:cubicBezTo>
                <a:close/>
                <a:moveTo>
                  <a:pt x="20127" y="19800"/>
                </a:moveTo>
                <a:cubicBezTo>
                  <a:pt x="19856" y="19800"/>
                  <a:pt x="19636" y="19397"/>
                  <a:pt x="19636" y="18900"/>
                </a:cubicBezTo>
                <a:cubicBezTo>
                  <a:pt x="19636" y="18402"/>
                  <a:pt x="19856" y="18000"/>
                  <a:pt x="20127" y="18000"/>
                </a:cubicBezTo>
                <a:cubicBezTo>
                  <a:pt x="20398" y="18000"/>
                  <a:pt x="20618" y="18402"/>
                  <a:pt x="20618" y="18900"/>
                </a:cubicBezTo>
                <a:cubicBezTo>
                  <a:pt x="20618" y="19397"/>
                  <a:pt x="20398" y="19800"/>
                  <a:pt x="20127" y="19800"/>
                </a:cubicBezTo>
                <a:moveTo>
                  <a:pt x="1473" y="19800"/>
                </a:moveTo>
                <a:cubicBezTo>
                  <a:pt x="1202" y="19800"/>
                  <a:pt x="982" y="19397"/>
                  <a:pt x="982" y="18900"/>
                </a:cubicBezTo>
                <a:cubicBezTo>
                  <a:pt x="982" y="18402"/>
                  <a:pt x="1202" y="18000"/>
                  <a:pt x="1473" y="18000"/>
                </a:cubicBezTo>
                <a:cubicBezTo>
                  <a:pt x="1744" y="18000"/>
                  <a:pt x="1964" y="18402"/>
                  <a:pt x="1964" y="18900"/>
                </a:cubicBezTo>
                <a:cubicBezTo>
                  <a:pt x="1964" y="19397"/>
                  <a:pt x="1744" y="19800"/>
                  <a:pt x="1473" y="19800"/>
                </a:cubicBezTo>
                <a:moveTo>
                  <a:pt x="1473" y="1800"/>
                </a:moveTo>
                <a:cubicBezTo>
                  <a:pt x="1744" y="1800"/>
                  <a:pt x="1964" y="2203"/>
                  <a:pt x="1964" y="2701"/>
                </a:cubicBezTo>
                <a:cubicBezTo>
                  <a:pt x="1964" y="3198"/>
                  <a:pt x="1744" y="3601"/>
                  <a:pt x="1473" y="3601"/>
                </a:cubicBezTo>
                <a:cubicBezTo>
                  <a:pt x="1202" y="3601"/>
                  <a:pt x="982" y="3198"/>
                  <a:pt x="982" y="2701"/>
                </a:cubicBezTo>
                <a:cubicBezTo>
                  <a:pt x="982" y="2203"/>
                  <a:pt x="1202" y="1800"/>
                  <a:pt x="1473" y="1800"/>
                </a:cubicBezTo>
                <a:moveTo>
                  <a:pt x="20618" y="0"/>
                </a:moveTo>
                <a:lnTo>
                  <a:pt x="982" y="0"/>
                </a:lnTo>
                <a:cubicBezTo>
                  <a:pt x="439" y="0"/>
                  <a:pt x="0" y="806"/>
                  <a:pt x="0" y="1800"/>
                </a:cubicBezTo>
                <a:lnTo>
                  <a:pt x="0" y="19800"/>
                </a:lnTo>
                <a:cubicBezTo>
                  <a:pt x="0" y="20793"/>
                  <a:pt x="439" y="21600"/>
                  <a:pt x="982" y="21600"/>
                </a:cubicBezTo>
                <a:lnTo>
                  <a:pt x="20618" y="21600"/>
                </a:lnTo>
                <a:cubicBezTo>
                  <a:pt x="21160" y="21600"/>
                  <a:pt x="21600" y="20793"/>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2" name="Shape 2802"/>
          <p:cNvSpPr/>
          <p:nvPr/>
        </p:nvSpPr>
        <p:spPr>
          <a:xfrm>
            <a:off x="1460536"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5400" y="8100"/>
                </a:moveTo>
                <a:lnTo>
                  <a:pt x="4418" y="8100"/>
                </a:lnTo>
                <a:cubicBezTo>
                  <a:pt x="4147" y="8100"/>
                  <a:pt x="3927" y="8403"/>
                  <a:pt x="3927" y="8775"/>
                </a:cubicBezTo>
                <a:cubicBezTo>
                  <a:pt x="3927" y="9148"/>
                  <a:pt x="4147" y="9450"/>
                  <a:pt x="4418" y="9450"/>
                </a:cubicBezTo>
                <a:lnTo>
                  <a:pt x="5400" y="9450"/>
                </a:lnTo>
                <a:cubicBezTo>
                  <a:pt x="5671" y="9450"/>
                  <a:pt x="5891" y="9148"/>
                  <a:pt x="5891" y="8775"/>
                </a:cubicBezTo>
                <a:cubicBezTo>
                  <a:pt x="5891" y="8403"/>
                  <a:pt x="5671" y="8100"/>
                  <a:pt x="5400" y="8100"/>
                </a:cubicBezTo>
                <a:moveTo>
                  <a:pt x="11858" y="12529"/>
                </a:moveTo>
                <a:lnTo>
                  <a:pt x="11671" y="13124"/>
                </a:lnTo>
                <a:lnTo>
                  <a:pt x="9908" y="13124"/>
                </a:lnTo>
                <a:cubicBezTo>
                  <a:pt x="9902" y="13155"/>
                  <a:pt x="9900" y="13198"/>
                  <a:pt x="9900" y="13254"/>
                </a:cubicBezTo>
                <a:lnTo>
                  <a:pt x="9900" y="13468"/>
                </a:lnTo>
                <a:cubicBezTo>
                  <a:pt x="9900" y="13629"/>
                  <a:pt x="9902" y="13725"/>
                  <a:pt x="9908" y="13756"/>
                </a:cubicBezTo>
                <a:lnTo>
                  <a:pt x="11570" y="13756"/>
                </a:lnTo>
                <a:lnTo>
                  <a:pt x="11391" y="14340"/>
                </a:lnTo>
                <a:lnTo>
                  <a:pt x="9943" y="14340"/>
                </a:lnTo>
                <a:cubicBezTo>
                  <a:pt x="10001" y="14842"/>
                  <a:pt x="10124" y="15236"/>
                  <a:pt x="10311" y="15520"/>
                </a:cubicBezTo>
                <a:cubicBezTo>
                  <a:pt x="10527" y="15873"/>
                  <a:pt x="10819" y="16050"/>
                  <a:pt x="11189" y="16050"/>
                </a:cubicBezTo>
                <a:cubicBezTo>
                  <a:pt x="11429" y="16050"/>
                  <a:pt x="11628" y="16000"/>
                  <a:pt x="11787" y="15901"/>
                </a:cubicBezTo>
                <a:cubicBezTo>
                  <a:pt x="11930" y="15808"/>
                  <a:pt x="12093" y="15654"/>
                  <a:pt x="12276" y="15437"/>
                </a:cubicBezTo>
                <a:lnTo>
                  <a:pt x="12276" y="16468"/>
                </a:lnTo>
                <a:cubicBezTo>
                  <a:pt x="11950" y="16741"/>
                  <a:pt x="11587" y="16876"/>
                  <a:pt x="11189" y="16876"/>
                </a:cubicBezTo>
                <a:cubicBezTo>
                  <a:pt x="10546" y="16876"/>
                  <a:pt x="10044" y="16623"/>
                  <a:pt x="9684" y="16114"/>
                </a:cubicBezTo>
                <a:cubicBezTo>
                  <a:pt x="9372" y="15676"/>
                  <a:pt x="9177" y="15084"/>
                  <a:pt x="9101" y="14340"/>
                </a:cubicBezTo>
                <a:lnTo>
                  <a:pt x="8547" y="14340"/>
                </a:lnTo>
                <a:lnTo>
                  <a:pt x="8741" y="13756"/>
                </a:lnTo>
                <a:lnTo>
                  <a:pt x="9065" y="13756"/>
                </a:lnTo>
                <a:cubicBezTo>
                  <a:pt x="9060" y="13712"/>
                  <a:pt x="9056" y="13666"/>
                  <a:pt x="9054" y="13617"/>
                </a:cubicBezTo>
                <a:cubicBezTo>
                  <a:pt x="9051" y="13567"/>
                  <a:pt x="9050" y="13515"/>
                  <a:pt x="9050" y="13458"/>
                </a:cubicBezTo>
                <a:cubicBezTo>
                  <a:pt x="9050" y="13416"/>
                  <a:pt x="9051" y="13366"/>
                  <a:pt x="9054" y="13310"/>
                </a:cubicBezTo>
                <a:cubicBezTo>
                  <a:pt x="9056" y="13254"/>
                  <a:pt x="9060" y="13192"/>
                  <a:pt x="9065" y="13124"/>
                </a:cubicBezTo>
                <a:lnTo>
                  <a:pt x="8547" y="13124"/>
                </a:lnTo>
                <a:lnTo>
                  <a:pt x="8734" y="12529"/>
                </a:lnTo>
                <a:lnTo>
                  <a:pt x="9115" y="12529"/>
                </a:lnTo>
                <a:cubicBezTo>
                  <a:pt x="9235" y="11818"/>
                  <a:pt x="9453" y="11254"/>
                  <a:pt x="9770" y="10840"/>
                </a:cubicBezTo>
                <a:cubicBezTo>
                  <a:pt x="10140" y="10363"/>
                  <a:pt x="10613" y="10124"/>
                  <a:pt x="11189" y="10124"/>
                </a:cubicBezTo>
                <a:cubicBezTo>
                  <a:pt x="11607" y="10124"/>
                  <a:pt x="12034" y="10316"/>
                  <a:pt x="12470" y="10700"/>
                </a:cubicBezTo>
                <a:lnTo>
                  <a:pt x="12139" y="11545"/>
                </a:lnTo>
                <a:cubicBezTo>
                  <a:pt x="11832" y="11150"/>
                  <a:pt x="11496" y="10951"/>
                  <a:pt x="11131" y="10951"/>
                </a:cubicBezTo>
                <a:cubicBezTo>
                  <a:pt x="10809" y="10951"/>
                  <a:pt x="10541" y="11115"/>
                  <a:pt x="10325" y="11443"/>
                </a:cubicBezTo>
                <a:cubicBezTo>
                  <a:pt x="10143" y="11734"/>
                  <a:pt x="10020" y="12097"/>
                  <a:pt x="9958" y="12529"/>
                </a:cubicBezTo>
                <a:cubicBezTo>
                  <a:pt x="9958" y="12529"/>
                  <a:pt x="11858" y="12529"/>
                  <a:pt x="11858" y="12529"/>
                </a:cubicBezTo>
                <a:close/>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20127" y="8100"/>
                </a:moveTo>
                <a:cubicBezTo>
                  <a:pt x="19856" y="8100"/>
                  <a:pt x="19636" y="7798"/>
                  <a:pt x="19636" y="7425"/>
                </a:cubicBezTo>
                <a:cubicBezTo>
                  <a:pt x="19636" y="7052"/>
                  <a:pt x="19856" y="6750"/>
                  <a:pt x="20127" y="6750"/>
                </a:cubicBezTo>
                <a:cubicBezTo>
                  <a:pt x="20398" y="6750"/>
                  <a:pt x="20618" y="7052"/>
                  <a:pt x="20618" y="7425"/>
                </a:cubicBezTo>
                <a:cubicBezTo>
                  <a:pt x="20618" y="7798"/>
                  <a:pt x="20398" y="8100"/>
                  <a:pt x="20127" y="8100"/>
                </a:cubicBezTo>
                <a:moveTo>
                  <a:pt x="20618" y="17674"/>
                </a:moveTo>
                <a:cubicBezTo>
                  <a:pt x="20464" y="17599"/>
                  <a:pt x="20300" y="17550"/>
                  <a:pt x="20127" y="17550"/>
                </a:cubicBezTo>
                <a:cubicBezTo>
                  <a:pt x="19314" y="17550"/>
                  <a:pt x="18655" y="18457"/>
                  <a:pt x="18655" y="19575"/>
                </a:cubicBezTo>
                <a:cubicBezTo>
                  <a:pt x="18655" y="19813"/>
                  <a:pt x="18690" y="20039"/>
                  <a:pt x="18745" y="20250"/>
                </a:cubicBezTo>
                <a:lnTo>
                  <a:pt x="2855" y="20250"/>
                </a:lnTo>
                <a:cubicBezTo>
                  <a:pt x="2910" y="20039"/>
                  <a:pt x="2945" y="19813"/>
                  <a:pt x="2945" y="19575"/>
                </a:cubicBezTo>
                <a:cubicBezTo>
                  <a:pt x="2945" y="18457"/>
                  <a:pt x="2286" y="17550"/>
                  <a:pt x="1473" y="17550"/>
                </a:cubicBezTo>
                <a:cubicBezTo>
                  <a:pt x="1299" y="17550"/>
                  <a:pt x="1136" y="17599"/>
                  <a:pt x="982" y="17674"/>
                </a:cubicBezTo>
                <a:lnTo>
                  <a:pt x="982" y="9326"/>
                </a:lnTo>
                <a:cubicBezTo>
                  <a:pt x="1136" y="9402"/>
                  <a:pt x="1299"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8" y="18900"/>
                  <a:pt x="20618" y="19203"/>
                  <a:pt x="20618" y="19575"/>
                </a:cubicBezTo>
                <a:cubicBezTo>
                  <a:pt x="20618" y="19948"/>
                  <a:pt x="20398" y="20250"/>
                  <a:pt x="20127" y="20250"/>
                </a:cubicBezTo>
                <a:moveTo>
                  <a:pt x="1473" y="20250"/>
                </a:moveTo>
                <a:cubicBezTo>
                  <a:pt x="1202" y="20250"/>
                  <a:pt x="982" y="19948"/>
                  <a:pt x="982" y="19575"/>
                </a:cubicBezTo>
                <a:cubicBezTo>
                  <a:pt x="982" y="19203"/>
                  <a:pt x="1202"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2" y="8100"/>
                  <a:pt x="982" y="7798"/>
                  <a:pt x="982" y="7425"/>
                </a:cubicBezTo>
                <a:cubicBezTo>
                  <a:pt x="982" y="7052"/>
                  <a:pt x="1202" y="6750"/>
                  <a:pt x="1473" y="6750"/>
                </a:cubicBezTo>
                <a:moveTo>
                  <a:pt x="20618" y="5400"/>
                </a:moveTo>
                <a:lnTo>
                  <a:pt x="982" y="5400"/>
                </a:lnTo>
                <a:cubicBezTo>
                  <a:pt x="440" y="5400"/>
                  <a:pt x="0" y="6005"/>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5"/>
                  <a:pt x="21160" y="5400"/>
                  <a:pt x="20618" y="5400"/>
                </a:cubicBezTo>
                <a:moveTo>
                  <a:pt x="17182" y="17550"/>
                </a:moveTo>
                <a:lnTo>
                  <a:pt x="16200" y="17550"/>
                </a:lnTo>
                <a:cubicBezTo>
                  <a:pt x="15929" y="17550"/>
                  <a:pt x="15709" y="17852"/>
                  <a:pt x="15709" y="18225"/>
                </a:cubicBezTo>
                <a:cubicBezTo>
                  <a:pt x="15709" y="18598"/>
                  <a:pt x="15929" y="18900"/>
                  <a:pt x="16200" y="18900"/>
                </a:cubicBezTo>
                <a:lnTo>
                  <a:pt x="17182" y="18900"/>
                </a:lnTo>
                <a:cubicBezTo>
                  <a:pt x="17453" y="18900"/>
                  <a:pt x="17673" y="18598"/>
                  <a:pt x="17673" y="18225"/>
                </a:cubicBezTo>
                <a:cubicBezTo>
                  <a:pt x="17673" y="17852"/>
                  <a:pt x="17453" y="17550"/>
                  <a:pt x="17182" y="175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moveTo>
                  <a:pt x="2455" y="4050"/>
                </a:moveTo>
                <a:lnTo>
                  <a:pt x="19145" y="4050"/>
                </a:lnTo>
                <a:cubicBezTo>
                  <a:pt x="19416" y="4050"/>
                  <a:pt x="19636" y="3748"/>
                  <a:pt x="19636" y="3375"/>
                </a:cubicBezTo>
                <a:cubicBezTo>
                  <a:pt x="19636" y="3002"/>
                  <a:pt x="19416" y="2700"/>
                  <a:pt x="19145" y="2700"/>
                </a:cubicBezTo>
                <a:lnTo>
                  <a:pt x="2455" y="2700"/>
                </a:lnTo>
                <a:cubicBezTo>
                  <a:pt x="2184" y="2700"/>
                  <a:pt x="1964" y="3002"/>
                  <a:pt x="1964" y="3375"/>
                </a:cubicBezTo>
                <a:cubicBezTo>
                  <a:pt x="1964" y="3748"/>
                  <a:pt x="2184" y="4050"/>
                  <a:pt x="2455"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3" name="Shape 2803"/>
          <p:cNvSpPr/>
          <p:nvPr/>
        </p:nvSpPr>
        <p:spPr>
          <a:xfrm>
            <a:off x="1860482"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9634" y="12227"/>
                </a:moveTo>
                <a:lnTo>
                  <a:pt x="9494" y="12771"/>
                </a:lnTo>
                <a:lnTo>
                  <a:pt x="8171" y="12771"/>
                </a:lnTo>
                <a:cubicBezTo>
                  <a:pt x="8167" y="12799"/>
                  <a:pt x="8165" y="12839"/>
                  <a:pt x="8165" y="12890"/>
                </a:cubicBezTo>
                <a:lnTo>
                  <a:pt x="8165" y="13085"/>
                </a:lnTo>
                <a:cubicBezTo>
                  <a:pt x="8165" y="13232"/>
                  <a:pt x="8167" y="13320"/>
                  <a:pt x="8171" y="13348"/>
                </a:cubicBezTo>
                <a:lnTo>
                  <a:pt x="9418" y="13348"/>
                </a:lnTo>
                <a:lnTo>
                  <a:pt x="9283" y="13883"/>
                </a:lnTo>
                <a:lnTo>
                  <a:pt x="8198" y="13883"/>
                </a:lnTo>
                <a:cubicBezTo>
                  <a:pt x="8241" y="14342"/>
                  <a:pt x="8333" y="14701"/>
                  <a:pt x="8473" y="14961"/>
                </a:cubicBezTo>
                <a:cubicBezTo>
                  <a:pt x="8635" y="15284"/>
                  <a:pt x="8855" y="15445"/>
                  <a:pt x="9132" y="15445"/>
                </a:cubicBezTo>
                <a:cubicBezTo>
                  <a:pt x="9312" y="15445"/>
                  <a:pt x="9461" y="15401"/>
                  <a:pt x="9580" y="15310"/>
                </a:cubicBezTo>
                <a:cubicBezTo>
                  <a:pt x="9688" y="15225"/>
                  <a:pt x="9810" y="15084"/>
                  <a:pt x="9947" y="14885"/>
                </a:cubicBezTo>
                <a:lnTo>
                  <a:pt x="9947" y="15828"/>
                </a:lnTo>
                <a:cubicBezTo>
                  <a:pt x="9702" y="16076"/>
                  <a:pt x="9430" y="16202"/>
                  <a:pt x="9132" y="16202"/>
                </a:cubicBezTo>
                <a:cubicBezTo>
                  <a:pt x="8649" y="16202"/>
                  <a:pt x="8273" y="15970"/>
                  <a:pt x="8003" y="15505"/>
                </a:cubicBezTo>
                <a:cubicBezTo>
                  <a:pt x="7769" y="15104"/>
                  <a:pt x="7623" y="14562"/>
                  <a:pt x="7566" y="13883"/>
                </a:cubicBezTo>
                <a:lnTo>
                  <a:pt x="7150" y="13883"/>
                </a:lnTo>
                <a:lnTo>
                  <a:pt x="7296" y="13348"/>
                </a:lnTo>
                <a:lnTo>
                  <a:pt x="7539" y="13348"/>
                </a:lnTo>
                <a:cubicBezTo>
                  <a:pt x="7536" y="13309"/>
                  <a:pt x="7532" y="13267"/>
                  <a:pt x="7530" y="13221"/>
                </a:cubicBezTo>
                <a:cubicBezTo>
                  <a:pt x="7529" y="13175"/>
                  <a:pt x="7528" y="13127"/>
                  <a:pt x="7528" y="13077"/>
                </a:cubicBezTo>
                <a:cubicBezTo>
                  <a:pt x="7528" y="13037"/>
                  <a:pt x="7529" y="12991"/>
                  <a:pt x="7530" y="12941"/>
                </a:cubicBezTo>
                <a:cubicBezTo>
                  <a:pt x="7532" y="12890"/>
                  <a:pt x="7536" y="12833"/>
                  <a:pt x="7539" y="12771"/>
                </a:cubicBezTo>
                <a:lnTo>
                  <a:pt x="7150" y="12771"/>
                </a:lnTo>
                <a:lnTo>
                  <a:pt x="7291" y="12227"/>
                </a:lnTo>
                <a:lnTo>
                  <a:pt x="7577" y="12227"/>
                </a:lnTo>
                <a:cubicBezTo>
                  <a:pt x="7667" y="11576"/>
                  <a:pt x="7831" y="11061"/>
                  <a:pt x="8068" y="10682"/>
                </a:cubicBezTo>
                <a:cubicBezTo>
                  <a:pt x="8345" y="10247"/>
                  <a:pt x="8700" y="10028"/>
                  <a:pt x="9132" y="10028"/>
                </a:cubicBezTo>
                <a:cubicBezTo>
                  <a:pt x="9445" y="10028"/>
                  <a:pt x="9766" y="10203"/>
                  <a:pt x="10093" y="10554"/>
                </a:cubicBezTo>
                <a:lnTo>
                  <a:pt x="9845" y="11327"/>
                </a:lnTo>
                <a:cubicBezTo>
                  <a:pt x="9614" y="10965"/>
                  <a:pt x="9362" y="10783"/>
                  <a:pt x="9089" y="10783"/>
                </a:cubicBezTo>
                <a:cubicBezTo>
                  <a:pt x="8847" y="10783"/>
                  <a:pt x="8646" y="10934"/>
                  <a:pt x="8484" y="11234"/>
                </a:cubicBezTo>
                <a:cubicBezTo>
                  <a:pt x="8347" y="11500"/>
                  <a:pt x="8255" y="11831"/>
                  <a:pt x="8209" y="12227"/>
                </a:cubicBezTo>
                <a:cubicBezTo>
                  <a:pt x="8209" y="12227"/>
                  <a:pt x="9634" y="12227"/>
                  <a:pt x="9634" y="12227"/>
                </a:cubicBezTo>
                <a:close/>
                <a:moveTo>
                  <a:pt x="8836" y="7714"/>
                </a:moveTo>
                <a:cubicBezTo>
                  <a:pt x="6938" y="7714"/>
                  <a:pt x="5400" y="10133"/>
                  <a:pt x="5400" y="13114"/>
                </a:cubicBezTo>
                <a:cubicBezTo>
                  <a:pt x="5400" y="16097"/>
                  <a:pt x="6938" y="18514"/>
                  <a:pt x="8836" y="18514"/>
                </a:cubicBezTo>
                <a:cubicBezTo>
                  <a:pt x="10734" y="18514"/>
                  <a:pt x="12273" y="16097"/>
                  <a:pt x="12273" y="13114"/>
                </a:cubicBezTo>
                <a:cubicBezTo>
                  <a:pt x="12273" y="10133"/>
                  <a:pt x="10734" y="7714"/>
                  <a:pt x="8836" y="7714"/>
                </a:cubicBezTo>
                <a:moveTo>
                  <a:pt x="4418" y="7714"/>
                </a:moveTo>
                <a:cubicBezTo>
                  <a:pt x="4147" y="7714"/>
                  <a:pt x="3927" y="8060"/>
                  <a:pt x="3927" y="8486"/>
                </a:cubicBezTo>
                <a:cubicBezTo>
                  <a:pt x="3927" y="8912"/>
                  <a:pt x="4147" y="9257"/>
                  <a:pt x="4418" y="9257"/>
                </a:cubicBezTo>
                <a:cubicBezTo>
                  <a:pt x="4689" y="9257"/>
                  <a:pt x="4909" y="8912"/>
                  <a:pt x="4909" y="8486"/>
                </a:cubicBezTo>
                <a:cubicBezTo>
                  <a:pt x="4909" y="8060"/>
                  <a:pt x="4689" y="7714"/>
                  <a:pt x="4418" y="7714"/>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6" y="16971"/>
                  <a:pt x="14727" y="18008"/>
                  <a:pt x="14727" y="19286"/>
                </a:cubicBezTo>
                <a:cubicBezTo>
                  <a:pt x="14727" y="19558"/>
                  <a:pt x="14763" y="19815"/>
                  <a:pt x="14818" y="20057"/>
                </a:cubicBezTo>
                <a:lnTo>
                  <a:pt x="2855" y="20057"/>
                </a:lnTo>
                <a:cubicBezTo>
                  <a:pt x="2910" y="19815"/>
                  <a:pt x="2945" y="19558"/>
                  <a:pt x="2945" y="19286"/>
                </a:cubicBezTo>
                <a:cubicBezTo>
                  <a:pt x="2945" y="18008"/>
                  <a:pt x="2286" y="16971"/>
                  <a:pt x="1473" y="16971"/>
                </a:cubicBezTo>
                <a:cubicBezTo>
                  <a:pt x="1299" y="16971"/>
                  <a:pt x="1136" y="17028"/>
                  <a:pt x="982" y="17113"/>
                </a:cubicBezTo>
                <a:lnTo>
                  <a:pt x="982" y="9116"/>
                </a:lnTo>
                <a:cubicBezTo>
                  <a:pt x="1136" y="9202"/>
                  <a:pt x="1299" y="9257"/>
                  <a:pt x="1473" y="9257"/>
                </a:cubicBezTo>
                <a:cubicBezTo>
                  <a:pt x="2286" y="9257"/>
                  <a:pt x="2945" y="8222"/>
                  <a:pt x="2945" y="6943"/>
                </a:cubicBezTo>
                <a:cubicBezTo>
                  <a:pt x="2945" y="6671"/>
                  <a:pt x="2910" y="6414"/>
                  <a:pt x="2855" y="6171"/>
                </a:cubicBezTo>
                <a:lnTo>
                  <a:pt x="14818" y="6171"/>
                </a:lnTo>
                <a:cubicBezTo>
                  <a:pt x="14763" y="6414"/>
                  <a:pt x="14727" y="6671"/>
                  <a:pt x="14727" y="6943"/>
                </a:cubicBezTo>
                <a:cubicBezTo>
                  <a:pt x="14727" y="8222"/>
                  <a:pt x="15386"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2" y="20057"/>
                  <a:pt x="982" y="19712"/>
                  <a:pt x="982" y="19286"/>
                </a:cubicBezTo>
                <a:cubicBezTo>
                  <a:pt x="982" y="18860"/>
                  <a:pt x="1202"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2" y="7714"/>
                  <a:pt x="982" y="7369"/>
                  <a:pt x="982" y="6943"/>
                </a:cubicBezTo>
                <a:cubicBezTo>
                  <a:pt x="982" y="6517"/>
                  <a:pt x="1202"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20618" y="0"/>
                </a:moveTo>
                <a:lnTo>
                  <a:pt x="4909" y="0"/>
                </a:lnTo>
                <a:cubicBezTo>
                  <a:pt x="4367" y="0"/>
                  <a:pt x="3927" y="691"/>
                  <a:pt x="3927" y="1543"/>
                </a:cubicBezTo>
                <a:lnTo>
                  <a:pt x="3927" y="2314"/>
                </a:lnTo>
                <a:cubicBezTo>
                  <a:pt x="3927" y="2741"/>
                  <a:pt x="4147" y="3086"/>
                  <a:pt x="4418" y="3086"/>
                </a:cubicBezTo>
                <a:cubicBezTo>
                  <a:pt x="4689" y="3086"/>
                  <a:pt x="4909" y="2741"/>
                  <a:pt x="4909" y="2314"/>
                </a:cubicBezTo>
                <a:lnTo>
                  <a:pt x="4909" y="1543"/>
                </a:lnTo>
                <a:lnTo>
                  <a:pt x="20618" y="1543"/>
                </a:lnTo>
                <a:lnTo>
                  <a:pt x="20618" y="15429"/>
                </a:lnTo>
                <a:lnTo>
                  <a:pt x="19145" y="15429"/>
                </a:lnTo>
                <a:cubicBezTo>
                  <a:pt x="18875" y="15429"/>
                  <a:pt x="18655" y="15775"/>
                  <a:pt x="18655" y="16200"/>
                </a:cubicBezTo>
                <a:cubicBezTo>
                  <a:pt x="18655" y="16626"/>
                  <a:pt x="18875" y="16971"/>
                  <a:pt x="19145" y="16971"/>
                </a:cubicBezTo>
                <a:lnTo>
                  <a:pt x="20618" y="16971"/>
                </a:lnTo>
                <a:cubicBezTo>
                  <a:pt x="21160" y="16971"/>
                  <a:pt x="21600" y="16281"/>
                  <a:pt x="21600" y="15429"/>
                </a:cubicBezTo>
                <a:lnTo>
                  <a:pt x="21600" y="1543"/>
                </a:lnTo>
                <a:cubicBezTo>
                  <a:pt x="21600" y="691"/>
                  <a:pt x="21160" y="0"/>
                  <a:pt x="20618" y="0"/>
                </a:cubicBezTo>
                <a:moveTo>
                  <a:pt x="13255" y="16971"/>
                </a:moveTo>
                <a:cubicBezTo>
                  <a:pt x="12984" y="16971"/>
                  <a:pt x="12764" y="17317"/>
                  <a:pt x="12764" y="17743"/>
                </a:cubicBezTo>
                <a:cubicBezTo>
                  <a:pt x="12764" y="18169"/>
                  <a:pt x="12984" y="18514"/>
                  <a:pt x="13255" y="18514"/>
                </a:cubicBezTo>
                <a:cubicBezTo>
                  <a:pt x="13525" y="18514"/>
                  <a:pt x="13745" y="18169"/>
                  <a:pt x="13745" y="17743"/>
                </a:cubicBezTo>
                <a:cubicBezTo>
                  <a:pt x="13745" y="17317"/>
                  <a:pt x="13525" y="16971"/>
                  <a:pt x="13255" y="169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4" name="Shape 2804"/>
          <p:cNvSpPr/>
          <p:nvPr/>
        </p:nvSpPr>
        <p:spPr>
          <a:xfrm>
            <a:off x="2260427" y="1517465"/>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393" y="11057"/>
                </a:moveTo>
                <a:lnTo>
                  <a:pt x="10114" y="13116"/>
                </a:lnTo>
                <a:cubicBezTo>
                  <a:pt x="10458" y="13273"/>
                  <a:pt x="11518" y="13902"/>
                  <a:pt x="11675" y="12740"/>
                </a:cubicBezTo>
                <a:cubicBezTo>
                  <a:pt x="11839" y="11528"/>
                  <a:pt x="10736" y="11215"/>
                  <a:pt x="10393" y="11057"/>
                </a:cubicBezTo>
                <a:moveTo>
                  <a:pt x="10772" y="8246"/>
                </a:moveTo>
                <a:lnTo>
                  <a:pt x="10520" y="10114"/>
                </a:lnTo>
                <a:cubicBezTo>
                  <a:pt x="10806" y="10246"/>
                  <a:pt x="11689" y="10782"/>
                  <a:pt x="11832" y="9726"/>
                </a:cubicBezTo>
                <a:cubicBezTo>
                  <a:pt x="11981" y="8623"/>
                  <a:pt x="11059" y="8378"/>
                  <a:pt x="10772" y="8246"/>
                </a:cubicBezTo>
                <a:moveTo>
                  <a:pt x="12833" y="9742"/>
                </a:moveTo>
                <a:cubicBezTo>
                  <a:pt x="12767" y="10572"/>
                  <a:pt x="12517" y="10974"/>
                  <a:pt x="12186" y="11116"/>
                </a:cubicBezTo>
                <a:cubicBezTo>
                  <a:pt x="12641" y="11552"/>
                  <a:pt x="12872" y="12224"/>
                  <a:pt x="12652" y="13386"/>
                </a:cubicBezTo>
                <a:cubicBezTo>
                  <a:pt x="12378" y="14828"/>
                  <a:pt x="11728" y="14950"/>
                  <a:pt x="10863" y="14648"/>
                </a:cubicBezTo>
                <a:lnTo>
                  <a:pt x="10653" y="16200"/>
                </a:lnTo>
                <a:lnTo>
                  <a:pt x="10146" y="15966"/>
                </a:lnTo>
                <a:lnTo>
                  <a:pt x="10353" y="14435"/>
                </a:lnTo>
                <a:cubicBezTo>
                  <a:pt x="10222" y="14376"/>
                  <a:pt x="10088" y="14311"/>
                  <a:pt x="9949" y="14242"/>
                </a:cubicBezTo>
                <a:lnTo>
                  <a:pt x="9741" y="15780"/>
                </a:lnTo>
                <a:lnTo>
                  <a:pt x="9235" y="15548"/>
                </a:lnTo>
                <a:lnTo>
                  <a:pt x="9444" y="13993"/>
                </a:lnTo>
                <a:cubicBezTo>
                  <a:pt x="9326" y="13936"/>
                  <a:pt x="9206" y="13877"/>
                  <a:pt x="9083" y="13820"/>
                </a:cubicBezTo>
                <a:lnTo>
                  <a:pt x="8423" y="13517"/>
                </a:lnTo>
                <a:lnTo>
                  <a:pt x="8675" y="12446"/>
                </a:lnTo>
                <a:cubicBezTo>
                  <a:pt x="8675" y="12446"/>
                  <a:pt x="9049" y="12629"/>
                  <a:pt x="9043" y="12615"/>
                </a:cubicBezTo>
                <a:cubicBezTo>
                  <a:pt x="9187" y="12681"/>
                  <a:pt x="9251" y="12509"/>
                  <a:pt x="9276" y="12393"/>
                </a:cubicBezTo>
                <a:lnTo>
                  <a:pt x="9607" y="9940"/>
                </a:lnTo>
                <a:cubicBezTo>
                  <a:pt x="9626" y="9949"/>
                  <a:pt x="9644" y="9957"/>
                  <a:pt x="9661" y="9965"/>
                </a:cubicBezTo>
                <a:cubicBezTo>
                  <a:pt x="9641" y="9950"/>
                  <a:pt x="9623" y="9940"/>
                  <a:pt x="9608" y="9933"/>
                </a:cubicBezTo>
                <a:lnTo>
                  <a:pt x="9845" y="8183"/>
                </a:lnTo>
                <a:cubicBezTo>
                  <a:pt x="9851" y="7984"/>
                  <a:pt x="9814" y="7733"/>
                  <a:pt x="9608" y="7639"/>
                </a:cubicBezTo>
                <a:cubicBezTo>
                  <a:pt x="9616" y="7629"/>
                  <a:pt x="9240" y="7469"/>
                  <a:pt x="9240" y="7469"/>
                </a:cubicBezTo>
                <a:lnTo>
                  <a:pt x="9375" y="6471"/>
                </a:lnTo>
                <a:lnTo>
                  <a:pt x="10074" y="6793"/>
                </a:lnTo>
                <a:lnTo>
                  <a:pt x="10074" y="6798"/>
                </a:lnTo>
                <a:cubicBezTo>
                  <a:pt x="10179" y="6845"/>
                  <a:pt x="10288" y="6892"/>
                  <a:pt x="10398" y="6937"/>
                </a:cubicBezTo>
                <a:lnTo>
                  <a:pt x="10606" y="5401"/>
                </a:lnTo>
                <a:lnTo>
                  <a:pt x="11113" y="5634"/>
                </a:lnTo>
                <a:lnTo>
                  <a:pt x="10909" y="7140"/>
                </a:lnTo>
                <a:cubicBezTo>
                  <a:pt x="11045" y="7197"/>
                  <a:pt x="11182" y="7255"/>
                  <a:pt x="11315" y="7317"/>
                </a:cubicBezTo>
                <a:lnTo>
                  <a:pt x="11517" y="5821"/>
                </a:lnTo>
                <a:lnTo>
                  <a:pt x="12025" y="6054"/>
                </a:lnTo>
                <a:lnTo>
                  <a:pt x="11817" y="7590"/>
                </a:lnTo>
                <a:cubicBezTo>
                  <a:pt x="12457" y="7998"/>
                  <a:pt x="12926" y="8607"/>
                  <a:pt x="12833" y="9742"/>
                </a:cubicBezTo>
                <a:moveTo>
                  <a:pt x="10800" y="3600"/>
                </a:moveTo>
                <a:cubicBezTo>
                  <a:pt x="8631" y="3600"/>
                  <a:pt x="6873" y="6824"/>
                  <a:pt x="6873" y="10800"/>
                </a:cubicBezTo>
                <a:cubicBezTo>
                  <a:pt x="6873" y="14777"/>
                  <a:pt x="8631" y="18000"/>
                  <a:pt x="10800" y="18000"/>
                </a:cubicBezTo>
                <a:cubicBezTo>
                  <a:pt x="12969" y="18000"/>
                  <a:pt x="14727" y="14777"/>
                  <a:pt x="14727" y="10800"/>
                </a:cubicBezTo>
                <a:cubicBezTo>
                  <a:pt x="14727" y="6824"/>
                  <a:pt x="12969" y="3600"/>
                  <a:pt x="10800" y="3600"/>
                </a:cubicBezTo>
                <a:moveTo>
                  <a:pt x="17182" y="16200"/>
                </a:moveTo>
                <a:lnTo>
                  <a:pt x="16200" y="16200"/>
                </a:lnTo>
                <a:cubicBezTo>
                  <a:pt x="15928" y="16200"/>
                  <a:pt x="15709" y="16603"/>
                  <a:pt x="15709" y="17100"/>
                </a:cubicBezTo>
                <a:cubicBezTo>
                  <a:pt x="15709" y="17598"/>
                  <a:pt x="15928" y="18000"/>
                  <a:pt x="16200" y="18000"/>
                </a:cubicBezTo>
                <a:lnTo>
                  <a:pt x="17182" y="18000"/>
                </a:lnTo>
                <a:cubicBezTo>
                  <a:pt x="17453" y="18000"/>
                  <a:pt x="17673" y="17598"/>
                  <a:pt x="17673" y="17100"/>
                </a:cubicBezTo>
                <a:cubicBezTo>
                  <a:pt x="17673" y="16603"/>
                  <a:pt x="17453" y="16200"/>
                  <a:pt x="17182" y="16200"/>
                </a:cubicBezTo>
                <a:moveTo>
                  <a:pt x="5400" y="3600"/>
                </a:moveTo>
                <a:lnTo>
                  <a:pt x="4418" y="3600"/>
                </a:lnTo>
                <a:cubicBezTo>
                  <a:pt x="4147" y="3600"/>
                  <a:pt x="3927" y="4003"/>
                  <a:pt x="3927" y="4500"/>
                </a:cubicBezTo>
                <a:cubicBezTo>
                  <a:pt x="3927" y="4998"/>
                  <a:pt x="4147" y="5400"/>
                  <a:pt x="4418" y="5400"/>
                </a:cubicBezTo>
                <a:lnTo>
                  <a:pt x="5400" y="5400"/>
                </a:lnTo>
                <a:cubicBezTo>
                  <a:pt x="5671" y="5400"/>
                  <a:pt x="5891" y="4998"/>
                  <a:pt x="5891" y="4500"/>
                </a:cubicBezTo>
                <a:cubicBezTo>
                  <a:pt x="5891" y="4003"/>
                  <a:pt x="5671" y="3600"/>
                  <a:pt x="5400" y="3600"/>
                </a:cubicBezTo>
                <a:moveTo>
                  <a:pt x="20127" y="3600"/>
                </a:moveTo>
                <a:cubicBezTo>
                  <a:pt x="19856" y="3600"/>
                  <a:pt x="19636" y="3198"/>
                  <a:pt x="19636" y="2700"/>
                </a:cubicBezTo>
                <a:cubicBezTo>
                  <a:pt x="19636" y="2203"/>
                  <a:pt x="19856" y="1800"/>
                  <a:pt x="20127" y="1800"/>
                </a:cubicBezTo>
                <a:cubicBezTo>
                  <a:pt x="20398" y="1800"/>
                  <a:pt x="20618" y="2203"/>
                  <a:pt x="20618" y="2700"/>
                </a:cubicBezTo>
                <a:cubicBezTo>
                  <a:pt x="20618" y="3198"/>
                  <a:pt x="20398" y="3600"/>
                  <a:pt x="20127" y="3600"/>
                </a:cubicBezTo>
                <a:moveTo>
                  <a:pt x="20618" y="16365"/>
                </a:moveTo>
                <a:cubicBezTo>
                  <a:pt x="20464" y="16265"/>
                  <a:pt x="20300" y="16200"/>
                  <a:pt x="20127" y="16200"/>
                </a:cubicBezTo>
                <a:cubicBezTo>
                  <a:pt x="19314" y="16200"/>
                  <a:pt x="18655" y="17410"/>
                  <a:pt x="18655" y="18900"/>
                </a:cubicBezTo>
                <a:cubicBezTo>
                  <a:pt x="18655" y="19217"/>
                  <a:pt x="18690" y="19518"/>
                  <a:pt x="18744" y="19800"/>
                </a:cubicBezTo>
                <a:lnTo>
                  <a:pt x="2855" y="19800"/>
                </a:lnTo>
                <a:cubicBezTo>
                  <a:pt x="2910" y="19518"/>
                  <a:pt x="2945" y="19217"/>
                  <a:pt x="2945" y="18900"/>
                </a:cubicBezTo>
                <a:cubicBezTo>
                  <a:pt x="2945" y="17410"/>
                  <a:pt x="2286" y="16200"/>
                  <a:pt x="1473" y="16200"/>
                </a:cubicBezTo>
                <a:cubicBezTo>
                  <a:pt x="1299" y="16200"/>
                  <a:pt x="1136" y="16265"/>
                  <a:pt x="982" y="16365"/>
                </a:cubicBezTo>
                <a:lnTo>
                  <a:pt x="982" y="5235"/>
                </a:lnTo>
                <a:cubicBezTo>
                  <a:pt x="1136" y="5336"/>
                  <a:pt x="1299" y="5400"/>
                  <a:pt x="1473" y="5400"/>
                </a:cubicBezTo>
                <a:cubicBezTo>
                  <a:pt x="2286" y="5400"/>
                  <a:pt x="2945" y="4192"/>
                  <a:pt x="2945" y="2700"/>
                </a:cubicBezTo>
                <a:cubicBezTo>
                  <a:pt x="2945" y="2383"/>
                  <a:pt x="2910" y="2083"/>
                  <a:pt x="2855" y="1800"/>
                </a:cubicBezTo>
                <a:lnTo>
                  <a:pt x="18744" y="1800"/>
                </a:lnTo>
                <a:cubicBezTo>
                  <a:pt x="18690" y="2083"/>
                  <a:pt x="18655" y="2383"/>
                  <a:pt x="18655" y="2700"/>
                </a:cubicBezTo>
                <a:cubicBezTo>
                  <a:pt x="18655" y="4192"/>
                  <a:pt x="19314" y="5400"/>
                  <a:pt x="20127" y="5400"/>
                </a:cubicBezTo>
                <a:cubicBezTo>
                  <a:pt x="20300" y="5400"/>
                  <a:pt x="20464" y="5336"/>
                  <a:pt x="20618" y="5235"/>
                </a:cubicBezTo>
                <a:cubicBezTo>
                  <a:pt x="20618" y="5235"/>
                  <a:pt x="20618" y="16365"/>
                  <a:pt x="20618" y="16365"/>
                </a:cubicBezTo>
                <a:close/>
                <a:moveTo>
                  <a:pt x="20127" y="19800"/>
                </a:moveTo>
                <a:cubicBezTo>
                  <a:pt x="19856" y="19800"/>
                  <a:pt x="19636" y="19398"/>
                  <a:pt x="19636" y="18900"/>
                </a:cubicBezTo>
                <a:cubicBezTo>
                  <a:pt x="19636" y="18403"/>
                  <a:pt x="19856" y="18000"/>
                  <a:pt x="20127" y="18000"/>
                </a:cubicBezTo>
                <a:cubicBezTo>
                  <a:pt x="20398" y="18000"/>
                  <a:pt x="20618" y="18403"/>
                  <a:pt x="20618" y="18900"/>
                </a:cubicBezTo>
                <a:cubicBezTo>
                  <a:pt x="20618" y="19398"/>
                  <a:pt x="20398" y="19800"/>
                  <a:pt x="20127" y="19800"/>
                </a:cubicBezTo>
                <a:moveTo>
                  <a:pt x="1473" y="19800"/>
                </a:moveTo>
                <a:cubicBezTo>
                  <a:pt x="1201" y="19800"/>
                  <a:pt x="982" y="19398"/>
                  <a:pt x="982" y="18900"/>
                </a:cubicBezTo>
                <a:cubicBezTo>
                  <a:pt x="982" y="18403"/>
                  <a:pt x="1201" y="18000"/>
                  <a:pt x="1473" y="18000"/>
                </a:cubicBezTo>
                <a:cubicBezTo>
                  <a:pt x="1744" y="18000"/>
                  <a:pt x="1964" y="18403"/>
                  <a:pt x="1964" y="18900"/>
                </a:cubicBezTo>
                <a:cubicBezTo>
                  <a:pt x="1964" y="19398"/>
                  <a:pt x="1744" y="19800"/>
                  <a:pt x="1473" y="19800"/>
                </a:cubicBezTo>
                <a:moveTo>
                  <a:pt x="1473" y="1800"/>
                </a:moveTo>
                <a:cubicBezTo>
                  <a:pt x="1744" y="1800"/>
                  <a:pt x="1964" y="2203"/>
                  <a:pt x="1964" y="2700"/>
                </a:cubicBezTo>
                <a:cubicBezTo>
                  <a:pt x="1964" y="3198"/>
                  <a:pt x="1744" y="3600"/>
                  <a:pt x="1473" y="3600"/>
                </a:cubicBezTo>
                <a:cubicBezTo>
                  <a:pt x="1201" y="3600"/>
                  <a:pt x="982" y="3198"/>
                  <a:pt x="982" y="2700"/>
                </a:cubicBezTo>
                <a:cubicBezTo>
                  <a:pt x="982" y="2203"/>
                  <a:pt x="1201" y="1800"/>
                  <a:pt x="1473" y="1800"/>
                </a:cubicBezTo>
                <a:moveTo>
                  <a:pt x="20618" y="0"/>
                </a:moveTo>
                <a:lnTo>
                  <a:pt x="982" y="0"/>
                </a:lnTo>
                <a:cubicBezTo>
                  <a:pt x="439" y="0"/>
                  <a:pt x="0" y="806"/>
                  <a:pt x="0" y="1800"/>
                </a:cubicBezTo>
                <a:lnTo>
                  <a:pt x="0" y="19800"/>
                </a:lnTo>
                <a:cubicBezTo>
                  <a:pt x="0" y="20794"/>
                  <a:pt x="439" y="21600"/>
                  <a:pt x="982" y="21600"/>
                </a:cubicBezTo>
                <a:lnTo>
                  <a:pt x="20618" y="21600"/>
                </a:lnTo>
                <a:cubicBezTo>
                  <a:pt x="21160" y="21600"/>
                  <a:pt x="21600" y="20794"/>
                  <a:pt x="21600" y="19800"/>
                </a:cubicBezTo>
                <a:lnTo>
                  <a:pt x="21600" y="1800"/>
                </a:lnTo>
                <a:cubicBezTo>
                  <a:pt x="21600" y="806"/>
                  <a:pt x="21160" y="0"/>
                  <a:pt x="2061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5" name="Shape 2805"/>
          <p:cNvSpPr/>
          <p:nvPr/>
        </p:nvSpPr>
        <p:spPr>
          <a:xfrm>
            <a:off x="2660374"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0393" y="13692"/>
                </a:moveTo>
                <a:lnTo>
                  <a:pt x="10114" y="15237"/>
                </a:lnTo>
                <a:cubicBezTo>
                  <a:pt x="10458" y="15355"/>
                  <a:pt x="11518" y="15826"/>
                  <a:pt x="11675" y="14955"/>
                </a:cubicBezTo>
                <a:cubicBezTo>
                  <a:pt x="11839" y="14046"/>
                  <a:pt x="10737" y="13811"/>
                  <a:pt x="10393" y="13692"/>
                </a:cubicBezTo>
                <a:moveTo>
                  <a:pt x="12834" y="12706"/>
                </a:moveTo>
                <a:cubicBezTo>
                  <a:pt x="12767" y="13329"/>
                  <a:pt x="12517" y="13631"/>
                  <a:pt x="12186" y="13737"/>
                </a:cubicBezTo>
                <a:cubicBezTo>
                  <a:pt x="12641" y="14064"/>
                  <a:pt x="12873" y="14567"/>
                  <a:pt x="12652" y="15439"/>
                </a:cubicBezTo>
                <a:cubicBezTo>
                  <a:pt x="12378" y="16521"/>
                  <a:pt x="11728" y="16613"/>
                  <a:pt x="10863" y="16386"/>
                </a:cubicBezTo>
                <a:lnTo>
                  <a:pt x="10653" y="17550"/>
                </a:lnTo>
                <a:lnTo>
                  <a:pt x="10147" y="17375"/>
                </a:lnTo>
                <a:lnTo>
                  <a:pt x="10354" y="16227"/>
                </a:lnTo>
                <a:cubicBezTo>
                  <a:pt x="10222" y="16182"/>
                  <a:pt x="10088" y="16133"/>
                  <a:pt x="9950" y="16081"/>
                </a:cubicBezTo>
                <a:lnTo>
                  <a:pt x="9741" y="17235"/>
                </a:lnTo>
                <a:lnTo>
                  <a:pt x="9235" y="17061"/>
                </a:lnTo>
                <a:lnTo>
                  <a:pt x="9445" y="15894"/>
                </a:lnTo>
                <a:cubicBezTo>
                  <a:pt x="9326" y="15852"/>
                  <a:pt x="9206" y="15808"/>
                  <a:pt x="9083" y="15765"/>
                </a:cubicBezTo>
                <a:lnTo>
                  <a:pt x="8424" y="15538"/>
                </a:lnTo>
                <a:lnTo>
                  <a:pt x="8675" y="14735"/>
                </a:lnTo>
                <a:cubicBezTo>
                  <a:pt x="8675" y="14735"/>
                  <a:pt x="9049" y="14872"/>
                  <a:pt x="9044" y="14862"/>
                </a:cubicBezTo>
                <a:cubicBezTo>
                  <a:pt x="9187" y="14911"/>
                  <a:pt x="9251" y="14781"/>
                  <a:pt x="9276" y="14695"/>
                </a:cubicBezTo>
                <a:lnTo>
                  <a:pt x="9608" y="12855"/>
                </a:lnTo>
                <a:cubicBezTo>
                  <a:pt x="9626" y="12862"/>
                  <a:pt x="9645" y="12868"/>
                  <a:pt x="9661" y="12874"/>
                </a:cubicBezTo>
                <a:cubicBezTo>
                  <a:pt x="9641" y="12862"/>
                  <a:pt x="9623" y="12855"/>
                  <a:pt x="9609" y="12850"/>
                </a:cubicBezTo>
                <a:lnTo>
                  <a:pt x="9845" y="11537"/>
                </a:lnTo>
                <a:cubicBezTo>
                  <a:pt x="9852" y="11388"/>
                  <a:pt x="9814" y="11200"/>
                  <a:pt x="9609" y="11129"/>
                </a:cubicBezTo>
                <a:cubicBezTo>
                  <a:pt x="9617" y="11121"/>
                  <a:pt x="9241" y="11002"/>
                  <a:pt x="9241" y="11002"/>
                </a:cubicBezTo>
                <a:lnTo>
                  <a:pt x="9376" y="10253"/>
                </a:lnTo>
                <a:lnTo>
                  <a:pt x="10075" y="10494"/>
                </a:lnTo>
                <a:lnTo>
                  <a:pt x="10074" y="10498"/>
                </a:lnTo>
                <a:cubicBezTo>
                  <a:pt x="10180" y="10534"/>
                  <a:pt x="10288" y="10569"/>
                  <a:pt x="10398" y="10603"/>
                </a:cubicBezTo>
                <a:lnTo>
                  <a:pt x="10606" y="9451"/>
                </a:lnTo>
                <a:lnTo>
                  <a:pt x="11113" y="9626"/>
                </a:lnTo>
                <a:lnTo>
                  <a:pt x="10909" y="10755"/>
                </a:lnTo>
                <a:cubicBezTo>
                  <a:pt x="11045" y="10798"/>
                  <a:pt x="11182" y="10842"/>
                  <a:pt x="11316" y="10887"/>
                </a:cubicBezTo>
                <a:lnTo>
                  <a:pt x="11518" y="9765"/>
                </a:lnTo>
                <a:lnTo>
                  <a:pt x="12025" y="9940"/>
                </a:lnTo>
                <a:lnTo>
                  <a:pt x="11817" y="11093"/>
                </a:lnTo>
                <a:cubicBezTo>
                  <a:pt x="12457" y="11398"/>
                  <a:pt x="12926" y="11855"/>
                  <a:pt x="12834" y="12706"/>
                </a:cubicBezTo>
                <a:moveTo>
                  <a:pt x="10800" y="8100"/>
                </a:moveTo>
                <a:cubicBezTo>
                  <a:pt x="8631" y="8100"/>
                  <a:pt x="6873" y="10518"/>
                  <a:pt x="6873" y="13500"/>
                </a:cubicBezTo>
                <a:cubicBezTo>
                  <a:pt x="6873" y="16482"/>
                  <a:pt x="8631" y="18900"/>
                  <a:pt x="10800" y="18900"/>
                </a:cubicBezTo>
                <a:cubicBezTo>
                  <a:pt x="12969" y="18900"/>
                  <a:pt x="14727" y="16482"/>
                  <a:pt x="14727" y="13500"/>
                </a:cubicBezTo>
                <a:cubicBezTo>
                  <a:pt x="14727" y="10518"/>
                  <a:pt x="12969" y="8100"/>
                  <a:pt x="10800" y="8100"/>
                </a:cubicBezTo>
                <a:moveTo>
                  <a:pt x="5400" y="8100"/>
                </a:moveTo>
                <a:lnTo>
                  <a:pt x="4418" y="8100"/>
                </a:lnTo>
                <a:cubicBezTo>
                  <a:pt x="4147" y="8100"/>
                  <a:pt x="3927" y="8402"/>
                  <a:pt x="3927" y="8775"/>
                </a:cubicBezTo>
                <a:cubicBezTo>
                  <a:pt x="3927" y="9148"/>
                  <a:pt x="4147" y="9450"/>
                  <a:pt x="4418" y="9450"/>
                </a:cubicBezTo>
                <a:lnTo>
                  <a:pt x="5400" y="9450"/>
                </a:lnTo>
                <a:cubicBezTo>
                  <a:pt x="5671" y="9450"/>
                  <a:pt x="5891" y="9148"/>
                  <a:pt x="5891" y="8775"/>
                </a:cubicBezTo>
                <a:cubicBezTo>
                  <a:pt x="5891" y="8402"/>
                  <a:pt x="5671" y="8100"/>
                  <a:pt x="5400" y="8100"/>
                </a:cubicBezTo>
                <a:moveTo>
                  <a:pt x="17182" y="17550"/>
                </a:moveTo>
                <a:lnTo>
                  <a:pt x="16200" y="17550"/>
                </a:lnTo>
                <a:cubicBezTo>
                  <a:pt x="15929" y="17550"/>
                  <a:pt x="15709" y="17853"/>
                  <a:pt x="15709" y="18225"/>
                </a:cubicBezTo>
                <a:cubicBezTo>
                  <a:pt x="15709" y="18598"/>
                  <a:pt x="15929" y="18900"/>
                  <a:pt x="16200" y="18900"/>
                </a:cubicBezTo>
                <a:lnTo>
                  <a:pt x="17182" y="18900"/>
                </a:lnTo>
                <a:cubicBezTo>
                  <a:pt x="17453" y="18900"/>
                  <a:pt x="17673" y="18598"/>
                  <a:pt x="17673" y="18225"/>
                </a:cubicBezTo>
                <a:cubicBezTo>
                  <a:pt x="17673" y="17853"/>
                  <a:pt x="17453" y="17550"/>
                  <a:pt x="17182" y="17550"/>
                </a:cubicBezTo>
                <a:moveTo>
                  <a:pt x="20127" y="8100"/>
                </a:moveTo>
                <a:cubicBezTo>
                  <a:pt x="19856" y="8100"/>
                  <a:pt x="19636" y="7798"/>
                  <a:pt x="19636" y="7425"/>
                </a:cubicBezTo>
                <a:cubicBezTo>
                  <a:pt x="19636" y="7052"/>
                  <a:pt x="19856" y="6750"/>
                  <a:pt x="20127" y="6750"/>
                </a:cubicBezTo>
                <a:cubicBezTo>
                  <a:pt x="20399" y="6750"/>
                  <a:pt x="20618" y="7052"/>
                  <a:pt x="20618" y="7425"/>
                </a:cubicBezTo>
                <a:cubicBezTo>
                  <a:pt x="20618" y="7798"/>
                  <a:pt x="20399" y="8100"/>
                  <a:pt x="20127" y="8100"/>
                </a:cubicBezTo>
                <a:moveTo>
                  <a:pt x="20618" y="17674"/>
                </a:moveTo>
                <a:cubicBezTo>
                  <a:pt x="20464" y="17599"/>
                  <a:pt x="20300" y="17550"/>
                  <a:pt x="20127" y="17550"/>
                </a:cubicBezTo>
                <a:cubicBezTo>
                  <a:pt x="19314" y="17550"/>
                  <a:pt x="18655" y="18457"/>
                  <a:pt x="18655" y="19575"/>
                </a:cubicBezTo>
                <a:cubicBezTo>
                  <a:pt x="18655" y="19813"/>
                  <a:pt x="18690" y="20038"/>
                  <a:pt x="18745" y="20250"/>
                </a:cubicBezTo>
                <a:lnTo>
                  <a:pt x="2855" y="20250"/>
                </a:lnTo>
                <a:cubicBezTo>
                  <a:pt x="2910" y="20038"/>
                  <a:pt x="2945" y="19813"/>
                  <a:pt x="2945" y="19575"/>
                </a:cubicBezTo>
                <a:cubicBezTo>
                  <a:pt x="2945" y="18457"/>
                  <a:pt x="2286" y="17550"/>
                  <a:pt x="1473" y="17550"/>
                </a:cubicBezTo>
                <a:cubicBezTo>
                  <a:pt x="1300" y="17550"/>
                  <a:pt x="1136" y="17599"/>
                  <a:pt x="982" y="17674"/>
                </a:cubicBezTo>
                <a:lnTo>
                  <a:pt x="982" y="9326"/>
                </a:lnTo>
                <a:cubicBezTo>
                  <a:pt x="1136" y="9402"/>
                  <a:pt x="1300" y="9450"/>
                  <a:pt x="1473" y="9450"/>
                </a:cubicBezTo>
                <a:cubicBezTo>
                  <a:pt x="2286" y="9450"/>
                  <a:pt x="2945" y="8544"/>
                  <a:pt x="2945" y="7425"/>
                </a:cubicBezTo>
                <a:cubicBezTo>
                  <a:pt x="2945" y="7187"/>
                  <a:pt x="2910" y="6962"/>
                  <a:pt x="2855" y="6750"/>
                </a:cubicBezTo>
                <a:lnTo>
                  <a:pt x="18745" y="6750"/>
                </a:lnTo>
                <a:cubicBezTo>
                  <a:pt x="18690" y="6962"/>
                  <a:pt x="18655" y="7187"/>
                  <a:pt x="18655" y="7425"/>
                </a:cubicBezTo>
                <a:cubicBezTo>
                  <a:pt x="18655" y="8544"/>
                  <a:pt x="19314" y="9450"/>
                  <a:pt x="20127" y="9450"/>
                </a:cubicBezTo>
                <a:cubicBezTo>
                  <a:pt x="20300" y="9450"/>
                  <a:pt x="20464" y="9402"/>
                  <a:pt x="20618" y="9326"/>
                </a:cubicBezTo>
                <a:cubicBezTo>
                  <a:pt x="20618" y="9326"/>
                  <a:pt x="20618" y="17674"/>
                  <a:pt x="20618" y="17674"/>
                </a:cubicBezTo>
                <a:close/>
                <a:moveTo>
                  <a:pt x="20127" y="20250"/>
                </a:moveTo>
                <a:cubicBezTo>
                  <a:pt x="19856" y="20250"/>
                  <a:pt x="19636" y="19948"/>
                  <a:pt x="19636" y="19575"/>
                </a:cubicBezTo>
                <a:cubicBezTo>
                  <a:pt x="19636" y="19203"/>
                  <a:pt x="19856" y="18900"/>
                  <a:pt x="20127" y="18900"/>
                </a:cubicBezTo>
                <a:cubicBezTo>
                  <a:pt x="20399" y="18900"/>
                  <a:pt x="20618" y="19203"/>
                  <a:pt x="20618" y="19575"/>
                </a:cubicBezTo>
                <a:cubicBezTo>
                  <a:pt x="20618" y="19948"/>
                  <a:pt x="20399" y="20250"/>
                  <a:pt x="20127" y="20250"/>
                </a:cubicBezTo>
                <a:moveTo>
                  <a:pt x="1473" y="20250"/>
                </a:moveTo>
                <a:cubicBezTo>
                  <a:pt x="1201" y="20250"/>
                  <a:pt x="982" y="19948"/>
                  <a:pt x="982" y="19575"/>
                </a:cubicBezTo>
                <a:cubicBezTo>
                  <a:pt x="982" y="19203"/>
                  <a:pt x="1201" y="18900"/>
                  <a:pt x="1473" y="18900"/>
                </a:cubicBezTo>
                <a:cubicBezTo>
                  <a:pt x="1744" y="18900"/>
                  <a:pt x="1964" y="19203"/>
                  <a:pt x="1964" y="19575"/>
                </a:cubicBezTo>
                <a:cubicBezTo>
                  <a:pt x="1964" y="19948"/>
                  <a:pt x="1744" y="20250"/>
                  <a:pt x="1473" y="20250"/>
                </a:cubicBezTo>
                <a:moveTo>
                  <a:pt x="1473" y="6750"/>
                </a:moveTo>
                <a:cubicBezTo>
                  <a:pt x="1744" y="6750"/>
                  <a:pt x="1964" y="7052"/>
                  <a:pt x="1964" y="7425"/>
                </a:cubicBezTo>
                <a:cubicBezTo>
                  <a:pt x="1964" y="7798"/>
                  <a:pt x="1744" y="8100"/>
                  <a:pt x="1473" y="8100"/>
                </a:cubicBezTo>
                <a:cubicBezTo>
                  <a:pt x="1201" y="8100"/>
                  <a:pt x="982" y="7798"/>
                  <a:pt x="982" y="7425"/>
                </a:cubicBezTo>
                <a:cubicBezTo>
                  <a:pt x="982" y="7052"/>
                  <a:pt x="1201" y="6750"/>
                  <a:pt x="1473" y="6750"/>
                </a:cubicBezTo>
                <a:moveTo>
                  <a:pt x="20618" y="5400"/>
                </a:moveTo>
                <a:lnTo>
                  <a:pt x="982" y="5400"/>
                </a:lnTo>
                <a:cubicBezTo>
                  <a:pt x="440" y="5400"/>
                  <a:pt x="0" y="6004"/>
                  <a:pt x="0" y="6750"/>
                </a:cubicBezTo>
                <a:lnTo>
                  <a:pt x="0" y="20250"/>
                </a:lnTo>
                <a:cubicBezTo>
                  <a:pt x="0" y="20996"/>
                  <a:pt x="440" y="21600"/>
                  <a:pt x="982" y="21600"/>
                </a:cubicBezTo>
                <a:lnTo>
                  <a:pt x="20618" y="21600"/>
                </a:lnTo>
                <a:cubicBezTo>
                  <a:pt x="21160" y="21600"/>
                  <a:pt x="21600" y="20996"/>
                  <a:pt x="21600" y="20250"/>
                </a:cubicBezTo>
                <a:lnTo>
                  <a:pt x="21600" y="6750"/>
                </a:lnTo>
                <a:cubicBezTo>
                  <a:pt x="21600" y="6004"/>
                  <a:pt x="21160" y="5400"/>
                  <a:pt x="20618" y="5400"/>
                </a:cubicBezTo>
                <a:moveTo>
                  <a:pt x="10773" y="11584"/>
                </a:moveTo>
                <a:lnTo>
                  <a:pt x="10520" y="12985"/>
                </a:lnTo>
                <a:cubicBezTo>
                  <a:pt x="10807" y="13084"/>
                  <a:pt x="11689" y="13487"/>
                  <a:pt x="11832" y="12694"/>
                </a:cubicBezTo>
                <a:cubicBezTo>
                  <a:pt x="11981" y="11867"/>
                  <a:pt x="11059" y="11683"/>
                  <a:pt x="10773" y="11584"/>
                </a:cubicBezTo>
                <a:moveTo>
                  <a:pt x="2455" y="4050"/>
                </a:moveTo>
                <a:lnTo>
                  <a:pt x="19145" y="4050"/>
                </a:lnTo>
                <a:cubicBezTo>
                  <a:pt x="19417" y="4050"/>
                  <a:pt x="19636" y="3748"/>
                  <a:pt x="19636" y="3375"/>
                </a:cubicBezTo>
                <a:cubicBezTo>
                  <a:pt x="19636" y="3002"/>
                  <a:pt x="19417" y="2700"/>
                  <a:pt x="19145" y="2700"/>
                </a:cubicBezTo>
                <a:lnTo>
                  <a:pt x="2455" y="2700"/>
                </a:lnTo>
                <a:cubicBezTo>
                  <a:pt x="2183" y="2700"/>
                  <a:pt x="1964" y="3002"/>
                  <a:pt x="1964" y="3375"/>
                </a:cubicBezTo>
                <a:cubicBezTo>
                  <a:pt x="1964" y="3748"/>
                  <a:pt x="2183" y="4050"/>
                  <a:pt x="2455" y="4050"/>
                </a:cubicBezTo>
                <a:moveTo>
                  <a:pt x="4418" y="1350"/>
                </a:moveTo>
                <a:lnTo>
                  <a:pt x="17182" y="1350"/>
                </a:lnTo>
                <a:cubicBezTo>
                  <a:pt x="17453" y="1350"/>
                  <a:pt x="17673" y="1048"/>
                  <a:pt x="17673" y="675"/>
                </a:cubicBezTo>
                <a:cubicBezTo>
                  <a:pt x="17673" y="302"/>
                  <a:pt x="17453" y="0"/>
                  <a:pt x="17182" y="0"/>
                </a:cubicBezTo>
                <a:lnTo>
                  <a:pt x="4418" y="0"/>
                </a:lnTo>
                <a:cubicBezTo>
                  <a:pt x="4147" y="0"/>
                  <a:pt x="3927" y="302"/>
                  <a:pt x="3927" y="675"/>
                </a:cubicBezTo>
                <a:cubicBezTo>
                  <a:pt x="3927" y="1048"/>
                  <a:pt x="4147" y="1350"/>
                  <a:pt x="4418" y="13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6" name="Shape 2806"/>
          <p:cNvSpPr/>
          <p:nvPr/>
        </p:nvSpPr>
        <p:spPr>
          <a:xfrm>
            <a:off x="3060320" y="1507943"/>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0442" y="12358"/>
                </a:moveTo>
                <a:cubicBezTo>
                  <a:pt x="10390" y="12952"/>
                  <a:pt x="10196" y="13240"/>
                  <a:pt x="9938" y="13340"/>
                </a:cubicBezTo>
                <a:cubicBezTo>
                  <a:pt x="10292" y="13653"/>
                  <a:pt x="10472" y="14131"/>
                  <a:pt x="10300" y="14961"/>
                </a:cubicBezTo>
                <a:cubicBezTo>
                  <a:pt x="10088" y="15991"/>
                  <a:pt x="9582" y="16078"/>
                  <a:pt x="8910" y="15863"/>
                </a:cubicBezTo>
                <a:lnTo>
                  <a:pt x="8746" y="16971"/>
                </a:lnTo>
                <a:lnTo>
                  <a:pt x="8352" y="16805"/>
                </a:lnTo>
                <a:lnTo>
                  <a:pt x="8513" y="15711"/>
                </a:lnTo>
                <a:cubicBezTo>
                  <a:pt x="8411" y="15668"/>
                  <a:pt x="8306" y="15622"/>
                  <a:pt x="8199" y="15573"/>
                </a:cubicBezTo>
                <a:lnTo>
                  <a:pt x="8037" y="16672"/>
                </a:lnTo>
                <a:lnTo>
                  <a:pt x="7643" y="16505"/>
                </a:lnTo>
                <a:lnTo>
                  <a:pt x="7806" y="15395"/>
                </a:lnTo>
                <a:cubicBezTo>
                  <a:pt x="7714" y="15355"/>
                  <a:pt x="7621" y="15312"/>
                  <a:pt x="7525" y="15272"/>
                </a:cubicBezTo>
                <a:lnTo>
                  <a:pt x="7012" y="15055"/>
                </a:lnTo>
                <a:lnTo>
                  <a:pt x="7207" y="14290"/>
                </a:lnTo>
                <a:cubicBezTo>
                  <a:pt x="7207" y="14290"/>
                  <a:pt x="7498" y="14421"/>
                  <a:pt x="7495" y="14412"/>
                </a:cubicBezTo>
                <a:cubicBezTo>
                  <a:pt x="7606" y="14459"/>
                  <a:pt x="7656" y="14335"/>
                  <a:pt x="7675" y="14252"/>
                </a:cubicBezTo>
                <a:lnTo>
                  <a:pt x="7933" y="12501"/>
                </a:lnTo>
                <a:cubicBezTo>
                  <a:pt x="7948" y="12506"/>
                  <a:pt x="7961" y="12512"/>
                  <a:pt x="7974" y="12518"/>
                </a:cubicBezTo>
                <a:cubicBezTo>
                  <a:pt x="7959" y="12507"/>
                  <a:pt x="7945" y="12501"/>
                  <a:pt x="7934" y="12495"/>
                </a:cubicBezTo>
                <a:lnTo>
                  <a:pt x="8118" y="11245"/>
                </a:lnTo>
                <a:cubicBezTo>
                  <a:pt x="8122" y="11103"/>
                  <a:pt x="8093" y="10924"/>
                  <a:pt x="7934" y="10856"/>
                </a:cubicBezTo>
                <a:cubicBezTo>
                  <a:pt x="7940" y="10849"/>
                  <a:pt x="7647" y="10735"/>
                  <a:pt x="7647" y="10735"/>
                </a:cubicBezTo>
                <a:lnTo>
                  <a:pt x="7752" y="10022"/>
                </a:lnTo>
                <a:lnTo>
                  <a:pt x="8297" y="10252"/>
                </a:lnTo>
                <a:lnTo>
                  <a:pt x="8296" y="10255"/>
                </a:lnTo>
                <a:cubicBezTo>
                  <a:pt x="8378" y="10289"/>
                  <a:pt x="8462" y="10322"/>
                  <a:pt x="8548" y="10356"/>
                </a:cubicBezTo>
                <a:lnTo>
                  <a:pt x="8709" y="9258"/>
                </a:lnTo>
                <a:lnTo>
                  <a:pt x="9103" y="9424"/>
                </a:lnTo>
                <a:lnTo>
                  <a:pt x="8945" y="10500"/>
                </a:lnTo>
                <a:cubicBezTo>
                  <a:pt x="9051" y="10541"/>
                  <a:pt x="9158" y="10582"/>
                  <a:pt x="9261" y="10627"/>
                </a:cubicBezTo>
                <a:lnTo>
                  <a:pt x="9418" y="9557"/>
                </a:lnTo>
                <a:lnTo>
                  <a:pt x="9813" y="9724"/>
                </a:lnTo>
                <a:lnTo>
                  <a:pt x="9651" y="10822"/>
                </a:lnTo>
                <a:cubicBezTo>
                  <a:pt x="10149" y="11112"/>
                  <a:pt x="10513" y="11548"/>
                  <a:pt x="10442" y="12358"/>
                </a:cubicBezTo>
                <a:moveTo>
                  <a:pt x="8836" y="7714"/>
                </a:moveTo>
                <a:cubicBezTo>
                  <a:pt x="6938" y="7714"/>
                  <a:pt x="5400" y="10132"/>
                  <a:pt x="5400" y="13114"/>
                </a:cubicBezTo>
                <a:cubicBezTo>
                  <a:pt x="5400" y="16097"/>
                  <a:pt x="6938" y="18514"/>
                  <a:pt x="8836" y="18514"/>
                </a:cubicBezTo>
                <a:cubicBezTo>
                  <a:pt x="10734" y="18514"/>
                  <a:pt x="12273" y="16097"/>
                  <a:pt x="12273" y="13114"/>
                </a:cubicBezTo>
                <a:cubicBezTo>
                  <a:pt x="12273" y="10132"/>
                  <a:pt x="10734" y="7714"/>
                  <a:pt x="8836" y="7714"/>
                </a:cubicBezTo>
                <a:moveTo>
                  <a:pt x="13255" y="16971"/>
                </a:moveTo>
                <a:cubicBezTo>
                  <a:pt x="12983" y="16971"/>
                  <a:pt x="12764" y="17318"/>
                  <a:pt x="12764" y="17743"/>
                </a:cubicBezTo>
                <a:cubicBezTo>
                  <a:pt x="12764" y="18169"/>
                  <a:pt x="12983" y="18514"/>
                  <a:pt x="13255" y="18514"/>
                </a:cubicBezTo>
                <a:cubicBezTo>
                  <a:pt x="13526" y="18514"/>
                  <a:pt x="13745" y="18169"/>
                  <a:pt x="13745" y="17743"/>
                </a:cubicBezTo>
                <a:cubicBezTo>
                  <a:pt x="13745" y="17318"/>
                  <a:pt x="13526" y="16971"/>
                  <a:pt x="13255" y="16971"/>
                </a:cubicBezTo>
                <a:moveTo>
                  <a:pt x="8839" y="11290"/>
                </a:moveTo>
                <a:lnTo>
                  <a:pt x="8643" y="12624"/>
                </a:lnTo>
                <a:cubicBezTo>
                  <a:pt x="8865" y="12718"/>
                  <a:pt x="9552" y="13102"/>
                  <a:pt x="9663" y="12347"/>
                </a:cubicBezTo>
                <a:cubicBezTo>
                  <a:pt x="9778" y="11559"/>
                  <a:pt x="9062" y="11384"/>
                  <a:pt x="8839" y="11290"/>
                </a:cubicBezTo>
                <a:moveTo>
                  <a:pt x="20618" y="0"/>
                </a:moveTo>
                <a:lnTo>
                  <a:pt x="4909" y="0"/>
                </a:lnTo>
                <a:cubicBezTo>
                  <a:pt x="4367" y="0"/>
                  <a:pt x="3927" y="691"/>
                  <a:pt x="3927" y="1543"/>
                </a:cubicBezTo>
                <a:lnTo>
                  <a:pt x="3927" y="2314"/>
                </a:lnTo>
                <a:cubicBezTo>
                  <a:pt x="3927" y="2741"/>
                  <a:pt x="4147" y="3086"/>
                  <a:pt x="4418" y="3086"/>
                </a:cubicBezTo>
                <a:cubicBezTo>
                  <a:pt x="4690" y="3086"/>
                  <a:pt x="4909" y="2741"/>
                  <a:pt x="4909" y="2314"/>
                </a:cubicBezTo>
                <a:lnTo>
                  <a:pt x="4909" y="1543"/>
                </a:lnTo>
                <a:lnTo>
                  <a:pt x="20618" y="1543"/>
                </a:lnTo>
                <a:lnTo>
                  <a:pt x="20618" y="15429"/>
                </a:lnTo>
                <a:lnTo>
                  <a:pt x="19145" y="15429"/>
                </a:lnTo>
                <a:cubicBezTo>
                  <a:pt x="18874" y="15429"/>
                  <a:pt x="18655" y="15774"/>
                  <a:pt x="18655" y="16200"/>
                </a:cubicBezTo>
                <a:cubicBezTo>
                  <a:pt x="18655" y="16626"/>
                  <a:pt x="18874" y="16971"/>
                  <a:pt x="19145" y="16971"/>
                </a:cubicBezTo>
                <a:lnTo>
                  <a:pt x="20618" y="16971"/>
                </a:lnTo>
                <a:cubicBezTo>
                  <a:pt x="21160" y="16971"/>
                  <a:pt x="21600" y="16281"/>
                  <a:pt x="21600" y="15429"/>
                </a:cubicBezTo>
                <a:lnTo>
                  <a:pt x="21600" y="1543"/>
                </a:lnTo>
                <a:cubicBezTo>
                  <a:pt x="21600" y="691"/>
                  <a:pt x="21160" y="0"/>
                  <a:pt x="20618" y="0"/>
                </a:cubicBezTo>
                <a:moveTo>
                  <a:pt x="16200" y="7714"/>
                </a:moveTo>
                <a:cubicBezTo>
                  <a:pt x="15929" y="7714"/>
                  <a:pt x="15709" y="7369"/>
                  <a:pt x="15709" y="6943"/>
                </a:cubicBezTo>
                <a:cubicBezTo>
                  <a:pt x="15709" y="6517"/>
                  <a:pt x="15929" y="6171"/>
                  <a:pt x="16200" y="6171"/>
                </a:cubicBezTo>
                <a:cubicBezTo>
                  <a:pt x="16471" y="6171"/>
                  <a:pt x="16691" y="6517"/>
                  <a:pt x="16691" y="6943"/>
                </a:cubicBezTo>
                <a:cubicBezTo>
                  <a:pt x="16691" y="7369"/>
                  <a:pt x="16471" y="7714"/>
                  <a:pt x="16200" y="7714"/>
                </a:cubicBezTo>
                <a:moveTo>
                  <a:pt x="16691" y="17113"/>
                </a:moveTo>
                <a:cubicBezTo>
                  <a:pt x="16537" y="17028"/>
                  <a:pt x="16373" y="16971"/>
                  <a:pt x="16200" y="16971"/>
                </a:cubicBezTo>
                <a:cubicBezTo>
                  <a:pt x="15387" y="16971"/>
                  <a:pt x="14727" y="18008"/>
                  <a:pt x="14727" y="19286"/>
                </a:cubicBezTo>
                <a:cubicBezTo>
                  <a:pt x="14727" y="19558"/>
                  <a:pt x="14763" y="19815"/>
                  <a:pt x="14817" y="20057"/>
                </a:cubicBezTo>
                <a:lnTo>
                  <a:pt x="2855" y="20057"/>
                </a:lnTo>
                <a:cubicBezTo>
                  <a:pt x="2910" y="19815"/>
                  <a:pt x="2945" y="19558"/>
                  <a:pt x="2945" y="19286"/>
                </a:cubicBezTo>
                <a:cubicBezTo>
                  <a:pt x="2945" y="18008"/>
                  <a:pt x="2286" y="16971"/>
                  <a:pt x="1473" y="16971"/>
                </a:cubicBezTo>
                <a:cubicBezTo>
                  <a:pt x="1300" y="16971"/>
                  <a:pt x="1136" y="17028"/>
                  <a:pt x="982" y="17113"/>
                </a:cubicBezTo>
                <a:lnTo>
                  <a:pt x="982" y="9116"/>
                </a:lnTo>
                <a:cubicBezTo>
                  <a:pt x="1136" y="9202"/>
                  <a:pt x="1300" y="9257"/>
                  <a:pt x="1473" y="9257"/>
                </a:cubicBezTo>
                <a:cubicBezTo>
                  <a:pt x="2286" y="9257"/>
                  <a:pt x="2945" y="8222"/>
                  <a:pt x="2945" y="6943"/>
                </a:cubicBezTo>
                <a:cubicBezTo>
                  <a:pt x="2945" y="6671"/>
                  <a:pt x="2910" y="6414"/>
                  <a:pt x="2855" y="6171"/>
                </a:cubicBezTo>
                <a:lnTo>
                  <a:pt x="14817" y="6171"/>
                </a:lnTo>
                <a:cubicBezTo>
                  <a:pt x="14763" y="6414"/>
                  <a:pt x="14727" y="6671"/>
                  <a:pt x="14727" y="6943"/>
                </a:cubicBezTo>
                <a:cubicBezTo>
                  <a:pt x="14727" y="8222"/>
                  <a:pt x="15387" y="9257"/>
                  <a:pt x="16200" y="9257"/>
                </a:cubicBezTo>
                <a:cubicBezTo>
                  <a:pt x="16373" y="9257"/>
                  <a:pt x="16537" y="9202"/>
                  <a:pt x="16691" y="9116"/>
                </a:cubicBezTo>
                <a:cubicBezTo>
                  <a:pt x="16691" y="9116"/>
                  <a:pt x="16691" y="17113"/>
                  <a:pt x="16691" y="17113"/>
                </a:cubicBezTo>
                <a:close/>
                <a:moveTo>
                  <a:pt x="16200" y="20057"/>
                </a:moveTo>
                <a:cubicBezTo>
                  <a:pt x="15929" y="20057"/>
                  <a:pt x="15709" y="19712"/>
                  <a:pt x="15709" y="19286"/>
                </a:cubicBezTo>
                <a:cubicBezTo>
                  <a:pt x="15709" y="18860"/>
                  <a:pt x="15929" y="18514"/>
                  <a:pt x="16200" y="18514"/>
                </a:cubicBezTo>
                <a:cubicBezTo>
                  <a:pt x="16471" y="18514"/>
                  <a:pt x="16691" y="18860"/>
                  <a:pt x="16691" y="19286"/>
                </a:cubicBezTo>
                <a:cubicBezTo>
                  <a:pt x="16691" y="19712"/>
                  <a:pt x="16471" y="20057"/>
                  <a:pt x="16200" y="20057"/>
                </a:cubicBezTo>
                <a:moveTo>
                  <a:pt x="1473" y="20057"/>
                </a:moveTo>
                <a:cubicBezTo>
                  <a:pt x="1201" y="20057"/>
                  <a:pt x="982" y="19712"/>
                  <a:pt x="982" y="19286"/>
                </a:cubicBezTo>
                <a:cubicBezTo>
                  <a:pt x="982" y="18860"/>
                  <a:pt x="1201" y="18514"/>
                  <a:pt x="1473" y="18514"/>
                </a:cubicBezTo>
                <a:cubicBezTo>
                  <a:pt x="1744" y="18514"/>
                  <a:pt x="1964" y="18860"/>
                  <a:pt x="1964" y="19286"/>
                </a:cubicBezTo>
                <a:cubicBezTo>
                  <a:pt x="1964" y="19712"/>
                  <a:pt x="1744" y="20057"/>
                  <a:pt x="1473" y="20057"/>
                </a:cubicBezTo>
                <a:moveTo>
                  <a:pt x="1473" y="6171"/>
                </a:moveTo>
                <a:cubicBezTo>
                  <a:pt x="1744" y="6171"/>
                  <a:pt x="1964" y="6517"/>
                  <a:pt x="1964" y="6943"/>
                </a:cubicBezTo>
                <a:cubicBezTo>
                  <a:pt x="1964" y="7369"/>
                  <a:pt x="1744" y="7714"/>
                  <a:pt x="1473" y="7714"/>
                </a:cubicBezTo>
                <a:cubicBezTo>
                  <a:pt x="1201" y="7714"/>
                  <a:pt x="982" y="7369"/>
                  <a:pt x="982" y="6943"/>
                </a:cubicBezTo>
                <a:cubicBezTo>
                  <a:pt x="982" y="6517"/>
                  <a:pt x="1201" y="6171"/>
                  <a:pt x="1473" y="6171"/>
                </a:cubicBezTo>
                <a:moveTo>
                  <a:pt x="16691" y="4629"/>
                </a:moveTo>
                <a:lnTo>
                  <a:pt x="982" y="4629"/>
                </a:lnTo>
                <a:cubicBezTo>
                  <a:pt x="440" y="4629"/>
                  <a:pt x="0" y="5319"/>
                  <a:pt x="0" y="6171"/>
                </a:cubicBezTo>
                <a:lnTo>
                  <a:pt x="0" y="20057"/>
                </a:lnTo>
                <a:cubicBezTo>
                  <a:pt x="0" y="20909"/>
                  <a:pt x="440" y="21600"/>
                  <a:pt x="982" y="21600"/>
                </a:cubicBezTo>
                <a:lnTo>
                  <a:pt x="16691" y="21600"/>
                </a:lnTo>
                <a:cubicBezTo>
                  <a:pt x="17233" y="21600"/>
                  <a:pt x="17673" y="20909"/>
                  <a:pt x="17673" y="20057"/>
                </a:cubicBezTo>
                <a:lnTo>
                  <a:pt x="17673" y="6171"/>
                </a:lnTo>
                <a:cubicBezTo>
                  <a:pt x="17673" y="5319"/>
                  <a:pt x="17233" y="4629"/>
                  <a:pt x="16691" y="4629"/>
                </a:cubicBezTo>
                <a:moveTo>
                  <a:pt x="8543" y="13297"/>
                </a:moveTo>
                <a:lnTo>
                  <a:pt x="8327" y="14769"/>
                </a:lnTo>
                <a:cubicBezTo>
                  <a:pt x="8595" y="14882"/>
                  <a:pt x="9419" y="15330"/>
                  <a:pt x="9541" y="14500"/>
                </a:cubicBezTo>
                <a:cubicBezTo>
                  <a:pt x="9669" y="13634"/>
                  <a:pt x="8811" y="13410"/>
                  <a:pt x="8543" y="13297"/>
                </a:cubicBezTo>
                <a:moveTo>
                  <a:pt x="4418" y="7714"/>
                </a:moveTo>
                <a:cubicBezTo>
                  <a:pt x="4147" y="7714"/>
                  <a:pt x="3927" y="8060"/>
                  <a:pt x="3927" y="8486"/>
                </a:cubicBezTo>
                <a:cubicBezTo>
                  <a:pt x="3927" y="8912"/>
                  <a:pt x="4147" y="9257"/>
                  <a:pt x="4418" y="9257"/>
                </a:cubicBezTo>
                <a:cubicBezTo>
                  <a:pt x="4690" y="9257"/>
                  <a:pt x="4909" y="8912"/>
                  <a:pt x="4909" y="8486"/>
                </a:cubicBezTo>
                <a:cubicBezTo>
                  <a:pt x="4909" y="8060"/>
                  <a:pt x="4690" y="7714"/>
                  <a:pt x="4418" y="771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7" name="Shape 2807"/>
          <p:cNvSpPr/>
          <p:nvPr/>
        </p:nvSpPr>
        <p:spPr>
          <a:xfrm>
            <a:off x="3460265"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7075" y="12150"/>
                </a:moveTo>
                <a:lnTo>
                  <a:pt x="17294" y="9450"/>
                </a:lnTo>
                <a:lnTo>
                  <a:pt x="19843" y="9450"/>
                </a:lnTo>
                <a:lnTo>
                  <a:pt x="19406" y="12150"/>
                </a:lnTo>
                <a:cubicBezTo>
                  <a:pt x="19406" y="12150"/>
                  <a:pt x="17075" y="12150"/>
                  <a:pt x="17075" y="12150"/>
                </a:cubicBezTo>
                <a:close/>
                <a:moveTo>
                  <a:pt x="18752" y="16200"/>
                </a:moveTo>
                <a:lnTo>
                  <a:pt x="16748" y="16200"/>
                </a:lnTo>
                <a:lnTo>
                  <a:pt x="16967" y="13500"/>
                </a:lnTo>
                <a:lnTo>
                  <a:pt x="19188" y="13500"/>
                </a:lnTo>
                <a:cubicBezTo>
                  <a:pt x="19188" y="13500"/>
                  <a:pt x="18752" y="16200"/>
                  <a:pt x="18752" y="16200"/>
                </a:cubicBezTo>
                <a:close/>
                <a:moveTo>
                  <a:pt x="17673" y="20250"/>
                </a:moveTo>
                <a:cubicBezTo>
                  <a:pt x="17131" y="20250"/>
                  <a:pt x="16691" y="19645"/>
                  <a:pt x="16691" y="18900"/>
                </a:cubicBezTo>
                <a:cubicBezTo>
                  <a:pt x="16691" y="18155"/>
                  <a:pt x="17131" y="17550"/>
                  <a:pt x="17673" y="17550"/>
                </a:cubicBezTo>
                <a:cubicBezTo>
                  <a:pt x="18215" y="17550"/>
                  <a:pt x="18655" y="18155"/>
                  <a:pt x="18655" y="18900"/>
                </a:cubicBezTo>
                <a:cubicBezTo>
                  <a:pt x="18655" y="19645"/>
                  <a:pt x="18215" y="20250"/>
                  <a:pt x="17673" y="20250"/>
                </a:cubicBezTo>
                <a:moveTo>
                  <a:pt x="16415" y="8100"/>
                </a:moveTo>
                <a:lnTo>
                  <a:pt x="13745" y="8100"/>
                </a:lnTo>
                <a:lnTo>
                  <a:pt x="13745" y="5400"/>
                </a:lnTo>
                <a:lnTo>
                  <a:pt x="16633" y="5400"/>
                </a:lnTo>
                <a:cubicBezTo>
                  <a:pt x="16633" y="5400"/>
                  <a:pt x="16415" y="8100"/>
                  <a:pt x="16415" y="8100"/>
                </a:cubicBezTo>
                <a:close/>
                <a:moveTo>
                  <a:pt x="16088" y="12150"/>
                </a:moveTo>
                <a:lnTo>
                  <a:pt x="13745" y="12150"/>
                </a:lnTo>
                <a:lnTo>
                  <a:pt x="13745" y="9450"/>
                </a:lnTo>
                <a:lnTo>
                  <a:pt x="16306" y="9450"/>
                </a:lnTo>
                <a:cubicBezTo>
                  <a:pt x="16306" y="9450"/>
                  <a:pt x="16088" y="12150"/>
                  <a:pt x="16088" y="12150"/>
                </a:cubicBezTo>
                <a:close/>
                <a:moveTo>
                  <a:pt x="15761" y="16200"/>
                </a:moveTo>
                <a:lnTo>
                  <a:pt x="13745" y="16200"/>
                </a:lnTo>
                <a:lnTo>
                  <a:pt x="13745" y="13500"/>
                </a:lnTo>
                <a:lnTo>
                  <a:pt x="15979" y="13500"/>
                </a:lnTo>
                <a:cubicBezTo>
                  <a:pt x="15979" y="13500"/>
                  <a:pt x="15761" y="16200"/>
                  <a:pt x="15761" y="16200"/>
                </a:cubicBezTo>
                <a:close/>
                <a:moveTo>
                  <a:pt x="12764" y="8100"/>
                </a:moveTo>
                <a:lnTo>
                  <a:pt x="10094" y="8100"/>
                </a:lnTo>
                <a:lnTo>
                  <a:pt x="9876" y="5400"/>
                </a:lnTo>
                <a:lnTo>
                  <a:pt x="12764" y="5400"/>
                </a:lnTo>
                <a:cubicBezTo>
                  <a:pt x="12764" y="5400"/>
                  <a:pt x="12764" y="8100"/>
                  <a:pt x="12764" y="8100"/>
                </a:cubicBezTo>
                <a:close/>
                <a:moveTo>
                  <a:pt x="12764" y="12150"/>
                </a:moveTo>
                <a:lnTo>
                  <a:pt x="10421" y="12150"/>
                </a:lnTo>
                <a:lnTo>
                  <a:pt x="10203" y="9450"/>
                </a:lnTo>
                <a:lnTo>
                  <a:pt x="12764" y="9450"/>
                </a:lnTo>
                <a:cubicBezTo>
                  <a:pt x="12764" y="9450"/>
                  <a:pt x="12764" y="12150"/>
                  <a:pt x="12764" y="12150"/>
                </a:cubicBezTo>
                <a:close/>
                <a:moveTo>
                  <a:pt x="12764" y="16200"/>
                </a:moveTo>
                <a:lnTo>
                  <a:pt x="10748" y="16200"/>
                </a:lnTo>
                <a:lnTo>
                  <a:pt x="10531" y="13500"/>
                </a:lnTo>
                <a:lnTo>
                  <a:pt x="12764" y="13500"/>
                </a:lnTo>
                <a:cubicBezTo>
                  <a:pt x="12764" y="13500"/>
                  <a:pt x="12764" y="16200"/>
                  <a:pt x="12764" y="16200"/>
                </a:cubicBezTo>
                <a:close/>
                <a:moveTo>
                  <a:pt x="8836" y="20250"/>
                </a:moveTo>
                <a:cubicBezTo>
                  <a:pt x="8294" y="20250"/>
                  <a:pt x="7855" y="19645"/>
                  <a:pt x="7855" y="18900"/>
                </a:cubicBezTo>
                <a:cubicBezTo>
                  <a:pt x="7855" y="18155"/>
                  <a:pt x="8294" y="17550"/>
                  <a:pt x="8836" y="17550"/>
                </a:cubicBezTo>
                <a:cubicBezTo>
                  <a:pt x="9379" y="17550"/>
                  <a:pt x="9818" y="18155"/>
                  <a:pt x="9818" y="18900"/>
                </a:cubicBezTo>
                <a:cubicBezTo>
                  <a:pt x="9818" y="19645"/>
                  <a:pt x="9379" y="20250"/>
                  <a:pt x="8836" y="20250"/>
                </a:cubicBezTo>
                <a:moveTo>
                  <a:pt x="7213" y="13500"/>
                </a:moveTo>
                <a:lnTo>
                  <a:pt x="9543" y="13500"/>
                </a:lnTo>
                <a:lnTo>
                  <a:pt x="9761" y="16200"/>
                </a:lnTo>
                <a:lnTo>
                  <a:pt x="7740" y="16200"/>
                </a:lnTo>
                <a:cubicBezTo>
                  <a:pt x="7740" y="16200"/>
                  <a:pt x="7213" y="13500"/>
                  <a:pt x="7213" y="13500"/>
                </a:cubicBezTo>
                <a:close/>
                <a:moveTo>
                  <a:pt x="6950" y="12150"/>
                </a:moveTo>
                <a:lnTo>
                  <a:pt x="6423" y="9450"/>
                </a:lnTo>
                <a:lnTo>
                  <a:pt x="9215" y="9450"/>
                </a:lnTo>
                <a:lnTo>
                  <a:pt x="9434" y="12150"/>
                </a:lnTo>
                <a:cubicBezTo>
                  <a:pt x="9434" y="12150"/>
                  <a:pt x="6950" y="12150"/>
                  <a:pt x="6950" y="12150"/>
                </a:cubicBezTo>
                <a:close/>
                <a:moveTo>
                  <a:pt x="5633" y="5400"/>
                </a:moveTo>
                <a:lnTo>
                  <a:pt x="8888" y="5400"/>
                </a:lnTo>
                <a:lnTo>
                  <a:pt x="9106" y="8100"/>
                </a:lnTo>
                <a:lnTo>
                  <a:pt x="6160" y="8100"/>
                </a:lnTo>
                <a:cubicBezTo>
                  <a:pt x="6160" y="8100"/>
                  <a:pt x="5633" y="5400"/>
                  <a:pt x="5633" y="5400"/>
                </a:cubicBezTo>
                <a:close/>
                <a:moveTo>
                  <a:pt x="17621" y="5400"/>
                </a:moveTo>
                <a:lnTo>
                  <a:pt x="20497" y="5400"/>
                </a:lnTo>
                <a:lnTo>
                  <a:pt x="20061" y="8100"/>
                </a:lnTo>
                <a:lnTo>
                  <a:pt x="17403" y="8100"/>
                </a:lnTo>
                <a:cubicBezTo>
                  <a:pt x="17403" y="8100"/>
                  <a:pt x="17621" y="5400"/>
                  <a:pt x="17621" y="5400"/>
                </a:cubicBezTo>
                <a:close/>
                <a:moveTo>
                  <a:pt x="19619" y="17038"/>
                </a:moveTo>
                <a:lnTo>
                  <a:pt x="19622" y="17038"/>
                </a:lnTo>
                <a:lnTo>
                  <a:pt x="21586" y="4889"/>
                </a:lnTo>
                <a:lnTo>
                  <a:pt x="21577" y="4886"/>
                </a:lnTo>
                <a:cubicBezTo>
                  <a:pt x="21586" y="4833"/>
                  <a:pt x="21600" y="4782"/>
                  <a:pt x="21600" y="4725"/>
                </a:cubicBezTo>
                <a:cubicBezTo>
                  <a:pt x="21600" y="4352"/>
                  <a:pt x="21380" y="4050"/>
                  <a:pt x="21109" y="4050"/>
                </a:cubicBezTo>
                <a:lnTo>
                  <a:pt x="5370" y="4050"/>
                </a:lnTo>
                <a:lnTo>
                  <a:pt x="4674" y="481"/>
                </a:lnTo>
                <a:lnTo>
                  <a:pt x="4667" y="484"/>
                </a:lnTo>
                <a:cubicBezTo>
                  <a:pt x="4605" y="207"/>
                  <a:pt x="4425" y="0"/>
                  <a:pt x="4203" y="0"/>
                </a:cubicBezTo>
                <a:lnTo>
                  <a:pt x="491" y="0"/>
                </a:lnTo>
                <a:cubicBezTo>
                  <a:pt x="220" y="0"/>
                  <a:pt x="0" y="302"/>
                  <a:pt x="0" y="675"/>
                </a:cubicBezTo>
                <a:cubicBezTo>
                  <a:pt x="0" y="1048"/>
                  <a:pt x="220" y="1350"/>
                  <a:pt x="491" y="1350"/>
                </a:cubicBezTo>
                <a:lnTo>
                  <a:pt x="3827" y="1350"/>
                </a:lnTo>
                <a:lnTo>
                  <a:pt x="6893" y="17069"/>
                </a:lnTo>
                <a:lnTo>
                  <a:pt x="6894" y="17069"/>
                </a:lnTo>
                <a:cubicBezTo>
                  <a:pt x="6936" y="17259"/>
                  <a:pt x="7037" y="17414"/>
                  <a:pt x="7168" y="17493"/>
                </a:cubicBezTo>
                <a:cubicBezTo>
                  <a:pt x="6984" y="17903"/>
                  <a:pt x="6873" y="18383"/>
                  <a:pt x="6873" y="18900"/>
                </a:cubicBezTo>
                <a:cubicBezTo>
                  <a:pt x="6873" y="20391"/>
                  <a:pt x="7752" y="21600"/>
                  <a:pt x="8836" y="21600"/>
                </a:cubicBezTo>
                <a:cubicBezTo>
                  <a:pt x="9921" y="21600"/>
                  <a:pt x="10800" y="20391"/>
                  <a:pt x="10800" y="18900"/>
                </a:cubicBezTo>
                <a:cubicBezTo>
                  <a:pt x="10800" y="18406"/>
                  <a:pt x="10696" y="17949"/>
                  <a:pt x="10528" y="17550"/>
                </a:cubicBezTo>
                <a:lnTo>
                  <a:pt x="15981" y="17550"/>
                </a:lnTo>
                <a:cubicBezTo>
                  <a:pt x="15813" y="17949"/>
                  <a:pt x="15709" y="18406"/>
                  <a:pt x="15709" y="18900"/>
                </a:cubicBezTo>
                <a:cubicBezTo>
                  <a:pt x="15709" y="20391"/>
                  <a:pt x="16588" y="21600"/>
                  <a:pt x="17673" y="21600"/>
                </a:cubicBezTo>
                <a:cubicBezTo>
                  <a:pt x="18757" y="21600"/>
                  <a:pt x="19636" y="20391"/>
                  <a:pt x="19636" y="18900"/>
                </a:cubicBezTo>
                <a:cubicBezTo>
                  <a:pt x="19636" y="18383"/>
                  <a:pt x="19525" y="17903"/>
                  <a:pt x="19341" y="17493"/>
                </a:cubicBezTo>
                <a:cubicBezTo>
                  <a:pt x="19479" y="17410"/>
                  <a:pt x="19581" y="17242"/>
                  <a:pt x="19619" y="1703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8" name="Shape 2808"/>
          <p:cNvSpPr/>
          <p:nvPr/>
        </p:nvSpPr>
        <p:spPr>
          <a:xfrm>
            <a:off x="386021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09" name="Shape 2809"/>
          <p:cNvSpPr/>
          <p:nvPr/>
        </p:nvSpPr>
        <p:spPr>
          <a:xfrm>
            <a:off x="4260157"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076" y="14727"/>
                </a:moveTo>
                <a:lnTo>
                  <a:pt x="17294" y="12764"/>
                </a:lnTo>
                <a:lnTo>
                  <a:pt x="19843" y="12764"/>
                </a:lnTo>
                <a:lnTo>
                  <a:pt x="19406" y="14727"/>
                </a:lnTo>
                <a:cubicBezTo>
                  <a:pt x="19406" y="14727"/>
                  <a:pt x="17076" y="14727"/>
                  <a:pt x="17076"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5" y="9447"/>
                </a:lnTo>
                <a:lnTo>
                  <a:pt x="21577" y="9444"/>
                </a:lnTo>
                <a:cubicBezTo>
                  <a:pt x="21587" y="9406"/>
                  <a:pt x="21600" y="9369"/>
                  <a:pt x="21600" y="9327"/>
                </a:cubicBezTo>
                <a:cubicBezTo>
                  <a:pt x="21600" y="9056"/>
                  <a:pt x="21380" y="8836"/>
                  <a:pt x="21109" y="8836"/>
                </a:cubicBezTo>
                <a:lnTo>
                  <a:pt x="5370" y="8836"/>
                </a:lnTo>
                <a:lnTo>
                  <a:pt x="4674" y="6241"/>
                </a:lnTo>
                <a:lnTo>
                  <a:pt x="4667" y="6243"/>
                </a:lnTo>
                <a:cubicBezTo>
                  <a:pt x="4605"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2" y="18613"/>
                </a:cubicBezTo>
                <a:cubicBezTo>
                  <a:pt x="19479" y="18552"/>
                  <a:pt x="19581" y="18430"/>
                  <a:pt x="19619" y="18282"/>
                </a:cubicBezTo>
                <a:moveTo>
                  <a:pt x="11291" y="2945"/>
                </a:moveTo>
                <a:cubicBezTo>
                  <a:pt x="11427" y="2945"/>
                  <a:pt x="11549" y="2891"/>
                  <a:pt x="11638" y="2802"/>
                </a:cubicBezTo>
                <a:lnTo>
                  <a:pt x="12764" y="1676"/>
                </a:lnTo>
                <a:lnTo>
                  <a:pt x="12764" y="7364"/>
                </a:lnTo>
                <a:cubicBezTo>
                  <a:pt x="12764" y="7634"/>
                  <a:pt x="12983" y="7855"/>
                  <a:pt x="13255" y="7855"/>
                </a:cubicBezTo>
                <a:cubicBezTo>
                  <a:pt x="13526" y="7855"/>
                  <a:pt x="13745" y="7634"/>
                  <a:pt x="13745" y="7364"/>
                </a:cubicBezTo>
                <a:lnTo>
                  <a:pt x="13745" y="1676"/>
                </a:lnTo>
                <a:lnTo>
                  <a:pt x="14871" y="2802"/>
                </a:lnTo>
                <a:cubicBezTo>
                  <a:pt x="14959" y="2891"/>
                  <a:pt x="15082" y="2945"/>
                  <a:pt x="15218" y="2945"/>
                </a:cubicBezTo>
                <a:cubicBezTo>
                  <a:pt x="15490" y="2945"/>
                  <a:pt x="15709" y="2726"/>
                  <a:pt x="15709" y="2455"/>
                </a:cubicBezTo>
                <a:cubicBezTo>
                  <a:pt x="15709" y="2319"/>
                  <a:pt x="15654" y="2196"/>
                  <a:pt x="15565" y="2107"/>
                </a:cubicBezTo>
                <a:lnTo>
                  <a:pt x="13602" y="144"/>
                </a:lnTo>
                <a:cubicBezTo>
                  <a:pt x="13513" y="55"/>
                  <a:pt x="13390" y="0"/>
                  <a:pt x="13255" y="0"/>
                </a:cubicBezTo>
                <a:cubicBezTo>
                  <a:pt x="13118" y="0"/>
                  <a:pt x="12996" y="55"/>
                  <a:pt x="12907" y="144"/>
                </a:cubicBezTo>
                <a:lnTo>
                  <a:pt x="10944" y="2107"/>
                </a:lnTo>
                <a:cubicBezTo>
                  <a:pt x="10855" y="2196"/>
                  <a:pt x="10800" y="2319"/>
                  <a:pt x="10800" y="2455"/>
                </a:cubicBezTo>
                <a:cubicBezTo>
                  <a:pt x="10800" y="2726"/>
                  <a:pt x="11020" y="2945"/>
                  <a:pt x="11291" y="29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0" name="Shape 2810"/>
          <p:cNvSpPr/>
          <p:nvPr/>
        </p:nvSpPr>
        <p:spPr>
          <a:xfrm>
            <a:off x="4671838"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5"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9327" y="3240"/>
                </a:moveTo>
                <a:lnTo>
                  <a:pt x="15015" y="3240"/>
                </a:lnTo>
                <a:lnTo>
                  <a:pt x="13889" y="4478"/>
                </a:lnTo>
                <a:cubicBezTo>
                  <a:pt x="13801" y="4577"/>
                  <a:pt x="13745" y="4711"/>
                  <a:pt x="13745" y="4860"/>
                </a:cubicBezTo>
                <a:cubicBezTo>
                  <a:pt x="13745" y="5159"/>
                  <a:pt x="13966" y="5400"/>
                  <a:pt x="14236" y="5400"/>
                </a:cubicBezTo>
                <a:cubicBezTo>
                  <a:pt x="14373" y="5400"/>
                  <a:pt x="14495" y="5340"/>
                  <a:pt x="14583" y="5242"/>
                </a:cubicBezTo>
                <a:lnTo>
                  <a:pt x="16547" y="3082"/>
                </a:lnTo>
                <a:cubicBezTo>
                  <a:pt x="16636" y="2984"/>
                  <a:pt x="16691" y="2849"/>
                  <a:pt x="16691" y="2700"/>
                </a:cubicBezTo>
                <a:cubicBezTo>
                  <a:pt x="16691" y="2552"/>
                  <a:pt x="16636" y="2417"/>
                  <a:pt x="16547" y="2318"/>
                </a:cubicBezTo>
                <a:lnTo>
                  <a:pt x="14583" y="158"/>
                </a:lnTo>
                <a:cubicBezTo>
                  <a:pt x="14495" y="61"/>
                  <a:pt x="14373" y="0"/>
                  <a:pt x="14236" y="0"/>
                </a:cubicBezTo>
                <a:cubicBezTo>
                  <a:pt x="13966" y="0"/>
                  <a:pt x="13745" y="242"/>
                  <a:pt x="13745" y="540"/>
                </a:cubicBezTo>
                <a:cubicBezTo>
                  <a:pt x="13745" y="689"/>
                  <a:pt x="13801" y="824"/>
                  <a:pt x="13889" y="922"/>
                </a:cubicBezTo>
                <a:lnTo>
                  <a:pt x="15015" y="2160"/>
                </a:lnTo>
                <a:lnTo>
                  <a:pt x="9327" y="2160"/>
                </a:lnTo>
                <a:cubicBezTo>
                  <a:pt x="9056" y="2160"/>
                  <a:pt x="8836" y="2402"/>
                  <a:pt x="8836" y="2700"/>
                </a:cubicBezTo>
                <a:cubicBezTo>
                  <a:pt x="8836" y="2999"/>
                  <a:pt x="9056" y="3240"/>
                  <a:pt x="9327"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1" name="Shape 2811"/>
          <p:cNvSpPr/>
          <p:nvPr/>
        </p:nvSpPr>
        <p:spPr>
          <a:xfrm>
            <a:off x="5071784"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6" y="18643"/>
                  <a:pt x="19342" y="18314"/>
                </a:cubicBezTo>
                <a:cubicBezTo>
                  <a:pt x="19479" y="18248"/>
                  <a:pt x="19581" y="18113"/>
                  <a:pt x="19619" y="17950"/>
                </a:cubicBezTo>
                <a:moveTo>
                  <a:pt x="10944" y="5242"/>
                </a:moveTo>
                <a:cubicBezTo>
                  <a:pt x="11033" y="5340"/>
                  <a:pt x="11155" y="5400"/>
                  <a:pt x="11291" y="5400"/>
                </a:cubicBezTo>
                <a:cubicBezTo>
                  <a:pt x="11562" y="5400"/>
                  <a:pt x="11782" y="5159"/>
                  <a:pt x="11782" y="4860"/>
                </a:cubicBezTo>
                <a:cubicBezTo>
                  <a:pt x="11782" y="4711"/>
                  <a:pt x="11727" y="4577"/>
                  <a:pt x="11638" y="4478"/>
                </a:cubicBezTo>
                <a:lnTo>
                  <a:pt x="10512" y="3240"/>
                </a:lnTo>
                <a:lnTo>
                  <a:pt x="16200" y="3240"/>
                </a:lnTo>
                <a:cubicBezTo>
                  <a:pt x="16471" y="3240"/>
                  <a:pt x="16691" y="2999"/>
                  <a:pt x="16691" y="2700"/>
                </a:cubicBezTo>
                <a:cubicBezTo>
                  <a:pt x="16691" y="2402"/>
                  <a:pt x="16471" y="2160"/>
                  <a:pt x="16200" y="2160"/>
                </a:cubicBezTo>
                <a:lnTo>
                  <a:pt x="10512" y="2160"/>
                </a:lnTo>
                <a:lnTo>
                  <a:pt x="11638" y="922"/>
                </a:lnTo>
                <a:cubicBezTo>
                  <a:pt x="11727" y="824"/>
                  <a:pt x="11782" y="689"/>
                  <a:pt x="11782" y="540"/>
                </a:cubicBezTo>
                <a:cubicBezTo>
                  <a:pt x="11782" y="242"/>
                  <a:pt x="11562" y="0"/>
                  <a:pt x="11291" y="0"/>
                </a:cubicBezTo>
                <a:cubicBezTo>
                  <a:pt x="11155" y="0"/>
                  <a:pt x="11033" y="61"/>
                  <a:pt x="10944" y="158"/>
                </a:cubicBezTo>
                <a:lnTo>
                  <a:pt x="8980" y="2318"/>
                </a:lnTo>
                <a:cubicBezTo>
                  <a:pt x="8891" y="2417"/>
                  <a:pt x="8836" y="2552"/>
                  <a:pt x="8836" y="2700"/>
                </a:cubicBezTo>
                <a:cubicBezTo>
                  <a:pt x="8836" y="2849"/>
                  <a:pt x="8891" y="2984"/>
                  <a:pt x="8980" y="3082"/>
                </a:cubicBezTo>
                <a:cubicBezTo>
                  <a:pt x="8980" y="3082"/>
                  <a:pt x="10944" y="5242"/>
                  <a:pt x="10944" y="524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2" name="Shape 2812"/>
          <p:cNvSpPr/>
          <p:nvPr/>
        </p:nvSpPr>
        <p:spPr>
          <a:xfrm>
            <a:off x="547173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7076" y="14040"/>
                </a:moveTo>
                <a:lnTo>
                  <a:pt x="17294" y="11880"/>
                </a:lnTo>
                <a:lnTo>
                  <a:pt x="19843" y="11880"/>
                </a:lnTo>
                <a:lnTo>
                  <a:pt x="19407" y="14040"/>
                </a:lnTo>
                <a:cubicBezTo>
                  <a:pt x="19407" y="14040"/>
                  <a:pt x="17076" y="14040"/>
                  <a:pt x="17076" y="14040"/>
                </a:cubicBezTo>
                <a:close/>
                <a:moveTo>
                  <a:pt x="18752" y="17280"/>
                </a:moveTo>
                <a:lnTo>
                  <a:pt x="16748" y="17280"/>
                </a:lnTo>
                <a:lnTo>
                  <a:pt x="16967" y="15120"/>
                </a:lnTo>
                <a:lnTo>
                  <a:pt x="19188" y="15120"/>
                </a:lnTo>
                <a:cubicBezTo>
                  <a:pt x="19188" y="15120"/>
                  <a:pt x="18752" y="17280"/>
                  <a:pt x="18752" y="17280"/>
                </a:cubicBezTo>
                <a:close/>
                <a:moveTo>
                  <a:pt x="17673" y="20520"/>
                </a:moveTo>
                <a:cubicBezTo>
                  <a:pt x="17131" y="20520"/>
                  <a:pt x="16691" y="20036"/>
                  <a:pt x="16691" y="19440"/>
                </a:cubicBezTo>
                <a:cubicBezTo>
                  <a:pt x="16691" y="18844"/>
                  <a:pt x="17131" y="18360"/>
                  <a:pt x="17673" y="18360"/>
                </a:cubicBezTo>
                <a:cubicBezTo>
                  <a:pt x="18215" y="18360"/>
                  <a:pt x="18655" y="18844"/>
                  <a:pt x="18655" y="19440"/>
                </a:cubicBezTo>
                <a:cubicBezTo>
                  <a:pt x="18655" y="20036"/>
                  <a:pt x="18215" y="20520"/>
                  <a:pt x="17673" y="20520"/>
                </a:cubicBezTo>
                <a:moveTo>
                  <a:pt x="16415" y="10800"/>
                </a:moveTo>
                <a:lnTo>
                  <a:pt x="13745" y="10800"/>
                </a:lnTo>
                <a:lnTo>
                  <a:pt x="13745" y="8640"/>
                </a:lnTo>
                <a:lnTo>
                  <a:pt x="16634" y="8640"/>
                </a:lnTo>
                <a:cubicBezTo>
                  <a:pt x="16634" y="8640"/>
                  <a:pt x="16415" y="10800"/>
                  <a:pt x="16415" y="10800"/>
                </a:cubicBezTo>
                <a:close/>
                <a:moveTo>
                  <a:pt x="16088" y="14040"/>
                </a:moveTo>
                <a:lnTo>
                  <a:pt x="13745" y="14040"/>
                </a:lnTo>
                <a:lnTo>
                  <a:pt x="13745" y="11880"/>
                </a:lnTo>
                <a:lnTo>
                  <a:pt x="16307" y="11880"/>
                </a:lnTo>
                <a:cubicBezTo>
                  <a:pt x="16307" y="11880"/>
                  <a:pt x="16088" y="14040"/>
                  <a:pt x="16088" y="14040"/>
                </a:cubicBezTo>
                <a:close/>
                <a:moveTo>
                  <a:pt x="15761" y="17280"/>
                </a:moveTo>
                <a:lnTo>
                  <a:pt x="13745" y="17280"/>
                </a:lnTo>
                <a:lnTo>
                  <a:pt x="13745" y="15120"/>
                </a:lnTo>
                <a:lnTo>
                  <a:pt x="15979" y="15120"/>
                </a:lnTo>
                <a:cubicBezTo>
                  <a:pt x="15979" y="15120"/>
                  <a:pt x="15761" y="17280"/>
                  <a:pt x="15761" y="17280"/>
                </a:cubicBezTo>
                <a:close/>
                <a:moveTo>
                  <a:pt x="12764" y="10800"/>
                </a:moveTo>
                <a:lnTo>
                  <a:pt x="10094" y="10800"/>
                </a:lnTo>
                <a:lnTo>
                  <a:pt x="9876" y="8640"/>
                </a:lnTo>
                <a:lnTo>
                  <a:pt x="12764" y="8640"/>
                </a:lnTo>
                <a:cubicBezTo>
                  <a:pt x="12764" y="8640"/>
                  <a:pt x="12764" y="10800"/>
                  <a:pt x="12764" y="10800"/>
                </a:cubicBezTo>
                <a:close/>
                <a:moveTo>
                  <a:pt x="12764" y="14040"/>
                </a:moveTo>
                <a:lnTo>
                  <a:pt x="10422" y="14040"/>
                </a:lnTo>
                <a:lnTo>
                  <a:pt x="10203" y="11880"/>
                </a:lnTo>
                <a:lnTo>
                  <a:pt x="12764" y="11880"/>
                </a:lnTo>
                <a:cubicBezTo>
                  <a:pt x="12764" y="11880"/>
                  <a:pt x="12764" y="14040"/>
                  <a:pt x="12764" y="14040"/>
                </a:cubicBezTo>
                <a:close/>
                <a:moveTo>
                  <a:pt x="12764" y="17280"/>
                </a:moveTo>
                <a:lnTo>
                  <a:pt x="10748" y="17280"/>
                </a:lnTo>
                <a:lnTo>
                  <a:pt x="10531" y="15120"/>
                </a:lnTo>
                <a:lnTo>
                  <a:pt x="12764" y="15120"/>
                </a:lnTo>
                <a:cubicBezTo>
                  <a:pt x="12764" y="15120"/>
                  <a:pt x="12764" y="17280"/>
                  <a:pt x="12764" y="17280"/>
                </a:cubicBezTo>
                <a:close/>
                <a:moveTo>
                  <a:pt x="8836" y="20520"/>
                </a:moveTo>
                <a:cubicBezTo>
                  <a:pt x="8294" y="20520"/>
                  <a:pt x="7855" y="20036"/>
                  <a:pt x="7855" y="19440"/>
                </a:cubicBezTo>
                <a:cubicBezTo>
                  <a:pt x="7855" y="18844"/>
                  <a:pt x="8294" y="18360"/>
                  <a:pt x="8836" y="18360"/>
                </a:cubicBezTo>
                <a:cubicBezTo>
                  <a:pt x="9379" y="18360"/>
                  <a:pt x="9818" y="18844"/>
                  <a:pt x="9818" y="19440"/>
                </a:cubicBezTo>
                <a:cubicBezTo>
                  <a:pt x="9818" y="20036"/>
                  <a:pt x="9379" y="20520"/>
                  <a:pt x="8836" y="20520"/>
                </a:cubicBezTo>
                <a:moveTo>
                  <a:pt x="7214" y="15120"/>
                </a:moveTo>
                <a:lnTo>
                  <a:pt x="9543" y="15120"/>
                </a:lnTo>
                <a:lnTo>
                  <a:pt x="9761" y="17280"/>
                </a:lnTo>
                <a:lnTo>
                  <a:pt x="7740" y="17280"/>
                </a:lnTo>
                <a:cubicBezTo>
                  <a:pt x="7740" y="17280"/>
                  <a:pt x="7214" y="15120"/>
                  <a:pt x="7214" y="15120"/>
                </a:cubicBezTo>
                <a:close/>
                <a:moveTo>
                  <a:pt x="6950" y="14040"/>
                </a:moveTo>
                <a:lnTo>
                  <a:pt x="6424" y="11880"/>
                </a:lnTo>
                <a:lnTo>
                  <a:pt x="9215" y="11880"/>
                </a:lnTo>
                <a:lnTo>
                  <a:pt x="9434" y="14040"/>
                </a:lnTo>
                <a:cubicBezTo>
                  <a:pt x="9434" y="14040"/>
                  <a:pt x="6950" y="14040"/>
                  <a:pt x="6950" y="14040"/>
                </a:cubicBezTo>
                <a:close/>
                <a:moveTo>
                  <a:pt x="5633" y="8640"/>
                </a:moveTo>
                <a:lnTo>
                  <a:pt x="8888" y="8640"/>
                </a:lnTo>
                <a:lnTo>
                  <a:pt x="9107" y="10800"/>
                </a:lnTo>
                <a:lnTo>
                  <a:pt x="6160" y="10800"/>
                </a:lnTo>
                <a:cubicBezTo>
                  <a:pt x="6160" y="10800"/>
                  <a:pt x="5633" y="8640"/>
                  <a:pt x="5633" y="8640"/>
                </a:cubicBezTo>
                <a:close/>
                <a:moveTo>
                  <a:pt x="17621" y="8640"/>
                </a:moveTo>
                <a:lnTo>
                  <a:pt x="20498" y="8640"/>
                </a:lnTo>
                <a:lnTo>
                  <a:pt x="20061" y="10800"/>
                </a:lnTo>
                <a:lnTo>
                  <a:pt x="17403" y="10800"/>
                </a:lnTo>
                <a:cubicBezTo>
                  <a:pt x="17403" y="10800"/>
                  <a:pt x="17621" y="8640"/>
                  <a:pt x="17621" y="8640"/>
                </a:cubicBezTo>
                <a:close/>
                <a:moveTo>
                  <a:pt x="19619" y="17950"/>
                </a:moveTo>
                <a:lnTo>
                  <a:pt x="19622" y="17951"/>
                </a:lnTo>
                <a:lnTo>
                  <a:pt x="21586" y="8231"/>
                </a:lnTo>
                <a:lnTo>
                  <a:pt x="21577" y="8229"/>
                </a:lnTo>
                <a:cubicBezTo>
                  <a:pt x="21586" y="8186"/>
                  <a:pt x="21600" y="8145"/>
                  <a:pt x="21600" y="8100"/>
                </a:cubicBezTo>
                <a:cubicBezTo>
                  <a:pt x="21600" y="7802"/>
                  <a:pt x="21380" y="7560"/>
                  <a:pt x="21109" y="7560"/>
                </a:cubicBezTo>
                <a:lnTo>
                  <a:pt x="5370" y="7560"/>
                </a:lnTo>
                <a:lnTo>
                  <a:pt x="4674" y="4705"/>
                </a:lnTo>
                <a:lnTo>
                  <a:pt x="4667" y="4707"/>
                </a:lnTo>
                <a:cubicBezTo>
                  <a:pt x="4606" y="4485"/>
                  <a:pt x="4426" y="4320"/>
                  <a:pt x="4204" y="4320"/>
                </a:cubicBezTo>
                <a:lnTo>
                  <a:pt x="491" y="4320"/>
                </a:lnTo>
                <a:cubicBezTo>
                  <a:pt x="220" y="4320"/>
                  <a:pt x="0" y="4562"/>
                  <a:pt x="0" y="4860"/>
                </a:cubicBezTo>
                <a:cubicBezTo>
                  <a:pt x="0" y="5159"/>
                  <a:pt x="220" y="5400"/>
                  <a:pt x="491" y="5400"/>
                </a:cubicBezTo>
                <a:lnTo>
                  <a:pt x="3827" y="5400"/>
                </a:lnTo>
                <a:lnTo>
                  <a:pt x="6893" y="17975"/>
                </a:lnTo>
                <a:lnTo>
                  <a:pt x="6894" y="17975"/>
                </a:lnTo>
                <a:cubicBezTo>
                  <a:pt x="6936" y="18127"/>
                  <a:pt x="7037" y="18251"/>
                  <a:pt x="7168" y="18314"/>
                </a:cubicBezTo>
                <a:cubicBezTo>
                  <a:pt x="6984" y="18643"/>
                  <a:pt x="6873" y="19026"/>
                  <a:pt x="6873" y="19440"/>
                </a:cubicBezTo>
                <a:cubicBezTo>
                  <a:pt x="6873" y="20633"/>
                  <a:pt x="7752" y="21600"/>
                  <a:pt x="8836" y="21600"/>
                </a:cubicBezTo>
                <a:cubicBezTo>
                  <a:pt x="9921" y="21600"/>
                  <a:pt x="10800" y="20633"/>
                  <a:pt x="10800" y="19440"/>
                </a:cubicBezTo>
                <a:cubicBezTo>
                  <a:pt x="10800" y="19045"/>
                  <a:pt x="10696" y="18679"/>
                  <a:pt x="10528" y="18360"/>
                </a:cubicBezTo>
                <a:lnTo>
                  <a:pt x="15982" y="18360"/>
                </a:lnTo>
                <a:cubicBezTo>
                  <a:pt x="15813" y="18679"/>
                  <a:pt x="15709" y="19045"/>
                  <a:pt x="15709" y="19440"/>
                </a:cubicBezTo>
                <a:cubicBezTo>
                  <a:pt x="15709" y="20633"/>
                  <a:pt x="16588" y="21600"/>
                  <a:pt x="17673" y="21600"/>
                </a:cubicBezTo>
                <a:cubicBezTo>
                  <a:pt x="18757" y="21600"/>
                  <a:pt x="19636" y="20633"/>
                  <a:pt x="19636" y="19440"/>
                </a:cubicBezTo>
                <a:cubicBezTo>
                  <a:pt x="19636" y="19026"/>
                  <a:pt x="19525" y="18643"/>
                  <a:pt x="19341" y="18314"/>
                </a:cubicBezTo>
                <a:cubicBezTo>
                  <a:pt x="19479" y="18248"/>
                  <a:pt x="19581" y="18113"/>
                  <a:pt x="19619" y="17950"/>
                </a:cubicBezTo>
                <a:moveTo>
                  <a:pt x="10800" y="3780"/>
                </a:moveTo>
                <a:lnTo>
                  <a:pt x="12764" y="3780"/>
                </a:lnTo>
                <a:lnTo>
                  <a:pt x="12764" y="5940"/>
                </a:lnTo>
                <a:cubicBezTo>
                  <a:pt x="12764" y="6239"/>
                  <a:pt x="12984" y="6480"/>
                  <a:pt x="13255" y="6480"/>
                </a:cubicBezTo>
                <a:cubicBezTo>
                  <a:pt x="13526" y="6480"/>
                  <a:pt x="13745" y="6239"/>
                  <a:pt x="13745" y="5940"/>
                </a:cubicBezTo>
                <a:lnTo>
                  <a:pt x="13745" y="3780"/>
                </a:lnTo>
                <a:lnTo>
                  <a:pt x="15709" y="3780"/>
                </a:lnTo>
                <a:cubicBezTo>
                  <a:pt x="15980" y="3780"/>
                  <a:pt x="16200" y="3539"/>
                  <a:pt x="16200" y="3240"/>
                </a:cubicBezTo>
                <a:cubicBezTo>
                  <a:pt x="16200" y="2942"/>
                  <a:pt x="15980" y="2700"/>
                  <a:pt x="15709" y="2700"/>
                </a:cubicBezTo>
                <a:lnTo>
                  <a:pt x="13745" y="2700"/>
                </a:lnTo>
                <a:lnTo>
                  <a:pt x="13745" y="540"/>
                </a:lnTo>
                <a:cubicBezTo>
                  <a:pt x="13745" y="242"/>
                  <a:pt x="13526" y="0"/>
                  <a:pt x="13255" y="0"/>
                </a:cubicBezTo>
                <a:cubicBezTo>
                  <a:pt x="12984" y="0"/>
                  <a:pt x="12764" y="242"/>
                  <a:pt x="12764" y="540"/>
                </a:cubicBezTo>
                <a:lnTo>
                  <a:pt x="12764" y="2700"/>
                </a:lnTo>
                <a:lnTo>
                  <a:pt x="10800" y="2700"/>
                </a:lnTo>
                <a:cubicBezTo>
                  <a:pt x="10529" y="2700"/>
                  <a:pt x="10309" y="2942"/>
                  <a:pt x="10309" y="3240"/>
                </a:cubicBezTo>
                <a:cubicBezTo>
                  <a:pt x="10309" y="3539"/>
                  <a:pt x="10529" y="3780"/>
                  <a:pt x="10800"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3" name="Shape 2813"/>
          <p:cNvSpPr/>
          <p:nvPr/>
        </p:nvSpPr>
        <p:spPr>
          <a:xfrm>
            <a:off x="5871676" y="1093712"/>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17076" y="12960"/>
                </a:moveTo>
                <a:lnTo>
                  <a:pt x="17294" y="10491"/>
                </a:lnTo>
                <a:lnTo>
                  <a:pt x="19843" y="10491"/>
                </a:lnTo>
                <a:lnTo>
                  <a:pt x="19407" y="12960"/>
                </a:lnTo>
                <a:cubicBezTo>
                  <a:pt x="19407" y="12960"/>
                  <a:pt x="17076" y="12960"/>
                  <a:pt x="17076" y="12960"/>
                </a:cubicBezTo>
                <a:close/>
                <a:moveTo>
                  <a:pt x="18752" y="16663"/>
                </a:moveTo>
                <a:lnTo>
                  <a:pt x="16748" y="16663"/>
                </a:lnTo>
                <a:lnTo>
                  <a:pt x="16967" y="14194"/>
                </a:lnTo>
                <a:lnTo>
                  <a:pt x="19188" y="14194"/>
                </a:lnTo>
                <a:cubicBezTo>
                  <a:pt x="19188" y="14194"/>
                  <a:pt x="18752" y="16663"/>
                  <a:pt x="18752" y="16663"/>
                </a:cubicBezTo>
                <a:close/>
                <a:moveTo>
                  <a:pt x="17673" y="20366"/>
                </a:moveTo>
                <a:cubicBezTo>
                  <a:pt x="17131" y="20366"/>
                  <a:pt x="16691" y="19813"/>
                  <a:pt x="16691" y="19131"/>
                </a:cubicBezTo>
                <a:cubicBezTo>
                  <a:pt x="16691" y="18450"/>
                  <a:pt x="17131" y="17897"/>
                  <a:pt x="17673" y="17897"/>
                </a:cubicBezTo>
                <a:cubicBezTo>
                  <a:pt x="18215" y="17897"/>
                  <a:pt x="18655" y="18450"/>
                  <a:pt x="18655" y="19131"/>
                </a:cubicBezTo>
                <a:cubicBezTo>
                  <a:pt x="18655" y="19813"/>
                  <a:pt x="18215" y="20366"/>
                  <a:pt x="17673" y="20366"/>
                </a:cubicBezTo>
                <a:moveTo>
                  <a:pt x="16415" y="9257"/>
                </a:moveTo>
                <a:lnTo>
                  <a:pt x="13745" y="9257"/>
                </a:lnTo>
                <a:lnTo>
                  <a:pt x="13745" y="6789"/>
                </a:lnTo>
                <a:lnTo>
                  <a:pt x="16634" y="6789"/>
                </a:lnTo>
                <a:cubicBezTo>
                  <a:pt x="16634" y="6789"/>
                  <a:pt x="16415" y="9257"/>
                  <a:pt x="16415" y="9257"/>
                </a:cubicBezTo>
                <a:close/>
                <a:moveTo>
                  <a:pt x="16088" y="12960"/>
                </a:moveTo>
                <a:lnTo>
                  <a:pt x="13745" y="12960"/>
                </a:lnTo>
                <a:lnTo>
                  <a:pt x="13745" y="10491"/>
                </a:lnTo>
                <a:lnTo>
                  <a:pt x="16307" y="10491"/>
                </a:lnTo>
                <a:cubicBezTo>
                  <a:pt x="16307" y="10491"/>
                  <a:pt x="16088" y="12960"/>
                  <a:pt x="16088" y="12960"/>
                </a:cubicBezTo>
                <a:close/>
                <a:moveTo>
                  <a:pt x="15761" y="16663"/>
                </a:moveTo>
                <a:lnTo>
                  <a:pt x="13745" y="16663"/>
                </a:lnTo>
                <a:lnTo>
                  <a:pt x="13745" y="14194"/>
                </a:lnTo>
                <a:lnTo>
                  <a:pt x="15979" y="14194"/>
                </a:lnTo>
                <a:cubicBezTo>
                  <a:pt x="15979" y="14194"/>
                  <a:pt x="15761" y="16663"/>
                  <a:pt x="15761" y="16663"/>
                </a:cubicBezTo>
                <a:close/>
                <a:moveTo>
                  <a:pt x="12764" y="9257"/>
                </a:moveTo>
                <a:lnTo>
                  <a:pt x="10094" y="9257"/>
                </a:lnTo>
                <a:lnTo>
                  <a:pt x="9876" y="6789"/>
                </a:lnTo>
                <a:lnTo>
                  <a:pt x="12764" y="6789"/>
                </a:lnTo>
                <a:cubicBezTo>
                  <a:pt x="12764" y="6789"/>
                  <a:pt x="12764" y="9257"/>
                  <a:pt x="12764" y="9257"/>
                </a:cubicBezTo>
                <a:close/>
                <a:moveTo>
                  <a:pt x="12764" y="12960"/>
                </a:moveTo>
                <a:lnTo>
                  <a:pt x="10422" y="12960"/>
                </a:lnTo>
                <a:lnTo>
                  <a:pt x="10203" y="10491"/>
                </a:lnTo>
                <a:lnTo>
                  <a:pt x="12764" y="10491"/>
                </a:lnTo>
                <a:cubicBezTo>
                  <a:pt x="12764" y="10491"/>
                  <a:pt x="12764" y="12960"/>
                  <a:pt x="12764" y="12960"/>
                </a:cubicBezTo>
                <a:close/>
                <a:moveTo>
                  <a:pt x="12764" y="16663"/>
                </a:moveTo>
                <a:lnTo>
                  <a:pt x="10748" y="16663"/>
                </a:lnTo>
                <a:lnTo>
                  <a:pt x="10531" y="14194"/>
                </a:lnTo>
                <a:lnTo>
                  <a:pt x="12764" y="14194"/>
                </a:lnTo>
                <a:cubicBezTo>
                  <a:pt x="12764" y="14194"/>
                  <a:pt x="12764" y="16663"/>
                  <a:pt x="12764" y="16663"/>
                </a:cubicBezTo>
                <a:close/>
                <a:moveTo>
                  <a:pt x="8836" y="20366"/>
                </a:moveTo>
                <a:cubicBezTo>
                  <a:pt x="8294" y="20366"/>
                  <a:pt x="7855" y="19813"/>
                  <a:pt x="7855" y="19131"/>
                </a:cubicBezTo>
                <a:cubicBezTo>
                  <a:pt x="7855" y="18450"/>
                  <a:pt x="8294" y="17897"/>
                  <a:pt x="8836" y="17897"/>
                </a:cubicBezTo>
                <a:cubicBezTo>
                  <a:pt x="9379" y="17897"/>
                  <a:pt x="9818" y="18450"/>
                  <a:pt x="9818" y="19131"/>
                </a:cubicBezTo>
                <a:cubicBezTo>
                  <a:pt x="9818" y="19813"/>
                  <a:pt x="9379" y="20366"/>
                  <a:pt x="8836" y="20366"/>
                </a:cubicBezTo>
                <a:moveTo>
                  <a:pt x="7214" y="14194"/>
                </a:moveTo>
                <a:lnTo>
                  <a:pt x="9543" y="14194"/>
                </a:lnTo>
                <a:lnTo>
                  <a:pt x="9761" y="16663"/>
                </a:lnTo>
                <a:lnTo>
                  <a:pt x="7740" y="16663"/>
                </a:lnTo>
                <a:cubicBezTo>
                  <a:pt x="7740" y="16663"/>
                  <a:pt x="7214" y="14194"/>
                  <a:pt x="7214" y="14194"/>
                </a:cubicBezTo>
                <a:close/>
                <a:moveTo>
                  <a:pt x="6950" y="12960"/>
                </a:moveTo>
                <a:lnTo>
                  <a:pt x="6424" y="10491"/>
                </a:lnTo>
                <a:lnTo>
                  <a:pt x="9215" y="10491"/>
                </a:lnTo>
                <a:lnTo>
                  <a:pt x="9434" y="12960"/>
                </a:lnTo>
                <a:cubicBezTo>
                  <a:pt x="9434" y="12960"/>
                  <a:pt x="6950" y="12960"/>
                  <a:pt x="6950" y="12960"/>
                </a:cubicBezTo>
                <a:close/>
                <a:moveTo>
                  <a:pt x="5633" y="6789"/>
                </a:moveTo>
                <a:lnTo>
                  <a:pt x="8888" y="6789"/>
                </a:lnTo>
                <a:lnTo>
                  <a:pt x="9107" y="9257"/>
                </a:lnTo>
                <a:lnTo>
                  <a:pt x="6160" y="9257"/>
                </a:lnTo>
                <a:cubicBezTo>
                  <a:pt x="6160" y="9257"/>
                  <a:pt x="5633" y="6789"/>
                  <a:pt x="5633" y="6789"/>
                </a:cubicBezTo>
                <a:close/>
                <a:moveTo>
                  <a:pt x="17621" y="6789"/>
                </a:moveTo>
                <a:lnTo>
                  <a:pt x="20498" y="6789"/>
                </a:lnTo>
                <a:lnTo>
                  <a:pt x="20061" y="9257"/>
                </a:lnTo>
                <a:lnTo>
                  <a:pt x="17403" y="9257"/>
                </a:lnTo>
                <a:cubicBezTo>
                  <a:pt x="17403" y="9257"/>
                  <a:pt x="17621" y="6789"/>
                  <a:pt x="17621" y="6789"/>
                </a:cubicBezTo>
                <a:close/>
                <a:moveTo>
                  <a:pt x="19619" y="17429"/>
                </a:moveTo>
                <a:lnTo>
                  <a:pt x="19622" y="17429"/>
                </a:lnTo>
                <a:lnTo>
                  <a:pt x="21585" y="6321"/>
                </a:lnTo>
                <a:lnTo>
                  <a:pt x="21577" y="6318"/>
                </a:lnTo>
                <a:cubicBezTo>
                  <a:pt x="21586" y="6270"/>
                  <a:pt x="21600" y="6224"/>
                  <a:pt x="21600" y="6171"/>
                </a:cubicBezTo>
                <a:cubicBezTo>
                  <a:pt x="21600" y="5830"/>
                  <a:pt x="21380" y="5554"/>
                  <a:pt x="21109" y="5554"/>
                </a:cubicBezTo>
                <a:lnTo>
                  <a:pt x="5370" y="5554"/>
                </a:lnTo>
                <a:lnTo>
                  <a:pt x="4674" y="2291"/>
                </a:lnTo>
                <a:lnTo>
                  <a:pt x="4667" y="2294"/>
                </a:lnTo>
                <a:cubicBezTo>
                  <a:pt x="4606" y="2040"/>
                  <a:pt x="4426" y="1851"/>
                  <a:pt x="4204" y="1851"/>
                </a:cubicBezTo>
                <a:lnTo>
                  <a:pt x="491" y="1851"/>
                </a:lnTo>
                <a:cubicBezTo>
                  <a:pt x="220" y="1851"/>
                  <a:pt x="0" y="2127"/>
                  <a:pt x="0" y="2469"/>
                </a:cubicBezTo>
                <a:cubicBezTo>
                  <a:pt x="0" y="2810"/>
                  <a:pt x="220" y="3086"/>
                  <a:pt x="491" y="3086"/>
                </a:cubicBezTo>
                <a:lnTo>
                  <a:pt x="3827" y="3086"/>
                </a:lnTo>
                <a:lnTo>
                  <a:pt x="6893" y="17457"/>
                </a:lnTo>
                <a:lnTo>
                  <a:pt x="6894" y="17457"/>
                </a:lnTo>
                <a:cubicBezTo>
                  <a:pt x="6936" y="17631"/>
                  <a:pt x="7037" y="17772"/>
                  <a:pt x="7168" y="17845"/>
                </a:cubicBezTo>
                <a:cubicBezTo>
                  <a:pt x="6984" y="18220"/>
                  <a:pt x="6873" y="18658"/>
                  <a:pt x="6873" y="19131"/>
                </a:cubicBezTo>
                <a:cubicBezTo>
                  <a:pt x="6873" y="20495"/>
                  <a:pt x="7752" y="21600"/>
                  <a:pt x="8836" y="21600"/>
                </a:cubicBezTo>
                <a:cubicBezTo>
                  <a:pt x="9921" y="21600"/>
                  <a:pt x="10800" y="20495"/>
                  <a:pt x="10800" y="19131"/>
                </a:cubicBezTo>
                <a:cubicBezTo>
                  <a:pt x="10800" y="18680"/>
                  <a:pt x="10696" y="18262"/>
                  <a:pt x="10528" y="17897"/>
                </a:cubicBezTo>
                <a:lnTo>
                  <a:pt x="15982" y="17897"/>
                </a:lnTo>
                <a:cubicBezTo>
                  <a:pt x="15813" y="18262"/>
                  <a:pt x="15709" y="18680"/>
                  <a:pt x="15709" y="19131"/>
                </a:cubicBezTo>
                <a:cubicBezTo>
                  <a:pt x="15709" y="20495"/>
                  <a:pt x="16588" y="21600"/>
                  <a:pt x="17673" y="21600"/>
                </a:cubicBezTo>
                <a:cubicBezTo>
                  <a:pt x="18757" y="21600"/>
                  <a:pt x="19636" y="20495"/>
                  <a:pt x="19636" y="19131"/>
                </a:cubicBezTo>
                <a:cubicBezTo>
                  <a:pt x="19636" y="18658"/>
                  <a:pt x="19525" y="18220"/>
                  <a:pt x="19341" y="17845"/>
                </a:cubicBezTo>
                <a:cubicBezTo>
                  <a:pt x="19479" y="17769"/>
                  <a:pt x="19581" y="17615"/>
                  <a:pt x="19619" y="17429"/>
                </a:cubicBezTo>
                <a:moveTo>
                  <a:pt x="10800" y="1234"/>
                </a:moveTo>
                <a:lnTo>
                  <a:pt x="15709" y="1234"/>
                </a:lnTo>
                <a:cubicBezTo>
                  <a:pt x="15980" y="1234"/>
                  <a:pt x="16200" y="959"/>
                  <a:pt x="16200" y="617"/>
                </a:cubicBezTo>
                <a:cubicBezTo>
                  <a:pt x="16200" y="276"/>
                  <a:pt x="15980" y="0"/>
                  <a:pt x="15709" y="0"/>
                </a:cubicBezTo>
                <a:lnTo>
                  <a:pt x="10800" y="0"/>
                </a:lnTo>
                <a:cubicBezTo>
                  <a:pt x="10529" y="0"/>
                  <a:pt x="10309" y="276"/>
                  <a:pt x="10309" y="617"/>
                </a:cubicBezTo>
                <a:cubicBezTo>
                  <a:pt x="10309" y="959"/>
                  <a:pt x="10529" y="1234"/>
                  <a:pt x="10800"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4" name="Shape 2814"/>
          <p:cNvSpPr/>
          <p:nvPr/>
        </p:nvSpPr>
        <p:spPr>
          <a:xfrm>
            <a:off x="6290667" y="106990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0800"/>
                </a:moveTo>
                <a:lnTo>
                  <a:pt x="13200" y="10800"/>
                </a:lnTo>
                <a:lnTo>
                  <a:pt x="13200" y="11782"/>
                </a:lnTo>
                <a:lnTo>
                  <a:pt x="14400" y="11782"/>
                </a:lnTo>
                <a:cubicBezTo>
                  <a:pt x="14400" y="11782"/>
                  <a:pt x="14400" y="10800"/>
                  <a:pt x="14400" y="10800"/>
                </a:cubicBezTo>
                <a:close/>
                <a:moveTo>
                  <a:pt x="15600" y="11782"/>
                </a:moveTo>
                <a:lnTo>
                  <a:pt x="16800" y="11782"/>
                </a:lnTo>
                <a:lnTo>
                  <a:pt x="16800" y="10800"/>
                </a:lnTo>
                <a:lnTo>
                  <a:pt x="15600" y="10800"/>
                </a:lnTo>
                <a:cubicBezTo>
                  <a:pt x="15600" y="10800"/>
                  <a:pt x="15600" y="11782"/>
                  <a:pt x="15600" y="11782"/>
                </a:cubicBezTo>
                <a:close/>
                <a:moveTo>
                  <a:pt x="15600" y="15709"/>
                </a:moveTo>
                <a:lnTo>
                  <a:pt x="19200" y="15709"/>
                </a:lnTo>
                <a:lnTo>
                  <a:pt x="19200" y="14727"/>
                </a:lnTo>
                <a:lnTo>
                  <a:pt x="15600" y="14727"/>
                </a:lnTo>
                <a:cubicBezTo>
                  <a:pt x="15600" y="14727"/>
                  <a:pt x="15600" y="15709"/>
                  <a:pt x="15600" y="15709"/>
                </a:cubicBezTo>
                <a:close/>
                <a:moveTo>
                  <a:pt x="14400" y="8836"/>
                </a:moveTo>
                <a:lnTo>
                  <a:pt x="13200" y="8836"/>
                </a:lnTo>
                <a:lnTo>
                  <a:pt x="13200" y="9818"/>
                </a:lnTo>
                <a:lnTo>
                  <a:pt x="14400" y="9818"/>
                </a:lnTo>
                <a:cubicBezTo>
                  <a:pt x="14400" y="9818"/>
                  <a:pt x="14400" y="8836"/>
                  <a:pt x="14400" y="8836"/>
                </a:cubicBezTo>
                <a:close/>
                <a:moveTo>
                  <a:pt x="16800" y="8836"/>
                </a:moveTo>
                <a:lnTo>
                  <a:pt x="15600" y="8836"/>
                </a:lnTo>
                <a:lnTo>
                  <a:pt x="15600" y="9818"/>
                </a:lnTo>
                <a:lnTo>
                  <a:pt x="16800" y="9818"/>
                </a:lnTo>
                <a:cubicBezTo>
                  <a:pt x="16800" y="9818"/>
                  <a:pt x="16800" y="8836"/>
                  <a:pt x="16800" y="8836"/>
                </a:cubicBezTo>
                <a:close/>
                <a:moveTo>
                  <a:pt x="19200" y="6873"/>
                </a:moveTo>
                <a:lnTo>
                  <a:pt x="13200" y="6873"/>
                </a:lnTo>
                <a:lnTo>
                  <a:pt x="13200" y="7855"/>
                </a:lnTo>
                <a:lnTo>
                  <a:pt x="19200" y="7855"/>
                </a:lnTo>
                <a:cubicBezTo>
                  <a:pt x="19200" y="7855"/>
                  <a:pt x="19200" y="6873"/>
                  <a:pt x="19200" y="6873"/>
                </a:cubicBezTo>
                <a:close/>
                <a:moveTo>
                  <a:pt x="18000" y="9818"/>
                </a:moveTo>
                <a:lnTo>
                  <a:pt x="19200" y="9818"/>
                </a:lnTo>
                <a:lnTo>
                  <a:pt x="19200" y="8836"/>
                </a:lnTo>
                <a:lnTo>
                  <a:pt x="18000" y="8836"/>
                </a:lnTo>
                <a:cubicBezTo>
                  <a:pt x="18000" y="8836"/>
                  <a:pt x="18000" y="9818"/>
                  <a:pt x="18000" y="9818"/>
                </a:cubicBezTo>
                <a:close/>
                <a:moveTo>
                  <a:pt x="18000" y="11782"/>
                </a:moveTo>
                <a:lnTo>
                  <a:pt x="19200" y="11782"/>
                </a:lnTo>
                <a:lnTo>
                  <a:pt x="19200" y="10800"/>
                </a:lnTo>
                <a:lnTo>
                  <a:pt x="18000" y="10800"/>
                </a:lnTo>
                <a:cubicBezTo>
                  <a:pt x="18000" y="10800"/>
                  <a:pt x="18000" y="11782"/>
                  <a:pt x="18000" y="11782"/>
                </a:cubicBezTo>
                <a:close/>
                <a:moveTo>
                  <a:pt x="15600" y="13745"/>
                </a:moveTo>
                <a:lnTo>
                  <a:pt x="16800" y="13745"/>
                </a:lnTo>
                <a:lnTo>
                  <a:pt x="16800" y="12764"/>
                </a:lnTo>
                <a:lnTo>
                  <a:pt x="15600" y="12764"/>
                </a:lnTo>
                <a:cubicBezTo>
                  <a:pt x="15600" y="12764"/>
                  <a:pt x="15600" y="13745"/>
                  <a:pt x="15600" y="13745"/>
                </a:cubicBezTo>
                <a:close/>
                <a:moveTo>
                  <a:pt x="18000" y="13745"/>
                </a:moveTo>
                <a:lnTo>
                  <a:pt x="19200" y="13745"/>
                </a:lnTo>
                <a:lnTo>
                  <a:pt x="19200" y="12764"/>
                </a:lnTo>
                <a:lnTo>
                  <a:pt x="18000" y="12764"/>
                </a:lnTo>
                <a:cubicBezTo>
                  <a:pt x="18000" y="12764"/>
                  <a:pt x="18000" y="13745"/>
                  <a:pt x="18000" y="13745"/>
                </a:cubicBezTo>
                <a:close/>
                <a:moveTo>
                  <a:pt x="20400" y="16691"/>
                </a:moveTo>
                <a:lnTo>
                  <a:pt x="1200" y="16691"/>
                </a:lnTo>
                <a:lnTo>
                  <a:pt x="1200" y="5891"/>
                </a:lnTo>
                <a:lnTo>
                  <a:pt x="20400" y="5891"/>
                </a:lnTo>
                <a:cubicBezTo>
                  <a:pt x="20400" y="5891"/>
                  <a:pt x="20400" y="16691"/>
                  <a:pt x="20400" y="16691"/>
                </a:cubicBezTo>
                <a:close/>
                <a:moveTo>
                  <a:pt x="20400" y="20618"/>
                </a:moveTo>
                <a:lnTo>
                  <a:pt x="1200" y="20618"/>
                </a:lnTo>
                <a:lnTo>
                  <a:pt x="1200" y="17673"/>
                </a:lnTo>
                <a:lnTo>
                  <a:pt x="20400" y="17673"/>
                </a:lnTo>
                <a:cubicBezTo>
                  <a:pt x="20400" y="17673"/>
                  <a:pt x="20400" y="20618"/>
                  <a:pt x="20400" y="20618"/>
                </a:cubicBezTo>
                <a:close/>
                <a:moveTo>
                  <a:pt x="15000" y="4909"/>
                </a:moveTo>
                <a:lnTo>
                  <a:pt x="13800" y="4909"/>
                </a:lnTo>
                <a:lnTo>
                  <a:pt x="13800" y="2945"/>
                </a:lnTo>
                <a:lnTo>
                  <a:pt x="15000" y="2945"/>
                </a:lnTo>
                <a:cubicBezTo>
                  <a:pt x="15000" y="2945"/>
                  <a:pt x="15000" y="4909"/>
                  <a:pt x="15000" y="4909"/>
                </a:cubicBezTo>
                <a:close/>
                <a:moveTo>
                  <a:pt x="13200" y="982"/>
                </a:moveTo>
                <a:lnTo>
                  <a:pt x="18000" y="982"/>
                </a:lnTo>
                <a:lnTo>
                  <a:pt x="18000" y="1964"/>
                </a:lnTo>
                <a:lnTo>
                  <a:pt x="13200" y="1964"/>
                </a:lnTo>
                <a:cubicBezTo>
                  <a:pt x="13200" y="1964"/>
                  <a:pt x="13200" y="982"/>
                  <a:pt x="13200" y="982"/>
                </a:cubicBezTo>
                <a:close/>
                <a:moveTo>
                  <a:pt x="12000" y="1964"/>
                </a:moveTo>
                <a:lnTo>
                  <a:pt x="10800" y="1964"/>
                </a:lnTo>
                <a:lnTo>
                  <a:pt x="10800" y="982"/>
                </a:lnTo>
                <a:lnTo>
                  <a:pt x="12000" y="982"/>
                </a:lnTo>
                <a:cubicBezTo>
                  <a:pt x="12000" y="982"/>
                  <a:pt x="12000" y="1964"/>
                  <a:pt x="12000" y="1964"/>
                </a:cubicBezTo>
                <a:close/>
                <a:moveTo>
                  <a:pt x="20400" y="4909"/>
                </a:moveTo>
                <a:lnTo>
                  <a:pt x="16200" y="4909"/>
                </a:lnTo>
                <a:lnTo>
                  <a:pt x="16200" y="2945"/>
                </a:lnTo>
                <a:lnTo>
                  <a:pt x="18000" y="2945"/>
                </a:lnTo>
                <a:cubicBezTo>
                  <a:pt x="18662" y="2945"/>
                  <a:pt x="19200" y="2506"/>
                  <a:pt x="19200" y="1964"/>
                </a:cubicBezTo>
                <a:lnTo>
                  <a:pt x="19200" y="982"/>
                </a:lnTo>
                <a:cubicBezTo>
                  <a:pt x="19200" y="440"/>
                  <a:pt x="18662" y="0"/>
                  <a:pt x="18000" y="0"/>
                </a:cubicBezTo>
                <a:lnTo>
                  <a:pt x="10800" y="0"/>
                </a:lnTo>
                <a:cubicBezTo>
                  <a:pt x="10138" y="0"/>
                  <a:pt x="9600" y="440"/>
                  <a:pt x="9600" y="982"/>
                </a:cubicBezTo>
                <a:lnTo>
                  <a:pt x="9600" y="1964"/>
                </a:lnTo>
                <a:cubicBezTo>
                  <a:pt x="9600" y="2506"/>
                  <a:pt x="10138" y="2945"/>
                  <a:pt x="10800" y="2945"/>
                </a:cubicBezTo>
                <a:lnTo>
                  <a:pt x="12600" y="2945"/>
                </a:lnTo>
                <a:lnTo>
                  <a:pt x="12600" y="4909"/>
                </a:lnTo>
                <a:lnTo>
                  <a:pt x="1200" y="4909"/>
                </a:lnTo>
                <a:cubicBezTo>
                  <a:pt x="538" y="4909"/>
                  <a:pt x="0" y="5349"/>
                  <a:pt x="0" y="5891"/>
                </a:cubicBezTo>
                <a:lnTo>
                  <a:pt x="0" y="20618"/>
                </a:lnTo>
                <a:cubicBezTo>
                  <a:pt x="0" y="21160"/>
                  <a:pt x="538" y="21600"/>
                  <a:pt x="1200" y="21600"/>
                </a:cubicBezTo>
                <a:lnTo>
                  <a:pt x="20400" y="21600"/>
                </a:lnTo>
                <a:cubicBezTo>
                  <a:pt x="21062" y="21600"/>
                  <a:pt x="21600" y="21160"/>
                  <a:pt x="21600" y="20618"/>
                </a:cubicBezTo>
                <a:lnTo>
                  <a:pt x="21600" y="5891"/>
                </a:lnTo>
                <a:cubicBezTo>
                  <a:pt x="21600" y="5349"/>
                  <a:pt x="21062" y="4909"/>
                  <a:pt x="20400" y="4909"/>
                </a:cubicBezTo>
                <a:moveTo>
                  <a:pt x="3600" y="14727"/>
                </a:moveTo>
                <a:lnTo>
                  <a:pt x="2400" y="14727"/>
                </a:lnTo>
                <a:lnTo>
                  <a:pt x="2400" y="15709"/>
                </a:lnTo>
                <a:lnTo>
                  <a:pt x="3600" y="15709"/>
                </a:lnTo>
                <a:cubicBezTo>
                  <a:pt x="3600" y="15709"/>
                  <a:pt x="3600" y="14727"/>
                  <a:pt x="3600" y="14727"/>
                </a:cubicBezTo>
                <a:close/>
                <a:moveTo>
                  <a:pt x="4800" y="15709"/>
                </a:moveTo>
                <a:lnTo>
                  <a:pt x="6000" y="15709"/>
                </a:lnTo>
                <a:lnTo>
                  <a:pt x="6000" y="14727"/>
                </a:lnTo>
                <a:lnTo>
                  <a:pt x="4800" y="14727"/>
                </a:lnTo>
                <a:cubicBezTo>
                  <a:pt x="4800" y="14727"/>
                  <a:pt x="4800" y="15709"/>
                  <a:pt x="4800" y="15709"/>
                </a:cubicBezTo>
                <a:close/>
                <a:moveTo>
                  <a:pt x="9000" y="19636"/>
                </a:moveTo>
                <a:lnTo>
                  <a:pt x="12600" y="19636"/>
                </a:lnTo>
                <a:cubicBezTo>
                  <a:pt x="12931" y="19636"/>
                  <a:pt x="13200" y="19417"/>
                  <a:pt x="13200" y="19145"/>
                </a:cubicBezTo>
                <a:cubicBezTo>
                  <a:pt x="13200" y="18875"/>
                  <a:pt x="12931" y="18655"/>
                  <a:pt x="12600" y="18655"/>
                </a:cubicBezTo>
                <a:lnTo>
                  <a:pt x="9000" y="18655"/>
                </a:lnTo>
                <a:cubicBezTo>
                  <a:pt x="8669" y="18655"/>
                  <a:pt x="8400" y="18875"/>
                  <a:pt x="8400" y="19145"/>
                </a:cubicBezTo>
                <a:cubicBezTo>
                  <a:pt x="8400" y="19417"/>
                  <a:pt x="8669" y="19636"/>
                  <a:pt x="9000" y="19636"/>
                </a:cubicBezTo>
                <a:moveTo>
                  <a:pt x="7200" y="15709"/>
                </a:moveTo>
                <a:lnTo>
                  <a:pt x="8400" y="15709"/>
                </a:lnTo>
                <a:lnTo>
                  <a:pt x="8400" y="14727"/>
                </a:lnTo>
                <a:lnTo>
                  <a:pt x="7200" y="14727"/>
                </a:lnTo>
                <a:cubicBezTo>
                  <a:pt x="7200" y="14727"/>
                  <a:pt x="7200" y="15709"/>
                  <a:pt x="7200" y="15709"/>
                </a:cubicBezTo>
                <a:close/>
                <a:moveTo>
                  <a:pt x="14400" y="12764"/>
                </a:moveTo>
                <a:lnTo>
                  <a:pt x="13200" y="12764"/>
                </a:lnTo>
                <a:lnTo>
                  <a:pt x="13200" y="13745"/>
                </a:lnTo>
                <a:lnTo>
                  <a:pt x="14400" y="13745"/>
                </a:lnTo>
                <a:cubicBezTo>
                  <a:pt x="14400" y="13745"/>
                  <a:pt x="14400" y="12764"/>
                  <a:pt x="14400" y="12764"/>
                </a:cubicBezTo>
                <a:close/>
                <a:moveTo>
                  <a:pt x="10800" y="12764"/>
                </a:moveTo>
                <a:lnTo>
                  <a:pt x="3600" y="12764"/>
                </a:lnTo>
                <a:lnTo>
                  <a:pt x="3600" y="7855"/>
                </a:lnTo>
                <a:lnTo>
                  <a:pt x="10800" y="7855"/>
                </a:lnTo>
                <a:cubicBezTo>
                  <a:pt x="10800" y="7855"/>
                  <a:pt x="10800" y="12764"/>
                  <a:pt x="10800" y="12764"/>
                </a:cubicBezTo>
                <a:close/>
                <a:moveTo>
                  <a:pt x="12000" y="6873"/>
                </a:moveTo>
                <a:lnTo>
                  <a:pt x="2400" y="6873"/>
                </a:lnTo>
                <a:lnTo>
                  <a:pt x="2400" y="13745"/>
                </a:lnTo>
                <a:lnTo>
                  <a:pt x="12000" y="13745"/>
                </a:lnTo>
                <a:cubicBezTo>
                  <a:pt x="12000" y="13745"/>
                  <a:pt x="12000" y="6873"/>
                  <a:pt x="12000" y="68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5" name="Shape 2815"/>
          <p:cNvSpPr/>
          <p:nvPr/>
        </p:nvSpPr>
        <p:spPr>
          <a:xfrm>
            <a:off x="6681091" y="106990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157" y="20618"/>
                </a:moveTo>
                <a:lnTo>
                  <a:pt x="1300" y="19636"/>
                </a:lnTo>
                <a:lnTo>
                  <a:pt x="20300" y="19636"/>
                </a:lnTo>
                <a:lnTo>
                  <a:pt x="20443" y="20618"/>
                </a:lnTo>
                <a:cubicBezTo>
                  <a:pt x="20443" y="20618"/>
                  <a:pt x="1157" y="20618"/>
                  <a:pt x="1157" y="20618"/>
                </a:cubicBezTo>
                <a:close/>
                <a:moveTo>
                  <a:pt x="3172" y="6873"/>
                </a:moveTo>
                <a:lnTo>
                  <a:pt x="6480" y="6873"/>
                </a:lnTo>
                <a:lnTo>
                  <a:pt x="6480" y="8973"/>
                </a:lnTo>
                <a:cubicBezTo>
                  <a:pt x="6158" y="9143"/>
                  <a:pt x="5940" y="9456"/>
                  <a:pt x="5940" y="9818"/>
                </a:cubicBezTo>
                <a:cubicBezTo>
                  <a:pt x="5940" y="10360"/>
                  <a:pt x="6424" y="10800"/>
                  <a:pt x="7020" y="10800"/>
                </a:cubicBezTo>
                <a:cubicBezTo>
                  <a:pt x="7616" y="10800"/>
                  <a:pt x="8100" y="10360"/>
                  <a:pt x="8100" y="9818"/>
                </a:cubicBezTo>
                <a:cubicBezTo>
                  <a:pt x="8100" y="9456"/>
                  <a:pt x="7882" y="9143"/>
                  <a:pt x="7560" y="8973"/>
                </a:cubicBezTo>
                <a:lnTo>
                  <a:pt x="7560" y="6873"/>
                </a:lnTo>
                <a:lnTo>
                  <a:pt x="14040" y="6873"/>
                </a:lnTo>
                <a:lnTo>
                  <a:pt x="14040" y="8973"/>
                </a:lnTo>
                <a:cubicBezTo>
                  <a:pt x="13718" y="9143"/>
                  <a:pt x="13500" y="9456"/>
                  <a:pt x="13500" y="9818"/>
                </a:cubicBezTo>
                <a:cubicBezTo>
                  <a:pt x="13500" y="10360"/>
                  <a:pt x="13984" y="10800"/>
                  <a:pt x="14580" y="10800"/>
                </a:cubicBezTo>
                <a:cubicBezTo>
                  <a:pt x="15176" y="10800"/>
                  <a:pt x="15660" y="10360"/>
                  <a:pt x="15660" y="9818"/>
                </a:cubicBezTo>
                <a:cubicBezTo>
                  <a:pt x="15660" y="9456"/>
                  <a:pt x="15442" y="9143"/>
                  <a:pt x="15120" y="8973"/>
                </a:cubicBezTo>
                <a:lnTo>
                  <a:pt x="15120" y="6873"/>
                </a:lnTo>
                <a:lnTo>
                  <a:pt x="18428" y="6873"/>
                </a:lnTo>
                <a:lnTo>
                  <a:pt x="20155" y="18655"/>
                </a:lnTo>
                <a:lnTo>
                  <a:pt x="1445" y="18655"/>
                </a:lnTo>
                <a:cubicBezTo>
                  <a:pt x="1445" y="18655"/>
                  <a:pt x="3172" y="6873"/>
                  <a:pt x="3172" y="6873"/>
                </a:cubicBezTo>
                <a:close/>
                <a:moveTo>
                  <a:pt x="7560" y="3927"/>
                </a:moveTo>
                <a:cubicBezTo>
                  <a:pt x="7560" y="2301"/>
                  <a:pt x="9011" y="982"/>
                  <a:pt x="10800" y="982"/>
                </a:cubicBezTo>
                <a:cubicBezTo>
                  <a:pt x="12590" y="982"/>
                  <a:pt x="14040" y="2301"/>
                  <a:pt x="14040" y="3927"/>
                </a:cubicBezTo>
                <a:lnTo>
                  <a:pt x="14040" y="5891"/>
                </a:lnTo>
                <a:lnTo>
                  <a:pt x="7560" y="5891"/>
                </a:lnTo>
                <a:cubicBezTo>
                  <a:pt x="7560" y="5891"/>
                  <a:pt x="7560" y="3927"/>
                  <a:pt x="7560" y="3927"/>
                </a:cubicBezTo>
                <a:close/>
                <a:moveTo>
                  <a:pt x="21586" y="21045"/>
                </a:moveTo>
                <a:lnTo>
                  <a:pt x="21595" y="21044"/>
                </a:lnTo>
                <a:lnTo>
                  <a:pt x="19435" y="6317"/>
                </a:lnTo>
                <a:lnTo>
                  <a:pt x="19426" y="6318"/>
                </a:lnTo>
                <a:cubicBezTo>
                  <a:pt x="19390" y="6079"/>
                  <a:pt x="19173" y="5891"/>
                  <a:pt x="18900" y="5891"/>
                </a:cubicBezTo>
                <a:lnTo>
                  <a:pt x="15120" y="5891"/>
                </a:lnTo>
                <a:lnTo>
                  <a:pt x="15120" y="3927"/>
                </a:lnTo>
                <a:cubicBezTo>
                  <a:pt x="15120" y="1758"/>
                  <a:pt x="13186" y="0"/>
                  <a:pt x="10800" y="0"/>
                </a:cubicBezTo>
                <a:cubicBezTo>
                  <a:pt x="8414" y="0"/>
                  <a:pt x="6480" y="1758"/>
                  <a:pt x="6480" y="3927"/>
                </a:cubicBezTo>
                <a:lnTo>
                  <a:pt x="6480" y="5891"/>
                </a:lnTo>
                <a:lnTo>
                  <a:pt x="2700" y="5891"/>
                </a:lnTo>
                <a:cubicBezTo>
                  <a:pt x="2427" y="5891"/>
                  <a:pt x="2210" y="6079"/>
                  <a:pt x="2174" y="6318"/>
                </a:cubicBezTo>
                <a:lnTo>
                  <a:pt x="2165" y="6317"/>
                </a:lnTo>
                <a:lnTo>
                  <a:pt x="5" y="21044"/>
                </a:lnTo>
                <a:lnTo>
                  <a:pt x="14" y="21045"/>
                </a:lnTo>
                <a:cubicBezTo>
                  <a:pt x="11" y="21067"/>
                  <a:pt x="0" y="21087"/>
                  <a:pt x="0" y="21109"/>
                </a:cubicBezTo>
                <a:cubicBezTo>
                  <a:pt x="0" y="21381"/>
                  <a:pt x="242" y="21600"/>
                  <a:pt x="540" y="21600"/>
                </a:cubicBezTo>
                <a:lnTo>
                  <a:pt x="21060" y="21600"/>
                </a:lnTo>
                <a:cubicBezTo>
                  <a:pt x="21358" y="21600"/>
                  <a:pt x="21600" y="21381"/>
                  <a:pt x="21600" y="21109"/>
                </a:cubicBezTo>
                <a:cubicBezTo>
                  <a:pt x="21600" y="21087"/>
                  <a:pt x="21589" y="21067"/>
                  <a:pt x="21586" y="210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6" name="Shape 2816"/>
          <p:cNvSpPr/>
          <p:nvPr/>
        </p:nvSpPr>
        <p:spPr>
          <a:xfrm>
            <a:off x="7066753" y="106990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587" y="18100"/>
                </a:moveTo>
                <a:lnTo>
                  <a:pt x="21596" y="18099"/>
                </a:lnTo>
                <a:lnTo>
                  <a:pt x="20614" y="5335"/>
                </a:lnTo>
                <a:lnTo>
                  <a:pt x="20605" y="5337"/>
                </a:lnTo>
                <a:cubicBezTo>
                  <a:pt x="20573" y="5097"/>
                  <a:pt x="20376" y="4909"/>
                  <a:pt x="20127" y="4909"/>
                </a:cubicBezTo>
                <a:lnTo>
                  <a:pt x="16691" y="4909"/>
                </a:lnTo>
                <a:lnTo>
                  <a:pt x="16691" y="3927"/>
                </a:lnTo>
                <a:cubicBezTo>
                  <a:pt x="16691" y="1758"/>
                  <a:pt x="14932" y="0"/>
                  <a:pt x="12764" y="0"/>
                </a:cubicBezTo>
                <a:cubicBezTo>
                  <a:pt x="11300" y="0"/>
                  <a:pt x="10025" y="803"/>
                  <a:pt x="9350" y="1991"/>
                </a:cubicBezTo>
                <a:cubicBezTo>
                  <a:pt x="9705" y="2027"/>
                  <a:pt x="10048" y="2105"/>
                  <a:pt x="10377" y="2214"/>
                </a:cubicBezTo>
                <a:cubicBezTo>
                  <a:pt x="10911" y="1470"/>
                  <a:pt x="11778" y="982"/>
                  <a:pt x="12764" y="982"/>
                </a:cubicBezTo>
                <a:cubicBezTo>
                  <a:pt x="14390" y="982"/>
                  <a:pt x="15709" y="2301"/>
                  <a:pt x="15709" y="3927"/>
                </a:cubicBezTo>
                <a:lnTo>
                  <a:pt x="15709" y="4909"/>
                </a:lnTo>
                <a:lnTo>
                  <a:pt x="13337" y="4909"/>
                </a:lnTo>
                <a:cubicBezTo>
                  <a:pt x="13474" y="5221"/>
                  <a:pt x="13581" y="5549"/>
                  <a:pt x="13651" y="5891"/>
                </a:cubicBezTo>
                <a:lnTo>
                  <a:pt x="15709" y="5891"/>
                </a:lnTo>
                <a:lnTo>
                  <a:pt x="15709" y="6873"/>
                </a:lnTo>
                <a:lnTo>
                  <a:pt x="16204" y="6873"/>
                </a:lnTo>
                <a:cubicBezTo>
                  <a:pt x="16375" y="6873"/>
                  <a:pt x="16537" y="6905"/>
                  <a:pt x="16691" y="6961"/>
                </a:cubicBezTo>
                <a:lnTo>
                  <a:pt x="16691" y="5891"/>
                </a:lnTo>
                <a:lnTo>
                  <a:pt x="19674" y="5891"/>
                </a:lnTo>
                <a:lnTo>
                  <a:pt x="20429" y="15709"/>
                </a:lnTo>
                <a:lnTo>
                  <a:pt x="18247" y="15709"/>
                </a:lnTo>
                <a:lnTo>
                  <a:pt x="18323" y="16691"/>
                </a:lnTo>
                <a:lnTo>
                  <a:pt x="20504" y="16691"/>
                </a:lnTo>
                <a:lnTo>
                  <a:pt x="20580" y="17673"/>
                </a:lnTo>
                <a:lnTo>
                  <a:pt x="18398" y="17673"/>
                </a:lnTo>
                <a:lnTo>
                  <a:pt x="18474" y="18655"/>
                </a:lnTo>
                <a:lnTo>
                  <a:pt x="21109" y="18655"/>
                </a:lnTo>
                <a:cubicBezTo>
                  <a:pt x="21380" y="18655"/>
                  <a:pt x="21600" y="18435"/>
                  <a:pt x="21600" y="18164"/>
                </a:cubicBezTo>
                <a:cubicBezTo>
                  <a:pt x="21600" y="18141"/>
                  <a:pt x="21590" y="18122"/>
                  <a:pt x="21587" y="18100"/>
                </a:cubicBezTo>
                <a:moveTo>
                  <a:pt x="1020" y="20618"/>
                </a:moveTo>
                <a:lnTo>
                  <a:pt x="1096" y="19636"/>
                </a:lnTo>
                <a:lnTo>
                  <a:pt x="16577" y="19636"/>
                </a:lnTo>
                <a:lnTo>
                  <a:pt x="16653" y="20618"/>
                </a:lnTo>
                <a:cubicBezTo>
                  <a:pt x="16653" y="20618"/>
                  <a:pt x="1020" y="20618"/>
                  <a:pt x="1020" y="20618"/>
                </a:cubicBezTo>
                <a:close/>
                <a:moveTo>
                  <a:pt x="1926" y="8836"/>
                </a:moveTo>
                <a:lnTo>
                  <a:pt x="4909" y="8836"/>
                </a:lnTo>
                <a:lnTo>
                  <a:pt x="4909" y="10936"/>
                </a:lnTo>
                <a:cubicBezTo>
                  <a:pt x="4617" y="11106"/>
                  <a:pt x="4418" y="11420"/>
                  <a:pt x="4418" y="11782"/>
                </a:cubicBezTo>
                <a:cubicBezTo>
                  <a:pt x="4418" y="12324"/>
                  <a:pt x="4858" y="12764"/>
                  <a:pt x="5400" y="12764"/>
                </a:cubicBezTo>
                <a:cubicBezTo>
                  <a:pt x="5942" y="12764"/>
                  <a:pt x="6382" y="12324"/>
                  <a:pt x="6382" y="11782"/>
                </a:cubicBezTo>
                <a:cubicBezTo>
                  <a:pt x="6382" y="11420"/>
                  <a:pt x="6183" y="11106"/>
                  <a:pt x="5891" y="10936"/>
                </a:cubicBezTo>
                <a:lnTo>
                  <a:pt x="5891" y="8836"/>
                </a:lnTo>
                <a:lnTo>
                  <a:pt x="11782" y="8836"/>
                </a:lnTo>
                <a:lnTo>
                  <a:pt x="11782" y="10936"/>
                </a:lnTo>
                <a:cubicBezTo>
                  <a:pt x="11489" y="11106"/>
                  <a:pt x="11291" y="11420"/>
                  <a:pt x="11291" y="11782"/>
                </a:cubicBezTo>
                <a:cubicBezTo>
                  <a:pt x="11291" y="12324"/>
                  <a:pt x="11731" y="12764"/>
                  <a:pt x="12273" y="12764"/>
                </a:cubicBezTo>
                <a:cubicBezTo>
                  <a:pt x="12815" y="12764"/>
                  <a:pt x="13255" y="12324"/>
                  <a:pt x="13255" y="11782"/>
                </a:cubicBezTo>
                <a:cubicBezTo>
                  <a:pt x="13255" y="11420"/>
                  <a:pt x="13056" y="11106"/>
                  <a:pt x="12764" y="10936"/>
                </a:cubicBezTo>
                <a:lnTo>
                  <a:pt x="12764" y="8836"/>
                </a:lnTo>
                <a:lnTo>
                  <a:pt x="15746" y="8836"/>
                </a:lnTo>
                <a:lnTo>
                  <a:pt x="16502" y="18655"/>
                </a:lnTo>
                <a:lnTo>
                  <a:pt x="1172" y="18655"/>
                </a:lnTo>
                <a:cubicBezTo>
                  <a:pt x="1172" y="18655"/>
                  <a:pt x="1926" y="8836"/>
                  <a:pt x="1926" y="8836"/>
                </a:cubicBezTo>
                <a:close/>
                <a:moveTo>
                  <a:pt x="5891" y="6873"/>
                </a:moveTo>
                <a:cubicBezTo>
                  <a:pt x="5891" y="5246"/>
                  <a:pt x="7210" y="3927"/>
                  <a:pt x="8836" y="3927"/>
                </a:cubicBezTo>
                <a:cubicBezTo>
                  <a:pt x="10463" y="3927"/>
                  <a:pt x="11782" y="5246"/>
                  <a:pt x="11782" y="6873"/>
                </a:cubicBezTo>
                <a:lnTo>
                  <a:pt x="11782" y="7855"/>
                </a:lnTo>
                <a:lnTo>
                  <a:pt x="5891" y="7855"/>
                </a:lnTo>
                <a:cubicBezTo>
                  <a:pt x="5891" y="7855"/>
                  <a:pt x="5891" y="6873"/>
                  <a:pt x="5891" y="6873"/>
                </a:cubicBezTo>
                <a:close/>
                <a:moveTo>
                  <a:pt x="17668" y="21044"/>
                </a:moveTo>
                <a:lnTo>
                  <a:pt x="16687" y="8281"/>
                </a:lnTo>
                <a:lnTo>
                  <a:pt x="16678" y="8282"/>
                </a:lnTo>
                <a:cubicBezTo>
                  <a:pt x="16646" y="8043"/>
                  <a:pt x="16448" y="7855"/>
                  <a:pt x="16200" y="7855"/>
                </a:cubicBezTo>
                <a:lnTo>
                  <a:pt x="12764" y="7855"/>
                </a:lnTo>
                <a:lnTo>
                  <a:pt x="12764" y="6873"/>
                </a:lnTo>
                <a:cubicBezTo>
                  <a:pt x="12764" y="4704"/>
                  <a:pt x="11005" y="2945"/>
                  <a:pt x="8836" y="2945"/>
                </a:cubicBezTo>
                <a:cubicBezTo>
                  <a:pt x="6668" y="2945"/>
                  <a:pt x="4909" y="4704"/>
                  <a:pt x="4909" y="6873"/>
                </a:cubicBezTo>
                <a:lnTo>
                  <a:pt x="4909" y="7855"/>
                </a:lnTo>
                <a:lnTo>
                  <a:pt x="1473" y="7855"/>
                </a:lnTo>
                <a:cubicBezTo>
                  <a:pt x="1224" y="7855"/>
                  <a:pt x="1027" y="8043"/>
                  <a:pt x="995" y="8282"/>
                </a:cubicBezTo>
                <a:lnTo>
                  <a:pt x="986" y="8281"/>
                </a:lnTo>
                <a:lnTo>
                  <a:pt x="4" y="21044"/>
                </a:lnTo>
                <a:lnTo>
                  <a:pt x="13" y="21045"/>
                </a:lnTo>
                <a:cubicBezTo>
                  <a:pt x="10" y="21067"/>
                  <a:pt x="0" y="21087"/>
                  <a:pt x="0" y="21109"/>
                </a:cubicBezTo>
                <a:cubicBezTo>
                  <a:pt x="0" y="21381"/>
                  <a:pt x="220" y="21600"/>
                  <a:pt x="491" y="21600"/>
                </a:cubicBezTo>
                <a:lnTo>
                  <a:pt x="17182" y="21600"/>
                </a:lnTo>
                <a:cubicBezTo>
                  <a:pt x="17453" y="21600"/>
                  <a:pt x="17673" y="21381"/>
                  <a:pt x="17673" y="21109"/>
                </a:cubicBezTo>
                <a:cubicBezTo>
                  <a:pt x="17673" y="21087"/>
                  <a:pt x="17663" y="21067"/>
                  <a:pt x="17660" y="21045"/>
                </a:cubicBezTo>
                <a:cubicBezTo>
                  <a:pt x="17660" y="21045"/>
                  <a:pt x="17668" y="21044"/>
                  <a:pt x="17668" y="2104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7" name="Shape 2817"/>
          <p:cNvSpPr/>
          <p:nvPr/>
        </p:nvSpPr>
        <p:spPr>
          <a:xfrm>
            <a:off x="7471460" y="1088952"/>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8" name="Shape 2818"/>
          <p:cNvSpPr/>
          <p:nvPr/>
        </p:nvSpPr>
        <p:spPr>
          <a:xfrm>
            <a:off x="7871405"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10453" y="7402"/>
                </a:moveTo>
                <a:cubicBezTo>
                  <a:pt x="10542" y="7500"/>
                  <a:pt x="10665" y="7560"/>
                  <a:pt x="10800" y="7560"/>
                </a:cubicBezTo>
                <a:cubicBezTo>
                  <a:pt x="10936" y="7560"/>
                  <a:pt x="11058" y="7500"/>
                  <a:pt x="11147" y="7402"/>
                </a:cubicBezTo>
                <a:lnTo>
                  <a:pt x="13111" y="5242"/>
                </a:lnTo>
                <a:cubicBezTo>
                  <a:pt x="13200" y="5144"/>
                  <a:pt x="13255" y="5009"/>
                  <a:pt x="13255" y="4860"/>
                </a:cubicBezTo>
                <a:cubicBezTo>
                  <a:pt x="13255" y="4562"/>
                  <a:pt x="13035" y="4320"/>
                  <a:pt x="12764" y="4320"/>
                </a:cubicBezTo>
                <a:cubicBezTo>
                  <a:pt x="12628" y="4320"/>
                  <a:pt x="12506" y="4381"/>
                  <a:pt x="12417" y="4478"/>
                </a:cubicBezTo>
                <a:lnTo>
                  <a:pt x="11291" y="5716"/>
                </a:lnTo>
                <a:lnTo>
                  <a:pt x="11291" y="540"/>
                </a:lnTo>
                <a:cubicBezTo>
                  <a:pt x="11291" y="242"/>
                  <a:pt x="11071" y="0"/>
                  <a:pt x="10800" y="0"/>
                </a:cubicBezTo>
                <a:cubicBezTo>
                  <a:pt x="10529" y="0"/>
                  <a:pt x="10309" y="242"/>
                  <a:pt x="10309" y="540"/>
                </a:cubicBezTo>
                <a:lnTo>
                  <a:pt x="10309" y="5716"/>
                </a:lnTo>
                <a:lnTo>
                  <a:pt x="9183" y="4478"/>
                </a:lnTo>
                <a:cubicBezTo>
                  <a:pt x="9095" y="4381"/>
                  <a:pt x="8972" y="4320"/>
                  <a:pt x="8836" y="4320"/>
                </a:cubicBezTo>
                <a:cubicBezTo>
                  <a:pt x="8565" y="4320"/>
                  <a:pt x="8345" y="4562"/>
                  <a:pt x="8345" y="4860"/>
                </a:cubicBezTo>
                <a:cubicBezTo>
                  <a:pt x="8345" y="5009"/>
                  <a:pt x="8400" y="5144"/>
                  <a:pt x="8489" y="5242"/>
                </a:cubicBezTo>
                <a:cubicBezTo>
                  <a:pt x="8489" y="5242"/>
                  <a:pt x="10453" y="7402"/>
                  <a:pt x="10453" y="740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19" name="Shape 2819"/>
          <p:cNvSpPr/>
          <p:nvPr/>
        </p:nvSpPr>
        <p:spPr>
          <a:xfrm>
            <a:off x="8271351" y="1079430"/>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7"/>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7"/>
                  <a:pt x="21600" y="10800"/>
                </a:cubicBezTo>
                <a:lnTo>
                  <a:pt x="21600" y="9720"/>
                </a:lnTo>
                <a:cubicBezTo>
                  <a:pt x="21600" y="9124"/>
                  <a:pt x="21160" y="8640"/>
                  <a:pt x="20618" y="8640"/>
                </a:cubicBezTo>
                <a:moveTo>
                  <a:pt x="8836" y="3240"/>
                </a:moveTo>
                <a:cubicBezTo>
                  <a:pt x="8972" y="3240"/>
                  <a:pt x="9095" y="3179"/>
                  <a:pt x="9183" y="3082"/>
                </a:cubicBezTo>
                <a:lnTo>
                  <a:pt x="10309" y="1844"/>
                </a:lnTo>
                <a:lnTo>
                  <a:pt x="10309" y="7020"/>
                </a:lnTo>
                <a:cubicBezTo>
                  <a:pt x="10309" y="7318"/>
                  <a:pt x="10529" y="7560"/>
                  <a:pt x="10800" y="7560"/>
                </a:cubicBezTo>
                <a:cubicBezTo>
                  <a:pt x="11071" y="7560"/>
                  <a:pt x="11291" y="7318"/>
                  <a:pt x="11291" y="7020"/>
                </a:cubicBezTo>
                <a:lnTo>
                  <a:pt x="11291" y="1844"/>
                </a:lnTo>
                <a:lnTo>
                  <a:pt x="12417" y="3082"/>
                </a:lnTo>
                <a:cubicBezTo>
                  <a:pt x="12505" y="3179"/>
                  <a:pt x="12628" y="3240"/>
                  <a:pt x="12764" y="3240"/>
                </a:cubicBezTo>
                <a:cubicBezTo>
                  <a:pt x="13035" y="3240"/>
                  <a:pt x="13255" y="2998"/>
                  <a:pt x="13255" y="2700"/>
                </a:cubicBezTo>
                <a:cubicBezTo>
                  <a:pt x="13255" y="2551"/>
                  <a:pt x="13199" y="2416"/>
                  <a:pt x="13111" y="2318"/>
                </a:cubicBezTo>
                <a:lnTo>
                  <a:pt x="11147" y="158"/>
                </a:lnTo>
                <a:cubicBezTo>
                  <a:pt x="11058" y="61"/>
                  <a:pt x="10936" y="0"/>
                  <a:pt x="10800" y="0"/>
                </a:cubicBezTo>
                <a:cubicBezTo>
                  <a:pt x="10664" y="0"/>
                  <a:pt x="10542" y="60"/>
                  <a:pt x="10453" y="158"/>
                </a:cubicBezTo>
                <a:lnTo>
                  <a:pt x="8489" y="2318"/>
                </a:lnTo>
                <a:cubicBezTo>
                  <a:pt x="8400" y="2416"/>
                  <a:pt x="8345" y="2551"/>
                  <a:pt x="8345" y="2700"/>
                </a:cubicBezTo>
                <a:cubicBezTo>
                  <a:pt x="8345" y="2998"/>
                  <a:pt x="8565" y="3240"/>
                  <a:pt x="8836"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0" name="Shape 2820"/>
          <p:cNvSpPr/>
          <p:nvPr/>
        </p:nvSpPr>
        <p:spPr>
          <a:xfrm>
            <a:off x="4671838"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507" y="3082"/>
                </a:moveTo>
                <a:lnTo>
                  <a:pt x="7507" y="3082"/>
                </a:lnTo>
                <a:lnTo>
                  <a:pt x="9471" y="5242"/>
                </a:lnTo>
                <a:cubicBezTo>
                  <a:pt x="9560" y="5340"/>
                  <a:pt x="9683" y="5400"/>
                  <a:pt x="9818" y="5400"/>
                </a:cubicBezTo>
                <a:cubicBezTo>
                  <a:pt x="10089" y="5400"/>
                  <a:pt x="10309" y="5158"/>
                  <a:pt x="10309" y="4860"/>
                </a:cubicBezTo>
                <a:cubicBezTo>
                  <a:pt x="10309" y="4712"/>
                  <a:pt x="10254" y="4577"/>
                  <a:pt x="10165" y="4478"/>
                </a:cubicBezTo>
                <a:lnTo>
                  <a:pt x="9040" y="3240"/>
                </a:lnTo>
                <a:lnTo>
                  <a:pt x="13745" y="3240"/>
                </a:lnTo>
                <a:lnTo>
                  <a:pt x="13745" y="3240"/>
                </a:lnTo>
                <a:cubicBezTo>
                  <a:pt x="14016" y="3240"/>
                  <a:pt x="14236" y="2998"/>
                  <a:pt x="14236" y="2700"/>
                </a:cubicBezTo>
                <a:cubicBezTo>
                  <a:pt x="14236" y="2402"/>
                  <a:pt x="14016" y="2160"/>
                  <a:pt x="13745" y="2160"/>
                </a:cubicBezTo>
                <a:lnTo>
                  <a:pt x="9040" y="2160"/>
                </a:lnTo>
                <a:lnTo>
                  <a:pt x="10165" y="922"/>
                </a:lnTo>
                <a:cubicBezTo>
                  <a:pt x="10254" y="824"/>
                  <a:pt x="10309" y="689"/>
                  <a:pt x="10309" y="540"/>
                </a:cubicBezTo>
                <a:cubicBezTo>
                  <a:pt x="10309" y="242"/>
                  <a:pt x="10089" y="0"/>
                  <a:pt x="9818" y="0"/>
                </a:cubicBezTo>
                <a:cubicBezTo>
                  <a:pt x="9683" y="0"/>
                  <a:pt x="9560" y="61"/>
                  <a:pt x="9471" y="158"/>
                </a:cubicBezTo>
                <a:lnTo>
                  <a:pt x="7507" y="2318"/>
                </a:lnTo>
                <a:lnTo>
                  <a:pt x="7507" y="2318"/>
                </a:lnTo>
                <a:cubicBezTo>
                  <a:pt x="7419" y="2417"/>
                  <a:pt x="7364" y="2552"/>
                  <a:pt x="7364" y="2700"/>
                </a:cubicBezTo>
                <a:cubicBezTo>
                  <a:pt x="7364" y="2849"/>
                  <a:pt x="7419" y="2984"/>
                  <a:pt x="7507" y="30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1" name="Shape 2821"/>
          <p:cNvSpPr/>
          <p:nvPr/>
        </p:nvSpPr>
        <p:spPr>
          <a:xfrm>
            <a:off x="5071784"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7855" y="3240"/>
                </a:moveTo>
                <a:lnTo>
                  <a:pt x="7855" y="3240"/>
                </a:lnTo>
                <a:lnTo>
                  <a:pt x="12560" y="3240"/>
                </a:lnTo>
                <a:lnTo>
                  <a:pt x="11435" y="4478"/>
                </a:lnTo>
                <a:cubicBezTo>
                  <a:pt x="11346" y="4577"/>
                  <a:pt x="11291" y="4712"/>
                  <a:pt x="11291" y="4860"/>
                </a:cubicBezTo>
                <a:cubicBezTo>
                  <a:pt x="11291" y="5158"/>
                  <a:pt x="11511" y="5400"/>
                  <a:pt x="11782" y="5400"/>
                </a:cubicBezTo>
                <a:cubicBezTo>
                  <a:pt x="11917" y="5400"/>
                  <a:pt x="12040" y="5340"/>
                  <a:pt x="12129" y="5242"/>
                </a:cubicBezTo>
                <a:lnTo>
                  <a:pt x="14093" y="3082"/>
                </a:lnTo>
                <a:cubicBezTo>
                  <a:pt x="14181" y="2984"/>
                  <a:pt x="14236" y="2849"/>
                  <a:pt x="14236" y="2700"/>
                </a:cubicBezTo>
                <a:cubicBezTo>
                  <a:pt x="14236" y="2552"/>
                  <a:pt x="14181" y="2417"/>
                  <a:pt x="14093" y="2318"/>
                </a:cubicBezTo>
                <a:lnTo>
                  <a:pt x="12129" y="158"/>
                </a:lnTo>
                <a:cubicBezTo>
                  <a:pt x="12040" y="61"/>
                  <a:pt x="11917" y="0"/>
                  <a:pt x="11782" y="0"/>
                </a:cubicBezTo>
                <a:cubicBezTo>
                  <a:pt x="11511" y="0"/>
                  <a:pt x="11291" y="242"/>
                  <a:pt x="11291" y="540"/>
                </a:cubicBezTo>
                <a:cubicBezTo>
                  <a:pt x="11291" y="689"/>
                  <a:pt x="11346" y="824"/>
                  <a:pt x="11435" y="922"/>
                </a:cubicBezTo>
                <a:lnTo>
                  <a:pt x="12560" y="2160"/>
                </a:lnTo>
                <a:lnTo>
                  <a:pt x="7855" y="2160"/>
                </a:lnTo>
                <a:cubicBezTo>
                  <a:pt x="7584" y="2160"/>
                  <a:pt x="7364" y="2402"/>
                  <a:pt x="7364" y="2700"/>
                </a:cubicBezTo>
                <a:cubicBezTo>
                  <a:pt x="7364" y="2998"/>
                  <a:pt x="7584" y="3240"/>
                  <a:pt x="7855" y="32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2" name="Shape 2822"/>
          <p:cNvSpPr/>
          <p:nvPr/>
        </p:nvSpPr>
        <p:spPr>
          <a:xfrm>
            <a:off x="5471731" y="1479376"/>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10800"/>
                </a:moveTo>
                <a:lnTo>
                  <a:pt x="982" y="10800"/>
                </a:lnTo>
                <a:lnTo>
                  <a:pt x="982" y="9720"/>
                </a:lnTo>
                <a:lnTo>
                  <a:pt x="20618" y="9720"/>
                </a:lnTo>
                <a:cubicBezTo>
                  <a:pt x="20618" y="9720"/>
                  <a:pt x="20618" y="10800"/>
                  <a:pt x="20618" y="10800"/>
                </a:cubicBezTo>
                <a:close/>
                <a:moveTo>
                  <a:pt x="19006" y="14040"/>
                </a:moveTo>
                <a:lnTo>
                  <a:pt x="15735" y="14040"/>
                </a:lnTo>
                <a:lnTo>
                  <a:pt x="16045" y="11880"/>
                </a:lnTo>
                <a:lnTo>
                  <a:pt x="19419" y="11880"/>
                </a:lnTo>
                <a:cubicBezTo>
                  <a:pt x="19419" y="11880"/>
                  <a:pt x="19006" y="14040"/>
                  <a:pt x="19006" y="14040"/>
                </a:cubicBezTo>
                <a:close/>
                <a:moveTo>
                  <a:pt x="18386" y="17280"/>
                </a:moveTo>
                <a:lnTo>
                  <a:pt x="15270" y="17280"/>
                </a:lnTo>
                <a:lnTo>
                  <a:pt x="15580" y="15120"/>
                </a:lnTo>
                <a:lnTo>
                  <a:pt x="18799" y="15120"/>
                </a:lnTo>
                <a:cubicBezTo>
                  <a:pt x="18799" y="15120"/>
                  <a:pt x="18386" y="17280"/>
                  <a:pt x="18386" y="17280"/>
                </a:cubicBezTo>
                <a:close/>
                <a:moveTo>
                  <a:pt x="17766" y="20520"/>
                </a:moveTo>
                <a:lnTo>
                  <a:pt x="14805" y="20520"/>
                </a:lnTo>
                <a:lnTo>
                  <a:pt x="15115" y="18360"/>
                </a:lnTo>
                <a:lnTo>
                  <a:pt x="18179" y="18360"/>
                </a:lnTo>
                <a:cubicBezTo>
                  <a:pt x="18179" y="18360"/>
                  <a:pt x="17766" y="20520"/>
                  <a:pt x="17766" y="20520"/>
                </a:cubicBezTo>
                <a:close/>
                <a:moveTo>
                  <a:pt x="11291" y="14040"/>
                </a:moveTo>
                <a:lnTo>
                  <a:pt x="11291" y="11880"/>
                </a:lnTo>
                <a:lnTo>
                  <a:pt x="15063" y="11880"/>
                </a:lnTo>
                <a:lnTo>
                  <a:pt x="14753" y="14040"/>
                </a:lnTo>
                <a:cubicBezTo>
                  <a:pt x="14753" y="14040"/>
                  <a:pt x="11291" y="14040"/>
                  <a:pt x="11291" y="14040"/>
                </a:cubicBezTo>
                <a:close/>
                <a:moveTo>
                  <a:pt x="14288" y="17280"/>
                </a:moveTo>
                <a:lnTo>
                  <a:pt x="11291" y="17280"/>
                </a:lnTo>
                <a:lnTo>
                  <a:pt x="11291" y="15120"/>
                </a:lnTo>
                <a:lnTo>
                  <a:pt x="14598" y="15120"/>
                </a:lnTo>
                <a:cubicBezTo>
                  <a:pt x="14598" y="15120"/>
                  <a:pt x="14288" y="17280"/>
                  <a:pt x="14288" y="17280"/>
                </a:cubicBezTo>
                <a:close/>
                <a:moveTo>
                  <a:pt x="13823" y="20520"/>
                </a:moveTo>
                <a:lnTo>
                  <a:pt x="11291" y="20520"/>
                </a:lnTo>
                <a:lnTo>
                  <a:pt x="11291" y="18360"/>
                </a:lnTo>
                <a:lnTo>
                  <a:pt x="14133" y="18360"/>
                </a:lnTo>
                <a:cubicBezTo>
                  <a:pt x="14133" y="18360"/>
                  <a:pt x="13823" y="20520"/>
                  <a:pt x="13823" y="20520"/>
                </a:cubicBezTo>
                <a:close/>
                <a:moveTo>
                  <a:pt x="10309" y="14040"/>
                </a:moveTo>
                <a:lnTo>
                  <a:pt x="6847" y="14040"/>
                </a:lnTo>
                <a:lnTo>
                  <a:pt x="6537" y="11880"/>
                </a:lnTo>
                <a:lnTo>
                  <a:pt x="10309" y="11880"/>
                </a:lnTo>
                <a:cubicBezTo>
                  <a:pt x="10309" y="11880"/>
                  <a:pt x="10309" y="14040"/>
                  <a:pt x="10309" y="14040"/>
                </a:cubicBezTo>
                <a:close/>
                <a:moveTo>
                  <a:pt x="10309" y="17280"/>
                </a:moveTo>
                <a:lnTo>
                  <a:pt x="7312" y="17280"/>
                </a:lnTo>
                <a:lnTo>
                  <a:pt x="7002" y="15120"/>
                </a:lnTo>
                <a:lnTo>
                  <a:pt x="10309" y="15120"/>
                </a:lnTo>
                <a:cubicBezTo>
                  <a:pt x="10309" y="15120"/>
                  <a:pt x="10309" y="17280"/>
                  <a:pt x="10309" y="17280"/>
                </a:cubicBezTo>
                <a:close/>
                <a:moveTo>
                  <a:pt x="10309" y="20520"/>
                </a:moveTo>
                <a:lnTo>
                  <a:pt x="7777" y="20520"/>
                </a:lnTo>
                <a:lnTo>
                  <a:pt x="7467" y="18360"/>
                </a:lnTo>
                <a:lnTo>
                  <a:pt x="10309" y="18360"/>
                </a:lnTo>
                <a:cubicBezTo>
                  <a:pt x="10309" y="18360"/>
                  <a:pt x="10309" y="20520"/>
                  <a:pt x="10309" y="20520"/>
                </a:cubicBezTo>
                <a:close/>
                <a:moveTo>
                  <a:pt x="3834" y="20520"/>
                </a:moveTo>
                <a:lnTo>
                  <a:pt x="3421" y="18360"/>
                </a:lnTo>
                <a:lnTo>
                  <a:pt x="6485" y="18360"/>
                </a:lnTo>
                <a:lnTo>
                  <a:pt x="6795" y="20520"/>
                </a:lnTo>
                <a:cubicBezTo>
                  <a:pt x="6795" y="20520"/>
                  <a:pt x="3834" y="20520"/>
                  <a:pt x="3834" y="20520"/>
                </a:cubicBezTo>
                <a:close/>
                <a:moveTo>
                  <a:pt x="2801" y="15120"/>
                </a:moveTo>
                <a:lnTo>
                  <a:pt x="6020" y="15120"/>
                </a:lnTo>
                <a:lnTo>
                  <a:pt x="6330" y="17280"/>
                </a:lnTo>
                <a:lnTo>
                  <a:pt x="3214" y="17280"/>
                </a:lnTo>
                <a:cubicBezTo>
                  <a:pt x="3214" y="17280"/>
                  <a:pt x="2801" y="15120"/>
                  <a:pt x="2801" y="15120"/>
                </a:cubicBezTo>
                <a:close/>
                <a:moveTo>
                  <a:pt x="2181" y="11880"/>
                </a:moveTo>
                <a:lnTo>
                  <a:pt x="5555" y="11880"/>
                </a:lnTo>
                <a:lnTo>
                  <a:pt x="5865" y="14040"/>
                </a:lnTo>
                <a:lnTo>
                  <a:pt x="2594" y="14040"/>
                </a:lnTo>
                <a:cubicBezTo>
                  <a:pt x="2594" y="14040"/>
                  <a:pt x="2181" y="11880"/>
                  <a:pt x="2181" y="11880"/>
                </a:cubicBezTo>
                <a:close/>
                <a:moveTo>
                  <a:pt x="20618" y="8640"/>
                </a:moveTo>
                <a:lnTo>
                  <a:pt x="982" y="8640"/>
                </a:lnTo>
                <a:cubicBezTo>
                  <a:pt x="440" y="8640"/>
                  <a:pt x="0" y="9124"/>
                  <a:pt x="0" y="9720"/>
                </a:cubicBezTo>
                <a:lnTo>
                  <a:pt x="0" y="10800"/>
                </a:lnTo>
                <a:cubicBezTo>
                  <a:pt x="0" y="11396"/>
                  <a:pt x="440" y="11880"/>
                  <a:pt x="982" y="11880"/>
                </a:cubicBezTo>
                <a:lnTo>
                  <a:pt x="1178" y="11880"/>
                </a:lnTo>
                <a:lnTo>
                  <a:pt x="2960" y="21191"/>
                </a:lnTo>
                <a:lnTo>
                  <a:pt x="2969" y="21189"/>
                </a:lnTo>
                <a:cubicBezTo>
                  <a:pt x="3023" y="21423"/>
                  <a:pt x="3207" y="21600"/>
                  <a:pt x="3436" y="21600"/>
                </a:cubicBezTo>
                <a:lnTo>
                  <a:pt x="18164" y="21600"/>
                </a:lnTo>
                <a:cubicBezTo>
                  <a:pt x="18393" y="21600"/>
                  <a:pt x="18577" y="21423"/>
                  <a:pt x="18631" y="21189"/>
                </a:cubicBezTo>
                <a:lnTo>
                  <a:pt x="18640" y="21191"/>
                </a:lnTo>
                <a:lnTo>
                  <a:pt x="20422" y="11880"/>
                </a:lnTo>
                <a:lnTo>
                  <a:pt x="20618" y="11880"/>
                </a:lnTo>
                <a:cubicBezTo>
                  <a:pt x="21160" y="11880"/>
                  <a:pt x="21600" y="11396"/>
                  <a:pt x="21600" y="10800"/>
                </a:cubicBezTo>
                <a:lnTo>
                  <a:pt x="21600" y="9720"/>
                </a:lnTo>
                <a:cubicBezTo>
                  <a:pt x="21600" y="9124"/>
                  <a:pt x="21160" y="8640"/>
                  <a:pt x="20618" y="8640"/>
                </a:cubicBezTo>
                <a:moveTo>
                  <a:pt x="8345" y="3780"/>
                </a:moveTo>
                <a:lnTo>
                  <a:pt x="10309" y="3780"/>
                </a:lnTo>
                <a:lnTo>
                  <a:pt x="10309" y="5940"/>
                </a:lnTo>
                <a:cubicBezTo>
                  <a:pt x="10309" y="6238"/>
                  <a:pt x="10529" y="6480"/>
                  <a:pt x="10800" y="6480"/>
                </a:cubicBezTo>
                <a:cubicBezTo>
                  <a:pt x="11071" y="6480"/>
                  <a:pt x="11291" y="6238"/>
                  <a:pt x="11291" y="5940"/>
                </a:cubicBezTo>
                <a:lnTo>
                  <a:pt x="11291" y="3780"/>
                </a:lnTo>
                <a:lnTo>
                  <a:pt x="13255" y="3780"/>
                </a:lnTo>
                <a:cubicBezTo>
                  <a:pt x="13525" y="3780"/>
                  <a:pt x="13745" y="3538"/>
                  <a:pt x="13745" y="3240"/>
                </a:cubicBezTo>
                <a:cubicBezTo>
                  <a:pt x="13745" y="2942"/>
                  <a:pt x="13525" y="2700"/>
                  <a:pt x="13255" y="2700"/>
                </a:cubicBezTo>
                <a:lnTo>
                  <a:pt x="11291" y="2700"/>
                </a:lnTo>
                <a:lnTo>
                  <a:pt x="11291" y="540"/>
                </a:lnTo>
                <a:cubicBezTo>
                  <a:pt x="11291" y="242"/>
                  <a:pt x="11071" y="0"/>
                  <a:pt x="10800" y="0"/>
                </a:cubicBezTo>
                <a:cubicBezTo>
                  <a:pt x="10529" y="0"/>
                  <a:pt x="10309" y="242"/>
                  <a:pt x="10309" y="540"/>
                </a:cubicBezTo>
                <a:lnTo>
                  <a:pt x="10309" y="2700"/>
                </a:lnTo>
                <a:lnTo>
                  <a:pt x="8345" y="2700"/>
                </a:lnTo>
                <a:cubicBezTo>
                  <a:pt x="8075" y="2700"/>
                  <a:pt x="7855" y="2942"/>
                  <a:pt x="7855" y="3240"/>
                </a:cubicBezTo>
                <a:cubicBezTo>
                  <a:pt x="7855" y="3538"/>
                  <a:pt x="8075" y="3780"/>
                  <a:pt x="8345" y="37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3" name="Shape 2823"/>
          <p:cNvSpPr/>
          <p:nvPr/>
        </p:nvSpPr>
        <p:spPr>
          <a:xfrm>
            <a:off x="5871676" y="1493658"/>
            <a:ext cx="209495" cy="166645"/>
          </a:xfrm>
          <a:custGeom>
            <a:avLst/>
            <a:gdLst/>
            <a:ahLst/>
            <a:cxnLst>
              <a:cxn ang="0">
                <a:pos x="wd2" y="hd2"/>
              </a:cxn>
              <a:cxn ang="5400000">
                <a:pos x="wd2" y="hd2"/>
              </a:cxn>
              <a:cxn ang="10800000">
                <a:pos x="wd2" y="hd2"/>
              </a:cxn>
              <a:cxn ang="16200000">
                <a:pos x="wd2" y="hd2"/>
              </a:cxn>
            </a:cxnLst>
            <a:rect l="0" t="0" r="r" b="b"/>
            <a:pathLst>
              <a:path w="21600" h="21600" extrusionOk="0">
                <a:moveTo>
                  <a:pt x="20618" y="9257"/>
                </a:moveTo>
                <a:lnTo>
                  <a:pt x="982" y="9257"/>
                </a:lnTo>
                <a:lnTo>
                  <a:pt x="982" y="8023"/>
                </a:lnTo>
                <a:lnTo>
                  <a:pt x="20618" y="8023"/>
                </a:lnTo>
                <a:cubicBezTo>
                  <a:pt x="20618" y="8023"/>
                  <a:pt x="20618" y="9257"/>
                  <a:pt x="20618" y="9257"/>
                </a:cubicBezTo>
                <a:close/>
                <a:moveTo>
                  <a:pt x="19006" y="12960"/>
                </a:moveTo>
                <a:lnTo>
                  <a:pt x="15735" y="12960"/>
                </a:lnTo>
                <a:lnTo>
                  <a:pt x="16045" y="10491"/>
                </a:lnTo>
                <a:lnTo>
                  <a:pt x="19419" y="10491"/>
                </a:lnTo>
                <a:cubicBezTo>
                  <a:pt x="19419" y="10491"/>
                  <a:pt x="19006" y="12960"/>
                  <a:pt x="19006" y="12960"/>
                </a:cubicBezTo>
                <a:close/>
                <a:moveTo>
                  <a:pt x="18386" y="16663"/>
                </a:moveTo>
                <a:lnTo>
                  <a:pt x="15270" y="16663"/>
                </a:lnTo>
                <a:lnTo>
                  <a:pt x="15580" y="14194"/>
                </a:lnTo>
                <a:lnTo>
                  <a:pt x="18799" y="14194"/>
                </a:lnTo>
                <a:cubicBezTo>
                  <a:pt x="18799" y="14194"/>
                  <a:pt x="18386" y="16663"/>
                  <a:pt x="18386" y="16663"/>
                </a:cubicBezTo>
                <a:close/>
                <a:moveTo>
                  <a:pt x="17765" y="20366"/>
                </a:moveTo>
                <a:lnTo>
                  <a:pt x="14805" y="20366"/>
                </a:lnTo>
                <a:lnTo>
                  <a:pt x="15115" y="17897"/>
                </a:lnTo>
                <a:lnTo>
                  <a:pt x="18179" y="17897"/>
                </a:lnTo>
                <a:cubicBezTo>
                  <a:pt x="18179" y="17897"/>
                  <a:pt x="17765" y="20366"/>
                  <a:pt x="17765" y="20366"/>
                </a:cubicBezTo>
                <a:close/>
                <a:moveTo>
                  <a:pt x="11291" y="12960"/>
                </a:moveTo>
                <a:lnTo>
                  <a:pt x="11291" y="10491"/>
                </a:lnTo>
                <a:lnTo>
                  <a:pt x="15063" y="10491"/>
                </a:lnTo>
                <a:lnTo>
                  <a:pt x="14753" y="12960"/>
                </a:lnTo>
                <a:cubicBezTo>
                  <a:pt x="14753" y="12960"/>
                  <a:pt x="11291" y="12960"/>
                  <a:pt x="11291" y="12960"/>
                </a:cubicBezTo>
                <a:close/>
                <a:moveTo>
                  <a:pt x="14288" y="16663"/>
                </a:moveTo>
                <a:lnTo>
                  <a:pt x="11291" y="16663"/>
                </a:lnTo>
                <a:lnTo>
                  <a:pt x="11291" y="14194"/>
                </a:lnTo>
                <a:lnTo>
                  <a:pt x="14598" y="14194"/>
                </a:lnTo>
                <a:cubicBezTo>
                  <a:pt x="14598" y="14194"/>
                  <a:pt x="14288" y="16663"/>
                  <a:pt x="14288" y="16663"/>
                </a:cubicBezTo>
                <a:close/>
                <a:moveTo>
                  <a:pt x="13823" y="20366"/>
                </a:moveTo>
                <a:lnTo>
                  <a:pt x="11291" y="20366"/>
                </a:lnTo>
                <a:lnTo>
                  <a:pt x="11291" y="17897"/>
                </a:lnTo>
                <a:lnTo>
                  <a:pt x="14133" y="17897"/>
                </a:lnTo>
                <a:cubicBezTo>
                  <a:pt x="14133" y="17897"/>
                  <a:pt x="13823" y="20366"/>
                  <a:pt x="13823" y="20366"/>
                </a:cubicBezTo>
                <a:close/>
                <a:moveTo>
                  <a:pt x="10309" y="12960"/>
                </a:moveTo>
                <a:lnTo>
                  <a:pt x="6847" y="12960"/>
                </a:lnTo>
                <a:lnTo>
                  <a:pt x="6537" y="10491"/>
                </a:lnTo>
                <a:lnTo>
                  <a:pt x="10309" y="10491"/>
                </a:lnTo>
                <a:cubicBezTo>
                  <a:pt x="10309" y="10491"/>
                  <a:pt x="10309" y="12960"/>
                  <a:pt x="10309" y="12960"/>
                </a:cubicBezTo>
                <a:close/>
                <a:moveTo>
                  <a:pt x="10309" y="16663"/>
                </a:moveTo>
                <a:lnTo>
                  <a:pt x="7312" y="16663"/>
                </a:lnTo>
                <a:lnTo>
                  <a:pt x="7002" y="14194"/>
                </a:lnTo>
                <a:lnTo>
                  <a:pt x="10309" y="14194"/>
                </a:lnTo>
                <a:cubicBezTo>
                  <a:pt x="10309" y="14194"/>
                  <a:pt x="10309" y="16663"/>
                  <a:pt x="10309" y="16663"/>
                </a:cubicBezTo>
                <a:close/>
                <a:moveTo>
                  <a:pt x="10309" y="20366"/>
                </a:moveTo>
                <a:lnTo>
                  <a:pt x="7777" y="20366"/>
                </a:lnTo>
                <a:lnTo>
                  <a:pt x="7467" y="17897"/>
                </a:lnTo>
                <a:lnTo>
                  <a:pt x="10309" y="17897"/>
                </a:lnTo>
                <a:cubicBezTo>
                  <a:pt x="10309" y="17897"/>
                  <a:pt x="10309" y="20366"/>
                  <a:pt x="10309" y="20366"/>
                </a:cubicBezTo>
                <a:close/>
                <a:moveTo>
                  <a:pt x="3834" y="20366"/>
                </a:moveTo>
                <a:lnTo>
                  <a:pt x="3421" y="17897"/>
                </a:lnTo>
                <a:lnTo>
                  <a:pt x="6485" y="17897"/>
                </a:lnTo>
                <a:lnTo>
                  <a:pt x="6795" y="20366"/>
                </a:lnTo>
                <a:cubicBezTo>
                  <a:pt x="6795" y="20366"/>
                  <a:pt x="3834" y="20366"/>
                  <a:pt x="3834" y="20366"/>
                </a:cubicBezTo>
                <a:close/>
                <a:moveTo>
                  <a:pt x="2801" y="14194"/>
                </a:moveTo>
                <a:lnTo>
                  <a:pt x="6020" y="14194"/>
                </a:lnTo>
                <a:lnTo>
                  <a:pt x="6330" y="16663"/>
                </a:lnTo>
                <a:lnTo>
                  <a:pt x="3214" y="16663"/>
                </a:lnTo>
                <a:cubicBezTo>
                  <a:pt x="3214" y="16663"/>
                  <a:pt x="2801" y="14194"/>
                  <a:pt x="2801" y="14194"/>
                </a:cubicBezTo>
                <a:close/>
                <a:moveTo>
                  <a:pt x="2181" y="10491"/>
                </a:moveTo>
                <a:lnTo>
                  <a:pt x="5555" y="10491"/>
                </a:lnTo>
                <a:lnTo>
                  <a:pt x="5865" y="12960"/>
                </a:lnTo>
                <a:lnTo>
                  <a:pt x="2594" y="12960"/>
                </a:lnTo>
                <a:cubicBezTo>
                  <a:pt x="2594" y="12960"/>
                  <a:pt x="2181" y="10491"/>
                  <a:pt x="2181" y="10491"/>
                </a:cubicBezTo>
                <a:close/>
                <a:moveTo>
                  <a:pt x="20618" y="6789"/>
                </a:moveTo>
                <a:lnTo>
                  <a:pt x="982" y="6789"/>
                </a:lnTo>
                <a:cubicBezTo>
                  <a:pt x="440" y="6789"/>
                  <a:pt x="0" y="7342"/>
                  <a:pt x="0" y="8023"/>
                </a:cubicBezTo>
                <a:lnTo>
                  <a:pt x="0" y="9257"/>
                </a:lnTo>
                <a:cubicBezTo>
                  <a:pt x="0" y="9939"/>
                  <a:pt x="440" y="10491"/>
                  <a:pt x="982" y="10491"/>
                </a:cubicBezTo>
                <a:lnTo>
                  <a:pt x="1178" y="10491"/>
                </a:lnTo>
                <a:lnTo>
                  <a:pt x="2960" y="21133"/>
                </a:lnTo>
                <a:lnTo>
                  <a:pt x="2969" y="21130"/>
                </a:lnTo>
                <a:cubicBezTo>
                  <a:pt x="3023" y="21398"/>
                  <a:pt x="3207" y="21600"/>
                  <a:pt x="3436" y="21600"/>
                </a:cubicBezTo>
                <a:lnTo>
                  <a:pt x="18164" y="21600"/>
                </a:lnTo>
                <a:cubicBezTo>
                  <a:pt x="18393" y="21600"/>
                  <a:pt x="18577" y="21398"/>
                  <a:pt x="18631" y="21130"/>
                </a:cubicBezTo>
                <a:lnTo>
                  <a:pt x="18640" y="21133"/>
                </a:lnTo>
                <a:lnTo>
                  <a:pt x="20422" y="10491"/>
                </a:lnTo>
                <a:lnTo>
                  <a:pt x="20618" y="10491"/>
                </a:lnTo>
                <a:cubicBezTo>
                  <a:pt x="21160" y="10491"/>
                  <a:pt x="21600" y="9939"/>
                  <a:pt x="21600" y="9257"/>
                </a:cubicBezTo>
                <a:lnTo>
                  <a:pt x="21600" y="8023"/>
                </a:lnTo>
                <a:cubicBezTo>
                  <a:pt x="21600" y="7342"/>
                  <a:pt x="21160" y="6789"/>
                  <a:pt x="20618" y="6789"/>
                </a:cubicBezTo>
                <a:moveTo>
                  <a:pt x="8345" y="1234"/>
                </a:moveTo>
                <a:lnTo>
                  <a:pt x="13255" y="1234"/>
                </a:lnTo>
                <a:cubicBezTo>
                  <a:pt x="13525" y="1234"/>
                  <a:pt x="13745" y="958"/>
                  <a:pt x="13745" y="617"/>
                </a:cubicBezTo>
                <a:cubicBezTo>
                  <a:pt x="13745" y="276"/>
                  <a:pt x="13525" y="0"/>
                  <a:pt x="13255" y="0"/>
                </a:cubicBezTo>
                <a:lnTo>
                  <a:pt x="8345" y="0"/>
                </a:lnTo>
                <a:cubicBezTo>
                  <a:pt x="8075" y="0"/>
                  <a:pt x="7855" y="276"/>
                  <a:pt x="7855" y="617"/>
                </a:cubicBezTo>
                <a:cubicBezTo>
                  <a:pt x="7855" y="958"/>
                  <a:pt x="8075" y="1234"/>
                  <a:pt x="8345" y="123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4" name="Shape 2824"/>
          <p:cNvSpPr/>
          <p:nvPr/>
        </p:nvSpPr>
        <p:spPr>
          <a:xfrm>
            <a:off x="6271622" y="1469853"/>
            <a:ext cx="209495" cy="209461"/>
          </a:xfrm>
          <a:custGeom>
            <a:avLst/>
            <a:gdLst/>
            <a:ahLst/>
            <a:cxnLst>
              <a:cxn ang="0">
                <a:pos x="wd2" y="hd2"/>
              </a:cxn>
              <a:cxn ang="5400000">
                <a:pos x="wd2" y="hd2"/>
              </a:cxn>
              <a:cxn ang="10800000">
                <a:pos x="wd2" y="hd2"/>
              </a:cxn>
              <a:cxn ang="16200000">
                <a:pos x="wd2" y="hd2"/>
              </a:cxn>
            </a:cxnLst>
            <a:rect l="0" t="0" r="r" b="b"/>
            <a:pathLst>
              <a:path w="21600" h="21388" extrusionOk="0">
                <a:moveTo>
                  <a:pt x="10309" y="9720"/>
                </a:moveTo>
                <a:lnTo>
                  <a:pt x="9327" y="9720"/>
                </a:lnTo>
                <a:cubicBezTo>
                  <a:pt x="9056" y="9720"/>
                  <a:pt x="8836" y="9937"/>
                  <a:pt x="8836" y="10206"/>
                </a:cubicBezTo>
                <a:cubicBezTo>
                  <a:pt x="8836" y="10475"/>
                  <a:pt x="9056" y="10692"/>
                  <a:pt x="9327" y="10692"/>
                </a:cubicBezTo>
                <a:lnTo>
                  <a:pt x="10309" y="10692"/>
                </a:lnTo>
                <a:cubicBezTo>
                  <a:pt x="10580" y="10692"/>
                  <a:pt x="10800" y="10475"/>
                  <a:pt x="10800" y="10206"/>
                </a:cubicBezTo>
                <a:cubicBezTo>
                  <a:pt x="10800" y="9937"/>
                  <a:pt x="10580" y="9720"/>
                  <a:pt x="10309" y="9720"/>
                </a:cubicBezTo>
                <a:moveTo>
                  <a:pt x="13255" y="18471"/>
                </a:moveTo>
                <a:lnTo>
                  <a:pt x="12273" y="18471"/>
                </a:lnTo>
                <a:cubicBezTo>
                  <a:pt x="12002" y="18471"/>
                  <a:pt x="11782" y="18689"/>
                  <a:pt x="11782" y="18957"/>
                </a:cubicBezTo>
                <a:cubicBezTo>
                  <a:pt x="11782" y="19226"/>
                  <a:pt x="12002" y="19443"/>
                  <a:pt x="12273" y="19443"/>
                </a:cubicBezTo>
                <a:lnTo>
                  <a:pt x="13255" y="19443"/>
                </a:lnTo>
                <a:cubicBezTo>
                  <a:pt x="13525" y="19443"/>
                  <a:pt x="13745" y="19226"/>
                  <a:pt x="13745" y="18957"/>
                </a:cubicBezTo>
                <a:cubicBezTo>
                  <a:pt x="13745" y="18689"/>
                  <a:pt x="13525" y="18471"/>
                  <a:pt x="13255" y="18471"/>
                </a:cubicBezTo>
                <a:moveTo>
                  <a:pt x="10309" y="18471"/>
                </a:moveTo>
                <a:lnTo>
                  <a:pt x="9327" y="18471"/>
                </a:lnTo>
                <a:cubicBezTo>
                  <a:pt x="9056" y="18471"/>
                  <a:pt x="8836" y="18689"/>
                  <a:pt x="8836" y="18957"/>
                </a:cubicBezTo>
                <a:cubicBezTo>
                  <a:pt x="8836" y="19226"/>
                  <a:pt x="9056" y="19443"/>
                  <a:pt x="9327" y="19443"/>
                </a:cubicBezTo>
                <a:lnTo>
                  <a:pt x="10309" y="19443"/>
                </a:lnTo>
                <a:cubicBezTo>
                  <a:pt x="10580" y="19443"/>
                  <a:pt x="10800" y="19226"/>
                  <a:pt x="10800" y="18957"/>
                </a:cubicBezTo>
                <a:cubicBezTo>
                  <a:pt x="10800" y="18689"/>
                  <a:pt x="10580" y="18471"/>
                  <a:pt x="10309" y="18471"/>
                </a:cubicBezTo>
                <a:moveTo>
                  <a:pt x="20618" y="15554"/>
                </a:moveTo>
                <a:cubicBezTo>
                  <a:pt x="20618" y="16091"/>
                  <a:pt x="20178" y="16526"/>
                  <a:pt x="19636" y="16526"/>
                </a:cubicBezTo>
                <a:lnTo>
                  <a:pt x="16691" y="16526"/>
                </a:lnTo>
                <a:cubicBezTo>
                  <a:pt x="16149" y="16526"/>
                  <a:pt x="15709" y="16091"/>
                  <a:pt x="15709" y="15554"/>
                </a:cubicBezTo>
                <a:lnTo>
                  <a:pt x="15709" y="13609"/>
                </a:lnTo>
                <a:cubicBezTo>
                  <a:pt x="15709" y="13073"/>
                  <a:pt x="16149" y="12637"/>
                  <a:pt x="16691" y="12637"/>
                </a:cubicBezTo>
                <a:lnTo>
                  <a:pt x="19636" y="12637"/>
                </a:lnTo>
                <a:cubicBezTo>
                  <a:pt x="20178" y="12637"/>
                  <a:pt x="20618" y="13073"/>
                  <a:pt x="20618" y="13609"/>
                </a:cubicBezTo>
                <a:cubicBezTo>
                  <a:pt x="20618" y="13609"/>
                  <a:pt x="20618" y="15554"/>
                  <a:pt x="20618" y="15554"/>
                </a:cubicBezTo>
                <a:close/>
                <a:moveTo>
                  <a:pt x="18655" y="19443"/>
                </a:moveTo>
                <a:cubicBezTo>
                  <a:pt x="18655" y="19980"/>
                  <a:pt x="18215" y="20416"/>
                  <a:pt x="17673" y="20416"/>
                </a:cubicBezTo>
                <a:lnTo>
                  <a:pt x="1964" y="20416"/>
                </a:lnTo>
                <a:cubicBezTo>
                  <a:pt x="1422" y="20416"/>
                  <a:pt x="982" y="19980"/>
                  <a:pt x="982" y="19443"/>
                </a:cubicBezTo>
                <a:lnTo>
                  <a:pt x="982" y="9720"/>
                </a:lnTo>
                <a:cubicBezTo>
                  <a:pt x="982" y="9183"/>
                  <a:pt x="1422" y="8747"/>
                  <a:pt x="1964" y="8747"/>
                </a:cubicBezTo>
                <a:lnTo>
                  <a:pt x="17673" y="8747"/>
                </a:lnTo>
                <a:cubicBezTo>
                  <a:pt x="18215" y="8747"/>
                  <a:pt x="18655" y="9183"/>
                  <a:pt x="18655" y="9720"/>
                </a:cubicBezTo>
                <a:lnTo>
                  <a:pt x="18655" y="11664"/>
                </a:lnTo>
                <a:lnTo>
                  <a:pt x="16691" y="11664"/>
                </a:lnTo>
                <a:cubicBezTo>
                  <a:pt x="15606" y="11664"/>
                  <a:pt x="14727" y="12535"/>
                  <a:pt x="14727" y="13609"/>
                </a:cubicBezTo>
                <a:lnTo>
                  <a:pt x="14727" y="15554"/>
                </a:lnTo>
                <a:cubicBezTo>
                  <a:pt x="14727" y="16628"/>
                  <a:pt x="15606" y="17499"/>
                  <a:pt x="16691" y="17499"/>
                </a:cubicBezTo>
                <a:lnTo>
                  <a:pt x="18655" y="17499"/>
                </a:lnTo>
                <a:cubicBezTo>
                  <a:pt x="18655" y="17499"/>
                  <a:pt x="18655" y="19443"/>
                  <a:pt x="18655" y="19443"/>
                </a:cubicBezTo>
                <a:close/>
                <a:moveTo>
                  <a:pt x="982" y="7775"/>
                </a:moveTo>
                <a:cubicBezTo>
                  <a:pt x="982" y="7238"/>
                  <a:pt x="1422" y="6803"/>
                  <a:pt x="1964" y="6803"/>
                </a:cubicBezTo>
                <a:lnTo>
                  <a:pt x="2555" y="6803"/>
                </a:lnTo>
                <a:lnTo>
                  <a:pt x="2817" y="7775"/>
                </a:lnTo>
                <a:lnTo>
                  <a:pt x="1964" y="7775"/>
                </a:lnTo>
                <a:cubicBezTo>
                  <a:pt x="1604" y="7775"/>
                  <a:pt x="1271" y="7878"/>
                  <a:pt x="982" y="8045"/>
                </a:cubicBezTo>
                <a:cubicBezTo>
                  <a:pt x="982" y="8045"/>
                  <a:pt x="982" y="7775"/>
                  <a:pt x="982" y="7775"/>
                </a:cubicBezTo>
                <a:close/>
                <a:moveTo>
                  <a:pt x="3721" y="3600"/>
                </a:moveTo>
                <a:lnTo>
                  <a:pt x="13629" y="1005"/>
                </a:lnTo>
                <a:cubicBezTo>
                  <a:pt x="14152" y="866"/>
                  <a:pt x="14690" y="1174"/>
                  <a:pt x="14831" y="1693"/>
                </a:cubicBezTo>
                <a:lnTo>
                  <a:pt x="15085" y="2631"/>
                </a:lnTo>
                <a:lnTo>
                  <a:pt x="3281" y="5731"/>
                </a:lnTo>
                <a:lnTo>
                  <a:pt x="3026" y="4791"/>
                </a:lnTo>
                <a:cubicBezTo>
                  <a:pt x="2886" y="4272"/>
                  <a:pt x="3197" y="3739"/>
                  <a:pt x="3721" y="3600"/>
                </a:cubicBezTo>
                <a:moveTo>
                  <a:pt x="15847" y="5448"/>
                </a:moveTo>
                <a:lnTo>
                  <a:pt x="16476" y="7775"/>
                </a:lnTo>
                <a:lnTo>
                  <a:pt x="6989" y="7775"/>
                </a:lnTo>
                <a:cubicBezTo>
                  <a:pt x="6989" y="7775"/>
                  <a:pt x="15847" y="5448"/>
                  <a:pt x="15847" y="5448"/>
                </a:cubicBezTo>
                <a:close/>
                <a:moveTo>
                  <a:pt x="17673" y="6803"/>
                </a:moveTo>
                <a:cubicBezTo>
                  <a:pt x="18215" y="6803"/>
                  <a:pt x="18655" y="7238"/>
                  <a:pt x="18655" y="7775"/>
                </a:cubicBezTo>
                <a:lnTo>
                  <a:pt x="18655" y="8045"/>
                </a:lnTo>
                <a:cubicBezTo>
                  <a:pt x="18365" y="7878"/>
                  <a:pt x="18032" y="7775"/>
                  <a:pt x="17673" y="7775"/>
                </a:cubicBezTo>
                <a:lnTo>
                  <a:pt x="17493" y="7775"/>
                </a:lnTo>
                <a:lnTo>
                  <a:pt x="17230" y="6803"/>
                </a:lnTo>
                <a:cubicBezTo>
                  <a:pt x="17230" y="6803"/>
                  <a:pt x="17673" y="6803"/>
                  <a:pt x="17673" y="6803"/>
                </a:cubicBezTo>
                <a:close/>
                <a:moveTo>
                  <a:pt x="19636" y="11664"/>
                </a:moveTo>
                <a:lnTo>
                  <a:pt x="19636" y="7775"/>
                </a:lnTo>
                <a:cubicBezTo>
                  <a:pt x="19636" y="6701"/>
                  <a:pt x="18757" y="5830"/>
                  <a:pt x="17673" y="5830"/>
                </a:cubicBezTo>
                <a:lnTo>
                  <a:pt x="16967" y="5830"/>
                </a:lnTo>
                <a:lnTo>
                  <a:pt x="15779" y="1441"/>
                </a:lnTo>
                <a:cubicBezTo>
                  <a:pt x="15498" y="404"/>
                  <a:pt x="14422" y="-212"/>
                  <a:pt x="13374" y="66"/>
                </a:cubicBezTo>
                <a:lnTo>
                  <a:pt x="3467" y="2660"/>
                </a:lnTo>
                <a:cubicBezTo>
                  <a:pt x="2419" y="2939"/>
                  <a:pt x="1798" y="4005"/>
                  <a:pt x="2078" y="5042"/>
                </a:cubicBezTo>
                <a:lnTo>
                  <a:pt x="2291" y="5830"/>
                </a:lnTo>
                <a:lnTo>
                  <a:pt x="1964" y="5830"/>
                </a:lnTo>
                <a:cubicBezTo>
                  <a:pt x="879" y="5830"/>
                  <a:pt x="0" y="6701"/>
                  <a:pt x="0" y="7775"/>
                </a:cubicBezTo>
                <a:lnTo>
                  <a:pt x="0" y="19443"/>
                </a:lnTo>
                <a:cubicBezTo>
                  <a:pt x="0" y="20517"/>
                  <a:pt x="879" y="21388"/>
                  <a:pt x="1964" y="21388"/>
                </a:cubicBezTo>
                <a:lnTo>
                  <a:pt x="17673" y="21388"/>
                </a:lnTo>
                <a:cubicBezTo>
                  <a:pt x="18757" y="21388"/>
                  <a:pt x="19636" y="20517"/>
                  <a:pt x="19636" y="19443"/>
                </a:cubicBezTo>
                <a:lnTo>
                  <a:pt x="19636" y="17499"/>
                </a:lnTo>
                <a:cubicBezTo>
                  <a:pt x="20721" y="17499"/>
                  <a:pt x="21600" y="16628"/>
                  <a:pt x="21600" y="15554"/>
                </a:cubicBezTo>
                <a:lnTo>
                  <a:pt x="21600" y="13609"/>
                </a:lnTo>
                <a:cubicBezTo>
                  <a:pt x="21600" y="12535"/>
                  <a:pt x="20721" y="11664"/>
                  <a:pt x="19636" y="11664"/>
                </a:cubicBezTo>
                <a:moveTo>
                  <a:pt x="13255" y="9720"/>
                </a:moveTo>
                <a:lnTo>
                  <a:pt x="12273" y="9720"/>
                </a:lnTo>
                <a:cubicBezTo>
                  <a:pt x="12002" y="9720"/>
                  <a:pt x="11782" y="9937"/>
                  <a:pt x="11782" y="10206"/>
                </a:cubicBezTo>
                <a:cubicBezTo>
                  <a:pt x="11782" y="10475"/>
                  <a:pt x="12002" y="10692"/>
                  <a:pt x="12273" y="10692"/>
                </a:cubicBezTo>
                <a:lnTo>
                  <a:pt x="13255" y="10692"/>
                </a:lnTo>
                <a:cubicBezTo>
                  <a:pt x="13525" y="10692"/>
                  <a:pt x="13745" y="10475"/>
                  <a:pt x="13745" y="10206"/>
                </a:cubicBezTo>
                <a:cubicBezTo>
                  <a:pt x="13745" y="9937"/>
                  <a:pt x="13525" y="9720"/>
                  <a:pt x="13255" y="9720"/>
                </a:cubicBezTo>
                <a:moveTo>
                  <a:pt x="7364" y="9720"/>
                </a:moveTo>
                <a:lnTo>
                  <a:pt x="6382" y="9720"/>
                </a:lnTo>
                <a:cubicBezTo>
                  <a:pt x="6111" y="9720"/>
                  <a:pt x="5891" y="9937"/>
                  <a:pt x="5891" y="10206"/>
                </a:cubicBezTo>
                <a:cubicBezTo>
                  <a:pt x="5891" y="10475"/>
                  <a:pt x="6111" y="10692"/>
                  <a:pt x="6382" y="10692"/>
                </a:cubicBezTo>
                <a:lnTo>
                  <a:pt x="7364" y="10692"/>
                </a:lnTo>
                <a:cubicBezTo>
                  <a:pt x="7634" y="10692"/>
                  <a:pt x="7855" y="10475"/>
                  <a:pt x="7855" y="10206"/>
                </a:cubicBezTo>
                <a:cubicBezTo>
                  <a:pt x="7855" y="9937"/>
                  <a:pt x="7634" y="9720"/>
                  <a:pt x="7364" y="9720"/>
                </a:cubicBezTo>
                <a:moveTo>
                  <a:pt x="17182" y="14095"/>
                </a:moveTo>
                <a:cubicBezTo>
                  <a:pt x="16911" y="14095"/>
                  <a:pt x="16691" y="14313"/>
                  <a:pt x="16691" y="14581"/>
                </a:cubicBezTo>
                <a:cubicBezTo>
                  <a:pt x="16691" y="14850"/>
                  <a:pt x="16911" y="15068"/>
                  <a:pt x="17182" y="15068"/>
                </a:cubicBezTo>
                <a:cubicBezTo>
                  <a:pt x="17453" y="15068"/>
                  <a:pt x="17673" y="14850"/>
                  <a:pt x="17673" y="14581"/>
                </a:cubicBezTo>
                <a:cubicBezTo>
                  <a:pt x="17673" y="14313"/>
                  <a:pt x="17453" y="14095"/>
                  <a:pt x="17182" y="14095"/>
                </a:cubicBezTo>
                <a:moveTo>
                  <a:pt x="16200" y="18471"/>
                </a:moveTo>
                <a:lnTo>
                  <a:pt x="15218" y="18471"/>
                </a:lnTo>
                <a:cubicBezTo>
                  <a:pt x="14947" y="18471"/>
                  <a:pt x="14727" y="18689"/>
                  <a:pt x="14727" y="18957"/>
                </a:cubicBezTo>
                <a:cubicBezTo>
                  <a:pt x="14727" y="19226"/>
                  <a:pt x="14947" y="19443"/>
                  <a:pt x="15218" y="19443"/>
                </a:cubicBezTo>
                <a:lnTo>
                  <a:pt x="16200" y="19443"/>
                </a:lnTo>
                <a:cubicBezTo>
                  <a:pt x="16471" y="19443"/>
                  <a:pt x="16691" y="19226"/>
                  <a:pt x="16691" y="18957"/>
                </a:cubicBezTo>
                <a:cubicBezTo>
                  <a:pt x="16691" y="18689"/>
                  <a:pt x="16471" y="18471"/>
                  <a:pt x="16200" y="18471"/>
                </a:cubicBezTo>
                <a:moveTo>
                  <a:pt x="15218" y="10692"/>
                </a:moveTo>
                <a:lnTo>
                  <a:pt x="16200" y="10692"/>
                </a:lnTo>
                <a:cubicBezTo>
                  <a:pt x="16471" y="10692"/>
                  <a:pt x="16691" y="10475"/>
                  <a:pt x="16691" y="10206"/>
                </a:cubicBezTo>
                <a:cubicBezTo>
                  <a:pt x="16691" y="9937"/>
                  <a:pt x="16471" y="9720"/>
                  <a:pt x="16200" y="9720"/>
                </a:cubicBezTo>
                <a:lnTo>
                  <a:pt x="15218" y="9720"/>
                </a:lnTo>
                <a:cubicBezTo>
                  <a:pt x="14947" y="9720"/>
                  <a:pt x="14727" y="9937"/>
                  <a:pt x="14727" y="10206"/>
                </a:cubicBezTo>
                <a:cubicBezTo>
                  <a:pt x="14727" y="10475"/>
                  <a:pt x="14947" y="10692"/>
                  <a:pt x="15218" y="10692"/>
                </a:cubicBezTo>
                <a:moveTo>
                  <a:pt x="4418" y="18471"/>
                </a:moveTo>
                <a:lnTo>
                  <a:pt x="3436" y="18471"/>
                </a:lnTo>
                <a:cubicBezTo>
                  <a:pt x="3166" y="18471"/>
                  <a:pt x="2945" y="18689"/>
                  <a:pt x="2945" y="18957"/>
                </a:cubicBezTo>
                <a:cubicBezTo>
                  <a:pt x="2945" y="19226"/>
                  <a:pt x="3166" y="19443"/>
                  <a:pt x="3436" y="19443"/>
                </a:cubicBezTo>
                <a:lnTo>
                  <a:pt x="4418" y="19443"/>
                </a:lnTo>
                <a:cubicBezTo>
                  <a:pt x="4689" y="19443"/>
                  <a:pt x="4909" y="19226"/>
                  <a:pt x="4909" y="18957"/>
                </a:cubicBezTo>
                <a:cubicBezTo>
                  <a:pt x="4909" y="18689"/>
                  <a:pt x="4689" y="18471"/>
                  <a:pt x="4418" y="18471"/>
                </a:cubicBezTo>
                <a:moveTo>
                  <a:pt x="7364" y="18471"/>
                </a:moveTo>
                <a:lnTo>
                  <a:pt x="6382" y="18471"/>
                </a:lnTo>
                <a:cubicBezTo>
                  <a:pt x="6111" y="18471"/>
                  <a:pt x="5891" y="18689"/>
                  <a:pt x="5891" y="18957"/>
                </a:cubicBezTo>
                <a:cubicBezTo>
                  <a:pt x="5891" y="19226"/>
                  <a:pt x="6111" y="19443"/>
                  <a:pt x="6382" y="19443"/>
                </a:cubicBezTo>
                <a:lnTo>
                  <a:pt x="7364" y="19443"/>
                </a:lnTo>
                <a:cubicBezTo>
                  <a:pt x="7634" y="19443"/>
                  <a:pt x="7855" y="19226"/>
                  <a:pt x="7855" y="18957"/>
                </a:cubicBezTo>
                <a:cubicBezTo>
                  <a:pt x="7855" y="18689"/>
                  <a:pt x="7634" y="18471"/>
                  <a:pt x="7364" y="18471"/>
                </a:cubicBezTo>
                <a:moveTo>
                  <a:pt x="4418" y="9720"/>
                </a:moveTo>
                <a:lnTo>
                  <a:pt x="3436" y="9720"/>
                </a:lnTo>
                <a:cubicBezTo>
                  <a:pt x="3166" y="9720"/>
                  <a:pt x="2945" y="9937"/>
                  <a:pt x="2945" y="10206"/>
                </a:cubicBezTo>
                <a:cubicBezTo>
                  <a:pt x="2945" y="10475"/>
                  <a:pt x="3166" y="10692"/>
                  <a:pt x="3436" y="10692"/>
                </a:cubicBezTo>
                <a:lnTo>
                  <a:pt x="4418" y="10692"/>
                </a:lnTo>
                <a:cubicBezTo>
                  <a:pt x="4689" y="10692"/>
                  <a:pt x="4909" y="10475"/>
                  <a:pt x="4909" y="10206"/>
                </a:cubicBezTo>
                <a:cubicBezTo>
                  <a:pt x="4909" y="9937"/>
                  <a:pt x="4689" y="9720"/>
                  <a:pt x="4418" y="97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5" name="Shape 2825"/>
          <p:cNvSpPr/>
          <p:nvPr/>
        </p:nvSpPr>
        <p:spPr>
          <a:xfrm>
            <a:off x="6671567" y="1498421"/>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3255" y="17550"/>
                </a:moveTo>
                <a:lnTo>
                  <a:pt x="12273" y="17550"/>
                </a:lnTo>
                <a:cubicBezTo>
                  <a:pt x="12001" y="17550"/>
                  <a:pt x="11782" y="17853"/>
                  <a:pt x="11782" y="18225"/>
                </a:cubicBezTo>
                <a:cubicBezTo>
                  <a:pt x="11782" y="18598"/>
                  <a:pt x="12001" y="18900"/>
                  <a:pt x="12273" y="18900"/>
                </a:cubicBezTo>
                <a:lnTo>
                  <a:pt x="13255" y="18900"/>
                </a:lnTo>
                <a:cubicBezTo>
                  <a:pt x="13526" y="18900"/>
                  <a:pt x="13745" y="18598"/>
                  <a:pt x="13745" y="18225"/>
                </a:cubicBezTo>
                <a:cubicBezTo>
                  <a:pt x="13745" y="17853"/>
                  <a:pt x="13526" y="17550"/>
                  <a:pt x="13255" y="17550"/>
                </a:cubicBezTo>
                <a:moveTo>
                  <a:pt x="10309" y="5400"/>
                </a:moveTo>
                <a:lnTo>
                  <a:pt x="9327" y="5400"/>
                </a:lnTo>
                <a:cubicBezTo>
                  <a:pt x="9056" y="5400"/>
                  <a:pt x="8836" y="5702"/>
                  <a:pt x="8836" y="6075"/>
                </a:cubicBezTo>
                <a:cubicBezTo>
                  <a:pt x="8836" y="6448"/>
                  <a:pt x="9056" y="6750"/>
                  <a:pt x="9327" y="6750"/>
                </a:cubicBezTo>
                <a:lnTo>
                  <a:pt x="10309" y="6750"/>
                </a:lnTo>
                <a:cubicBezTo>
                  <a:pt x="10580" y="6750"/>
                  <a:pt x="10800" y="6448"/>
                  <a:pt x="10800" y="6075"/>
                </a:cubicBezTo>
                <a:cubicBezTo>
                  <a:pt x="10800" y="5702"/>
                  <a:pt x="10580" y="5400"/>
                  <a:pt x="10309" y="5400"/>
                </a:cubicBezTo>
                <a:moveTo>
                  <a:pt x="16200" y="17550"/>
                </a:moveTo>
                <a:lnTo>
                  <a:pt x="15218" y="17550"/>
                </a:lnTo>
                <a:cubicBezTo>
                  <a:pt x="14947" y="17550"/>
                  <a:pt x="14727" y="17853"/>
                  <a:pt x="14727" y="18225"/>
                </a:cubicBezTo>
                <a:cubicBezTo>
                  <a:pt x="14727" y="18598"/>
                  <a:pt x="14947" y="18900"/>
                  <a:pt x="15218" y="18900"/>
                </a:cubicBezTo>
                <a:lnTo>
                  <a:pt x="16200" y="18900"/>
                </a:lnTo>
                <a:cubicBezTo>
                  <a:pt x="16471" y="18900"/>
                  <a:pt x="16691" y="18598"/>
                  <a:pt x="16691" y="18225"/>
                </a:cubicBezTo>
                <a:cubicBezTo>
                  <a:pt x="16691" y="17853"/>
                  <a:pt x="16471" y="17550"/>
                  <a:pt x="16200" y="17550"/>
                </a:cubicBezTo>
                <a:moveTo>
                  <a:pt x="13255" y="5400"/>
                </a:moveTo>
                <a:lnTo>
                  <a:pt x="12273" y="5400"/>
                </a:lnTo>
                <a:cubicBezTo>
                  <a:pt x="12001" y="5400"/>
                  <a:pt x="11782" y="5702"/>
                  <a:pt x="11782" y="6075"/>
                </a:cubicBezTo>
                <a:cubicBezTo>
                  <a:pt x="11782" y="6448"/>
                  <a:pt x="12001" y="6750"/>
                  <a:pt x="12273" y="6750"/>
                </a:cubicBezTo>
                <a:lnTo>
                  <a:pt x="13255" y="6750"/>
                </a:lnTo>
                <a:cubicBezTo>
                  <a:pt x="13526" y="6750"/>
                  <a:pt x="13745" y="6448"/>
                  <a:pt x="13745" y="6075"/>
                </a:cubicBezTo>
                <a:cubicBezTo>
                  <a:pt x="13745" y="5702"/>
                  <a:pt x="13526" y="5400"/>
                  <a:pt x="13255" y="5400"/>
                </a:cubicBezTo>
                <a:moveTo>
                  <a:pt x="10309" y="17550"/>
                </a:moveTo>
                <a:lnTo>
                  <a:pt x="9327" y="17550"/>
                </a:lnTo>
                <a:cubicBezTo>
                  <a:pt x="9056" y="17550"/>
                  <a:pt x="8836" y="17853"/>
                  <a:pt x="8836" y="18225"/>
                </a:cubicBezTo>
                <a:cubicBezTo>
                  <a:pt x="8836" y="18598"/>
                  <a:pt x="9056" y="18900"/>
                  <a:pt x="9327" y="18900"/>
                </a:cubicBezTo>
                <a:lnTo>
                  <a:pt x="10309" y="18900"/>
                </a:lnTo>
                <a:cubicBezTo>
                  <a:pt x="10580" y="18900"/>
                  <a:pt x="10800" y="18598"/>
                  <a:pt x="10800" y="18225"/>
                </a:cubicBezTo>
                <a:cubicBezTo>
                  <a:pt x="10800" y="17853"/>
                  <a:pt x="10580" y="17550"/>
                  <a:pt x="10309" y="17550"/>
                </a:cubicBezTo>
                <a:moveTo>
                  <a:pt x="4418" y="17550"/>
                </a:moveTo>
                <a:lnTo>
                  <a:pt x="3436" y="17550"/>
                </a:lnTo>
                <a:cubicBezTo>
                  <a:pt x="3165" y="17550"/>
                  <a:pt x="2945" y="17853"/>
                  <a:pt x="2945" y="18225"/>
                </a:cubicBezTo>
                <a:cubicBezTo>
                  <a:pt x="2945" y="18598"/>
                  <a:pt x="3165" y="18900"/>
                  <a:pt x="3436" y="18900"/>
                </a:cubicBezTo>
                <a:lnTo>
                  <a:pt x="4418" y="18900"/>
                </a:lnTo>
                <a:cubicBezTo>
                  <a:pt x="4690" y="18900"/>
                  <a:pt x="4909" y="18598"/>
                  <a:pt x="4909" y="18225"/>
                </a:cubicBezTo>
                <a:cubicBezTo>
                  <a:pt x="4909" y="17853"/>
                  <a:pt x="4690" y="17550"/>
                  <a:pt x="4418" y="17550"/>
                </a:cubicBezTo>
                <a:moveTo>
                  <a:pt x="15218" y="6750"/>
                </a:moveTo>
                <a:lnTo>
                  <a:pt x="16200" y="6750"/>
                </a:lnTo>
                <a:cubicBezTo>
                  <a:pt x="16471" y="6750"/>
                  <a:pt x="16691" y="6448"/>
                  <a:pt x="16691" y="6075"/>
                </a:cubicBezTo>
                <a:cubicBezTo>
                  <a:pt x="16691" y="5702"/>
                  <a:pt x="16471" y="5400"/>
                  <a:pt x="16200" y="5400"/>
                </a:cubicBezTo>
                <a:lnTo>
                  <a:pt x="15218" y="5400"/>
                </a:lnTo>
                <a:cubicBezTo>
                  <a:pt x="14947" y="5400"/>
                  <a:pt x="14727" y="5702"/>
                  <a:pt x="14727" y="6075"/>
                </a:cubicBezTo>
                <a:cubicBezTo>
                  <a:pt x="14727" y="6448"/>
                  <a:pt x="14947" y="6750"/>
                  <a:pt x="15218" y="6750"/>
                </a:cubicBezTo>
                <a:moveTo>
                  <a:pt x="20618" y="13500"/>
                </a:moveTo>
                <a:cubicBezTo>
                  <a:pt x="20618" y="14245"/>
                  <a:pt x="20178" y="14850"/>
                  <a:pt x="19636" y="14850"/>
                </a:cubicBezTo>
                <a:lnTo>
                  <a:pt x="16691" y="14850"/>
                </a:lnTo>
                <a:cubicBezTo>
                  <a:pt x="16149" y="14850"/>
                  <a:pt x="15709" y="14245"/>
                  <a:pt x="15709" y="13500"/>
                </a:cubicBezTo>
                <a:lnTo>
                  <a:pt x="15709" y="10800"/>
                </a:lnTo>
                <a:cubicBezTo>
                  <a:pt x="15709" y="10055"/>
                  <a:pt x="16149" y="9450"/>
                  <a:pt x="16691" y="9450"/>
                </a:cubicBezTo>
                <a:lnTo>
                  <a:pt x="19636" y="9450"/>
                </a:lnTo>
                <a:cubicBezTo>
                  <a:pt x="20178" y="9450"/>
                  <a:pt x="20618" y="10055"/>
                  <a:pt x="20618" y="10800"/>
                </a:cubicBezTo>
                <a:cubicBezTo>
                  <a:pt x="20618" y="10800"/>
                  <a:pt x="20618" y="13500"/>
                  <a:pt x="20618" y="13500"/>
                </a:cubicBezTo>
                <a:close/>
                <a:moveTo>
                  <a:pt x="18655" y="18900"/>
                </a:moveTo>
                <a:cubicBezTo>
                  <a:pt x="18655" y="19645"/>
                  <a:pt x="18214" y="20250"/>
                  <a:pt x="17673" y="20250"/>
                </a:cubicBezTo>
                <a:lnTo>
                  <a:pt x="1964" y="20250"/>
                </a:lnTo>
                <a:cubicBezTo>
                  <a:pt x="1422" y="20250"/>
                  <a:pt x="982" y="19645"/>
                  <a:pt x="982" y="18900"/>
                </a:cubicBezTo>
                <a:lnTo>
                  <a:pt x="982" y="5400"/>
                </a:lnTo>
                <a:cubicBezTo>
                  <a:pt x="982" y="4655"/>
                  <a:pt x="1422" y="4050"/>
                  <a:pt x="1964" y="4050"/>
                </a:cubicBezTo>
                <a:lnTo>
                  <a:pt x="17673" y="4050"/>
                </a:lnTo>
                <a:cubicBezTo>
                  <a:pt x="18214" y="4050"/>
                  <a:pt x="18655" y="4655"/>
                  <a:pt x="18655" y="5400"/>
                </a:cubicBezTo>
                <a:lnTo>
                  <a:pt x="18655" y="8100"/>
                </a:lnTo>
                <a:lnTo>
                  <a:pt x="16691" y="8100"/>
                </a:lnTo>
                <a:cubicBezTo>
                  <a:pt x="15606" y="8100"/>
                  <a:pt x="14727" y="9309"/>
                  <a:pt x="14727" y="10800"/>
                </a:cubicBezTo>
                <a:lnTo>
                  <a:pt x="14727" y="13500"/>
                </a:lnTo>
                <a:cubicBezTo>
                  <a:pt x="14727" y="14991"/>
                  <a:pt x="15606" y="16200"/>
                  <a:pt x="16691" y="16200"/>
                </a:cubicBezTo>
                <a:lnTo>
                  <a:pt x="18655" y="16200"/>
                </a:lnTo>
                <a:cubicBezTo>
                  <a:pt x="18655" y="16200"/>
                  <a:pt x="18655" y="18900"/>
                  <a:pt x="18655" y="18900"/>
                </a:cubicBezTo>
                <a:close/>
                <a:moveTo>
                  <a:pt x="982" y="2700"/>
                </a:moveTo>
                <a:cubicBezTo>
                  <a:pt x="982" y="1955"/>
                  <a:pt x="1422" y="1350"/>
                  <a:pt x="1964" y="1350"/>
                </a:cubicBezTo>
                <a:lnTo>
                  <a:pt x="17673" y="1350"/>
                </a:lnTo>
                <a:cubicBezTo>
                  <a:pt x="18214" y="1350"/>
                  <a:pt x="18655" y="1955"/>
                  <a:pt x="18655" y="2700"/>
                </a:cubicBezTo>
                <a:lnTo>
                  <a:pt x="18655" y="3075"/>
                </a:lnTo>
                <a:cubicBezTo>
                  <a:pt x="18365" y="2842"/>
                  <a:pt x="18032" y="2700"/>
                  <a:pt x="17673" y="2700"/>
                </a:cubicBezTo>
                <a:lnTo>
                  <a:pt x="1964" y="2700"/>
                </a:lnTo>
                <a:cubicBezTo>
                  <a:pt x="1604" y="2700"/>
                  <a:pt x="1271" y="2842"/>
                  <a:pt x="982" y="3075"/>
                </a:cubicBezTo>
                <a:cubicBezTo>
                  <a:pt x="982" y="3075"/>
                  <a:pt x="982" y="2700"/>
                  <a:pt x="982" y="2700"/>
                </a:cubicBezTo>
                <a:close/>
                <a:moveTo>
                  <a:pt x="19636" y="8100"/>
                </a:moveTo>
                <a:lnTo>
                  <a:pt x="19636" y="2700"/>
                </a:lnTo>
                <a:cubicBezTo>
                  <a:pt x="19636" y="1209"/>
                  <a:pt x="18757" y="0"/>
                  <a:pt x="17673" y="0"/>
                </a:cubicBezTo>
                <a:lnTo>
                  <a:pt x="1964" y="0"/>
                </a:lnTo>
                <a:cubicBezTo>
                  <a:pt x="879" y="0"/>
                  <a:pt x="0" y="1209"/>
                  <a:pt x="0" y="2700"/>
                </a:cubicBezTo>
                <a:lnTo>
                  <a:pt x="0" y="18900"/>
                </a:lnTo>
                <a:cubicBezTo>
                  <a:pt x="0" y="20391"/>
                  <a:pt x="879" y="21600"/>
                  <a:pt x="1964" y="21600"/>
                </a:cubicBezTo>
                <a:lnTo>
                  <a:pt x="17673" y="21600"/>
                </a:lnTo>
                <a:cubicBezTo>
                  <a:pt x="18757" y="21600"/>
                  <a:pt x="19636" y="20391"/>
                  <a:pt x="19636" y="18900"/>
                </a:cubicBezTo>
                <a:lnTo>
                  <a:pt x="19636" y="16200"/>
                </a:lnTo>
                <a:cubicBezTo>
                  <a:pt x="20721" y="16200"/>
                  <a:pt x="21600" y="14991"/>
                  <a:pt x="21600" y="13500"/>
                </a:cubicBezTo>
                <a:lnTo>
                  <a:pt x="21600" y="10800"/>
                </a:lnTo>
                <a:cubicBezTo>
                  <a:pt x="21600" y="9309"/>
                  <a:pt x="20721" y="8100"/>
                  <a:pt x="19636" y="8100"/>
                </a:cubicBezTo>
                <a:moveTo>
                  <a:pt x="17182" y="11475"/>
                </a:moveTo>
                <a:cubicBezTo>
                  <a:pt x="16910" y="11475"/>
                  <a:pt x="16691" y="11777"/>
                  <a:pt x="16691" y="12150"/>
                </a:cubicBezTo>
                <a:cubicBezTo>
                  <a:pt x="16691" y="12523"/>
                  <a:pt x="16910" y="12825"/>
                  <a:pt x="17182" y="12825"/>
                </a:cubicBezTo>
                <a:cubicBezTo>
                  <a:pt x="17453" y="12825"/>
                  <a:pt x="17673" y="12523"/>
                  <a:pt x="17673" y="12150"/>
                </a:cubicBezTo>
                <a:cubicBezTo>
                  <a:pt x="17673" y="11777"/>
                  <a:pt x="17453" y="11475"/>
                  <a:pt x="17182" y="11475"/>
                </a:cubicBezTo>
                <a:moveTo>
                  <a:pt x="7364" y="17550"/>
                </a:moveTo>
                <a:lnTo>
                  <a:pt x="6382" y="17550"/>
                </a:lnTo>
                <a:cubicBezTo>
                  <a:pt x="6110" y="17550"/>
                  <a:pt x="5891" y="17853"/>
                  <a:pt x="5891" y="18225"/>
                </a:cubicBezTo>
                <a:cubicBezTo>
                  <a:pt x="5891" y="18598"/>
                  <a:pt x="6110" y="18900"/>
                  <a:pt x="6382" y="18900"/>
                </a:cubicBezTo>
                <a:lnTo>
                  <a:pt x="7364" y="18900"/>
                </a:lnTo>
                <a:cubicBezTo>
                  <a:pt x="7635" y="18900"/>
                  <a:pt x="7855" y="18598"/>
                  <a:pt x="7855" y="18225"/>
                </a:cubicBezTo>
                <a:cubicBezTo>
                  <a:pt x="7855" y="17853"/>
                  <a:pt x="7635" y="17550"/>
                  <a:pt x="7364" y="17550"/>
                </a:cubicBezTo>
                <a:moveTo>
                  <a:pt x="7364" y="5400"/>
                </a:moveTo>
                <a:lnTo>
                  <a:pt x="6382" y="5400"/>
                </a:lnTo>
                <a:cubicBezTo>
                  <a:pt x="6110" y="5400"/>
                  <a:pt x="5891" y="5702"/>
                  <a:pt x="5891" y="6075"/>
                </a:cubicBezTo>
                <a:cubicBezTo>
                  <a:pt x="5891" y="6448"/>
                  <a:pt x="6110" y="6750"/>
                  <a:pt x="6382" y="6750"/>
                </a:cubicBezTo>
                <a:lnTo>
                  <a:pt x="7364" y="6750"/>
                </a:lnTo>
                <a:cubicBezTo>
                  <a:pt x="7635" y="6750"/>
                  <a:pt x="7855" y="6448"/>
                  <a:pt x="7855" y="6075"/>
                </a:cubicBezTo>
                <a:cubicBezTo>
                  <a:pt x="7855" y="5702"/>
                  <a:pt x="7635" y="5400"/>
                  <a:pt x="7364" y="5400"/>
                </a:cubicBezTo>
                <a:moveTo>
                  <a:pt x="4418" y="5400"/>
                </a:moveTo>
                <a:lnTo>
                  <a:pt x="3436" y="5400"/>
                </a:lnTo>
                <a:cubicBezTo>
                  <a:pt x="3165" y="5400"/>
                  <a:pt x="2945" y="5702"/>
                  <a:pt x="2945" y="6075"/>
                </a:cubicBezTo>
                <a:cubicBezTo>
                  <a:pt x="2945" y="6448"/>
                  <a:pt x="3165" y="6750"/>
                  <a:pt x="3436" y="6750"/>
                </a:cubicBezTo>
                <a:lnTo>
                  <a:pt x="4418" y="6750"/>
                </a:lnTo>
                <a:cubicBezTo>
                  <a:pt x="4690" y="6750"/>
                  <a:pt x="4909" y="6448"/>
                  <a:pt x="4909" y="6075"/>
                </a:cubicBezTo>
                <a:cubicBezTo>
                  <a:pt x="4909" y="5702"/>
                  <a:pt x="4690" y="5400"/>
                  <a:pt x="4418"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6" name="Shape 2826"/>
          <p:cNvSpPr/>
          <p:nvPr/>
        </p:nvSpPr>
        <p:spPr>
          <a:xfrm>
            <a:off x="7071514" y="1488897"/>
            <a:ext cx="209495" cy="171573"/>
          </a:xfrm>
          <a:custGeom>
            <a:avLst/>
            <a:gdLst/>
            <a:ahLst/>
            <a:cxnLst>
              <a:cxn ang="0">
                <a:pos x="wd2" y="hd2"/>
              </a:cxn>
              <a:cxn ang="5400000">
                <a:pos x="wd2" y="hd2"/>
              </a:cxn>
              <a:cxn ang="10800000">
                <a:pos x="wd2" y="hd2"/>
              </a:cxn>
              <a:cxn ang="16200000">
                <a:pos x="wd2" y="hd2"/>
              </a:cxn>
            </a:cxnLst>
            <a:rect l="0" t="0" r="r" b="b"/>
            <a:pathLst>
              <a:path w="21600" h="21600" extrusionOk="0">
                <a:moveTo>
                  <a:pt x="10309" y="7214"/>
                </a:moveTo>
                <a:lnTo>
                  <a:pt x="9327" y="7214"/>
                </a:lnTo>
                <a:cubicBezTo>
                  <a:pt x="9056" y="7214"/>
                  <a:pt x="8836" y="7482"/>
                  <a:pt x="8836" y="7813"/>
                </a:cubicBezTo>
                <a:cubicBezTo>
                  <a:pt x="8836" y="8145"/>
                  <a:pt x="9056" y="8413"/>
                  <a:pt x="9327" y="8413"/>
                </a:cubicBezTo>
                <a:lnTo>
                  <a:pt x="10309" y="8413"/>
                </a:lnTo>
                <a:cubicBezTo>
                  <a:pt x="10580" y="8413"/>
                  <a:pt x="10800" y="8145"/>
                  <a:pt x="10800" y="7813"/>
                </a:cubicBezTo>
                <a:cubicBezTo>
                  <a:pt x="10800" y="7482"/>
                  <a:pt x="10580" y="7214"/>
                  <a:pt x="10309" y="7214"/>
                </a:cubicBezTo>
                <a:moveTo>
                  <a:pt x="7364" y="7214"/>
                </a:moveTo>
                <a:lnTo>
                  <a:pt x="6382" y="7214"/>
                </a:lnTo>
                <a:cubicBezTo>
                  <a:pt x="6110" y="7214"/>
                  <a:pt x="5891" y="7482"/>
                  <a:pt x="5891" y="7813"/>
                </a:cubicBezTo>
                <a:cubicBezTo>
                  <a:pt x="5891" y="8145"/>
                  <a:pt x="6110" y="8413"/>
                  <a:pt x="6382" y="8413"/>
                </a:cubicBezTo>
                <a:lnTo>
                  <a:pt x="7364" y="8413"/>
                </a:lnTo>
                <a:cubicBezTo>
                  <a:pt x="7635" y="8413"/>
                  <a:pt x="7855" y="8145"/>
                  <a:pt x="7855" y="7813"/>
                </a:cubicBezTo>
                <a:cubicBezTo>
                  <a:pt x="7855" y="7482"/>
                  <a:pt x="7635" y="7214"/>
                  <a:pt x="7364" y="7214"/>
                </a:cubicBezTo>
                <a:moveTo>
                  <a:pt x="10309" y="18004"/>
                </a:moveTo>
                <a:lnTo>
                  <a:pt x="9327" y="18004"/>
                </a:lnTo>
                <a:cubicBezTo>
                  <a:pt x="9056" y="18004"/>
                  <a:pt x="8836" y="18272"/>
                  <a:pt x="8836" y="18603"/>
                </a:cubicBezTo>
                <a:cubicBezTo>
                  <a:pt x="8836" y="18935"/>
                  <a:pt x="9056" y="19202"/>
                  <a:pt x="9327" y="19202"/>
                </a:cubicBezTo>
                <a:lnTo>
                  <a:pt x="10309" y="19202"/>
                </a:lnTo>
                <a:cubicBezTo>
                  <a:pt x="10580" y="19202"/>
                  <a:pt x="10800" y="18935"/>
                  <a:pt x="10800" y="18603"/>
                </a:cubicBezTo>
                <a:cubicBezTo>
                  <a:pt x="10800" y="18272"/>
                  <a:pt x="10580" y="18004"/>
                  <a:pt x="10309" y="18004"/>
                </a:cubicBezTo>
                <a:moveTo>
                  <a:pt x="13255" y="18004"/>
                </a:moveTo>
                <a:lnTo>
                  <a:pt x="12273" y="18004"/>
                </a:lnTo>
                <a:cubicBezTo>
                  <a:pt x="12001" y="18004"/>
                  <a:pt x="11782" y="18272"/>
                  <a:pt x="11782" y="18603"/>
                </a:cubicBezTo>
                <a:cubicBezTo>
                  <a:pt x="11782" y="18935"/>
                  <a:pt x="12001" y="19202"/>
                  <a:pt x="12273" y="19202"/>
                </a:cubicBezTo>
                <a:lnTo>
                  <a:pt x="13255" y="19202"/>
                </a:lnTo>
                <a:cubicBezTo>
                  <a:pt x="13526" y="19202"/>
                  <a:pt x="13745" y="18935"/>
                  <a:pt x="13745" y="18603"/>
                </a:cubicBezTo>
                <a:cubicBezTo>
                  <a:pt x="13745" y="18272"/>
                  <a:pt x="13526" y="18004"/>
                  <a:pt x="13255" y="18004"/>
                </a:cubicBezTo>
                <a:moveTo>
                  <a:pt x="20618" y="14407"/>
                </a:moveTo>
                <a:cubicBezTo>
                  <a:pt x="20618" y="15069"/>
                  <a:pt x="20178" y="15606"/>
                  <a:pt x="19636" y="15606"/>
                </a:cubicBezTo>
                <a:lnTo>
                  <a:pt x="16691" y="15606"/>
                </a:lnTo>
                <a:cubicBezTo>
                  <a:pt x="16148" y="15606"/>
                  <a:pt x="15709" y="15069"/>
                  <a:pt x="15709" y="14407"/>
                </a:cubicBezTo>
                <a:lnTo>
                  <a:pt x="15709" y="12009"/>
                </a:lnTo>
                <a:cubicBezTo>
                  <a:pt x="15709" y="11348"/>
                  <a:pt x="16148" y="10811"/>
                  <a:pt x="16691" y="10811"/>
                </a:cubicBezTo>
                <a:lnTo>
                  <a:pt x="19636" y="10811"/>
                </a:lnTo>
                <a:cubicBezTo>
                  <a:pt x="20178" y="10811"/>
                  <a:pt x="20618" y="11348"/>
                  <a:pt x="20618" y="12009"/>
                </a:cubicBezTo>
                <a:cubicBezTo>
                  <a:pt x="20618" y="12009"/>
                  <a:pt x="20618" y="14407"/>
                  <a:pt x="20618" y="14407"/>
                </a:cubicBezTo>
                <a:close/>
                <a:moveTo>
                  <a:pt x="18655" y="19202"/>
                </a:moveTo>
                <a:cubicBezTo>
                  <a:pt x="18655" y="19864"/>
                  <a:pt x="18214" y="20401"/>
                  <a:pt x="17673" y="20401"/>
                </a:cubicBezTo>
                <a:lnTo>
                  <a:pt x="1964" y="20401"/>
                </a:lnTo>
                <a:cubicBezTo>
                  <a:pt x="1421" y="20401"/>
                  <a:pt x="982" y="19864"/>
                  <a:pt x="982" y="19202"/>
                </a:cubicBezTo>
                <a:lnTo>
                  <a:pt x="982" y="7214"/>
                </a:lnTo>
                <a:cubicBezTo>
                  <a:pt x="982" y="6553"/>
                  <a:pt x="1421" y="6015"/>
                  <a:pt x="1964" y="6015"/>
                </a:cubicBezTo>
                <a:lnTo>
                  <a:pt x="17673" y="6015"/>
                </a:lnTo>
                <a:cubicBezTo>
                  <a:pt x="18214" y="6015"/>
                  <a:pt x="18655" y="6553"/>
                  <a:pt x="18655" y="7214"/>
                </a:cubicBezTo>
                <a:lnTo>
                  <a:pt x="18655" y="9612"/>
                </a:lnTo>
                <a:lnTo>
                  <a:pt x="16691" y="9612"/>
                </a:lnTo>
                <a:cubicBezTo>
                  <a:pt x="15606" y="9612"/>
                  <a:pt x="14727" y="10685"/>
                  <a:pt x="14727" y="12009"/>
                </a:cubicBezTo>
                <a:lnTo>
                  <a:pt x="14727" y="14407"/>
                </a:lnTo>
                <a:cubicBezTo>
                  <a:pt x="14727" y="15731"/>
                  <a:pt x="15606" y="16805"/>
                  <a:pt x="16691" y="16805"/>
                </a:cubicBezTo>
                <a:lnTo>
                  <a:pt x="18655" y="16805"/>
                </a:lnTo>
                <a:cubicBezTo>
                  <a:pt x="18655" y="16805"/>
                  <a:pt x="18655" y="19202"/>
                  <a:pt x="18655" y="19202"/>
                </a:cubicBezTo>
                <a:close/>
                <a:moveTo>
                  <a:pt x="982" y="4816"/>
                </a:moveTo>
                <a:cubicBezTo>
                  <a:pt x="982" y="4155"/>
                  <a:pt x="1420" y="3618"/>
                  <a:pt x="1963" y="3618"/>
                </a:cubicBezTo>
                <a:lnTo>
                  <a:pt x="1692" y="4850"/>
                </a:lnTo>
                <a:cubicBezTo>
                  <a:pt x="1436" y="4894"/>
                  <a:pt x="1197" y="4996"/>
                  <a:pt x="982" y="5149"/>
                </a:cubicBezTo>
                <a:cubicBezTo>
                  <a:pt x="982" y="5149"/>
                  <a:pt x="982" y="4816"/>
                  <a:pt x="982" y="4816"/>
                </a:cubicBezTo>
                <a:close/>
                <a:moveTo>
                  <a:pt x="3451" y="1468"/>
                </a:moveTo>
                <a:lnTo>
                  <a:pt x="13684" y="4816"/>
                </a:lnTo>
                <a:lnTo>
                  <a:pt x="2716" y="4816"/>
                </a:lnTo>
                <a:cubicBezTo>
                  <a:pt x="2716" y="4816"/>
                  <a:pt x="3451" y="1468"/>
                  <a:pt x="3451" y="1468"/>
                </a:cubicBezTo>
                <a:close/>
                <a:moveTo>
                  <a:pt x="16776" y="2582"/>
                </a:moveTo>
                <a:lnTo>
                  <a:pt x="16982" y="4654"/>
                </a:lnTo>
                <a:lnTo>
                  <a:pt x="12560" y="3208"/>
                </a:lnTo>
                <a:cubicBezTo>
                  <a:pt x="12560" y="3208"/>
                  <a:pt x="16776" y="2582"/>
                  <a:pt x="16776" y="2582"/>
                </a:cubicBezTo>
                <a:close/>
                <a:moveTo>
                  <a:pt x="18655" y="4816"/>
                </a:moveTo>
                <a:lnTo>
                  <a:pt x="18655" y="5149"/>
                </a:lnTo>
                <a:cubicBezTo>
                  <a:pt x="18453" y="5005"/>
                  <a:pt x="18231" y="4904"/>
                  <a:pt x="17992" y="4856"/>
                </a:cubicBezTo>
                <a:lnTo>
                  <a:pt x="17871" y="3642"/>
                </a:lnTo>
                <a:cubicBezTo>
                  <a:pt x="18318" y="3754"/>
                  <a:pt x="18655" y="4237"/>
                  <a:pt x="18655" y="4816"/>
                </a:cubicBezTo>
                <a:moveTo>
                  <a:pt x="19636" y="9612"/>
                </a:moveTo>
                <a:lnTo>
                  <a:pt x="19636" y="4816"/>
                </a:lnTo>
                <a:cubicBezTo>
                  <a:pt x="19636" y="3525"/>
                  <a:pt x="18798" y="2479"/>
                  <a:pt x="17750" y="2428"/>
                </a:cubicBezTo>
                <a:lnTo>
                  <a:pt x="17633" y="1247"/>
                </a:lnTo>
                <a:lnTo>
                  <a:pt x="10020" y="2377"/>
                </a:lnTo>
                <a:lnTo>
                  <a:pt x="2757" y="0"/>
                </a:lnTo>
                <a:lnTo>
                  <a:pt x="2226" y="2419"/>
                </a:lnTo>
                <a:lnTo>
                  <a:pt x="1964" y="2419"/>
                </a:lnTo>
                <a:cubicBezTo>
                  <a:pt x="879" y="2419"/>
                  <a:pt x="0" y="3492"/>
                  <a:pt x="0" y="4816"/>
                </a:cubicBezTo>
                <a:lnTo>
                  <a:pt x="0" y="19202"/>
                </a:lnTo>
                <a:cubicBezTo>
                  <a:pt x="0" y="20526"/>
                  <a:pt x="879" y="21600"/>
                  <a:pt x="1964" y="21600"/>
                </a:cubicBezTo>
                <a:lnTo>
                  <a:pt x="17673" y="21600"/>
                </a:lnTo>
                <a:cubicBezTo>
                  <a:pt x="18757" y="21600"/>
                  <a:pt x="19636" y="20526"/>
                  <a:pt x="19636" y="19202"/>
                </a:cubicBezTo>
                <a:lnTo>
                  <a:pt x="19636" y="16805"/>
                </a:lnTo>
                <a:cubicBezTo>
                  <a:pt x="20721" y="16805"/>
                  <a:pt x="21600" y="15731"/>
                  <a:pt x="21600" y="14407"/>
                </a:cubicBezTo>
                <a:lnTo>
                  <a:pt x="21600" y="12009"/>
                </a:lnTo>
                <a:cubicBezTo>
                  <a:pt x="21600" y="10685"/>
                  <a:pt x="20721" y="9612"/>
                  <a:pt x="19636" y="9612"/>
                </a:cubicBezTo>
                <a:moveTo>
                  <a:pt x="13255" y="7214"/>
                </a:moveTo>
                <a:lnTo>
                  <a:pt x="12273" y="7214"/>
                </a:lnTo>
                <a:cubicBezTo>
                  <a:pt x="12001" y="7214"/>
                  <a:pt x="11782" y="7482"/>
                  <a:pt x="11782" y="7813"/>
                </a:cubicBezTo>
                <a:cubicBezTo>
                  <a:pt x="11782" y="8145"/>
                  <a:pt x="12001" y="8413"/>
                  <a:pt x="12273" y="8413"/>
                </a:cubicBezTo>
                <a:lnTo>
                  <a:pt x="13255" y="8413"/>
                </a:lnTo>
                <a:cubicBezTo>
                  <a:pt x="13526" y="8413"/>
                  <a:pt x="13745" y="8145"/>
                  <a:pt x="13745" y="7813"/>
                </a:cubicBezTo>
                <a:cubicBezTo>
                  <a:pt x="13745" y="7482"/>
                  <a:pt x="13526" y="7214"/>
                  <a:pt x="13255" y="7214"/>
                </a:cubicBezTo>
                <a:moveTo>
                  <a:pt x="16200" y="18004"/>
                </a:moveTo>
                <a:lnTo>
                  <a:pt x="15218" y="18004"/>
                </a:lnTo>
                <a:cubicBezTo>
                  <a:pt x="14947" y="18004"/>
                  <a:pt x="14727" y="18272"/>
                  <a:pt x="14727" y="18603"/>
                </a:cubicBezTo>
                <a:cubicBezTo>
                  <a:pt x="14727" y="18935"/>
                  <a:pt x="14947" y="19202"/>
                  <a:pt x="15218" y="19202"/>
                </a:cubicBezTo>
                <a:lnTo>
                  <a:pt x="16200" y="19202"/>
                </a:lnTo>
                <a:cubicBezTo>
                  <a:pt x="16471" y="19202"/>
                  <a:pt x="16691" y="18935"/>
                  <a:pt x="16691" y="18603"/>
                </a:cubicBezTo>
                <a:cubicBezTo>
                  <a:pt x="16691" y="18272"/>
                  <a:pt x="16471" y="18004"/>
                  <a:pt x="16200" y="18004"/>
                </a:cubicBezTo>
                <a:moveTo>
                  <a:pt x="17182" y="12609"/>
                </a:moveTo>
                <a:cubicBezTo>
                  <a:pt x="16910" y="12609"/>
                  <a:pt x="16691" y="12877"/>
                  <a:pt x="16691" y="13208"/>
                </a:cubicBezTo>
                <a:cubicBezTo>
                  <a:pt x="16691" y="13540"/>
                  <a:pt x="16910" y="13808"/>
                  <a:pt x="17182" y="13808"/>
                </a:cubicBezTo>
                <a:cubicBezTo>
                  <a:pt x="17453" y="13808"/>
                  <a:pt x="17673" y="13540"/>
                  <a:pt x="17673" y="13208"/>
                </a:cubicBezTo>
                <a:cubicBezTo>
                  <a:pt x="17673" y="12877"/>
                  <a:pt x="17453" y="12609"/>
                  <a:pt x="17182" y="12609"/>
                </a:cubicBezTo>
                <a:moveTo>
                  <a:pt x="4418" y="7214"/>
                </a:moveTo>
                <a:lnTo>
                  <a:pt x="3436" y="7214"/>
                </a:lnTo>
                <a:cubicBezTo>
                  <a:pt x="3165" y="7214"/>
                  <a:pt x="2945" y="7482"/>
                  <a:pt x="2945" y="7813"/>
                </a:cubicBezTo>
                <a:cubicBezTo>
                  <a:pt x="2945" y="8145"/>
                  <a:pt x="3165" y="8413"/>
                  <a:pt x="3436" y="8413"/>
                </a:cubicBezTo>
                <a:lnTo>
                  <a:pt x="4418" y="8413"/>
                </a:lnTo>
                <a:cubicBezTo>
                  <a:pt x="4690" y="8413"/>
                  <a:pt x="4909" y="8145"/>
                  <a:pt x="4909" y="7813"/>
                </a:cubicBezTo>
                <a:cubicBezTo>
                  <a:pt x="4909" y="7482"/>
                  <a:pt x="4690" y="7214"/>
                  <a:pt x="4418" y="7214"/>
                </a:cubicBezTo>
                <a:moveTo>
                  <a:pt x="15218" y="8413"/>
                </a:moveTo>
                <a:lnTo>
                  <a:pt x="16200" y="8413"/>
                </a:lnTo>
                <a:cubicBezTo>
                  <a:pt x="16471" y="8413"/>
                  <a:pt x="16691" y="8145"/>
                  <a:pt x="16691" y="7813"/>
                </a:cubicBezTo>
                <a:cubicBezTo>
                  <a:pt x="16691" y="7482"/>
                  <a:pt x="16471" y="7214"/>
                  <a:pt x="16200" y="7214"/>
                </a:cubicBezTo>
                <a:lnTo>
                  <a:pt x="15218" y="7214"/>
                </a:lnTo>
                <a:cubicBezTo>
                  <a:pt x="14947" y="7214"/>
                  <a:pt x="14727" y="7482"/>
                  <a:pt x="14727" y="7813"/>
                </a:cubicBezTo>
                <a:cubicBezTo>
                  <a:pt x="14727" y="8145"/>
                  <a:pt x="14947" y="8413"/>
                  <a:pt x="15218" y="8413"/>
                </a:cubicBezTo>
                <a:moveTo>
                  <a:pt x="7364" y="18004"/>
                </a:moveTo>
                <a:lnTo>
                  <a:pt x="6382" y="18004"/>
                </a:lnTo>
                <a:cubicBezTo>
                  <a:pt x="6110" y="18004"/>
                  <a:pt x="5891" y="18272"/>
                  <a:pt x="5891" y="18603"/>
                </a:cubicBezTo>
                <a:cubicBezTo>
                  <a:pt x="5891" y="18935"/>
                  <a:pt x="6110" y="19202"/>
                  <a:pt x="6382" y="19202"/>
                </a:cubicBezTo>
                <a:lnTo>
                  <a:pt x="7364" y="19202"/>
                </a:lnTo>
                <a:cubicBezTo>
                  <a:pt x="7635" y="19202"/>
                  <a:pt x="7855" y="18935"/>
                  <a:pt x="7855" y="18603"/>
                </a:cubicBezTo>
                <a:cubicBezTo>
                  <a:pt x="7855" y="18272"/>
                  <a:pt x="7635" y="18004"/>
                  <a:pt x="7364" y="18004"/>
                </a:cubicBezTo>
                <a:moveTo>
                  <a:pt x="4418" y="18004"/>
                </a:moveTo>
                <a:lnTo>
                  <a:pt x="3436" y="18004"/>
                </a:lnTo>
                <a:cubicBezTo>
                  <a:pt x="3165" y="18004"/>
                  <a:pt x="2945" y="18272"/>
                  <a:pt x="2945" y="18603"/>
                </a:cubicBezTo>
                <a:cubicBezTo>
                  <a:pt x="2945" y="18935"/>
                  <a:pt x="3165" y="19202"/>
                  <a:pt x="3436" y="19202"/>
                </a:cubicBezTo>
                <a:lnTo>
                  <a:pt x="4418" y="19202"/>
                </a:lnTo>
                <a:cubicBezTo>
                  <a:pt x="4690" y="19202"/>
                  <a:pt x="4909" y="18935"/>
                  <a:pt x="4909" y="18603"/>
                </a:cubicBezTo>
                <a:cubicBezTo>
                  <a:pt x="4909" y="18272"/>
                  <a:pt x="4690" y="18004"/>
                  <a:pt x="4418" y="1800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7" name="Shape 2827"/>
          <p:cNvSpPr/>
          <p:nvPr/>
        </p:nvSpPr>
        <p:spPr>
          <a:xfrm>
            <a:off x="7500027" y="146985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3500" y="9818"/>
                </a:moveTo>
                <a:lnTo>
                  <a:pt x="2700" y="9818"/>
                </a:lnTo>
                <a:lnTo>
                  <a:pt x="2700" y="10800"/>
                </a:lnTo>
                <a:lnTo>
                  <a:pt x="13500" y="10800"/>
                </a:lnTo>
                <a:cubicBezTo>
                  <a:pt x="13500" y="10800"/>
                  <a:pt x="13500" y="9818"/>
                  <a:pt x="13500" y="9818"/>
                </a:cubicBezTo>
                <a:close/>
                <a:moveTo>
                  <a:pt x="18900" y="11782"/>
                </a:moveTo>
                <a:lnTo>
                  <a:pt x="2700" y="11782"/>
                </a:lnTo>
                <a:lnTo>
                  <a:pt x="2700" y="12764"/>
                </a:lnTo>
                <a:lnTo>
                  <a:pt x="18900" y="12764"/>
                </a:lnTo>
                <a:cubicBezTo>
                  <a:pt x="18900" y="12764"/>
                  <a:pt x="18900" y="11782"/>
                  <a:pt x="18900" y="11782"/>
                </a:cubicBezTo>
                <a:close/>
                <a:moveTo>
                  <a:pt x="4050" y="1964"/>
                </a:moveTo>
                <a:lnTo>
                  <a:pt x="2700" y="1964"/>
                </a:lnTo>
                <a:lnTo>
                  <a:pt x="2700" y="7855"/>
                </a:lnTo>
                <a:lnTo>
                  <a:pt x="4050" y="7855"/>
                </a:lnTo>
                <a:cubicBezTo>
                  <a:pt x="4050" y="7855"/>
                  <a:pt x="4050" y="1964"/>
                  <a:pt x="4050" y="1964"/>
                </a:cubicBezTo>
                <a:close/>
                <a:moveTo>
                  <a:pt x="18900" y="13745"/>
                </a:moveTo>
                <a:lnTo>
                  <a:pt x="2700" y="13745"/>
                </a:lnTo>
                <a:lnTo>
                  <a:pt x="2700" y="14727"/>
                </a:lnTo>
                <a:lnTo>
                  <a:pt x="18900" y="14727"/>
                </a:lnTo>
                <a:cubicBezTo>
                  <a:pt x="18900" y="14727"/>
                  <a:pt x="18900" y="13745"/>
                  <a:pt x="18900" y="13745"/>
                </a:cubicBezTo>
                <a:close/>
                <a:moveTo>
                  <a:pt x="16200" y="15709"/>
                </a:moveTo>
                <a:lnTo>
                  <a:pt x="2700" y="15709"/>
                </a:lnTo>
                <a:lnTo>
                  <a:pt x="2700" y="16691"/>
                </a:lnTo>
                <a:lnTo>
                  <a:pt x="16200" y="16691"/>
                </a:lnTo>
                <a:cubicBezTo>
                  <a:pt x="16200" y="16691"/>
                  <a:pt x="16200" y="15709"/>
                  <a:pt x="16200" y="15709"/>
                </a:cubicBezTo>
                <a:close/>
                <a:moveTo>
                  <a:pt x="20250" y="19924"/>
                </a:moveTo>
                <a:lnTo>
                  <a:pt x="18702" y="18798"/>
                </a:lnTo>
                <a:cubicBezTo>
                  <a:pt x="18580" y="18710"/>
                  <a:pt x="18412" y="18655"/>
                  <a:pt x="18225" y="18655"/>
                </a:cubicBezTo>
                <a:cubicBezTo>
                  <a:pt x="18039" y="18655"/>
                  <a:pt x="17870" y="18710"/>
                  <a:pt x="17748" y="18798"/>
                </a:cubicBezTo>
                <a:lnTo>
                  <a:pt x="15525" y="20415"/>
                </a:lnTo>
                <a:lnTo>
                  <a:pt x="13302" y="18798"/>
                </a:lnTo>
                <a:cubicBezTo>
                  <a:pt x="13180" y="18710"/>
                  <a:pt x="13012" y="18655"/>
                  <a:pt x="12825" y="18655"/>
                </a:cubicBezTo>
                <a:cubicBezTo>
                  <a:pt x="12604" y="18655"/>
                  <a:pt x="12418" y="18737"/>
                  <a:pt x="12294" y="18856"/>
                </a:cubicBezTo>
                <a:lnTo>
                  <a:pt x="12285" y="18851"/>
                </a:lnTo>
                <a:lnTo>
                  <a:pt x="10800" y="20291"/>
                </a:lnTo>
                <a:lnTo>
                  <a:pt x="9315" y="18851"/>
                </a:lnTo>
                <a:lnTo>
                  <a:pt x="9306" y="18856"/>
                </a:lnTo>
                <a:cubicBezTo>
                  <a:pt x="9182" y="18737"/>
                  <a:pt x="8996" y="18655"/>
                  <a:pt x="8775" y="18655"/>
                </a:cubicBezTo>
                <a:cubicBezTo>
                  <a:pt x="8589" y="18655"/>
                  <a:pt x="8420" y="18710"/>
                  <a:pt x="8298" y="18798"/>
                </a:cubicBezTo>
                <a:lnTo>
                  <a:pt x="6075" y="20415"/>
                </a:lnTo>
                <a:lnTo>
                  <a:pt x="3852" y="18798"/>
                </a:lnTo>
                <a:cubicBezTo>
                  <a:pt x="3730" y="18710"/>
                  <a:pt x="3562" y="18655"/>
                  <a:pt x="3375" y="18655"/>
                </a:cubicBezTo>
                <a:cubicBezTo>
                  <a:pt x="3188" y="18655"/>
                  <a:pt x="3020" y="18710"/>
                  <a:pt x="2898" y="18798"/>
                </a:cubicBezTo>
                <a:lnTo>
                  <a:pt x="1350" y="19924"/>
                </a:lnTo>
                <a:lnTo>
                  <a:pt x="1350" y="982"/>
                </a:lnTo>
                <a:lnTo>
                  <a:pt x="20250" y="982"/>
                </a:lnTo>
                <a:cubicBezTo>
                  <a:pt x="20250" y="982"/>
                  <a:pt x="20250" y="19924"/>
                  <a:pt x="20250" y="19924"/>
                </a:cubicBezTo>
                <a:close/>
                <a:moveTo>
                  <a:pt x="20925" y="0"/>
                </a:moveTo>
                <a:lnTo>
                  <a:pt x="675" y="0"/>
                </a:lnTo>
                <a:cubicBezTo>
                  <a:pt x="302" y="0"/>
                  <a:pt x="0" y="220"/>
                  <a:pt x="0" y="491"/>
                </a:cubicBezTo>
                <a:lnTo>
                  <a:pt x="0" y="21109"/>
                </a:lnTo>
                <a:cubicBezTo>
                  <a:pt x="0" y="21380"/>
                  <a:pt x="302" y="21600"/>
                  <a:pt x="675" y="21600"/>
                </a:cubicBezTo>
                <a:cubicBezTo>
                  <a:pt x="862" y="21600"/>
                  <a:pt x="1031" y="21545"/>
                  <a:pt x="1152" y="21456"/>
                </a:cubicBezTo>
                <a:lnTo>
                  <a:pt x="3375" y="19840"/>
                </a:lnTo>
                <a:lnTo>
                  <a:pt x="5598" y="21456"/>
                </a:lnTo>
                <a:cubicBezTo>
                  <a:pt x="5720" y="21545"/>
                  <a:pt x="5888" y="21600"/>
                  <a:pt x="6075" y="21600"/>
                </a:cubicBezTo>
                <a:cubicBezTo>
                  <a:pt x="6262" y="21600"/>
                  <a:pt x="6431" y="21545"/>
                  <a:pt x="6552" y="21456"/>
                </a:cubicBezTo>
                <a:lnTo>
                  <a:pt x="8702" y="19893"/>
                </a:lnTo>
                <a:lnTo>
                  <a:pt x="10260" y="21404"/>
                </a:lnTo>
                <a:lnTo>
                  <a:pt x="10269" y="21399"/>
                </a:lnTo>
                <a:cubicBezTo>
                  <a:pt x="10393" y="21518"/>
                  <a:pt x="10579" y="21600"/>
                  <a:pt x="10800" y="21600"/>
                </a:cubicBezTo>
                <a:cubicBezTo>
                  <a:pt x="11021" y="21600"/>
                  <a:pt x="11207" y="21518"/>
                  <a:pt x="11331" y="21399"/>
                </a:cubicBezTo>
                <a:lnTo>
                  <a:pt x="11340" y="21404"/>
                </a:lnTo>
                <a:lnTo>
                  <a:pt x="12898" y="19893"/>
                </a:lnTo>
                <a:lnTo>
                  <a:pt x="15048" y="21456"/>
                </a:lnTo>
                <a:cubicBezTo>
                  <a:pt x="15170" y="21545"/>
                  <a:pt x="15338" y="21600"/>
                  <a:pt x="15525" y="21600"/>
                </a:cubicBezTo>
                <a:cubicBezTo>
                  <a:pt x="15712" y="21600"/>
                  <a:pt x="15881" y="21545"/>
                  <a:pt x="16002" y="21456"/>
                </a:cubicBezTo>
                <a:lnTo>
                  <a:pt x="18225" y="19840"/>
                </a:lnTo>
                <a:lnTo>
                  <a:pt x="20448" y="21456"/>
                </a:lnTo>
                <a:cubicBezTo>
                  <a:pt x="20570" y="21545"/>
                  <a:pt x="20738" y="21600"/>
                  <a:pt x="20925" y="21600"/>
                </a:cubicBezTo>
                <a:cubicBezTo>
                  <a:pt x="21298" y="21600"/>
                  <a:pt x="21600" y="21380"/>
                  <a:pt x="21600" y="21109"/>
                </a:cubicBezTo>
                <a:lnTo>
                  <a:pt x="21600" y="491"/>
                </a:lnTo>
                <a:cubicBezTo>
                  <a:pt x="21600" y="220"/>
                  <a:pt x="21298" y="0"/>
                  <a:pt x="20925" y="0"/>
                </a:cubicBezTo>
                <a:moveTo>
                  <a:pt x="16200" y="1964"/>
                </a:moveTo>
                <a:lnTo>
                  <a:pt x="14850" y="1964"/>
                </a:lnTo>
                <a:lnTo>
                  <a:pt x="14850" y="7855"/>
                </a:lnTo>
                <a:lnTo>
                  <a:pt x="16200" y="7855"/>
                </a:lnTo>
                <a:cubicBezTo>
                  <a:pt x="16200" y="7855"/>
                  <a:pt x="16200" y="1964"/>
                  <a:pt x="16200" y="1964"/>
                </a:cubicBezTo>
                <a:close/>
                <a:moveTo>
                  <a:pt x="18900" y="1964"/>
                </a:moveTo>
                <a:lnTo>
                  <a:pt x="17550" y="1964"/>
                </a:lnTo>
                <a:lnTo>
                  <a:pt x="17550" y="7855"/>
                </a:lnTo>
                <a:lnTo>
                  <a:pt x="18900" y="7855"/>
                </a:lnTo>
                <a:cubicBezTo>
                  <a:pt x="18900" y="7855"/>
                  <a:pt x="18900" y="1964"/>
                  <a:pt x="18900" y="1964"/>
                </a:cubicBezTo>
                <a:close/>
                <a:moveTo>
                  <a:pt x="10800" y="1964"/>
                </a:moveTo>
                <a:lnTo>
                  <a:pt x="9450" y="1964"/>
                </a:lnTo>
                <a:lnTo>
                  <a:pt x="9450" y="7855"/>
                </a:lnTo>
                <a:lnTo>
                  <a:pt x="10800" y="7855"/>
                </a:lnTo>
                <a:cubicBezTo>
                  <a:pt x="10800" y="7855"/>
                  <a:pt x="10800" y="1964"/>
                  <a:pt x="10800" y="1964"/>
                </a:cubicBezTo>
                <a:close/>
                <a:moveTo>
                  <a:pt x="8100" y="1964"/>
                </a:moveTo>
                <a:lnTo>
                  <a:pt x="5400" y="1964"/>
                </a:lnTo>
                <a:lnTo>
                  <a:pt x="5400" y="7855"/>
                </a:lnTo>
                <a:lnTo>
                  <a:pt x="8100" y="7855"/>
                </a:lnTo>
                <a:cubicBezTo>
                  <a:pt x="8100" y="7855"/>
                  <a:pt x="8100" y="1964"/>
                  <a:pt x="8100" y="1964"/>
                </a:cubicBezTo>
                <a:close/>
                <a:moveTo>
                  <a:pt x="13500" y="1964"/>
                </a:moveTo>
                <a:lnTo>
                  <a:pt x="12150" y="1964"/>
                </a:lnTo>
                <a:lnTo>
                  <a:pt x="12150" y="7855"/>
                </a:lnTo>
                <a:lnTo>
                  <a:pt x="13500" y="7855"/>
                </a:lnTo>
                <a:cubicBezTo>
                  <a:pt x="13500" y="7855"/>
                  <a:pt x="13500" y="1964"/>
                  <a:pt x="13500" y="196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8" name="Shape 2828"/>
          <p:cNvSpPr/>
          <p:nvPr/>
        </p:nvSpPr>
        <p:spPr>
          <a:xfrm>
            <a:off x="7890449" y="146985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13745"/>
                </a:moveTo>
                <a:lnTo>
                  <a:pt x="2400" y="13745"/>
                </a:lnTo>
                <a:lnTo>
                  <a:pt x="2400" y="14727"/>
                </a:lnTo>
                <a:lnTo>
                  <a:pt x="14400" y="14727"/>
                </a:lnTo>
                <a:cubicBezTo>
                  <a:pt x="14400" y="14727"/>
                  <a:pt x="14400" y="13745"/>
                  <a:pt x="14400" y="13745"/>
                </a:cubicBezTo>
                <a:close/>
                <a:moveTo>
                  <a:pt x="15600" y="20092"/>
                </a:moveTo>
                <a:lnTo>
                  <a:pt x="13624" y="18798"/>
                </a:lnTo>
                <a:cubicBezTo>
                  <a:pt x="13515" y="18710"/>
                  <a:pt x="13366" y="18655"/>
                  <a:pt x="13200" y="18655"/>
                </a:cubicBezTo>
                <a:cubicBezTo>
                  <a:pt x="13035" y="18655"/>
                  <a:pt x="12885" y="18710"/>
                  <a:pt x="12776" y="18798"/>
                </a:cubicBezTo>
                <a:lnTo>
                  <a:pt x="10800" y="20415"/>
                </a:lnTo>
                <a:lnTo>
                  <a:pt x="8824" y="18798"/>
                </a:lnTo>
                <a:cubicBezTo>
                  <a:pt x="8716" y="18710"/>
                  <a:pt x="8566" y="18655"/>
                  <a:pt x="8400" y="18655"/>
                </a:cubicBezTo>
                <a:cubicBezTo>
                  <a:pt x="8235" y="18655"/>
                  <a:pt x="8085" y="18710"/>
                  <a:pt x="7976" y="18798"/>
                </a:cubicBezTo>
                <a:lnTo>
                  <a:pt x="6000" y="20415"/>
                </a:lnTo>
                <a:lnTo>
                  <a:pt x="4024" y="18798"/>
                </a:lnTo>
                <a:cubicBezTo>
                  <a:pt x="3915" y="18710"/>
                  <a:pt x="3766" y="18655"/>
                  <a:pt x="3600" y="18655"/>
                </a:cubicBezTo>
                <a:cubicBezTo>
                  <a:pt x="3435" y="18655"/>
                  <a:pt x="3285" y="18710"/>
                  <a:pt x="3176" y="18798"/>
                </a:cubicBezTo>
                <a:lnTo>
                  <a:pt x="1200" y="20092"/>
                </a:lnTo>
                <a:lnTo>
                  <a:pt x="1200" y="3927"/>
                </a:lnTo>
                <a:lnTo>
                  <a:pt x="15600" y="3927"/>
                </a:lnTo>
                <a:cubicBezTo>
                  <a:pt x="15600" y="3927"/>
                  <a:pt x="15600" y="20092"/>
                  <a:pt x="15600" y="20092"/>
                </a:cubicBezTo>
                <a:close/>
                <a:moveTo>
                  <a:pt x="16200" y="2945"/>
                </a:moveTo>
                <a:lnTo>
                  <a:pt x="600" y="2945"/>
                </a:lnTo>
                <a:cubicBezTo>
                  <a:pt x="268" y="2945"/>
                  <a:pt x="0" y="3165"/>
                  <a:pt x="0" y="3436"/>
                </a:cubicBezTo>
                <a:lnTo>
                  <a:pt x="0" y="21109"/>
                </a:lnTo>
                <a:cubicBezTo>
                  <a:pt x="0" y="21380"/>
                  <a:pt x="268" y="21600"/>
                  <a:pt x="600" y="21600"/>
                </a:cubicBezTo>
                <a:cubicBezTo>
                  <a:pt x="766" y="21600"/>
                  <a:pt x="916" y="21545"/>
                  <a:pt x="1024" y="21456"/>
                </a:cubicBezTo>
                <a:lnTo>
                  <a:pt x="3553" y="19801"/>
                </a:lnTo>
                <a:lnTo>
                  <a:pt x="5576" y="21456"/>
                </a:lnTo>
                <a:cubicBezTo>
                  <a:pt x="5684" y="21545"/>
                  <a:pt x="5834" y="21600"/>
                  <a:pt x="6000" y="21600"/>
                </a:cubicBezTo>
                <a:cubicBezTo>
                  <a:pt x="6166" y="21600"/>
                  <a:pt x="6316" y="21545"/>
                  <a:pt x="6424" y="21456"/>
                </a:cubicBezTo>
                <a:lnTo>
                  <a:pt x="8400" y="19840"/>
                </a:lnTo>
                <a:lnTo>
                  <a:pt x="10376" y="21456"/>
                </a:lnTo>
                <a:cubicBezTo>
                  <a:pt x="10484" y="21545"/>
                  <a:pt x="10634" y="21600"/>
                  <a:pt x="10800" y="21600"/>
                </a:cubicBezTo>
                <a:cubicBezTo>
                  <a:pt x="10966" y="21600"/>
                  <a:pt x="11116" y="21545"/>
                  <a:pt x="11224" y="21456"/>
                </a:cubicBezTo>
                <a:lnTo>
                  <a:pt x="13247" y="19801"/>
                </a:lnTo>
                <a:lnTo>
                  <a:pt x="15776" y="21456"/>
                </a:lnTo>
                <a:cubicBezTo>
                  <a:pt x="15884" y="21545"/>
                  <a:pt x="16034" y="21600"/>
                  <a:pt x="16200" y="21600"/>
                </a:cubicBezTo>
                <a:cubicBezTo>
                  <a:pt x="16532" y="21600"/>
                  <a:pt x="16800" y="21380"/>
                  <a:pt x="16800" y="21109"/>
                </a:cubicBezTo>
                <a:lnTo>
                  <a:pt x="16800" y="3436"/>
                </a:lnTo>
                <a:cubicBezTo>
                  <a:pt x="16800" y="3165"/>
                  <a:pt x="16532" y="2945"/>
                  <a:pt x="16200" y="2945"/>
                </a:cubicBezTo>
                <a:moveTo>
                  <a:pt x="8400" y="11782"/>
                </a:moveTo>
                <a:lnTo>
                  <a:pt x="2400" y="11782"/>
                </a:lnTo>
                <a:lnTo>
                  <a:pt x="2400" y="12764"/>
                </a:lnTo>
                <a:lnTo>
                  <a:pt x="8400" y="12764"/>
                </a:lnTo>
                <a:cubicBezTo>
                  <a:pt x="8400" y="12764"/>
                  <a:pt x="8400" y="11782"/>
                  <a:pt x="8400" y="11782"/>
                </a:cubicBezTo>
                <a:close/>
                <a:moveTo>
                  <a:pt x="21000" y="0"/>
                </a:moveTo>
                <a:lnTo>
                  <a:pt x="5400" y="0"/>
                </a:lnTo>
                <a:cubicBezTo>
                  <a:pt x="5068" y="0"/>
                  <a:pt x="4800" y="220"/>
                  <a:pt x="4800" y="491"/>
                </a:cubicBezTo>
                <a:lnTo>
                  <a:pt x="4800" y="1964"/>
                </a:lnTo>
                <a:lnTo>
                  <a:pt x="6000" y="1964"/>
                </a:lnTo>
                <a:lnTo>
                  <a:pt x="6000" y="982"/>
                </a:lnTo>
                <a:lnTo>
                  <a:pt x="20400" y="982"/>
                </a:lnTo>
                <a:lnTo>
                  <a:pt x="20400" y="17146"/>
                </a:lnTo>
                <a:lnTo>
                  <a:pt x="18424" y="15853"/>
                </a:lnTo>
                <a:cubicBezTo>
                  <a:pt x="18316" y="15764"/>
                  <a:pt x="18166" y="15709"/>
                  <a:pt x="18000" y="15709"/>
                </a:cubicBezTo>
                <a:lnTo>
                  <a:pt x="18000" y="16894"/>
                </a:lnTo>
                <a:lnTo>
                  <a:pt x="18047" y="16856"/>
                </a:lnTo>
                <a:lnTo>
                  <a:pt x="20576" y="18511"/>
                </a:lnTo>
                <a:cubicBezTo>
                  <a:pt x="20684" y="18599"/>
                  <a:pt x="20834" y="18655"/>
                  <a:pt x="21000" y="18655"/>
                </a:cubicBezTo>
                <a:cubicBezTo>
                  <a:pt x="21332" y="18655"/>
                  <a:pt x="21600" y="18435"/>
                  <a:pt x="21600" y="18164"/>
                </a:cubicBezTo>
                <a:lnTo>
                  <a:pt x="21600" y="491"/>
                </a:lnTo>
                <a:cubicBezTo>
                  <a:pt x="21600" y="220"/>
                  <a:pt x="21332" y="0"/>
                  <a:pt x="21000" y="0"/>
                </a:cubicBezTo>
                <a:moveTo>
                  <a:pt x="10800" y="15709"/>
                </a:moveTo>
                <a:lnTo>
                  <a:pt x="2400" y="15709"/>
                </a:lnTo>
                <a:lnTo>
                  <a:pt x="2400" y="16691"/>
                </a:lnTo>
                <a:lnTo>
                  <a:pt x="10800" y="16691"/>
                </a:lnTo>
                <a:cubicBezTo>
                  <a:pt x="10800" y="16691"/>
                  <a:pt x="10800" y="15709"/>
                  <a:pt x="10800" y="15709"/>
                </a:cubicBezTo>
                <a:close/>
                <a:moveTo>
                  <a:pt x="12000" y="4909"/>
                </a:moveTo>
                <a:lnTo>
                  <a:pt x="10800" y="4909"/>
                </a:lnTo>
                <a:lnTo>
                  <a:pt x="10800" y="9818"/>
                </a:lnTo>
                <a:lnTo>
                  <a:pt x="12000" y="9818"/>
                </a:lnTo>
                <a:cubicBezTo>
                  <a:pt x="12000" y="9818"/>
                  <a:pt x="12000" y="4909"/>
                  <a:pt x="12000" y="4909"/>
                </a:cubicBezTo>
                <a:close/>
                <a:moveTo>
                  <a:pt x="14400" y="4909"/>
                </a:moveTo>
                <a:lnTo>
                  <a:pt x="13200" y="4909"/>
                </a:lnTo>
                <a:lnTo>
                  <a:pt x="13200" y="9818"/>
                </a:lnTo>
                <a:lnTo>
                  <a:pt x="14400" y="9818"/>
                </a:lnTo>
                <a:cubicBezTo>
                  <a:pt x="14400" y="9818"/>
                  <a:pt x="14400" y="4909"/>
                  <a:pt x="14400" y="4909"/>
                </a:cubicBezTo>
                <a:close/>
                <a:moveTo>
                  <a:pt x="7200" y="4909"/>
                </a:moveTo>
                <a:lnTo>
                  <a:pt x="4800" y="4909"/>
                </a:lnTo>
                <a:lnTo>
                  <a:pt x="4800" y="9818"/>
                </a:lnTo>
                <a:lnTo>
                  <a:pt x="7200" y="9818"/>
                </a:lnTo>
                <a:cubicBezTo>
                  <a:pt x="7200" y="9818"/>
                  <a:pt x="7200" y="4909"/>
                  <a:pt x="7200" y="4909"/>
                </a:cubicBezTo>
                <a:close/>
                <a:moveTo>
                  <a:pt x="3600" y="4909"/>
                </a:moveTo>
                <a:lnTo>
                  <a:pt x="2400" y="4909"/>
                </a:lnTo>
                <a:lnTo>
                  <a:pt x="2400" y="9818"/>
                </a:lnTo>
                <a:lnTo>
                  <a:pt x="3600" y="9818"/>
                </a:lnTo>
                <a:cubicBezTo>
                  <a:pt x="3600" y="9818"/>
                  <a:pt x="3600" y="4909"/>
                  <a:pt x="3600" y="4909"/>
                </a:cubicBezTo>
                <a:close/>
                <a:moveTo>
                  <a:pt x="9600" y="4909"/>
                </a:moveTo>
                <a:lnTo>
                  <a:pt x="8400" y="4909"/>
                </a:lnTo>
                <a:lnTo>
                  <a:pt x="8400" y="9818"/>
                </a:lnTo>
                <a:lnTo>
                  <a:pt x="9600" y="9818"/>
                </a:lnTo>
                <a:cubicBezTo>
                  <a:pt x="9600" y="9818"/>
                  <a:pt x="9600" y="4909"/>
                  <a:pt x="9600" y="4909"/>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29" name="Shape 2829"/>
          <p:cNvSpPr/>
          <p:nvPr/>
        </p:nvSpPr>
        <p:spPr>
          <a:xfrm>
            <a:off x="8271351" y="146985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2764"/>
                </a:moveTo>
                <a:cubicBezTo>
                  <a:pt x="10529" y="12764"/>
                  <a:pt x="10309" y="12544"/>
                  <a:pt x="10309" y="12273"/>
                </a:cubicBezTo>
                <a:cubicBezTo>
                  <a:pt x="10309" y="12001"/>
                  <a:pt x="10529" y="11782"/>
                  <a:pt x="10800" y="11782"/>
                </a:cubicBezTo>
                <a:cubicBezTo>
                  <a:pt x="11071" y="11782"/>
                  <a:pt x="11291" y="12001"/>
                  <a:pt x="11291" y="12273"/>
                </a:cubicBezTo>
                <a:cubicBezTo>
                  <a:pt x="11291" y="12544"/>
                  <a:pt x="11071" y="12764"/>
                  <a:pt x="10800" y="12764"/>
                </a:cubicBezTo>
                <a:moveTo>
                  <a:pt x="10800" y="10800"/>
                </a:moveTo>
                <a:cubicBezTo>
                  <a:pt x="9987" y="10800"/>
                  <a:pt x="9327" y="11460"/>
                  <a:pt x="9327" y="12273"/>
                </a:cubicBezTo>
                <a:cubicBezTo>
                  <a:pt x="9327" y="13086"/>
                  <a:pt x="9987" y="13745"/>
                  <a:pt x="10800" y="13745"/>
                </a:cubicBezTo>
                <a:cubicBezTo>
                  <a:pt x="11613" y="13745"/>
                  <a:pt x="12273" y="13086"/>
                  <a:pt x="12273" y="12273"/>
                </a:cubicBezTo>
                <a:cubicBezTo>
                  <a:pt x="12273" y="11460"/>
                  <a:pt x="11613" y="10800"/>
                  <a:pt x="10800" y="10800"/>
                </a:cubicBezTo>
                <a:moveTo>
                  <a:pt x="20469" y="11563"/>
                </a:moveTo>
                <a:lnTo>
                  <a:pt x="19745" y="13686"/>
                </a:lnTo>
                <a:cubicBezTo>
                  <a:pt x="17492" y="14931"/>
                  <a:pt x="14436" y="15709"/>
                  <a:pt x="11045" y="15709"/>
                </a:cubicBezTo>
                <a:cubicBezTo>
                  <a:pt x="7337" y="15709"/>
                  <a:pt x="4024" y="14783"/>
                  <a:pt x="1732" y="13326"/>
                </a:cubicBezTo>
                <a:lnTo>
                  <a:pt x="1132" y="11568"/>
                </a:lnTo>
                <a:cubicBezTo>
                  <a:pt x="1132" y="11568"/>
                  <a:pt x="982" y="11171"/>
                  <a:pt x="982" y="10800"/>
                </a:cubicBezTo>
                <a:cubicBezTo>
                  <a:pt x="982" y="9718"/>
                  <a:pt x="1863" y="8836"/>
                  <a:pt x="2945" y="8836"/>
                </a:cubicBezTo>
                <a:lnTo>
                  <a:pt x="18655" y="8836"/>
                </a:lnTo>
                <a:cubicBezTo>
                  <a:pt x="19738" y="8836"/>
                  <a:pt x="20618" y="9718"/>
                  <a:pt x="20618" y="10800"/>
                </a:cubicBezTo>
                <a:cubicBezTo>
                  <a:pt x="20618" y="11173"/>
                  <a:pt x="20469" y="11563"/>
                  <a:pt x="20469" y="11563"/>
                </a:cubicBezTo>
                <a:moveTo>
                  <a:pt x="17640" y="19860"/>
                </a:moveTo>
                <a:cubicBezTo>
                  <a:pt x="17636" y="19861"/>
                  <a:pt x="17438" y="20618"/>
                  <a:pt x="16691" y="20618"/>
                </a:cubicBezTo>
                <a:lnTo>
                  <a:pt x="4909" y="20618"/>
                </a:lnTo>
                <a:cubicBezTo>
                  <a:pt x="4169" y="20618"/>
                  <a:pt x="3960" y="19860"/>
                  <a:pt x="3960" y="19860"/>
                </a:cubicBezTo>
                <a:lnTo>
                  <a:pt x="2196" y="14687"/>
                </a:lnTo>
                <a:cubicBezTo>
                  <a:pt x="4567" y="15928"/>
                  <a:pt x="7651" y="16691"/>
                  <a:pt x="11045" y="16691"/>
                </a:cubicBezTo>
                <a:cubicBezTo>
                  <a:pt x="14163" y="16691"/>
                  <a:pt x="17019" y="16046"/>
                  <a:pt x="19304" y="14981"/>
                </a:cubicBezTo>
                <a:cubicBezTo>
                  <a:pt x="19304" y="14981"/>
                  <a:pt x="17640" y="19860"/>
                  <a:pt x="17640" y="19860"/>
                </a:cubicBezTo>
                <a:close/>
                <a:moveTo>
                  <a:pt x="10800" y="982"/>
                </a:moveTo>
                <a:cubicBezTo>
                  <a:pt x="13436" y="982"/>
                  <a:pt x="15657" y="3875"/>
                  <a:pt x="16409" y="7855"/>
                </a:cubicBezTo>
                <a:lnTo>
                  <a:pt x="5191" y="7855"/>
                </a:lnTo>
                <a:cubicBezTo>
                  <a:pt x="5943" y="3875"/>
                  <a:pt x="8164" y="982"/>
                  <a:pt x="10800" y="982"/>
                </a:cubicBezTo>
                <a:moveTo>
                  <a:pt x="18655" y="7855"/>
                </a:moveTo>
                <a:lnTo>
                  <a:pt x="17401" y="7855"/>
                </a:lnTo>
                <a:cubicBezTo>
                  <a:pt x="16584" y="3325"/>
                  <a:pt x="13944" y="0"/>
                  <a:pt x="10800" y="0"/>
                </a:cubicBezTo>
                <a:cubicBezTo>
                  <a:pt x="7656" y="0"/>
                  <a:pt x="5016" y="3325"/>
                  <a:pt x="4200" y="7855"/>
                </a:cubicBezTo>
                <a:lnTo>
                  <a:pt x="2945" y="7855"/>
                </a:lnTo>
                <a:cubicBezTo>
                  <a:pt x="1319" y="7855"/>
                  <a:pt x="0" y="9174"/>
                  <a:pt x="0" y="10800"/>
                </a:cubicBezTo>
                <a:cubicBezTo>
                  <a:pt x="0" y="11348"/>
                  <a:pt x="151" y="11732"/>
                  <a:pt x="151" y="11732"/>
                </a:cubicBezTo>
                <a:lnTo>
                  <a:pt x="3118" y="20435"/>
                </a:lnTo>
                <a:cubicBezTo>
                  <a:pt x="3118" y="20435"/>
                  <a:pt x="3452" y="21600"/>
                  <a:pt x="4909" y="21600"/>
                </a:cubicBezTo>
                <a:lnTo>
                  <a:pt x="16691" y="21600"/>
                </a:lnTo>
                <a:cubicBezTo>
                  <a:pt x="18153" y="21600"/>
                  <a:pt x="18565" y="20194"/>
                  <a:pt x="18570" y="20177"/>
                </a:cubicBezTo>
                <a:lnTo>
                  <a:pt x="21437" y="11727"/>
                </a:lnTo>
                <a:cubicBezTo>
                  <a:pt x="21534" y="11434"/>
                  <a:pt x="21600" y="11126"/>
                  <a:pt x="21600" y="10800"/>
                </a:cubicBezTo>
                <a:cubicBezTo>
                  <a:pt x="21600" y="9174"/>
                  <a:pt x="20281" y="7855"/>
                  <a:pt x="18655"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1" name="Shape 2831"/>
          <p:cNvSpPr/>
          <p:nvPr/>
        </p:nvSpPr>
        <p:spPr>
          <a:xfrm>
            <a:off x="689212"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moveTo>
                  <a:pt x="5400" y="12764"/>
                </a:moveTo>
                <a:cubicBezTo>
                  <a:pt x="5028" y="12764"/>
                  <a:pt x="4725" y="12983"/>
                  <a:pt x="4725" y="13255"/>
                </a:cubicBezTo>
                <a:cubicBezTo>
                  <a:pt x="4725" y="13390"/>
                  <a:pt x="4800" y="13513"/>
                  <a:pt x="4923" y="13602"/>
                </a:cubicBezTo>
                <a:lnTo>
                  <a:pt x="10323" y="17529"/>
                </a:lnTo>
                <a:cubicBezTo>
                  <a:pt x="10445" y="17618"/>
                  <a:pt x="10614" y="17673"/>
                  <a:pt x="10800" y="17673"/>
                </a:cubicBezTo>
                <a:cubicBezTo>
                  <a:pt x="10986" y="17673"/>
                  <a:pt x="11155" y="17618"/>
                  <a:pt x="11277" y="17529"/>
                </a:cubicBezTo>
                <a:lnTo>
                  <a:pt x="16677" y="13602"/>
                </a:lnTo>
                <a:cubicBezTo>
                  <a:pt x="16800" y="13513"/>
                  <a:pt x="16875" y="13390"/>
                  <a:pt x="16875" y="13255"/>
                </a:cubicBezTo>
                <a:cubicBezTo>
                  <a:pt x="16875" y="12983"/>
                  <a:pt x="16572" y="12764"/>
                  <a:pt x="16200" y="12764"/>
                </a:cubicBezTo>
                <a:cubicBezTo>
                  <a:pt x="16014" y="12764"/>
                  <a:pt x="15845" y="12819"/>
                  <a:pt x="15723" y="12907"/>
                </a:cubicBezTo>
                <a:lnTo>
                  <a:pt x="11475" y="15997"/>
                </a:lnTo>
                <a:lnTo>
                  <a:pt x="11475" y="491"/>
                </a:lnTo>
                <a:cubicBezTo>
                  <a:pt x="11475" y="220"/>
                  <a:pt x="11172" y="0"/>
                  <a:pt x="10800" y="0"/>
                </a:cubicBezTo>
                <a:cubicBezTo>
                  <a:pt x="10428" y="0"/>
                  <a:pt x="10125" y="220"/>
                  <a:pt x="10125" y="491"/>
                </a:cubicBezTo>
                <a:lnTo>
                  <a:pt x="10125" y="15997"/>
                </a:lnTo>
                <a:lnTo>
                  <a:pt x="5877" y="12907"/>
                </a:lnTo>
                <a:cubicBezTo>
                  <a:pt x="5755" y="12819"/>
                  <a:pt x="5586" y="12764"/>
                  <a:pt x="5400" y="127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2" name="Shape 2832"/>
          <p:cNvSpPr/>
          <p:nvPr/>
        </p:nvSpPr>
        <p:spPr>
          <a:xfrm>
            <a:off x="1089158" y="2498285"/>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5400" y="4909"/>
                </a:moveTo>
                <a:cubicBezTo>
                  <a:pt x="5586" y="4909"/>
                  <a:pt x="5755" y="4855"/>
                  <a:pt x="5877" y="4765"/>
                </a:cubicBezTo>
                <a:lnTo>
                  <a:pt x="10125" y="1676"/>
                </a:lnTo>
                <a:lnTo>
                  <a:pt x="10125" y="17182"/>
                </a:lnTo>
                <a:cubicBezTo>
                  <a:pt x="10125" y="17453"/>
                  <a:pt x="10428" y="17673"/>
                  <a:pt x="10800" y="17673"/>
                </a:cubicBezTo>
                <a:cubicBezTo>
                  <a:pt x="11172" y="17673"/>
                  <a:pt x="11475" y="17453"/>
                  <a:pt x="11475" y="17182"/>
                </a:cubicBezTo>
                <a:lnTo>
                  <a:pt x="11475" y="1676"/>
                </a:lnTo>
                <a:lnTo>
                  <a:pt x="15723" y="4765"/>
                </a:lnTo>
                <a:cubicBezTo>
                  <a:pt x="15845" y="4855"/>
                  <a:pt x="16014" y="4909"/>
                  <a:pt x="16200" y="4909"/>
                </a:cubicBezTo>
                <a:cubicBezTo>
                  <a:pt x="16572" y="4909"/>
                  <a:pt x="16875" y="4690"/>
                  <a:pt x="16875" y="4418"/>
                </a:cubicBezTo>
                <a:cubicBezTo>
                  <a:pt x="16875" y="4283"/>
                  <a:pt x="16800" y="4161"/>
                  <a:pt x="16677" y="4071"/>
                </a:cubicBezTo>
                <a:lnTo>
                  <a:pt x="11277" y="144"/>
                </a:lnTo>
                <a:cubicBezTo>
                  <a:pt x="11155" y="55"/>
                  <a:pt x="10986" y="0"/>
                  <a:pt x="10800" y="0"/>
                </a:cubicBezTo>
                <a:cubicBezTo>
                  <a:pt x="10614" y="0"/>
                  <a:pt x="10445" y="55"/>
                  <a:pt x="10323" y="144"/>
                </a:cubicBezTo>
                <a:lnTo>
                  <a:pt x="4923" y="4071"/>
                </a:lnTo>
                <a:cubicBezTo>
                  <a:pt x="4800" y="4161"/>
                  <a:pt x="4725" y="4283"/>
                  <a:pt x="4725" y="4418"/>
                </a:cubicBezTo>
                <a:cubicBezTo>
                  <a:pt x="4725" y="4690"/>
                  <a:pt x="5028" y="4909"/>
                  <a:pt x="5400" y="4909"/>
                </a:cubicBezTo>
                <a:moveTo>
                  <a:pt x="20925" y="6873"/>
                </a:moveTo>
                <a:lnTo>
                  <a:pt x="13500" y="6873"/>
                </a:lnTo>
                <a:cubicBezTo>
                  <a:pt x="13128" y="6873"/>
                  <a:pt x="12825" y="7093"/>
                  <a:pt x="12825" y="7364"/>
                </a:cubicBezTo>
                <a:cubicBezTo>
                  <a:pt x="12825" y="7635"/>
                  <a:pt x="13128" y="7855"/>
                  <a:pt x="13500" y="7855"/>
                </a:cubicBezTo>
                <a:lnTo>
                  <a:pt x="20250" y="7855"/>
                </a:lnTo>
                <a:lnTo>
                  <a:pt x="20250" y="20618"/>
                </a:lnTo>
                <a:lnTo>
                  <a:pt x="1350" y="20618"/>
                </a:lnTo>
                <a:lnTo>
                  <a:pt x="1350" y="7855"/>
                </a:lnTo>
                <a:lnTo>
                  <a:pt x="8100" y="7855"/>
                </a:lnTo>
                <a:cubicBezTo>
                  <a:pt x="8472" y="7855"/>
                  <a:pt x="8775" y="7635"/>
                  <a:pt x="8775" y="7364"/>
                </a:cubicBezTo>
                <a:cubicBezTo>
                  <a:pt x="8775" y="7093"/>
                  <a:pt x="8472" y="6873"/>
                  <a:pt x="8100" y="6873"/>
                </a:cubicBezTo>
                <a:lnTo>
                  <a:pt x="675" y="6873"/>
                </a:lnTo>
                <a:cubicBezTo>
                  <a:pt x="303" y="6873"/>
                  <a:pt x="0" y="7093"/>
                  <a:pt x="0" y="7364"/>
                </a:cubicBezTo>
                <a:lnTo>
                  <a:pt x="0" y="21109"/>
                </a:lnTo>
                <a:cubicBezTo>
                  <a:pt x="0" y="21381"/>
                  <a:pt x="303" y="21600"/>
                  <a:pt x="675" y="21600"/>
                </a:cubicBezTo>
                <a:lnTo>
                  <a:pt x="20925" y="21600"/>
                </a:lnTo>
                <a:cubicBezTo>
                  <a:pt x="21297" y="21600"/>
                  <a:pt x="21600" y="21381"/>
                  <a:pt x="21600" y="21109"/>
                </a:cubicBezTo>
                <a:lnTo>
                  <a:pt x="21600" y="7364"/>
                </a:lnTo>
                <a:cubicBezTo>
                  <a:pt x="21600" y="7093"/>
                  <a:pt x="21297" y="6873"/>
                  <a:pt x="20925"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3" name="Shape 2833"/>
          <p:cNvSpPr/>
          <p:nvPr/>
        </p:nvSpPr>
        <p:spPr>
          <a:xfrm>
            <a:off x="146053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moveTo>
                  <a:pt x="7140" y="14181"/>
                </a:moveTo>
                <a:cubicBezTo>
                  <a:pt x="6970" y="13741"/>
                  <a:pt x="6873" y="13264"/>
                  <a:pt x="6873" y="12764"/>
                </a:cubicBezTo>
                <a:cubicBezTo>
                  <a:pt x="6873" y="10595"/>
                  <a:pt x="8631" y="8836"/>
                  <a:pt x="10800" y="8836"/>
                </a:cubicBezTo>
                <a:cubicBezTo>
                  <a:pt x="11300" y="8836"/>
                  <a:pt x="11777" y="8934"/>
                  <a:pt x="12217" y="9104"/>
                </a:cubicBezTo>
                <a:lnTo>
                  <a:pt x="13217" y="8494"/>
                </a:lnTo>
                <a:cubicBezTo>
                  <a:pt x="12503" y="8089"/>
                  <a:pt x="11680" y="7855"/>
                  <a:pt x="10800" y="7855"/>
                </a:cubicBezTo>
                <a:cubicBezTo>
                  <a:pt x="8089" y="7855"/>
                  <a:pt x="5891" y="10053"/>
                  <a:pt x="5891" y="12764"/>
                </a:cubicBezTo>
                <a:cubicBezTo>
                  <a:pt x="5891" y="13643"/>
                  <a:pt x="6125" y="14467"/>
                  <a:pt x="6530" y="15181"/>
                </a:cubicBezTo>
                <a:cubicBezTo>
                  <a:pt x="6530" y="15181"/>
                  <a:pt x="7140" y="14181"/>
                  <a:pt x="7140" y="14181"/>
                </a:cubicBezTo>
                <a:close/>
                <a:moveTo>
                  <a:pt x="14460" y="11347"/>
                </a:moveTo>
                <a:cubicBezTo>
                  <a:pt x="14630" y="11787"/>
                  <a:pt x="14727" y="12263"/>
                  <a:pt x="14727" y="12764"/>
                </a:cubicBezTo>
                <a:cubicBezTo>
                  <a:pt x="14727" y="14932"/>
                  <a:pt x="12969" y="16691"/>
                  <a:pt x="10800" y="16691"/>
                </a:cubicBezTo>
                <a:cubicBezTo>
                  <a:pt x="10300" y="16691"/>
                  <a:pt x="9823" y="16594"/>
                  <a:pt x="9383" y="16423"/>
                </a:cubicBezTo>
                <a:lnTo>
                  <a:pt x="8383" y="17034"/>
                </a:lnTo>
                <a:cubicBezTo>
                  <a:pt x="9097" y="17439"/>
                  <a:pt x="9920" y="17673"/>
                  <a:pt x="10800" y="17673"/>
                </a:cubicBezTo>
                <a:cubicBezTo>
                  <a:pt x="13511" y="17673"/>
                  <a:pt x="15709" y="15475"/>
                  <a:pt x="15709" y="12764"/>
                </a:cubicBezTo>
                <a:cubicBezTo>
                  <a:pt x="15709" y="11884"/>
                  <a:pt x="15475" y="11061"/>
                  <a:pt x="15070" y="10346"/>
                </a:cubicBezTo>
                <a:cubicBezTo>
                  <a:pt x="15070" y="10346"/>
                  <a:pt x="14460" y="11347"/>
                  <a:pt x="14460" y="11347"/>
                </a:cubicBezTo>
                <a:close/>
                <a:moveTo>
                  <a:pt x="10453" y="12417"/>
                </a:moveTo>
                <a:cubicBezTo>
                  <a:pt x="10645" y="12225"/>
                  <a:pt x="10955" y="12225"/>
                  <a:pt x="11147" y="12417"/>
                </a:cubicBezTo>
                <a:cubicBezTo>
                  <a:pt x="11339" y="12609"/>
                  <a:pt x="11339" y="12919"/>
                  <a:pt x="11147" y="13111"/>
                </a:cubicBezTo>
                <a:cubicBezTo>
                  <a:pt x="10955" y="13303"/>
                  <a:pt x="10645" y="13303"/>
                  <a:pt x="10453" y="13111"/>
                </a:cubicBezTo>
                <a:cubicBezTo>
                  <a:pt x="10261" y="12919"/>
                  <a:pt x="10261" y="12609"/>
                  <a:pt x="10453" y="12417"/>
                </a:cubicBezTo>
                <a:moveTo>
                  <a:pt x="6144" y="17420"/>
                </a:moveTo>
                <a:lnTo>
                  <a:pt x="11842" y="13805"/>
                </a:lnTo>
                <a:lnTo>
                  <a:pt x="15456" y="8107"/>
                </a:lnTo>
                <a:lnTo>
                  <a:pt x="9759" y="11722"/>
                </a:lnTo>
                <a:cubicBezTo>
                  <a:pt x="9759" y="11722"/>
                  <a:pt x="6144" y="17420"/>
                  <a:pt x="6144" y="174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4" name="Shape 2834"/>
          <p:cNvSpPr/>
          <p:nvPr/>
        </p:nvSpPr>
        <p:spPr>
          <a:xfrm>
            <a:off x="18604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145" y="1964"/>
                </a:moveTo>
                <a:lnTo>
                  <a:pt x="8345" y="1964"/>
                </a:lnTo>
                <a:cubicBezTo>
                  <a:pt x="8075" y="1964"/>
                  <a:pt x="7855" y="2184"/>
                  <a:pt x="7855" y="2455"/>
                </a:cubicBezTo>
                <a:cubicBezTo>
                  <a:pt x="7855" y="2726"/>
                  <a:pt x="8075" y="2945"/>
                  <a:pt x="8345" y="2945"/>
                </a:cubicBezTo>
                <a:lnTo>
                  <a:pt x="19145" y="2945"/>
                </a:lnTo>
                <a:cubicBezTo>
                  <a:pt x="19416" y="2945"/>
                  <a:pt x="19636" y="2726"/>
                  <a:pt x="19636" y="2455"/>
                </a:cubicBezTo>
                <a:cubicBezTo>
                  <a:pt x="19636" y="2184"/>
                  <a:pt x="19416" y="1964"/>
                  <a:pt x="19145" y="1964"/>
                </a:cubicBezTo>
                <a:moveTo>
                  <a:pt x="20618" y="3927"/>
                </a:moveTo>
                <a:lnTo>
                  <a:pt x="982" y="3927"/>
                </a:lnTo>
                <a:lnTo>
                  <a:pt x="982" y="1964"/>
                </a:lnTo>
                <a:cubicBezTo>
                  <a:pt x="982" y="1422"/>
                  <a:pt x="1422" y="982"/>
                  <a:pt x="1964" y="982"/>
                </a:cubicBezTo>
                <a:lnTo>
                  <a:pt x="19636" y="982"/>
                </a:lnTo>
                <a:cubicBezTo>
                  <a:pt x="20178" y="982"/>
                  <a:pt x="20618" y="1422"/>
                  <a:pt x="20618" y="1964"/>
                </a:cubicBezTo>
                <a:cubicBezTo>
                  <a:pt x="20618" y="1964"/>
                  <a:pt x="20618" y="3927"/>
                  <a:pt x="20618" y="3927"/>
                </a:cubicBezTo>
                <a:close/>
                <a:moveTo>
                  <a:pt x="20618" y="19636"/>
                </a:moveTo>
                <a:cubicBezTo>
                  <a:pt x="20618" y="20178"/>
                  <a:pt x="20178" y="20618"/>
                  <a:pt x="19636" y="20618"/>
                </a:cubicBezTo>
                <a:lnTo>
                  <a:pt x="1964" y="20618"/>
                </a:lnTo>
                <a:cubicBezTo>
                  <a:pt x="1422" y="20618"/>
                  <a:pt x="982" y="20178"/>
                  <a:pt x="982" y="19636"/>
                </a:cubicBezTo>
                <a:lnTo>
                  <a:pt x="982" y="4909"/>
                </a:lnTo>
                <a:lnTo>
                  <a:pt x="20618" y="4909"/>
                </a:lnTo>
                <a:cubicBezTo>
                  <a:pt x="20618" y="4909"/>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6382" y="1964"/>
                </a:moveTo>
                <a:cubicBezTo>
                  <a:pt x="6111" y="1964"/>
                  <a:pt x="5891" y="2184"/>
                  <a:pt x="5891" y="2455"/>
                </a:cubicBezTo>
                <a:cubicBezTo>
                  <a:pt x="5891" y="2726"/>
                  <a:pt x="6111" y="2945"/>
                  <a:pt x="6382" y="2945"/>
                </a:cubicBezTo>
                <a:cubicBezTo>
                  <a:pt x="6653" y="2945"/>
                  <a:pt x="6873" y="2726"/>
                  <a:pt x="6873" y="2455"/>
                </a:cubicBezTo>
                <a:cubicBezTo>
                  <a:pt x="6873" y="2184"/>
                  <a:pt x="6653" y="1964"/>
                  <a:pt x="6382" y="1964"/>
                </a:cubicBezTo>
                <a:moveTo>
                  <a:pt x="4418" y="1964"/>
                </a:moveTo>
                <a:cubicBezTo>
                  <a:pt x="4147" y="1964"/>
                  <a:pt x="3927" y="2184"/>
                  <a:pt x="3927" y="2455"/>
                </a:cubicBezTo>
                <a:cubicBezTo>
                  <a:pt x="3927" y="2726"/>
                  <a:pt x="4147" y="2945"/>
                  <a:pt x="4418" y="2945"/>
                </a:cubicBezTo>
                <a:cubicBezTo>
                  <a:pt x="4689" y="2945"/>
                  <a:pt x="4909" y="2726"/>
                  <a:pt x="4909" y="2455"/>
                </a:cubicBezTo>
                <a:cubicBezTo>
                  <a:pt x="4909" y="2184"/>
                  <a:pt x="4689" y="1964"/>
                  <a:pt x="4418" y="1964"/>
                </a:cubicBezTo>
                <a:moveTo>
                  <a:pt x="2455" y="1964"/>
                </a:moveTo>
                <a:cubicBezTo>
                  <a:pt x="2184" y="1964"/>
                  <a:pt x="1964" y="2184"/>
                  <a:pt x="1964" y="2455"/>
                </a:cubicBezTo>
                <a:cubicBezTo>
                  <a:pt x="1964" y="2726"/>
                  <a:pt x="2184" y="2945"/>
                  <a:pt x="2455" y="2945"/>
                </a:cubicBezTo>
                <a:cubicBezTo>
                  <a:pt x="2725" y="2945"/>
                  <a:pt x="2945" y="2726"/>
                  <a:pt x="2945" y="2455"/>
                </a:cubicBezTo>
                <a:cubicBezTo>
                  <a:pt x="2945" y="2184"/>
                  <a:pt x="2725" y="1964"/>
                  <a:pt x="2455" y="19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5" name="Shape 2835"/>
          <p:cNvSpPr/>
          <p:nvPr/>
        </p:nvSpPr>
        <p:spPr>
          <a:xfrm>
            <a:off x="226042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218" y="5891"/>
                </a:moveTo>
                <a:lnTo>
                  <a:pt x="8345" y="5891"/>
                </a:lnTo>
                <a:cubicBezTo>
                  <a:pt x="8075" y="5891"/>
                  <a:pt x="7855" y="6111"/>
                  <a:pt x="7855" y="6382"/>
                </a:cubicBezTo>
                <a:cubicBezTo>
                  <a:pt x="7855" y="6653"/>
                  <a:pt x="8075" y="6873"/>
                  <a:pt x="8345" y="6873"/>
                </a:cubicBezTo>
                <a:lnTo>
                  <a:pt x="15218" y="6873"/>
                </a:lnTo>
                <a:cubicBezTo>
                  <a:pt x="15489" y="6873"/>
                  <a:pt x="15709" y="6653"/>
                  <a:pt x="15709" y="6382"/>
                </a:cubicBezTo>
                <a:cubicBezTo>
                  <a:pt x="15709" y="6111"/>
                  <a:pt x="15489" y="5891"/>
                  <a:pt x="15218" y="5891"/>
                </a:cubicBezTo>
                <a:moveTo>
                  <a:pt x="6382" y="5891"/>
                </a:moveTo>
                <a:cubicBezTo>
                  <a:pt x="6111" y="5891"/>
                  <a:pt x="5891" y="6111"/>
                  <a:pt x="5891" y="6382"/>
                </a:cubicBezTo>
                <a:cubicBezTo>
                  <a:pt x="5891" y="6653"/>
                  <a:pt x="6111" y="6873"/>
                  <a:pt x="6382" y="6873"/>
                </a:cubicBezTo>
                <a:cubicBezTo>
                  <a:pt x="6653" y="6873"/>
                  <a:pt x="6873" y="6653"/>
                  <a:pt x="6873" y="6382"/>
                </a:cubicBezTo>
                <a:cubicBezTo>
                  <a:pt x="6873" y="6111"/>
                  <a:pt x="6653" y="5891"/>
                  <a:pt x="6382" y="5891"/>
                </a:cubicBezTo>
                <a:moveTo>
                  <a:pt x="19636" y="0"/>
                </a:moveTo>
                <a:lnTo>
                  <a:pt x="5891" y="0"/>
                </a:lnTo>
                <a:cubicBezTo>
                  <a:pt x="4806" y="0"/>
                  <a:pt x="3927" y="879"/>
                  <a:pt x="3927" y="1964"/>
                </a:cubicBezTo>
                <a:lnTo>
                  <a:pt x="3927" y="2455"/>
                </a:lnTo>
                <a:cubicBezTo>
                  <a:pt x="3927" y="2726"/>
                  <a:pt x="4147" y="2945"/>
                  <a:pt x="4418" y="2945"/>
                </a:cubicBezTo>
                <a:cubicBezTo>
                  <a:pt x="4689" y="2945"/>
                  <a:pt x="4909" y="2726"/>
                  <a:pt x="4909" y="2455"/>
                </a:cubicBezTo>
                <a:lnTo>
                  <a:pt x="4909" y="1964"/>
                </a:lnTo>
                <a:cubicBezTo>
                  <a:pt x="4909" y="1422"/>
                  <a:pt x="5349" y="982"/>
                  <a:pt x="5891" y="982"/>
                </a:cubicBezTo>
                <a:lnTo>
                  <a:pt x="19636" y="982"/>
                </a:lnTo>
                <a:cubicBezTo>
                  <a:pt x="20178" y="982"/>
                  <a:pt x="20618" y="1422"/>
                  <a:pt x="20618" y="1964"/>
                </a:cubicBezTo>
                <a:lnTo>
                  <a:pt x="20618" y="15709"/>
                </a:lnTo>
                <a:cubicBezTo>
                  <a:pt x="20618" y="16252"/>
                  <a:pt x="20178" y="16691"/>
                  <a:pt x="19636" y="16691"/>
                </a:cubicBezTo>
                <a:lnTo>
                  <a:pt x="19145" y="16691"/>
                </a:lnTo>
                <a:cubicBezTo>
                  <a:pt x="18875" y="16691"/>
                  <a:pt x="18655" y="16910"/>
                  <a:pt x="18655" y="17182"/>
                </a:cubicBezTo>
                <a:cubicBezTo>
                  <a:pt x="18655" y="17453"/>
                  <a:pt x="18875" y="17673"/>
                  <a:pt x="19145" y="17673"/>
                </a:cubicBezTo>
                <a:lnTo>
                  <a:pt x="19636" y="17673"/>
                </a:lnTo>
                <a:cubicBezTo>
                  <a:pt x="20721" y="17673"/>
                  <a:pt x="21600" y="16794"/>
                  <a:pt x="21600" y="15709"/>
                </a:cubicBezTo>
                <a:lnTo>
                  <a:pt x="21600" y="1964"/>
                </a:lnTo>
                <a:cubicBezTo>
                  <a:pt x="21600" y="879"/>
                  <a:pt x="20721" y="0"/>
                  <a:pt x="19636" y="0"/>
                </a:cubicBezTo>
                <a:moveTo>
                  <a:pt x="2455" y="5891"/>
                </a:moveTo>
                <a:cubicBezTo>
                  <a:pt x="2184" y="5891"/>
                  <a:pt x="1964" y="6111"/>
                  <a:pt x="1964" y="6382"/>
                </a:cubicBezTo>
                <a:cubicBezTo>
                  <a:pt x="1964" y="6653"/>
                  <a:pt x="2184" y="6873"/>
                  <a:pt x="2455" y="6873"/>
                </a:cubicBezTo>
                <a:cubicBezTo>
                  <a:pt x="2725" y="6873"/>
                  <a:pt x="2945" y="6653"/>
                  <a:pt x="2945" y="6382"/>
                </a:cubicBezTo>
                <a:cubicBezTo>
                  <a:pt x="2945" y="6111"/>
                  <a:pt x="2725" y="5891"/>
                  <a:pt x="2455" y="5891"/>
                </a:cubicBezTo>
                <a:moveTo>
                  <a:pt x="4418" y="5891"/>
                </a:moveTo>
                <a:cubicBezTo>
                  <a:pt x="4147" y="5891"/>
                  <a:pt x="3927" y="6111"/>
                  <a:pt x="3927" y="6382"/>
                </a:cubicBezTo>
                <a:cubicBezTo>
                  <a:pt x="3927" y="6653"/>
                  <a:pt x="4147" y="6873"/>
                  <a:pt x="4418" y="6873"/>
                </a:cubicBezTo>
                <a:cubicBezTo>
                  <a:pt x="4689" y="6873"/>
                  <a:pt x="4909" y="6653"/>
                  <a:pt x="4909" y="6382"/>
                </a:cubicBezTo>
                <a:cubicBezTo>
                  <a:pt x="4909" y="6111"/>
                  <a:pt x="4689" y="5891"/>
                  <a:pt x="4418" y="5891"/>
                </a:cubicBezTo>
                <a:moveTo>
                  <a:pt x="16691" y="7855"/>
                </a:moveTo>
                <a:lnTo>
                  <a:pt x="982" y="7855"/>
                </a:lnTo>
                <a:lnTo>
                  <a:pt x="982" y="5891"/>
                </a:lnTo>
                <a:cubicBezTo>
                  <a:pt x="982" y="5349"/>
                  <a:pt x="1422" y="4909"/>
                  <a:pt x="1964" y="4909"/>
                </a:cubicBezTo>
                <a:lnTo>
                  <a:pt x="15709" y="4909"/>
                </a:lnTo>
                <a:cubicBezTo>
                  <a:pt x="16251" y="4909"/>
                  <a:pt x="16691" y="5349"/>
                  <a:pt x="16691" y="5891"/>
                </a:cubicBezTo>
                <a:cubicBezTo>
                  <a:pt x="16691" y="5891"/>
                  <a:pt x="16691" y="7855"/>
                  <a:pt x="16691" y="7855"/>
                </a:cubicBezTo>
                <a:close/>
                <a:moveTo>
                  <a:pt x="16691" y="19636"/>
                </a:moveTo>
                <a:cubicBezTo>
                  <a:pt x="16691" y="20178"/>
                  <a:pt x="16251" y="20618"/>
                  <a:pt x="15709" y="20618"/>
                </a:cubicBezTo>
                <a:lnTo>
                  <a:pt x="1964" y="20618"/>
                </a:lnTo>
                <a:cubicBezTo>
                  <a:pt x="1422" y="20618"/>
                  <a:pt x="982" y="20178"/>
                  <a:pt x="982" y="19636"/>
                </a:cubicBezTo>
                <a:lnTo>
                  <a:pt x="982" y="8836"/>
                </a:lnTo>
                <a:lnTo>
                  <a:pt x="16691" y="8836"/>
                </a:lnTo>
                <a:cubicBezTo>
                  <a:pt x="16691" y="8836"/>
                  <a:pt x="16691" y="19636"/>
                  <a:pt x="16691" y="19636"/>
                </a:cubicBezTo>
                <a:close/>
                <a:moveTo>
                  <a:pt x="15709" y="3927"/>
                </a:moveTo>
                <a:lnTo>
                  <a:pt x="1964" y="3927"/>
                </a:lnTo>
                <a:cubicBezTo>
                  <a:pt x="879" y="3927"/>
                  <a:pt x="0" y="4806"/>
                  <a:pt x="0" y="5891"/>
                </a:cubicBezTo>
                <a:lnTo>
                  <a:pt x="0" y="19636"/>
                </a:lnTo>
                <a:cubicBezTo>
                  <a:pt x="0" y="20721"/>
                  <a:pt x="879" y="21600"/>
                  <a:pt x="1964" y="21600"/>
                </a:cubicBezTo>
                <a:lnTo>
                  <a:pt x="15709" y="21600"/>
                </a:lnTo>
                <a:cubicBezTo>
                  <a:pt x="16794" y="21600"/>
                  <a:pt x="17673" y="20721"/>
                  <a:pt x="17673" y="19636"/>
                </a:cubicBezTo>
                <a:lnTo>
                  <a:pt x="17673" y="5891"/>
                </a:lnTo>
                <a:cubicBezTo>
                  <a:pt x="17673" y="4806"/>
                  <a:pt x="16794" y="3927"/>
                  <a:pt x="15709"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6" name="Shape 2836"/>
          <p:cNvSpPr/>
          <p:nvPr/>
        </p:nvSpPr>
        <p:spPr>
          <a:xfrm>
            <a:off x="2660374" y="252685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7" name="Shape 2837"/>
          <p:cNvSpPr/>
          <p:nvPr/>
        </p:nvSpPr>
        <p:spPr>
          <a:xfrm>
            <a:off x="3060320" y="2522092"/>
            <a:ext cx="209495" cy="161883"/>
          </a:xfrm>
          <a:custGeom>
            <a:avLst/>
            <a:gdLst/>
            <a:ahLst/>
            <a:cxnLst>
              <a:cxn ang="0">
                <a:pos x="wd2" y="hd2"/>
              </a:cxn>
              <a:cxn ang="5400000">
                <a:pos x="wd2" y="hd2"/>
              </a:cxn>
              <a:cxn ang="10800000">
                <a:pos x="wd2" y="hd2"/>
              </a:cxn>
              <a:cxn ang="16200000">
                <a:pos x="wd2" y="hd2"/>
              </a:cxn>
            </a:cxnLst>
            <a:rect l="0" t="0" r="r" b="b"/>
            <a:pathLst>
              <a:path w="21600" h="21600" extrusionOk="0">
                <a:moveTo>
                  <a:pt x="16691" y="18667"/>
                </a:moveTo>
                <a:lnTo>
                  <a:pt x="12576" y="13341"/>
                </a:lnTo>
                <a:lnTo>
                  <a:pt x="16691" y="8016"/>
                </a:lnTo>
                <a:cubicBezTo>
                  <a:pt x="16691" y="8016"/>
                  <a:pt x="16691" y="18667"/>
                  <a:pt x="16691" y="18667"/>
                </a:cubicBezTo>
                <a:close/>
                <a:moveTo>
                  <a:pt x="15709" y="20329"/>
                </a:moveTo>
                <a:lnTo>
                  <a:pt x="1964" y="20329"/>
                </a:lnTo>
                <a:cubicBezTo>
                  <a:pt x="1719" y="20329"/>
                  <a:pt x="1498" y="20210"/>
                  <a:pt x="1326" y="20018"/>
                </a:cubicBezTo>
                <a:lnTo>
                  <a:pt x="5791" y="14240"/>
                </a:lnTo>
                <a:lnTo>
                  <a:pt x="7477" y="16421"/>
                </a:lnTo>
                <a:cubicBezTo>
                  <a:pt x="7853" y="16907"/>
                  <a:pt x="8344" y="17150"/>
                  <a:pt x="8836" y="17150"/>
                </a:cubicBezTo>
                <a:cubicBezTo>
                  <a:pt x="9329" y="17150"/>
                  <a:pt x="9821" y="16907"/>
                  <a:pt x="10195" y="16421"/>
                </a:cubicBezTo>
                <a:lnTo>
                  <a:pt x="11882" y="14240"/>
                </a:lnTo>
                <a:lnTo>
                  <a:pt x="16347" y="20018"/>
                </a:lnTo>
                <a:cubicBezTo>
                  <a:pt x="16175" y="20210"/>
                  <a:pt x="15954" y="20329"/>
                  <a:pt x="15709" y="20329"/>
                </a:cubicBezTo>
                <a:moveTo>
                  <a:pt x="982" y="8016"/>
                </a:moveTo>
                <a:lnTo>
                  <a:pt x="5097" y="13341"/>
                </a:lnTo>
                <a:lnTo>
                  <a:pt x="982" y="18667"/>
                </a:lnTo>
                <a:cubicBezTo>
                  <a:pt x="982" y="18667"/>
                  <a:pt x="982" y="8016"/>
                  <a:pt x="982" y="8016"/>
                </a:cubicBezTo>
                <a:close/>
                <a:moveTo>
                  <a:pt x="1964" y="6353"/>
                </a:moveTo>
                <a:lnTo>
                  <a:pt x="15709" y="6353"/>
                </a:lnTo>
                <a:cubicBezTo>
                  <a:pt x="15954" y="6353"/>
                  <a:pt x="16175" y="6474"/>
                  <a:pt x="16347" y="6665"/>
                </a:cubicBezTo>
                <a:lnTo>
                  <a:pt x="9502" y="15523"/>
                </a:lnTo>
                <a:cubicBezTo>
                  <a:pt x="9324" y="15752"/>
                  <a:pt x="9088" y="15880"/>
                  <a:pt x="8836" y="15880"/>
                </a:cubicBezTo>
                <a:cubicBezTo>
                  <a:pt x="8585" y="15880"/>
                  <a:pt x="8349" y="15752"/>
                  <a:pt x="8170" y="15523"/>
                </a:cubicBezTo>
                <a:lnTo>
                  <a:pt x="1326" y="6664"/>
                </a:lnTo>
                <a:cubicBezTo>
                  <a:pt x="1498" y="6474"/>
                  <a:pt x="1719" y="6353"/>
                  <a:pt x="1964" y="6353"/>
                </a:cubicBezTo>
                <a:moveTo>
                  <a:pt x="15709" y="5082"/>
                </a:moveTo>
                <a:lnTo>
                  <a:pt x="1964" y="5082"/>
                </a:lnTo>
                <a:cubicBezTo>
                  <a:pt x="879" y="5082"/>
                  <a:pt x="0" y="6220"/>
                  <a:pt x="0" y="7624"/>
                </a:cubicBezTo>
                <a:lnTo>
                  <a:pt x="0" y="19059"/>
                </a:lnTo>
                <a:cubicBezTo>
                  <a:pt x="0" y="20462"/>
                  <a:pt x="879" y="21600"/>
                  <a:pt x="1964" y="21600"/>
                </a:cubicBezTo>
                <a:lnTo>
                  <a:pt x="15709" y="21600"/>
                </a:lnTo>
                <a:cubicBezTo>
                  <a:pt x="16794" y="21600"/>
                  <a:pt x="17673" y="20462"/>
                  <a:pt x="17673" y="19059"/>
                </a:cubicBezTo>
                <a:lnTo>
                  <a:pt x="17673" y="7624"/>
                </a:lnTo>
                <a:cubicBezTo>
                  <a:pt x="17673" y="6220"/>
                  <a:pt x="16794" y="5082"/>
                  <a:pt x="15709" y="5082"/>
                </a:cubicBezTo>
                <a:moveTo>
                  <a:pt x="19636" y="0"/>
                </a:moveTo>
                <a:lnTo>
                  <a:pt x="5891" y="0"/>
                </a:lnTo>
                <a:cubicBezTo>
                  <a:pt x="4806" y="0"/>
                  <a:pt x="3927" y="1138"/>
                  <a:pt x="3927" y="2541"/>
                </a:cubicBezTo>
                <a:lnTo>
                  <a:pt x="3927" y="3176"/>
                </a:lnTo>
                <a:cubicBezTo>
                  <a:pt x="3927" y="3528"/>
                  <a:pt x="4147" y="3812"/>
                  <a:pt x="4418" y="3812"/>
                </a:cubicBezTo>
                <a:cubicBezTo>
                  <a:pt x="4690" y="3812"/>
                  <a:pt x="4909" y="3528"/>
                  <a:pt x="4909" y="3176"/>
                </a:cubicBezTo>
                <a:lnTo>
                  <a:pt x="4909" y="2541"/>
                </a:lnTo>
                <a:cubicBezTo>
                  <a:pt x="4909" y="1840"/>
                  <a:pt x="5348" y="1271"/>
                  <a:pt x="5891" y="1271"/>
                </a:cubicBezTo>
                <a:lnTo>
                  <a:pt x="19636" y="1271"/>
                </a:lnTo>
                <a:cubicBezTo>
                  <a:pt x="20178" y="1271"/>
                  <a:pt x="20618" y="1840"/>
                  <a:pt x="20618" y="2541"/>
                </a:cubicBezTo>
                <a:lnTo>
                  <a:pt x="20618" y="13976"/>
                </a:lnTo>
                <a:cubicBezTo>
                  <a:pt x="20618" y="14678"/>
                  <a:pt x="20178" y="15247"/>
                  <a:pt x="19636" y="15247"/>
                </a:cubicBezTo>
                <a:lnTo>
                  <a:pt x="19145" y="15247"/>
                </a:lnTo>
                <a:cubicBezTo>
                  <a:pt x="18874" y="15247"/>
                  <a:pt x="18655" y="15532"/>
                  <a:pt x="18655" y="15882"/>
                </a:cubicBezTo>
                <a:cubicBezTo>
                  <a:pt x="18655" y="16234"/>
                  <a:pt x="18874" y="16518"/>
                  <a:pt x="19145" y="16518"/>
                </a:cubicBezTo>
                <a:lnTo>
                  <a:pt x="19636" y="16518"/>
                </a:lnTo>
                <a:cubicBezTo>
                  <a:pt x="20721" y="16518"/>
                  <a:pt x="21600" y="15380"/>
                  <a:pt x="21600" y="13976"/>
                </a:cubicBezTo>
                <a:lnTo>
                  <a:pt x="21600" y="2541"/>
                </a:lnTo>
                <a:cubicBezTo>
                  <a:pt x="21600" y="1138"/>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8" name="Shape 2838"/>
          <p:cNvSpPr/>
          <p:nvPr/>
        </p:nvSpPr>
        <p:spPr>
          <a:xfrm>
            <a:off x="3460265" y="251733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4" y="13200"/>
                </a:cubicBezTo>
                <a:lnTo>
                  <a:pt x="20618" y="13200"/>
                </a:lnTo>
                <a:cubicBezTo>
                  <a:pt x="20618" y="13200"/>
                  <a:pt x="20618" y="20400"/>
                  <a:pt x="20618" y="20400"/>
                </a:cubicBezTo>
                <a:close/>
                <a:moveTo>
                  <a:pt x="5703" y="1200"/>
                </a:moveTo>
                <a:lnTo>
                  <a:pt x="15897" y="1200"/>
                </a:lnTo>
                <a:lnTo>
                  <a:pt x="20315" y="12000"/>
                </a:lnTo>
                <a:lnTo>
                  <a:pt x="14236" y="12000"/>
                </a:lnTo>
                <a:cubicBezTo>
                  <a:pt x="13965" y="12000"/>
                  <a:pt x="13745" y="12269"/>
                  <a:pt x="13745" y="12600"/>
                </a:cubicBezTo>
                <a:cubicBezTo>
                  <a:pt x="13745" y="14589"/>
                  <a:pt x="12426" y="16200"/>
                  <a:pt x="10800" y="16200"/>
                </a:cubicBezTo>
                <a:cubicBezTo>
                  <a:pt x="9173" y="16200"/>
                  <a:pt x="7855" y="14589"/>
                  <a:pt x="7855" y="12600"/>
                </a:cubicBezTo>
                <a:cubicBezTo>
                  <a:pt x="7855" y="12269"/>
                  <a:pt x="7635" y="12000"/>
                  <a:pt x="7364" y="12000"/>
                </a:cubicBezTo>
                <a:lnTo>
                  <a:pt x="1285" y="12000"/>
                </a:lnTo>
                <a:cubicBezTo>
                  <a:pt x="1285" y="12000"/>
                  <a:pt x="5703" y="1200"/>
                  <a:pt x="5703" y="1200"/>
                </a:cubicBezTo>
                <a:close/>
                <a:moveTo>
                  <a:pt x="21543" y="12335"/>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5"/>
                </a:lnTo>
                <a:cubicBezTo>
                  <a:pt x="23" y="12415"/>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5"/>
                  <a:pt x="21543" y="123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39" name="Shape 2839"/>
          <p:cNvSpPr/>
          <p:nvPr/>
        </p:nvSpPr>
        <p:spPr>
          <a:xfrm>
            <a:off x="3860211"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4" y="14040"/>
                </a:cubicBezTo>
                <a:lnTo>
                  <a:pt x="20618" y="14040"/>
                </a:lnTo>
                <a:cubicBezTo>
                  <a:pt x="20618" y="14040"/>
                  <a:pt x="20618" y="20520"/>
                  <a:pt x="20618" y="20520"/>
                </a:cubicBezTo>
                <a:close/>
                <a:moveTo>
                  <a:pt x="21543" y="13261"/>
                </a:moveTo>
                <a:lnTo>
                  <a:pt x="21548" y="13259"/>
                </a:lnTo>
                <a:lnTo>
                  <a:pt x="16639" y="2459"/>
                </a:lnTo>
                <a:lnTo>
                  <a:pt x="16634" y="2461"/>
                </a:lnTo>
                <a:cubicBezTo>
                  <a:pt x="16554" y="2284"/>
                  <a:pt x="16392" y="2160"/>
                  <a:pt x="16200" y="2160"/>
                </a:cubicBezTo>
                <a:lnTo>
                  <a:pt x="12764" y="2160"/>
                </a:lnTo>
                <a:cubicBezTo>
                  <a:pt x="12492" y="2160"/>
                  <a:pt x="12273" y="2402"/>
                  <a:pt x="12273" y="2700"/>
                </a:cubicBezTo>
                <a:cubicBezTo>
                  <a:pt x="12273" y="2999"/>
                  <a:pt x="12492" y="3240"/>
                  <a:pt x="12764"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8836" y="3240"/>
                </a:lnTo>
                <a:cubicBezTo>
                  <a:pt x="9108" y="3240"/>
                  <a:pt x="9327" y="2999"/>
                  <a:pt x="9327" y="2700"/>
                </a:cubicBezTo>
                <a:cubicBezTo>
                  <a:pt x="9327" y="2402"/>
                  <a:pt x="9108" y="2160"/>
                  <a:pt x="8836"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3" y="13261"/>
                </a:cubicBezTo>
                <a:moveTo>
                  <a:pt x="7855" y="8640"/>
                </a:moveTo>
                <a:cubicBezTo>
                  <a:pt x="7583" y="8640"/>
                  <a:pt x="7364" y="8882"/>
                  <a:pt x="7364" y="9180"/>
                </a:cubicBezTo>
                <a:cubicBezTo>
                  <a:pt x="7364" y="9329"/>
                  <a:pt x="7418" y="9464"/>
                  <a:pt x="7507" y="9562"/>
                </a:cubicBezTo>
                <a:lnTo>
                  <a:pt x="10453" y="12802"/>
                </a:lnTo>
                <a:cubicBezTo>
                  <a:pt x="10542" y="12900"/>
                  <a:pt x="10665" y="12960"/>
                  <a:pt x="10800" y="12960"/>
                </a:cubicBezTo>
                <a:cubicBezTo>
                  <a:pt x="10936" y="12960"/>
                  <a:pt x="11058" y="12900"/>
                  <a:pt x="11147" y="12802"/>
                </a:cubicBezTo>
                <a:lnTo>
                  <a:pt x="14093" y="9562"/>
                </a:lnTo>
                <a:cubicBezTo>
                  <a:pt x="14182" y="9464"/>
                  <a:pt x="14236" y="9329"/>
                  <a:pt x="14236" y="9180"/>
                </a:cubicBezTo>
                <a:cubicBezTo>
                  <a:pt x="14236" y="8882"/>
                  <a:pt x="14017" y="8640"/>
                  <a:pt x="13745" y="8640"/>
                </a:cubicBezTo>
                <a:cubicBezTo>
                  <a:pt x="13610" y="8640"/>
                  <a:pt x="13487" y="8701"/>
                  <a:pt x="13398" y="8798"/>
                </a:cubicBezTo>
                <a:lnTo>
                  <a:pt x="11291" y="11116"/>
                </a:lnTo>
                <a:lnTo>
                  <a:pt x="11291" y="540"/>
                </a:lnTo>
                <a:cubicBezTo>
                  <a:pt x="11291" y="242"/>
                  <a:pt x="11071" y="0"/>
                  <a:pt x="10800" y="0"/>
                </a:cubicBezTo>
                <a:cubicBezTo>
                  <a:pt x="10529" y="0"/>
                  <a:pt x="10309" y="242"/>
                  <a:pt x="10309" y="540"/>
                </a:cubicBezTo>
                <a:lnTo>
                  <a:pt x="10309" y="11116"/>
                </a:lnTo>
                <a:lnTo>
                  <a:pt x="8202" y="8798"/>
                </a:lnTo>
                <a:cubicBezTo>
                  <a:pt x="8113" y="8701"/>
                  <a:pt x="7990" y="8640"/>
                  <a:pt x="7855" y="86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0" name="Shape 2840"/>
          <p:cNvSpPr/>
          <p:nvPr/>
        </p:nvSpPr>
        <p:spPr>
          <a:xfrm>
            <a:off x="4260157" y="2507808"/>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20618" y="20520"/>
                </a:moveTo>
                <a:lnTo>
                  <a:pt x="982" y="20520"/>
                </a:lnTo>
                <a:lnTo>
                  <a:pt x="982" y="14040"/>
                </a:lnTo>
                <a:lnTo>
                  <a:pt x="6907" y="14040"/>
                </a:lnTo>
                <a:cubicBezTo>
                  <a:pt x="7149" y="16170"/>
                  <a:pt x="8798" y="17820"/>
                  <a:pt x="10800" y="17820"/>
                </a:cubicBezTo>
                <a:cubicBezTo>
                  <a:pt x="12802" y="17820"/>
                  <a:pt x="14451" y="16170"/>
                  <a:pt x="14693" y="14040"/>
                </a:cubicBezTo>
                <a:lnTo>
                  <a:pt x="20618" y="14040"/>
                </a:lnTo>
                <a:cubicBezTo>
                  <a:pt x="20618" y="14040"/>
                  <a:pt x="20618" y="20520"/>
                  <a:pt x="20618" y="20520"/>
                </a:cubicBezTo>
                <a:close/>
                <a:moveTo>
                  <a:pt x="21544" y="13261"/>
                </a:moveTo>
                <a:lnTo>
                  <a:pt x="21548" y="13259"/>
                </a:lnTo>
                <a:lnTo>
                  <a:pt x="16639" y="2459"/>
                </a:lnTo>
                <a:lnTo>
                  <a:pt x="16635" y="2461"/>
                </a:lnTo>
                <a:cubicBezTo>
                  <a:pt x="16554" y="2284"/>
                  <a:pt x="16392" y="2160"/>
                  <a:pt x="16200" y="2160"/>
                </a:cubicBezTo>
                <a:lnTo>
                  <a:pt x="15709" y="2160"/>
                </a:lnTo>
                <a:cubicBezTo>
                  <a:pt x="15438" y="2160"/>
                  <a:pt x="15218" y="2402"/>
                  <a:pt x="15218" y="2700"/>
                </a:cubicBezTo>
                <a:cubicBezTo>
                  <a:pt x="15218" y="2999"/>
                  <a:pt x="15438" y="3240"/>
                  <a:pt x="15709" y="3240"/>
                </a:cubicBezTo>
                <a:lnTo>
                  <a:pt x="15897" y="3240"/>
                </a:lnTo>
                <a:lnTo>
                  <a:pt x="20315" y="12960"/>
                </a:lnTo>
                <a:lnTo>
                  <a:pt x="14236" y="12960"/>
                </a:lnTo>
                <a:cubicBezTo>
                  <a:pt x="13965" y="12960"/>
                  <a:pt x="13745" y="13202"/>
                  <a:pt x="13745" y="13500"/>
                </a:cubicBezTo>
                <a:cubicBezTo>
                  <a:pt x="13745" y="15290"/>
                  <a:pt x="12426" y="16740"/>
                  <a:pt x="10800" y="16740"/>
                </a:cubicBezTo>
                <a:cubicBezTo>
                  <a:pt x="9173" y="16740"/>
                  <a:pt x="7855" y="15290"/>
                  <a:pt x="7855" y="13500"/>
                </a:cubicBezTo>
                <a:cubicBezTo>
                  <a:pt x="7855" y="13202"/>
                  <a:pt x="7635" y="12960"/>
                  <a:pt x="7364" y="12960"/>
                </a:cubicBezTo>
                <a:lnTo>
                  <a:pt x="1285" y="12960"/>
                </a:lnTo>
                <a:lnTo>
                  <a:pt x="5703" y="3240"/>
                </a:lnTo>
                <a:lnTo>
                  <a:pt x="5891" y="3240"/>
                </a:lnTo>
                <a:cubicBezTo>
                  <a:pt x="6162" y="3240"/>
                  <a:pt x="6382" y="2999"/>
                  <a:pt x="6382" y="2700"/>
                </a:cubicBezTo>
                <a:cubicBezTo>
                  <a:pt x="6382" y="2402"/>
                  <a:pt x="6162" y="2160"/>
                  <a:pt x="5891" y="2160"/>
                </a:cubicBezTo>
                <a:lnTo>
                  <a:pt x="5400" y="2160"/>
                </a:lnTo>
                <a:cubicBezTo>
                  <a:pt x="5208" y="2160"/>
                  <a:pt x="5046" y="2284"/>
                  <a:pt x="4966" y="2461"/>
                </a:cubicBezTo>
                <a:lnTo>
                  <a:pt x="4961" y="2459"/>
                </a:lnTo>
                <a:lnTo>
                  <a:pt x="52" y="13259"/>
                </a:lnTo>
                <a:lnTo>
                  <a:pt x="57" y="13261"/>
                </a:lnTo>
                <a:cubicBezTo>
                  <a:pt x="23" y="13334"/>
                  <a:pt x="0" y="13413"/>
                  <a:pt x="0" y="13500"/>
                </a:cubicBezTo>
                <a:lnTo>
                  <a:pt x="0" y="21060"/>
                </a:lnTo>
                <a:cubicBezTo>
                  <a:pt x="0" y="21359"/>
                  <a:pt x="220" y="21600"/>
                  <a:pt x="491" y="21600"/>
                </a:cubicBezTo>
                <a:lnTo>
                  <a:pt x="21109" y="21600"/>
                </a:lnTo>
                <a:cubicBezTo>
                  <a:pt x="21380" y="21600"/>
                  <a:pt x="21600" y="21359"/>
                  <a:pt x="21600" y="21060"/>
                </a:cubicBezTo>
                <a:lnTo>
                  <a:pt x="21600" y="13500"/>
                </a:lnTo>
                <a:cubicBezTo>
                  <a:pt x="21600" y="13413"/>
                  <a:pt x="21577" y="13334"/>
                  <a:pt x="21544" y="13261"/>
                </a:cubicBezTo>
                <a:moveTo>
                  <a:pt x="7855" y="4320"/>
                </a:moveTo>
                <a:cubicBezTo>
                  <a:pt x="7990" y="4320"/>
                  <a:pt x="8113" y="4260"/>
                  <a:pt x="8202" y="4162"/>
                </a:cubicBezTo>
                <a:lnTo>
                  <a:pt x="10309" y="1844"/>
                </a:lnTo>
                <a:lnTo>
                  <a:pt x="10309" y="12420"/>
                </a:lnTo>
                <a:cubicBezTo>
                  <a:pt x="10309" y="12719"/>
                  <a:pt x="10529" y="12960"/>
                  <a:pt x="10800" y="12960"/>
                </a:cubicBezTo>
                <a:cubicBezTo>
                  <a:pt x="11071" y="12960"/>
                  <a:pt x="11291" y="12719"/>
                  <a:pt x="11291" y="12420"/>
                </a:cubicBezTo>
                <a:lnTo>
                  <a:pt x="11291" y="1844"/>
                </a:lnTo>
                <a:lnTo>
                  <a:pt x="13398" y="4162"/>
                </a:lnTo>
                <a:cubicBezTo>
                  <a:pt x="13487" y="4260"/>
                  <a:pt x="13610" y="4320"/>
                  <a:pt x="13745" y="4320"/>
                </a:cubicBezTo>
                <a:cubicBezTo>
                  <a:pt x="14017" y="4320"/>
                  <a:pt x="14236" y="4079"/>
                  <a:pt x="14236" y="3780"/>
                </a:cubicBezTo>
                <a:cubicBezTo>
                  <a:pt x="14236" y="3631"/>
                  <a:pt x="14181" y="3497"/>
                  <a:pt x="14093" y="3398"/>
                </a:cubicBezTo>
                <a:lnTo>
                  <a:pt x="11147" y="158"/>
                </a:lnTo>
                <a:cubicBezTo>
                  <a:pt x="11058" y="61"/>
                  <a:pt x="10936" y="0"/>
                  <a:pt x="10800" y="0"/>
                </a:cubicBezTo>
                <a:cubicBezTo>
                  <a:pt x="10664" y="0"/>
                  <a:pt x="10542" y="61"/>
                  <a:pt x="10453" y="158"/>
                </a:cubicBezTo>
                <a:lnTo>
                  <a:pt x="7507" y="3398"/>
                </a:lnTo>
                <a:cubicBezTo>
                  <a:pt x="7419" y="3497"/>
                  <a:pt x="7364" y="3631"/>
                  <a:pt x="7364" y="3780"/>
                </a:cubicBezTo>
                <a:cubicBezTo>
                  <a:pt x="7364" y="4079"/>
                  <a:pt x="7583" y="4320"/>
                  <a:pt x="7855" y="432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1" name="Shape 2841"/>
          <p:cNvSpPr/>
          <p:nvPr/>
        </p:nvSpPr>
        <p:spPr>
          <a:xfrm>
            <a:off x="660644" y="2917276"/>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20618" y="20400"/>
                </a:moveTo>
                <a:lnTo>
                  <a:pt x="982" y="20400"/>
                </a:lnTo>
                <a:lnTo>
                  <a:pt x="982" y="13200"/>
                </a:lnTo>
                <a:lnTo>
                  <a:pt x="6907" y="13200"/>
                </a:lnTo>
                <a:cubicBezTo>
                  <a:pt x="7149" y="15567"/>
                  <a:pt x="8798" y="17400"/>
                  <a:pt x="10800" y="17400"/>
                </a:cubicBezTo>
                <a:cubicBezTo>
                  <a:pt x="12802" y="17400"/>
                  <a:pt x="14451" y="15567"/>
                  <a:pt x="14693" y="13200"/>
                </a:cubicBezTo>
                <a:lnTo>
                  <a:pt x="20618" y="13200"/>
                </a:lnTo>
                <a:cubicBezTo>
                  <a:pt x="20618" y="13200"/>
                  <a:pt x="20618" y="20400"/>
                  <a:pt x="20618" y="20400"/>
                </a:cubicBezTo>
                <a:close/>
                <a:moveTo>
                  <a:pt x="5703" y="1200"/>
                </a:moveTo>
                <a:lnTo>
                  <a:pt x="15897" y="1200"/>
                </a:lnTo>
                <a:lnTo>
                  <a:pt x="20315" y="12000"/>
                </a:lnTo>
                <a:lnTo>
                  <a:pt x="14236" y="12000"/>
                </a:lnTo>
                <a:cubicBezTo>
                  <a:pt x="13966" y="12000"/>
                  <a:pt x="13745" y="12269"/>
                  <a:pt x="13745" y="12600"/>
                </a:cubicBezTo>
                <a:cubicBezTo>
                  <a:pt x="13745" y="14588"/>
                  <a:pt x="12427" y="16200"/>
                  <a:pt x="10800" y="16200"/>
                </a:cubicBezTo>
                <a:cubicBezTo>
                  <a:pt x="9173" y="16200"/>
                  <a:pt x="7855" y="14588"/>
                  <a:pt x="7855" y="12600"/>
                </a:cubicBezTo>
                <a:cubicBezTo>
                  <a:pt x="7855" y="12269"/>
                  <a:pt x="7634" y="12000"/>
                  <a:pt x="7364" y="12000"/>
                </a:cubicBezTo>
                <a:lnTo>
                  <a:pt x="1285" y="12000"/>
                </a:lnTo>
                <a:cubicBezTo>
                  <a:pt x="1285" y="12000"/>
                  <a:pt x="5703" y="1200"/>
                  <a:pt x="5703" y="1200"/>
                </a:cubicBezTo>
                <a:close/>
                <a:moveTo>
                  <a:pt x="21543" y="12334"/>
                </a:moveTo>
                <a:lnTo>
                  <a:pt x="21548" y="12332"/>
                </a:lnTo>
                <a:lnTo>
                  <a:pt x="16639" y="332"/>
                </a:lnTo>
                <a:lnTo>
                  <a:pt x="16634" y="335"/>
                </a:lnTo>
                <a:cubicBezTo>
                  <a:pt x="16554" y="138"/>
                  <a:pt x="16392" y="0"/>
                  <a:pt x="16200" y="0"/>
                </a:cubicBezTo>
                <a:lnTo>
                  <a:pt x="5400" y="0"/>
                </a:lnTo>
                <a:cubicBezTo>
                  <a:pt x="5208" y="0"/>
                  <a:pt x="5046" y="138"/>
                  <a:pt x="4966" y="335"/>
                </a:cubicBezTo>
                <a:lnTo>
                  <a:pt x="4961" y="332"/>
                </a:lnTo>
                <a:lnTo>
                  <a:pt x="52" y="12332"/>
                </a:lnTo>
                <a:lnTo>
                  <a:pt x="57" y="12334"/>
                </a:lnTo>
                <a:cubicBezTo>
                  <a:pt x="23" y="12416"/>
                  <a:pt x="0" y="12503"/>
                  <a:pt x="0" y="12600"/>
                </a:cubicBezTo>
                <a:lnTo>
                  <a:pt x="0" y="21000"/>
                </a:lnTo>
                <a:cubicBezTo>
                  <a:pt x="0" y="21332"/>
                  <a:pt x="220" y="21600"/>
                  <a:pt x="491" y="21600"/>
                </a:cubicBezTo>
                <a:lnTo>
                  <a:pt x="21109" y="21600"/>
                </a:lnTo>
                <a:cubicBezTo>
                  <a:pt x="21380" y="21600"/>
                  <a:pt x="21600" y="21332"/>
                  <a:pt x="21600" y="21000"/>
                </a:cubicBezTo>
                <a:lnTo>
                  <a:pt x="21600" y="12600"/>
                </a:lnTo>
                <a:cubicBezTo>
                  <a:pt x="21600" y="12503"/>
                  <a:pt x="21577" y="12416"/>
                  <a:pt x="21543" y="12334"/>
                </a:cubicBezTo>
                <a:moveTo>
                  <a:pt x="16691" y="9000"/>
                </a:moveTo>
                <a:cubicBezTo>
                  <a:pt x="16691" y="8669"/>
                  <a:pt x="16471" y="8400"/>
                  <a:pt x="16200" y="8400"/>
                </a:cubicBezTo>
                <a:lnTo>
                  <a:pt x="5400" y="8400"/>
                </a:lnTo>
                <a:cubicBezTo>
                  <a:pt x="5129" y="8400"/>
                  <a:pt x="4909" y="8669"/>
                  <a:pt x="4909" y="9000"/>
                </a:cubicBezTo>
                <a:cubicBezTo>
                  <a:pt x="4909" y="9332"/>
                  <a:pt x="5129" y="9600"/>
                  <a:pt x="5400" y="9600"/>
                </a:cubicBezTo>
                <a:lnTo>
                  <a:pt x="16200" y="9600"/>
                </a:lnTo>
                <a:cubicBezTo>
                  <a:pt x="16471" y="9600"/>
                  <a:pt x="16691" y="9332"/>
                  <a:pt x="16691" y="9000"/>
                </a:cubicBezTo>
                <a:moveTo>
                  <a:pt x="6382" y="7200"/>
                </a:moveTo>
                <a:lnTo>
                  <a:pt x="15218" y="7200"/>
                </a:lnTo>
                <a:cubicBezTo>
                  <a:pt x="15489" y="7200"/>
                  <a:pt x="15709" y="6932"/>
                  <a:pt x="15709" y="6600"/>
                </a:cubicBezTo>
                <a:cubicBezTo>
                  <a:pt x="15709" y="6269"/>
                  <a:pt x="15489" y="6000"/>
                  <a:pt x="15218" y="6000"/>
                </a:cubicBezTo>
                <a:lnTo>
                  <a:pt x="6382" y="6000"/>
                </a:lnTo>
                <a:cubicBezTo>
                  <a:pt x="6111" y="6000"/>
                  <a:pt x="5891" y="6269"/>
                  <a:pt x="5891" y="6600"/>
                </a:cubicBezTo>
                <a:cubicBezTo>
                  <a:pt x="5891" y="6932"/>
                  <a:pt x="6111" y="7200"/>
                  <a:pt x="6382" y="7200"/>
                </a:cubicBezTo>
                <a:moveTo>
                  <a:pt x="7364" y="4800"/>
                </a:moveTo>
                <a:lnTo>
                  <a:pt x="14236" y="4800"/>
                </a:lnTo>
                <a:cubicBezTo>
                  <a:pt x="14507" y="4800"/>
                  <a:pt x="14727" y="4532"/>
                  <a:pt x="14727" y="4200"/>
                </a:cubicBezTo>
                <a:cubicBezTo>
                  <a:pt x="14727" y="3869"/>
                  <a:pt x="14507" y="3600"/>
                  <a:pt x="14236" y="3600"/>
                </a:cubicBezTo>
                <a:lnTo>
                  <a:pt x="7364" y="3600"/>
                </a:lnTo>
                <a:cubicBezTo>
                  <a:pt x="7093" y="3600"/>
                  <a:pt x="6873" y="3869"/>
                  <a:pt x="6873" y="4200"/>
                </a:cubicBezTo>
                <a:cubicBezTo>
                  <a:pt x="6873" y="4532"/>
                  <a:pt x="7093" y="4800"/>
                  <a:pt x="7364" y="4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2" name="Shape 2842"/>
          <p:cNvSpPr/>
          <p:nvPr/>
        </p:nvSpPr>
        <p:spPr>
          <a:xfrm>
            <a:off x="1060590"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1782"/>
                </a:moveTo>
                <a:lnTo>
                  <a:pt x="982" y="11782"/>
                </a:lnTo>
                <a:lnTo>
                  <a:pt x="982" y="6873"/>
                </a:lnTo>
                <a:lnTo>
                  <a:pt x="6907" y="6873"/>
                </a:lnTo>
                <a:cubicBezTo>
                  <a:pt x="7149" y="8810"/>
                  <a:pt x="8798" y="10309"/>
                  <a:pt x="10800" y="10309"/>
                </a:cubicBezTo>
                <a:cubicBezTo>
                  <a:pt x="12802" y="10309"/>
                  <a:pt x="14451" y="8810"/>
                  <a:pt x="14693" y="6873"/>
                </a:cubicBezTo>
                <a:lnTo>
                  <a:pt x="20618" y="6873"/>
                </a:lnTo>
                <a:cubicBezTo>
                  <a:pt x="20618" y="6873"/>
                  <a:pt x="20618" y="11782"/>
                  <a:pt x="20618" y="11782"/>
                </a:cubicBezTo>
                <a:close/>
                <a:moveTo>
                  <a:pt x="20264" y="14727"/>
                </a:moveTo>
                <a:lnTo>
                  <a:pt x="14236" y="14727"/>
                </a:lnTo>
                <a:cubicBezTo>
                  <a:pt x="13966" y="14727"/>
                  <a:pt x="13745" y="14947"/>
                  <a:pt x="13745" y="15218"/>
                </a:cubicBezTo>
                <a:cubicBezTo>
                  <a:pt x="13745" y="16845"/>
                  <a:pt x="12427" y="18164"/>
                  <a:pt x="10800" y="18164"/>
                </a:cubicBezTo>
                <a:cubicBezTo>
                  <a:pt x="9173" y="18164"/>
                  <a:pt x="7855" y="16845"/>
                  <a:pt x="7855" y="15218"/>
                </a:cubicBezTo>
                <a:cubicBezTo>
                  <a:pt x="7855" y="14947"/>
                  <a:pt x="7634" y="14727"/>
                  <a:pt x="7364" y="14727"/>
                </a:cubicBezTo>
                <a:lnTo>
                  <a:pt x="1336" y="14727"/>
                </a:lnTo>
                <a:lnTo>
                  <a:pt x="2682" y="12764"/>
                </a:lnTo>
                <a:lnTo>
                  <a:pt x="18918" y="12764"/>
                </a:lnTo>
                <a:cubicBezTo>
                  <a:pt x="18918" y="12764"/>
                  <a:pt x="20264" y="14727"/>
                  <a:pt x="20264" y="14727"/>
                </a:cubicBezTo>
                <a:close/>
                <a:moveTo>
                  <a:pt x="20618" y="20618"/>
                </a:moveTo>
                <a:lnTo>
                  <a:pt x="982" y="20618"/>
                </a:lnTo>
                <a:lnTo>
                  <a:pt x="982" y="15709"/>
                </a:lnTo>
                <a:lnTo>
                  <a:pt x="6907" y="15709"/>
                </a:lnTo>
                <a:cubicBezTo>
                  <a:pt x="7149" y="17646"/>
                  <a:pt x="8798" y="19145"/>
                  <a:pt x="10800" y="19145"/>
                </a:cubicBezTo>
                <a:cubicBezTo>
                  <a:pt x="12802" y="19145"/>
                  <a:pt x="14451" y="17646"/>
                  <a:pt x="14693" y="15709"/>
                </a:cubicBezTo>
                <a:lnTo>
                  <a:pt x="20618" y="15709"/>
                </a:lnTo>
                <a:cubicBezTo>
                  <a:pt x="20618" y="15709"/>
                  <a:pt x="20618" y="20618"/>
                  <a:pt x="20618" y="20618"/>
                </a:cubicBezTo>
                <a:close/>
                <a:moveTo>
                  <a:pt x="4702" y="982"/>
                </a:moveTo>
                <a:lnTo>
                  <a:pt x="16898" y="982"/>
                </a:lnTo>
                <a:lnTo>
                  <a:pt x="20264" y="5891"/>
                </a:lnTo>
                <a:lnTo>
                  <a:pt x="14236" y="5891"/>
                </a:lnTo>
                <a:cubicBezTo>
                  <a:pt x="13966" y="5891"/>
                  <a:pt x="13745" y="6111"/>
                  <a:pt x="13745" y="6382"/>
                </a:cubicBezTo>
                <a:cubicBezTo>
                  <a:pt x="13745" y="8009"/>
                  <a:pt x="12427" y="9327"/>
                  <a:pt x="10800" y="9327"/>
                </a:cubicBezTo>
                <a:cubicBezTo>
                  <a:pt x="9173" y="9327"/>
                  <a:pt x="7855" y="8009"/>
                  <a:pt x="7855" y="6382"/>
                </a:cubicBezTo>
                <a:cubicBezTo>
                  <a:pt x="7855" y="6111"/>
                  <a:pt x="7634" y="5891"/>
                  <a:pt x="7364" y="5891"/>
                </a:cubicBezTo>
                <a:lnTo>
                  <a:pt x="1336" y="5891"/>
                </a:lnTo>
                <a:cubicBezTo>
                  <a:pt x="1336" y="5891"/>
                  <a:pt x="4702" y="982"/>
                  <a:pt x="4702" y="982"/>
                </a:cubicBezTo>
                <a:close/>
                <a:moveTo>
                  <a:pt x="21600" y="12273"/>
                </a:moveTo>
                <a:lnTo>
                  <a:pt x="21600" y="6382"/>
                </a:lnTo>
                <a:cubicBezTo>
                  <a:pt x="21600" y="6303"/>
                  <a:pt x="21577" y="6231"/>
                  <a:pt x="21543" y="6165"/>
                </a:cubicBezTo>
                <a:lnTo>
                  <a:pt x="21548" y="6162"/>
                </a:lnTo>
                <a:lnTo>
                  <a:pt x="17621" y="272"/>
                </a:lnTo>
                <a:lnTo>
                  <a:pt x="17616" y="274"/>
                </a:lnTo>
                <a:cubicBezTo>
                  <a:pt x="17536" y="113"/>
                  <a:pt x="17374" y="0"/>
                  <a:pt x="17182" y="0"/>
                </a:cubicBezTo>
                <a:lnTo>
                  <a:pt x="4418" y="0"/>
                </a:lnTo>
                <a:cubicBezTo>
                  <a:pt x="4226" y="0"/>
                  <a:pt x="4064" y="113"/>
                  <a:pt x="3984" y="274"/>
                </a:cubicBezTo>
                <a:lnTo>
                  <a:pt x="3979" y="272"/>
                </a:lnTo>
                <a:lnTo>
                  <a:pt x="52" y="6162"/>
                </a:lnTo>
                <a:lnTo>
                  <a:pt x="57" y="6165"/>
                </a:lnTo>
                <a:cubicBezTo>
                  <a:pt x="23" y="6231"/>
                  <a:pt x="0" y="6303"/>
                  <a:pt x="0" y="6382"/>
                </a:cubicBezTo>
                <a:lnTo>
                  <a:pt x="0" y="12273"/>
                </a:lnTo>
                <a:cubicBezTo>
                  <a:pt x="0" y="12544"/>
                  <a:pt x="220" y="12764"/>
                  <a:pt x="491" y="12764"/>
                </a:cubicBezTo>
                <a:lnTo>
                  <a:pt x="1542" y="12764"/>
                </a:lnTo>
                <a:lnTo>
                  <a:pt x="52" y="14999"/>
                </a:lnTo>
                <a:lnTo>
                  <a:pt x="57" y="15001"/>
                </a:lnTo>
                <a:cubicBezTo>
                  <a:pt x="23" y="15067"/>
                  <a:pt x="0" y="15139"/>
                  <a:pt x="0" y="15218"/>
                </a:cubicBezTo>
                <a:lnTo>
                  <a:pt x="0" y="21109"/>
                </a:lnTo>
                <a:cubicBezTo>
                  <a:pt x="0" y="21380"/>
                  <a:pt x="220" y="21600"/>
                  <a:pt x="491" y="21600"/>
                </a:cubicBezTo>
                <a:lnTo>
                  <a:pt x="21109" y="21600"/>
                </a:lnTo>
                <a:cubicBezTo>
                  <a:pt x="21380" y="21600"/>
                  <a:pt x="21600" y="21380"/>
                  <a:pt x="21600" y="21109"/>
                </a:cubicBezTo>
                <a:lnTo>
                  <a:pt x="21600" y="15218"/>
                </a:lnTo>
                <a:cubicBezTo>
                  <a:pt x="21600" y="15139"/>
                  <a:pt x="21577" y="15067"/>
                  <a:pt x="21543" y="15001"/>
                </a:cubicBezTo>
                <a:lnTo>
                  <a:pt x="21548" y="14999"/>
                </a:lnTo>
                <a:lnTo>
                  <a:pt x="20058" y="12764"/>
                </a:lnTo>
                <a:lnTo>
                  <a:pt x="21109" y="12764"/>
                </a:lnTo>
                <a:cubicBezTo>
                  <a:pt x="21380" y="12764"/>
                  <a:pt x="21600" y="12544"/>
                  <a:pt x="216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3" name="Shape 2843"/>
          <p:cNvSpPr/>
          <p:nvPr/>
        </p:nvSpPr>
        <p:spPr>
          <a:xfrm>
            <a:off x="146053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cubicBezTo>
                  <a:pt x="20838" y="10309"/>
                  <a:pt x="20618" y="10529"/>
                  <a:pt x="20618" y="10800"/>
                </a:cubicBezTo>
                <a:cubicBezTo>
                  <a:pt x="20618" y="16223"/>
                  <a:pt x="16223" y="20618"/>
                  <a:pt x="10800" y="20618"/>
                </a:cubicBezTo>
                <a:cubicBezTo>
                  <a:pt x="5377" y="20618"/>
                  <a:pt x="982" y="16223"/>
                  <a:pt x="982" y="10800"/>
                </a:cubicBezTo>
                <a:cubicBezTo>
                  <a:pt x="982" y="5378"/>
                  <a:pt x="5377" y="982"/>
                  <a:pt x="10800" y="982"/>
                </a:cubicBez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6765"/>
                  <a:pt x="4836"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4" name="Shape 2844"/>
          <p:cNvSpPr/>
          <p:nvPr/>
        </p:nvSpPr>
        <p:spPr>
          <a:xfrm>
            <a:off x="18604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982"/>
                </a:moveTo>
                <a:cubicBezTo>
                  <a:pt x="14012" y="982"/>
                  <a:pt x="16860" y="2526"/>
                  <a:pt x="18652" y="4909"/>
                </a:cubicBezTo>
                <a:lnTo>
                  <a:pt x="14727" y="4909"/>
                </a:lnTo>
                <a:cubicBezTo>
                  <a:pt x="14456" y="4909"/>
                  <a:pt x="14236" y="5129"/>
                  <a:pt x="14236" y="5400"/>
                </a:cubicBezTo>
                <a:cubicBezTo>
                  <a:pt x="14236" y="5672"/>
                  <a:pt x="14456" y="5891"/>
                  <a:pt x="14727" y="5891"/>
                </a:cubicBezTo>
                <a:lnTo>
                  <a:pt x="19636" y="5891"/>
                </a:lnTo>
                <a:cubicBezTo>
                  <a:pt x="19907" y="5891"/>
                  <a:pt x="20127" y="5672"/>
                  <a:pt x="20127" y="5400"/>
                </a:cubicBezTo>
                <a:lnTo>
                  <a:pt x="20127" y="491"/>
                </a:lnTo>
                <a:cubicBezTo>
                  <a:pt x="20127" y="220"/>
                  <a:pt x="19907" y="0"/>
                  <a:pt x="19636" y="0"/>
                </a:cubicBezTo>
                <a:cubicBezTo>
                  <a:pt x="19366" y="0"/>
                  <a:pt x="19145" y="220"/>
                  <a:pt x="19145" y="491"/>
                </a:cubicBezTo>
                <a:lnTo>
                  <a:pt x="19145" y="3962"/>
                </a:lnTo>
                <a:cubicBezTo>
                  <a:pt x="17166" y="1546"/>
                  <a:pt x="14167" y="0"/>
                  <a:pt x="10800" y="0"/>
                </a:cubicBezTo>
                <a:cubicBezTo>
                  <a:pt x="4836" y="0"/>
                  <a:pt x="0" y="4836"/>
                  <a:pt x="0" y="10800"/>
                </a:cubicBezTo>
                <a:cubicBezTo>
                  <a:pt x="0" y="11071"/>
                  <a:pt x="220" y="11291"/>
                  <a:pt x="491" y="11291"/>
                </a:cubicBezTo>
                <a:cubicBezTo>
                  <a:pt x="762" y="11291"/>
                  <a:pt x="982" y="11071"/>
                  <a:pt x="982" y="10800"/>
                </a:cubicBezTo>
                <a:cubicBezTo>
                  <a:pt x="982" y="5378"/>
                  <a:pt x="5377" y="982"/>
                  <a:pt x="10800" y="982"/>
                </a:cubicBezTo>
                <a:moveTo>
                  <a:pt x="21109" y="10309"/>
                </a:moveTo>
                <a:cubicBezTo>
                  <a:pt x="20838" y="10309"/>
                  <a:pt x="20618" y="10529"/>
                  <a:pt x="20618" y="10800"/>
                </a:cubicBezTo>
                <a:cubicBezTo>
                  <a:pt x="20618" y="16223"/>
                  <a:pt x="16223" y="20618"/>
                  <a:pt x="10800" y="20618"/>
                </a:cubicBezTo>
                <a:cubicBezTo>
                  <a:pt x="7588" y="20618"/>
                  <a:pt x="4740" y="19075"/>
                  <a:pt x="2948" y="16691"/>
                </a:cubicBezTo>
                <a:lnTo>
                  <a:pt x="6873" y="16691"/>
                </a:lnTo>
                <a:cubicBezTo>
                  <a:pt x="7144" y="16691"/>
                  <a:pt x="7364" y="16471"/>
                  <a:pt x="7364" y="16200"/>
                </a:cubicBezTo>
                <a:cubicBezTo>
                  <a:pt x="7364" y="15929"/>
                  <a:pt x="7144" y="15709"/>
                  <a:pt x="6873" y="15709"/>
                </a:cubicBezTo>
                <a:lnTo>
                  <a:pt x="1964" y="15709"/>
                </a:lnTo>
                <a:cubicBezTo>
                  <a:pt x="1693" y="15709"/>
                  <a:pt x="1473" y="15929"/>
                  <a:pt x="1473" y="16200"/>
                </a:cubicBezTo>
                <a:lnTo>
                  <a:pt x="1473" y="21109"/>
                </a:lnTo>
                <a:cubicBezTo>
                  <a:pt x="1473" y="21380"/>
                  <a:pt x="1693" y="21600"/>
                  <a:pt x="1964" y="21600"/>
                </a:cubicBezTo>
                <a:cubicBezTo>
                  <a:pt x="2234" y="21600"/>
                  <a:pt x="2455" y="21380"/>
                  <a:pt x="2455" y="21109"/>
                </a:cubicBezTo>
                <a:lnTo>
                  <a:pt x="2455" y="17639"/>
                </a:lnTo>
                <a:cubicBezTo>
                  <a:pt x="4434" y="20054"/>
                  <a:pt x="7433" y="21600"/>
                  <a:pt x="10800" y="21600"/>
                </a:cubicBezTo>
                <a:cubicBezTo>
                  <a:pt x="16764" y="21600"/>
                  <a:pt x="21600" y="16765"/>
                  <a:pt x="21600" y="10800"/>
                </a:cubicBezTo>
                <a:cubicBezTo>
                  <a:pt x="21600" y="10529"/>
                  <a:pt x="21380" y="10309"/>
                  <a:pt x="21109" y="103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5" name="Shape 2845"/>
          <p:cNvSpPr/>
          <p:nvPr/>
        </p:nvSpPr>
        <p:spPr>
          <a:xfrm>
            <a:off x="2279472"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000" y="1408"/>
                </a:moveTo>
                <a:lnTo>
                  <a:pt x="17518" y="4418"/>
                </a:lnTo>
                <a:lnTo>
                  <a:pt x="12000" y="7429"/>
                </a:lnTo>
                <a:cubicBezTo>
                  <a:pt x="12000" y="7429"/>
                  <a:pt x="12000" y="1408"/>
                  <a:pt x="12000" y="1408"/>
                </a:cubicBezTo>
                <a:close/>
                <a:moveTo>
                  <a:pt x="21000" y="12273"/>
                </a:moveTo>
                <a:cubicBezTo>
                  <a:pt x="20669"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0800" y="8345"/>
                </a:lnTo>
                <a:cubicBezTo>
                  <a:pt x="10800" y="8617"/>
                  <a:pt x="11069" y="8836"/>
                  <a:pt x="11400" y="8836"/>
                </a:cubicBezTo>
                <a:cubicBezTo>
                  <a:pt x="11524" y="8836"/>
                  <a:pt x="11631" y="8799"/>
                  <a:pt x="11726" y="8747"/>
                </a:cubicBezTo>
                <a:lnTo>
                  <a:pt x="11733" y="8754"/>
                </a:lnTo>
                <a:lnTo>
                  <a:pt x="18933" y="4827"/>
                </a:lnTo>
                <a:lnTo>
                  <a:pt x="18926" y="4819"/>
                </a:lnTo>
                <a:cubicBezTo>
                  <a:pt x="19087" y="4731"/>
                  <a:pt x="19200" y="4589"/>
                  <a:pt x="19200" y="4418"/>
                </a:cubicBezTo>
                <a:cubicBezTo>
                  <a:pt x="19200" y="4248"/>
                  <a:pt x="19087" y="4106"/>
                  <a:pt x="18926" y="4017"/>
                </a:cubicBezTo>
                <a:lnTo>
                  <a:pt x="18933" y="4010"/>
                </a:lnTo>
                <a:lnTo>
                  <a:pt x="11733" y="82"/>
                </a:lnTo>
                <a:lnTo>
                  <a:pt x="11726" y="90"/>
                </a:lnTo>
                <a:cubicBezTo>
                  <a:pt x="11631" y="38"/>
                  <a:pt x="11524" y="0"/>
                  <a:pt x="11400" y="0"/>
                </a:cubicBezTo>
                <a:cubicBezTo>
                  <a:pt x="11069" y="0"/>
                  <a:pt x="10800" y="220"/>
                  <a:pt x="10800" y="491"/>
                </a:cubicBezTo>
                <a:lnTo>
                  <a:pt x="10800" y="3927"/>
                </a:lnTo>
                <a:cubicBezTo>
                  <a:pt x="4835" y="3927"/>
                  <a:pt x="0" y="7883"/>
                  <a:pt x="0" y="12764"/>
                </a:cubicBezTo>
                <a:cubicBezTo>
                  <a:pt x="0" y="17644"/>
                  <a:pt x="4835" y="21600"/>
                  <a:pt x="10800" y="21600"/>
                </a:cubicBezTo>
                <a:cubicBezTo>
                  <a:pt x="16765" y="21600"/>
                  <a:pt x="21600" y="17644"/>
                  <a:pt x="21600" y="12764"/>
                </a:cubicBezTo>
                <a:cubicBezTo>
                  <a:pt x="21600" y="12492"/>
                  <a:pt x="21331"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6" name="Shape 2846"/>
          <p:cNvSpPr/>
          <p:nvPr/>
        </p:nvSpPr>
        <p:spPr>
          <a:xfrm>
            <a:off x="2679418" y="289823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1000" y="12273"/>
                </a:moveTo>
                <a:cubicBezTo>
                  <a:pt x="20668" y="12273"/>
                  <a:pt x="20400" y="12492"/>
                  <a:pt x="20400" y="12764"/>
                </a:cubicBezTo>
                <a:cubicBezTo>
                  <a:pt x="20400" y="17102"/>
                  <a:pt x="16102" y="20618"/>
                  <a:pt x="10800" y="20618"/>
                </a:cubicBezTo>
                <a:cubicBezTo>
                  <a:pt x="5498" y="20618"/>
                  <a:pt x="1200" y="17102"/>
                  <a:pt x="1200" y="12764"/>
                </a:cubicBezTo>
                <a:cubicBezTo>
                  <a:pt x="1200" y="8426"/>
                  <a:pt x="5498" y="4909"/>
                  <a:pt x="10800" y="4909"/>
                </a:cubicBezTo>
                <a:lnTo>
                  <a:pt x="14768" y="4909"/>
                </a:lnTo>
                <a:lnTo>
                  <a:pt x="11067" y="7937"/>
                </a:lnTo>
                <a:lnTo>
                  <a:pt x="11073" y="7945"/>
                </a:lnTo>
                <a:cubicBezTo>
                  <a:pt x="10912" y="8033"/>
                  <a:pt x="10800" y="8175"/>
                  <a:pt x="10800" y="8345"/>
                </a:cubicBezTo>
                <a:cubicBezTo>
                  <a:pt x="10800" y="8617"/>
                  <a:pt x="11068" y="8836"/>
                  <a:pt x="11400" y="8836"/>
                </a:cubicBezTo>
                <a:cubicBezTo>
                  <a:pt x="11523" y="8836"/>
                  <a:pt x="11631" y="8798"/>
                  <a:pt x="11727" y="8747"/>
                </a:cubicBezTo>
                <a:lnTo>
                  <a:pt x="11733" y="8754"/>
                </a:lnTo>
                <a:lnTo>
                  <a:pt x="11774" y="8721"/>
                </a:lnTo>
                <a:cubicBezTo>
                  <a:pt x="11805" y="8700"/>
                  <a:pt x="11832" y="8677"/>
                  <a:pt x="11858" y="8651"/>
                </a:cubicBezTo>
                <a:lnTo>
                  <a:pt x="16533" y="4827"/>
                </a:lnTo>
                <a:lnTo>
                  <a:pt x="16527" y="4819"/>
                </a:lnTo>
                <a:cubicBezTo>
                  <a:pt x="16688" y="4731"/>
                  <a:pt x="16800" y="4589"/>
                  <a:pt x="16800" y="4418"/>
                </a:cubicBezTo>
                <a:cubicBezTo>
                  <a:pt x="16800" y="4248"/>
                  <a:pt x="16688" y="4106"/>
                  <a:pt x="16527" y="4018"/>
                </a:cubicBezTo>
                <a:lnTo>
                  <a:pt x="16533" y="4010"/>
                </a:lnTo>
                <a:lnTo>
                  <a:pt x="11858" y="185"/>
                </a:lnTo>
                <a:cubicBezTo>
                  <a:pt x="11832" y="159"/>
                  <a:pt x="11805" y="137"/>
                  <a:pt x="11774" y="116"/>
                </a:cubicBezTo>
                <a:lnTo>
                  <a:pt x="11733" y="82"/>
                </a:lnTo>
                <a:lnTo>
                  <a:pt x="11727" y="90"/>
                </a:lnTo>
                <a:cubicBezTo>
                  <a:pt x="11631" y="38"/>
                  <a:pt x="11523" y="0"/>
                  <a:pt x="11400" y="0"/>
                </a:cubicBezTo>
                <a:cubicBezTo>
                  <a:pt x="11068" y="0"/>
                  <a:pt x="10800" y="220"/>
                  <a:pt x="10800" y="491"/>
                </a:cubicBezTo>
                <a:cubicBezTo>
                  <a:pt x="10800" y="662"/>
                  <a:pt x="10912" y="804"/>
                  <a:pt x="11073" y="892"/>
                </a:cubicBezTo>
                <a:lnTo>
                  <a:pt x="11067" y="899"/>
                </a:lnTo>
                <a:lnTo>
                  <a:pt x="14768" y="3927"/>
                </a:lnTo>
                <a:lnTo>
                  <a:pt x="10800" y="3927"/>
                </a:lnTo>
                <a:cubicBezTo>
                  <a:pt x="4835" y="3927"/>
                  <a:pt x="0" y="7884"/>
                  <a:pt x="0" y="12764"/>
                </a:cubicBezTo>
                <a:cubicBezTo>
                  <a:pt x="0" y="17644"/>
                  <a:pt x="4835" y="21600"/>
                  <a:pt x="10800" y="21600"/>
                </a:cubicBezTo>
                <a:cubicBezTo>
                  <a:pt x="16765" y="21600"/>
                  <a:pt x="21600" y="17644"/>
                  <a:pt x="21600" y="12764"/>
                </a:cubicBezTo>
                <a:cubicBezTo>
                  <a:pt x="21600" y="12492"/>
                  <a:pt x="21332" y="12273"/>
                  <a:pt x="210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7" name="Shape 2847"/>
          <p:cNvSpPr/>
          <p:nvPr/>
        </p:nvSpPr>
        <p:spPr>
          <a:xfrm>
            <a:off x="3060320"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6"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7673"/>
                </a:moveTo>
                <a:cubicBezTo>
                  <a:pt x="13610" y="17673"/>
                  <a:pt x="13488" y="17728"/>
                  <a:pt x="13398" y="17817"/>
                </a:cubicBezTo>
                <a:lnTo>
                  <a:pt x="11291" y="19924"/>
                </a:lnTo>
                <a:lnTo>
                  <a:pt x="11291" y="8346"/>
                </a:lnTo>
                <a:cubicBezTo>
                  <a:pt x="11291" y="8074"/>
                  <a:pt x="11071" y="7855"/>
                  <a:pt x="10800" y="7855"/>
                </a:cubicBezTo>
                <a:cubicBezTo>
                  <a:pt x="10529" y="7855"/>
                  <a:pt x="10309" y="8074"/>
                  <a:pt x="10309" y="8346"/>
                </a:cubicBezTo>
                <a:lnTo>
                  <a:pt x="10309" y="19924"/>
                </a:lnTo>
                <a:lnTo>
                  <a:pt x="8202" y="17817"/>
                </a:lnTo>
                <a:cubicBezTo>
                  <a:pt x="8113" y="17728"/>
                  <a:pt x="7990" y="17673"/>
                  <a:pt x="7855" y="17673"/>
                </a:cubicBezTo>
                <a:cubicBezTo>
                  <a:pt x="7583" y="17673"/>
                  <a:pt x="7364" y="17893"/>
                  <a:pt x="7364" y="18164"/>
                </a:cubicBezTo>
                <a:cubicBezTo>
                  <a:pt x="7364" y="18300"/>
                  <a:pt x="7419" y="18422"/>
                  <a:pt x="7507" y="18511"/>
                </a:cubicBezTo>
                <a:lnTo>
                  <a:pt x="10453" y="21456"/>
                </a:lnTo>
                <a:cubicBezTo>
                  <a:pt x="10542" y="21545"/>
                  <a:pt x="10664"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8" name="Shape 2848"/>
          <p:cNvSpPr/>
          <p:nvPr/>
        </p:nvSpPr>
        <p:spPr>
          <a:xfrm>
            <a:off x="3460265" y="2898231"/>
            <a:ext cx="209495" cy="209493"/>
          </a:xfrm>
          <a:custGeom>
            <a:avLst/>
            <a:gdLst/>
            <a:ahLst/>
            <a:cxnLst>
              <a:cxn ang="0">
                <a:pos x="wd2" y="hd2"/>
              </a:cxn>
              <a:cxn ang="5400000">
                <a:pos x="wd2" y="hd2"/>
              </a:cxn>
              <a:cxn ang="10800000">
                <a:pos x="wd2" y="hd2"/>
              </a:cxn>
              <a:cxn ang="16200000">
                <a:pos x="wd2" y="hd2"/>
              </a:cxn>
            </a:cxnLst>
            <a:rect l="0" t="0" r="r" b="b"/>
            <a:pathLst>
              <a:path w="21600" h="21600" extrusionOk="0">
                <a:moveTo>
                  <a:pt x="18634" y="6292"/>
                </a:moveTo>
                <a:cubicBezTo>
                  <a:pt x="18643" y="6159"/>
                  <a:pt x="18655" y="6026"/>
                  <a:pt x="18655" y="5891"/>
                </a:cubicBezTo>
                <a:cubicBezTo>
                  <a:pt x="18655" y="2638"/>
                  <a:pt x="16017" y="0"/>
                  <a:pt x="12764" y="0"/>
                </a:cubicBezTo>
                <a:cubicBezTo>
                  <a:pt x="10499" y="0"/>
                  <a:pt x="8536" y="1279"/>
                  <a:pt x="7550" y="3153"/>
                </a:cubicBezTo>
                <a:cubicBezTo>
                  <a:pt x="7185" y="3021"/>
                  <a:pt x="6793" y="2945"/>
                  <a:pt x="6382" y="2945"/>
                </a:cubicBezTo>
                <a:cubicBezTo>
                  <a:pt x="4484" y="2945"/>
                  <a:pt x="2945" y="4484"/>
                  <a:pt x="2945" y="6382"/>
                </a:cubicBezTo>
                <a:cubicBezTo>
                  <a:pt x="2945" y="6629"/>
                  <a:pt x="2973" y="6869"/>
                  <a:pt x="3022" y="7101"/>
                </a:cubicBezTo>
                <a:cubicBezTo>
                  <a:pt x="1267" y="7686"/>
                  <a:pt x="0" y="9339"/>
                  <a:pt x="0" y="11291"/>
                </a:cubicBezTo>
                <a:cubicBezTo>
                  <a:pt x="0" y="13731"/>
                  <a:pt x="1978" y="15709"/>
                  <a:pt x="4418" y="15709"/>
                </a:cubicBezTo>
                <a:lnTo>
                  <a:pt x="8836" y="15709"/>
                </a:lnTo>
                <a:cubicBezTo>
                  <a:pt x="9108" y="15709"/>
                  <a:pt x="9327" y="15489"/>
                  <a:pt x="9327" y="15218"/>
                </a:cubicBezTo>
                <a:cubicBezTo>
                  <a:pt x="9327" y="14947"/>
                  <a:pt x="9108" y="14727"/>
                  <a:pt x="8836" y="14727"/>
                </a:cubicBezTo>
                <a:lnTo>
                  <a:pt x="4418" y="14727"/>
                </a:lnTo>
                <a:cubicBezTo>
                  <a:pt x="2524" y="14727"/>
                  <a:pt x="982" y="13185"/>
                  <a:pt x="982" y="11291"/>
                </a:cubicBezTo>
                <a:cubicBezTo>
                  <a:pt x="982" y="9810"/>
                  <a:pt x="1926" y="8502"/>
                  <a:pt x="3333" y="8033"/>
                </a:cubicBezTo>
                <a:lnTo>
                  <a:pt x="4165" y="7756"/>
                </a:lnTo>
                <a:lnTo>
                  <a:pt x="3982" y="6897"/>
                </a:lnTo>
                <a:cubicBezTo>
                  <a:pt x="3946" y="6725"/>
                  <a:pt x="3927" y="6551"/>
                  <a:pt x="3927" y="6382"/>
                </a:cubicBezTo>
                <a:cubicBezTo>
                  <a:pt x="3927" y="5028"/>
                  <a:pt x="5028" y="3927"/>
                  <a:pt x="6382" y="3927"/>
                </a:cubicBezTo>
                <a:cubicBezTo>
                  <a:pt x="6662" y="3927"/>
                  <a:pt x="6942" y="3977"/>
                  <a:pt x="7215" y="4077"/>
                </a:cubicBezTo>
                <a:lnTo>
                  <a:pt x="8019" y="4368"/>
                </a:lnTo>
                <a:lnTo>
                  <a:pt x="8418" y="3611"/>
                </a:lnTo>
                <a:cubicBezTo>
                  <a:pt x="9272" y="1989"/>
                  <a:pt x="10937" y="982"/>
                  <a:pt x="12764" y="982"/>
                </a:cubicBezTo>
                <a:cubicBezTo>
                  <a:pt x="15470" y="982"/>
                  <a:pt x="17673" y="3184"/>
                  <a:pt x="17673" y="5891"/>
                </a:cubicBezTo>
                <a:cubicBezTo>
                  <a:pt x="17673" y="5977"/>
                  <a:pt x="17666" y="6060"/>
                  <a:pt x="17660" y="6145"/>
                </a:cubicBezTo>
                <a:lnTo>
                  <a:pt x="17655" y="6229"/>
                </a:lnTo>
                <a:lnTo>
                  <a:pt x="17610" y="6920"/>
                </a:lnTo>
                <a:lnTo>
                  <a:pt x="18245" y="7194"/>
                </a:lnTo>
                <a:cubicBezTo>
                  <a:pt x="19687" y="7816"/>
                  <a:pt x="20618" y="9232"/>
                  <a:pt x="20618" y="10800"/>
                </a:cubicBezTo>
                <a:cubicBezTo>
                  <a:pt x="20618" y="12965"/>
                  <a:pt x="18856" y="14727"/>
                  <a:pt x="16691" y="14727"/>
                </a:cubicBezTo>
                <a:lnTo>
                  <a:pt x="12764" y="14727"/>
                </a:lnTo>
                <a:cubicBezTo>
                  <a:pt x="12492" y="14727"/>
                  <a:pt x="12273" y="14947"/>
                  <a:pt x="12273" y="15218"/>
                </a:cubicBezTo>
                <a:cubicBezTo>
                  <a:pt x="12273" y="15489"/>
                  <a:pt x="12492" y="15709"/>
                  <a:pt x="12764" y="15709"/>
                </a:cubicBezTo>
                <a:lnTo>
                  <a:pt x="16691" y="15709"/>
                </a:lnTo>
                <a:cubicBezTo>
                  <a:pt x="19401" y="15709"/>
                  <a:pt x="21600" y="13511"/>
                  <a:pt x="21600" y="10800"/>
                </a:cubicBezTo>
                <a:cubicBezTo>
                  <a:pt x="21600" y="8780"/>
                  <a:pt x="20378" y="7045"/>
                  <a:pt x="18634" y="6292"/>
                </a:cubicBezTo>
                <a:moveTo>
                  <a:pt x="13745" y="11782"/>
                </a:moveTo>
                <a:cubicBezTo>
                  <a:pt x="14017" y="11782"/>
                  <a:pt x="14236" y="11562"/>
                  <a:pt x="14236" y="11291"/>
                </a:cubicBezTo>
                <a:cubicBezTo>
                  <a:pt x="14236" y="11156"/>
                  <a:pt x="14182" y="11033"/>
                  <a:pt x="14093" y="10944"/>
                </a:cubicBezTo>
                <a:lnTo>
                  <a:pt x="11147" y="7998"/>
                </a:lnTo>
                <a:cubicBezTo>
                  <a:pt x="11058" y="7910"/>
                  <a:pt x="10936" y="7855"/>
                  <a:pt x="10800" y="7855"/>
                </a:cubicBezTo>
                <a:cubicBezTo>
                  <a:pt x="10665" y="7855"/>
                  <a:pt x="10542" y="7910"/>
                  <a:pt x="10453" y="7998"/>
                </a:cubicBezTo>
                <a:lnTo>
                  <a:pt x="7507" y="10944"/>
                </a:lnTo>
                <a:cubicBezTo>
                  <a:pt x="7419" y="11033"/>
                  <a:pt x="7364" y="11156"/>
                  <a:pt x="7364" y="11291"/>
                </a:cubicBezTo>
                <a:cubicBezTo>
                  <a:pt x="7364" y="11562"/>
                  <a:pt x="7583" y="11782"/>
                  <a:pt x="7855" y="11782"/>
                </a:cubicBezTo>
                <a:cubicBezTo>
                  <a:pt x="7990" y="11782"/>
                  <a:pt x="8113" y="11727"/>
                  <a:pt x="8202" y="11638"/>
                </a:cubicBezTo>
                <a:lnTo>
                  <a:pt x="10309" y="9531"/>
                </a:lnTo>
                <a:lnTo>
                  <a:pt x="10309" y="21109"/>
                </a:lnTo>
                <a:cubicBezTo>
                  <a:pt x="10309" y="21380"/>
                  <a:pt x="10529" y="21600"/>
                  <a:pt x="10800" y="21600"/>
                </a:cubicBezTo>
                <a:cubicBezTo>
                  <a:pt x="11071" y="21600"/>
                  <a:pt x="11291" y="21380"/>
                  <a:pt x="11291" y="21109"/>
                </a:cubicBezTo>
                <a:lnTo>
                  <a:pt x="11291" y="9531"/>
                </a:lnTo>
                <a:lnTo>
                  <a:pt x="13398" y="11638"/>
                </a:lnTo>
                <a:cubicBezTo>
                  <a:pt x="13488" y="11727"/>
                  <a:pt x="13610" y="11782"/>
                  <a:pt x="13745"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49" name="Shape 2849"/>
          <p:cNvSpPr/>
          <p:nvPr/>
        </p:nvSpPr>
        <p:spPr>
          <a:xfrm>
            <a:off x="3860211" y="2912515"/>
            <a:ext cx="209495" cy="181100"/>
          </a:xfrm>
          <a:custGeom>
            <a:avLst/>
            <a:gdLst/>
            <a:ahLst/>
            <a:cxnLst>
              <a:cxn ang="0">
                <a:pos x="wd2" y="hd2"/>
              </a:cxn>
              <a:cxn ang="5400000">
                <a:pos x="wd2" y="hd2"/>
              </a:cxn>
              <a:cxn ang="10800000">
                <a:pos x="wd2" y="hd2"/>
              </a:cxn>
              <a:cxn ang="16200000">
                <a:pos x="wd2" y="hd2"/>
              </a:cxn>
            </a:cxnLst>
            <a:rect l="0" t="0" r="r" b="b"/>
            <a:pathLst>
              <a:path w="21600" h="21582" extrusionOk="0">
                <a:moveTo>
                  <a:pt x="13421" y="20466"/>
                </a:moveTo>
                <a:lnTo>
                  <a:pt x="12630" y="20221"/>
                </a:lnTo>
                <a:cubicBezTo>
                  <a:pt x="13305" y="19604"/>
                  <a:pt x="13745" y="18664"/>
                  <a:pt x="13745" y="17589"/>
                </a:cubicBezTo>
                <a:cubicBezTo>
                  <a:pt x="13745" y="16189"/>
                  <a:pt x="13013" y="14988"/>
                  <a:pt x="11967" y="14465"/>
                </a:cubicBezTo>
                <a:lnTo>
                  <a:pt x="11702" y="15585"/>
                </a:lnTo>
                <a:cubicBezTo>
                  <a:pt x="12330" y="15964"/>
                  <a:pt x="12764" y="16715"/>
                  <a:pt x="12764" y="17589"/>
                </a:cubicBezTo>
                <a:cubicBezTo>
                  <a:pt x="12764" y="18299"/>
                  <a:pt x="12477" y="18923"/>
                  <a:pt x="12035" y="19336"/>
                </a:cubicBezTo>
                <a:lnTo>
                  <a:pt x="12296" y="18213"/>
                </a:lnTo>
                <a:cubicBezTo>
                  <a:pt x="12327" y="18073"/>
                  <a:pt x="12314" y="17918"/>
                  <a:pt x="12246" y="17782"/>
                </a:cubicBezTo>
                <a:cubicBezTo>
                  <a:pt x="12111" y="17511"/>
                  <a:pt x="11811" y="17418"/>
                  <a:pt x="11576" y="17574"/>
                </a:cubicBezTo>
                <a:cubicBezTo>
                  <a:pt x="11459" y="17653"/>
                  <a:pt x="11380" y="17779"/>
                  <a:pt x="11347" y="17920"/>
                </a:cubicBezTo>
                <a:lnTo>
                  <a:pt x="10808" y="20244"/>
                </a:lnTo>
                <a:cubicBezTo>
                  <a:pt x="10776" y="20384"/>
                  <a:pt x="10789" y="20539"/>
                  <a:pt x="10857" y="20675"/>
                </a:cubicBezTo>
                <a:cubicBezTo>
                  <a:pt x="10920" y="20802"/>
                  <a:pt x="11021" y="20885"/>
                  <a:pt x="11133" y="20927"/>
                </a:cubicBezTo>
                <a:lnTo>
                  <a:pt x="11126" y="20956"/>
                </a:lnTo>
                <a:cubicBezTo>
                  <a:pt x="11142" y="20954"/>
                  <a:pt x="11158" y="20948"/>
                  <a:pt x="11173" y="20945"/>
                </a:cubicBezTo>
                <a:lnTo>
                  <a:pt x="13166" y="21562"/>
                </a:lnTo>
                <a:cubicBezTo>
                  <a:pt x="13288" y="21600"/>
                  <a:pt x="13422" y="21584"/>
                  <a:pt x="13539" y="21506"/>
                </a:cubicBezTo>
                <a:cubicBezTo>
                  <a:pt x="13774" y="21350"/>
                  <a:pt x="13855" y="21002"/>
                  <a:pt x="13719" y="20730"/>
                </a:cubicBezTo>
                <a:cubicBezTo>
                  <a:pt x="13651" y="20595"/>
                  <a:pt x="13542" y="20503"/>
                  <a:pt x="13421" y="20466"/>
                </a:cubicBezTo>
                <a:moveTo>
                  <a:pt x="18634" y="7273"/>
                </a:moveTo>
                <a:cubicBezTo>
                  <a:pt x="18643" y="7119"/>
                  <a:pt x="18655" y="6966"/>
                  <a:pt x="18655" y="6809"/>
                </a:cubicBezTo>
                <a:cubicBezTo>
                  <a:pt x="18655" y="3049"/>
                  <a:pt x="16017" y="0"/>
                  <a:pt x="12764" y="0"/>
                </a:cubicBezTo>
                <a:cubicBezTo>
                  <a:pt x="10499" y="0"/>
                  <a:pt x="8536" y="1479"/>
                  <a:pt x="7550" y="3645"/>
                </a:cubicBezTo>
                <a:cubicBezTo>
                  <a:pt x="7185" y="3492"/>
                  <a:pt x="6793" y="3404"/>
                  <a:pt x="6382" y="3404"/>
                </a:cubicBezTo>
                <a:cubicBezTo>
                  <a:pt x="4484" y="3404"/>
                  <a:pt x="2945" y="5183"/>
                  <a:pt x="2945" y="7376"/>
                </a:cubicBezTo>
                <a:cubicBezTo>
                  <a:pt x="2945" y="7662"/>
                  <a:pt x="2973" y="7940"/>
                  <a:pt x="3022" y="8208"/>
                </a:cubicBezTo>
                <a:cubicBezTo>
                  <a:pt x="1267" y="8884"/>
                  <a:pt x="0" y="10794"/>
                  <a:pt x="0" y="13050"/>
                </a:cubicBezTo>
                <a:cubicBezTo>
                  <a:pt x="0" y="15871"/>
                  <a:pt x="1978" y="18157"/>
                  <a:pt x="4418" y="18157"/>
                </a:cubicBezTo>
                <a:lnTo>
                  <a:pt x="6382" y="18157"/>
                </a:lnTo>
                <a:cubicBezTo>
                  <a:pt x="6653" y="18157"/>
                  <a:pt x="6873" y="17903"/>
                  <a:pt x="6873" y="17589"/>
                </a:cubicBezTo>
                <a:cubicBezTo>
                  <a:pt x="6873" y="17276"/>
                  <a:pt x="6653" y="17022"/>
                  <a:pt x="6382" y="17022"/>
                </a:cubicBezTo>
                <a:lnTo>
                  <a:pt x="4418" y="17022"/>
                </a:lnTo>
                <a:cubicBezTo>
                  <a:pt x="2524" y="17022"/>
                  <a:pt x="982" y="15240"/>
                  <a:pt x="982" y="13050"/>
                </a:cubicBezTo>
                <a:cubicBezTo>
                  <a:pt x="982" y="11339"/>
                  <a:pt x="1926" y="9826"/>
                  <a:pt x="3333" y="9284"/>
                </a:cubicBezTo>
                <a:lnTo>
                  <a:pt x="4165" y="8964"/>
                </a:lnTo>
                <a:lnTo>
                  <a:pt x="3982" y="7971"/>
                </a:lnTo>
                <a:cubicBezTo>
                  <a:pt x="3946" y="7773"/>
                  <a:pt x="3927" y="7572"/>
                  <a:pt x="3927" y="7376"/>
                </a:cubicBezTo>
                <a:cubicBezTo>
                  <a:pt x="3927" y="5812"/>
                  <a:pt x="5028" y="4539"/>
                  <a:pt x="6382" y="4539"/>
                </a:cubicBezTo>
                <a:cubicBezTo>
                  <a:pt x="6661" y="4539"/>
                  <a:pt x="6942" y="4597"/>
                  <a:pt x="7215" y="4712"/>
                </a:cubicBezTo>
                <a:lnTo>
                  <a:pt x="8019" y="5049"/>
                </a:lnTo>
                <a:lnTo>
                  <a:pt x="8418" y="4173"/>
                </a:lnTo>
                <a:cubicBezTo>
                  <a:pt x="9272" y="2299"/>
                  <a:pt x="10937" y="1135"/>
                  <a:pt x="12764" y="1135"/>
                </a:cubicBezTo>
                <a:cubicBezTo>
                  <a:pt x="15470" y="1135"/>
                  <a:pt x="17673" y="3680"/>
                  <a:pt x="17673" y="6809"/>
                </a:cubicBezTo>
                <a:cubicBezTo>
                  <a:pt x="17673" y="6908"/>
                  <a:pt x="17666" y="7005"/>
                  <a:pt x="17660" y="7102"/>
                </a:cubicBezTo>
                <a:lnTo>
                  <a:pt x="17655" y="7199"/>
                </a:lnTo>
                <a:lnTo>
                  <a:pt x="17610" y="7998"/>
                </a:lnTo>
                <a:lnTo>
                  <a:pt x="18245" y="8315"/>
                </a:lnTo>
                <a:cubicBezTo>
                  <a:pt x="19687" y="9034"/>
                  <a:pt x="20618" y="10670"/>
                  <a:pt x="20618" y="12483"/>
                </a:cubicBezTo>
                <a:cubicBezTo>
                  <a:pt x="20618" y="14986"/>
                  <a:pt x="18856" y="17022"/>
                  <a:pt x="16691" y="17022"/>
                </a:cubicBezTo>
                <a:lnTo>
                  <a:pt x="15218" y="17022"/>
                </a:lnTo>
                <a:cubicBezTo>
                  <a:pt x="14947" y="17022"/>
                  <a:pt x="14727" y="17276"/>
                  <a:pt x="14727" y="17589"/>
                </a:cubicBezTo>
                <a:cubicBezTo>
                  <a:pt x="14727" y="17903"/>
                  <a:pt x="14947" y="18157"/>
                  <a:pt x="15218" y="18157"/>
                </a:cubicBezTo>
                <a:lnTo>
                  <a:pt x="16691" y="18157"/>
                </a:lnTo>
                <a:cubicBezTo>
                  <a:pt x="19402" y="18157"/>
                  <a:pt x="21600" y="15617"/>
                  <a:pt x="21600" y="12483"/>
                </a:cubicBezTo>
                <a:cubicBezTo>
                  <a:pt x="21600" y="10147"/>
                  <a:pt x="20378" y="8143"/>
                  <a:pt x="18634" y="7273"/>
                </a:cubicBezTo>
                <a:moveTo>
                  <a:pt x="10773" y="14522"/>
                </a:moveTo>
                <a:cubicBezTo>
                  <a:pt x="10711" y="14398"/>
                  <a:pt x="10613" y="14316"/>
                  <a:pt x="10504" y="14274"/>
                </a:cubicBezTo>
                <a:lnTo>
                  <a:pt x="10517" y="14218"/>
                </a:lnTo>
                <a:cubicBezTo>
                  <a:pt x="10484" y="14221"/>
                  <a:pt x="10451" y="14231"/>
                  <a:pt x="10418" y="14240"/>
                </a:cubicBezTo>
                <a:lnTo>
                  <a:pt x="8463" y="13634"/>
                </a:lnTo>
                <a:lnTo>
                  <a:pt x="8463" y="13635"/>
                </a:lnTo>
                <a:cubicBezTo>
                  <a:pt x="8343" y="13598"/>
                  <a:pt x="8209" y="13613"/>
                  <a:pt x="8091" y="13692"/>
                </a:cubicBezTo>
                <a:cubicBezTo>
                  <a:pt x="7856" y="13848"/>
                  <a:pt x="7776" y="14195"/>
                  <a:pt x="7911" y="14466"/>
                </a:cubicBezTo>
                <a:cubicBezTo>
                  <a:pt x="7979" y="14602"/>
                  <a:pt x="8088" y="14693"/>
                  <a:pt x="8210" y="14731"/>
                </a:cubicBezTo>
                <a:lnTo>
                  <a:pt x="8965" y="14964"/>
                </a:lnTo>
                <a:cubicBezTo>
                  <a:pt x="8292" y="15580"/>
                  <a:pt x="7855" y="16518"/>
                  <a:pt x="7855" y="17589"/>
                </a:cubicBezTo>
                <a:cubicBezTo>
                  <a:pt x="7855" y="19007"/>
                  <a:pt x="8604" y="20220"/>
                  <a:pt x="9671" y="20732"/>
                </a:cubicBezTo>
                <a:lnTo>
                  <a:pt x="9934" y="19617"/>
                </a:lnTo>
                <a:cubicBezTo>
                  <a:pt x="9286" y="19246"/>
                  <a:pt x="8836" y="18482"/>
                  <a:pt x="8836" y="17589"/>
                </a:cubicBezTo>
                <a:cubicBezTo>
                  <a:pt x="8836" y="16857"/>
                  <a:pt x="9142" y="16215"/>
                  <a:pt x="9609" y="15802"/>
                </a:cubicBezTo>
                <a:lnTo>
                  <a:pt x="9335" y="16984"/>
                </a:lnTo>
                <a:cubicBezTo>
                  <a:pt x="9303" y="17124"/>
                  <a:pt x="9317" y="17279"/>
                  <a:pt x="9384" y="17415"/>
                </a:cubicBezTo>
                <a:cubicBezTo>
                  <a:pt x="9520" y="17686"/>
                  <a:pt x="9820" y="17779"/>
                  <a:pt x="10055" y="17623"/>
                </a:cubicBezTo>
                <a:cubicBezTo>
                  <a:pt x="10172" y="17544"/>
                  <a:pt x="10251" y="17418"/>
                  <a:pt x="10283" y="17278"/>
                </a:cubicBezTo>
                <a:lnTo>
                  <a:pt x="10823" y="14952"/>
                </a:lnTo>
                <a:cubicBezTo>
                  <a:pt x="10855" y="14812"/>
                  <a:pt x="10841" y="14658"/>
                  <a:pt x="10773" y="1452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0" name="Shape 2850"/>
          <p:cNvSpPr/>
          <p:nvPr/>
        </p:nvSpPr>
        <p:spPr>
          <a:xfrm>
            <a:off x="426015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491" y="0"/>
                </a:moveTo>
                <a:cubicBezTo>
                  <a:pt x="220" y="0"/>
                  <a:pt x="0" y="220"/>
                  <a:pt x="0" y="491"/>
                </a:cubicBezTo>
                <a:cubicBezTo>
                  <a:pt x="0" y="762"/>
                  <a:pt x="220" y="982"/>
                  <a:pt x="491" y="982"/>
                </a:cubicBezTo>
                <a:cubicBezTo>
                  <a:pt x="11607" y="982"/>
                  <a:pt x="20618" y="9993"/>
                  <a:pt x="20618" y="21109"/>
                </a:cubicBezTo>
                <a:cubicBezTo>
                  <a:pt x="20618" y="21380"/>
                  <a:pt x="20838" y="21600"/>
                  <a:pt x="21109" y="21600"/>
                </a:cubicBezTo>
                <a:cubicBezTo>
                  <a:pt x="21380" y="21600"/>
                  <a:pt x="21600" y="21380"/>
                  <a:pt x="21600" y="21109"/>
                </a:cubicBezTo>
                <a:cubicBezTo>
                  <a:pt x="21600" y="9451"/>
                  <a:pt x="12149" y="0"/>
                  <a:pt x="491" y="0"/>
                </a:cubicBezTo>
                <a:moveTo>
                  <a:pt x="491" y="9818"/>
                </a:moveTo>
                <a:cubicBezTo>
                  <a:pt x="220" y="9818"/>
                  <a:pt x="0" y="10038"/>
                  <a:pt x="0" y="10309"/>
                </a:cubicBezTo>
                <a:cubicBezTo>
                  <a:pt x="0" y="10581"/>
                  <a:pt x="220" y="10800"/>
                  <a:pt x="491" y="10800"/>
                </a:cubicBezTo>
                <a:cubicBezTo>
                  <a:pt x="6184" y="10800"/>
                  <a:pt x="10800" y="15416"/>
                  <a:pt x="10800" y="21109"/>
                </a:cubicBezTo>
                <a:cubicBezTo>
                  <a:pt x="10800" y="21380"/>
                  <a:pt x="11020" y="21600"/>
                  <a:pt x="11291" y="21600"/>
                </a:cubicBezTo>
                <a:cubicBezTo>
                  <a:pt x="11562" y="21600"/>
                  <a:pt x="11782" y="21380"/>
                  <a:pt x="11782" y="21109"/>
                </a:cubicBezTo>
                <a:cubicBezTo>
                  <a:pt x="11782" y="14873"/>
                  <a:pt x="6727" y="9818"/>
                  <a:pt x="491" y="9818"/>
                </a:cubicBezTo>
                <a:moveTo>
                  <a:pt x="491" y="4909"/>
                </a:moveTo>
                <a:cubicBezTo>
                  <a:pt x="220" y="4909"/>
                  <a:pt x="0" y="5129"/>
                  <a:pt x="0" y="5400"/>
                </a:cubicBezTo>
                <a:cubicBezTo>
                  <a:pt x="0" y="5672"/>
                  <a:pt x="220" y="5891"/>
                  <a:pt x="491" y="5891"/>
                </a:cubicBezTo>
                <a:cubicBezTo>
                  <a:pt x="8896" y="5891"/>
                  <a:pt x="15709" y="12705"/>
                  <a:pt x="15709" y="21109"/>
                </a:cubicBezTo>
                <a:cubicBezTo>
                  <a:pt x="15709" y="21380"/>
                  <a:pt x="15929" y="21600"/>
                  <a:pt x="16200" y="21600"/>
                </a:cubicBezTo>
                <a:cubicBezTo>
                  <a:pt x="16471" y="21600"/>
                  <a:pt x="16691" y="21380"/>
                  <a:pt x="16691" y="21109"/>
                </a:cubicBezTo>
                <a:cubicBezTo>
                  <a:pt x="16691" y="12162"/>
                  <a:pt x="9438" y="4909"/>
                  <a:pt x="491" y="4909"/>
                </a:cubicBezTo>
                <a:moveTo>
                  <a:pt x="2945" y="20618"/>
                </a:moveTo>
                <a:cubicBezTo>
                  <a:pt x="1861" y="20618"/>
                  <a:pt x="982" y="19739"/>
                  <a:pt x="982" y="18655"/>
                </a:cubicBezTo>
                <a:cubicBezTo>
                  <a:pt x="982" y="17570"/>
                  <a:pt x="1861" y="16691"/>
                  <a:pt x="2945" y="16691"/>
                </a:cubicBezTo>
                <a:cubicBezTo>
                  <a:pt x="4030" y="16691"/>
                  <a:pt x="4909" y="17570"/>
                  <a:pt x="4909" y="18655"/>
                </a:cubicBezTo>
                <a:cubicBezTo>
                  <a:pt x="4909" y="19739"/>
                  <a:pt x="4030" y="20618"/>
                  <a:pt x="2945" y="20618"/>
                </a:cubicBezTo>
                <a:moveTo>
                  <a:pt x="2945" y="15709"/>
                </a:moveTo>
                <a:cubicBezTo>
                  <a:pt x="1319" y="15709"/>
                  <a:pt x="0" y="17028"/>
                  <a:pt x="0" y="18655"/>
                </a:cubicBezTo>
                <a:cubicBezTo>
                  <a:pt x="0" y="20281"/>
                  <a:pt x="1319" y="21600"/>
                  <a:pt x="2945" y="21600"/>
                </a:cubicBezTo>
                <a:cubicBezTo>
                  <a:pt x="4573" y="21600"/>
                  <a:pt x="5891" y="20281"/>
                  <a:pt x="5891" y="18655"/>
                </a:cubicBezTo>
                <a:cubicBezTo>
                  <a:pt x="5891" y="17028"/>
                  <a:pt x="4573" y="15709"/>
                  <a:pt x="2945"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1" name="Shape 2851"/>
          <p:cNvSpPr/>
          <p:nvPr/>
        </p:nvSpPr>
        <p:spPr>
          <a:xfrm>
            <a:off x="660644"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5891" y="10309"/>
                </a:moveTo>
                <a:lnTo>
                  <a:pt x="4909" y="10309"/>
                </a:lnTo>
                <a:cubicBezTo>
                  <a:pt x="4638" y="10309"/>
                  <a:pt x="4418" y="10529"/>
                  <a:pt x="4418" y="10800"/>
                </a:cubicBezTo>
                <a:cubicBezTo>
                  <a:pt x="4418" y="11071"/>
                  <a:pt x="4638" y="11291"/>
                  <a:pt x="4909" y="11291"/>
                </a:cubicBezTo>
                <a:lnTo>
                  <a:pt x="5891" y="11291"/>
                </a:lnTo>
                <a:cubicBezTo>
                  <a:pt x="8331" y="11291"/>
                  <a:pt x="10309" y="13269"/>
                  <a:pt x="10309" y="15709"/>
                </a:cubicBezTo>
                <a:lnTo>
                  <a:pt x="10309" y="16691"/>
                </a:lnTo>
                <a:cubicBezTo>
                  <a:pt x="10309" y="16962"/>
                  <a:pt x="10529" y="17182"/>
                  <a:pt x="10800" y="17182"/>
                </a:cubicBezTo>
                <a:cubicBezTo>
                  <a:pt x="11071" y="17182"/>
                  <a:pt x="11291" y="16962"/>
                  <a:pt x="11291" y="16691"/>
                </a:cubicBezTo>
                <a:lnTo>
                  <a:pt x="11291" y="15709"/>
                </a:lnTo>
                <a:cubicBezTo>
                  <a:pt x="11291" y="12727"/>
                  <a:pt x="8873" y="10309"/>
                  <a:pt x="5891" y="10309"/>
                </a:cubicBezTo>
                <a:moveTo>
                  <a:pt x="5891" y="7364"/>
                </a:moveTo>
                <a:lnTo>
                  <a:pt x="4909" y="7364"/>
                </a:lnTo>
                <a:cubicBezTo>
                  <a:pt x="4638" y="7364"/>
                  <a:pt x="4418" y="7583"/>
                  <a:pt x="4418" y="7855"/>
                </a:cubicBezTo>
                <a:cubicBezTo>
                  <a:pt x="4418" y="8126"/>
                  <a:pt x="4638" y="8345"/>
                  <a:pt x="4909" y="8345"/>
                </a:cubicBezTo>
                <a:lnTo>
                  <a:pt x="5891" y="8345"/>
                </a:lnTo>
                <a:cubicBezTo>
                  <a:pt x="9958" y="8345"/>
                  <a:pt x="13255" y="11642"/>
                  <a:pt x="13255" y="15709"/>
                </a:cubicBezTo>
                <a:lnTo>
                  <a:pt x="13255" y="16691"/>
                </a:lnTo>
                <a:cubicBezTo>
                  <a:pt x="13255" y="16962"/>
                  <a:pt x="13475" y="17182"/>
                  <a:pt x="13745" y="17182"/>
                </a:cubicBezTo>
                <a:cubicBezTo>
                  <a:pt x="14016" y="17182"/>
                  <a:pt x="14236" y="16962"/>
                  <a:pt x="14236" y="16691"/>
                </a:cubicBezTo>
                <a:lnTo>
                  <a:pt x="14236" y="15709"/>
                </a:lnTo>
                <a:cubicBezTo>
                  <a:pt x="14236" y="11100"/>
                  <a:pt x="10500" y="7364"/>
                  <a:pt x="5891" y="7364"/>
                </a:cubicBezTo>
                <a:moveTo>
                  <a:pt x="6382" y="16200"/>
                </a:moveTo>
                <a:cubicBezTo>
                  <a:pt x="5840" y="16200"/>
                  <a:pt x="5400" y="15761"/>
                  <a:pt x="5400" y="15218"/>
                </a:cubicBezTo>
                <a:cubicBezTo>
                  <a:pt x="5400" y="14676"/>
                  <a:pt x="5840" y="14236"/>
                  <a:pt x="6382" y="14236"/>
                </a:cubicBezTo>
                <a:cubicBezTo>
                  <a:pt x="6924" y="14236"/>
                  <a:pt x="7364" y="14676"/>
                  <a:pt x="7364" y="15218"/>
                </a:cubicBezTo>
                <a:cubicBezTo>
                  <a:pt x="7364" y="15761"/>
                  <a:pt x="6924" y="16200"/>
                  <a:pt x="6382" y="16200"/>
                </a:cubicBezTo>
                <a:moveTo>
                  <a:pt x="6382" y="13255"/>
                </a:moveTo>
                <a:cubicBezTo>
                  <a:pt x="5297" y="13255"/>
                  <a:pt x="4418" y="14134"/>
                  <a:pt x="4418" y="15218"/>
                </a:cubicBezTo>
                <a:cubicBezTo>
                  <a:pt x="4418" y="16303"/>
                  <a:pt x="5297" y="17182"/>
                  <a:pt x="6382" y="17182"/>
                </a:cubicBezTo>
                <a:cubicBezTo>
                  <a:pt x="7466" y="17182"/>
                  <a:pt x="8345" y="16303"/>
                  <a:pt x="8345" y="15218"/>
                </a:cubicBezTo>
                <a:cubicBezTo>
                  <a:pt x="8345" y="14134"/>
                  <a:pt x="7466" y="13255"/>
                  <a:pt x="6382" y="13255"/>
                </a:cubicBezTo>
                <a:moveTo>
                  <a:pt x="5891" y="4418"/>
                </a:moveTo>
                <a:lnTo>
                  <a:pt x="4909" y="4418"/>
                </a:lnTo>
                <a:cubicBezTo>
                  <a:pt x="4638" y="4418"/>
                  <a:pt x="4418" y="4638"/>
                  <a:pt x="4418" y="4909"/>
                </a:cubicBezTo>
                <a:cubicBezTo>
                  <a:pt x="4418" y="5180"/>
                  <a:pt x="4638" y="5400"/>
                  <a:pt x="4909" y="5400"/>
                </a:cubicBezTo>
                <a:lnTo>
                  <a:pt x="5891" y="5400"/>
                </a:lnTo>
                <a:cubicBezTo>
                  <a:pt x="11585" y="5400"/>
                  <a:pt x="16200" y="10016"/>
                  <a:pt x="16200" y="15709"/>
                </a:cubicBezTo>
                <a:lnTo>
                  <a:pt x="16200" y="16691"/>
                </a:lnTo>
                <a:cubicBezTo>
                  <a:pt x="16200" y="16962"/>
                  <a:pt x="16420" y="17182"/>
                  <a:pt x="16691" y="17182"/>
                </a:cubicBezTo>
                <a:cubicBezTo>
                  <a:pt x="16962" y="17182"/>
                  <a:pt x="17182" y="16962"/>
                  <a:pt x="17182" y="16691"/>
                </a:cubicBezTo>
                <a:lnTo>
                  <a:pt x="17182" y="15709"/>
                </a:lnTo>
                <a:cubicBezTo>
                  <a:pt x="17182" y="9473"/>
                  <a:pt x="12127" y="4418"/>
                  <a:pt x="5891" y="4418"/>
                </a:cubicBezTo>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2" name="Shape 2852"/>
          <p:cNvSpPr/>
          <p:nvPr/>
        </p:nvSpPr>
        <p:spPr>
          <a:xfrm>
            <a:off x="1070113" y="3298177"/>
            <a:ext cx="190451" cy="209495"/>
          </a:xfrm>
          <a:custGeom>
            <a:avLst/>
            <a:gdLst/>
            <a:ahLst/>
            <a:cxnLst>
              <a:cxn ang="0">
                <a:pos x="wd2" y="hd2"/>
              </a:cxn>
              <a:cxn ang="5400000">
                <a:pos x="wd2" y="hd2"/>
              </a:cxn>
              <a:cxn ang="10800000">
                <a:pos x="wd2" y="hd2"/>
              </a:cxn>
              <a:cxn ang="16200000">
                <a:pos x="wd2" y="hd2"/>
              </a:cxn>
            </a:cxnLst>
            <a:rect l="0" t="0" r="r" b="b"/>
            <a:pathLst>
              <a:path w="21600" h="21600" extrusionOk="0">
                <a:moveTo>
                  <a:pt x="14244" y="12617"/>
                </a:moveTo>
                <a:cubicBezTo>
                  <a:pt x="14459" y="12872"/>
                  <a:pt x="14634" y="13163"/>
                  <a:pt x="14771" y="13485"/>
                </a:cubicBezTo>
                <a:cubicBezTo>
                  <a:pt x="16295" y="12407"/>
                  <a:pt x="17280" y="10728"/>
                  <a:pt x="17280" y="8836"/>
                </a:cubicBezTo>
                <a:cubicBezTo>
                  <a:pt x="17280" y="5583"/>
                  <a:pt x="14379" y="2945"/>
                  <a:pt x="10800" y="2945"/>
                </a:cubicBezTo>
                <a:cubicBezTo>
                  <a:pt x="7221" y="2945"/>
                  <a:pt x="4320" y="5583"/>
                  <a:pt x="4320" y="8836"/>
                </a:cubicBezTo>
                <a:cubicBezTo>
                  <a:pt x="4320" y="10714"/>
                  <a:pt x="5289" y="12382"/>
                  <a:pt x="6794" y="13461"/>
                </a:cubicBezTo>
                <a:cubicBezTo>
                  <a:pt x="6928" y="13135"/>
                  <a:pt x="7106" y="12845"/>
                  <a:pt x="7323" y="12590"/>
                </a:cubicBezTo>
                <a:cubicBezTo>
                  <a:pt x="6148" y="11689"/>
                  <a:pt x="5400" y="10343"/>
                  <a:pt x="5400" y="8836"/>
                </a:cubicBezTo>
                <a:cubicBezTo>
                  <a:pt x="5400" y="6125"/>
                  <a:pt x="7818" y="3927"/>
                  <a:pt x="10800" y="3927"/>
                </a:cubicBezTo>
                <a:cubicBezTo>
                  <a:pt x="13782" y="3927"/>
                  <a:pt x="16200" y="6125"/>
                  <a:pt x="16200" y="8836"/>
                </a:cubicBezTo>
                <a:cubicBezTo>
                  <a:pt x="16200" y="10358"/>
                  <a:pt x="15439" y="11717"/>
                  <a:pt x="14244" y="12617"/>
                </a:cubicBezTo>
                <a:moveTo>
                  <a:pt x="10800" y="0"/>
                </a:moveTo>
                <a:cubicBezTo>
                  <a:pt x="4836" y="0"/>
                  <a:pt x="0" y="4396"/>
                  <a:pt x="0" y="9818"/>
                </a:cubicBezTo>
                <a:cubicBezTo>
                  <a:pt x="0" y="14007"/>
                  <a:pt x="2891" y="17573"/>
                  <a:pt x="6953" y="18983"/>
                </a:cubicBezTo>
                <a:cubicBezTo>
                  <a:pt x="6874" y="18609"/>
                  <a:pt x="6803" y="18223"/>
                  <a:pt x="6741" y="17840"/>
                </a:cubicBezTo>
                <a:cubicBezTo>
                  <a:pt x="3402" y="16441"/>
                  <a:pt x="1080" y="13379"/>
                  <a:pt x="1080" y="9818"/>
                </a:cubicBezTo>
                <a:cubicBezTo>
                  <a:pt x="1080" y="4938"/>
                  <a:pt x="5432" y="982"/>
                  <a:pt x="10800" y="982"/>
                </a:cubicBezTo>
                <a:cubicBezTo>
                  <a:pt x="16168" y="982"/>
                  <a:pt x="20520" y="4938"/>
                  <a:pt x="20520" y="9818"/>
                </a:cubicBezTo>
                <a:cubicBezTo>
                  <a:pt x="20520" y="13374"/>
                  <a:pt x="18204" y="16431"/>
                  <a:pt x="14874" y="17833"/>
                </a:cubicBezTo>
                <a:cubicBezTo>
                  <a:pt x="14812" y="18216"/>
                  <a:pt x="14740" y="18603"/>
                  <a:pt x="14660" y="18979"/>
                </a:cubicBezTo>
                <a:cubicBezTo>
                  <a:pt x="18716" y="17565"/>
                  <a:pt x="21600" y="14002"/>
                  <a:pt x="21600" y="9818"/>
                </a:cubicBezTo>
                <a:cubicBezTo>
                  <a:pt x="21600" y="4396"/>
                  <a:pt x="16765" y="0"/>
                  <a:pt x="10800" y="0"/>
                </a:cubicBezTo>
                <a:moveTo>
                  <a:pt x="10800" y="7364"/>
                </a:moveTo>
                <a:cubicBezTo>
                  <a:pt x="11695" y="7364"/>
                  <a:pt x="12420" y="8023"/>
                  <a:pt x="12420" y="8836"/>
                </a:cubicBezTo>
                <a:cubicBezTo>
                  <a:pt x="12420" y="9649"/>
                  <a:pt x="11695" y="10309"/>
                  <a:pt x="10800" y="10309"/>
                </a:cubicBezTo>
                <a:cubicBezTo>
                  <a:pt x="9905" y="10309"/>
                  <a:pt x="9180" y="9649"/>
                  <a:pt x="9180" y="8836"/>
                </a:cubicBezTo>
                <a:cubicBezTo>
                  <a:pt x="9180" y="8023"/>
                  <a:pt x="9905" y="7364"/>
                  <a:pt x="10800" y="7364"/>
                </a:cubicBezTo>
                <a:moveTo>
                  <a:pt x="10800" y="11291"/>
                </a:moveTo>
                <a:cubicBezTo>
                  <a:pt x="12292" y="11291"/>
                  <a:pt x="13500" y="10192"/>
                  <a:pt x="13500" y="8836"/>
                </a:cubicBezTo>
                <a:cubicBezTo>
                  <a:pt x="13500" y="7481"/>
                  <a:pt x="12292" y="6382"/>
                  <a:pt x="10800" y="6382"/>
                </a:cubicBezTo>
                <a:cubicBezTo>
                  <a:pt x="9309" y="6382"/>
                  <a:pt x="8100" y="7481"/>
                  <a:pt x="8100" y="8836"/>
                </a:cubicBezTo>
                <a:cubicBezTo>
                  <a:pt x="8100" y="10192"/>
                  <a:pt x="9309" y="11291"/>
                  <a:pt x="10800" y="11291"/>
                </a:cubicBezTo>
                <a:moveTo>
                  <a:pt x="11994" y="20179"/>
                </a:moveTo>
                <a:cubicBezTo>
                  <a:pt x="11855" y="20433"/>
                  <a:pt x="11737" y="20560"/>
                  <a:pt x="11673" y="20618"/>
                </a:cubicBezTo>
                <a:lnTo>
                  <a:pt x="9927" y="20618"/>
                </a:lnTo>
                <a:cubicBezTo>
                  <a:pt x="9862" y="20560"/>
                  <a:pt x="9745" y="20433"/>
                  <a:pt x="9606" y="20179"/>
                </a:cubicBezTo>
                <a:cubicBezTo>
                  <a:pt x="9182" y="19408"/>
                  <a:pt x="8640" y="16626"/>
                  <a:pt x="8640" y="15218"/>
                </a:cubicBezTo>
                <a:cubicBezTo>
                  <a:pt x="8640" y="13768"/>
                  <a:pt x="9205" y="13255"/>
                  <a:pt x="10800" y="13255"/>
                </a:cubicBezTo>
                <a:cubicBezTo>
                  <a:pt x="12395" y="13255"/>
                  <a:pt x="12960" y="13768"/>
                  <a:pt x="12960" y="15218"/>
                </a:cubicBezTo>
                <a:cubicBezTo>
                  <a:pt x="12960" y="16626"/>
                  <a:pt x="12418" y="19408"/>
                  <a:pt x="11994" y="20179"/>
                </a:cubicBezTo>
                <a:moveTo>
                  <a:pt x="10800" y="12273"/>
                </a:moveTo>
                <a:cubicBezTo>
                  <a:pt x="8100" y="12273"/>
                  <a:pt x="7560" y="13745"/>
                  <a:pt x="7560" y="15218"/>
                </a:cubicBezTo>
                <a:cubicBezTo>
                  <a:pt x="7560" y="16691"/>
                  <a:pt x="8100" y="19636"/>
                  <a:pt x="8640" y="20618"/>
                </a:cubicBezTo>
                <a:cubicBezTo>
                  <a:pt x="9180" y="21600"/>
                  <a:pt x="9720" y="21600"/>
                  <a:pt x="9720" y="21600"/>
                </a:cubicBezTo>
                <a:lnTo>
                  <a:pt x="11880" y="21600"/>
                </a:lnTo>
                <a:cubicBezTo>
                  <a:pt x="11880" y="21600"/>
                  <a:pt x="12420" y="21600"/>
                  <a:pt x="12960" y="20618"/>
                </a:cubicBezTo>
                <a:cubicBezTo>
                  <a:pt x="13500" y="19636"/>
                  <a:pt x="14040" y="16691"/>
                  <a:pt x="14040" y="15218"/>
                </a:cubicBezTo>
                <a:cubicBezTo>
                  <a:pt x="14040" y="13745"/>
                  <a:pt x="13500" y="12273"/>
                  <a:pt x="10800" y="122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3" name="Shape 2853"/>
          <p:cNvSpPr/>
          <p:nvPr/>
        </p:nvSpPr>
        <p:spPr>
          <a:xfrm>
            <a:off x="14795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8836"/>
                </a:moveTo>
                <a:cubicBezTo>
                  <a:pt x="9600" y="8295"/>
                  <a:pt x="10138" y="7855"/>
                  <a:pt x="10800" y="7855"/>
                </a:cubicBezTo>
                <a:cubicBezTo>
                  <a:pt x="11462" y="7855"/>
                  <a:pt x="12000" y="8295"/>
                  <a:pt x="12000" y="8836"/>
                </a:cubicBezTo>
                <a:cubicBezTo>
                  <a:pt x="12000" y="9378"/>
                  <a:pt x="11462" y="9818"/>
                  <a:pt x="10800" y="9818"/>
                </a:cubicBezTo>
                <a:cubicBezTo>
                  <a:pt x="10138" y="9818"/>
                  <a:pt x="9600" y="9378"/>
                  <a:pt x="9600" y="8836"/>
                </a:cubicBezTo>
                <a:moveTo>
                  <a:pt x="13200" y="8836"/>
                </a:moveTo>
                <a:cubicBezTo>
                  <a:pt x="13200" y="7752"/>
                  <a:pt x="12125" y="6873"/>
                  <a:pt x="10800" y="6873"/>
                </a:cubicBezTo>
                <a:cubicBezTo>
                  <a:pt x="9475" y="6873"/>
                  <a:pt x="8400" y="7752"/>
                  <a:pt x="8400" y="8836"/>
                </a:cubicBezTo>
                <a:cubicBezTo>
                  <a:pt x="8400" y="9921"/>
                  <a:pt x="9475" y="10800"/>
                  <a:pt x="10800" y="10800"/>
                </a:cubicBezTo>
                <a:cubicBezTo>
                  <a:pt x="12125" y="10800"/>
                  <a:pt x="13200" y="9921"/>
                  <a:pt x="13200" y="8836"/>
                </a:cubicBezTo>
                <a:moveTo>
                  <a:pt x="17400" y="8836"/>
                </a:moveTo>
                <a:cubicBezTo>
                  <a:pt x="17400" y="5854"/>
                  <a:pt x="14445" y="3436"/>
                  <a:pt x="10800" y="3436"/>
                </a:cubicBezTo>
                <a:cubicBezTo>
                  <a:pt x="7155" y="3436"/>
                  <a:pt x="4200" y="5854"/>
                  <a:pt x="4200" y="8836"/>
                </a:cubicBezTo>
                <a:cubicBezTo>
                  <a:pt x="4200" y="10437"/>
                  <a:pt x="5056" y="11870"/>
                  <a:pt x="6408" y="12860"/>
                </a:cubicBezTo>
                <a:cubicBezTo>
                  <a:pt x="6570" y="12537"/>
                  <a:pt x="6778" y="12249"/>
                  <a:pt x="7035" y="12000"/>
                </a:cubicBezTo>
                <a:cubicBezTo>
                  <a:pt x="6028" y="11198"/>
                  <a:pt x="5400" y="10078"/>
                  <a:pt x="5400" y="8836"/>
                </a:cubicBezTo>
                <a:cubicBezTo>
                  <a:pt x="5400" y="6396"/>
                  <a:pt x="7818" y="4418"/>
                  <a:pt x="10800" y="4418"/>
                </a:cubicBezTo>
                <a:cubicBezTo>
                  <a:pt x="13783" y="4418"/>
                  <a:pt x="16200" y="6396"/>
                  <a:pt x="16200" y="8836"/>
                </a:cubicBezTo>
                <a:cubicBezTo>
                  <a:pt x="16200" y="10094"/>
                  <a:pt x="15555" y="11226"/>
                  <a:pt x="14524" y="12030"/>
                </a:cubicBezTo>
                <a:cubicBezTo>
                  <a:pt x="14780" y="12280"/>
                  <a:pt x="14989" y="12568"/>
                  <a:pt x="15154" y="12887"/>
                </a:cubicBezTo>
                <a:cubicBezTo>
                  <a:pt x="16528" y="11898"/>
                  <a:pt x="17400" y="10452"/>
                  <a:pt x="17400" y="8836"/>
                </a:cubicBezTo>
                <a:moveTo>
                  <a:pt x="10800" y="0"/>
                </a:moveTo>
                <a:cubicBezTo>
                  <a:pt x="4835" y="0"/>
                  <a:pt x="0" y="3957"/>
                  <a:pt x="0" y="8836"/>
                </a:cubicBezTo>
                <a:cubicBezTo>
                  <a:pt x="0" y="12363"/>
                  <a:pt x="2531" y="15397"/>
                  <a:pt x="6181" y="16815"/>
                </a:cubicBezTo>
                <a:cubicBezTo>
                  <a:pt x="6125" y="16401"/>
                  <a:pt x="6080" y="16009"/>
                  <a:pt x="6049" y="15656"/>
                </a:cubicBezTo>
                <a:cubicBezTo>
                  <a:pt x="3155" y="14303"/>
                  <a:pt x="1200" y="11759"/>
                  <a:pt x="1200" y="8836"/>
                </a:cubicBezTo>
                <a:cubicBezTo>
                  <a:pt x="1200" y="4499"/>
                  <a:pt x="5498" y="982"/>
                  <a:pt x="10800" y="982"/>
                </a:cubicBezTo>
                <a:cubicBezTo>
                  <a:pt x="16102" y="982"/>
                  <a:pt x="20400" y="4499"/>
                  <a:pt x="20400" y="8836"/>
                </a:cubicBezTo>
                <a:cubicBezTo>
                  <a:pt x="20400" y="11756"/>
                  <a:pt x="18449" y="14298"/>
                  <a:pt x="15560" y="15652"/>
                </a:cubicBezTo>
                <a:cubicBezTo>
                  <a:pt x="15532" y="16000"/>
                  <a:pt x="15490" y="16392"/>
                  <a:pt x="15433" y="16809"/>
                </a:cubicBezTo>
                <a:cubicBezTo>
                  <a:pt x="19076" y="15390"/>
                  <a:pt x="21600" y="12358"/>
                  <a:pt x="21600" y="8836"/>
                </a:cubicBezTo>
                <a:cubicBezTo>
                  <a:pt x="21600" y="3957"/>
                  <a:pt x="16765" y="0"/>
                  <a:pt x="10800" y="0"/>
                </a:cubicBezTo>
                <a:moveTo>
                  <a:pt x="12127" y="20179"/>
                </a:moveTo>
                <a:cubicBezTo>
                  <a:pt x="11972" y="20432"/>
                  <a:pt x="11842" y="20560"/>
                  <a:pt x="11770" y="20618"/>
                </a:cubicBezTo>
                <a:lnTo>
                  <a:pt x="9830" y="20618"/>
                </a:lnTo>
                <a:cubicBezTo>
                  <a:pt x="9758" y="20560"/>
                  <a:pt x="9628" y="20432"/>
                  <a:pt x="9473" y="20179"/>
                </a:cubicBezTo>
                <a:cubicBezTo>
                  <a:pt x="9032" y="19457"/>
                  <a:pt x="8400" y="16247"/>
                  <a:pt x="8400" y="14727"/>
                </a:cubicBezTo>
                <a:cubicBezTo>
                  <a:pt x="8400" y="13278"/>
                  <a:pt x="9028" y="12764"/>
                  <a:pt x="10800" y="12764"/>
                </a:cubicBezTo>
                <a:cubicBezTo>
                  <a:pt x="12572" y="12764"/>
                  <a:pt x="13200" y="13278"/>
                  <a:pt x="13200" y="14727"/>
                </a:cubicBezTo>
                <a:cubicBezTo>
                  <a:pt x="13200" y="16247"/>
                  <a:pt x="12568" y="19457"/>
                  <a:pt x="12127" y="20179"/>
                </a:cubicBezTo>
                <a:moveTo>
                  <a:pt x="10800" y="11782"/>
                </a:moveTo>
                <a:cubicBezTo>
                  <a:pt x="7800" y="11782"/>
                  <a:pt x="7200" y="13255"/>
                  <a:pt x="7200" y="14727"/>
                </a:cubicBezTo>
                <a:cubicBezTo>
                  <a:pt x="7200" y="16200"/>
                  <a:pt x="7800" y="19636"/>
                  <a:pt x="8400" y="20618"/>
                </a:cubicBezTo>
                <a:cubicBezTo>
                  <a:pt x="9000" y="21600"/>
                  <a:pt x="9600" y="21600"/>
                  <a:pt x="9600" y="21600"/>
                </a:cubicBezTo>
                <a:lnTo>
                  <a:pt x="12000" y="21600"/>
                </a:lnTo>
                <a:cubicBezTo>
                  <a:pt x="12000" y="21600"/>
                  <a:pt x="12600" y="21600"/>
                  <a:pt x="13200" y="20618"/>
                </a:cubicBezTo>
                <a:cubicBezTo>
                  <a:pt x="13800" y="19636"/>
                  <a:pt x="14400" y="16200"/>
                  <a:pt x="14400" y="14727"/>
                </a:cubicBezTo>
                <a:cubicBezTo>
                  <a:pt x="14400" y="13255"/>
                  <a:pt x="13800" y="11782"/>
                  <a:pt x="10800"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4" name="Shape 2854"/>
          <p:cNvSpPr/>
          <p:nvPr/>
        </p:nvSpPr>
        <p:spPr>
          <a:xfrm>
            <a:off x="1860482" y="3298176"/>
            <a:ext cx="209447" cy="209450"/>
          </a:xfrm>
          <a:custGeom>
            <a:avLst/>
            <a:gdLst/>
            <a:ahLst/>
            <a:cxnLst>
              <a:cxn ang="0">
                <a:pos x="wd2" y="hd2"/>
              </a:cxn>
              <a:cxn ang="5400000">
                <a:pos x="wd2" y="hd2"/>
              </a:cxn>
              <a:cxn ang="10800000">
                <a:pos x="wd2" y="hd2"/>
              </a:cxn>
              <a:cxn ang="16200000">
                <a:pos x="wd2" y="hd2"/>
              </a:cxn>
            </a:cxnLst>
            <a:rect l="0" t="0" r="r" b="b"/>
            <a:pathLst>
              <a:path w="21600" h="21600" extrusionOk="0">
                <a:moveTo>
                  <a:pt x="19152" y="3921"/>
                </a:moveTo>
                <a:cubicBezTo>
                  <a:pt x="18338" y="3921"/>
                  <a:pt x="17679" y="3262"/>
                  <a:pt x="17679" y="2448"/>
                </a:cubicBezTo>
                <a:cubicBezTo>
                  <a:pt x="17679" y="1634"/>
                  <a:pt x="18338" y="975"/>
                  <a:pt x="19152" y="975"/>
                </a:cubicBezTo>
                <a:cubicBezTo>
                  <a:pt x="19966" y="975"/>
                  <a:pt x="20625" y="1634"/>
                  <a:pt x="20625" y="2448"/>
                </a:cubicBezTo>
                <a:cubicBezTo>
                  <a:pt x="20625" y="3262"/>
                  <a:pt x="19966" y="3921"/>
                  <a:pt x="19152" y="3921"/>
                </a:cubicBezTo>
                <a:moveTo>
                  <a:pt x="10804" y="12269"/>
                </a:moveTo>
                <a:cubicBezTo>
                  <a:pt x="9991" y="12269"/>
                  <a:pt x="9331" y="11609"/>
                  <a:pt x="9331" y="10795"/>
                </a:cubicBezTo>
                <a:cubicBezTo>
                  <a:pt x="9331" y="9981"/>
                  <a:pt x="9991" y="9322"/>
                  <a:pt x="10804" y="9322"/>
                </a:cubicBezTo>
                <a:cubicBezTo>
                  <a:pt x="11618" y="9322"/>
                  <a:pt x="12278" y="9981"/>
                  <a:pt x="12278" y="10795"/>
                </a:cubicBezTo>
                <a:cubicBezTo>
                  <a:pt x="12278" y="11609"/>
                  <a:pt x="11618" y="12269"/>
                  <a:pt x="10804" y="12269"/>
                </a:cubicBezTo>
                <a:moveTo>
                  <a:pt x="3930" y="19143"/>
                </a:moveTo>
                <a:cubicBezTo>
                  <a:pt x="3930" y="19956"/>
                  <a:pt x="3271" y="20616"/>
                  <a:pt x="2457" y="20616"/>
                </a:cubicBezTo>
                <a:cubicBezTo>
                  <a:pt x="1643" y="20616"/>
                  <a:pt x="984" y="19956"/>
                  <a:pt x="984" y="19143"/>
                </a:cubicBezTo>
                <a:cubicBezTo>
                  <a:pt x="984" y="18329"/>
                  <a:pt x="1643" y="17669"/>
                  <a:pt x="2457" y="17669"/>
                </a:cubicBezTo>
                <a:cubicBezTo>
                  <a:pt x="3271" y="17669"/>
                  <a:pt x="3930" y="18329"/>
                  <a:pt x="3930" y="19143"/>
                </a:cubicBezTo>
                <a:moveTo>
                  <a:pt x="19148" y="0"/>
                </a:moveTo>
                <a:cubicBezTo>
                  <a:pt x="17793" y="0"/>
                  <a:pt x="16695" y="1098"/>
                  <a:pt x="16695" y="2452"/>
                </a:cubicBezTo>
                <a:cubicBezTo>
                  <a:pt x="16695" y="3640"/>
                  <a:pt x="17539" y="4630"/>
                  <a:pt x="18660" y="4856"/>
                </a:cubicBezTo>
                <a:lnTo>
                  <a:pt x="18660" y="10306"/>
                </a:lnTo>
                <a:lnTo>
                  <a:pt x="13203" y="10306"/>
                </a:lnTo>
                <a:cubicBezTo>
                  <a:pt x="12974" y="9187"/>
                  <a:pt x="11985" y="8347"/>
                  <a:pt x="10800" y="8347"/>
                </a:cubicBezTo>
                <a:cubicBezTo>
                  <a:pt x="9615" y="8347"/>
                  <a:pt x="8626" y="9187"/>
                  <a:pt x="8398" y="10306"/>
                </a:cubicBezTo>
                <a:lnTo>
                  <a:pt x="2456" y="10306"/>
                </a:lnTo>
                <a:cubicBezTo>
                  <a:pt x="2184" y="10306"/>
                  <a:pt x="1965" y="10525"/>
                  <a:pt x="1965" y="10796"/>
                </a:cubicBezTo>
                <a:lnTo>
                  <a:pt x="1965" y="16744"/>
                </a:lnTo>
                <a:cubicBezTo>
                  <a:pt x="844" y="16970"/>
                  <a:pt x="0" y="17960"/>
                  <a:pt x="0" y="19147"/>
                </a:cubicBezTo>
                <a:cubicBezTo>
                  <a:pt x="0" y="20502"/>
                  <a:pt x="1098" y="21600"/>
                  <a:pt x="2453" y="21600"/>
                </a:cubicBezTo>
                <a:cubicBezTo>
                  <a:pt x="3807" y="21600"/>
                  <a:pt x="4905" y="20502"/>
                  <a:pt x="4905" y="19147"/>
                </a:cubicBezTo>
                <a:cubicBezTo>
                  <a:pt x="4905" y="17961"/>
                  <a:pt x="4065" y="16973"/>
                  <a:pt x="2947" y="16744"/>
                </a:cubicBezTo>
                <a:lnTo>
                  <a:pt x="2947" y="11287"/>
                </a:lnTo>
                <a:lnTo>
                  <a:pt x="8397" y="11287"/>
                </a:lnTo>
                <a:cubicBezTo>
                  <a:pt x="8623" y="12408"/>
                  <a:pt x="9613" y="13253"/>
                  <a:pt x="10800" y="13253"/>
                </a:cubicBezTo>
                <a:cubicBezTo>
                  <a:pt x="11988" y="13253"/>
                  <a:pt x="12978" y="12408"/>
                  <a:pt x="13203" y="11287"/>
                </a:cubicBezTo>
                <a:lnTo>
                  <a:pt x="19151" y="11287"/>
                </a:lnTo>
                <a:cubicBezTo>
                  <a:pt x="19422" y="11287"/>
                  <a:pt x="19642" y="11068"/>
                  <a:pt x="19642" y="10796"/>
                </a:cubicBezTo>
                <a:lnTo>
                  <a:pt x="19642" y="4855"/>
                </a:lnTo>
                <a:cubicBezTo>
                  <a:pt x="20759" y="4626"/>
                  <a:pt x="21600" y="3638"/>
                  <a:pt x="21600" y="2452"/>
                </a:cubicBezTo>
                <a:cubicBezTo>
                  <a:pt x="21600" y="1098"/>
                  <a:pt x="20502" y="0"/>
                  <a:pt x="19148"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5" name="Shape 2855"/>
          <p:cNvSpPr/>
          <p:nvPr/>
        </p:nvSpPr>
        <p:spPr>
          <a:xfrm>
            <a:off x="2269950" y="3298176"/>
            <a:ext cx="190402" cy="209450"/>
          </a:xfrm>
          <a:custGeom>
            <a:avLst/>
            <a:gdLst/>
            <a:ahLst/>
            <a:cxnLst>
              <a:cxn ang="0">
                <a:pos x="wd2" y="hd2"/>
              </a:cxn>
              <a:cxn ang="5400000">
                <a:pos x="wd2" y="hd2"/>
              </a:cxn>
              <a:cxn ang="10800000">
                <a:pos x="wd2" y="hd2"/>
              </a:cxn>
              <a:cxn ang="16200000">
                <a:pos x="wd2" y="hd2"/>
              </a:cxn>
            </a:cxnLst>
            <a:rect l="0" t="0" r="r" b="b"/>
            <a:pathLst>
              <a:path w="21600" h="21600" extrusionOk="0">
                <a:moveTo>
                  <a:pt x="18907" y="20616"/>
                </a:moveTo>
                <a:cubicBezTo>
                  <a:pt x="18012" y="20616"/>
                  <a:pt x="17287" y="19956"/>
                  <a:pt x="17287" y="19143"/>
                </a:cubicBezTo>
                <a:cubicBezTo>
                  <a:pt x="17287" y="18329"/>
                  <a:pt x="18012" y="17669"/>
                  <a:pt x="18907" y="17669"/>
                </a:cubicBezTo>
                <a:cubicBezTo>
                  <a:pt x="19802" y="17669"/>
                  <a:pt x="20527" y="18329"/>
                  <a:pt x="20527" y="19143"/>
                </a:cubicBezTo>
                <a:cubicBezTo>
                  <a:pt x="20527" y="19956"/>
                  <a:pt x="19802" y="20616"/>
                  <a:pt x="18907" y="20616"/>
                </a:cubicBezTo>
                <a:moveTo>
                  <a:pt x="2703" y="12269"/>
                </a:moveTo>
                <a:cubicBezTo>
                  <a:pt x="1808" y="12269"/>
                  <a:pt x="1082" y="11609"/>
                  <a:pt x="1082" y="10795"/>
                </a:cubicBezTo>
                <a:cubicBezTo>
                  <a:pt x="1082" y="9981"/>
                  <a:pt x="1808" y="9322"/>
                  <a:pt x="2703" y="9322"/>
                </a:cubicBezTo>
                <a:cubicBezTo>
                  <a:pt x="3598" y="9322"/>
                  <a:pt x="4323" y="9981"/>
                  <a:pt x="4323" y="10795"/>
                </a:cubicBezTo>
                <a:cubicBezTo>
                  <a:pt x="4323" y="11609"/>
                  <a:pt x="3598" y="12269"/>
                  <a:pt x="2703" y="12269"/>
                </a:cubicBezTo>
                <a:moveTo>
                  <a:pt x="18907" y="975"/>
                </a:moveTo>
                <a:cubicBezTo>
                  <a:pt x="19802" y="975"/>
                  <a:pt x="20527" y="1634"/>
                  <a:pt x="20527" y="2448"/>
                </a:cubicBezTo>
                <a:cubicBezTo>
                  <a:pt x="20527" y="3262"/>
                  <a:pt x="19802" y="3921"/>
                  <a:pt x="18907" y="3921"/>
                </a:cubicBezTo>
                <a:cubicBezTo>
                  <a:pt x="18012" y="3921"/>
                  <a:pt x="17287" y="3262"/>
                  <a:pt x="17287" y="2448"/>
                </a:cubicBezTo>
                <a:cubicBezTo>
                  <a:pt x="17287" y="1634"/>
                  <a:pt x="18012" y="975"/>
                  <a:pt x="18907" y="975"/>
                </a:cubicBezTo>
                <a:moveTo>
                  <a:pt x="18902" y="16695"/>
                </a:moveTo>
                <a:cubicBezTo>
                  <a:pt x="18092" y="16695"/>
                  <a:pt x="17374" y="17026"/>
                  <a:pt x="16879" y="17540"/>
                </a:cubicBezTo>
                <a:lnTo>
                  <a:pt x="5253" y="11551"/>
                </a:lnTo>
                <a:cubicBezTo>
                  <a:pt x="5338" y="11314"/>
                  <a:pt x="5396" y="11064"/>
                  <a:pt x="5396" y="10800"/>
                </a:cubicBezTo>
                <a:cubicBezTo>
                  <a:pt x="5396" y="10536"/>
                  <a:pt x="5338" y="10286"/>
                  <a:pt x="5253" y="10048"/>
                </a:cubicBezTo>
                <a:lnTo>
                  <a:pt x="16879" y="4059"/>
                </a:lnTo>
                <a:cubicBezTo>
                  <a:pt x="17373" y="4574"/>
                  <a:pt x="18092" y="4905"/>
                  <a:pt x="18902" y="4905"/>
                </a:cubicBezTo>
                <a:cubicBezTo>
                  <a:pt x="20392" y="4905"/>
                  <a:pt x="21600" y="3807"/>
                  <a:pt x="21600" y="2452"/>
                </a:cubicBezTo>
                <a:cubicBezTo>
                  <a:pt x="21600" y="1098"/>
                  <a:pt x="20392" y="0"/>
                  <a:pt x="18902" y="0"/>
                </a:cubicBezTo>
                <a:cubicBezTo>
                  <a:pt x="17412" y="0"/>
                  <a:pt x="16204" y="1098"/>
                  <a:pt x="16204" y="2452"/>
                </a:cubicBezTo>
                <a:cubicBezTo>
                  <a:pt x="16204" y="2716"/>
                  <a:pt x="16262" y="2966"/>
                  <a:pt x="16347" y="3204"/>
                </a:cubicBezTo>
                <a:lnTo>
                  <a:pt x="4722" y="9193"/>
                </a:lnTo>
                <a:cubicBezTo>
                  <a:pt x="4227" y="8679"/>
                  <a:pt x="3509" y="8347"/>
                  <a:pt x="2698" y="8347"/>
                </a:cubicBezTo>
                <a:cubicBezTo>
                  <a:pt x="1208" y="8347"/>
                  <a:pt x="0" y="9445"/>
                  <a:pt x="0" y="10800"/>
                </a:cubicBezTo>
                <a:cubicBezTo>
                  <a:pt x="0" y="12155"/>
                  <a:pt x="1208" y="13253"/>
                  <a:pt x="2698" y="13253"/>
                </a:cubicBezTo>
                <a:cubicBezTo>
                  <a:pt x="3509" y="13253"/>
                  <a:pt x="4227" y="12921"/>
                  <a:pt x="4722" y="12406"/>
                </a:cubicBezTo>
                <a:lnTo>
                  <a:pt x="16347" y="18395"/>
                </a:lnTo>
                <a:cubicBezTo>
                  <a:pt x="16262" y="18633"/>
                  <a:pt x="16204" y="18883"/>
                  <a:pt x="16204" y="19147"/>
                </a:cubicBezTo>
                <a:cubicBezTo>
                  <a:pt x="16204" y="20502"/>
                  <a:pt x="17412" y="21600"/>
                  <a:pt x="18902" y="21600"/>
                </a:cubicBezTo>
                <a:cubicBezTo>
                  <a:pt x="20392" y="21600"/>
                  <a:pt x="21600" y="20502"/>
                  <a:pt x="21600" y="19147"/>
                </a:cubicBezTo>
                <a:cubicBezTo>
                  <a:pt x="21600" y="17792"/>
                  <a:pt x="20392" y="16695"/>
                  <a:pt x="18902" y="1669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6" name="Shape 2856"/>
          <p:cNvSpPr/>
          <p:nvPr/>
        </p:nvSpPr>
        <p:spPr>
          <a:xfrm>
            <a:off x="2660373" y="3298177"/>
            <a:ext cx="209598" cy="209514"/>
          </a:xfrm>
          <a:custGeom>
            <a:avLst/>
            <a:gdLst/>
            <a:ahLst/>
            <a:cxnLst>
              <a:cxn ang="0">
                <a:pos x="wd2" y="hd2"/>
              </a:cxn>
              <a:cxn ang="5400000">
                <a:pos x="wd2" y="hd2"/>
              </a:cxn>
              <a:cxn ang="10800000">
                <a:pos x="wd2" y="hd2"/>
              </a:cxn>
              <a:cxn ang="16200000">
                <a:pos x="wd2" y="hd2"/>
              </a:cxn>
            </a:cxnLst>
            <a:rect l="0" t="0" r="r" b="b"/>
            <a:pathLst>
              <a:path w="21600" h="21600" extrusionOk="0">
                <a:moveTo>
                  <a:pt x="12375" y="14735"/>
                </a:moveTo>
                <a:cubicBezTo>
                  <a:pt x="12008" y="15178"/>
                  <a:pt x="11621" y="15531"/>
                  <a:pt x="11226" y="15783"/>
                </a:cubicBezTo>
                <a:cubicBezTo>
                  <a:pt x="10834" y="16035"/>
                  <a:pt x="10421" y="16209"/>
                  <a:pt x="10002" y="16302"/>
                </a:cubicBezTo>
                <a:cubicBezTo>
                  <a:pt x="9027" y="16517"/>
                  <a:pt x="8105" y="16493"/>
                  <a:pt x="7342" y="16179"/>
                </a:cubicBezTo>
                <a:cubicBezTo>
                  <a:pt x="6912" y="16003"/>
                  <a:pt x="6537" y="15755"/>
                  <a:pt x="6227" y="15442"/>
                </a:cubicBezTo>
                <a:cubicBezTo>
                  <a:pt x="5915" y="15129"/>
                  <a:pt x="5669" y="14758"/>
                  <a:pt x="5493" y="14340"/>
                </a:cubicBezTo>
                <a:cubicBezTo>
                  <a:pt x="5317" y="13924"/>
                  <a:pt x="5228" y="13459"/>
                  <a:pt x="5228" y="12958"/>
                </a:cubicBezTo>
                <a:cubicBezTo>
                  <a:pt x="5228" y="12161"/>
                  <a:pt x="5386" y="11302"/>
                  <a:pt x="5698" y="10406"/>
                </a:cubicBezTo>
                <a:cubicBezTo>
                  <a:pt x="6010" y="9509"/>
                  <a:pt x="6454" y="8665"/>
                  <a:pt x="7018" y="7900"/>
                </a:cubicBezTo>
                <a:cubicBezTo>
                  <a:pt x="7579" y="7140"/>
                  <a:pt x="8265" y="6498"/>
                  <a:pt x="9058" y="5993"/>
                </a:cubicBezTo>
                <a:cubicBezTo>
                  <a:pt x="9839" y="5496"/>
                  <a:pt x="10706" y="5245"/>
                  <a:pt x="11636" y="5245"/>
                </a:cubicBezTo>
                <a:cubicBezTo>
                  <a:pt x="12014" y="5245"/>
                  <a:pt x="12413" y="5288"/>
                  <a:pt x="12821" y="5373"/>
                </a:cubicBezTo>
                <a:cubicBezTo>
                  <a:pt x="13224" y="5457"/>
                  <a:pt x="13613" y="5599"/>
                  <a:pt x="13978" y="5795"/>
                </a:cubicBezTo>
                <a:cubicBezTo>
                  <a:pt x="14337" y="5989"/>
                  <a:pt x="14658" y="6246"/>
                  <a:pt x="14931" y="6561"/>
                </a:cubicBezTo>
                <a:cubicBezTo>
                  <a:pt x="15189" y="6858"/>
                  <a:pt x="15389" y="7238"/>
                  <a:pt x="15526" y="7692"/>
                </a:cubicBezTo>
                <a:lnTo>
                  <a:pt x="13353" y="13035"/>
                </a:lnTo>
                <a:cubicBezTo>
                  <a:pt x="13072" y="13720"/>
                  <a:pt x="12743" y="14292"/>
                  <a:pt x="12375" y="14735"/>
                </a:cubicBezTo>
                <a:moveTo>
                  <a:pt x="20215" y="16108"/>
                </a:moveTo>
                <a:cubicBezTo>
                  <a:pt x="19749" y="16741"/>
                  <a:pt x="19196" y="17344"/>
                  <a:pt x="18569" y="17900"/>
                </a:cubicBezTo>
                <a:cubicBezTo>
                  <a:pt x="17943" y="18456"/>
                  <a:pt x="17242" y="18946"/>
                  <a:pt x="16484" y="19359"/>
                </a:cubicBezTo>
                <a:cubicBezTo>
                  <a:pt x="15729" y="19770"/>
                  <a:pt x="14914" y="20096"/>
                  <a:pt x="14064" y="20327"/>
                </a:cubicBezTo>
                <a:cubicBezTo>
                  <a:pt x="13217" y="20556"/>
                  <a:pt x="12316" y="20673"/>
                  <a:pt x="11388" y="20673"/>
                </a:cubicBezTo>
                <a:cubicBezTo>
                  <a:pt x="9991" y="20673"/>
                  <a:pt x="8647" y="20458"/>
                  <a:pt x="7393" y="20036"/>
                </a:cubicBezTo>
                <a:cubicBezTo>
                  <a:pt x="6143" y="19615"/>
                  <a:pt x="5029" y="18981"/>
                  <a:pt x="4083" y="18149"/>
                </a:cubicBezTo>
                <a:cubicBezTo>
                  <a:pt x="3138" y="17320"/>
                  <a:pt x="2378" y="16274"/>
                  <a:pt x="1823" y="15041"/>
                </a:cubicBezTo>
                <a:cubicBezTo>
                  <a:pt x="1269" y="13809"/>
                  <a:pt x="989" y="12357"/>
                  <a:pt x="989" y="10727"/>
                </a:cubicBezTo>
                <a:cubicBezTo>
                  <a:pt x="989" y="9370"/>
                  <a:pt x="1254" y="8086"/>
                  <a:pt x="1777" y="6911"/>
                </a:cubicBezTo>
                <a:cubicBezTo>
                  <a:pt x="2301" y="5736"/>
                  <a:pt x="3037" y="4693"/>
                  <a:pt x="3964" y="3814"/>
                </a:cubicBezTo>
                <a:cubicBezTo>
                  <a:pt x="4892" y="2933"/>
                  <a:pt x="6002" y="2230"/>
                  <a:pt x="7264" y="1722"/>
                </a:cubicBezTo>
                <a:cubicBezTo>
                  <a:pt x="8526" y="1215"/>
                  <a:pt x="9914" y="958"/>
                  <a:pt x="11388" y="958"/>
                </a:cubicBezTo>
                <a:cubicBezTo>
                  <a:pt x="12700" y="958"/>
                  <a:pt x="13940" y="1156"/>
                  <a:pt x="15072" y="1549"/>
                </a:cubicBezTo>
                <a:cubicBezTo>
                  <a:pt x="16200" y="1942"/>
                  <a:pt x="17185" y="2497"/>
                  <a:pt x="17998" y="3203"/>
                </a:cubicBezTo>
                <a:cubicBezTo>
                  <a:pt x="18809" y="3906"/>
                  <a:pt x="19455" y="4765"/>
                  <a:pt x="19917" y="5754"/>
                </a:cubicBezTo>
                <a:cubicBezTo>
                  <a:pt x="20377" y="6743"/>
                  <a:pt x="20611" y="7843"/>
                  <a:pt x="20611" y="9023"/>
                </a:cubicBezTo>
                <a:cubicBezTo>
                  <a:pt x="20611" y="10070"/>
                  <a:pt x="20418" y="11059"/>
                  <a:pt x="20038" y="11962"/>
                </a:cubicBezTo>
                <a:cubicBezTo>
                  <a:pt x="19656" y="12869"/>
                  <a:pt x="19171" y="13663"/>
                  <a:pt x="18598" y="14320"/>
                </a:cubicBezTo>
                <a:cubicBezTo>
                  <a:pt x="18028" y="14976"/>
                  <a:pt x="17393" y="15502"/>
                  <a:pt x="16714" y="15880"/>
                </a:cubicBezTo>
                <a:cubicBezTo>
                  <a:pt x="16044" y="16255"/>
                  <a:pt x="15398" y="16444"/>
                  <a:pt x="14792" y="16444"/>
                </a:cubicBezTo>
                <a:cubicBezTo>
                  <a:pt x="14424" y="16444"/>
                  <a:pt x="14151" y="16374"/>
                  <a:pt x="13980" y="16235"/>
                </a:cubicBezTo>
                <a:cubicBezTo>
                  <a:pt x="13810" y="16098"/>
                  <a:pt x="13710" y="15916"/>
                  <a:pt x="13675" y="15677"/>
                </a:cubicBezTo>
                <a:cubicBezTo>
                  <a:pt x="13638" y="15420"/>
                  <a:pt x="13667" y="15109"/>
                  <a:pt x="13764" y="14754"/>
                </a:cubicBezTo>
                <a:cubicBezTo>
                  <a:pt x="13864" y="14385"/>
                  <a:pt x="14007" y="13983"/>
                  <a:pt x="14190" y="13556"/>
                </a:cubicBezTo>
                <a:lnTo>
                  <a:pt x="17729" y="4845"/>
                </a:lnTo>
                <a:lnTo>
                  <a:pt x="16677" y="4845"/>
                </a:lnTo>
                <a:lnTo>
                  <a:pt x="16026" y="6544"/>
                </a:lnTo>
                <a:cubicBezTo>
                  <a:pt x="15715" y="5890"/>
                  <a:pt x="15207" y="5363"/>
                  <a:pt x="14512" y="4972"/>
                </a:cubicBezTo>
                <a:cubicBezTo>
                  <a:pt x="13703" y="4517"/>
                  <a:pt x="12777" y="4287"/>
                  <a:pt x="11759" y="4287"/>
                </a:cubicBezTo>
                <a:cubicBezTo>
                  <a:pt x="10637" y="4287"/>
                  <a:pt x="9596" y="4568"/>
                  <a:pt x="8663" y="5121"/>
                </a:cubicBezTo>
                <a:cubicBezTo>
                  <a:pt x="7739" y="5669"/>
                  <a:pt x="6940" y="6381"/>
                  <a:pt x="6289" y="7238"/>
                </a:cubicBezTo>
                <a:cubicBezTo>
                  <a:pt x="5641" y="8091"/>
                  <a:pt x="5132" y="9032"/>
                  <a:pt x="4777" y="10034"/>
                </a:cubicBezTo>
                <a:cubicBezTo>
                  <a:pt x="4420" y="11037"/>
                  <a:pt x="4240" y="12021"/>
                  <a:pt x="4240" y="12958"/>
                </a:cubicBezTo>
                <a:cubicBezTo>
                  <a:pt x="4240" y="13568"/>
                  <a:pt x="4354" y="14151"/>
                  <a:pt x="4579" y="14689"/>
                </a:cubicBezTo>
                <a:cubicBezTo>
                  <a:pt x="4804" y="15227"/>
                  <a:pt x="5113" y="15701"/>
                  <a:pt x="5499" y="16097"/>
                </a:cubicBezTo>
                <a:cubicBezTo>
                  <a:pt x="5887" y="16495"/>
                  <a:pt x="6354" y="16815"/>
                  <a:pt x="6889" y="17048"/>
                </a:cubicBezTo>
                <a:cubicBezTo>
                  <a:pt x="8063" y="17561"/>
                  <a:pt x="9489" y="17484"/>
                  <a:pt x="10904" y="17025"/>
                </a:cubicBezTo>
                <a:cubicBezTo>
                  <a:pt x="11562" y="16811"/>
                  <a:pt x="12160" y="16412"/>
                  <a:pt x="12689" y="15835"/>
                </a:cubicBezTo>
                <a:cubicBezTo>
                  <a:pt x="12715" y="16226"/>
                  <a:pt x="12874" y="16561"/>
                  <a:pt x="13164" y="16837"/>
                </a:cubicBezTo>
                <a:cubicBezTo>
                  <a:pt x="13559" y="17211"/>
                  <a:pt x="14086" y="17402"/>
                  <a:pt x="14731" y="17402"/>
                </a:cubicBezTo>
                <a:cubicBezTo>
                  <a:pt x="15501" y="17402"/>
                  <a:pt x="16307" y="17176"/>
                  <a:pt x="17124" y="16733"/>
                </a:cubicBezTo>
                <a:cubicBezTo>
                  <a:pt x="17934" y="16294"/>
                  <a:pt x="18680" y="15687"/>
                  <a:pt x="19342" y="14930"/>
                </a:cubicBezTo>
                <a:cubicBezTo>
                  <a:pt x="20001" y="14176"/>
                  <a:pt x="20548" y="13284"/>
                  <a:pt x="20967" y="12281"/>
                </a:cubicBezTo>
                <a:cubicBezTo>
                  <a:pt x="21387" y="11274"/>
                  <a:pt x="21600" y="10178"/>
                  <a:pt x="21600" y="9023"/>
                </a:cubicBezTo>
                <a:cubicBezTo>
                  <a:pt x="21600" y="7651"/>
                  <a:pt x="21328" y="6389"/>
                  <a:pt x="20793" y="5274"/>
                </a:cubicBezTo>
                <a:cubicBezTo>
                  <a:pt x="20258" y="4158"/>
                  <a:pt x="19518" y="3199"/>
                  <a:pt x="18594" y="2422"/>
                </a:cubicBezTo>
                <a:cubicBezTo>
                  <a:pt x="17672" y="1647"/>
                  <a:pt x="16579" y="1043"/>
                  <a:pt x="15346" y="627"/>
                </a:cubicBezTo>
                <a:cubicBezTo>
                  <a:pt x="14116" y="211"/>
                  <a:pt x="12784" y="0"/>
                  <a:pt x="11388" y="0"/>
                </a:cubicBezTo>
                <a:cubicBezTo>
                  <a:pt x="9845" y="0"/>
                  <a:pt x="8365" y="271"/>
                  <a:pt x="6989" y="805"/>
                </a:cubicBezTo>
                <a:cubicBezTo>
                  <a:pt x="5612" y="1340"/>
                  <a:pt x="4389" y="2093"/>
                  <a:pt x="3356" y="3045"/>
                </a:cubicBezTo>
                <a:cubicBezTo>
                  <a:pt x="2321" y="3996"/>
                  <a:pt x="1495" y="5137"/>
                  <a:pt x="899" y="6436"/>
                </a:cubicBezTo>
                <a:cubicBezTo>
                  <a:pt x="302" y="7737"/>
                  <a:pt x="0" y="9181"/>
                  <a:pt x="0" y="10727"/>
                </a:cubicBezTo>
                <a:cubicBezTo>
                  <a:pt x="0" y="12605"/>
                  <a:pt x="334" y="14252"/>
                  <a:pt x="993" y="15622"/>
                </a:cubicBezTo>
                <a:cubicBezTo>
                  <a:pt x="1652" y="16992"/>
                  <a:pt x="2528" y="18134"/>
                  <a:pt x="3595" y="19018"/>
                </a:cubicBezTo>
                <a:cubicBezTo>
                  <a:pt x="4661" y="19900"/>
                  <a:pt x="5890" y="20559"/>
                  <a:pt x="7249" y="20975"/>
                </a:cubicBezTo>
                <a:cubicBezTo>
                  <a:pt x="8601" y="21390"/>
                  <a:pt x="9994" y="21600"/>
                  <a:pt x="11388" y="21600"/>
                </a:cubicBezTo>
                <a:cubicBezTo>
                  <a:pt x="12348" y="21600"/>
                  <a:pt x="13317" y="21474"/>
                  <a:pt x="14267" y="21228"/>
                </a:cubicBezTo>
                <a:cubicBezTo>
                  <a:pt x="15214" y="20981"/>
                  <a:pt x="16128" y="20624"/>
                  <a:pt x="16983" y="20169"/>
                </a:cubicBezTo>
                <a:cubicBezTo>
                  <a:pt x="17839" y="19713"/>
                  <a:pt x="18642" y="19152"/>
                  <a:pt x="19372" y="18499"/>
                </a:cubicBezTo>
                <a:cubicBezTo>
                  <a:pt x="20104" y="17845"/>
                  <a:pt x="20729" y="17110"/>
                  <a:pt x="21232" y="16316"/>
                </a:cubicBezTo>
                <a:lnTo>
                  <a:pt x="21411" y="16033"/>
                </a:lnTo>
                <a:lnTo>
                  <a:pt x="20270" y="16033"/>
                </a:lnTo>
                <a:cubicBezTo>
                  <a:pt x="20270" y="16033"/>
                  <a:pt x="20215" y="16108"/>
                  <a:pt x="20215" y="16108"/>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7" name="Shape 2857"/>
          <p:cNvSpPr/>
          <p:nvPr/>
        </p:nvSpPr>
        <p:spPr>
          <a:xfrm>
            <a:off x="3060320"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429" y="14128"/>
                </a:moveTo>
                <a:cubicBezTo>
                  <a:pt x="17041" y="13430"/>
                  <a:pt x="15777" y="12523"/>
                  <a:pt x="14684" y="11440"/>
                </a:cubicBezTo>
                <a:cubicBezTo>
                  <a:pt x="15214" y="10618"/>
                  <a:pt x="15664" y="9739"/>
                  <a:pt x="16034" y="8820"/>
                </a:cubicBezTo>
                <a:cubicBezTo>
                  <a:pt x="16089" y="8826"/>
                  <a:pt x="16143" y="8836"/>
                  <a:pt x="16200" y="8836"/>
                </a:cubicBezTo>
                <a:cubicBezTo>
                  <a:pt x="17013" y="8836"/>
                  <a:pt x="17673" y="8177"/>
                  <a:pt x="17673" y="7364"/>
                </a:cubicBezTo>
                <a:cubicBezTo>
                  <a:pt x="17673" y="6787"/>
                  <a:pt x="17339" y="6294"/>
                  <a:pt x="16856" y="6052"/>
                </a:cubicBezTo>
                <a:cubicBezTo>
                  <a:pt x="17033" y="5170"/>
                  <a:pt x="17144" y="4264"/>
                  <a:pt x="17167" y="3336"/>
                </a:cubicBezTo>
                <a:cubicBezTo>
                  <a:pt x="19277" y="5136"/>
                  <a:pt x="20618" y="7809"/>
                  <a:pt x="20618" y="10800"/>
                </a:cubicBezTo>
                <a:cubicBezTo>
                  <a:pt x="20618" y="11764"/>
                  <a:pt x="20469" y="12689"/>
                  <a:pt x="20209" y="13568"/>
                </a:cubicBezTo>
                <a:cubicBezTo>
                  <a:pt x="19628" y="13783"/>
                  <a:pt x="19034" y="13971"/>
                  <a:pt x="18429" y="14128"/>
                </a:cubicBezTo>
                <a:moveTo>
                  <a:pt x="10800" y="20618"/>
                </a:moveTo>
                <a:cubicBezTo>
                  <a:pt x="8406" y="20618"/>
                  <a:pt x="6213" y="19759"/>
                  <a:pt x="4509" y="18335"/>
                </a:cubicBezTo>
                <a:cubicBezTo>
                  <a:pt x="6552" y="17934"/>
                  <a:pt x="8450" y="17135"/>
                  <a:pt x="10128" y="16031"/>
                </a:cubicBezTo>
                <a:cubicBezTo>
                  <a:pt x="10330" y="16135"/>
                  <a:pt x="10556" y="16200"/>
                  <a:pt x="10800" y="16200"/>
                </a:cubicBezTo>
                <a:cubicBezTo>
                  <a:pt x="11273" y="16200"/>
                  <a:pt x="11689" y="15973"/>
                  <a:pt x="11959" y="15627"/>
                </a:cubicBezTo>
                <a:cubicBezTo>
                  <a:pt x="12547" y="15680"/>
                  <a:pt x="13142" y="15709"/>
                  <a:pt x="13745" y="15709"/>
                </a:cubicBezTo>
                <a:cubicBezTo>
                  <a:pt x="15323" y="15709"/>
                  <a:pt x="16852" y="15508"/>
                  <a:pt x="18322" y="15156"/>
                </a:cubicBezTo>
                <a:cubicBezTo>
                  <a:pt x="18660" y="15317"/>
                  <a:pt x="18998" y="15480"/>
                  <a:pt x="19350" y="15618"/>
                </a:cubicBezTo>
                <a:cubicBezTo>
                  <a:pt x="17665" y="18601"/>
                  <a:pt x="14470" y="20618"/>
                  <a:pt x="10800" y="20618"/>
                </a:cubicBezTo>
                <a:moveTo>
                  <a:pt x="3539" y="17392"/>
                </a:moveTo>
                <a:cubicBezTo>
                  <a:pt x="3476" y="16840"/>
                  <a:pt x="3436" y="16279"/>
                  <a:pt x="3436" y="15709"/>
                </a:cubicBezTo>
                <a:cubicBezTo>
                  <a:pt x="3436" y="14763"/>
                  <a:pt x="3536" y="13842"/>
                  <a:pt x="3707" y="12946"/>
                </a:cubicBezTo>
                <a:cubicBezTo>
                  <a:pt x="5455" y="13988"/>
                  <a:pt x="7377" y="14767"/>
                  <a:pt x="9421" y="15226"/>
                </a:cubicBezTo>
                <a:cubicBezTo>
                  <a:pt x="9431" y="15253"/>
                  <a:pt x="9436" y="15282"/>
                  <a:pt x="9447" y="15308"/>
                </a:cubicBezTo>
                <a:cubicBezTo>
                  <a:pt x="7724" y="16421"/>
                  <a:pt x="5761" y="17193"/>
                  <a:pt x="3643" y="17506"/>
                </a:cubicBezTo>
                <a:cubicBezTo>
                  <a:pt x="3608" y="17469"/>
                  <a:pt x="3573" y="17430"/>
                  <a:pt x="3539" y="17392"/>
                </a:cubicBezTo>
                <a:moveTo>
                  <a:pt x="3075" y="11369"/>
                </a:moveTo>
                <a:cubicBezTo>
                  <a:pt x="2361" y="10869"/>
                  <a:pt x="1683" y="10321"/>
                  <a:pt x="1046" y="9729"/>
                </a:cubicBezTo>
                <a:cubicBezTo>
                  <a:pt x="1528" y="5299"/>
                  <a:pt x="4955" y="1762"/>
                  <a:pt x="9331" y="1104"/>
                </a:cubicBezTo>
                <a:cubicBezTo>
                  <a:pt x="9335" y="1629"/>
                  <a:pt x="9363" y="2148"/>
                  <a:pt x="9417" y="2660"/>
                </a:cubicBezTo>
                <a:cubicBezTo>
                  <a:pt x="8572" y="3227"/>
                  <a:pt x="7787" y="3879"/>
                  <a:pt x="7069" y="4596"/>
                </a:cubicBezTo>
                <a:cubicBezTo>
                  <a:pt x="6863" y="4486"/>
                  <a:pt x="6632" y="4418"/>
                  <a:pt x="6382" y="4418"/>
                </a:cubicBezTo>
                <a:cubicBezTo>
                  <a:pt x="5569" y="4418"/>
                  <a:pt x="4909" y="5078"/>
                  <a:pt x="4909" y="5891"/>
                </a:cubicBezTo>
                <a:cubicBezTo>
                  <a:pt x="4909" y="6236"/>
                  <a:pt x="5033" y="6549"/>
                  <a:pt x="5231" y="6800"/>
                </a:cubicBezTo>
                <a:cubicBezTo>
                  <a:pt x="4279" y="8179"/>
                  <a:pt x="3550" y="9719"/>
                  <a:pt x="3075" y="11369"/>
                </a:cubicBezTo>
                <a:moveTo>
                  <a:pt x="2466" y="15973"/>
                </a:moveTo>
                <a:cubicBezTo>
                  <a:pt x="1563" y="14521"/>
                  <a:pt x="1025" y="12821"/>
                  <a:pt x="989" y="10995"/>
                </a:cubicBezTo>
                <a:cubicBezTo>
                  <a:pt x="1570" y="11492"/>
                  <a:pt x="2180" y="11955"/>
                  <a:pt x="2817" y="12383"/>
                </a:cubicBezTo>
                <a:cubicBezTo>
                  <a:pt x="2585" y="13456"/>
                  <a:pt x="2455" y="14567"/>
                  <a:pt x="2455" y="15709"/>
                </a:cubicBezTo>
                <a:cubicBezTo>
                  <a:pt x="2455" y="15798"/>
                  <a:pt x="2464" y="15885"/>
                  <a:pt x="2466" y="15973"/>
                </a:cubicBezTo>
                <a:moveTo>
                  <a:pt x="13428" y="11540"/>
                </a:moveTo>
                <a:cubicBezTo>
                  <a:pt x="12907" y="12264"/>
                  <a:pt x="12315" y="12931"/>
                  <a:pt x="11674" y="13548"/>
                </a:cubicBezTo>
                <a:cubicBezTo>
                  <a:pt x="11429" y="13366"/>
                  <a:pt x="11129" y="13255"/>
                  <a:pt x="10800" y="13255"/>
                </a:cubicBezTo>
                <a:cubicBezTo>
                  <a:pt x="10166" y="13255"/>
                  <a:pt x="9631" y="13657"/>
                  <a:pt x="9423" y="14218"/>
                </a:cubicBezTo>
                <a:cubicBezTo>
                  <a:pt x="7455" y="13751"/>
                  <a:pt x="5607" y="12973"/>
                  <a:pt x="3936" y="11937"/>
                </a:cubicBezTo>
                <a:cubicBezTo>
                  <a:pt x="4379" y="10266"/>
                  <a:pt x="5100" y="8708"/>
                  <a:pt x="6060" y="7326"/>
                </a:cubicBezTo>
                <a:cubicBezTo>
                  <a:pt x="6164" y="7349"/>
                  <a:pt x="6271" y="7364"/>
                  <a:pt x="6382" y="7364"/>
                </a:cubicBezTo>
                <a:cubicBezTo>
                  <a:pt x="7195" y="7364"/>
                  <a:pt x="7855" y="6704"/>
                  <a:pt x="7855" y="5891"/>
                </a:cubicBezTo>
                <a:cubicBezTo>
                  <a:pt x="7855" y="5688"/>
                  <a:pt x="7813" y="5493"/>
                  <a:pt x="7739" y="5317"/>
                </a:cubicBezTo>
                <a:cubicBezTo>
                  <a:pt x="8307" y="4747"/>
                  <a:pt x="8920" y="4221"/>
                  <a:pt x="9575" y="3749"/>
                </a:cubicBezTo>
                <a:cubicBezTo>
                  <a:pt x="10104" y="6723"/>
                  <a:pt x="11479" y="9397"/>
                  <a:pt x="13428" y="11540"/>
                </a:cubicBezTo>
                <a:moveTo>
                  <a:pt x="10800" y="982"/>
                </a:moveTo>
                <a:cubicBezTo>
                  <a:pt x="11347" y="982"/>
                  <a:pt x="11881" y="1038"/>
                  <a:pt x="12403" y="1125"/>
                </a:cubicBezTo>
                <a:cubicBezTo>
                  <a:pt x="11696" y="1400"/>
                  <a:pt x="11005" y="1707"/>
                  <a:pt x="10354" y="2081"/>
                </a:cubicBezTo>
                <a:cubicBezTo>
                  <a:pt x="10328" y="1726"/>
                  <a:pt x="10311" y="1368"/>
                  <a:pt x="10310" y="1007"/>
                </a:cubicBezTo>
                <a:cubicBezTo>
                  <a:pt x="10474" y="999"/>
                  <a:pt x="10635" y="982"/>
                  <a:pt x="10800" y="982"/>
                </a:cubicBezTo>
                <a:moveTo>
                  <a:pt x="14120" y="12262"/>
                </a:moveTo>
                <a:cubicBezTo>
                  <a:pt x="14982" y="13097"/>
                  <a:pt x="15950" y="13819"/>
                  <a:pt x="16986" y="14440"/>
                </a:cubicBezTo>
                <a:cubicBezTo>
                  <a:pt x="15933" y="14626"/>
                  <a:pt x="14852" y="14727"/>
                  <a:pt x="13745" y="14727"/>
                </a:cubicBezTo>
                <a:cubicBezTo>
                  <a:pt x="13246" y="14727"/>
                  <a:pt x="12754" y="14702"/>
                  <a:pt x="12265" y="14664"/>
                </a:cubicBezTo>
                <a:cubicBezTo>
                  <a:pt x="12259" y="14569"/>
                  <a:pt x="12250" y="14475"/>
                  <a:pt x="12229" y="14385"/>
                </a:cubicBezTo>
                <a:cubicBezTo>
                  <a:pt x="12921" y="13737"/>
                  <a:pt x="13555" y="13027"/>
                  <a:pt x="14120" y="12262"/>
                </a:cubicBezTo>
                <a:moveTo>
                  <a:pt x="16188" y="2597"/>
                </a:moveTo>
                <a:cubicBezTo>
                  <a:pt x="16191" y="2713"/>
                  <a:pt x="16200" y="2828"/>
                  <a:pt x="16200" y="2945"/>
                </a:cubicBezTo>
                <a:cubicBezTo>
                  <a:pt x="16200" y="3967"/>
                  <a:pt x="16092" y="4962"/>
                  <a:pt x="15894" y="5924"/>
                </a:cubicBezTo>
                <a:cubicBezTo>
                  <a:pt x="15227" y="6065"/>
                  <a:pt x="14727" y="6656"/>
                  <a:pt x="14727" y="7364"/>
                </a:cubicBezTo>
                <a:cubicBezTo>
                  <a:pt x="14727" y="7765"/>
                  <a:pt x="14888" y="8127"/>
                  <a:pt x="15149" y="8393"/>
                </a:cubicBezTo>
                <a:cubicBezTo>
                  <a:pt x="14827" y="9199"/>
                  <a:pt x="14443" y="9973"/>
                  <a:pt x="13991" y="10701"/>
                </a:cubicBezTo>
                <a:cubicBezTo>
                  <a:pt x="12159" y="8620"/>
                  <a:pt x="10894" y="6025"/>
                  <a:pt x="10469" y="3152"/>
                </a:cubicBezTo>
                <a:cubicBezTo>
                  <a:pt x="11590" y="2463"/>
                  <a:pt x="12813" y="1934"/>
                  <a:pt x="14106" y="1565"/>
                </a:cubicBezTo>
                <a:cubicBezTo>
                  <a:pt x="14844" y="1829"/>
                  <a:pt x="15544" y="2173"/>
                  <a:pt x="16188" y="2597"/>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8" name="Shape 2858"/>
          <p:cNvSpPr/>
          <p:nvPr/>
        </p:nvSpPr>
        <p:spPr>
          <a:xfrm>
            <a:off x="347930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4909"/>
                </a:moveTo>
                <a:cubicBezTo>
                  <a:pt x="5498" y="4909"/>
                  <a:pt x="1200" y="4030"/>
                  <a:pt x="1200" y="2945"/>
                </a:cubicBezTo>
                <a:cubicBezTo>
                  <a:pt x="1200" y="1861"/>
                  <a:pt x="5498" y="982"/>
                  <a:pt x="10800" y="982"/>
                </a:cubicBezTo>
                <a:cubicBezTo>
                  <a:pt x="16102" y="982"/>
                  <a:pt x="20400" y="1861"/>
                  <a:pt x="20400" y="2945"/>
                </a:cubicBezTo>
                <a:cubicBezTo>
                  <a:pt x="20400" y="4030"/>
                  <a:pt x="16102" y="4909"/>
                  <a:pt x="10800" y="4909"/>
                </a:cubicBezTo>
                <a:moveTo>
                  <a:pt x="20400" y="6873"/>
                </a:moveTo>
                <a:cubicBezTo>
                  <a:pt x="20400" y="7957"/>
                  <a:pt x="16102" y="8836"/>
                  <a:pt x="10800" y="8836"/>
                </a:cubicBezTo>
                <a:cubicBezTo>
                  <a:pt x="5498" y="8836"/>
                  <a:pt x="1200" y="7957"/>
                  <a:pt x="1200" y="6873"/>
                </a:cubicBezTo>
                <a:lnTo>
                  <a:pt x="1200" y="4291"/>
                </a:lnTo>
                <a:cubicBezTo>
                  <a:pt x="2993" y="5240"/>
                  <a:pt x="6615" y="5891"/>
                  <a:pt x="10800" y="5891"/>
                </a:cubicBezTo>
                <a:cubicBezTo>
                  <a:pt x="14986" y="5891"/>
                  <a:pt x="18607" y="5240"/>
                  <a:pt x="20400" y="4291"/>
                </a:cubicBezTo>
                <a:cubicBezTo>
                  <a:pt x="20400" y="4291"/>
                  <a:pt x="20400" y="6873"/>
                  <a:pt x="20400" y="6873"/>
                </a:cubicBezTo>
                <a:close/>
                <a:moveTo>
                  <a:pt x="10800" y="10800"/>
                </a:moveTo>
                <a:cubicBezTo>
                  <a:pt x="5498" y="10800"/>
                  <a:pt x="1200" y="9921"/>
                  <a:pt x="1200" y="8836"/>
                </a:cubicBezTo>
                <a:cubicBezTo>
                  <a:pt x="1200" y="8672"/>
                  <a:pt x="1309" y="8514"/>
                  <a:pt x="1494" y="8362"/>
                </a:cubicBezTo>
                <a:cubicBezTo>
                  <a:pt x="3370" y="9232"/>
                  <a:pt x="6830" y="9818"/>
                  <a:pt x="10800" y="9818"/>
                </a:cubicBezTo>
                <a:cubicBezTo>
                  <a:pt x="14770" y="9818"/>
                  <a:pt x="18230" y="9232"/>
                  <a:pt x="20106" y="8362"/>
                </a:cubicBezTo>
                <a:cubicBezTo>
                  <a:pt x="20291" y="8514"/>
                  <a:pt x="20400" y="8672"/>
                  <a:pt x="20400" y="8836"/>
                </a:cubicBezTo>
                <a:cubicBezTo>
                  <a:pt x="20400" y="9921"/>
                  <a:pt x="16102" y="10800"/>
                  <a:pt x="10800" y="10800"/>
                </a:cubicBezTo>
                <a:moveTo>
                  <a:pt x="20400" y="12764"/>
                </a:moveTo>
                <a:cubicBezTo>
                  <a:pt x="20400" y="13848"/>
                  <a:pt x="16102" y="14727"/>
                  <a:pt x="10800" y="14727"/>
                </a:cubicBezTo>
                <a:cubicBezTo>
                  <a:pt x="5498" y="14727"/>
                  <a:pt x="1200" y="13848"/>
                  <a:pt x="1200" y="12764"/>
                </a:cubicBezTo>
                <a:lnTo>
                  <a:pt x="1200" y="10182"/>
                </a:lnTo>
                <a:cubicBezTo>
                  <a:pt x="2993" y="11131"/>
                  <a:pt x="6615" y="11782"/>
                  <a:pt x="10800" y="11782"/>
                </a:cubicBezTo>
                <a:cubicBezTo>
                  <a:pt x="14986" y="11782"/>
                  <a:pt x="18607" y="11131"/>
                  <a:pt x="20400" y="10182"/>
                </a:cubicBezTo>
                <a:cubicBezTo>
                  <a:pt x="20400" y="10182"/>
                  <a:pt x="20400" y="12764"/>
                  <a:pt x="20400" y="12764"/>
                </a:cubicBezTo>
                <a:close/>
                <a:moveTo>
                  <a:pt x="10800" y="16691"/>
                </a:moveTo>
                <a:cubicBezTo>
                  <a:pt x="5498" y="16691"/>
                  <a:pt x="1200" y="15812"/>
                  <a:pt x="1200" y="14727"/>
                </a:cubicBezTo>
                <a:cubicBezTo>
                  <a:pt x="1200" y="14563"/>
                  <a:pt x="1309" y="14405"/>
                  <a:pt x="1494" y="14253"/>
                </a:cubicBezTo>
                <a:cubicBezTo>
                  <a:pt x="3370" y="15123"/>
                  <a:pt x="6830" y="15709"/>
                  <a:pt x="10800" y="15709"/>
                </a:cubicBezTo>
                <a:cubicBezTo>
                  <a:pt x="14770" y="15709"/>
                  <a:pt x="18230" y="15123"/>
                  <a:pt x="20106" y="14253"/>
                </a:cubicBezTo>
                <a:cubicBezTo>
                  <a:pt x="20291" y="14405"/>
                  <a:pt x="20400" y="14563"/>
                  <a:pt x="20400" y="14727"/>
                </a:cubicBezTo>
                <a:cubicBezTo>
                  <a:pt x="20400" y="15812"/>
                  <a:pt x="16102" y="16691"/>
                  <a:pt x="10800" y="16691"/>
                </a:cubicBezTo>
                <a:moveTo>
                  <a:pt x="20400" y="18655"/>
                </a:moveTo>
                <a:cubicBezTo>
                  <a:pt x="20400" y="19739"/>
                  <a:pt x="16102" y="20618"/>
                  <a:pt x="10800" y="20618"/>
                </a:cubicBezTo>
                <a:cubicBezTo>
                  <a:pt x="5498" y="20618"/>
                  <a:pt x="1200" y="19739"/>
                  <a:pt x="1200" y="18655"/>
                </a:cubicBezTo>
                <a:lnTo>
                  <a:pt x="1200" y="16073"/>
                </a:lnTo>
                <a:cubicBezTo>
                  <a:pt x="2993" y="17022"/>
                  <a:pt x="6615" y="17673"/>
                  <a:pt x="10800" y="17673"/>
                </a:cubicBezTo>
                <a:cubicBezTo>
                  <a:pt x="14986" y="17673"/>
                  <a:pt x="18607" y="17022"/>
                  <a:pt x="20400" y="16073"/>
                </a:cubicBezTo>
                <a:cubicBezTo>
                  <a:pt x="20400" y="16073"/>
                  <a:pt x="20400" y="18655"/>
                  <a:pt x="20400" y="18655"/>
                </a:cubicBezTo>
                <a:close/>
                <a:moveTo>
                  <a:pt x="21600" y="2945"/>
                </a:moveTo>
                <a:cubicBezTo>
                  <a:pt x="21600" y="1319"/>
                  <a:pt x="16765" y="0"/>
                  <a:pt x="10800" y="0"/>
                </a:cubicBezTo>
                <a:cubicBezTo>
                  <a:pt x="4835" y="0"/>
                  <a:pt x="0" y="1319"/>
                  <a:pt x="0" y="2945"/>
                </a:cubicBezTo>
                <a:lnTo>
                  <a:pt x="0" y="6873"/>
                </a:lnTo>
                <a:cubicBezTo>
                  <a:pt x="0" y="7218"/>
                  <a:pt x="229" y="7547"/>
                  <a:pt x="628" y="7855"/>
                </a:cubicBezTo>
                <a:cubicBezTo>
                  <a:pt x="229" y="8162"/>
                  <a:pt x="0" y="8492"/>
                  <a:pt x="0" y="8836"/>
                </a:cubicBezTo>
                <a:lnTo>
                  <a:pt x="0" y="12764"/>
                </a:lnTo>
                <a:cubicBezTo>
                  <a:pt x="0" y="13109"/>
                  <a:pt x="229" y="13438"/>
                  <a:pt x="628" y="13745"/>
                </a:cubicBezTo>
                <a:cubicBezTo>
                  <a:pt x="229" y="14053"/>
                  <a:pt x="0" y="14383"/>
                  <a:pt x="0" y="14727"/>
                </a:cubicBezTo>
                <a:lnTo>
                  <a:pt x="0" y="18655"/>
                </a:lnTo>
                <a:cubicBezTo>
                  <a:pt x="0" y="20281"/>
                  <a:pt x="4835" y="21600"/>
                  <a:pt x="10800" y="21600"/>
                </a:cubicBezTo>
                <a:cubicBezTo>
                  <a:pt x="16765" y="21600"/>
                  <a:pt x="21600" y="20281"/>
                  <a:pt x="21600" y="18655"/>
                </a:cubicBezTo>
                <a:lnTo>
                  <a:pt x="21600" y="14727"/>
                </a:lnTo>
                <a:cubicBezTo>
                  <a:pt x="21600" y="14383"/>
                  <a:pt x="21371" y="14053"/>
                  <a:pt x="20972" y="13745"/>
                </a:cubicBezTo>
                <a:cubicBezTo>
                  <a:pt x="21371" y="13438"/>
                  <a:pt x="21600" y="13109"/>
                  <a:pt x="21600" y="12764"/>
                </a:cubicBezTo>
                <a:lnTo>
                  <a:pt x="21600" y="8836"/>
                </a:lnTo>
                <a:cubicBezTo>
                  <a:pt x="21600" y="8492"/>
                  <a:pt x="21371" y="8162"/>
                  <a:pt x="20972" y="7855"/>
                </a:cubicBezTo>
                <a:cubicBezTo>
                  <a:pt x="21371" y="7547"/>
                  <a:pt x="21600" y="7218"/>
                  <a:pt x="21600" y="6873"/>
                </a:cubicBezTo>
                <a:cubicBezTo>
                  <a:pt x="21600" y="6873"/>
                  <a:pt x="21600" y="2945"/>
                  <a:pt x="21600" y="294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59" name="Shape 2859"/>
          <p:cNvSpPr/>
          <p:nvPr/>
        </p:nvSpPr>
        <p:spPr>
          <a:xfrm>
            <a:off x="386021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1"/>
                  <a:pt x="11183" y="9162"/>
                  <a:pt x="11217" y="9308"/>
                </a:cubicBezTo>
                <a:cubicBezTo>
                  <a:pt x="9543" y="9225"/>
                  <a:pt x="8059" y="8436"/>
                  <a:pt x="7065" y="7236"/>
                </a:cubicBezTo>
                <a:cubicBezTo>
                  <a:pt x="6892" y="7530"/>
                  <a:pt x="6793" y="7869"/>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0" name="Shape 2860"/>
          <p:cNvSpPr/>
          <p:nvPr/>
        </p:nvSpPr>
        <p:spPr>
          <a:xfrm>
            <a:off x="426015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4" y="7858"/>
                </a:lnTo>
                <a:lnTo>
                  <a:pt x="13244" y="6381"/>
                </a:lnTo>
                <a:lnTo>
                  <a:pt x="11938" y="6381"/>
                </a:lnTo>
                <a:cubicBezTo>
                  <a:pt x="10369"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1" name="Shape 2861"/>
          <p:cNvSpPr/>
          <p:nvPr/>
        </p:nvSpPr>
        <p:spPr>
          <a:xfrm>
            <a:off x="468867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19" y="12090"/>
                  <a:pt x="14019" y="12428"/>
                  <a:pt x="14019" y="12428"/>
                </a:cubicBezTo>
                <a:lnTo>
                  <a:pt x="14019" y="12863"/>
                </a:lnTo>
                <a:lnTo>
                  <a:pt x="14628" y="12863"/>
                </a:lnTo>
                <a:lnTo>
                  <a:pt x="14628" y="12428"/>
                </a:lnTo>
                <a:cubicBezTo>
                  <a:pt x="14628" y="12428"/>
                  <a:pt x="14628" y="12090"/>
                  <a:pt x="14324" y="12090"/>
                </a:cubicBezTo>
                <a:moveTo>
                  <a:pt x="15287" y="12380"/>
                </a:moveTo>
                <a:lnTo>
                  <a:pt x="15287" y="13348"/>
                </a:lnTo>
                <a:lnTo>
                  <a:pt x="14019" y="13348"/>
                </a:lnTo>
                <a:lnTo>
                  <a:pt x="14019" y="14072"/>
                </a:lnTo>
                <a:cubicBezTo>
                  <a:pt x="14019" y="14072"/>
                  <a:pt x="14019" y="14411"/>
                  <a:pt x="14324" y="14411"/>
                </a:cubicBezTo>
                <a:cubicBezTo>
                  <a:pt x="14628" y="14411"/>
                  <a:pt x="14628" y="14072"/>
                  <a:pt x="14628" y="14072"/>
                </a:cubicBezTo>
                <a:lnTo>
                  <a:pt x="14628" y="13734"/>
                </a:lnTo>
                <a:lnTo>
                  <a:pt x="15287" y="13734"/>
                </a:lnTo>
                <a:lnTo>
                  <a:pt x="15287" y="14266"/>
                </a:lnTo>
                <a:cubicBezTo>
                  <a:pt x="15287" y="14266"/>
                  <a:pt x="15186" y="14943"/>
                  <a:pt x="14375" y="14943"/>
                </a:cubicBezTo>
                <a:cubicBezTo>
                  <a:pt x="13564" y="14943"/>
                  <a:pt x="13411" y="14266"/>
                  <a:pt x="13411" y="14266"/>
                </a:cubicBezTo>
                <a:lnTo>
                  <a:pt x="13411" y="12380"/>
                </a:lnTo>
                <a:cubicBezTo>
                  <a:pt x="13411" y="12380"/>
                  <a:pt x="13411" y="11558"/>
                  <a:pt x="14375" y="11558"/>
                </a:cubicBezTo>
                <a:cubicBezTo>
                  <a:pt x="15338" y="11558"/>
                  <a:pt x="15287" y="12380"/>
                  <a:pt x="15287" y="12380"/>
                </a:cubicBezTo>
                <a:moveTo>
                  <a:pt x="12904" y="14169"/>
                </a:moveTo>
                <a:cubicBezTo>
                  <a:pt x="12904" y="14169"/>
                  <a:pt x="12904" y="14943"/>
                  <a:pt x="12347" y="14943"/>
                </a:cubicBezTo>
                <a:cubicBezTo>
                  <a:pt x="12005" y="14943"/>
                  <a:pt x="11798" y="14762"/>
                  <a:pt x="11687" y="14621"/>
                </a:cubicBezTo>
                <a:lnTo>
                  <a:pt x="11687" y="14895"/>
                </a:lnTo>
                <a:lnTo>
                  <a:pt x="11028" y="14895"/>
                </a:lnTo>
                <a:lnTo>
                  <a:pt x="11028" y="10446"/>
                </a:lnTo>
                <a:lnTo>
                  <a:pt x="11687" y="10446"/>
                </a:lnTo>
                <a:lnTo>
                  <a:pt x="11687" y="11888"/>
                </a:lnTo>
                <a:cubicBezTo>
                  <a:pt x="11788" y="11782"/>
                  <a:pt x="12036" y="11558"/>
                  <a:pt x="12347" y="11558"/>
                </a:cubicBezTo>
                <a:cubicBezTo>
                  <a:pt x="12752" y="11558"/>
                  <a:pt x="12904" y="11896"/>
                  <a:pt x="12904" y="12332"/>
                </a:cubicBezTo>
                <a:cubicBezTo>
                  <a:pt x="12904" y="12332"/>
                  <a:pt x="12904" y="14169"/>
                  <a:pt x="12904"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3" y="11074"/>
                </a:lnTo>
                <a:lnTo>
                  <a:pt x="6363" y="10446"/>
                </a:lnTo>
                <a:lnTo>
                  <a:pt x="8595" y="10446"/>
                </a:lnTo>
                <a:cubicBezTo>
                  <a:pt x="8595" y="10446"/>
                  <a:pt x="8595" y="11074"/>
                  <a:pt x="8595" y="11074"/>
                </a:cubicBezTo>
                <a:close/>
                <a:moveTo>
                  <a:pt x="14527" y="9430"/>
                </a:moveTo>
                <a:cubicBezTo>
                  <a:pt x="14527" y="9430"/>
                  <a:pt x="12667" y="9334"/>
                  <a:pt x="10800" y="9334"/>
                </a:cubicBezTo>
                <a:cubicBezTo>
                  <a:pt x="8940" y="9334"/>
                  <a:pt x="7074" y="9430"/>
                  <a:pt x="7074" y="9430"/>
                </a:cubicBezTo>
                <a:cubicBezTo>
                  <a:pt x="6233" y="9430"/>
                  <a:pt x="5552" y="10080"/>
                  <a:pt x="5552" y="10881"/>
                </a:cubicBezTo>
                <a:cubicBezTo>
                  <a:pt x="5552" y="10881"/>
                  <a:pt x="5400" y="11822"/>
                  <a:pt x="5400" y="12767"/>
                </a:cubicBezTo>
                <a:cubicBezTo>
                  <a:pt x="5400" y="13708"/>
                  <a:pt x="5552" y="14652"/>
                  <a:pt x="5552" y="14652"/>
                </a:cubicBezTo>
                <a:cubicBezTo>
                  <a:pt x="5552" y="15454"/>
                  <a:pt x="6233" y="16103"/>
                  <a:pt x="7074" y="16103"/>
                </a:cubicBezTo>
                <a:cubicBezTo>
                  <a:pt x="7074" y="16103"/>
                  <a:pt x="8905" y="16200"/>
                  <a:pt x="10800" y="16200"/>
                </a:cubicBezTo>
                <a:cubicBezTo>
                  <a:pt x="12630" y="16200"/>
                  <a:pt x="14527" y="16103"/>
                  <a:pt x="14527" y="16103"/>
                </a:cubicBezTo>
                <a:cubicBezTo>
                  <a:pt x="15367" y="16103"/>
                  <a:pt x="16048" y="15454"/>
                  <a:pt x="16048" y="14652"/>
                </a:cubicBezTo>
                <a:cubicBezTo>
                  <a:pt x="16048" y="14652"/>
                  <a:pt x="16200" y="13700"/>
                  <a:pt x="16200" y="12767"/>
                </a:cubicBezTo>
                <a:cubicBezTo>
                  <a:pt x="16200" y="11814"/>
                  <a:pt x="16048" y="10881"/>
                  <a:pt x="16048" y="10881"/>
                </a:cubicBezTo>
                <a:cubicBezTo>
                  <a:pt x="16048" y="10080"/>
                  <a:pt x="15367" y="9430"/>
                  <a:pt x="14527" y="9430"/>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992" y="12090"/>
                </a:moveTo>
                <a:cubicBezTo>
                  <a:pt x="11860" y="12090"/>
                  <a:pt x="11757" y="12168"/>
                  <a:pt x="11687" y="12243"/>
                </a:cubicBezTo>
                <a:lnTo>
                  <a:pt x="11687" y="14276"/>
                </a:lnTo>
                <a:cubicBezTo>
                  <a:pt x="11751" y="14345"/>
                  <a:pt x="11847" y="14411"/>
                  <a:pt x="11992" y="14411"/>
                </a:cubicBezTo>
                <a:cubicBezTo>
                  <a:pt x="12296" y="14411"/>
                  <a:pt x="12296" y="14072"/>
                  <a:pt x="12296" y="14072"/>
                </a:cubicBezTo>
                <a:lnTo>
                  <a:pt x="12296" y="12428"/>
                </a:lnTo>
                <a:cubicBezTo>
                  <a:pt x="12296" y="12428"/>
                  <a:pt x="12245" y="12090"/>
                  <a:pt x="11992" y="1209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2397" y="8801"/>
                </a:moveTo>
                <a:cubicBezTo>
                  <a:pt x="12802" y="8801"/>
                  <a:pt x="13158" y="8449"/>
                  <a:pt x="13158" y="8449"/>
                </a:cubicBezTo>
                <a:lnTo>
                  <a:pt x="13158" y="8751"/>
                </a:lnTo>
                <a:lnTo>
                  <a:pt x="13766" y="8751"/>
                </a:lnTo>
                <a:lnTo>
                  <a:pt x="13766" y="5878"/>
                </a:lnTo>
                <a:lnTo>
                  <a:pt x="13158" y="5878"/>
                </a:lnTo>
                <a:lnTo>
                  <a:pt x="13158" y="8096"/>
                </a:lnTo>
                <a:cubicBezTo>
                  <a:pt x="13158" y="8096"/>
                  <a:pt x="12955" y="8348"/>
                  <a:pt x="12752" y="8348"/>
                </a:cubicBezTo>
                <a:cubicBezTo>
                  <a:pt x="12549" y="8348"/>
                  <a:pt x="12549" y="8196"/>
                  <a:pt x="12549" y="8196"/>
                </a:cubicBezTo>
                <a:lnTo>
                  <a:pt x="12549" y="5878"/>
                </a:lnTo>
                <a:lnTo>
                  <a:pt x="11941" y="5878"/>
                </a:lnTo>
                <a:lnTo>
                  <a:pt x="11941" y="8398"/>
                </a:lnTo>
                <a:cubicBezTo>
                  <a:pt x="11941" y="8398"/>
                  <a:pt x="11992" y="8801"/>
                  <a:pt x="12397" y="8801"/>
                </a:cubicBezTo>
                <a:moveTo>
                  <a:pt x="10166" y="6634"/>
                </a:moveTo>
                <a:cubicBezTo>
                  <a:pt x="10166" y="6467"/>
                  <a:pt x="10302" y="6332"/>
                  <a:pt x="10470" y="6332"/>
                </a:cubicBezTo>
                <a:cubicBezTo>
                  <a:pt x="10639" y="6332"/>
                  <a:pt x="10775" y="6467"/>
                  <a:pt x="10775" y="6634"/>
                </a:cubicBezTo>
                <a:lnTo>
                  <a:pt x="10775" y="8045"/>
                </a:lnTo>
                <a:cubicBezTo>
                  <a:pt x="10775" y="8212"/>
                  <a:pt x="10639" y="8348"/>
                  <a:pt x="10470" y="8348"/>
                </a:cubicBezTo>
                <a:cubicBezTo>
                  <a:pt x="10302"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8"/>
                  <a:pt x="10572" y="5878"/>
                </a:cubicBezTo>
                <a:lnTo>
                  <a:pt x="10369" y="5878"/>
                </a:lnTo>
                <a:cubicBezTo>
                  <a:pt x="9921" y="5878"/>
                  <a:pt x="9558" y="6239"/>
                  <a:pt x="9558" y="6684"/>
                </a:cubicBezTo>
                <a:lnTo>
                  <a:pt x="9558" y="7995"/>
                </a:lnTo>
                <a:cubicBezTo>
                  <a:pt x="9558" y="8440"/>
                  <a:pt x="9921" y="8801"/>
                  <a:pt x="10369"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2" name="Shape 2862"/>
          <p:cNvSpPr/>
          <p:nvPr/>
        </p:nvSpPr>
        <p:spPr>
          <a:xfrm>
            <a:off x="5088616"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0672" y="6382"/>
                </a:moveTo>
                <a:cubicBezTo>
                  <a:pt x="10464"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9" y="11643"/>
                </a:cubicBezTo>
                <a:cubicBezTo>
                  <a:pt x="8462" y="11568"/>
                  <a:pt x="8536" y="11425"/>
                  <a:pt x="8519" y="11330"/>
                </a:cubicBezTo>
                <a:cubicBezTo>
                  <a:pt x="8490" y="11170"/>
                  <a:pt x="8318" y="11068"/>
                  <a:pt x="8246" y="10939"/>
                </a:cubicBezTo>
                <a:cubicBezTo>
                  <a:pt x="8099" y="10677"/>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7"/>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7" y="10569"/>
                  <a:pt x="9347" y="10878"/>
                  <a:pt x="9322" y="10986"/>
                </a:cubicBezTo>
                <a:cubicBezTo>
                  <a:pt x="9213" y="11462"/>
                  <a:pt x="9088" y="11974"/>
                  <a:pt x="8953" y="12442"/>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7"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1"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3" name="Shape 2863"/>
          <p:cNvSpPr/>
          <p:nvPr/>
        </p:nvSpPr>
        <p:spPr>
          <a:xfrm>
            <a:off x="548856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81" y="6871"/>
                </a:moveTo>
                <a:cubicBezTo>
                  <a:pt x="12915" y="6830"/>
                  <a:pt x="11990" y="7537"/>
                  <a:pt x="11505" y="8992"/>
                </a:cubicBezTo>
                <a:cubicBezTo>
                  <a:pt x="11755" y="8897"/>
                  <a:pt x="11997" y="8849"/>
                  <a:pt x="12232" y="8849"/>
                </a:cubicBezTo>
                <a:cubicBezTo>
                  <a:pt x="12732" y="8849"/>
                  <a:pt x="12952" y="9108"/>
                  <a:pt x="12893" y="9624"/>
                </a:cubicBezTo>
                <a:cubicBezTo>
                  <a:pt x="12864" y="9937"/>
                  <a:pt x="12643" y="10393"/>
                  <a:pt x="12232" y="10991"/>
                </a:cubicBezTo>
                <a:cubicBezTo>
                  <a:pt x="11821" y="11589"/>
                  <a:pt x="11513" y="11888"/>
                  <a:pt x="11307" y="11888"/>
                </a:cubicBezTo>
                <a:cubicBezTo>
                  <a:pt x="11043" y="11888"/>
                  <a:pt x="10800" y="11426"/>
                  <a:pt x="10580" y="10502"/>
                </a:cubicBezTo>
                <a:cubicBezTo>
                  <a:pt x="10506" y="10230"/>
                  <a:pt x="10374" y="9536"/>
                  <a:pt x="10183" y="8421"/>
                </a:cubicBezTo>
                <a:cubicBezTo>
                  <a:pt x="10007" y="7388"/>
                  <a:pt x="9537" y="6905"/>
                  <a:pt x="8774" y="6973"/>
                </a:cubicBezTo>
                <a:cubicBezTo>
                  <a:pt x="8450" y="7000"/>
                  <a:pt x="7966" y="7272"/>
                  <a:pt x="7320" y="7789"/>
                </a:cubicBezTo>
                <a:cubicBezTo>
                  <a:pt x="6849" y="8183"/>
                  <a:pt x="6372" y="8577"/>
                  <a:pt x="5888" y="8972"/>
                </a:cubicBezTo>
                <a:lnTo>
                  <a:pt x="6350" y="9522"/>
                </a:lnTo>
                <a:cubicBezTo>
                  <a:pt x="6790" y="9237"/>
                  <a:pt x="7047" y="9094"/>
                  <a:pt x="7121" y="9094"/>
                </a:cubicBezTo>
                <a:cubicBezTo>
                  <a:pt x="7459" y="9094"/>
                  <a:pt x="7774" y="9583"/>
                  <a:pt x="8068" y="10562"/>
                </a:cubicBezTo>
                <a:cubicBezTo>
                  <a:pt x="8333" y="11460"/>
                  <a:pt x="8597" y="12358"/>
                  <a:pt x="8861" y="13255"/>
                </a:cubicBezTo>
                <a:cubicBezTo>
                  <a:pt x="9258" y="14234"/>
                  <a:pt x="9743" y="14723"/>
                  <a:pt x="10316" y="14723"/>
                </a:cubicBezTo>
                <a:cubicBezTo>
                  <a:pt x="11241" y="14723"/>
                  <a:pt x="12372" y="13921"/>
                  <a:pt x="13709" y="12317"/>
                </a:cubicBezTo>
                <a:cubicBezTo>
                  <a:pt x="15001" y="10780"/>
                  <a:pt x="15669" y="9570"/>
                  <a:pt x="15713" y="8686"/>
                </a:cubicBezTo>
                <a:cubicBezTo>
                  <a:pt x="15772" y="7503"/>
                  <a:pt x="15295" y="6898"/>
                  <a:pt x="14281" y="687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4" name="Shape 2864"/>
          <p:cNvSpPr/>
          <p:nvPr/>
        </p:nvSpPr>
        <p:spPr>
          <a:xfrm>
            <a:off x="588850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5" y="7359"/>
                </a:moveTo>
                <a:lnTo>
                  <a:pt x="13743" y="7359"/>
                </a:lnTo>
                <a:lnTo>
                  <a:pt x="13743" y="8833"/>
                </a:lnTo>
                <a:lnTo>
                  <a:pt x="12265" y="8833"/>
                </a:lnTo>
                <a:lnTo>
                  <a:pt x="12265" y="9816"/>
                </a:lnTo>
                <a:lnTo>
                  <a:pt x="13743" y="9816"/>
                </a:lnTo>
                <a:lnTo>
                  <a:pt x="13743" y="11283"/>
                </a:lnTo>
                <a:lnTo>
                  <a:pt x="14725" y="11283"/>
                </a:lnTo>
                <a:lnTo>
                  <a:pt x="14725" y="9816"/>
                </a:lnTo>
                <a:lnTo>
                  <a:pt x="16205" y="9816"/>
                </a:lnTo>
                <a:lnTo>
                  <a:pt x="16205" y="8833"/>
                </a:lnTo>
                <a:lnTo>
                  <a:pt x="14725" y="8833"/>
                </a:lnTo>
                <a:cubicBezTo>
                  <a:pt x="14725" y="8833"/>
                  <a:pt x="14725" y="7359"/>
                  <a:pt x="14725" y="7359"/>
                </a:cubicBezTo>
                <a:close/>
                <a:moveTo>
                  <a:pt x="9321" y="13946"/>
                </a:moveTo>
                <a:cubicBezTo>
                  <a:pt x="8620" y="13946"/>
                  <a:pt x="8071" y="13495"/>
                  <a:pt x="8071" y="12919"/>
                </a:cubicBezTo>
                <a:cubicBezTo>
                  <a:pt x="8071" y="12392"/>
                  <a:pt x="8713" y="11929"/>
                  <a:pt x="9446" y="11929"/>
                </a:cubicBezTo>
                <a:lnTo>
                  <a:pt x="9446" y="11723"/>
                </a:lnTo>
                <a:lnTo>
                  <a:pt x="9447" y="11723"/>
                </a:lnTo>
                <a:lnTo>
                  <a:pt x="9465" y="11929"/>
                </a:lnTo>
                <a:cubicBezTo>
                  <a:pt x="9624" y="11930"/>
                  <a:pt x="9777" y="11954"/>
                  <a:pt x="9922" y="12000"/>
                </a:cubicBezTo>
                <a:lnTo>
                  <a:pt x="10067" y="12104"/>
                </a:lnTo>
                <a:cubicBezTo>
                  <a:pt x="10440" y="12371"/>
                  <a:pt x="10637" y="12521"/>
                  <a:pt x="10695" y="12764"/>
                </a:cubicBezTo>
                <a:cubicBezTo>
                  <a:pt x="10710" y="12827"/>
                  <a:pt x="10717" y="12891"/>
                  <a:pt x="10717" y="12954"/>
                </a:cubicBezTo>
                <a:cubicBezTo>
                  <a:pt x="10717" y="13612"/>
                  <a:pt x="10247" y="13946"/>
                  <a:pt x="9321" y="13946"/>
                </a:cubicBezTo>
                <a:moveTo>
                  <a:pt x="8542" y="8739"/>
                </a:moveTo>
                <a:cubicBezTo>
                  <a:pt x="8495" y="8362"/>
                  <a:pt x="8574" y="8014"/>
                  <a:pt x="8754" y="7806"/>
                </a:cubicBezTo>
                <a:cubicBezTo>
                  <a:pt x="8864" y="7680"/>
                  <a:pt x="9006" y="7613"/>
                  <a:pt x="9164" y="7613"/>
                </a:cubicBezTo>
                <a:lnTo>
                  <a:pt x="9164" y="7409"/>
                </a:lnTo>
                <a:lnTo>
                  <a:pt x="9182" y="7613"/>
                </a:lnTo>
                <a:cubicBezTo>
                  <a:pt x="9653" y="7628"/>
                  <a:pt x="10105" y="8185"/>
                  <a:pt x="10189" y="8855"/>
                </a:cubicBezTo>
                <a:cubicBezTo>
                  <a:pt x="10237" y="9239"/>
                  <a:pt x="10155" y="9596"/>
                  <a:pt x="9970" y="9809"/>
                </a:cubicBezTo>
                <a:cubicBezTo>
                  <a:pt x="9860" y="9935"/>
                  <a:pt x="9722" y="10002"/>
                  <a:pt x="9550" y="10001"/>
                </a:cubicBezTo>
                <a:lnTo>
                  <a:pt x="9549" y="10001"/>
                </a:lnTo>
                <a:cubicBezTo>
                  <a:pt x="9087" y="9988"/>
                  <a:pt x="8626" y="9409"/>
                  <a:pt x="8542" y="8739"/>
                </a:cubicBezTo>
                <a:moveTo>
                  <a:pt x="10838" y="11196"/>
                </a:moveTo>
                <a:cubicBezTo>
                  <a:pt x="10586" y="11009"/>
                  <a:pt x="10351" y="10732"/>
                  <a:pt x="10342" y="10646"/>
                </a:cubicBezTo>
                <a:cubicBezTo>
                  <a:pt x="10342" y="10499"/>
                  <a:pt x="10342" y="10431"/>
                  <a:pt x="10689" y="10148"/>
                </a:cubicBezTo>
                <a:cubicBezTo>
                  <a:pt x="11138" y="9780"/>
                  <a:pt x="11386" y="9295"/>
                  <a:pt x="11386" y="8784"/>
                </a:cubicBezTo>
                <a:cubicBezTo>
                  <a:pt x="11386" y="8342"/>
                  <a:pt x="11262" y="7947"/>
                  <a:pt x="11050" y="7659"/>
                </a:cubicBezTo>
                <a:lnTo>
                  <a:pt x="11238" y="7659"/>
                </a:lnTo>
                <a:lnTo>
                  <a:pt x="12276" y="6873"/>
                </a:lnTo>
                <a:lnTo>
                  <a:pt x="9463" y="6873"/>
                </a:lnTo>
                <a:cubicBezTo>
                  <a:pt x="8335" y="6873"/>
                  <a:pt x="7345" y="7759"/>
                  <a:pt x="7345" y="8769"/>
                </a:cubicBezTo>
                <a:cubicBezTo>
                  <a:pt x="7345" y="9812"/>
                  <a:pt x="8109" y="10605"/>
                  <a:pt x="9137" y="10648"/>
                </a:cubicBezTo>
                <a:cubicBezTo>
                  <a:pt x="9121" y="10722"/>
                  <a:pt x="9113" y="10795"/>
                  <a:pt x="9113" y="10868"/>
                </a:cubicBezTo>
                <a:cubicBezTo>
                  <a:pt x="9113" y="11018"/>
                  <a:pt x="9147" y="11162"/>
                  <a:pt x="9216" y="11300"/>
                </a:cubicBezTo>
                <a:cubicBezTo>
                  <a:pt x="7943" y="11309"/>
                  <a:pt x="6870" y="12161"/>
                  <a:pt x="6870" y="13167"/>
                </a:cubicBezTo>
                <a:cubicBezTo>
                  <a:pt x="6870" y="14071"/>
                  <a:pt x="7903" y="14727"/>
                  <a:pt x="9325" y="14727"/>
                </a:cubicBezTo>
                <a:cubicBezTo>
                  <a:pt x="10861" y="14727"/>
                  <a:pt x="11690" y="13766"/>
                  <a:pt x="11690" y="12860"/>
                </a:cubicBezTo>
                <a:cubicBezTo>
                  <a:pt x="11690" y="12108"/>
                  <a:pt x="11459" y="11656"/>
                  <a:pt x="10838" y="11196"/>
                </a:cubicBezTo>
                <a:moveTo>
                  <a:pt x="10800" y="20618"/>
                </a:moveTo>
                <a:cubicBezTo>
                  <a:pt x="5378" y="20618"/>
                  <a:pt x="982" y="16223"/>
                  <a:pt x="982" y="10800"/>
                </a:cubicBezTo>
                <a:cubicBezTo>
                  <a:pt x="982" y="5378"/>
                  <a:pt x="5378"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5" name="Shape 2865"/>
          <p:cNvSpPr/>
          <p:nvPr/>
        </p:nvSpPr>
        <p:spPr>
          <a:xfrm>
            <a:off x="6288453"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3430" y="9320"/>
                </a:moveTo>
                <a:cubicBezTo>
                  <a:pt x="11975" y="9320"/>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0"/>
                  <a:pt x="13430" y="9320"/>
                </a:cubicBezTo>
                <a:moveTo>
                  <a:pt x="6873" y="14727"/>
                </a:moveTo>
                <a:lnTo>
                  <a:pt x="8829" y="14727"/>
                </a:lnTo>
                <a:lnTo>
                  <a:pt x="8829" y="9320"/>
                </a:lnTo>
                <a:lnTo>
                  <a:pt x="6873" y="9320"/>
                </a:lnTo>
                <a:cubicBezTo>
                  <a:pt x="6873" y="9320"/>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6" name="Shape 2866"/>
          <p:cNvSpPr/>
          <p:nvPr/>
        </p:nvSpPr>
        <p:spPr>
          <a:xfrm>
            <a:off x="6688399"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1591" y="13291"/>
                </a:moveTo>
                <a:cubicBezTo>
                  <a:pt x="11452" y="13214"/>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9" y="13478"/>
                  <a:pt x="9448" y="13667"/>
                </a:cubicBezTo>
                <a:cubicBezTo>
                  <a:pt x="9528" y="13856"/>
                  <a:pt x="9671" y="14034"/>
                  <a:pt x="9879" y="14202"/>
                </a:cubicBezTo>
                <a:cubicBezTo>
                  <a:pt x="10086" y="14370"/>
                  <a:pt x="10336" y="14498"/>
                  <a:pt x="10629" y="14589"/>
                </a:cubicBezTo>
                <a:cubicBezTo>
                  <a:pt x="10922" y="14679"/>
                  <a:pt x="11238" y="14727"/>
                  <a:pt x="11620" y="14727"/>
                </a:cubicBezTo>
                <a:cubicBezTo>
                  <a:pt x="11955" y="14727"/>
                  <a:pt x="12228" y="14693"/>
                  <a:pt x="12517" y="14629"/>
                </a:cubicBezTo>
                <a:cubicBezTo>
                  <a:pt x="12806" y="14566"/>
                  <a:pt x="13221" y="14455"/>
                  <a:pt x="13578" y="14297"/>
                </a:cubicBezTo>
                <a:lnTo>
                  <a:pt x="13583" y="13091"/>
                </a:lnTo>
                <a:cubicBezTo>
                  <a:pt x="13165" y="13349"/>
                  <a:pt x="12648" y="13447"/>
                  <a:pt x="12225" y="13447"/>
                </a:cubicBezTo>
                <a:cubicBezTo>
                  <a:pt x="11987" y="13447"/>
                  <a:pt x="11776" y="13395"/>
                  <a:pt x="11591"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7" name="Shape 2867"/>
          <p:cNvSpPr/>
          <p:nvPr/>
        </p:nvSpPr>
        <p:spPr>
          <a:xfrm>
            <a:off x="7088345"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2"/>
                </a:lnTo>
                <a:cubicBezTo>
                  <a:pt x="13281" y="13032"/>
                  <a:pt x="13386" y="13050"/>
                  <a:pt x="13473" y="13085"/>
                </a:cubicBezTo>
                <a:lnTo>
                  <a:pt x="13579" y="13126"/>
                </a:lnTo>
                <a:lnTo>
                  <a:pt x="13598" y="13012"/>
                </a:lnTo>
                <a:cubicBezTo>
                  <a:pt x="13837" y="11522"/>
                  <a:pt x="14296" y="9525"/>
                  <a:pt x="14542" y="8453"/>
                </a:cubicBezTo>
                <a:cubicBezTo>
                  <a:pt x="14618" y="8121"/>
                  <a:pt x="14675" y="7877"/>
                  <a:pt x="14698" y="7763"/>
                </a:cubicBezTo>
                <a:cubicBezTo>
                  <a:pt x="14745" y="7530"/>
                  <a:pt x="14724" y="7343"/>
                  <a:pt x="14637" y="7206"/>
                </a:cubicBezTo>
                <a:cubicBezTo>
                  <a:pt x="14563" y="7092"/>
                  <a:pt x="14447" y="7018"/>
                  <a:pt x="14291" y="6986"/>
                </a:cubicBezTo>
                <a:moveTo>
                  <a:pt x="13280" y="13606"/>
                </a:moveTo>
                <a:cubicBezTo>
                  <a:pt x="12921" y="13524"/>
                  <a:pt x="12660" y="13682"/>
                  <a:pt x="12569" y="14030"/>
                </a:cubicBezTo>
                <a:cubicBezTo>
                  <a:pt x="12528" y="14187"/>
                  <a:pt x="12550" y="14335"/>
                  <a:pt x="12631" y="14459"/>
                </a:cubicBezTo>
                <a:cubicBezTo>
                  <a:pt x="12706" y="14574"/>
                  <a:pt x="12831" y="14661"/>
                  <a:pt x="12982" y="14701"/>
                </a:cubicBezTo>
                <a:cubicBezTo>
                  <a:pt x="13045" y="14719"/>
                  <a:pt x="13109" y="14728"/>
                  <a:pt x="13172" y="14728"/>
                </a:cubicBezTo>
                <a:cubicBezTo>
                  <a:pt x="13438" y="14728"/>
                  <a:pt x="13639" y="14578"/>
                  <a:pt x="13698" y="14338"/>
                </a:cubicBezTo>
                <a:cubicBezTo>
                  <a:pt x="13741" y="14156"/>
                  <a:pt x="13722" y="13990"/>
                  <a:pt x="13643" y="13857"/>
                </a:cubicBezTo>
                <a:cubicBezTo>
                  <a:pt x="13567" y="13732"/>
                  <a:pt x="13439" y="13644"/>
                  <a:pt x="13280" y="13606"/>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98" y="6884"/>
                </a:moveTo>
                <a:lnTo>
                  <a:pt x="12930" y="6884"/>
                </a:lnTo>
                <a:lnTo>
                  <a:pt x="12906" y="6887"/>
                </a:lnTo>
                <a:cubicBezTo>
                  <a:pt x="12646" y="6961"/>
                  <a:pt x="12244" y="6961"/>
                  <a:pt x="11983" y="6887"/>
                </a:cubicBezTo>
                <a:lnTo>
                  <a:pt x="11902" y="6884"/>
                </a:lnTo>
                <a:lnTo>
                  <a:pt x="9988" y="10156"/>
                </a:lnTo>
                <a:lnTo>
                  <a:pt x="8067" y="6873"/>
                </a:lnTo>
                <a:lnTo>
                  <a:pt x="8000" y="6891"/>
                </a:lnTo>
                <a:cubicBezTo>
                  <a:pt x="7739" y="6962"/>
                  <a:pt x="7347" y="6960"/>
                  <a:pt x="7088" y="6887"/>
                </a:cubicBezTo>
                <a:lnTo>
                  <a:pt x="6878" y="6884"/>
                </a:lnTo>
                <a:lnTo>
                  <a:pt x="9482" y="11392"/>
                </a:lnTo>
                <a:lnTo>
                  <a:pt x="9404" y="14626"/>
                </a:lnTo>
                <a:lnTo>
                  <a:pt x="9407" y="14722"/>
                </a:lnTo>
                <a:lnTo>
                  <a:pt x="9502" y="14722"/>
                </a:lnTo>
                <a:lnTo>
                  <a:pt x="9526" y="14719"/>
                </a:lnTo>
                <a:cubicBezTo>
                  <a:pt x="9786" y="14646"/>
                  <a:pt x="10190" y="14646"/>
                  <a:pt x="10449" y="14719"/>
                </a:cubicBezTo>
                <a:lnTo>
                  <a:pt x="10573" y="14722"/>
                </a:lnTo>
                <a:lnTo>
                  <a:pt x="10512" y="11391"/>
                </a:lnTo>
                <a:cubicBezTo>
                  <a:pt x="10600" y="11229"/>
                  <a:pt x="11150" y="10205"/>
                  <a:pt x="11738" y="9180"/>
                </a:cubicBezTo>
                <a:cubicBezTo>
                  <a:pt x="12342" y="8126"/>
                  <a:pt x="13008" y="7040"/>
                  <a:pt x="13015" y="7029"/>
                </a:cubicBezTo>
                <a:cubicBezTo>
                  <a:pt x="13015" y="7029"/>
                  <a:pt x="13098" y="6884"/>
                  <a:pt x="13098" y="688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8" name="Shape 2868"/>
          <p:cNvSpPr/>
          <p:nvPr/>
        </p:nvSpPr>
        <p:spPr>
          <a:xfrm>
            <a:off x="7488291"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062" y="5890"/>
                </a:moveTo>
                <a:lnTo>
                  <a:pt x="10786" y="7776"/>
                </a:lnTo>
                <a:lnTo>
                  <a:pt x="13925" y="9725"/>
                </a:lnTo>
                <a:lnTo>
                  <a:pt x="16200" y="7926"/>
                </a:lnTo>
                <a:cubicBezTo>
                  <a:pt x="16200" y="7926"/>
                  <a:pt x="13062" y="5890"/>
                  <a:pt x="13062" y="5890"/>
                </a:cubicBezTo>
                <a:close/>
                <a:moveTo>
                  <a:pt x="5400" y="8027"/>
                </a:moveTo>
                <a:lnTo>
                  <a:pt x="7647" y="9763"/>
                </a:lnTo>
                <a:lnTo>
                  <a:pt x="10786" y="7776"/>
                </a:lnTo>
                <a:lnTo>
                  <a:pt x="8630" y="5891"/>
                </a:lnTo>
                <a:cubicBezTo>
                  <a:pt x="8630" y="5891"/>
                  <a:pt x="5400" y="8027"/>
                  <a:pt x="5400" y="8027"/>
                </a:cubicBezTo>
                <a:close/>
                <a:moveTo>
                  <a:pt x="12965" y="14699"/>
                </a:moveTo>
                <a:lnTo>
                  <a:pt x="12958" y="14707"/>
                </a:lnTo>
                <a:lnTo>
                  <a:pt x="10801" y="13100"/>
                </a:lnTo>
                <a:lnTo>
                  <a:pt x="8731" y="14685"/>
                </a:lnTo>
                <a:lnTo>
                  <a:pt x="8712" y="14715"/>
                </a:lnTo>
                <a:lnTo>
                  <a:pt x="7571" y="14025"/>
                </a:lnTo>
                <a:lnTo>
                  <a:pt x="7571" y="14627"/>
                </a:lnTo>
                <a:lnTo>
                  <a:pt x="10799" y="16692"/>
                </a:lnTo>
                <a:lnTo>
                  <a:pt x="14000" y="14627"/>
                </a:lnTo>
                <a:lnTo>
                  <a:pt x="14000" y="14067"/>
                </a:lnTo>
                <a:lnTo>
                  <a:pt x="12965" y="14699"/>
                </a:lnTo>
                <a:cubicBezTo>
                  <a:pt x="12965" y="14699"/>
                  <a:pt x="12965" y="14699"/>
                  <a:pt x="12965" y="14699"/>
                </a:cubicBezTo>
                <a:close/>
                <a:moveTo>
                  <a:pt x="7642" y="9766"/>
                </a:moveTo>
                <a:lnTo>
                  <a:pt x="5404" y="11577"/>
                </a:lnTo>
                <a:lnTo>
                  <a:pt x="7350" y="12746"/>
                </a:lnTo>
                <a:lnTo>
                  <a:pt x="7351" y="12745"/>
                </a:lnTo>
                <a:lnTo>
                  <a:pt x="7775" y="13002"/>
                </a:lnTo>
                <a:lnTo>
                  <a:pt x="8631" y="13516"/>
                </a:lnTo>
                <a:lnTo>
                  <a:pt x="10063" y="12429"/>
                </a:lnTo>
                <a:lnTo>
                  <a:pt x="10780" y="11880"/>
                </a:lnTo>
                <a:lnTo>
                  <a:pt x="10782" y="11882"/>
                </a:lnTo>
                <a:lnTo>
                  <a:pt x="10786" y="11880"/>
                </a:lnTo>
                <a:lnTo>
                  <a:pt x="10798" y="11888"/>
                </a:lnTo>
                <a:lnTo>
                  <a:pt x="10805" y="11880"/>
                </a:lnTo>
                <a:lnTo>
                  <a:pt x="12509" y="13148"/>
                </a:lnTo>
                <a:lnTo>
                  <a:pt x="13007" y="13515"/>
                </a:lnTo>
                <a:lnTo>
                  <a:pt x="16198" y="11575"/>
                </a:lnTo>
                <a:lnTo>
                  <a:pt x="13925" y="9727"/>
                </a:lnTo>
                <a:lnTo>
                  <a:pt x="10788" y="11715"/>
                </a:lnTo>
                <a:cubicBezTo>
                  <a:pt x="10788" y="11715"/>
                  <a:pt x="7642" y="9766"/>
                  <a:pt x="7642" y="9766"/>
                </a:cubicBezTo>
                <a:close/>
                <a:moveTo>
                  <a:pt x="13925" y="9727"/>
                </a:moveTo>
                <a:lnTo>
                  <a:pt x="13925" y="9725"/>
                </a:lnTo>
                <a:lnTo>
                  <a:pt x="13925" y="9725"/>
                </a:lnTo>
                <a:lnTo>
                  <a:pt x="13924" y="9725"/>
                </a:lnTo>
                <a:cubicBezTo>
                  <a:pt x="13924" y="9725"/>
                  <a:pt x="13925" y="9727"/>
                  <a:pt x="13925" y="97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69" name="Shape 2869"/>
          <p:cNvSpPr/>
          <p:nvPr/>
        </p:nvSpPr>
        <p:spPr>
          <a:xfrm>
            <a:off x="7888237"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7"/>
                  <a:pt x="14287" y="14727"/>
                  <a:pt x="13745" y="14727"/>
                </a:cubicBezTo>
                <a:lnTo>
                  <a:pt x="7855" y="14727"/>
                </a:lnTo>
                <a:cubicBezTo>
                  <a:pt x="7313" y="14727"/>
                  <a:pt x="6873" y="14287"/>
                  <a:pt x="6873" y="13745"/>
                </a:cubicBezTo>
                <a:lnTo>
                  <a:pt x="6873" y="10309"/>
                </a:lnTo>
                <a:lnTo>
                  <a:pt x="7904" y="10309"/>
                </a:lnTo>
                <a:cubicBezTo>
                  <a:pt x="7877" y="10470"/>
                  <a:pt x="7855" y="10632"/>
                  <a:pt x="7855" y="10800"/>
                </a:cubicBezTo>
                <a:cubicBezTo>
                  <a:pt x="7855" y="12427"/>
                  <a:pt x="9173" y="13745"/>
                  <a:pt x="10800" y="13745"/>
                </a:cubicBezTo>
                <a:cubicBezTo>
                  <a:pt x="12426"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0" name="Shape 2870"/>
          <p:cNvSpPr/>
          <p:nvPr/>
        </p:nvSpPr>
        <p:spPr>
          <a:xfrm>
            <a:off x="8288182" y="2498285"/>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7"/>
                </a:lnTo>
                <a:cubicBezTo>
                  <a:pt x="15118" y="9995"/>
                  <a:pt x="15213" y="9425"/>
                  <a:pt x="15213" y="8919"/>
                </a:cubicBezTo>
                <a:cubicBezTo>
                  <a:pt x="15213" y="8812"/>
                  <a:pt x="15201" y="8718"/>
                  <a:pt x="15194" y="8620"/>
                </a:cubicBezTo>
                <a:cubicBezTo>
                  <a:pt x="15521" y="9277"/>
                  <a:pt x="15709" y="10016"/>
                  <a:pt x="15709" y="10800"/>
                </a:cubicBezTo>
                <a:moveTo>
                  <a:pt x="11487"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1" y="8413"/>
                </a:cubicBezTo>
                <a:cubicBezTo>
                  <a:pt x="9351" y="8413"/>
                  <a:pt x="9605" y="8444"/>
                  <a:pt x="9874" y="8460"/>
                </a:cubicBezTo>
                <a:lnTo>
                  <a:pt x="10651" y="10590"/>
                </a:lnTo>
                <a:lnTo>
                  <a:pt x="9559" y="13866"/>
                </a:lnTo>
                <a:lnTo>
                  <a:pt x="7742" y="8460"/>
                </a:lnTo>
                <a:cubicBezTo>
                  <a:pt x="8042" y="8444"/>
                  <a:pt x="8313" y="8413"/>
                  <a:pt x="8313" y="8413"/>
                </a:cubicBezTo>
                <a:cubicBezTo>
                  <a:pt x="8581" y="8380"/>
                  <a:pt x="8550" y="7986"/>
                  <a:pt x="8281" y="8001"/>
                </a:cubicBezTo>
                <a:cubicBezTo>
                  <a:pt x="8281" y="8001"/>
                  <a:pt x="7473" y="8065"/>
                  <a:pt x="6951" y="8065"/>
                </a:cubicBezTo>
                <a:cubicBezTo>
                  <a:pt x="6885" y="8065"/>
                  <a:pt x="6805" y="8063"/>
                  <a:pt x="6726" y="8060"/>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90" y="12162"/>
                </a:cubicBezTo>
                <a:lnTo>
                  <a:pt x="13291" y="13825"/>
                </a:lnTo>
                <a:cubicBezTo>
                  <a:pt x="13291" y="13825"/>
                  <a:pt x="11487" y="8460"/>
                  <a:pt x="11487" y="8460"/>
                </a:cubicBezTo>
                <a:close/>
                <a:moveTo>
                  <a:pt x="10800" y="15709"/>
                </a:moveTo>
                <a:cubicBezTo>
                  <a:pt x="10320" y="15709"/>
                  <a:pt x="9857" y="15637"/>
                  <a:pt x="9417" y="15508"/>
                </a:cubicBezTo>
                <a:lnTo>
                  <a:pt x="10887" y="11237"/>
                </a:lnTo>
                <a:cubicBezTo>
                  <a:pt x="10887" y="11237"/>
                  <a:pt x="12211" y="14864"/>
                  <a:pt x="12426" y="15428"/>
                </a:cubicBezTo>
                <a:cubicBezTo>
                  <a:pt x="11916" y="15607"/>
                  <a:pt x="11370" y="15709"/>
                  <a:pt x="10800" y="15709"/>
                </a:cubicBezTo>
                <a:moveTo>
                  <a:pt x="5891" y="10800"/>
                </a:moveTo>
                <a:cubicBezTo>
                  <a:pt x="5891" y="10118"/>
                  <a:pt x="6030" y="9470"/>
                  <a:pt x="6281" y="8880"/>
                </a:cubicBezTo>
                <a:lnTo>
                  <a:pt x="8578"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4" y="16691"/>
                  <a:pt x="16691" y="14054"/>
                  <a:pt x="16691" y="10800"/>
                </a:cubicBezTo>
                <a:cubicBezTo>
                  <a:pt x="16691" y="7547"/>
                  <a:pt x="14054" y="4909"/>
                  <a:pt x="10800" y="4909"/>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1" name="Shape 2871"/>
          <p:cNvSpPr/>
          <p:nvPr/>
        </p:nvSpPr>
        <p:spPr>
          <a:xfrm>
            <a:off x="468867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236" y="10309"/>
                </a:moveTo>
                <a:cubicBezTo>
                  <a:pt x="13552"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9" y="14322"/>
                  <a:pt x="13226" y="15065"/>
                </a:cubicBezTo>
                <a:moveTo>
                  <a:pt x="10800" y="15709"/>
                </a:moveTo>
                <a:cubicBezTo>
                  <a:pt x="9746" y="15709"/>
                  <a:pt x="8772" y="15374"/>
                  <a:pt x="7971" y="14808"/>
                </a:cubicBezTo>
                <a:cubicBezTo>
                  <a:pt x="8822" y="13429"/>
                  <a:pt x="10108" y="12348"/>
                  <a:pt x="11646" y="11769"/>
                </a:cubicBezTo>
                <a:cubicBezTo>
                  <a:pt x="12027" y="12943"/>
                  <a:pt x="12241" y="14191"/>
                  <a:pt x="12264" y="15487"/>
                </a:cubicBezTo>
                <a:cubicBezTo>
                  <a:pt x="11801" y="15631"/>
                  <a:pt x="11310" y="15709"/>
                  <a:pt x="10800" y="15709"/>
                </a:cubicBezTo>
                <a:moveTo>
                  <a:pt x="5891" y="10800"/>
                </a:moveTo>
                <a:cubicBezTo>
                  <a:pt x="7641" y="10800"/>
                  <a:pt x="9313" y="10470"/>
                  <a:pt x="10852" y="9873"/>
                </a:cubicBezTo>
                <a:cubicBezTo>
                  <a:pt x="11016"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9"/>
                  <a:pt x="10353" y="9000"/>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3"/>
                  <a:pt x="7547" y="16691"/>
                  <a:pt x="10800" y="16691"/>
                </a:cubicBezTo>
                <a:cubicBezTo>
                  <a:pt x="14053" y="16691"/>
                  <a:pt x="16691" y="14053"/>
                  <a:pt x="16691" y="10800"/>
                </a:cubicBezTo>
                <a:cubicBezTo>
                  <a:pt x="16691" y="7547"/>
                  <a:pt x="14053" y="4909"/>
                  <a:pt x="10800"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2" name="Shape 2872"/>
          <p:cNvSpPr/>
          <p:nvPr/>
        </p:nvSpPr>
        <p:spPr>
          <a:xfrm>
            <a:off x="5088616"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5929" y="7018"/>
                </a:moveTo>
                <a:cubicBezTo>
                  <a:pt x="15540" y="7246"/>
                  <a:pt x="15108" y="7411"/>
                  <a:pt x="14650" y="7499"/>
                </a:cubicBezTo>
                <a:cubicBezTo>
                  <a:pt x="14282" y="7114"/>
                  <a:pt x="13759" y="6874"/>
                  <a:pt x="13180" y="6874"/>
                </a:cubicBezTo>
                <a:cubicBezTo>
                  <a:pt x="12067" y="6874"/>
                  <a:pt x="11165" y="7762"/>
                  <a:pt x="11165" y="8856"/>
                </a:cubicBezTo>
                <a:cubicBezTo>
                  <a:pt x="11165" y="9011"/>
                  <a:pt x="11183" y="9162"/>
                  <a:pt x="11217" y="9308"/>
                </a:cubicBezTo>
                <a:cubicBezTo>
                  <a:pt x="9543" y="9225"/>
                  <a:pt x="8059" y="8436"/>
                  <a:pt x="7066" y="7236"/>
                </a:cubicBezTo>
                <a:cubicBezTo>
                  <a:pt x="6892" y="7529"/>
                  <a:pt x="6793" y="7870"/>
                  <a:pt x="6793" y="8233"/>
                </a:cubicBezTo>
                <a:cubicBezTo>
                  <a:pt x="6793" y="8921"/>
                  <a:pt x="7148" y="9528"/>
                  <a:pt x="7689" y="9883"/>
                </a:cubicBezTo>
                <a:cubicBezTo>
                  <a:pt x="7359" y="9873"/>
                  <a:pt x="7048" y="9784"/>
                  <a:pt x="6777" y="9635"/>
                </a:cubicBezTo>
                <a:cubicBezTo>
                  <a:pt x="6776" y="9644"/>
                  <a:pt x="6776" y="9652"/>
                  <a:pt x="6776" y="9660"/>
                </a:cubicBezTo>
                <a:cubicBezTo>
                  <a:pt x="6776" y="10621"/>
                  <a:pt x="7471" y="11422"/>
                  <a:pt x="8392" y="11604"/>
                </a:cubicBezTo>
                <a:cubicBezTo>
                  <a:pt x="8223" y="11650"/>
                  <a:pt x="8045" y="11673"/>
                  <a:pt x="7861" y="11673"/>
                </a:cubicBezTo>
                <a:cubicBezTo>
                  <a:pt x="7732" y="11673"/>
                  <a:pt x="7606" y="11661"/>
                  <a:pt x="7483" y="11638"/>
                </a:cubicBezTo>
                <a:cubicBezTo>
                  <a:pt x="7739" y="12426"/>
                  <a:pt x="8482" y="12999"/>
                  <a:pt x="9364" y="13015"/>
                </a:cubicBezTo>
                <a:cubicBezTo>
                  <a:pt x="8674" y="13547"/>
                  <a:pt x="7806" y="13863"/>
                  <a:pt x="6862" y="13863"/>
                </a:cubicBezTo>
                <a:cubicBezTo>
                  <a:pt x="6699" y="13863"/>
                  <a:pt x="6539" y="13855"/>
                  <a:pt x="6382" y="13837"/>
                </a:cubicBezTo>
                <a:cubicBezTo>
                  <a:pt x="7273" y="14398"/>
                  <a:pt x="8332" y="14727"/>
                  <a:pt x="9470" y="14727"/>
                </a:cubicBezTo>
                <a:cubicBezTo>
                  <a:pt x="13174" y="14727"/>
                  <a:pt x="15200" y="11706"/>
                  <a:pt x="15200" y="9086"/>
                </a:cubicBezTo>
                <a:cubicBezTo>
                  <a:pt x="15200" y="9000"/>
                  <a:pt x="15199" y="8914"/>
                  <a:pt x="15195" y="8829"/>
                </a:cubicBezTo>
                <a:cubicBezTo>
                  <a:pt x="15588" y="8550"/>
                  <a:pt x="15930" y="8201"/>
                  <a:pt x="16200" y="7804"/>
                </a:cubicBezTo>
                <a:cubicBezTo>
                  <a:pt x="15839" y="7960"/>
                  <a:pt x="15451" y="8067"/>
                  <a:pt x="15043" y="8115"/>
                </a:cubicBezTo>
                <a:cubicBezTo>
                  <a:pt x="15459" y="7870"/>
                  <a:pt x="15778" y="7482"/>
                  <a:pt x="15929" y="70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3" name="Shape 2873"/>
          <p:cNvSpPr/>
          <p:nvPr/>
        </p:nvSpPr>
        <p:spPr>
          <a:xfrm>
            <a:off x="548856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776" y="8468"/>
                </a:moveTo>
                <a:cubicBezTo>
                  <a:pt x="11776" y="8071"/>
                  <a:pt x="11817" y="7858"/>
                  <a:pt x="12428" y="7858"/>
                </a:cubicBezTo>
                <a:lnTo>
                  <a:pt x="13245" y="7858"/>
                </a:lnTo>
                <a:lnTo>
                  <a:pt x="13245" y="6381"/>
                </a:lnTo>
                <a:lnTo>
                  <a:pt x="11938" y="6381"/>
                </a:lnTo>
                <a:cubicBezTo>
                  <a:pt x="10368" y="6381"/>
                  <a:pt x="9816" y="7120"/>
                  <a:pt x="9816" y="8363"/>
                </a:cubicBezTo>
                <a:lnTo>
                  <a:pt x="9816" y="9322"/>
                </a:lnTo>
                <a:lnTo>
                  <a:pt x="8837" y="9322"/>
                </a:lnTo>
                <a:lnTo>
                  <a:pt x="8837" y="10800"/>
                </a:lnTo>
                <a:lnTo>
                  <a:pt x="9816" y="10800"/>
                </a:lnTo>
                <a:lnTo>
                  <a:pt x="9816" y="15219"/>
                </a:lnTo>
                <a:lnTo>
                  <a:pt x="11774" y="15219"/>
                </a:lnTo>
                <a:lnTo>
                  <a:pt x="11774" y="10800"/>
                </a:lnTo>
                <a:lnTo>
                  <a:pt x="13081" y="10800"/>
                </a:lnTo>
                <a:lnTo>
                  <a:pt x="13254" y="9322"/>
                </a:lnTo>
                <a:lnTo>
                  <a:pt x="11774" y="9322"/>
                </a:lnTo>
                <a:cubicBezTo>
                  <a:pt x="11774" y="9322"/>
                  <a:pt x="11776" y="8468"/>
                  <a:pt x="11776" y="8468"/>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4" name="Shape 2874"/>
          <p:cNvSpPr/>
          <p:nvPr/>
        </p:nvSpPr>
        <p:spPr>
          <a:xfrm>
            <a:off x="588850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324" y="12090"/>
                </a:moveTo>
                <a:cubicBezTo>
                  <a:pt x="14020" y="12090"/>
                  <a:pt x="14020" y="12429"/>
                  <a:pt x="14020" y="12429"/>
                </a:cubicBezTo>
                <a:lnTo>
                  <a:pt x="14020" y="12863"/>
                </a:lnTo>
                <a:lnTo>
                  <a:pt x="14629" y="12863"/>
                </a:lnTo>
                <a:lnTo>
                  <a:pt x="14629" y="12429"/>
                </a:lnTo>
                <a:cubicBezTo>
                  <a:pt x="14629" y="12429"/>
                  <a:pt x="14629" y="12090"/>
                  <a:pt x="14324" y="12090"/>
                </a:cubicBezTo>
                <a:moveTo>
                  <a:pt x="15287" y="12380"/>
                </a:moveTo>
                <a:lnTo>
                  <a:pt x="15287" y="13348"/>
                </a:lnTo>
                <a:lnTo>
                  <a:pt x="14020" y="13348"/>
                </a:lnTo>
                <a:lnTo>
                  <a:pt x="14020" y="14072"/>
                </a:lnTo>
                <a:cubicBezTo>
                  <a:pt x="14020" y="14072"/>
                  <a:pt x="14020" y="14411"/>
                  <a:pt x="14324" y="14411"/>
                </a:cubicBezTo>
                <a:cubicBezTo>
                  <a:pt x="14629" y="14411"/>
                  <a:pt x="14629" y="14072"/>
                  <a:pt x="14629" y="14072"/>
                </a:cubicBezTo>
                <a:lnTo>
                  <a:pt x="14629" y="13734"/>
                </a:lnTo>
                <a:lnTo>
                  <a:pt x="15287" y="13734"/>
                </a:lnTo>
                <a:lnTo>
                  <a:pt x="15287" y="14266"/>
                </a:lnTo>
                <a:cubicBezTo>
                  <a:pt x="15287" y="14266"/>
                  <a:pt x="15186" y="14943"/>
                  <a:pt x="14375" y="14943"/>
                </a:cubicBezTo>
                <a:cubicBezTo>
                  <a:pt x="13564" y="14943"/>
                  <a:pt x="13412" y="14266"/>
                  <a:pt x="13412" y="14266"/>
                </a:cubicBezTo>
                <a:lnTo>
                  <a:pt x="13412" y="12380"/>
                </a:lnTo>
                <a:cubicBezTo>
                  <a:pt x="13412" y="12380"/>
                  <a:pt x="13412" y="11558"/>
                  <a:pt x="14375" y="11558"/>
                </a:cubicBezTo>
                <a:cubicBezTo>
                  <a:pt x="15338" y="11558"/>
                  <a:pt x="15287" y="12380"/>
                  <a:pt x="15287" y="12380"/>
                </a:cubicBezTo>
                <a:moveTo>
                  <a:pt x="12905" y="14169"/>
                </a:moveTo>
                <a:cubicBezTo>
                  <a:pt x="12905" y="14169"/>
                  <a:pt x="12905" y="14943"/>
                  <a:pt x="12347" y="14943"/>
                </a:cubicBezTo>
                <a:cubicBezTo>
                  <a:pt x="12005" y="14943"/>
                  <a:pt x="11798" y="14762"/>
                  <a:pt x="11688" y="14621"/>
                </a:cubicBezTo>
                <a:lnTo>
                  <a:pt x="11688" y="14895"/>
                </a:lnTo>
                <a:lnTo>
                  <a:pt x="11028" y="14895"/>
                </a:lnTo>
                <a:lnTo>
                  <a:pt x="11028" y="10446"/>
                </a:lnTo>
                <a:lnTo>
                  <a:pt x="11688" y="10446"/>
                </a:lnTo>
                <a:lnTo>
                  <a:pt x="11688" y="11888"/>
                </a:lnTo>
                <a:cubicBezTo>
                  <a:pt x="11788" y="11782"/>
                  <a:pt x="12037" y="11558"/>
                  <a:pt x="12347" y="11558"/>
                </a:cubicBezTo>
                <a:cubicBezTo>
                  <a:pt x="12752" y="11558"/>
                  <a:pt x="12905" y="11896"/>
                  <a:pt x="12905" y="12332"/>
                </a:cubicBezTo>
                <a:cubicBezTo>
                  <a:pt x="12905" y="12332"/>
                  <a:pt x="12905" y="14169"/>
                  <a:pt x="12905" y="14169"/>
                </a:cubicBezTo>
                <a:close/>
                <a:moveTo>
                  <a:pt x="10521" y="14895"/>
                </a:moveTo>
                <a:lnTo>
                  <a:pt x="9913" y="14895"/>
                </a:lnTo>
                <a:lnTo>
                  <a:pt x="9913" y="14605"/>
                </a:lnTo>
                <a:cubicBezTo>
                  <a:pt x="9913" y="14605"/>
                  <a:pt x="9558" y="14943"/>
                  <a:pt x="9152" y="14943"/>
                </a:cubicBezTo>
                <a:cubicBezTo>
                  <a:pt x="8747" y="14943"/>
                  <a:pt x="8696" y="14556"/>
                  <a:pt x="8696" y="14556"/>
                </a:cubicBezTo>
                <a:lnTo>
                  <a:pt x="8696" y="11558"/>
                </a:lnTo>
                <a:lnTo>
                  <a:pt x="9304" y="11558"/>
                </a:lnTo>
                <a:lnTo>
                  <a:pt x="9304" y="14362"/>
                </a:lnTo>
                <a:cubicBezTo>
                  <a:pt x="9304" y="14362"/>
                  <a:pt x="9304" y="14508"/>
                  <a:pt x="9507" y="14508"/>
                </a:cubicBezTo>
                <a:cubicBezTo>
                  <a:pt x="9710" y="14508"/>
                  <a:pt x="9913" y="14266"/>
                  <a:pt x="9913" y="14266"/>
                </a:cubicBezTo>
                <a:lnTo>
                  <a:pt x="9913" y="11558"/>
                </a:lnTo>
                <a:lnTo>
                  <a:pt x="10521" y="11558"/>
                </a:lnTo>
                <a:cubicBezTo>
                  <a:pt x="10521" y="11558"/>
                  <a:pt x="10521" y="14895"/>
                  <a:pt x="10521" y="14895"/>
                </a:cubicBezTo>
                <a:close/>
                <a:moveTo>
                  <a:pt x="8595" y="11074"/>
                </a:moveTo>
                <a:lnTo>
                  <a:pt x="7834" y="11074"/>
                </a:lnTo>
                <a:lnTo>
                  <a:pt x="7834" y="14895"/>
                </a:lnTo>
                <a:lnTo>
                  <a:pt x="7124" y="14895"/>
                </a:lnTo>
                <a:lnTo>
                  <a:pt x="7124" y="11074"/>
                </a:lnTo>
                <a:lnTo>
                  <a:pt x="6364" y="11074"/>
                </a:lnTo>
                <a:lnTo>
                  <a:pt x="6364" y="10446"/>
                </a:lnTo>
                <a:lnTo>
                  <a:pt x="8595" y="10446"/>
                </a:lnTo>
                <a:cubicBezTo>
                  <a:pt x="8595" y="10446"/>
                  <a:pt x="8595" y="11074"/>
                  <a:pt x="8595" y="11074"/>
                </a:cubicBezTo>
                <a:close/>
                <a:moveTo>
                  <a:pt x="14527" y="9430"/>
                </a:moveTo>
                <a:cubicBezTo>
                  <a:pt x="14527" y="9430"/>
                  <a:pt x="12667" y="9334"/>
                  <a:pt x="10800" y="9334"/>
                </a:cubicBezTo>
                <a:cubicBezTo>
                  <a:pt x="8941" y="9334"/>
                  <a:pt x="7074" y="9430"/>
                  <a:pt x="7074" y="9430"/>
                </a:cubicBezTo>
                <a:cubicBezTo>
                  <a:pt x="6234" y="9430"/>
                  <a:pt x="5552" y="10080"/>
                  <a:pt x="5552" y="10881"/>
                </a:cubicBezTo>
                <a:cubicBezTo>
                  <a:pt x="5552" y="10881"/>
                  <a:pt x="5400" y="11822"/>
                  <a:pt x="5400" y="12767"/>
                </a:cubicBezTo>
                <a:cubicBezTo>
                  <a:pt x="5400" y="13708"/>
                  <a:pt x="5552" y="14652"/>
                  <a:pt x="5552" y="14652"/>
                </a:cubicBezTo>
                <a:cubicBezTo>
                  <a:pt x="5552" y="15454"/>
                  <a:pt x="6234" y="16104"/>
                  <a:pt x="7074" y="16104"/>
                </a:cubicBezTo>
                <a:cubicBezTo>
                  <a:pt x="7074" y="16104"/>
                  <a:pt x="8905" y="16200"/>
                  <a:pt x="10800" y="16200"/>
                </a:cubicBezTo>
                <a:cubicBezTo>
                  <a:pt x="12631" y="16200"/>
                  <a:pt x="14527" y="16104"/>
                  <a:pt x="14527" y="16104"/>
                </a:cubicBezTo>
                <a:cubicBezTo>
                  <a:pt x="15367" y="16104"/>
                  <a:pt x="16049" y="15454"/>
                  <a:pt x="16049" y="14652"/>
                </a:cubicBezTo>
                <a:cubicBezTo>
                  <a:pt x="16049" y="14652"/>
                  <a:pt x="16200" y="13700"/>
                  <a:pt x="16200" y="12767"/>
                </a:cubicBezTo>
                <a:cubicBezTo>
                  <a:pt x="16200" y="11814"/>
                  <a:pt x="16049" y="10881"/>
                  <a:pt x="16049" y="10881"/>
                </a:cubicBezTo>
                <a:cubicBezTo>
                  <a:pt x="16049" y="10080"/>
                  <a:pt x="15367" y="9430"/>
                  <a:pt x="14527" y="9430"/>
                </a:cubicBezTo>
                <a:moveTo>
                  <a:pt x="11992" y="12090"/>
                </a:moveTo>
                <a:cubicBezTo>
                  <a:pt x="11860" y="12090"/>
                  <a:pt x="11757" y="12167"/>
                  <a:pt x="11688" y="12243"/>
                </a:cubicBezTo>
                <a:lnTo>
                  <a:pt x="11688" y="14276"/>
                </a:lnTo>
                <a:cubicBezTo>
                  <a:pt x="11751" y="14345"/>
                  <a:pt x="11848" y="14411"/>
                  <a:pt x="11992" y="14411"/>
                </a:cubicBezTo>
                <a:cubicBezTo>
                  <a:pt x="12296" y="14411"/>
                  <a:pt x="12296" y="14072"/>
                  <a:pt x="12296" y="14072"/>
                </a:cubicBezTo>
                <a:lnTo>
                  <a:pt x="12296" y="12429"/>
                </a:lnTo>
                <a:cubicBezTo>
                  <a:pt x="12296" y="12429"/>
                  <a:pt x="12245" y="12090"/>
                  <a:pt x="11992" y="12090"/>
                </a:cubicBezTo>
                <a:moveTo>
                  <a:pt x="20618" y="19636"/>
                </a:moveTo>
                <a:cubicBezTo>
                  <a:pt x="20618" y="20179"/>
                  <a:pt x="20179"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9"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986" y="8751"/>
                </a:moveTo>
                <a:lnTo>
                  <a:pt x="8696" y="8751"/>
                </a:lnTo>
                <a:lnTo>
                  <a:pt x="8696" y="7188"/>
                </a:lnTo>
                <a:lnTo>
                  <a:pt x="9507" y="4970"/>
                </a:lnTo>
                <a:lnTo>
                  <a:pt x="8848" y="4970"/>
                </a:lnTo>
                <a:lnTo>
                  <a:pt x="8341" y="6433"/>
                </a:lnTo>
                <a:lnTo>
                  <a:pt x="7834" y="4970"/>
                </a:lnTo>
                <a:lnTo>
                  <a:pt x="7124" y="4970"/>
                </a:lnTo>
                <a:lnTo>
                  <a:pt x="7986" y="7188"/>
                </a:lnTo>
                <a:cubicBezTo>
                  <a:pt x="7986" y="7188"/>
                  <a:pt x="7986" y="8751"/>
                  <a:pt x="7986" y="8751"/>
                </a:cubicBezTo>
                <a:close/>
                <a:moveTo>
                  <a:pt x="10166" y="6634"/>
                </a:moveTo>
                <a:cubicBezTo>
                  <a:pt x="10166" y="6467"/>
                  <a:pt x="10303" y="6332"/>
                  <a:pt x="10471" y="6332"/>
                </a:cubicBezTo>
                <a:cubicBezTo>
                  <a:pt x="10639" y="6332"/>
                  <a:pt x="10775" y="6467"/>
                  <a:pt x="10775" y="6634"/>
                </a:cubicBezTo>
                <a:lnTo>
                  <a:pt x="10775" y="8045"/>
                </a:lnTo>
                <a:cubicBezTo>
                  <a:pt x="10775" y="8212"/>
                  <a:pt x="10639" y="8348"/>
                  <a:pt x="10471" y="8348"/>
                </a:cubicBezTo>
                <a:cubicBezTo>
                  <a:pt x="10303" y="8348"/>
                  <a:pt x="10166" y="8212"/>
                  <a:pt x="10166" y="8045"/>
                </a:cubicBezTo>
                <a:cubicBezTo>
                  <a:pt x="10166" y="8045"/>
                  <a:pt x="10166" y="6634"/>
                  <a:pt x="10166" y="6634"/>
                </a:cubicBezTo>
                <a:close/>
                <a:moveTo>
                  <a:pt x="10369" y="8801"/>
                </a:moveTo>
                <a:lnTo>
                  <a:pt x="10572" y="8801"/>
                </a:lnTo>
                <a:cubicBezTo>
                  <a:pt x="11020" y="8801"/>
                  <a:pt x="11383" y="8440"/>
                  <a:pt x="11383" y="7995"/>
                </a:cubicBezTo>
                <a:lnTo>
                  <a:pt x="11383" y="6684"/>
                </a:lnTo>
                <a:cubicBezTo>
                  <a:pt x="11383" y="6239"/>
                  <a:pt x="11020" y="5877"/>
                  <a:pt x="10572" y="5877"/>
                </a:cubicBezTo>
                <a:lnTo>
                  <a:pt x="10369" y="5877"/>
                </a:lnTo>
                <a:cubicBezTo>
                  <a:pt x="9921" y="5877"/>
                  <a:pt x="9558" y="6239"/>
                  <a:pt x="9558" y="6684"/>
                </a:cubicBezTo>
                <a:lnTo>
                  <a:pt x="9558" y="7995"/>
                </a:lnTo>
                <a:cubicBezTo>
                  <a:pt x="9558" y="8440"/>
                  <a:pt x="9921" y="8801"/>
                  <a:pt x="10369" y="8801"/>
                </a:cubicBezTo>
                <a:moveTo>
                  <a:pt x="12398" y="8801"/>
                </a:moveTo>
                <a:cubicBezTo>
                  <a:pt x="12803" y="8801"/>
                  <a:pt x="13158" y="8449"/>
                  <a:pt x="13158" y="8449"/>
                </a:cubicBezTo>
                <a:lnTo>
                  <a:pt x="13158" y="8751"/>
                </a:lnTo>
                <a:lnTo>
                  <a:pt x="13767" y="8751"/>
                </a:lnTo>
                <a:lnTo>
                  <a:pt x="13767" y="5877"/>
                </a:lnTo>
                <a:lnTo>
                  <a:pt x="13158" y="5877"/>
                </a:lnTo>
                <a:lnTo>
                  <a:pt x="13158" y="8096"/>
                </a:lnTo>
                <a:cubicBezTo>
                  <a:pt x="13158" y="8096"/>
                  <a:pt x="12955" y="8348"/>
                  <a:pt x="12752" y="8348"/>
                </a:cubicBezTo>
                <a:cubicBezTo>
                  <a:pt x="12550" y="8348"/>
                  <a:pt x="12550" y="8197"/>
                  <a:pt x="12550" y="8197"/>
                </a:cubicBezTo>
                <a:lnTo>
                  <a:pt x="12550" y="5877"/>
                </a:lnTo>
                <a:lnTo>
                  <a:pt x="11941" y="5877"/>
                </a:lnTo>
                <a:lnTo>
                  <a:pt x="11941" y="8398"/>
                </a:lnTo>
                <a:cubicBezTo>
                  <a:pt x="11941" y="8398"/>
                  <a:pt x="11992" y="8801"/>
                  <a:pt x="12398" y="880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5" name="Shape 2875"/>
          <p:cNvSpPr/>
          <p:nvPr/>
        </p:nvSpPr>
        <p:spPr>
          <a:xfrm>
            <a:off x="6288453"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0672" y="6382"/>
                </a:moveTo>
                <a:cubicBezTo>
                  <a:pt x="10463" y="6409"/>
                  <a:pt x="10255" y="6435"/>
                  <a:pt x="10045" y="6460"/>
                </a:cubicBezTo>
                <a:cubicBezTo>
                  <a:pt x="9652" y="6558"/>
                  <a:pt x="9223" y="6650"/>
                  <a:pt x="8905" y="6836"/>
                </a:cubicBezTo>
                <a:cubicBezTo>
                  <a:pt x="8055" y="7333"/>
                  <a:pt x="7467" y="7913"/>
                  <a:pt x="7073" y="8856"/>
                </a:cubicBezTo>
                <a:cubicBezTo>
                  <a:pt x="7009" y="9009"/>
                  <a:pt x="7007" y="9157"/>
                  <a:pt x="6960" y="9326"/>
                </a:cubicBezTo>
                <a:cubicBezTo>
                  <a:pt x="6658" y="10425"/>
                  <a:pt x="7194" y="11563"/>
                  <a:pt x="7844" y="11956"/>
                </a:cubicBezTo>
                <a:cubicBezTo>
                  <a:pt x="7969" y="12032"/>
                  <a:pt x="8254" y="12166"/>
                  <a:pt x="8358" y="11987"/>
                </a:cubicBezTo>
                <a:cubicBezTo>
                  <a:pt x="8416" y="11889"/>
                  <a:pt x="8403" y="11758"/>
                  <a:pt x="8438" y="11643"/>
                </a:cubicBezTo>
                <a:cubicBezTo>
                  <a:pt x="8462" y="11568"/>
                  <a:pt x="8536" y="11424"/>
                  <a:pt x="8519" y="11330"/>
                </a:cubicBezTo>
                <a:cubicBezTo>
                  <a:pt x="8490" y="11170"/>
                  <a:pt x="8318" y="11068"/>
                  <a:pt x="8246" y="10939"/>
                </a:cubicBezTo>
                <a:cubicBezTo>
                  <a:pt x="8099" y="10676"/>
                  <a:pt x="8092" y="10444"/>
                  <a:pt x="8020" y="10093"/>
                </a:cubicBezTo>
                <a:cubicBezTo>
                  <a:pt x="8026" y="10046"/>
                  <a:pt x="8031" y="9999"/>
                  <a:pt x="8037" y="9952"/>
                </a:cubicBezTo>
                <a:cubicBezTo>
                  <a:pt x="8058" y="9559"/>
                  <a:pt x="8124" y="9276"/>
                  <a:pt x="8246" y="8997"/>
                </a:cubicBezTo>
                <a:cubicBezTo>
                  <a:pt x="8601" y="8177"/>
                  <a:pt x="9172" y="7720"/>
                  <a:pt x="10094" y="7447"/>
                </a:cubicBezTo>
                <a:cubicBezTo>
                  <a:pt x="10300" y="7386"/>
                  <a:pt x="10882" y="7288"/>
                  <a:pt x="11187" y="7353"/>
                </a:cubicBezTo>
                <a:cubicBezTo>
                  <a:pt x="11369" y="7385"/>
                  <a:pt x="11551" y="7415"/>
                  <a:pt x="11733" y="7447"/>
                </a:cubicBezTo>
                <a:cubicBezTo>
                  <a:pt x="12393" y="7655"/>
                  <a:pt x="12874" y="8038"/>
                  <a:pt x="13131" y="8637"/>
                </a:cubicBezTo>
                <a:cubicBezTo>
                  <a:pt x="13292" y="9010"/>
                  <a:pt x="13339" y="9724"/>
                  <a:pt x="13227" y="10203"/>
                </a:cubicBezTo>
                <a:cubicBezTo>
                  <a:pt x="13174" y="10429"/>
                  <a:pt x="13183" y="10624"/>
                  <a:pt x="13115" y="10829"/>
                </a:cubicBezTo>
                <a:cubicBezTo>
                  <a:pt x="12865" y="11589"/>
                  <a:pt x="12498" y="12293"/>
                  <a:pt x="11668" y="12488"/>
                </a:cubicBezTo>
                <a:cubicBezTo>
                  <a:pt x="11121" y="12618"/>
                  <a:pt x="10711" y="12284"/>
                  <a:pt x="10576" y="11941"/>
                </a:cubicBezTo>
                <a:cubicBezTo>
                  <a:pt x="10538" y="11846"/>
                  <a:pt x="10474" y="11676"/>
                  <a:pt x="10512" y="11518"/>
                </a:cubicBezTo>
                <a:cubicBezTo>
                  <a:pt x="10656" y="10901"/>
                  <a:pt x="10865" y="10349"/>
                  <a:pt x="11026" y="9733"/>
                </a:cubicBezTo>
                <a:cubicBezTo>
                  <a:pt x="11179" y="9146"/>
                  <a:pt x="10888" y="8683"/>
                  <a:pt x="10431" y="8575"/>
                </a:cubicBezTo>
                <a:cubicBezTo>
                  <a:pt x="9863" y="8439"/>
                  <a:pt x="9424" y="8966"/>
                  <a:pt x="9274" y="9310"/>
                </a:cubicBezTo>
                <a:cubicBezTo>
                  <a:pt x="9155" y="9584"/>
                  <a:pt x="9083" y="10089"/>
                  <a:pt x="9177" y="10453"/>
                </a:cubicBezTo>
                <a:cubicBezTo>
                  <a:pt x="9208" y="10569"/>
                  <a:pt x="9347" y="10878"/>
                  <a:pt x="9322" y="10986"/>
                </a:cubicBezTo>
                <a:cubicBezTo>
                  <a:pt x="9213" y="11462"/>
                  <a:pt x="9088" y="11974"/>
                  <a:pt x="8953" y="12441"/>
                </a:cubicBezTo>
                <a:cubicBezTo>
                  <a:pt x="8812" y="12929"/>
                  <a:pt x="8736" y="13427"/>
                  <a:pt x="8599" y="13898"/>
                </a:cubicBezTo>
                <a:cubicBezTo>
                  <a:pt x="8536" y="14114"/>
                  <a:pt x="8539" y="14346"/>
                  <a:pt x="8487" y="14571"/>
                </a:cubicBezTo>
                <a:lnTo>
                  <a:pt x="8487" y="14900"/>
                </a:lnTo>
                <a:cubicBezTo>
                  <a:pt x="8440" y="15108"/>
                  <a:pt x="8475" y="15478"/>
                  <a:pt x="8519" y="15683"/>
                </a:cubicBezTo>
                <a:cubicBezTo>
                  <a:pt x="8548" y="15815"/>
                  <a:pt x="8502" y="15978"/>
                  <a:pt x="8567" y="16074"/>
                </a:cubicBezTo>
                <a:cubicBezTo>
                  <a:pt x="8568" y="16144"/>
                  <a:pt x="8577" y="16160"/>
                  <a:pt x="8599" y="16200"/>
                </a:cubicBezTo>
                <a:cubicBezTo>
                  <a:pt x="8800" y="16194"/>
                  <a:pt x="9078" y="15665"/>
                  <a:pt x="9177" y="15511"/>
                </a:cubicBezTo>
                <a:cubicBezTo>
                  <a:pt x="9369" y="15216"/>
                  <a:pt x="9546" y="14901"/>
                  <a:pt x="9692" y="14556"/>
                </a:cubicBezTo>
                <a:cubicBezTo>
                  <a:pt x="9823" y="14245"/>
                  <a:pt x="9844" y="13901"/>
                  <a:pt x="9949" y="13569"/>
                </a:cubicBezTo>
                <a:cubicBezTo>
                  <a:pt x="10025" y="13329"/>
                  <a:pt x="10133" y="13049"/>
                  <a:pt x="10158" y="12786"/>
                </a:cubicBezTo>
                <a:lnTo>
                  <a:pt x="10174" y="12786"/>
                </a:lnTo>
                <a:cubicBezTo>
                  <a:pt x="10216" y="12930"/>
                  <a:pt x="10367" y="13035"/>
                  <a:pt x="10480" y="13115"/>
                </a:cubicBezTo>
                <a:cubicBezTo>
                  <a:pt x="10833" y="13367"/>
                  <a:pt x="11442" y="13600"/>
                  <a:pt x="12102" y="13444"/>
                </a:cubicBezTo>
                <a:cubicBezTo>
                  <a:pt x="12850" y="13267"/>
                  <a:pt x="13446" y="12916"/>
                  <a:pt x="13838" y="12394"/>
                </a:cubicBezTo>
                <a:cubicBezTo>
                  <a:pt x="14127" y="12011"/>
                  <a:pt x="14345" y="11567"/>
                  <a:pt x="14513" y="11064"/>
                </a:cubicBezTo>
                <a:cubicBezTo>
                  <a:pt x="14596" y="10817"/>
                  <a:pt x="14613" y="10543"/>
                  <a:pt x="14674" y="10281"/>
                </a:cubicBezTo>
                <a:cubicBezTo>
                  <a:pt x="14827" y="9624"/>
                  <a:pt x="14623" y="8833"/>
                  <a:pt x="14433" y="8402"/>
                </a:cubicBezTo>
                <a:cubicBezTo>
                  <a:pt x="13856" y="7098"/>
                  <a:pt x="12630" y="6354"/>
                  <a:pt x="10672" y="63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6" name="Shape 2876"/>
          <p:cNvSpPr/>
          <p:nvPr/>
        </p:nvSpPr>
        <p:spPr>
          <a:xfrm>
            <a:off x="6688399"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81" y="6871"/>
                </a:moveTo>
                <a:cubicBezTo>
                  <a:pt x="12915" y="6830"/>
                  <a:pt x="11990" y="7537"/>
                  <a:pt x="11505" y="8992"/>
                </a:cubicBezTo>
                <a:cubicBezTo>
                  <a:pt x="11754" y="8897"/>
                  <a:pt x="11998" y="8849"/>
                  <a:pt x="12232" y="8849"/>
                </a:cubicBezTo>
                <a:cubicBezTo>
                  <a:pt x="12732" y="8849"/>
                  <a:pt x="12952" y="9108"/>
                  <a:pt x="12893" y="9624"/>
                </a:cubicBezTo>
                <a:cubicBezTo>
                  <a:pt x="12863" y="9937"/>
                  <a:pt x="12643" y="10393"/>
                  <a:pt x="12232" y="10991"/>
                </a:cubicBezTo>
                <a:cubicBezTo>
                  <a:pt x="11821" y="11589"/>
                  <a:pt x="11512" y="11888"/>
                  <a:pt x="11307" y="11888"/>
                </a:cubicBezTo>
                <a:cubicBezTo>
                  <a:pt x="11043" y="11888"/>
                  <a:pt x="10800" y="11426"/>
                  <a:pt x="10580" y="10502"/>
                </a:cubicBezTo>
                <a:cubicBezTo>
                  <a:pt x="10506" y="10230"/>
                  <a:pt x="10374" y="9536"/>
                  <a:pt x="10183" y="8421"/>
                </a:cubicBezTo>
                <a:cubicBezTo>
                  <a:pt x="10007" y="7388"/>
                  <a:pt x="9537" y="6904"/>
                  <a:pt x="8773" y="6972"/>
                </a:cubicBezTo>
                <a:cubicBezTo>
                  <a:pt x="8450" y="7000"/>
                  <a:pt x="7966" y="7272"/>
                  <a:pt x="7320" y="7788"/>
                </a:cubicBezTo>
                <a:cubicBezTo>
                  <a:pt x="6849" y="8183"/>
                  <a:pt x="6372" y="8577"/>
                  <a:pt x="5887" y="8972"/>
                </a:cubicBezTo>
                <a:lnTo>
                  <a:pt x="6350" y="9522"/>
                </a:lnTo>
                <a:cubicBezTo>
                  <a:pt x="6790" y="9237"/>
                  <a:pt x="7047" y="9094"/>
                  <a:pt x="7121" y="9094"/>
                </a:cubicBezTo>
                <a:cubicBezTo>
                  <a:pt x="7459" y="9094"/>
                  <a:pt x="7774" y="9583"/>
                  <a:pt x="8068" y="10563"/>
                </a:cubicBezTo>
                <a:cubicBezTo>
                  <a:pt x="8333" y="11461"/>
                  <a:pt x="8597" y="12358"/>
                  <a:pt x="8861" y="13255"/>
                </a:cubicBezTo>
                <a:cubicBezTo>
                  <a:pt x="9258" y="14234"/>
                  <a:pt x="9743" y="14723"/>
                  <a:pt x="10316" y="14723"/>
                </a:cubicBezTo>
                <a:cubicBezTo>
                  <a:pt x="11241" y="14723"/>
                  <a:pt x="12371" y="13921"/>
                  <a:pt x="13709" y="12317"/>
                </a:cubicBezTo>
                <a:cubicBezTo>
                  <a:pt x="15001" y="10780"/>
                  <a:pt x="15669" y="9570"/>
                  <a:pt x="15713" y="8686"/>
                </a:cubicBezTo>
                <a:cubicBezTo>
                  <a:pt x="15772" y="7503"/>
                  <a:pt x="15295" y="6899"/>
                  <a:pt x="14281" y="6871"/>
                </a:cubicBezTo>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7" name="Shape 2877"/>
          <p:cNvSpPr/>
          <p:nvPr/>
        </p:nvSpPr>
        <p:spPr>
          <a:xfrm>
            <a:off x="7088345"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1" y="20618"/>
                  <a:pt x="982" y="20179"/>
                  <a:pt x="982" y="19636"/>
                </a:cubicBezTo>
                <a:lnTo>
                  <a:pt x="982" y="1964"/>
                </a:lnTo>
                <a:cubicBezTo>
                  <a:pt x="982" y="1422"/>
                  <a:pt x="1421"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724" y="7360"/>
                </a:moveTo>
                <a:lnTo>
                  <a:pt x="13742" y="7360"/>
                </a:lnTo>
                <a:lnTo>
                  <a:pt x="13742" y="8833"/>
                </a:lnTo>
                <a:lnTo>
                  <a:pt x="12265" y="8833"/>
                </a:lnTo>
                <a:lnTo>
                  <a:pt x="12265" y="9815"/>
                </a:lnTo>
                <a:lnTo>
                  <a:pt x="13742" y="9815"/>
                </a:lnTo>
                <a:lnTo>
                  <a:pt x="13742" y="11283"/>
                </a:lnTo>
                <a:lnTo>
                  <a:pt x="14724" y="11283"/>
                </a:lnTo>
                <a:lnTo>
                  <a:pt x="14724" y="9815"/>
                </a:lnTo>
                <a:lnTo>
                  <a:pt x="16204" y="9815"/>
                </a:lnTo>
                <a:lnTo>
                  <a:pt x="16204" y="8833"/>
                </a:lnTo>
                <a:lnTo>
                  <a:pt x="14724" y="8833"/>
                </a:lnTo>
                <a:cubicBezTo>
                  <a:pt x="14724" y="8833"/>
                  <a:pt x="14724" y="7360"/>
                  <a:pt x="14724" y="7360"/>
                </a:cubicBezTo>
                <a:close/>
                <a:moveTo>
                  <a:pt x="9321" y="13946"/>
                </a:moveTo>
                <a:cubicBezTo>
                  <a:pt x="8620" y="13946"/>
                  <a:pt x="8070" y="13495"/>
                  <a:pt x="8070" y="12919"/>
                </a:cubicBezTo>
                <a:cubicBezTo>
                  <a:pt x="8070" y="12392"/>
                  <a:pt x="8713" y="11929"/>
                  <a:pt x="9446" y="11929"/>
                </a:cubicBezTo>
                <a:lnTo>
                  <a:pt x="9446" y="11723"/>
                </a:lnTo>
                <a:lnTo>
                  <a:pt x="9465" y="11929"/>
                </a:lnTo>
                <a:cubicBezTo>
                  <a:pt x="9623" y="11930"/>
                  <a:pt x="9777" y="11954"/>
                  <a:pt x="9922" y="12000"/>
                </a:cubicBezTo>
                <a:lnTo>
                  <a:pt x="10067" y="12104"/>
                </a:lnTo>
                <a:cubicBezTo>
                  <a:pt x="10439" y="12371"/>
                  <a:pt x="10637" y="12521"/>
                  <a:pt x="10695" y="12764"/>
                </a:cubicBezTo>
                <a:cubicBezTo>
                  <a:pt x="10710" y="12827"/>
                  <a:pt x="10717" y="12891"/>
                  <a:pt x="10717" y="12954"/>
                </a:cubicBezTo>
                <a:cubicBezTo>
                  <a:pt x="10717" y="13612"/>
                  <a:pt x="10247" y="13946"/>
                  <a:pt x="9321" y="13946"/>
                </a:cubicBezTo>
                <a:moveTo>
                  <a:pt x="8542" y="8739"/>
                </a:moveTo>
                <a:cubicBezTo>
                  <a:pt x="8494" y="8362"/>
                  <a:pt x="8574" y="8014"/>
                  <a:pt x="8754" y="7806"/>
                </a:cubicBezTo>
                <a:cubicBezTo>
                  <a:pt x="8864" y="7680"/>
                  <a:pt x="9006" y="7612"/>
                  <a:pt x="9163" y="7612"/>
                </a:cubicBezTo>
                <a:lnTo>
                  <a:pt x="9163" y="7409"/>
                </a:lnTo>
                <a:lnTo>
                  <a:pt x="9164" y="7409"/>
                </a:lnTo>
                <a:lnTo>
                  <a:pt x="9182" y="7613"/>
                </a:lnTo>
                <a:cubicBezTo>
                  <a:pt x="9653" y="7628"/>
                  <a:pt x="10105" y="8185"/>
                  <a:pt x="10189" y="8855"/>
                </a:cubicBezTo>
                <a:cubicBezTo>
                  <a:pt x="10237" y="9239"/>
                  <a:pt x="10154" y="9595"/>
                  <a:pt x="9969" y="9809"/>
                </a:cubicBezTo>
                <a:cubicBezTo>
                  <a:pt x="9860" y="9935"/>
                  <a:pt x="9721" y="10002"/>
                  <a:pt x="9550" y="10001"/>
                </a:cubicBezTo>
                <a:lnTo>
                  <a:pt x="9549" y="10001"/>
                </a:lnTo>
                <a:cubicBezTo>
                  <a:pt x="9087" y="9988"/>
                  <a:pt x="8625" y="9409"/>
                  <a:pt x="8542" y="8739"/>
                </a:cubicBezTo>
                <a:moveTo>
                  <a:pt x="10838" y="11196"/>
                </a:moveTo>
                <a:cubicBezTo>
                  <a:pt x="10586" y="11009"/>
                  <a:pt x="10351" y="10732"/>
                  <a:pt x="10342" y="10647"/>
                </a:cubicBezTo>
                <a:cubicBezTo>
                  <a:pt x="10342" y="10499"/>
                  <a:pt x="10342" y="10431"/>
                  <a:pt x="10689" y="10148"/>
                </a:cubicBezTo>
                <a:cubicBezTo>
                  <a:pt x="11138" y="9780"/>
                  <a:pt x="11386" y="9296"/>
                  <a:pt x="11386" y="8784"/>
                </a:cubicBezTo>
                <a:cubicBezTo>
                  <a:pt x="11386" y="8342"/>
                  <a:pt x="11262" y="7947"/>
                  <a:pt x="11049" y="7660"/>
                </a:cubicBezTo>
                <a:lnTo>
                  <a:pt x="11238" y="7660"/>
                </a:lnTo>
                <a:lnTo>
                  <a:pt x="12276" y="6873"/>
                </a:lnTo>
                <a:lnTo>
                  <a:pt x="9463" y="6873"/>
                </a:lnTo>
                <a:cubicBezTo>
                  <a:pt x="8334" y="6873"/>
                  <a:pt x="7345" y="7760"/>
                  <a:pt x="7345" y="8769"/>
                </a:cubicBezTo>
                <a:cubicBezTo>
                  <a:pt x="7345" y="9812"/>
                  <a:pt x="8109" y="10605"/>
                  <a:pt x="9136" y="10648"/>
                </a:cubicBezTo>
                <a:cubicBezTo>
                  <a:pt x="9121" y="10722"/>
                  <a:pt x="9113" y="10795"/>
                  <a:pt x="9113" y="10867"/>
                </a:cubicBezTo>
                <a:cubicBezTo>
                  <a:pt x="9113" y="11018"/>
                  <a:pt x="9147" y="11162"/>
                  <a:pt x="9216" y="11300"/>
                </a:cubicBezTo>
                <a:cubicBezTo>
                  <a:pt x="7942" y="11309"/>
                  <a:pt x="6869" y="12161"/>
                  <a:pt x="6869" y="13167"/>
                </a:cubicBezTo>
                <a:cubicBezTo>
                  <a:pt x="6869" y="14071"/>
                  <a:pt x="7902" y="14727"/>
                  <a:pt x="9325" y="14727"/>
                </a:cubicBezTo>
                <a:cubicBezTo>
                  <a:pt x="10861" y="14727"/>
                  <a:pt x="11690" y="13766"/>
                  <a:pt x="11690" y="12860"/>
                </a:cubicBezTo>
                <a:cubicBezTo>
                  <a:pt x="11690" y="12108"/>
                  <a:pt x="11459" y="11656"/>
                  <a:pt x="10838" y="1119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8" name="Shape 2878"/>
          <p:cNvSpPr/>
          <p:nvPr/>
        </p:nvSpPr>
        <p:spPr>
          <a:xfrm>
            <a:off x="7488291"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20618" y="19636"/>
                </a:moveTo>
                <a:cubicBezTo>
                  <a:pt x="20618" y="20179"/>
                  <a:pt x="20179" y="20618"/>
                  <a:pt x="19636" y="20618"/>
                </a:cubicBezTo>
                <a:lnTo>
                  <a:pt x="1964" y="20618"/>
                </a:lnTo>
                <a:cubicBezTo>
                  <a:pt x="1421" y="20618"/>
                  <a:pt x="982" y="20179"/>
                  <a:pt x="982" y="19636"/>
                </a:cubicBezTo>
                <a:lnTo>
                  <a:pt x="982" y="1964"/>
                </a:lnTo>
                <a:cubicBezTo>
                  <a:pt x="982" y="1421"/>
                  <a:pt x="1421"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79" name="Shape 2879"/>
          <p:cNvSpPr/>
          <p:nvPr/>
        </p:nvSpPr>
        <p:spPr>
          <a:xfrm>
            <a:off x="7888237"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1592" y="13291"/>
                </a:moveTo>
                <a:cubicBezTo>
                  <a:pt x="11452" y="13213"/>
                  <a:pt x="11342" y="13108"/>
                  <a:pt x="11291" y="12978"/>
                </a:cubicBezTo>
                <a:cubicBezTo>
                  <a:pt x="11284" y="12956"/>
                  <a:pt x="11290" y="10299"/>
                  <a:pt x="11290" y="10299"/>
                </a:cubicBezTo>
                <a:lnTo>
                  <a:pt x="13256" y="10299"/>
                </a:lnTo>
                <a:lnTo>
                  <a:pt x="13256" y="8836"/>
                </a:lnTo>
                <a:lnTo>
                  <a:pt x="11292" y="8836"/>
                </a:lnTo>
                <a:lnTo>
                  <a:pt x="11292" y="6873"/>
                </a:lnTo>
                <a:lnTo>
                  <a:pt x="10042" y="6879"/>
                </a:lnTo>
                <a:cubicBezTo>
                  <a:pt x="9988" y="7284"/>
                  <a:pt x="9891" y="7618"/>
                  <a:pt x="9750" y="7879"/>
                </a:cubicBezTo>
                <a:cubicBezTo>
                  <a:pt x="9608" y="8142"/>
                  <a:pt x="9420" y="8366"/>
                  <a:pt x="9187" y="8553"/>
                </a:cubicBezTo>
                <a:cubicBezTo>
                  <a:pt x="8953" y="8740"/>
                  <a:pt x="8672" y="8883"/>
                  <a:pt x="8344" y="8984"/>
                </a:cubicBezTo>
                <a:lnTo>
                  <a:pt x="8345" y="10309"/>
                </a:lnTo>
                <a:lnTo>
                  <a:pt x="9328" y="10299"/>
                </a:lnTo>
                <a:lnTo>
                  <a:pt x="9328" y="12846"/>
                </a:lnTo>
                <a:cubicBezTo>
                  <a:pt x="9328" y="13204"/>
                  <a:pt x="9368" y="13478"/>
                  <a:pt x="9448" y="13666"/>
                </a:cubicBezTo>
                <a:cubicBezTo>
                  <a:pt x="9528" y="13856"/>
                  <a:pt x="9671" y="14034"/>
                  <a:pt x="9879" y="14202"/>
                </a:cubicBezTo>
                <a:cubicBezTo>
                  <a:pt x="10086" y="14370"/>
                  <a:pt x="10336" y="14498"/>
                  <a:pt x="10629" y="14589"/>
                </a:cubicBezTo>
                <a:cubicBezTo>
                  <a:pt x="10922" y="14679"/>
                  <a:pt x="11238" y="14727"/>
                  <a:pt x="11619" y="14727"/>
                </a:cubicBezTo>
                <a:cubicBezTo>
                  <a:pt x="11955" y="14727"/>
                  <a:pt x="12228" y="14693"/>
                  <a:pt x="12517" y="14629"/>
                </a:cubicBezTo>
                <a:cubicBezTo>
                  <a:pt x="12806" y="14565"/>
                  <a:pt x="13221" y="14455"/>
                  <a:pt x="13578" y="14297"/>
                </a:cubicBezTo>
                <a:lnTo>
                  <a:pt x="13583" y="13091"/>
                </a:lnTo>
                <a:cubicBezTo>
                  <a:pt x="13165" y="13349"/>
                  <a:pt x="12648" y="13447"/>
                  <a:pt x="12225" y="13447"/>
                </a:cubicBezTo>
                <a:cubicBezTo>
                  <a:pt x="11987" y="13447"/>
                  <a:pt x="11776" y="13395"/>
                  <a:pt x="11592" y="13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0" name="Shape 2880"/>
          <p:cNvSpPr/>
          <p:nvPr/>
        </p:nvSpPr>
        <p:spPr>
          <a:xfrm>
            <a:off x="8288182" y="289823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9"/>
                  <a:pt x="20178" y="20618"/>
                  <a:pt x="19636" y="20618"/>
                </a:cubicBezTo>
                <a:lnTo>
                  <a:pt x="1964" y="20618"/>
                </a:lnTo>
                <a:cubicBezTo>
                  <a:pt x="1422" y="20618"/>
                  <a:pt x="982" y="20179"/>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291" y="6986"/>
                </a:moveTo>
                <a:cubicBezTo>
                  <a:pt x="14241" y="6976"/>
                  <a:pt x="14187" y="6971"/>
                  <a:pt x="14134" y="6971"/>
                </a:cubicBezTo>
                <a:cubicBezTo>
                  <a:pt x="13808" y="6971"/>
                  <a:pt x="13598" y="7166"/>
                  <a:pt x="13572" y="7494"/>
                </a:cubicBezTo>
                <a:cubicBezTo>
                  <a:pt x="13242" y="11704"/>
                  <a:pt x="13044" y="12909"/>
                  <a:pt x="13042" y="12921"/>
                </a:cubicBezTo>
                <a:lnTo>
                  <a:pt x="13046" y="13020"/>
                </a:lnTo>
                <a:lnTo>
                  <a:pt x="13142" y="13032"/>
                </a:lnTo>
                <a:lnTo>
                  <a:pt x="13172" y="13031"/>
                </a:lnTo>
                <a:cubicBezTo>
                  <a:pt x="13281" y="13031"/>
                  <a:pt x="13386" y="13050"/>
                  <a:pt x="13473" y="13084"/>
                </a:cubicBezTo>
                <a:lnTo>
                  <a:pt x="13579" y="13126"/>
                </a:lnTo>
                <a:lnTo>
                  <a:pt x="13598" y="13012"/>
                </a:lnTo>
                <a:cubicBezTo>
                  <a:pt x="13837" y="11522"/>
                  <a:pt x="14296" y="9525"/>
                  <a:pt x="14542" y="8453"/>
                </a:cubicBezTo>
                <a:cubicBezTo>
                  <a:pt x="14618" y="8121"/>
                  <a:pt x="14675" y="7877"/>
                  <a:pt x="14698" y="7763"/>
                </a:cubicBezTo>
                <a:cubicBezTo>
                  <a:pt x="14745" y="7530"/>
                  <a:pt x="14724" y="7343"/>
                  <a:pt x="14636" y="7206"/>
                </a:cubicBezTo>
                <a:cubicBezTo>
                  <a:pt x="14563" y="7092"/>
                  <a:pt x="14447" y="7018"/>
                  <a:pt x="14291" y="6986"/>
                </a:cubicBezTo>
                <a:moveTo>
                  <a:pt x="13280" y="13606"/>
                </a:moveTo>
                <a:cubicBezTo>
                  <a:pt x="12921" y="13524"/>
                  <a:pt x="12660" y="13682"/>
                  <a:pt x="12569" y="14030"/>
                </a:cubicBezTo>
                <a:cubicBezTo>
                  <a:pt x="12529" y="14187"/>
                  <a:pt x="12549" y="14335"/>
                  <a:pt x="12630" y="14459"/>
                </a:cubicBezTo>
                <a:cubicBezTo>
                  <a:pt x="12706" y="14574"/>
                  <a:pt x="12831" y="14660"/>
                  <a:pt x="12982" y="14701"/>
                </a:cubicBezTo>
                <a:cubicBezTo>
                  <a:pt x="13045" y="14719"/>
                  <a:pt x="13109" y="14728"/>
                  <a:pt x="13172" y="14728"/>
                </a:cubicBezTo>
                <a:cubicBezTo>
                  <a:pt x="13438" y="14728"/>
                  <a:pt x="13639" y="14578"/>
                  <a:pt x="13698" y="14338"/>
                </a:cubicBezTo>
                <a:cubicBezTo>
                  <a:pt x="13741" y="14155"/>
                  <a:pt x="13722" y="13989"/>
                  <a:pt x="13642" y="13858"/>
                </a:cubicBezTo>
                <a:cubicBezTo>
                  <a:pt x="13567" y="13733"/>
                  <a:pt x="13439" y="13643"/>
                  <a:pt x="13280" y="13606"/>
                </a:cubicBezTo>
                <a:moveTo>
                  <a:pt x="13014" y="7028"/>
                </a:moveTo>
                <a:lnTo>
                  <a:pt x="13098" y="6884"/>
                </a:lnTo>
                <a:lnTo>
                  <a:pt x="12931" y="6884"/>
                </a:lnTo>
                <a:lnTo>
                  <a:pt x="12906" y="6887"/>
                </a:lnTo>
                <a:cubicBezTo>
                  <a:pt x="12646" y="6961"/>
                  <a:pt x="12244" y="6961"/>
                  <a:pt x="11983" y="6887"/>
                </a:cubicBezTo>
                <a:lnTo>
                  <a:pt x="11901" y="6884"/>
                </a:lnTo>
                <a:lnTo>
                  <a:pt x="9988" y="10156"/>
                </a:lnTo>
                <a:lnTo>
                  <a:pt x="8067" y="6872"/>
                </a:lnTo>
                <a:lnTo>
                  <a:pt x="8000" y="6890"/>
                </a:lnTo>
                <a:cubicBezTo>
                  <a:pt x="7739" y="6962"/>
                  <a:pt x="7347" y="6961"/>
                  <a:pt x="7088" y="6887"/>
                </a:cubicBezTo>
                <a:lnTo>
                  <a:pt x="6878" y="6884"/>
                </a:lnTo>
                <a:lnTo>
                  <a:pt x="9482" y="11392"/>
                </a:lnTo>
                <a:lnTo>
                  <a:pt x="9404" y="14626"/>
                </a:lnTo>
                <a:lnTo>
                  <a:pt x="9407" y="14722"/>
                </a:lnTo>
                <a:lnTo>
                  <a:pt x="9502" y="14722"/>
                </a:lnTo>
                <a:lnTo>
                  <a:pt x="9526" y="14719"/>
                </a:lnTo>
                <a:cubicBezTo>
                  <a:pt x="9786" y="14645"/>
                  <a:pt x="10190" y="14645"/>
                  <a:pt x="10449" y="14719"/>
                </a:cubicBezTo>
                <a:lnTo>
                  <a:pt x="10573" y="14722"/>
                </a:lnTo>
                <a:lnTo>
                  <a:pt x="10512" y="11390"/>
                </a:lnTo>
                <a:cubicBezTo>
                  <a:pt x="10600" y="11229"/>
                  <a:pt x="11150" y="10205"/>
                  <a:pt x="11738" y="9180"/>
                </a:cubicBezTo>
                <a:cubicBezTo>
                  <a:pt x="12342" y="8126"/>
                  <a:pt x="13008" y="7040"/>
                  <a:pt x="13014" y="702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1" name="Shape 2881"/>
          <p:cNvSpPr/>
          <p:nvPr/>
        </p:nvSpPr>
        <p:spPr>
          <a:xfrm>
            <a:off x="4688671"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062" y="5890"/>
                </a:moveTo>
                <a:lnTo>
                  <a:pt x="10786" y="7776"/>
                </a:lnTo>
                <a:lnTo>
                  <a:pt x="13925" y="9725"/>
                </a:lnTo>
                <a:lnTo>
                  <a:pt x="16200" y="7926"/>
                </a:lnTo>
                <a:cubicBezTo>
                  <a:pt x="16200" y="7926"/>
                  <a:pt x="13062" y="5890"/>
                  <a:pt x="13062" y="5890"/>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5400" y="8027"/>
                </a:moveTo>
                <a:lnTo>
                  <a:pt x="7647" y="9763"/>
                </a:lnTo>
                <a:lnTo>
                  <a:pt x="10786" y="7776"/>
                </a:lnTo>
                <a:lnTo>
                  <a:pt x="8630" y="5891"/>
                </a:lnTo>
                <a:cubicBezTo>
                  <a:pt x="8630" y="5891"/>
                  <a:pt x="5400" y="8027"/>
                  <a:pt x="5400" y="8027"/>
                </a:cubicBezTo>
                <a:close/>
                <a:moveTo>
                  <a:pt x="13925" y="9726"/>
                </a:moveTo>
                <a:lnTo>
                  <a:pt x="13925" y="9725"/>
                </a:lnTo>
                <a:lnTo>
                  <a:pt x="13925" y="9725"/>
                </a:lnTo>
                <a:lnTo>
                  <a:pt x="13924" y="9725"/>
                </a:lnTo>
                <a:cubicBezTo>
                  <a:pt x="13924" y="9725"/>
                  <a:pt x="13925" y="9726"/>
                  <a:pt x="13925" y="9726"/>
                </a:cubicBezTo>
                <a:close/>
                <a:moveTo>
                  <a:pt x="12965" y="14699"/>
                </a:moveTo>
                <a:lnTo>
                  <a:pt x="12959" y="14707"/>
                </a:lnTo>
                <a:lnTo>
                  <a:pt x="10801" y="13101"/>
                </a:lnTo>
                <a:lnTo>
                  <a:pt x="8731" y="14685"/>
                </a:lnTo>
                <a:lnTo>
                  <a:pt x="8712" y="14715"/>
                </a:lnTo>
                <a:lnTo>
                  <a:pt x="7571" y="14025"/>
                </a:lnTo>
                <a:lnTo>
                  <a:pt x="7571" y="14627"/>
                </a:lnTo>
                <a:lnTo>
                  <a:pt x="10799" y="16692"/>
                </a:lnTo>
                <a:lnTo>
                  <a:pt x="14001" y="14627"/>
                </a:lnTo>
                <a:lnTo>
                  <a:pt x="14001" y="14067"/>
                </a:lnTo>
                <a:lnTo>
                  <a:pt x="12965" y="14699"/>
                </a:lnTo>
                <a:cubicBezTo>
                  <a:pt x="12965" y="14699"/>
                  <a:pt x="12965" y="14699"/>
                  <a:pt x="12965" y="14699"/>
                </a:cubicBezTo>
                <a:close/>
                <a:moveTo>
                  <a:pt x="7641" y="9766"/>
                </a:moveTo>
                <a:lnTo>
                  <a:pt x="5404" y="11577"/>
                </a:lnTo>
                <a:lnTo>
                  <a:pt x="7350" y="12746"/>
                </a:lnTo>
                <a:lnTo>
                  <a:pt x="7351" y="12745"/>
                </a:lnTo>
                <a:lnTo>
                  <a:pt x="7742" y="12982"/>
                </a:lnTo>
                <a:lnTo>
                  <a:pt x="8631" y="13516"/>
                </a:lnTo>
                <a:lnTo>
                  <a:pt x="10060" y="12431"/>
                </a:lnTo>
                <a:lnTo>
                  <a:pt x="10780" y="11879"/>
                </a:lnTo>
                <a:lnTo>
                  <a:pt x="10783" y="11882"/>
                </a:lnTo>
                <a:lnTo>
                  <a:pt x="10786" y="11880"/>
                </a:lnTo>
                <a:lnTo>
                  <a:pt x="10798" y="11888"/>
                </a:lnTo>
                <a:lnTo>
                  <a:pt x="10804" y="11879"/>
                </a:lnTo>
                <a:lnTo>
                  <a:pt x="12515" y="13153"/>
                </a:lnTo>
                <a:lnTo>
                  <a:pt x="13007" y="13515"/>
                </a:lnTo>
                <a:lnTo>
                  <a:pt x="16199" y="11575"/>
                </a:lnTo>
                <a:lnTo>
                  <a:pt x="13925" y="9726"/>
                </a:lnTo>
                <a:lnTo>
                  <a:pt x="10787" y="11715"/>
                </a:lnTo>
                <a:cubicBezTo>
                  <a:pt x="10787" y="11715"/>
                  <a:pt x="7641" y="9766"/>
                  <a:pt x="7641" y="976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2" name="Shape 2882"/>
          <p:cNvSpPr/>
          <p:nvPr/>
        </p:nvSpPr>
        <p:spPr>
          <a:xfrm>
            <a:off x="5088616"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727" y="13745"/>
                </a:moveTo>
                <a:cubicBezTo>
                  <a:pt x="14727" y="14288"/>
                  <a:pt x="14287" y="14727"/>
                  <a:pt x="13745" y="14727"/>
                </a:cubicBezTo>
                <a:lnTo>
                  <a:pt x="7855" y="14727"/>
                </a:lnTo>
                <a:cubicBezTo>
                  <a:pt x="7313" y="14727"/>
                  <a:pt x="6873" y="14288"/>
                  <a:pt x="6873" y="13745"/>
                </a:cubicBezTo>
                <a:lnTo>
                  <a:pt x="6873" y="10309"/>
                </a:lnTo>
                <a:lnTo>
                  <a:pt x="7904" y="10309"/>
                </a:lnTo>
                <a:cubicBezTo>
                  <a:pt x="7877" y="10470"/>
                  <a:pt x="7855" y="10632"/>
                  <a:pt x="7855" y="10800"/>
                </a:cubicBezTo>
                <a:cubicBezTo>
                  <a:pt x="7855" y="12427"/>
                  <a:pt x="9173" y="13745"/>
                  <a:pt x="10800" y="13745"/>
                </a:cubicBezTo>
                <a:cubicBezTo>
                  <a:pt x="12427" y="13745"/>
                  <a:pt x="13745" y="12427"/>
                  <a:pt x="13745" y="10800"/>
                </a:cubicBezTo>
                <a:cubicBezTo>
                  <a:pt x="13745" y="10632"/>
                  <a:pt x="13723" y="10470"/>
                  <a:pt x="13696" y="10309"/>
                </a:cubicBezTo>
                <a:lnTo>
                  <a:pt x="14727" y="10309"/>
                </a:lnTo>
                <a:cubicBezTo>
                  <a:pt x="14727" y="10309"/>
                  <a:pt x="14727" y="13745"/>
                  <a:pt x="14727" y="13745"/>
                </a:cubicBezTo>
                <a:close/>
                <a:moveTo>
                  <a:pt x="10800" y="8836"/>
                </a:moveTo>
                <a:cubicBezTo>
                  <a:pt x="11884" y="8836"/>
                  <a:pt x="12764" y="9716"/>
                  <a:pt x="12764" y="10800"/>
                </a:cubicBezTo>
                <a:cubicBezTo>
                  <a:pt x="12764" y="11884"/>
                  <a:pt x="11884" y="12764"/>
                  <a:pt x="10800" y="12764"/>
                </a:cubicBezTo>
                <a:cubicBezTo>
                  <a:pt x="9716" y="12764"/>
                  <a:pt x="8836" y="11884"/>
                  <a:pt x="8836" y="10800"/>
                </a:cubicBezTo>
                <a:cubicBezTo>
                  <a:pt x="8836" y="9716"/>
                  <a:pt x="9716" y="8836"/>
                  <a:pt x="10800" y="8836"/>
                </a:cubicBezTo>
                <a:moveTo>
                  <a:pt x="12764" y="7364"/>
                </a:moveTo>
                <a:lnTo>
                  <a:pt x="14236" y="7364"/>
                </a:lnTo>
                <a:lnTo>
                  <a:pt x="14236" y="8836"/>
                </a:lnTo>
                <a:lnTo>
                  <a:pt x="12764" y="8836"/>
                </a:lnTo>
                <a:cubicBezTo>
                  <a:pt x="12764" y="8836"/>
                  <a:pt x="12764" y="7364"/>
                  <a:pt x="12764" y="7364"/>
                </a:cubicBezTo>
                <a:close/>
                <a:moveTo>
                  <a:pt x="13745" y="5891"/>
                </a:moveTo>
                <a:lnTo>
                  <a:pt x="7855" y="5891"/>
                </a:lnTo>
                <a:cubicBezTo>
                  <a:pt x="6770" y="5891"/>
                  <a:pt x="5891" y="6770"/>
                  <a:pt x="5891" y="7855"/>
                </a:cubicBezTo>
                <a:lnTo>
                  <a:pt x="5891" y="13745"/>
                </a:lnTo>
                <a:cubicBezTo>
                  <a:pt x="5891" y="14830"/>
                  <a:pt x="6770" y="15709"/>
                  <a:pt x="7855" y="15709"/>
                </a:cubicBezTo>
                <a:lnTo>
                  <a:pt x="13745" y="15709"/>
                </a:lnTo>
                <a:cubicBezTo>
                  <a:pt x="14830" y="15709"/>
                  <a:pt x="15709" y="14830"/>
                  <a:pt x="15709" y="13745"/>
                </a:cubicBezTo>
                <a:lnTo>
                  <a:pt x="15709" y="7855"/>
                </a:lnTo>
                <a:cubicBezTo>
                  <a:pt x="15709" y="6770"/>
                  <a:pt x="14830" y="5891"/>
                  <a:pt x="13745" y="5891"/>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3" name="Shape 2883"/>
          <p:cNvSpPr/>
          <p:nvPr/>
        </p:nvSpPr>
        <p:spPr>
          <a:xfrm>
            <a:off x="5488562"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800"/>
                </a:moveTo>
                <a:cubicBezTo>
                  <a:pt x="15709" y="12575"/>
                  <a:pt x="14764" y="14125"/>
                  <a:pt x="13353" y="14987"/>
                </a:cubicBezTo>
                <a:lnTo>
                  <a:pt x="14834" y="10706"/>
                </a:lnTo>
                <a:cubicBezTo>
                  <a:pt x="15118" y="9994"/>
                  <a:pt x="15213" y="9425"/>
                  <a:pt x="15213" y="8918"/>
                </a:cubicBezTo>
                <a:cubicBezTo>
                  <a:pt x="15213" y="8811"/>
                  <a:pt x="15201" y="8718"/>
                  <a:pt x="15194" y="8620"/>
                </a:cubicBezTo>
                <a:cubicBezTo>
                  <a:pt x="15521" y="9277"/>
                  <a:pt x="15709" y="10016"/>
                  <a:pt x="15709" y="10800"/>
                </a:cubicBezTo>
                <a:moveTo>
                  <a:pt x="11488" y="8460"/>
                </a:moveTo>
                <a:cubicBezTo>
                  <a:pt x="11788" y="8444"/>
                  <a:pt x="12059" y="8413"/>
                  <a:pt x="12059" y="8413"/>
                </a:cubicBezTo>
                <a:cubicBezTo>
                  <a:pt x="12328" y="8380"/>
                  <a:pt x="12296" y="7986"/>
                  <a:pt x="12027" y="8001"/>
                </a:cubicBezTo>
                <a:cubicBezTo>
                  <a:pt x="12027" y="8001"/>
                  <a:pt x="11219" y="8065"/>
                  <a:pt x="10697" y="8065"/>
                </a:cubicBezTo>
                <a:cubicBezTo>
                  <a:pt x="10206" y="8065"/>
                  <a:pt x="9382" y="8001"/>
                  <a:pt x="9382" y="8001"/>
                </a:cubicBezTo>
                <a:cubicBezTo>
                  <a:pt x="9113" y="7986"/>
                  <a:pt x="9082" y="8396"/>
                  <a:pt x="9350" y="8413"/>
                </a:cubicBezTo>
                <a:cubicBezTo>
                  <a:pt x="9350" y="8413"/>
                  <a:pt x="9605" y="8444"/>
                  <a:pt x="9874" y="8460"/>
                </a:cubicBezTo>
                <a:lnTo>
                  <a:pt x="10652" y="10591"/>
                </a:lnTo>
                <a:lnTo>
                  <a:pt x="9560" y="13866"/>
                </a:lnTo>
                <a:lnTo>
                  <a:pt x="7742" y="8460"/>
                </a:lnTo>
                <a:cubicBezTo>
                  <a:pt x="8042" y="8444"/>
                  <a:pt x="8313" y="8413"/>
                  <a:pt x="8313" y="8413"/>
                </a:cubicBezTo>
                <a:cubicBezTo>
                  <a:pt x="8582" y="8380"/>
                  <a:pt x="8550" y="7986"/>
                  <a:pt x="8281" y="8001"/>
                </a:cubicBezTo>
                <a:cubicBezTo>
                  <a:pt x="8281" y="8001"/>
                  <a:pt x="7473" y="8065"/>
                  <a:pt x="6951" y="8065"/>
                </a:cubicBezTo>
                <a:cubicBezTo>
                  <a:pt x="6885" y="8065"/>
                  <a:pt x="6804" y="8063"/>
                  <a:pt x="6727" y="8061"/>
                </a:cubicBezTo>
                <a:cubicBezTo>
                  <a:pt x="7608" y="6752"/>
                  <a:pt x="9103" y="5891"/>
                  <a:pt x="10800" y="5891"/>
                </a:cubicBezTo>
                <a:cubicBezTo>
                  <a:pt x="12045" y="5891"/>
                  <a:pt x="13178" y="6358"/>
                  <a:pt x="14044" y="7122"/>
                </a:cubicBezTo>
                <a:cubicBezTo>
                  <a:pt x="13590" y="7157"/>
                  <a:pt x="13299" y="7563"/>
                  <a:pt x="13299" y="8001"/>
                </a:cubicBezTo>
                <a:cubicBezTo>
                  <a:pt x="13299" y="8413"/>
                  <a:pt x="13505" y="8761"/>
                  <a:pt x="13758" y="9172"/>
                </a:cubicBezTo>
                <a:cubicBezTo>
                  <a:pt x="13948" y="9504"/>
                  <a:pt x="14169" y="9931"/>
                  <a:pt x="14169" y="10548"/>
                </a:cubicBezTo>
                <a:cubicBezTo>
                  <a:pt x="14169" y="10975"/>
                  <a:pt x="14005" y="11471"/>
                  <a:pt x="13789" y="12162"/>
                </a:cubicBezTo>
                <a:lnTo>
                  <a:pt x="13291" y="13825"/>
                </a:lnTo>
                <a:cubicBezTo>
                  <a:pt x="13291" y="13825"/>
                  <a:pt x="11488" y="8460"/>
                  <a:pt x="11488" y="8460"/>
                </a:cubicBezTo>
                <a:close/>
                <a:moveTo>
                  <a:pt x="10800" y="15709"/>
                </a:moveTo>
                <a:cubicBezTo>
                  <a:pt x="10319" y="15709"/>
                  <a:pt x="9857" y="15637"/>
                  <a:pt x="9418" y="15508"/>
                </a:cubicBezTo>
                <a:lnTo>
                  <a:pt x="10887" y="11236"/>
                </a:lnTo>
                <a:cubicBezTo>
                  <a:pt x="10887" y="11236"/>
                  <a:pt x="12211" y="14865"/>
                  <a:pt x="12425" y="15428"/>
                </a:cubicBezTo>
                <a:cubicBezTo>
                  <a:pt x="11916" y="15607"/>
                  <a:pt x="11371" y="15709"/>
                  <a:pt x="10800" y="15709"/>
                </a:cubicBezTo>
                <a:moveTo>
                  <a:pt x="5891" y="10800"/>
                </a:moveTo>
                <a:cubicBezTo>
                  <a:pt x="5891" y="10118"/>
                  <a:pt x="6030" y="9470"/>
                  <a:pt x="6281" y="8880"/>
                </a:cubicBezTo>
                <a:lnTo>
                  <a:pt x="8579" y="15174"/>
                </a:lnTo>
                <a:cubicBezTo>
                  <a:pt x="6985" y="14362"/>
                  <a:pt x="5891" y="12711"/>
                  <a:pt x="5891" y="10800"/>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4" name="Shape 2884"/>
          <p:cNvSpPr/>
          <p:nvPr/>
        </p:nvSpPr>
        <p:spPr>
          <a:xfrm>
            <a:off x="5888507" y="3298177"/>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4236" y="10309"/>
                </a:moveTo>
                <a:cubicBezTo>
                  <a:pt x="13551" y="10309"/>
                  <a:pt x="12889" y="10401"/>
                  <a:pt x="12252" y="10556"/>
                </a:cubicBezTo>
                <a:cubicBezTo>
                  <a:pt x="12104" y="10191"/>
                  <a:pt x="11941" y="9834"/>
                  <a:pt x="11763" y="9484"/>
                </a:cubicBezTo>
                <a:cubicBezTo>
                  <a:pt x="12783" y="9001"/>
                  <a:pt x="13728" y="8390"/>
                  <a:pt x="14592" y="7682"/>
                </a:cubicBezTo>
                <a:cubicBezTo>
                  <a:pt x="15222" y="8448"/>
                  <a:pt x="15619" y="9407"/>
                  <a:pt x="15692" y="10457"/>
                </a:cubicBezTo>
                <a:cubicBezTo>
                  <a:pt x="15218" y="10370"/>
                  <a:pt x="14736" y="10309"/>
                  <a:pt x="14236" y="10309"/>
                </a:cubicBezTo>
                <a:moveTo>
                  <a:pt x="13226" y="15065"/>
                </a:moveTo>
                <a:cubicBezTo>
                  <a:pt x="13168" y="13821"/>
                  <a:pt x="12957" y="12618"/>
                  <a:pt x="12590" y="11483"/>
                </a:cubicBezTo>
                <a:cubicBezTo>
                  <a:pt x="13120" y="11361"/>
                  <a:pt x="13669" y="11291"/>
                  <a:pt x="14236" y="11291"/>
                </a:cubicBezTo>
                <a:cubicBezTo>
                  <a:pt x="14726" y="11291"/>
                  <a:pt x="15199" y="11358"/>
                  <a:pt x="15661" y="11451"/>
                </a:cubicBezTo>
                <a:cubicBezTo>
                  <a:pt x="15455" y="13001"/>
                  <a:pt x="14528" y="14322"/>
                  <a:pt x="13226" y="15065"/>
                </a:cubicBezTo>
                <a:moveTo>
                  <a:pt x="10800" y="15709"/>
                </a:moveTo>
                <a:cubicBezTo>
                  <a:pt x="9746" y="15709"/>
                  <a:pt x="8772" y="15374"/>
                  <a:pt x="7971" y="14808"/>
                </a:cubicBezTo>
                <a:cubicBezTo>
                  <a:pt x="8822" y="13429"/>
                  <a:pt x="10108" y="12348"/>
                  <a:pt x="11646" y="11768"/>
                </a:cubicBezTo>
                <a:cubicBezTo>
                  <a:pt x="12027" y="12943"/>
                  <a:pt x="12241" y="14191"/>
                  <a:pt x="12264" y="15487"/>
                </a:cubicBezTo>
                <a:cubicBezTo>
                  <a:pt x="11801" y="15631"/>
                  <a:pt x="11310" y="15709"/>
                  <a:pt x="10800" y="15709"/>
                </a:cubicBezTo>
                <a:moveTo>
                  <a:pt x="5891" y="10800"/>
                </a:moveTo>
                <a:cubicBezTo>
                  <a:pt x="7640" y="10800"/>
                  <a:pt x="9312" y="10469"/>
                  <a:pt x="10852" y="9873"/>
                </a:cubicBezTo>
                <a:cubicBezTo>
                  <a:pt x="11015" y="10192"/>
                  <a:pt x="11171" y="10515"/>
                  <a:pt x="11309" y="10848"/>
                </a:cubicBezTo>
                <a:cubicBezTo>
                  <a:pt x="9614" y="11484"/>
                  <a:pt x="8190" y="12658"/>
                  <a:pt x="7225" y="14157"/>
                </a:cubicBezTo>
                <a:cubicBezTo>
                  <a:pt x="6400" y="13279"/>
                  <a:pt x="5891" y="12100"/>
                  <a:pt x="5891" y="10800"/>
                </a:cubicBezTo>
                <a:moveTo>
                  <a:pt x="8358" y="6546"/>
                </a:moveTo>
                <a:cubicBezTo>
                  <a:pt x="9117" y="7279"/>
                  <a:pt x="9793" y="8098"/>
                  <a:pt x="10353" y="9001"/>
                </a:cubicBezTo>
                <a:cubicBezTo>
                  <a:pt x="8991" y="9509"/>
                  <a:pt x="7526" y="9801"/>
                  <a:pt x="5990" y="9813"/>
                </a:cubicBezTo>
                <a:cubicBezTo>
                  <a:pt x="6276" y="8414"/>
                  <a:pt x="7158" y="7236"/>
                  <a:pt x="8358" y="6546"/>
                </a:cubicBezTo>
                <a:moveTo>
                  <a:pt x="10800" y="5891"/>
                </a:moveTo>
                <a:cubicBezTo>
                  <a:pt x="11968" y="5891"/>
                  <a:pt x="13040" y="6300"/>
                  <a:pt x="13882" y="6982"/>
                </a:cubicBezTo>
                <a:cubicBezTo>
                  <a:pt x="13087" y="7622"/>
                  <a:pt x="12217" y="8174"/>
                  <a:pt x="11282" y="8612"/>
                </a:cubicBezTo>
                <a:cubicBezTo>
                  <a:pt x="10732" y="7702"/>
                  <a:pt x="10073" y="6869"/>
                  <a:pt x="9333" y="6114"/>
                </a:cubicBezTo>
                <a:cubicBezTo>
                  <a:pt x="9797" y="5970"/>
                  <a:pt x="10289" y="5891"/>
                  <a:pt x="10800" y="5891"/>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5" name="Shape 2885"/>
          <p:cNvSpPr/>
          <p:nvPr/>
        </p:nvSpPr>
        <p:spPr>
          <a:xfrm>
            <a:off x="6307498"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5500" y="13698"/>
                </a:moveTo>
                <a:cubicBezTo>
                  <a:pt x="15500" y="14629"/>
                  <a:pt x="14906" y="15067"/>
                  <a:pt x="13996" y="15061"/>
                </a:cubicBezTo>
                <a:cubicBezTo>
                  <a:pt x="13870" y="15061"/>
                  <a:pt x="13731" y="15061"/>
                  <a:pt x="13646" y="15044"/>
                </a:cubicBezTo>
                <a:lnTo>
                  <a:pt x="13646" y="12497"/>
                </a:lnTo>
                <a:cubicBezTo>
                  <a:pt x="13731" y="12480"/>
                  <a:pt x="13877" y="12463"/>
                  <a:pt x="14101" y="12463"/>
                </a:cubicBezTo>
                <a:cubicBezTo>
                  <a:pt x="14966" y="12463"/>
                  <a:pt x="15507" y="12890"/>
                  <a:pt x="15500" y="13698"/>
                </a:cubicBezTo>
                <a:moveTo>
                  <a:pt x="12636" y="11868"/>
                </a:moveTo>
                <a:lnTo>
                  <a:pt x="12636" y="15691"/>
                </a:lnTo>
                <a:cubicBezTo>
                  <a:pt x="12886" y="15720"/>
                  <a:pt x="13256" y="15748"/>
                  <a:pt x="13778" y="15748"/>
                </a:cubicBezTo>
                <a:cubicBezTo>
                  <a:pt x="14649" y="15748"/>
                  <a:pt x="15362" y="15587"/>
                  <a:pt x="15830" y="15246"/>
                </a:cubicBezTo>
                <a:cubicBezTo>
                  <a:pt x="16260" y="14929"/>
                  <a:pt x="16570" y="14415"/>
                  <a:pt x="16570" y="13670"/>
                </a:cubicBezTo>
                <a:cubicBezTo>
                  <a:pt x="16570" y="12982"/>
                  <a:pt x="16279" y="12503"/>
                  <a:pt x="15817" y="12203"/>
                </a:cubicBezTo>
                <a:cubicBezTo>
                  <a:pt x="15388" y="11919"/>
                  <a:pt x="14840" y="11787"/>
                  <a:pt x="13996" y="11787"/>
                </a:cubicBezTo>
                <a:cubicBezTo>
                  <a:pt x="13487" y="11787"/>
                  <a:pt x="13005" y="11815"/>
                  <a:pt x="12636" y="11868"/>
                </a:cubicBezTo>
                <a:moveTo>
                  <a:pt x="14400" y="5891"/>
                </a:moveTo>
                <a:lnTo>
                  <a:pt x="14400" y="982"/>
                </a:lnTo>
                <a:lnTo>
                  <a:pt x="15000" y="982"/>
                </a:lnTo>
                <a:lnTo>
                  <a:pt x="20400" y="5891"/>
                </a:lnTo>
                <a:cubicBezTo>
                  <a:pt x="20400" y="5891"/>
                  <a:pt x="14400" y="5891"/>
                  <a:pt x="14400" y="5891"/>
                </a:cubicBezTo>
                <a:close/>
                <a:moveTo>
                  <a:pt x="20400" y="19635"/>
                </a:moveTo>
                <a:cubicBezTo>
                  <a:pt x="20400" y="20178"/>
                  <a:pt x="19863" y="20617"/>
                  <a:pt x="19200" y="20617"/>
                </a:cubicBezTo>
                <a:lnTo>
                  <a:pt x="2400" y="20617"/>
                </a:lnTo>
                <a:cubicBezTo>
                  <a:pt x="1738" y="20617"/>
                  <a:pt x="1200" y="20178"/>
                  <a:pt x="1200" y="19635"/>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5"/>
                  <a:pt x="20400" y="19635"/>
                </a:cubicBezTo>
                <a:close/>
                <a:moveTo>
                  <a:pt x="15600" y="0"/>
                </a:moveTo>
                <a:lnTo>
                  <a:pt x="2400" y="0"/>
                </a:lnTo>
                <a:cubicBezTo>
                  <a:pt x="1075" y="0"/>
                  <a:pt x="0" y="878"/>
                  <a:pt x="0" y="1964"/>
                </a:cubicBezTo>
                <a:lnTo>
                  <a:pt x="0" y="19635"/>
                </a:lnTo>
                <a:cubicBezTo>
                  <a:pt x="0" y="20721"/>
                  <a:pt x="1075" y="21600"/>
                  <a:pt x="2400" y="21600"/>
                </a:cubicBezTo>
                <a:lnTo>
                  <a:pt x="19200" y="21600"/>
                </a:lnTo>
                <a:cubicBezTo>
                  <a:pt x="20525" y="21600"/>
                  <a:pt x="21600" y="20721"/>
                  <a:pt x="21600" y="19635"/>
                </a:cubicBezTo>
                <a:lnTo>
                  <a:pt x="21600" y="5400"/>
                </a:lnTo>
                <a:cubicBezTo>
                  <a:pt x="21600" y="5400"/>
                  <a:pt x="15600" y="0"/>
                  <a:pt x="15600" y="0"/>
                </a:cubicBezTo>
                <a:close/>
                <a:moveTo>
                  <a:pt x="6769" y="13658"/>
                </a:moveTo>
                <a:cubicBezTo>
                  <a:pt x="6624" y="13658"/>
                  <a:pt x="6519" y="13652"/>
                  <a:pt x="6433" y="13635"/>
                </a:cubicBezTo>
                <a:lnTo>
                  <a:pt x="6433" y="12486"/>
                </a:lnTo>
                <a:cubicBezTo>
                  <a:pt x="6505" y="12468"/>
                  <a:pt x="6644" y="12451"/>
                  <a:pt x="6848" y="12451"/>
                </a:cubicBezTo>
                <a:cubicBezTo>
                  <a:pt x="7350" y="12451"/>
                  <a:pt x="7634" y="12665"/>
                  <a:pt x="7634" y="13023"/>
                </a:cubicBezTo>
                <a:cubicBezTo>
                  <a:pt x="7634" y="13421"/>
                  <a:pt x="7304" y="13658"/>
                  <a:pt x="6769" y="13658"/>
                </a:cubicBezTo>
                <a:moveTo>
                  <a:pt x="6796" y="11787"/>
                </a:moveTo>
                <a:cubicBezTo>
                  <a:pt x="6182" y="11787"/>
                  <a:pt x="5746" y="11821"/>
                  <a:pt x="5436" y="11868"/>
                </a:cubicBezTo>
                <a:lnTo>
                  <a:pt x="5436" y="15708"/>
                </a:lnTo>
                <a:lnTo>
                  <a:pt x="6433" y="15708"/>
                </a:lnTo>
                <a:lnTo>
                  <a:pt x="6433" y="14316"/>
                </a:lnTo>
                <a:cubicBezTo>
                  <a:pt x="6524" y="14328"/>
                  <a:pt x="6644" y="14334"/>
                  <a:pt x="6776" y="14334"/>
                </a:cubicBezTo>
                <a:cubicBezTo>
                  <a:pt x="7370" y="14334"/>
                  <a:pt x="7878" y="14207"/>
                  <a:pt x="8221" y="13924"/>
                </a:cubicBezTo>
                <a:cubicBezTo>
                  <a:pt x="8485" y="13704"/>
                  <a:pt x="8630" y="13381"/>
                  <a:pt x="8630" y="13000"/>
                </a:cubicBezTo>
                <a:cubicBezTo>
                  <a:pt x="8630" y="12618"/>
                  <a:pt x="8439" y="12296"/>
                  <a:pt x="8155" y="12099"/>
                </a:cubicBezTo>
                <a:cubicBezTo>
                  <a:pt x="7858" y="11891"/>
                  <a:pt x="7416" y="11787"/>
                  <a:pt x="6796" y="11787"/>
                </a:cubicBezTo>
                <a:moveTo>
                  <a:pt x="10765" y="13398"/>
                </a:moveTo>
                <a:cubicBezTo>
                  <a:pt x="10191" y="13208"/>
                  <a:pt x="9940" y="13098"/>
                  <a:pt x="9940" y="12850"/>
                </a:cubicBezTo>
                <a:cubicBezTo>
                  <a:pt x="9940" y="12648"/>
                  <a:pt x="10151" y="12474"/>
                  <a:pt x="10587" y="12474"/>
                </a:cubicBezTo>
                <a:cubicBezTo>
                  <a:pt x="11023" y="12474"/>
                  <a:pt x="11339" y="12583"/>
                  <a:pt x="11517" y="12659"/>
                </a:cubicBezTo>
                <a:lnTo>
                  <a:pt x="11742" y="11949"/>
                </a:lnTo>
                <a:cubicBezTo>
                  <a:pt x="11478" y="11845"/>
                  <a:pt x="11108" y="11752"/>
                  <a:pt x="10607" y="11752"/>
                </a:cubicBezTo>
                <a:cubicBezTo>
                  <a:pt x="9558" y="11752"/>
                  <a:pt x="8924" y="12260"/>
                  <a:pt x="8924" y="12924"/>
                </a:cubicBezTo>
                <a:cubicBezTo>
                  <a:pt x="8924" y="13490"/>
                  <a:pt x="9405" y="13849"/>
                  <a:pt x="10145" y="14074"/>
                </a:cubicBezTo>
                <a:cubicBezTo>
                  <a:pt x="10679" y="14241"/>
                  <a:pt x="10891" y="14380"/>
                  <a:pt x="10891" y="14623"/>
                </a:cubicBezTo>
                <a:cubicBezTo>
                  <a:pt x="10891" y="14877"/>
                  <a:pt x="10646" y="15044"/>
                  <a:pt x="10184" y="15044"/>
                </a:cubicBezTo>
                <a:cubicBezTo>
                  <a:pt x="9755" y="15044"/>
                  <a:pt x="9339" y="14923"/>
                  <a:pt x="9069" y="14802"/>
                </a:cubicBezTo>
                <a:lnTo>
                  <a:pt x="8864" y="15529"/>
                </a:lnTo>
                <a:cubicBezTo>
                  <a:pt x="9115" y="15651"/>
                  <a:pt x="9616" y="15766"/>
                  <a:pt x="10124" y="15766"/>
                </a:cubicBezTo>
                <a:cubicBezTo>
                  <a:pt x="11346" y="15766"/>
                  <a:pt x="11920" y="15211"/>
                  <a:pt x="11920" y="14559"/>
                </a:cubicBezTo>
                <a:cubicBezTo>
                  <a:pt x="11920" y="14010"/>
                  <a:pt x="11551" y="13652"/>
                  <a:pt x="10765" y="1339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6" name="Shape 2886"/>
          <p:cNvSpPr/>
          <p:nvPr/>
        </p:nvSpPr>
        <p:spPr>
          <a:xfrm>
            <a:off x="6707443"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636" y="15709"/>
                </a:moveTo>
                <a:lnTo>
                  <a:pt x="13646" y="15709"/>
                </a:lnTo>
                <a:lnTo>
                  <a:pt x="13646" y="11816"/>
                </a:lnTo>
                <a:lnTo>
                  <a:pt x="12636" y="11816"/>
                </a:lnTo>
                <a:cubicBezTo>
                  <a:pt x="12636" y="11816"/>
                  <a:pt x="12636" y="15709"/>
                  <a:pt x="126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1"/>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9618" y="14051"/>
                </a:moveTo>
                <a:lnTo>
                  <a:pt x="9881" y="13225"/>
                </a:lnTo>
                <a:cubicBezTo>
                  <a:pt x="9954" y="13000"/>
                  <a:pt x="10020" y="12706"/>
                  <a:pt x="10086" y="12475"/>
                </a:cubicBezTo>
                <a:lnTo>
                  <a:pt x="10099" y="12475"/>
                </a:lnTo>
                <a:cubicBezTo>
                  <a:pt x="10165" y="12706"/>
                  <a:pt x="10245" y="12994"/>
                  <a:pt x="10324" y="13225"/>
                </a:cubicBezTo>
                <a:lnTo>
                  <a:pt x="10601" y="14051"/>
                </a:lnTo>
                <a:cubicBezTo>
                  <a:pt x="10601" y="14051"/>
                  <a:pt x="9618" y="14051"/>
                  <a:pt x="9618" y="14051"/>
                </a:cubicBezTo>
                <a:close/>
                <a:moveTo>
                  <a:pt x="9472" y="11816"/>
                </a:moveTo>
                <a:lnTo>
                  <a:pt x="8113" y="15709"/>
                </a:lnTo>
                <a:lnTo>
                  <a:pt x="9155" y="15709"/>
                </a:lnTo>
                <a:lnTo>
                  <a:pt x="9472" y="14710"/>
                </a:lnTo>
                <a:lnTo>
                  <a:pt x="10746" y="14710"/>
                </a:lnTo>
                <a:lnTo>
                  <a:pt x="11089" y="15709"/>
                </a:lnTo>
                <a:lnTo>
                  <a:pt x="12172" y="15709"/>
                </a:lnTo>
                <a:lnTo>
                  <a:pt x="10792" y="11816"/>
                </a:lnTo>
                <a:cubicBezTo>
                  <a:pt x="10792" y="11816"/>
                  <a:pt x="9472" y="11816"/>
                  <a:pt x="9472" y="11816"/>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7" name="Shape 2887"/>
          <p:cNvSpPr/>
          <p:nvPr/>
        </p:nvSpPr>
        <p:spPr>
          <a:xfrm>
            <a:off x="7107389"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3836" y="15709"/>
                </a:moveTo>
                <a:lnTo>
                  <a:pt x="14845" y="15709"/>
                </a:lnTo>
                <a:lnTo>
                  <a:pt x="14845" y="14144"/>
                </a:lnTo>
                <a:lnTo>
                  <a:pt x="16443" y="14144"/>
                </a:lnTo>
                <a:lnTo>
                  <a:pt x="16443" y="13428"/>
                </a:lnTo>
                <a:lnTo>
                  <a:pt x="14845" y="13428"/>
                </a:lnTo>
                <a:lnTo>
                  <a:pt x="14845" y="12538"/>
                </a:lnTo>
                <a:lnTo>
                  <a:pt x="16555" y="12538"/>
                </a:lnTo>
                <a:lnTo>
                  <a:pt x="16555" y="11816"/>
                </a:lnTo>
                <a:lnTo>
                  <a:pt x="13836" y="11816"/>
                </a:lnTo>
                <a:cubicBezTo>
                  <a:pt x="13836" y="11816"/>
                  <a:pt x="13836" y="15709"/>
                  <a:pt x="138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0396" y="15062"/>
                </a:moveTo>
                <a:cubicBezTo>
                  <a:pt x="10270" y="15062"/>
                  <a:pt x="10131" y="15062"/>
                  <a:pt x="10045" y="15045"/>
                </a:cubicBezTo>
                <a:lnTo>
                  <a:pt x="10045" y="12498"/>
                </a:lnTo>
                <a:cubicBezTo>
                  <a:pt x="10131" y="12480"/>
                  <a:pt x="10277" y="12463"/>
                  <a:pt x="10501" y="12463"/>
                </a:cubicBezTo>
                <a:cubicBezTo>
                  <a:pt x="11366" y="12463"/>
                  <a:pt x="11907" y="12891"/>
                  <a:pt x="11900" y="13699"/>
                </a:cubicBezTo>
                <a:cubicBezTo>
                  <a:pt x="11900" y="14629"/>
                  <a:pt x="11306" y="15068"/>
                  <a:pt x="10396" y="15062"/>
                </a:cubicBezTo>
                <a:moveTo>
                  <a:pt x="10396" y="11787"/>
                </a:moveTo>
                <a:cubicBezTo>
                  <a:pt x="9887" y="11787"/>
                  <a:pt x="9405" y="11816"/>
                  <a:pt x="9036" y="11868"/>
                </a:cubicBezTo>
                <a:lnTo>
                  <a:pt x="9036" y="15691"/>
                </a:lnTo>
                <a:cubicBezTo>
                  <a:pt x="9287" y="15720"/>
                  <a:pt x="9656" y="15749"/>
                  <a:pt x="10178" y="15749"/>
                </a:cubicBezTo>
                <a:cubicBezTo>
                  <a:pt x="11048" y="15749"/>
                  <a:pt x="11762" y="15587"/>
                  <a:pt x="12231" y="15246"/>
                </a:cubicBezTo>
                <a:cubicBezTo>
                  <a:pt x="12660" y="14929"/>
                  <a:pt x="12970" y="14415"/>
                  <a:pt x="12970" y="13670"/>
                </a:cubicBezTo>
                <a:cubicBezTo>
                  <a:pt x="12970" y="12983"/>
                  <a:pt x="12680" y="12503"/>
                  <a:pt x="12217" y="12203"/>
                </a:cubicBezTo>
                <a:cubicBezTo>
                  <a:pt x="11788" y="11920"/>
                  <a:pt x="11241" y="11787"/>
                  <a:pt x="10396" y="11787"/>
                </a:cubicBezTo>
                <a:moveTo>
                  <a:pt x="6769" y="13659"/>
                </a:moveTo>
                <a:cubicBezTo>
                  <a:pt x="6623" y="13659"/>
                  <a:pt x="6518" y="13653"/>
                  <a:pt x="6432" y="13636"/>
                </a:cubicBezTo>
                <a:lnTo>
                  <a:pt x="6432" y="12486"/>
                </a:lnTo>
                <a:cubicBezTo>
                  <a:pt x="6505" y="12469"/>
                  <a:pt x="6643" y="12452"/>
                  <a:pt x="6848" y="12452"/>
                </a:cubicBezTo>
                <a:cubicBezTo>
                  <a:pt x="7350" y="12452"/>
                  <a:pt x="7634" y="12665"/>
                  <a:pt x="7634" y="13023"/>
                </a:cubicBezTo>
                <a:cubicBezTo>
                  <a:pt x="7634" y="13422"/>
                  <a:pt x="7304" y="13659"/>
                  <a:pt x="6769" y="13659"/>
                </a:cubicBezTo>
                <a:moveTo>
                  <a:pt x="6796" y="11787"/>
                </a:moveTo>
                <a:cubicBezTo>
                  <a:pt x="6182" y="11787"/>
                  <a:pt x="5746" y="11822"/>
                  <a:pt x="5436" y="11868"/>
                </a:cubicBezTo>
                <a:lnTo>
                  <a:pt x="5436" y="15709"/>
                </a:lnTo>
                <a:lnTo>
                  <a:pt x="6432" y="15709"/>
                </a:lnTo>
                <a:lnTo>
                  <a:pt x="6432" y="14317"/>
                </a:lnTo>
                <a:cubicBezTo>
                  <a:pt x="6525" y="14328"/>
                  <a:pt x="6643" y="14334"/>
                  <a:pt x="6776" y="14334"/>
                </a:cubicBezTo>
                <a:cubicBezTo>
                  <a:pt x="7370" y="14334"/>
                  <a:pt x="7878" y="14207"/>
                  <a:pt x="8221" y="13924"/>
                </a:cubicBezTo>
                <a:cubicBezTo>
                  <a:pt x="8486" y="13705"/>
                  <a:pt x="8631" y="13381"/>
                  <a:pt x="8631" y="13000"/>
                </a:cubicBezTo>
                <a:cubicBezTo>
                  <a:pt x="8631" y="12619"/>
                  <a:pt x="8439" y="12296"/>
                  <a:pt x="8155" y="12099"/>
                </a:cubicBezTo>
                <a:cubicBezTo>
                  <a:pt x="7859" y="11892"/>
                  <a:pt x="7416" y="11787"/>
                  <a:pt x="6796" y="1178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8" name="Shape 2888"/>
          <p:cNvSpPr/>
          <p:nvPr/>
        </p:nvSpPr>
        <p:spPr>
          <a:xfrm>
            <a:off x="7507336"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2936" y="15709"/>
                </a:moveTo>
                <a:lnTo>
                  <a:pt x="13945" y="15709"/>
                </a:lnTo>
                <a:lnTo>
                  <a:pt x="13945" y="14144"/>
                </a:lnTo>
                <a:lnTo>
                  <a:pt x="15543" y="14144"/>
                </a:lnTo>
                <a:lnTo>
                  <a:pt x="15543" y="13428"/>
                </a:lnTo>
                <a:lnTo>
                  <a:pt x="13945" y="13428"/>
                </a:lnTo>
                <a:lnTo>
                  <a:pt x="13945" y="12538"/>
                </a:lnTo>
                <a:lnTo>
                  <a:pt x="15655" y="12538"/>
                </a:lnTo>
                <a:lnTo>
                  <a:pt x="15655" y="11816"/>
                </a:lnTo>
                <a:lnTo>
                  <a:pt x="12936" y="11816"/>
                </a:lnTo>
                <a:cubicBezTo>
                  <a:pt x="12936" y="11816"/>
                  <a:pt x="12936" y="15709"/>
                  <a:pt x="12936" y="15709"/>
                </a:cubicBezTo>
                <a:close/>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1136" y="15709"/>
                </a:moveTo>
                <a:lnTo>
                  <a:pt x="12145" y="15709"/>
                </a:lnTo>
                <a:lnTo>
                  <a:pt x="12145" y="11816"/>
                </a:lnTo>
                <a:lnTo>
                  <a:pt x="11136" y="11816"/>
                </a:lnTo>
                <a:cubicBezTo>
                  <a:pt x="11136" y="11816"/>
                  <a:pt x="11136" y="15709"/>
                  <a:pt x="11136" y="15709"/>
                </a:cubicBezTo>
                <a:close/>
                <a:moveTo>
                  <a:pt x="8395" y="14167"/>
                </a:moveTo>
                <a:lnTo>
                  <a:pt x="9082" y="14167"/>
                </a:lnTo>
                <a:lnTo>
                  <a:pt x="9082" y="14981"/>
                </a:lnTo>
                <a:cubicBezTo>
                  <a:pt x="9002" y="15015"/>
                  <a:pt x="8818" y="15039"/>
                  <a:pt x="8586" y="15039"/>
                </a:cubicBezTo>
                <a:cubicBezTo>
                  <a:pt x="7761" y="15039"/>
                  <a:pt x="7187" y="14565"/>
                  <a:pt x="7187" y="13762"/>
                </a:cubicBezTo>
                <a:cubicBezTo>
                  <a:pt x="7187" y="12919"/>
                  <a:pt x="7821" y="12503"/>
                  <a:pt x="8659" y="12503"/>
                </a:cubicBezTo>
                <a:cubicBezTo>
                  <a:pt x="9148" y="12503"/>
                  <a:pt x="9451" y="12579"/>
                  <a:pt x="9696" y="12672"/>
                </a:cubicBezTo>
                <a:lnTo>
                  <a:pt x="9907" y="11966"/>
                </a:lnTo>
                <a:cubicBezTo>
                  <a:pt x="9689" y="11874"/>
                  <a:pt x="9247" y="11776"/>
                  <a:pt x="8672" y="11776"/>
                </a:cubicBezTo>
                <a:cubicBezTo>
                  <a:pt x="7213" y="11776"/>
                  <a:pt x="6138" y="12515"/>
                  <a:pt x="6131" y="13809"/>
                </a:cubicBezTo>
                <a:cubicBezTo>
                  <a:pt x="6124" y="14381"/>
                  <a:pt x="6349" y="14888"/>
                  <a:pt x="6758" y="15223"/>
                </a:cubicBezTo>
                <a:cubicBezTo>
                  <a:pt x="7167" y="15570"/>
                  <a:pt x="7755" y="15749"/>
                  <a:pt x="8566" y="15749"/>
                </a:cubicBezTo>
                <a:cubicBezTo>
                  <a:pt x="9155" y="15749"/>
                  <a:pt x="9742" y="15622"/>
                  <a:pt x="10052" y="15530"/>
                </a:cubicBezTo>
                <a:lnTo>
                  <a:pt x="10052" y="13479"/>
                </a:lnTo>
                <a:lnTo>
                  <a:pt x="8395" y="13479"/>
                </a:lnTo>
                <a:cubicBezTo>
                  <a:pt x="8395" y="13479"/>
                  <a:pt x="8395" y="14167"/>
                  <a:pt x="8395" y="1416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89" name="Shape 2889"/>
          <p:cNvSpPr/>
          <p:nvPr/>
        </p:nvSpPr>
        <p:spPr>
          <a:xfrm>
            <a:off x="7907281"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0069" y="13659"/>
                </a:moveTo>
                <a:cubicBezTo>
                  <a:pt x="9923" y="13659"/>
                  <a:pt x="9818" y="13653"/>
                  <a:pt x="9732" y="13636"/>
                </a:cubicBezTo>
                <a:lnTo>
                  <a:pt x="9732" y="12486"/>
                </a:lnTo>
                <a:cubicBezTo>
                  <a:pt x="9805" y="12469"/>
                  <a:pt x="9943" y="12452"/>
                  <a:pt x="10148" y="12452"/>
                </a:cubicBezTo>
                <a:cubicBezTo>
                  <a:pt x="10650" y="12452"/>
                  <a:pt x="10934" y="12665"/>
                  <a:pt x="10934" y="13023"/>
                </a:cubicBezTo>
                <a:cubicBezTo>
                  <a:pt x="10934" y="13422"/>
                  <a:pt x="10604" y="13659"/>
                  <a:pt x="10069" y="13659"/>
                </a:cubicBezTo>
                <a:moveTo>
                  <a:pt x="10096" y="11787"/>
                </a:moveTo>
                <a:cubicBezTo>
                  <a:pt x="9481" y="11787"/>
                  <a:pt x="9046" y="11822"/>
                  <a:pt x="8736" y="11869"/>
                </a:cubicBezTo>
                <a:lnTo>
                  <a:pt x="8736" y="15709"/>
                </a:lnTo>
                <a:lnTo>
                  <a:pt x="9732" y="15709"/>
                </a:lnTo>
                <a:lnTo>
                  <a:pt x="9732" y="14317"/>
                </a:lnTo>
                <a:cubicBezTo>
                  <a:pt x="9825" y="14328"/>
                  <a:pt x="9943" y="14334"/>
                  <a:pt x="10076" y="14334"/>
                </a:cubicBezTo>
                <a:cubicBezTo>
                  <a:pt x="10670" y="14334"/>
                  <a:pt x="11178" y="14207"/>
                  <a:pt x="11521" y="13924"/>
                </a:cubicBezTo>
                <a:cubicBezTo>
                  <a:pt x="11786" y="13705"/>
                  <a:pt x="11931" y="13382"/>
                  <a:pt x="11931" y="13000"/>
                </a:cubicBezTo>
                <a:cubicBezTo>
                  <a:pt x="11931" y="12619"/>
                  <a:pt x="11739" y="12296"/>
                  <a:pt x="11455" y="12099"/>
                </a:cubicBezTo>
                <a:cubicBezTo>
                  <a:pt x="11159" y="11891"/>
                  <a:pt x="10716" y="11787"/>
                  <a:pt x="10096" y="11787"/>
                </a:cubicBezTo>
                <a:moveTo>
                  <a:pt x="12131" y="13809"/>
                </a:moveTo>
                <a:cubicBezTo>
                  <a:pt x="12124" y="14381"/>
                  <a:pt x="12349" y="14888"/>
                  <a:pt x="12758" y="15224"/>
                </a:cubicBezTo>
                <a:cubicBezTo>
                  <a:pt x="13167" y="15571"/>
                  <a:pt x="13755" y="15749"/>
                  <a:pt x="14566" y="15749"/>
                </a:cubicBezTo>
                <a:cubicBezTo>
                  <a:pt x="15155" y="15749"/>
                  <a:pt x="15742" y="15622"/>
                  <a:pt x="16052" y="15530"/>
                </a:cubicBezTo>
                <a:lnTo>
                  <a:pt x="16052" y="13479"/>
                </a:lnTo>
                <a:lnTo>
                  <a:pt x="14395" y="13479"/>
                </a:lnTo>
                <a:lnTo>
                  <a:pt x="14395" y="14167"/>
                </a:lnTo>
                <a:lnTo>
                  <a:pt x="15081" y="14167"/>
                </a:lnTo>
                <a:lnTo>
                  <a:pt x="15081" y="14981"/>
                </a:lnTo>
                <a:cubicBezTo>
                  <a:pt x="15002" y="15015"/>
                  <a:pt x="14818" y="15039"/>
                  <a:pt x="14586" y="15039"/>
                </a:cubicBezTo>
                <a:cubicBezTo>
                  <a:pt x="13761" y="15039"/>
                  <a:pt x="13187" y="14566"/>
                  <a:pt x="13187" y="13762"/>
                </a:cubicBezTo>
                <a:cubicBezTo>
                  <a:pt x="13187" y="12919"/>
                  <a:pt x="13821" y="12503"/>
                  <a:pt x="14659" y="12503"/>
                </a:cubicBezTo>
                <a:cubicBezTo>
                  <a:pt x="15148" y="12503"/>
                  <a:pt x="15451" y="12579"/>
                  <a:pt x="15696" y="12671"/>
                </a:cubicBezTo>
                <a:lnTo>
                  <a:pt x="15906" y="11966"/>
                </a:lnTo>
                <a:cubicBezTo>
                  <a:pt x="15689" y="11874"/>
                  <a:pt x="15247" y="11776"/>
                  <a:pt x="14672" y="11776"/>
                </a:cubicBezTo>
                <a:cubicBezTo>
                  <a:pt x="13213" y="11776"/>
                  <a:pt x="12138" y="12515"/>
                  <a:pt x="12131" y="13809"/>
                </a:cubicBezTo>
                <a:moveTo>
                  <a:pt x="14400" y="5891"/>
                </a:moveTo>
                <a:lnTo>
                  <a:pt x="14400" y="982"/>
                </a:lnTo>
                <a:lnTo>
                  <a:pt x="15000" y="982"/>
                </a:lnTo>
                <a:lnTo>
                  <a:pt x="20400" y="5891"/>
                </a:lnTo>
                <a:cubicBezTo>
                  <a:pt x="20400" y="5891"/>
                  <a:pt x="14400" y="5891"/>
                  <a:pt x="14400" y="5891"/>
                </a:cubicBezTo>
                <a:close/>
                <a:moveTo>
                  <a:pt x="20400" y="19636"/>
                </a:moveTo>
                <a:cubicBezTo>
                  <a:pt x="20400" y="20179"/>
                  <a:pt x="19863" y="20618"/>
                  <a:pt x="19200" y="20618"/>
                </a:cubicBezTo>
                <a:lnTo>
                  <a:pt x="2400" y="20618"/>
                </a:lnTo>
                <a:cubicBezTo>
                  <a:pt x="1737" y="20618"/>
                  <a:pt x="1200" y="20179"/>
                  <a:pt x="1200" y="19636"/>
                </a:cubicBezTo>
                <a:lnTo>
                  <a:pt x="1200" y="1964"/>
                </a:lnTo>
                <a:cubicBezTo>
                  <a:pt x="1200" y="1421"/>
                  <a:pt x="1737" y="982"/>
                  <a:pt x="2400" y="982"/>
                </a:cubicBezTo>
                <a:lnTo>
                  <a:pt x="13200" y="982"/>
                </a:lnTo>
                <a:lnTo>
                  <a:pt x="13200" y="5891"/>
                </a:lnTo>
                <a:cubicBezTo>
                  <a:pt x="13200" y="6433"/>
                  <a:pt x="13737"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6606" y="14265"/>
                </a:moveTo>
                <a:cubicBezTo>
                  <a:pt x="6606" y="14872"/>
                  <a:pt x="6343" y="15039"/>
                  <a:pt x="5920" y="15039"/>
                </a:cubicBezTo>
                <a:cubicBezTo>
                  <a:pt x="5722" y="15039"/>
                  <a:pt x="5544" y="15010"/>
                  <a:pt x="5406" y="14969"/>
                </a:cubicBezTo>
                <a:lnTo>
                  <a:pt x="5293" y="15680"/>
                </a:lnTo>
                <a:cubicBezTo>
                  <a:pt x="5491" y="15738"/>
                  <a:pt x="5795" y="15773"/>
                  <a:pt x="6026" y="15773"/>
                </a:cubicBezTo>
                <a:cubicBezTo>
                  <a:pt x="7003" y="15773"/>
                  <a:pt x="7610" y="15385"/>
                  <a:pt x="7610" y="14276"/>
                </a:cubicBezTo>
                <a:lnTo>
                  <a:pt x="7610" y="11816"/>
                </a:lnTo>
                <a:lnTo>
                  <a:pt x="6606" y="11816"/>
                </a:lnTo>
                <a:cubicBezTo>
                  <a:pt x="6606" y="11816"/>
                  <a:pt x="6606" y="14265"/>
                  <a:pt x="6606" y="14265"/>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0" name="Shape 2890"/>
          <p:cNvSpPr/>
          <p:nvPr/>
        </p:nvSpPr>
        <p:spPr>
          <a:xfrm>
            <a:off x="8307227" y="3298177"/>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4400" y="5891"/>
                </a:moveTo>
                <a:lnTo>
                  <a:pt x="14400" y="982"/>
                </a:lnTo>
                <a:lnTo>
                  <a:pt x="15000" y="982"/>
                </a:lnTo>
                <a:lnTo>
                  <a:pt x="20400" y="5891"/>
                </a:lnTo>
                <a:cubicBezTo>
                  <a:pt x="20400" y="5891"/>
                  <a:pt x="14400" y="5891"/>
                  <a:pt x="14400" y="5891"/>
                </a:cubicBezTo>
                <a:close/>
                <a:moveTo>
                  <a:pt x="20400" y="19636"/>
                </a:moveTo>
                <a:cubicBezTo>
                  <a:pt x="20400" y="20179"/>
                  <a:pt x="19862" y="20618"/>
                  <a:pt x="19200" y="20618"/>
                </a:cubicBezTo>
                <a:lnTo>
                  <a:pt x="2400" y="20618"/>
                </a:lnTo>
                <a:cubicBezTo>
                  <a:pt x="1738" y="20618"/>
                  <a:pt x="1200" y="20179"/>
                  <a:pt x="1200" y="19636"/>
                </a:cubicBezTo>
                <a:lnTo>
                  <a:pt x="1200" y="1964"/>
                </a:lnTo>
                <a:cubicBezTo>
                  <a:pt x="1200" y="1422"/>
                  <a:pt x="1738" y="982"/>
                  <a:pt x="2400" y="982"/>
                </a:cubicBezTo>
                <a:lnTo>
                  <a:pt x="13200" y="982"/>
                </a:lnTo>
                <a:lnTo>
                  <a:pt x="13200" y="5891"/>
                </a:lnTo>
                <a:cubicBezTo>
                  <a:pt x="13200" y="6433"/>
                  <a:pt x="13738" y="6872"/>
                  <a:pt x="14400" y="6872"/>
                </a:cubicBezTo>
                <a:lnTo>
                  <a:pt x="20400" y="6872"/>
                </a:lnTo>
                <a:cubicBezTo>
                  <a:pt x="20400" y="6872"/>
                  <a:pt x="20400" y="19636"/>
                  <a:pt x="20400" y="19636"/>
                </a:cubicBezTo>
                <a:close/>
                <a:moveTo>
                  <a:pt x="15600" y="0"/>
                </a:moveTo>
                <a:lnTo>
                  <a:pt x="2400" y="0"/>
                </a:lnTo>
                <a:cubicBezTo>
                  <a:pt x="1075" y="0"/>
                  <a:pt x="0" y="879"/>
                  <a:pt x="0" y="1964"/>
                </a:cubicBezTo>
                <a:lnTo>
                  <a:pt x="0" y="19636"/>
                </a:lnTo>
                <a:cubicBezTo>
                  <a:pt x="0" y="20721"/>
                  <a:pt x="1075" y="21600"/>
                  <a:pt x="2400" y="21600"/>
                </a:cubicBezTo>
                <a:lnTo>
                  <a:pt x="19200" y="21600"/>
                </a:lnTo>
                <a:cubicBezTo>
                  <a:pt x="20525" y="21600"/>
                  <a:pt x="21600" y="20721"/>
                  <a:pt x="21600" y="19636"/>
                </a:cubicBezTo>
                <a:lnTo>
                  <a:pt x="21600" y="5400"/>
                </a:lnTo>
                <a:cubicBezTo>
                  <a:pt x="21600" y="5400"/>
                  <a:pt x="15600" y="0"/>
                  <a:pt x="15600" y="0"/>
                </a:cubicBezTo>
                <a:close/>
                <a:moveTo>
                  <a:pt x="13031" y="13809"/>
                </a:moveTo>
                <a:cubicBezTo>
                  <a:pt x="13024" y="14381"/>
                  <a:pt x="13249" y="14888"/>
                  <a:pt x="13658" y="15223"/>
                </a:cubicBezTo>
                <a:cubicBezTo>
                  <a:pt x="14067" y="15570"/>
                  <a:pt x="14655" y="15749"/>
                  <a:pt x="15467" y="15749"/>
                </a:cubicBezTo>
                <a:cubicBezTo>
                  <a:pt x="16054" y="15749"/>
                  <a:pt x="16642" y="15622"/>
                  <a:pt x="16952" y="15530"/>
                </a:cubicBezTo>
                <a:lnTo>
                  <a:pt x="16952" y="13479"/>
                </a:lnTo>
                <a:lnTo>
                  <a:pt x="15295" y="13479"/>
                </a:lnTo>
                <a:lnTo>
                  <a:pt x="15295" y="14167"/>
                </a:lnTo>
                <a:lnTo>
                  <a:pt x="15981" y="14167"/>
                </a:lnTo>
                <a:lnTo>
                  <a:pt x="15981" y="14981"/>
                </a:lnTo>
                <a:cubicBezTo>
                  <a:pt x="15902" y="15015"/>
                  <a:pt x="15718" y="15039"/>
                  <a:pt x="15486" y="15039"/>
                </a:cubicBezTo>
                <a:cubicBezTo>
                  <a:pt x="14661" y="15039"/>
                  <a:pt x="14087" y="14565"/>
                  <a:pt x="14087" y="13762"/>
                </a:cubicBezTo>
                <a:cubicBezTo>
                  <a:pt x="14087" y="12919"/>
                  <a:pt x="14721" y="12503"/>
                  <a:pt x="15559" y="12503"/>
                </a:cubicBezTo>
                <a:cubicBezTo>
                  <a:pt x="16048" y="12503"/>
                  <a:pt x="16351" y="12579"/>
                  <a:pt x="16596" y="12671"/>
                </a:cubicBezTo>
                <a:lnTo>
                  <a:pt x="16807" y="11966"/>
                </a:lnTo>
                <a:cubicBezTo>
                  <a:pt x="16589" y="11874"/>
                  <a:pt x="16147" y="11776"/>
                  <a:pt x="15572" y="11776"/>
                </a:cubicBezTo>
                <a:cubicBezTo>
                  <a:pt x="14113" y="11776"/>
                  <a:pt x="13037" y="12515"/>
                  <a:pt x="13031" y="13809"/>
                </a:cubicBezTo>
                <a:moveTo>
                  <a:pt x="6169" y="13659"/>
                </a:moveTo>
                <a:cubicBezTo>
                  <a:pt x="6023" y="13659"/>
                  <a:pt x="5918" y="13653"/>
                  <a:pt x="5832" y="13636"/>
                </a:cubicBezTo>
                <a:lnTo>
                  <a:pt x="5832" y="12486"/>
                </a:lnTo>
                <a:cubicBezTo>
                  <a:pt x="5905" y="12469"/>
                  <a:pt x="6043" y="12452"/>
                  <a:pt x="6248" y="12452"/>
                </a:cubicBezTo>
                <a:cubicBezTo>
                  <a:pt x="6750" y="12452"/>
                  <a:pt x="7034" y="12665"/>
                  <a:pt x="7034" y="13023"/>
                </a:cubicBezTo>
                <a:cubicBezTo>
                  <a:pt x="7034" y="13422"/>
                  <a:pt x="6704" y="13659"/>
                  <a:pt x="6169" y="13659"/>
                </a:cubicBezTo>
                <a:moveTo>
                  <a:pt x="6196" y="11787"/>
                </a:moveTo>
                <a:cubicBezTo>
                  <a:pt x="5582" y="11787"/>
                  <a:pt x="5146" y="11822"/>
                  <a:pt x="4836" y="11868"/>
                </a:cubicBezTo>
                <a:lnTo>
                  <a:pt x="4836" y="15709"/>
                </a:lnTo>
                <a:lnTo>
                  <a:pt x="5832" y="15709"/>
                </a:lnTo>
                <a:lnTo>
                  <a:pt x="5832" y="14317"/>
                </a:lnTo>
                <a:cubicBezTo>
                  <a:pt x="5925" y="14328"/>
                  <a:pt x="6043" y="14334"/>
                  <a:pt x="6176" y="14334"/>
                </a:cubicBezTo>
                <a:cubicBezTo>
                  <a:pt x="6770" y="14334"/>
                  <a:pt x="7278" y="14207"/>
                  <a:pt x="7621" y="13924"/>
                </a:cubicBezTo>
                <a:cubicBezTo>
                  <a:pt x="7886" y="13705"/>
                  <a:pt x="8031" y="13381"/>
                  <a:pt x="8031" y="13000"/>
                </a:cubicBezTo>
                <a:cubicBezTo>
                  <a:pt x="8031" y="12619"/>
                  <a:pt x="7839" y="12296"/>
                  <a:pt x="7555" y="12099"/>
                </a:cubicBezTo>
                <a:cubicBezTo>
                  <a:pt x="7259" y="11892"/>
                  <a:pt x="6816" y="11787"/>
                  <a:pt x="6196" y="11787"/>
                </a:cubicBezTo>
                <a:moveTo>
                  <a:pt x="11195" y="12954"/>
                </a:moveTo>
                <a:cubicBezTo>
                  <a:pt x="11195" y="13537"/>
                  <a:pt x="11215" y="14063"/>
                  <a:pt x="11280" y="14577"/>
                </a:cubicBezTo>
                <a:lnTo>
                  <a:pt x="11261" y="14577"/>
                </a:lnTo>
                <a:cubicBezTo>
                  <a:pt x="11062" y="14138"/>
                  <a:pt x="10799" y="13653"/>
                  <a:pt x="10535" y="13243"/>
                </a:cubicBezTo>
                <a:lnTo>
                  <a:pt x="9611" y="11816"/>
                </a:lnTo>
                <a:lnTo>
                  <a:pt x="8436" y="11816"/>
                </a:lnTo>
                <a:lnTo>
                  <a:pt x="8436" y="15709"/>
                </a:lnTo>
                <a:lnTo>
                  <a:pt x="9360" y="15709"/>
                </a:lnTo>
                <a:lnTo>
                  <a:pt x="9360" y="14536"/>
                </a:lnTo>
                <a:cubicBezTo>
                  <a:pt x="9360" y="13901"/>
                  <a:pt x="9347" y="13352"/>
                  <a:pt x="9320" y="12838"/>
                </a:cubicBezTo>
                <a:lnTo>
                  <a:pt x="9340" y="12833"/>
                </a:lnTo>
                <a:cubicBezTo>
                  <a:pt x="9558" y="13289"/>
                  <a:pt x="9848" y="13791"/>
                  <a:pt x="10112" y="14207"/>
                </a:cubicBezTo>
                <a:lnTo>
                  <a:pt x="11062" y="15709"/>
                </a:lnTo>
                <a:lnTo>
                  <a:pt x="12119" y="15709"/>
                </a:lnTo>
                <a:lnTo>
                  <a:pt x="12119" y="11816"/>
                </a:lnTo>
                <a:lnTo>
                  <a:pt x="11195" y="11816"/>
                </a:lnTo>
                <a:cubicBezTo>
                  <a:pt x="11195" y="11816"/>
                  <a:pt x="11195" y="12954"/>
                  <a:pt x="11195" y="12954"/>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104" name="Shape 2707"/>
          <p:cNvSpPr/>
          <p:nvPr/>
        </p:nvSpPr>
        <p:spPr>
          <a:xfrm>
            <a:off x="4046061" y="589203"/>
            <a:ext cx="1067594"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E-commerce</a:t>
            </a:r>
          </a:p>
        </p:txBody>
      </p:sp>
      <p:sp>
        <p:nvSpPr>
          <p:cNvPr id="105" name="Shape 2707"/>
          <p:cNvSpPr/>
          <p:nvPr/>
        </p:nvSpPr>
        <p:spPr>
          <a:xfrm>
            <a:off x="4384261" y="2042913"/>
            <a:ext cx="391190"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Web</a:t>
            </a:r>
          </a:p>
        </p:txBody>
      </p:sp>
    </p:spTree>
    <p:extLst>
      <p:ext uri="{BB962C8B-B14F-4D97-AF65-F5344CB8AC3E}">
        <p14:creationId xmlns:p14="http://schemas.microsoft.com/office/powerpoint/2010/main" val="26269268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93" name="Shape 2893"/>
          <p:cNvSpPr/>
          <p:nvPr/>
        </p:nvSpPr>
        <p:spPr>
          <a:xfrm>
            <a:off x="66064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07" y="14380"/>
                </a:moveTo>
                <a:cubicBezTo>
                  <a:pt x="12819" y="14469"/>
                  <a:pt x="12764" y="14592"/>
                  <a:pt x="12764" y="14727"/>
                </a:cubicBezTo>
                <a:cubicBezTo>
                  <a:pt x="12764" y="14999"/>
                  <a:pt x="12984" y="15218"/>
                  <a:pt x="13255" y="15218"/>
                </a:cubicBezTo>
                <a:cubicBezTo>
                  <a:pt x="13390" y="15218"/>
                  <a:pt x="13513" y="15164"/>
                  <a:pt x="13602" y="15074"/>
                </a:cubicBezTo>
                <a:lnTo>
                  <a:pt x="17529" y="11147"/>
                </a:lnTo>
                <a:cubicBezTo>
                  <a:pt x="17618" y="11058"/>
                  <a:pt x="17673" y="10936"/>
                  <a:pt x="17673" y="10800"/>
                </a:cubicBezTo>
                <a:cubicBezTo>
                  <a:pt x="17673" y="10665"/>
                  <a:pt x="17618" y="10542"/>
                  <a:pt x="17529" y="10453"/>
                </a:cubicBezTo>
                <a:lnTo>
                  <a:pt x="13602" y="6526"/>
                </a:lnTo>
                <a:cubicBezTo>
                  <a:pt x="13513" y="6437"/>
                  <a:pt x="13390" y="6382"/>
                  <a:pt x="13255" y="6382"/>
                </a:cubicBezTo>
                <a:cubicBezTo>
                  <a:pt x="12984" y="6382"/>
                  <a:pt x="12764" y="6601"/>
                  <a:pt x="12764" y="6873"/>
                </a:cubicBezTo>
                <a:cubicBezTo>
                  <a:pt x="12764" y="7008"/>
                  <a:pt x="12819" y="7131"/>
                  <a:pt x="12907" y="7220"/>
                </a:cubicBezTo>
                <a:lnTo>
                  <a:pt x="15997" y="10309"/>
                </a:lnTo>
                <a:lnTo>
                  <a:pt x="491" y="10309"/>
                </a:lnTo>
                <a:cubicBezTo>
                  <a:pt x="220" y="10309"/>
                  <a:pt x="0" y="10529"/>
                  <a:pt x="0" y="10800"/>
                </a:cubicBezTo>
                <a:cubicBezTo>
                  <a:pt x="0" y="11071"/>
                  <a:pt x="220" y="11291"/>
                  <a:pt x="491" y="11291"/>
                </a:cubicBezTo>
                <a:lnTo>
                  <a:pt x="15997" y="11291"/>
                </a:lnTo>
                <a:cubicBezTo>
                  <a:pt x="15997" y="11291"/>
                  <a:pt x="12907" y="14380"/>
                  <a:pt x="12907" y="14380"/>
                </a:cubicBezTo>
                <a:close/>
                <a:moveTo>
                  <a:pt x="21109" y="0"/>
                </a:moveTo>
                <a:lnTo>
                  <a:pt x="3436" y="0"/>
                </a:lnTo>
                <a:cubicBezTo>
                  <a:pt x="3166" y="0"/>
                  <a:pt x="2945" y="220"/>
                  <a:pt x="2945" y="491"/>
                </a:cubicBezTo>
                <a:lnTo>
                  <a:pt x="2945" y="7855"/>
                </a:lnTo>
                <a:cubicBezTo>
                  <a:pt x="2945" y="8126"/>
                  <a:pt x="3166" y="8345"/>
                  <a:pt x="3436" y="8345"/>
                </a:cubicBezTo>
                <a:cubicBezTo>
                  <a:pt x="3707" y="8345"/>
                  <a:pt x="3927" y="8126"/>
                  <a:pt x="3927" y="7855"/>
                </a:cubicBezTo>
                <a:lnTo>
                  <a:pt x="3927" y="982"/>
                </a:lnTo>
                <a:lnTo>
                  <a:pt x="20618" y="982"/>
                </a:lnTo>
                <a:lnTo>
                  <a:pt x="20618" y="20618"/>
                </a:lnTo>
                <a:lnTo>
                  <a:pt x="3927" y="20618"/>
                </a:lnTo>
                <a:lnTo>
                  <a:pt x="3927" y="13745"/>
                </a:lnTo>
                <a:cubicBezTo>
                  <a:pt x="3927" y="13475"/>
                  <a:pt x="3707" y="13255"/>
                  <a:pt x="3436" y="13255"/>
                </a:cubicBezTo>
                <a:cubicBezTo>
                  <a:pt x="3166" y="13255"/>
                  <a:pt x="2945" y="13475"/>
                  <a:pt x="2945" y="13745"/>
                </a:cubicBezTo>
                <a:lnTo>
                  <a:pt x="2945" y="21109"/>
                </a:lnTo>
                <a:cubicBezTo>
                  <a:pt x="2945" y="21380"/>
                  <a:pt x="3166" y="21600"/>
                  <a:pt x="3436" y="21600"/>
                </a:cubicBezTo>
                <a:lnTo>
                  <a:pt x="21109" y="21600"/>
                </a:lnTo>
                <a:cubicBezTo>
                  <a:pt x="21380" y="21600"/>
                  <a:pt x="21600" y="21380"/>
                  <a:pt x="21600" y="21109"/>
                </a:cubicBezTo>
                <a:lnTo>
                  <a:pt x="21600" y="491"/>
                </a:lnTo>
                <a:cubicBezTo>
                  <a:pt x="21600" y="220"/>
                  <a:pt x="21380" y="0"/>
                  <a:pt x="21109"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4" name="Shape 2894"/>
          <p:cNvSpPr/>
          <p:nvPr/>
        </p:nvSpPr>
        <p:spPr>
          <a:xfrm>
            <a:off x="106059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10309"/>
                </a:moveTo>
                <a:lnTo>
                  <a:pt x="5604" y="10309"/>
                </a:lnTo>
                <a:lnTo>
                  <a:pt x="8693" y="7220"/>
                </a:lnTo>
                <a:cubicBezTo>
                  <a:pt x="8781" y="7131"/>
                  <a:pt x="8836" y="7008"/>
                  <a:pt x="8836" y="6873"/>
                </a:cubicBezTo>
                <a:cubicBezTo>
                  <a:pt x="8836" y="6601"/>
                  <a:pt x="8616" y="6382"/>
                  <a:pt x="8345" y="6382"/>
                </a:cubicBezTo>
                <a:cubicBezTo>
                  <a:pt x="8210" y="6382"/>
                  <a:pt x="8087" y="6437"/>
                  <a:pt x="7998" y="6526"/>
                </a:cubicBezTo>
                <a:lnTo>
                  <a:pt x="4071" y="10453"/>
                </a:lnTo>
                <a:cubicBezTo>
                  <a:pt x="3982" y="10542"/>
                  <a:pt x="3927" y="10665"/>
                  <a:pt x="3927" y="10800"/>
                </a:cubicBezTo>
                <a:cubicBezTo>
                  <a:pt x="3927" y="10936"/>
                  <a:pt x="3982" y="11058"/>
                  <a:pt x="4071" y="11147"/>
                </a:cubicBezTo>
                <a:lnTo>
                  <a:pt x="7998" y="15074"/>
                </a:lnTo>
                <a:cubicBezTo>
                  <a:pt x="8087" y="15164"/>
                  <a:pt x="8210" y="15218"/>
                  <a:pt x="8345" y="15218"/>
                </a:cubicBezTo>
                <a:cubicBezTo>
                  <a:pt x="8616" y="15218"/>
                  <a:pt x="8836" y="14999"/>
                  <a:pt x="8836" y="14727"/>
                </a:cubicBezTo>
                <a:cubicBezTo>
                  <a:pt x="8836" y="14592"/>
                  <a:pt x="8781" y="14469"/>
                  <a:pt x="8693" y="14380"/>
                </a:cubicBezTo>
                <a:lnTo>
                  <a:pt x="5604" y="11291"/>
                </a:lnTo>
                <a:lnTo>
                  <a:pt x="21109" y="11291"/>
                </a:lnTo>
                <a:cubicBezTo>
                  <a:pt x="21380" y="11291"/>
                  <a:pt x="21600" y="11071"/>
                  <a:pt x="21600" y="10800"/>
                </a:cubicBezTo>
                <a:cubicBezTo>
                  <a:pt x="21600" y="10529"/>
                  <a:pt x="21380" y="10309"/>
                  <a:pt x="21109" y="10309"/>
                </a:cubicBezTo>
                <a:moveTo>
                  <a:pt x="18164" y="13255"/>
                </a:moveTo>
                <a:cubicBezTo>
                  <a:pt x="17893" y="13255"/>
                  <a:pt x="17673" y="13475"/>
                  <a:pt x="17673" y="13745"/>
                </a:cubicBezTo>
                <a:lnTo>
                  <a:pt x="17673" y="20618"/>
                </a:lnTo>
                <a:lnTo>
                  <a:pt x="982" y="20618"/>
                </a:lnTo>
                <a:lnTo>
                  <a:pt x="982" y="982"/>
                </a:lnTo>
                <a:lnTo>
                  <a:pt x="17673" y="982"/>
                </a:lnTo>
                <a:lnTo>
                  <a:pt x="17673" y="7855"/>
                </a:lnTo>
                <a:cubicBezTo>
                  <a:pt x="17673" y="8126"/>
                  <a:pt x="17893" y="8345"/>
                  <a:pt x="18164" y="8345"/>
                </a:cubicBezTo>
                <a:cubicBezTo>
                  <a:pt x="18434" y="8345"/>
                  <a:pt x="18655" y="8126"/>
                  <a:pt x="18655" y="7855"/>
                </a:cubicBezTo>
                <a:lnTo>
                  <a:pt x="18655" y="491"/>
                </a:lnTo>
                <a:cubicBezTo>
                  <a:pt x="18655" y="220"/>
                  <a:pt x="18434" y="0"/>
                  <a:pt x="18164" y="0"/>
                </a:cubicBezTo>
                <a:lnTo>
                  <a:pt x="491" y="0"/>
                </a:lnTo>
                <a:cubicBezTo>
                  <a:pt x="220" y="0"/>
                  <a:pt x="0" y="220"/>
                  <a:pt x="0" y="491"/>
                </a:cubicBezTo>
                <a:lnTo>
                  <a:pt x="0" y="21109"/>
                </a:lnTo>
                <a:cubicBezTo>
                  <a:pt x="0" y="21380"/>
                  <a:pt x="220" y="21600"/>
                  <a:pt x="491" y="21600"/>
                </a:cubicBezTo>
                <a:lnTo>
                  <a:pt x="18164" y="21600"/>
                </a:lnTo>
                <a:cubicBezTo>
                  <a:pt x="18434" y="21600"/>
                  <a:pt x="18655" y="21380"/>
                  <a:pt x="18655" y="21109"/>
                </a:cubicBezTo>
                <a:lnTo>
                  <a:pt x="18655" y="13745"/>
                </a:lnTo>
                <a:cubicBezTo>
                  <a:pt x="18655" y="13475"/>
                  <a:pt x="18434" y="13255"/>
                  <a:pt x="18164" y="132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5" name="Shape 2895"/>
          <p:cNvSpPr/>
          <p:nvPr/>
        </p:nvSpPr>
        <p:spPr>
          <a:xfrm>
            <a:off x="1512911"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5709"/>
                </a:moveTo>
                <a:cubicBezTo>
                  <a:pt x="20347" y="15709"/>
                  <a:pt x="20102" y="15764"/>
                  <a:pt x="19924" y="15853"/>
                </a:cubicBezTo>
                <a:lnTo>
                  <a:pt x="11782" y="19924"/>
                </a:lnTo>
                <a:lnTo>
                  <a:pt x="11782" y="491"/>
                </a:lnTo>
                <a:cubicBezTo>
                  <a:pt x="11782" y="220"/>
                  <a:pt x="11342" y="0"/>
                  <a:pt x="10800" y="0"/>
                </a:cubicBezTo>
                <a:cubicBezTo>
                  <a:pt x="10258" y="0"/>
                  <a:pt x="9818" y="220"/>
                  <a:pt x="9818" y="491"/>
                </a:cubicBezTo>
                <a:lnTo>
                  <a:pt x="9818" y="19924"/>
                </a:lnTo>
                <a:lnTo>
                  <a:pt x="1676" y="15853"/>
                </a:lnTo>
                <a:cubicBezTo>
                  <a:pt x="1498" y="15764"/>
                  <a:pt x="1253" y="15709"/>
                  <a:pt x="982" y="15709"/>
                </a:cubicBezTo>
                <a:cubicBezTo>
                  <a:pt x="440" y="15709"/>
                  <a:pt x="0" y="15929"/>
                  <a:pt x="0" y="16200"/>
                </a:cubicBezTo>
                <a:cubicBezTo>
                  <a:pt x="0" y="16336"/>
                  <a:pt x="110" y="16458"/>
                  <a:pt x="288" y="16547"/>
                </a:cubicBezTo>
                <a:lnTo>
                  <a:pt x="10106" y="21456"/>
                </a:lnTo>
                <a:cubicBezTo>
                  <a:pt x="10284" y="21545"/>
                  <a:pt x="10529" y="21600"/>
                  <a:pt x="10800" y="21600"/>
                </a:cubicBezTo>
                <a:cubicBezTo>
                  <a:pt x="11071" y="21600"/>
                  <a:pt x="11316" y="21545"/>
                  <a:pt x="11494" y="21456"/>
                </a:cubicBezTo>
                <a:lnTo>
                  <a:pt x="21312" y="16547"/>
                </a:lnTo>
                <a:cubicBezTo>
                  <a:pt x="21490" y="16458"/>
                  <a:pt x="21600" y="16336"/>
                  <a:pt x="21600" y="16200"/>
                </a:cubicBezTo>
                <a:cubicBezTo>
                  <a:pt x="21600" y="15929"/>
                  <a:pt x="21160" y="15709"/>
                  <a:pt x="20618" y="157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6" name="Shape 2896"/>
          <p:cNvSpPr/>
          <p:nvPr/>
        </p:nvSpPr>
        <p:spPr>
          <a:xfrm>
            <a:off x="1912856" y="1074826"/>
            <a:ext cx="104748" cy="209495"/>
          </a:xfrm>
          <a:custGeom>
            <a:avLst/>
            <a:gdLst/>
            <a:ahLst/>
            <a:cxnLst>
              <a:cxn ang="0">
                <a:pos x="wd2" y="hd2"/>
              </a:cxn>
              <a:cxn ang="5400000">
                <a:pos x="wd2" y="hd2"/>
              </a:cxn>
              <a:cxn ang="10800000">
                <a:pos x="wd2" y="hd2"/>
              </a:cxn>
              <a:cxn ang="16200000">
                <a:pos x="wd2" y="hd2"/>
              </a:cxn>
            </a:cxnLst>
            <a:rect l="0" t="0" r="r" b="b"/>
            <a:pathLst>
              <a:path w="21600" h="21600" extrusionOk="0">
                <a:moveTo>
                  <a:pt x="21312" y="5053"/>
                </a:moveTo>
                <a:lnTo>
                  <a:pt x="11494" y="144"/>
                </a:lnTo>
                <a:cubicBezTo>
                  <a:pt x="11316" y="55"/>
                  <a:pt x="11071" y="0"/>
                  <a:pt x="10800" y="0"/>
                </a:cubicBezTo>
                <a:cubicBezTo>
                  <a:pt x="10529" y="0"/>
                  <a:pt x="10284" y="55"/>
                  <a:pt x="10106" y="144"/>
                </a:cubicBezTo>
                <a:lnTo>
                  <a:pt x="288" y="5053"/>
                </a:lnTo>
                <a:cubicBezTo>
                  <a:pt x="110" y="5142"/>
                  <a:pt x="0" y="5264"/>
                  <a:pt x="0" y="5400"/>
                </a:cubicBezTo>
                <a:cubicBezTo>
                  <a:pt x="0" y="5671"/>
                  <a:pt x="440" y="5891"/>
                  <a:pt x="982" y="5891"/>
                </a:cubicBezTo>
                <a:cubicBezTo>
                  <a:pt x="1253" y="5891"/>
                  <a:pt x="1498" y="5836"/>
                  <a:pt x="1676" y="5747"/>
                </a:cubicBezTo>
                <a:lnTo>
                  <a:pt x="9818" y="1676"/>
                </a:lnTo>
                <a:lnTo>
                  <a:pt x="9818" y="21109"/>
                </a:lnTo>
                <a:cubicBezTo>
                  <a:pt x="9818" y="21380"/>
                  <a:pt x="10258" y="21600"/>
                  <a:pt x="10800" y="21600"/>
                </a:cubicBezTo>
                <a:cubicBezTo>
                  <a:pt x="11342" y="21600"/>
                  <a:pt x="11782" y="21380"/>
                  <a:pt x="11782" y="21109"/>
                </a:cubicBezTo>
                <a:lnTo>
                  <a:pt x="11782" y="1676"/>
                </a:lnTo>
                <a:lnTo>
                  <a:pt x="19924" y="5747"/>
                </a:lnTo>
                <a:cubicBezTo>
                  <a:pt x="20102" y="5836"/>
                  <a:pt x="20347" y="5891"/>
                  <a:pt x="20618" y="5891"/>
                </a:cubicBezTo>
                <a:cubicBezTo>
                  <a:pt x="21160" y="5891"/>
                  <a:pt x="21600" y="5671"/>
                  <a:pt x="21600" y="5400"/>
                </a:cubicBezTo>
                <a:cubicBezTo>
                  <a:pt x="21600" y="5264"/>
                  <a:pt x="21490" y="5142"/>
                  <a:pt x="21312" y="50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7" name="Shape 2897"/>
          <p:cNvSpPr/>
          <p:nvPr/>
        </p:nvSpPr>
        <p:spPr>
          <a:xfrm>
            <a:off x="2260427"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109" y="9818"/>
                </a:moveTo>
                <a:lnTo>
                  <a:pt x="1676" y="9818"/>
                </a:lnTo>
                <a:lnTo>
                  <a:pt x="5747" y="1676"/>
                </a:lnTo>
                <a:cubicBezTo>
                  <a:pt x="5836" y="1499"/>
                  <a:pt x="5891" y="1253"/>
                  <a:pt x="5891" y="982"/>
                </a:cubicBezTo>
                <a:cubicBezTo>
                  <a:pt x="5891" y="439"/>
                  <a:pt x="5671" y="0"/>
                  <a:pt x="5400" y="0"/>
                </a:cubicBezTo>
                <a:cubicBezTo>
                  <a:pt x="5265" y="0"/>
                  <a:pt x="5142" y="110"/>
                  <a:pt x="5053" y="288"/>
                </a:cubicBezTo>
                <a:lnTo>
                  <a:pt x="144" y="10106"/>
                </a:lnTo>
                <a:cubicBezTo>
                  <a:pt x="55" y="10284"/>
                  <a:pt x="0" y="10530"/>
                  <a:pt x="0" y="10800"/>
                </a:cubicBezTo>
                <a:cubicBezTo>
                  <a:pt x="0" y="11071"/>
                  <a:pt x="55" y="11317"/>
                  <a:pt x="144" y="11494"/>
                </a:cubicBezTo>
                <a:lnTo>
                  <a:pt x="5053" y="21312"/>
                </a:lnTo>
                <a:cubicBezTo>
                  <a:pt x="5142" y="21491"/>
                  <a:pt x="5265" y="21600"/>
                  <a:pt x="5400" y="21600"/>
                </a:cubicBezTo>
                <a:cubicBezTo>
                  <a:pt x="5671" y="21600"/>
                  <a:pt x="5891" y="21161"/>
                  <a:pt x="5891" y="20618"/>
                </a:cubicBezTo>
                <a:cubicBezTo>
                  <a:pt x="5891" y="20348"/>
                  <a:pt x="5836" y="20102"/>
                  <a:pt x="5747" y="19924"/>
                </a:cubicBezTo>
                <a:lnTo>
                  <a:pt x="1676" y="11782"/>
                </a:lnTo>
                <a:lnTo>
                  <a:pt x="21109" y="11782"/>
                </a:lnTo>
                <a:cubicBezTo>
                  <a:pt x="21380" y="11782"/>
                  <a:pt x="21600" y="11343"/>
                  <a:pt x="21600" y="10800"/>
                </a:cubicBezTo>
                <a:cubicBezTo>
                  <a:pt x="21600" y="10257"/>
                  <a:pt x="21380" y="9818"/>
                  <a:pt x="21109"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8" name="Shape 2898"/>
          <p:cNvSpPr/>
          <p:nvPr/>
        </p:nvSpPr>
        <p:spPr>
          <a:xfrm>
            <a:off x="2660374" y="1127199"/>
            <a:ext cx="209495" cy="104748"/>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0"/>
                  <a:pt x="16336" y="0"/>
                  <a:pt x="16200" y="0"/>
                </a:cubicBezTo>
                <a:cubicBezTo>
                  <a:pt x="15929" y="0"/>
                  <a:pt x="15709" y="439"/>
                  <a:pt x="15709" y="982"/>
                </a:cubicBezTo>
                <a:cubicBezTo>
                  <a:pt x="15709" y="1253"/>
                  <a:pt x="15764" y="1499"/>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7"/>
                  <a:pt x="15709" y="20618"/>
                </a:cubicBezTo>
                <a:cubicBezTo>
                  <a:pt x="15709" y="21161"/>
                  <a:pt x="15929" y="21600"/>
                  <a:pt x="16200" y="21600"/>
                </a:cubicBezTo>
                <a:cubicBezTo>
                  <a:pt x="16336" y="21600"/>
                  <a:pt x="16458" y="21491"/>
                  <a:pt x="16547" y="21312"/>
                </a:cubicBezTo>
                <a:lnTo>
                  <a:pt x="21456" y="11494"/>
                </a:lnTo>
                <a:cubicBezTo>
                  <a:pt x="21545" y="11317"/>
                  <a:pt x="21600" y="11071"/>
                  <a:pt x="21600" y="10800"/>
                </a:cubicBezTo>
                <a:cubicBezTo>
                  <a:pt x="21600" y="10529"/>
                  <a:pt x="21545" y="10284"/>
                  <a:pt x="21456" y="1010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899" name="Shape 2899"/>
          <p:cNvSpPr/>
          <p:nvPr/>
        </p:nvSpPr>
        <p:spPr>
          <a:xfrm>
            <a:off x="3069842"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060" y="0"/>
                </a:moveTo>
                <a:cubicBezTo>
                  <a:pt x="20911" y="0"/>
                  <a:pt x="20776" y="121"/>
                  <a:pt x="20678" y="316"/>
                </a:cubicBezTo>
                <a:lnTo>
                  <a:pt x="10800" y="19033"/>
                </a:lnTo>
                <a:lnTo>
                  <a:pt x="922" y="316"/>
                </a:lnTo>
                <a:cubicBezTo>
                  <a:pt x="824" y="121"/>
                  <a:pt x="689" y="0"/>
                  <a:pt x="540" y="0"/>
                </a:cubicBezTo>
                <a:cubicBezTo>
                  <a:pt x="242" y="0"/>
                  <a:pt x="0" y="483"/>
                  <a:pt x="0" y="1080"/>
                </a:cubicBezTo>
                <a:cubicBezTo>
                  <a:pt x="0" y="1378"/>
                  <a:pt x="60" y="1648"/>
                  <a:pt x="158" y="1844"/>
                </a:cubicBezTo>
                <a:lnTo>
                  <a:pt x="10418" y="21284"/>
                </a:lnTo>
                <a:cubicBezTo>
                  <a:pt x="10516" y="21480"/>
                  <a:pt x="10651" y="21600"/>
                  <a:pt x="10800" y="21600"/>
                </a:cubicBezTo>
                <a:cubicBezTo>
                  <a:pt x="10949" y="21600"/>
                  <a:pt x="11084" y="21480"/>
                  <a:pt x="11182" y="21284"/>
                </a:cubicBezTo>
                <a:lnTo>
                  <a:pt x="21442" y="1844"/>
                </a:lnTo>
                <a:cubicBezTo>
                  <a:pt x="21540" y="1648"/>
                  <a:pt x="21600" y="1378"/>
                  <a:pt x="21600" y="1080"/>
                </a:cubicBezTo>
                <a:cubicBezTo>
                  <a:pt x="21600" y="483"/>
                  <a:pt x="21358" y="0"/>
                  <a:pt x="2106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0" name="Shape 2900"/>
          <p:cNvSpPr/>
          <p:nvPr/>
        </p:nvSpPr>
        <p:spPr>
          <a:xfrm>
            <a:off x="3469788" y="1131961"/>
            <a:ext cx="190451" cy="95226"/>
          </a:xfrm>
          <a:custGeom>
            <a:avLst/>
            <a:gdLst/>
            <a:ahLst/>
            <a:cxnLst>
              <a:cxn ang="0">
                <a:pos x="wd2" y="hd2"/>
              </a:cxn>
              <a:cxn ang="5400000">
                <a:pos x="wd2" y="hd2"/>
              </a:cxn>
              <a:cxn ang="10800000">
                <a:pos x="wd2" y="hd2"/>
              </a:cxn>
              <a:cxn ang="16200000">
                <a:pos x="wd2" y="hd2"/>
              </a:cxn>
            </a:cxnLst>
            <a:rect l="0" t="0" r="r" b="b"/>
            <a:pathLst>
              <a:path w="21600" h="21600" extrusionOk="0">
                <a:moveTo>
                  <a:pt x="21442" y="19756"/>
                </a:moveTo>
                <a:lnTo>
                  <a:pt x="11182" y="316"/>
                </a:lnTo>
                <a:cubicBezTo>
                  <a:pt x="11084" y="121"/>
                  <a:pt x="10949" y="0"/>
                  <a:pt x="10800" y="0"/>
                </a:cubicBezTo>
                <a:cubicBezTo>
                  <a:pt x="10651" y="0"/>
                  <a:pt x="10516" y="121"/>
                  <a:pt x="10418" y="316"/>
                </a:cubicBezTo>
                <a:lnTo>
                  <a:pt x="158" y="19756"/>
                </a:lnTo>
                <a:cubicBezTo>
                  <a:pt x="60" y="19953"/>
                  <a:pt x="0" y="20222"/>
                  <a:pt x="0" y="20520"/>
                </a:cubicBezTo>
                <a:cubicBezTo>
                  <a:pt x="0" y="21117"/>
                  <a:pt x="242" y="21600"/>
                  <a:pt x="540" y="21600"/>
                </a:cubicBezTo>
                <a:cubicBezTo>
                  <a:pt x="689" y="21600"/>
                  <a:pt x="824" y="21480"/>
                  <a:pt x="922" y="21284"/>
                </a:cubicBezTo>
                <a:lnTo>
                  <a:pt x="10800" y="2567"/>
                </a:lnTo>
                <a:lnTo>
                  <a:pt x="20678" y="21284"/>
                </a:lnTo>
                <a:cubicBezTo>
                  <a:pt x="20776" y="21480"/>
                  <a:pt x="20911" y="21600"/>
                  <a:pt x="21060" y="21600"/>
                </a:cubicBezTo>
                <a:cubicBezTo>
                  <a:pt x="21358" y="21600"/>
                  <a:pt x="21600" y="21117"/>
                  <a:pt x="21600" y="20520"/>
                </a:cubicBezTo>
                <a:cubicBezTo>
                  <a:pt x="21600" y="20222"/>
                  <a:pt x="21540" y="19953"/>
                  <a:pt x="21442" y="197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1" name="Shape 2901"/>
          <p:cNvSpPr/>
          <p:nvPr/>
        </p:nvSpPr>
        <p:spPr>
          <a:xfrm>
            <a:off x="3917346"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567" y="10800"/>
                </a:moveTo>
                <a:lnTo>
                  <a:pt x="21284" y="922"/>
                </a:lnTo>
                <a:cubicBezTo>
                  <a:pt x="21480" y="824"/>
                  <a:pt x="21600" y="689"/>
                  <a:pt x="21600" y="540"/>
                </a:cubicBezTo>
                <a:cubicBezTo>
                  <a:pt x="21600" y="242"/>
                  <a:pt x="21117" y="0"/>
                  <a:pt x="20520" y="0"/>
                </a:cubicBezTo>
                <a:cubicBezTo>
                  <a:pt x="20222" y="0"/>
                  <a:pt x="19953" y="61"/>
                  <a:pt x="19756" y="158"/>
                </a:cubicBezTo>
                <a:lnTo>
                  <a:pt x="316" y="10418"/>
                </a:lnTo>
                <a:cubicBezTo>
                  <a:pt x="121" y="10516"/>
                  <a:pt x="0" y="10651"/>
                  <a:pt x="0" y="10800"/>
                </a:cubicBezTo>
                <a:cubicBezTo>
                  <a:pt x="0" y="10949"/>
                  <a:pt x="120" y="11084"/>
                  <a:pt x="316" y="11182"/>
                </a:cubicBezTo>
                <a:lnTo>
                  <a:pt x="19756" y="21442"/>
                </a:lnTo>
                <a:cubicBezTo>
                  <a:pt x="19953" y="21540"/>
                  <a:pt x="20222" y="21600"/>
                  <a:pt x="20520" y="21600"/>
                </a:cubicBezTo>
                <a:cubicBezTo>
                  <a:pt x="21117" y="21600"/>
                  <a:pt x="21600" y="21358"/>
                  <a:pt x="21600" y="21060"/>
                </a:cubicBezTo>
                <a:cubicBezTo>
                  <a:pt x="21600" y="20911"/>
                  <a:pt x="21480" y="20776"/>
                  <a:pt x="21284" y="20678"/>
                </a:cubicBezTo>
                <a:cubicBezTo>
                  <a:pt x="21284" y="20678"/>
                  <a:pt x="2567" y="10800"/>
                  <a:pt x="2567" y="1080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2" name="Shape 2902"/>
          <p:cNvSpPr/>
          <p:nvPr/>
        </p:nvSpPr>
        <p:spPr>
          <a:xfrm>
            <a:off x="4317292" y="1084348"/>
            <a:ext cx="95226" cy="190451"/>
          </a:xfrm>
          <a:custGeom>
            <a:avLst/>
            <a:gdLst/>
            <a:ahLst/>
            <a:cxnLst>
              <a:cxn ang="0">
                <a:pos x="wd2" y="hd2"/>
              </a:cxn>
              <a:cxn ang="5400000">
                <a:pos x="wd2" y="hd2"/>
              </a:cxn>
              <a:cxn ang="10800000">
                <a:pos x="wd2" y="hd2"/>
              </a:cxn>
              <a:cxn ang="16200000">
                <a:pos x="wd2" y="hd2"/>
              </a:cxn>
            </a:cxnLst>
            <a:rect l="0" t="0" r="r" b="b"/>
            <a:pathLst>
              <a:path w="21600" h="21600" extrusionOk="0">
                <a:moveTo>
                  <a:pt x="21284" y="10418"/>
                </a:moveTo>
                <a:lnTo>
                  <a:pt x="1844" y="158"/>
                </a:lnTo>
                <a:cubicBezTo>
                  <a:pt x="1648" y="61"/>
                  <a:pt x="1378" y="0"/>
                  <a:pt x="1080" y="0"/>
                </a:cubicBezTo>
                <a:cubicBezTo>
                  <a:pt x="483" y="0"/>
                  <a:pt x="0" y="242"/>
                  <a:pt x="0" y="540"/>
                </a:cubicBezTo>
                <a:cubicBezTo>
                  <a:pt x="0" y="689"/>
                  <a:pt x="121" y="824"/>
                  <a:pt x="316" y="922"/>
                </a:cubicBezTo>
                <a:lnTo>
                  <a:pt x="19033" y="10800"/>
                </a:lnTo>
                <a:lnTo>
                  <a:pt x="316" y="20678"/>
                </a:lnTo>
                <a:cubicBezTo>
                  <a:pt x="121" y="20776"/>
                  <a:pt x="0" y="20911"/>
                  <a:pt x="0" y="21060"/>
                </a:cubicBezTo>
                <a:cubicBezTo>
                  <a:pt x="0" y="21358"/>
                  <a:pt x="483" y="21600"/>
                  <a:pt x="1080" y="21600"/>
                </a:cubicBezTo>
                <a:cubicBezTo>
                  <a:pt x="1378" y="21600"/>
                  <a:pt x="1648" y="21540"/>
                  <a:pt x="1844" y="21442"/>
                </a:cubicBezTo>
                <a:lnTo>
                  <a:pt x="21284" y="11182"/>
                </a:lnTo>
                <a:cubicBezTo>
                  <a:pt x="21479" y="11084"/>
                  <a:pt x="21600" y="10949"/>
                  <a:pt x="21600" y="10800"/>
                </a:cubicBezTo>
                <a:cubicBezTo>
                  <a:pt x="21600" y="10651"/>
                  <a:pt x="21479" y="10516"/>
                  <a:pt x="21284" y="104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3" name="Shape 2903"/>
          <p:cNvSpPr/>
          <p:nvPr/>
        </p:nvSpPr>
        <p:spPr>
          <a:xfrm>
            <a:off x="66064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6200" y="8836"/>
                </a:moveTo>
                <a:cubicBezTo>
                  <a:pt x="16065" y="8836"/>
                  <a:pt x="15942" y="8891"/>
                  <a:pt x="15852" y="8980"/>
                </a:cubicBezTo>
                <a:lnTo>
                  <a:pt x="10800" y="13574"/>
                </a:lnTo>
                <a:lnTo>
                  <a:pt x="5747" y="8980"/>
                </a:lnTo>
                <a:cubicBezTo>
                  <a:pt x="5658" y="8891"/>
                  <a:pt x="5535" y="8836"/>
                  <a:pt x="5400" y="8836"/>
                </a:cubicBezTo>
                <a:cubicBezTo>
                  <a:pt x="5129" y="8836"/>
                  <a:pt x="4909" y="9056"/>
                  <a:pt x="4909" y="9327"/>
                </a:cubicBezTo>
                <a:cubicBezTo>
                  <a:pt x="4909" y="9463"/>
                  <a:pt x="4964" y="9586"/>
                  <a:pt x="5053" y="9674"/>
                </a:cubicBezTo>
                <a:lnTo>
                  <a:pt x="10453" y="14583"/>
                </a:lnTo>
                <a:cubicBezTo>
                  <a:pt x="10542" y="14673"/>
                  <a:pt x="10665" y="14727"/>
                  <a:pt x="10800" y="14727"/>
                </a:cubicBezTo>
                <a:cubicBezTo>
                  <a:pt x="10935" y="14727"/>
                  <a:pt x="11058" y="14673"/>
                  <a:pt x="11147" y="14583"/>
                </a:cubicBezTo>
                <a:lnTo>
                  <a:pt x="16547" y="9674"/>
                </a:lnTo>
                <a:cubicBezTo>
                  <a:pt x="16636" y="9586"/>
                  <a:pt x="16691" y="9463"/>
                  <a:pt x="16691" y="9327"/>
                </a:cubicBezTo>
                <a:cubicBezTo>
                  <a:pt x="16691" y="9056"/>
                  <a:pt x="16471" y="8836"/>
                  <a:pt x="16200"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4" name="Shape 2904"/>
          <p:cNvSpPr/>
          <p:nvPr/>
        </p:nvSpPr>
        <p:spPr>
          <a:xfrm>
            <a:off x="106059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147" y="7017"/>
                </a:moveTo>
                <a:cubicBezTo>
                  <a:pt x="11058" y="6927"/>
                  <a:pt x="10935" y="6873"/>
                  <a:pt x="10800" y="6873"/>
                </a:cubicBezTo>
                <a:cubicBezTo>
                  <a:pt x="10665" y="6873"/>
                  <a:pt x="10542" y="6927"/>
                  <a:pt x="10453" y="7017"/>
                </a:cubicBezTo>
                <a:lnTo>
                  <a:pt x="5053" y="11926"/>
                </a:lnTo>
                <a:cubicBezTo>
                  <a:pt x="4964" y="12015"/>
                  <a:pt x="4909" y="12138"/>
                  <a:pt x="4909" y="12273"/>
                </a:cubicBezTo>
                <a:cubicBezTo>
                  <a:pt x="4909" y="12544"/>
                  <a:pt x="5129" y="12764"/>
                  <a:pt x="5400" y="12764"/>
                </a:cubicBezTo>
                <a:cubicBezTo>
                  <a:pt x="5535" y="12764"/>
                  <a:pt x="5658" y="12709"/>
                  <a:pt x="5747" y="12620"/>
                </a:cubicBezTo>
                <a:lnTo>
                  <a:pt x="10800" y="8026"/>
                </a:lnTo>
                <a:lnTo>
                  <a:pt x="15853" y="12620"/>
                </a:lnTo>
                <a:cubicBezTo>
                  <a:pt x="15942" y="12709"/>
                  <a:pt x="16065" y="12764"/>
                  <a:pt x="16200" y="12764"/>
                </a:cubicBezTo>
                <a:cubicBezTo>
                  <a:pt x="16471" y="12764"/>
                  <a:pt x="16691" y="12544"/>
                  <a:pt x="16691" y="12273"/>
                </a:cubicBezTo>
                <a:cubicBezTo>
                  <a:pt x="16691" y="12138"/>
                  <a:pt x="16636" y="12015"/>
                  <a:pt x="16547" y="11926"/>
                </a:cubicBezTo>
                <a:cubicBezTo>
                  <a:pt x="16547" y="11926"/>
                  <a:pt x="11147" y="7017"/>
                  <a:pt x="11147" y="7017"/>
                </a:cubicBezTo>
                <a:close/>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5" name="Shape 2905"/>
          <p:cNvSpPr/>
          <p:nvPr/>
        </p:nvSpPr>
        <p:spPr>
          <a:xfrm>
            <a:off x="146053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764" y="5400"/>
                </a:moveTo>
                <a:cubicBezTo>
                  <a:pt x="12764" y="5129"/>
                  <a:pt x="12544" y="4909"/>
                  <a:pt x="12273" y="4909"/>
                </a:cubicBezTo>
                <a:cubicBezTo>
                  <a:pt x="12137" y="4909"/>
                  <a:pt x="12015" y="4964"/>
                  <a:pt x="11926" y="5053"/>
                </a:cubicBezTo>
                <a:lnTo>
                  <a:pt x="7017" y="10453"/>
                </a:lnTo>
                <a:cubicBezTo>
                  <a:pt x="6928" y="10542"/>
                  <a:pt x="6873" y="10665"/>
                  <a:pt x="6873" y="10800"/>
                </a:cubicBezTo>
                <a:cubicBezTo>
                  <a:pt x="6873" y="10936"/>
                  <a:pt x="6928" y="11058"/>
                  <a:pt x="7017" y="11147"/>
                </a:cubicBezTo>
                <a:lnTo>
                  <a:pt x="11926" y="16547"/>
                </a:lnTo>
                <a:cubicBezTo>
                  <a:pt x="12015" y="16636"/>
                  <a:pt x="12137" y="16691"/>
                  <a:pt x="12273" y="16691"/>
                </a:cubicBezTo>
                <a:cubicBezTo>
                  <a:pt x="12544" y="16691"/>
                  <a:pt x="12764" y="16471"/>
                  <a:pt x="12764" y="16200"/>
                </a:cubicBezTo>
                <a:cubicBezTo>
                  <a:pt x="12764" y="16065"/>
                  <a:pt x="12709" y="15942"/>
                  <a:pt x="12620" y="15853"/>
                </a:cubicBezTo>
                <a:lnTo>
                  <a:pt x="8026" y="10800"/>
                </a:lnTo>
                <a:lnTo>
                  <a:pt x="12620" y="5747"/>
                </a:lnTo>
                <a:cubicBezTo>
                  <a:pt x="12709" y="5658"/>
                  <a:pt x="12764" y="5536"/>
                  <a:pt x="12764" y="5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6" name="Shape 2906"/>
          <p:cNvSpPr/>
          <p:nvPr/>
        </p:nvSpPr>
        <p:spPr>
          <a:xfrm>
            <a:off x="1860482"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9674" y="5053"/>
                </a:moveTo>
                <a:cubicBezTo>
                  <a:pt x="9585" y="4964"/>
                  <a:pt x="9463" y="4909"/>
                  <a:pt x="9327" y="4909"/>
                </a:cubicBezTo>
                <a:cubicBezTo>
                  <a:pt x="9056" y="4909"/>
                  <a:pt x="8836" y="5129"/>
                  <a:pt x="8836" y="5400"/>
                </a:cubicBezTo>
                <a:cubicBezTo>
                  <a:pt x="8836" y="5536"/>
                  <a:pt x="8891" y="5658"/>
                  <a:pt x="8980" y="5747"/>
                </a:cubicBezTo>
                <a:lnTo>
                  <a:pt x="13574" y="10800"/>
                </a:lnTo>
                <a:lnTo>
                  <a:pt x="8980" y="15853"/>
                </a:lnTo>
                <a:cubicBezTo>
                  <a:pt x="8891" y="15942"/>
                  <a:pt x="8836" y="16065"/>
                  <a:pt x="8836" y="16200"/>
                </a:cubicBezTo>
                <a:cubicBezTo>
                  <a:pt x="8836" y="16471"/>
                  <a:pt x="9056" y="16691"/>
                  <a:pt x="9327" y="16691"/>
                </a:cubicBezTo>
                <a:cubicBezTo>
                  <a:pt x="9463" y="16691"/>
                  <a:pt x="9585" y="16636"/>
                  <a:pt x="9674" y="16547"/>
                </a:cubicBezTo>
                <a:lnTo>
                  <a:pt x="14583" y="11147"/>
                </a:lnTo>
                <a:cubicBezTo>
                  <a:pt x="14672" y="11058"/>
                  <a:pt x="14727" y="10936"/>
                  <a:pt x="14727" y="10800"/>
                </a:cubicBezTo>
                <a:cubicBezTo>
                  <a:pt x="14727" y="10665"/>
                  <a:pt x="14672" y="10542"/>
                  <a:pt x="14583" y="10453"/>
                </a:cubicBezTo>
                <a:cubicBezTo>
                  <a:pt x="14583" y="10453"/>
                  <a:pt x="9674" y="5053"/>
                  <a:pt x="9674" y="505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7" name="Shape 2907"/>
          <p:cNvSpPr/>
          <p:nvPr/>
        </p:nvSpPr>
        <p:spPr>
          <a:xfrm>
            <a:off x="226042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973" y="235"/>
                </a:moveTo>
                <a:cubicBezTo>
                  <a:pt x="12909" y="205"/>
                  <a:pt x="12840" y="184"/>
                  <a:pt x="12764" y="184"/>
                </a:cubicBezTo>
                <a:cubicBezTo>
                  <a:pt x="12493" y="184"/>
                  <a:pt x="12273" y="404"/>
                  <a:pt x="12273" y="675"/>
                </a:cubicBezTo>
                <a:cubicBezTo>
                  <a:pt x="12273" y="946"/>
                  <a:pt x="12493" y="1166"/>
                  <a:pt x="12764" y="1166"/>
                </a:cubicBezTo>
                <a:lnTo>
                  <a:pt x="12764" y="1179"/>
                </a:lnTo>
                <a:cubicBezTo>
                  <a:pt x="17245" y="2089"/>
                  <a:pt x="20618" y="6050"/>
                  <a:pt x="20618" y="10800"/>
                </a:cubicBezTo>
                <a:cubicBezTo>
                  <a:pt x="20618" y="16223"/>
                  <a:pt x="16223" y="20618"/>
                  <a:pt x="10800" y="20618"/>
                </a:cubicBezTo>
                <a:cubicBezTo>
                  <a:pt x="5377" y="20618"/>
                  <a:pt x="982" y="16223"/>
                  <a:pt x="982" y="10800"/>
                </a:cubicBezTo>
                <a:cubicBezTo>
                  <a:pt x="982" y="6050"/>
                  <a:pt x="4355" y="2089"/>
                  <a:pt x="8836" y="1179"/>
                </a:cubicBezTo>
                <a:lnTo>
                  <a:pt x="8836" y="1166"/>
                </a:lnTo>
                <a:cubicBezTo>
                  <a:pt x="9107" y="1166"/>
                  <a:pt x="9327" y="946"/>
                  <a:pt x="9327" y="675"/>
                </a:cubicBezTo>
                <a:cubicBezTo>
                  <a:pt x="9327" y="404"/>
                  <a:pt x="9107" y="184"/>
                  <a:pt x="8836" y="184"/>
                </a:cubicBezTo>
                <a:cubicBezTo>
                  <a:pt x="8761" y="184"/>
                  <a:pt x="8691" y="205"/>
                  <a:pt x="8627" y="235"/>
                </a:cubicBezTo>
                <a:cubicBezTo>
                  <a:pt x="3706" y="1243"/>
                  <a:pt x="0" y="5582"/>
                  <a:pt x="0" y="10800"/>
                </a:cubicBezTo>
                <a:cubicBezTo>
                  <a:pt x="0" y="16765"/>
                  <a:pt x="4835" y="21600"/>
                  <a:pt x="10800" y="21600"/>
                </a:cubicBezTo>
                <a:cubicBezTo>
                  <a:pt x="16765" y="21600"/>
                  <a:pt x="21600" y="16765"/>
                  <a:pt x="21600" y="10800"/>
                </a:cubicBezTo>
                <a:cubicBezTo>
                  <a:pt x="21600" y="5582"/>
                  <a:pt x="17893" y="1243"/>
                  <a:pt x="12973" y="235"/>
                </a:cubicBezTo>
                <a:moveTo>
                  <a:pt x="6873" y="9818"/>
                </a:moveTo>
                <a:cubicBezTo>
                  <a:pt x="6602" y="9818"/>
                  <a:pt x="6382" y="10038"/>
                  <a:pt x="6382" y="10309"/>
                </a:cubicBezTo>
                <a:cubicBezTo>
                  <a:pt x="6382" y="10445"/>
                  <a:pt x="6437" y="10567"/>
                  <a:pt x="6526" y="10656"/>
                </a:cubicBezTo>
                <a:lnTo>
                  <a:pt x="10453" y="14583"/>
                </a:lnTo>
                <a:cubicBezTo>
                  <a:pt x="10542" y="14673"/>
                  <a:pt x="10664" y="14727"/>
                  <a:pt x="10800" y="14727"/>
                </a:cubicBezTo>
                <a:cubicBezTo>
                  <a:pt x="10936" y="14727"/>
                  <a:pt x="11059" y="14673"/>
                  <a:pt x="11147" y="14583"/>
                </a:cubicBezTo>
                <a:lnTo>
                  <a:pt x="15074" y="10656"/>
                </a:lnTo>
                <a:cubicBezTo>
                  <a:pt x="15163" y="10567"/>
                  <a:pt x="15218" y="10445"/>
                  <a:pt x="15218" y="10309"/>
                </a:cubicBezTo>
                <a:cubicBezTo>
                  <a:pt x="15218" y="10038"/>
                  <a:pt x="14998" y="9818"/>
                  <a:pt x="14727" y="9818"/>
                </a:cubicBezTo>
                <a:cubicBezTo>
                  <a:pt x="14592" y="9818"/>
                  <a:pt x="14469" y="9873"/>
                  <a:pt x="14380" y="9962"/>
                </a:cubicBezTo>
                <a:lnTo>
                  <a:pt x="11291" y="13051"/>
                </a:lnTo>
                <a:lnTo>
                  <a:pt x="11291" y="491"/>
                </a:lnTo>
                <a:cubicBezTo>
                  <a:pt x="11291" y="220"/>
                  <a:pt x="11071" y="0"/>
                  <a:pt x="10800" y="0"/>
                </a:cubicBezTo>
                <a:cubicBezTo>
                  <a:pt x="10529" y="0"/>
                  <a:pt x="10309" y="220"/>
                  <a:pt x="10309" y="491"/>
                </a:cubicBezTo>
                <a:lnTo>
                  <a:pt x="10309" y="13051"/>
                </a:lnTo>
                <a:lnTo>
                  <a:pt x="7220" y="9962"/>
                </a:lnTo>
                <a:cubicBezTo>
                  <a:pt x="7131" y="9873"/>
                  <a:pt x="7009" y="9818"/>
                  <a:pt x="6873" y="98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8" name="Shape 2908"/>
          <p:cNvSpPr/>
          <p:nvPr/>
        </p:nvSpPr>
        <p:spPr>
          <a:xfrm>
            <a:off x="2660374"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0800" y="19397"/>
                </a:moveTo>
                <a:lnTo>
                  <a:pt x="1638" y="1800"/>
                </a:lnTo>
                <a:lnTo>
                  <a:pt x="19962" y="1800"/>
                </a:lnTo>
                <a:cubicBezTo>
                  <a:pt x="19962" y="1800"/>
                  <a:pt x="10800" y="19397"/>
                  <a:pt x="10800" y="19397"/>
                </a:cubicBezTo>
                <a:close/>
                <a:moveTo>
                  <a:pt x="21600" y="900"/>
                </a:moveTo>
                <a:cubicBezTo>
                  <a:pt x="21600" y="403"/>
                  <a:pt x="21380" y="0"/>
                  <a:pt x="21109" y="0"/>
                </a:cubicBezTo>
                <a:lnTo>
                  <a:pt x="491" y="0"/>
                </a:lnTo>
                <a:cubicBezTo>
                  <a:pt x="220" y="0"/>
                  <a:pt x="0" y="403"/>
                  <a:pt x="0" y="900"/>
                </a:cubicBezTo>
                <a:cubicBezTo>
                  <a:pt x="0" y="1141"/>
                  <a:pt x="53" y="1357"/>
                  <a:pt x="137" y="1519"/>
                </a:cubicBezTo>
                <a:lnTo>
                  <a:pt x="136" y="1521"/>
                </a:lnTo>
                <a:lnTo>
                  <a:pt x="10445" y="21321"/>
                </a:lnTo>
                <a:lnTo>
                  <a:pt x="10446" y="21319"/>
                </a:lnTo>
                <a:cubicBezTo>
                  <a:pt x="10536" y="21491"/>
                  <a:pt x="10660" y="21600"/>
                  <a:pt x="10800" y="21600"/>
                </a:cubicBezTo>
                <a:cubicBezTo>
                  <a:pt x="10940" y="21600"/>
                  <a:pt x="11064" y="21491"/>
                  <a:pt x="11154" y="21319"/>
                </a:cubicBezTo>
                <a:lnTo>
                  <a:pt x="11155" y="21321"/>
                </a:lnTo>
                <a:lnTo>
                  <a:pt x="21464" y="1521"/>
                </a:lnTo>
                <a:lnTo>
                  <a:pt x="21463" y="1519"/>
                </a:lnTo>
                <a:cubicBezTo>
                  <a:pt x="21547" y="1357"/>
                  <a:pt x="21600" y="1141"/>
                  <a:pt x="21600" y="9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09" name="Shape 2909"/>
          <p:cNvSpPr/>
          <p:nvPr/>
        </p:nvSpPr>
        <p:spPr>
          <a:xfrm>
            <a:off x="3060320" y="1522383"/>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638" y="19800"/>
                </a:moveTo>
                <a:lnTo>
                  <a:pt x="10800" y="2203"/>
                </a:lnTo>
                <a:lnTo>
                  <a:pt x="19962" y="19800"/>
                </a:lnTo>
                <a:cubicBezTo>
                  <a:pt x="19962" y="19800"/>
                  <a:pt x="1638" y="19800"/>
                  <a:pt x="1638" y="19800"/>
                </a:cubicBezTo>
                <a:close/>
                <a:moveTo>
                  <a:pt x="21463" y="20081"/>
                </a:moveTo>
                <a:lnTo>
                  <a:pt x="21464" y="20079"/>
                </a:lnTo>
                <a:lnTo>
                  <a:pt x="11155" y="279"/>
                </a:lnTo>
                <a:lnTo>
                  <a:pt x="11154" y="282"/>
                </a:lnTo>
                <a:cubicBezTo>
                  <a:pt x="11064" y="109"/>
                  <a:pt x="10940" y="0"/>
                  <a:pt x="10800" y="0"/>
                </a:cubicBezTo>
                <a:cubicBezTo>
                  <a:pt x="10660" y="0"/>
                  <a:pt x="10536" y="109"/>
                  <a:pt x="10446" y="282"/>
                </a:cubicBezTo>
                <a:lnTo>
                  <a:pt x="10445" y="279"/>
                </a:lnTo>
                <a:lnTo>
                  <a:pt x="136" y="20079"/>
                </a:lnTo>
                <a:lnTo>
                  <a:pt x="137" y="20081"/>
                </a:lnTo>
                <a:cubicBezTo>
                  <a:pt x="54" y="20243"/>
                  <a:pt x="0" y="20459"/>
                  <a:pt x="0" y="20700"/>
                </a:cubicBezTo>
                <a:cubicBezTo>
                  <a:pt x="0" y="21197"/>
                  <a:pt x="220" y="21600"/>
                  <a:pt x="491" y="21600"/>
                </a:cubicBezTo>
                <a:lnTo>
                  <a:pt x="21109" y="21600"/>
                </a:lnTo>
                <a:cubicBezTo>
                  <a:pt x="21380" y="21600"/>
                  <a:pt x="21600" y="21197"/>
                  <a:pt x="21600" y="20700"/>
                </a:cubicBezTo>
                <a:cubicBezTo>
                  <a:pt x="21600" y="20459"/>
                  <a:pt x="21547" y="20243"/>
                  <a:pt x="21463" y="2008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0" name="Shape 2910"/>
          <p:cNvSpPr/>
          <p:nvPr/>
        </p:nvSpPr>
        <p:spPr>
          <a:xfrm>
            <a:off x="3507877"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9800" y="19962"/>
                </a:moveTo>
                <a:lnTo>
                  <a:pt x="2203" y="10800"/>
                </a:lnTo>
                <a:lnTo>
                  <a:pt x="19800" y="1638"/>
                </a:lnTo>
                <a:cubicBezTo>
                  <a:pt x="19800" y="1638"/>
                  <a:pt x="19800" y="19962"/>
                  <a:pt x="19800" y="19962"/>
                </a:cubicBezTo>
                <a:close/>
                <a:moveTo>
                  <a:pt x="20700" y="0"/>
                </a:moveTo>
                <a:cubicBezTo>
                  <a:pt x="20459" y="0"/>
                  <a:pt x="20243" y="53"/>
                  <a:pt x="20080" y="137"/>
                </a:cubicBezTo>
                <a:lnTo>
                  <a:pt x="20079" y="136"/>
                </a:lnTo>
                <a:lnTo>
                  <a:pt x="279" y="10445"/>
                </a:lnTo>
                <a:lnTo>
                  <a:pt x="281" y="10446"/>
                </a:lnTo>
                <a:cubicBezTo>
                  <a:pt x="109" y="10536"/>
                  <a:pt x="0" y="10660"/>
                  <a:pt x="0" y="10800"/>
                </a:cubicBezTo>
                <a:cubicBezTo>
                  <a:pt x="0" y="10940"/>
                  <a:pt x="109" y="11065"/>
                  <a:pt x="281" y="11154"/>
                </a:cubicBezTo>
                <a:lnTo>
                  <a:pt x="279" y="11155"/>
                </a:lnTo>
                <a:lnTo>
                  <a:pt x="20079" y="21465"/>
                </a:lnTo>
                <a:lnTo>
                  <a:pt x="20080" y="21463"/>
                </a:lnTo>
                <a:cubicBezTo>
                  <a:pt x="20243" y="21547"/>
                  <a:pt x="20459" y="21600"/>
                  <a:pt x="20700" y="21600"/>
                </a:cubicBezTo>
                <a:cubicBezTo>
                  <a:pt x="21197" y="21600"/>
                  <a:pt x="21600" y="21380"/>
                  <a:pt x="21600" y="21109"/>
                </a:cubicBezTo>
                <a:lnTo>
                  <a:pt x="21600" y="491"/>
                </a:lnTo>
                <a:cubicBezTo>
                  <a:pt x="21600" y="220"/>
                  <a:pt x="21197" y="0"/>
                  <a:pt x="207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1" name="Shape 2911"/>
          <p:cNvSpPr/>
          <p:nvPr/>
        </p:nvSpPr>
        <p:spPr>
          <a:xfrm>
            <a:off x="3907824" y="1474772"/>
            <a:ext cx="114271" cy="209495"/>
          </a:xfrm>
          <a:custGeom>
            <a:avLst/>
            <a:gdLst/>
            <a:ahLst/>
            <a:cxnLst>
              <a:cxn ang="0">
                <a:pos x="wd2" y="hd2"/>
              </a:cxn>
              <a:cxn ang="5400000">
                <a:pos x="wd2" y="hd2"/>
              </a:cxn>
              <a:cxn ang="10800000">
                <a:pos x="wd2" y="hd2"/>
              </a:cxn>
              <a:cxn ang="16200000">
                <a:pos x="wd2" y="hd2"/>
              </a:cxn>
            </a:cxnLst>
            <a:rect l="0" t="0" r="r" b="b"/>
            <a:pathLst>
              <a:path w="21600" h="21600" extrusionOk="0">
                <a:moveTo>
                  <a:pt x="1800" y="19962"/>
                </a:moveTo>
                <a:lnTo>
                  <a:pt x="1800" y="1638"/>
                </a:lnTo>
                <a:lnTo>
                  <a:pt x="19397" y="10800"/>
                </a:lnTo>
                <a:cubicBezTo>
                  <a:pt x="19397" y="10800"/>
                  <a:pt x="1800" y="19962"/>
                  <a:pt x="1800" y="19962"/>
                </a:cubicBezTo>
                <a:close/>
                <a:moveTo>
                  <a:pt x="21600" y="10800"/>
                </a:moveTo>
                <a:cubicBezTo>
                  <a:pt x="21600" y="10660"/>
                  <a:pt x="21491" y="10536"/>
                  <a:pt x="21318" y="10446"/>
                </a:cubicBezTo>
                <a:lnTo>
                  <a:pt x="21321" y="10445"/>
                </a:lnTo>
                <a:lnTo>
                  <a:pt x="1521" y="136"/>
                </a:lnTo>
                <a:lnTo>
                  <a:pt x="1519" y="137"/>
                </a:lnTo>
                <a:cubicBezTo>
                  <a:pt x="1357" y="53"/>
                  <a:pt x="1141" y="0"/>
                  <a:pt x="900" y="0"/>
                </a:cubicBezTo>
                <a:cubicBezTo>
                  <a:pt x="403" y="0"/>
                  <a:pt x="0" y="220"/>
                  <a:pt x="0" y="491"/>
                </a:cubicBezTo>
                <a:lnTo>
                  <a:pt x="0" y="21109"/>
                </a:lnTo>
                <a:cubicBezTo>
                  <a:pt x="0" y="21380"/>
                  <a:pt x="403" y="21600"/>
                  <a:pt x="900" y="21600"/>
                </a:cubicBezTo>
                <a:cubicBezTo>
                  <a:pt x="1141" y="21600"/>
                  <a:pt x="1357" y="21547"/>
                  <a:pt x="1519" y="21463"/>
                </a:cubicBezTo>
                <a:lnTo>
                  <a:pt x="1521" y="21465"/>
                </a:lnTo>
                <a:lnTo>
                  <a:pt x="21321" y="11155"/>
                </a:lnTo>
                <a:lnTo>
                  <a:pt x="21318" y="11154"/>
                </a:lnTo>
                <a:cubicBezTo>
                  <a:pt x="21491" y="11065"/>
                  <a:pt x="21600" y="10940"/>
                  <a:pt x="21600" y="108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2" name="Shape 2912"/>
          <p:cNvSpPr/>
          <p:nvPr/>
        </p:nvSpPr>
        <p:spPr>
          <a:xfrm>
            <a:off x="4260157"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456" y="10453"/>
                </a:moveTo>
                <a:lnTo>
                  <a:pt x="18511" y="7507"/>
                </a:lnTo>
                <a:cubicBezTo>
                  <a:pt x="18422" y="7419"/>
                  <a:pt x="18299" y="7364"/>
                  <a:pt x="18164" y="7364"/>
                </a:cubicBezTo>
                <a:cubicBezTo>
                  <a:pt x="17892" y="7364"/>
                  <a:pt x="17673" y="7584"/>
                  <a:pt x="17673" y="7855"/>
                </a:cubicBezTo>
                <a:cubicBezTo>
                  <a:pt x="17673" y="7990"/>
                  <a:pt x="17728" y="8113"/>
                  <a:pt x="17817" y="8202"/>
                </a:cubicBezTo>
                <a:lnTo>
                  <a:pt x="19924" y="10309"/>
                </a:lnTo>
                <a:lnTo>
                  <a:pt x="11291" y="10309"/>
                </a:lnTo>
                <a:lnTo>
                  <a:pt x="11291" y="1676"/>
                </a:lnTo>
                <a:lnTo>
                  <a:pt x="13398" y="3783"/>
                </a:lnTo>
                <a:cubicBezTo>
                  <a:pt x="13487" y="3873"/>
                  <a:pt x="13610" y="3927"/>
                  <a:pt x="13745" y="3927"/>
                </a:cubicBezTo>
                <a:cubicBezTo>
                  <a:pt x="14017" y="3927"/>
                  <a:pt x="14236" y="3708"/>
                  <a:pt x="14236" y="3436"/>
                </a:cubicBezTo>
                <a:cubicBezTo>
                  <a:pt x="14236" y="3301"/>
                  <a:pt x="14181" y="3178"/>
                  <a:pt x="14093" y="3089"/>
                </a:cubicBezTo>
                <a:lnTo>
                  <a:pt x="11147" y="144"/>
                </a:lnTo>
                <a:cubicBezTo>
                  <a:pt x="11058" y="55"/>
                  <a:pt x="10936" y="0"/>
                  <a:pt x="10800" y="0"/>
                </a:cubicBezTo>
                <a:cubicBezTo>
                  <a:pt x="10665" y="0"/>
                  <a:pt x="10542" y="55"/>
                  <a:pt x="10453" y="144"/>
                </a:cubicBezTo>
                <a:lnTo>
                  <a:pt x="7507" y="3089"/>
                </a:lnTo>
                <a:cubicBezTo>
                  <a:pt x="7418" y="3178"/>
                  <a:pt x="7364" y="3301"/>
                  <a:pt x="7364" y="3436"/>
                </a:cubicBezTo>
                <a:cubicBezTo>
                  <a:pt x="7364" y="3708"/>
                  <a:pt x="7583" y="3927"/>
                  <a:pt x="7855" y="3927"/>
                </a:cubicBezTo>
                <a:cubicBezTo>
                  <a:pt x="7990" y="3927"/>
                  <a:pt x="8113" y="3873"/>
                  <a:pt x="8202" y="3783"/>
                </a:cubicBezTo>
                <a:lnTo>
                  <a:pt x="10309" y="1676"/>
                </a:lnTo>
                <a:lnTo>
                  <a:pt x="10309" y="10309"/>
                </a:lnTo>
                <a:lnTo>
                  <a:pt x="1676" y="10309"/>
                </a:lnTo>
                <a:lnTo>
                  <a:pt x="3783" y="8202"/>
                </a:lnTo>
                <a:cubicBezTo>
                  <a:pt x="3873" y="8113"/>
                  <a:pt x="3927" y="7990"/>
                  <a:pt x="3927" y="7855"/>
                </a:cubicBezTo>
                <a:cubicBezTo>
                  <a:pt x="3927" y="7584"/>
                  <a:pt x="3708" y="7364"/>
                  <a:pt x="3436" y="7364"/>
                </a:cubicBezTo>
                <a:cubicBezTo>
                  <a:pt x="3301" y="7364"/>
                  <a:pt x="3178" y="7419"/>
                  <a:pt x="3089" y="7507"/>
                </a:cubicBezTo>
                <a:lnTo>
                  <a:pt x="144" y="10453"/>
                </a:lnTo>
                <a:cubicBezTo>
                  <a:pt x="55" y="10542"/>
                  <a:pt x="0" y="10665"/>
                  <a:pt x="0" y="10800"/>
                </a:cubicBezTo>
                <a:cubicBezTo>
                  <a:pt x="0" y="10936"/>
                  <a:pt x="55" y="11058"/>
                  <a:pt x="144" y="11148"/>
                </a:cubicBezTo>
                <a:lnTo>
                  <a:pt x="3089" y="14093"/>
                </a:lnTo>
                <a:cubicBezTo>
                  <a:pt x="3178" y="14182"/>
                  <a:pt x="3301" y="14236"/>
                  <a:pt x="3436" y="14236"/>
                </a:cubicBezTo>
                <a:cubicBezTo>
                  <a:pt x="3708" y="14236"/>
                  <a:pt x="3927" y="14017"/>
                  <a:pt x="3927" y="13745"/>
                </a:cubicBezTo>
                <a:cubicBezTo>
                  <a:pt x="3927" y="13610"/>
                  <a:pt x="3873" y="13488"/>
                  <a:pt x="3783" y="13398"/>
                </a:cubicBezTo>
                <a:lnTo>
                  <a:pt x="1676" y="11291"/>
                </a:lnTo>
                <a:lnTo>
                  <a:pt x="10309" y="11291"/>
                </a:lnTo>
                <a:lnTo>
                  <a:pt x="10309" y="19924"/>
                </a:lnTo>
                <a:lnTo>
                  <a:pt x="8202" y="17817"/>
                </a:lnTo>
                <a:cubicBezTo>
                  <a:pt x="8113" y="17728"/>
                  <a:pt x="7990" y="17673"/>
                  <a:pt x="7855" y="17673"/>
                </a:cubicBezTo>
                <a:cubicBezTo>
                  <a:pt x="7583" y="17673"/>
                  <a:pt x="7364" y="17893"/>
                  <a:pt x="7364" y="18164"/>
                </a:cubicBezTo>
                <a:cubicBezTo>
                  <a:pt x="7364" y="18300"/>
                  <a:pt x="7418" y="18422"/>
                  <a:pt x="7507" y="18511"/>
                </a:cubicBezTo>
                <a:lnTo>
                  <a:pt x="10453" y="21456"/>
                </a:lnTo>
                <a:cubicBezTo>
                  <a:pt x="10542" y="21545"/>
                  <a:pt x="10665" y="21600"/>
                  <a:pt x="10800" y="21600"/>
                </a:cubicBezTo>
                <a:cubicBezTo>
                  <a:pt x="10936" y="21600"/>
                  <a:pt x="11058" y="21545"/>
                  <a:pt x="11147" y="21456"/>
                </a:cubicBezTo>
                <a:lnTo>
                  <a:pt x="14093" y="18511"/>
                </a:lnTo>
                <a:cubicBezTo>
                  <a:pt x="14182" y="18422"/>
                  <a:pt x="14236" y="18300"/>
                  <a:pt x="14236" y="18164"/>
                </a:cubicBezTo>
                <a:cubicBezTo>
                  <a:pt x="14236" y="17893"/>
                  <a:pt x="14017" y="17673"/>
                  <a:pt x="13745" y="17673"/>
                </a:cubicBezTo>
                <a:cubicBezTo>
                  <a:pt x="13610" y="17673"/>
                  <a:pt x="13487" y="17728"/>
                  <a:pt x="13398" y="17817"/>
                </a:cubicBezTo>
                <a:lnTo>
                  <a:pt x="11291" y="19924"/>
                </a:lnTo>
                <a:lnTo>
                  <a:pt x="11291" y="11291"/>
                </a:lnTo>
                <a:lnTo>
                  <a:pt x="19924" y="11291"/>
                </a:lnTo>
                <a:lnTo>
                  <a:pt x="17817" y="13398"/>
                </a:lnTo>
                <a:cubicBezTo>
                  <a:pt x="17728" y="13488"/>
                  <a:pt x="17673" y="13610"/>
                  <a:pt x="17673" y="13745"/>
                </a:cubicBezTo>
                <a:cubicBezTo>
                  <a:pt x="17673" y="14017"/>
                  <a:pt x="17892" y="14236"/>
                  <a:pt x="18164" y="14236"/>
                </a:cubicBezTo>
                <a:cubicBezTo>
                  <a:pt x="18299" y="14236"/>
                  <a:pt x="18422" y="14182"/>
                  <a:pt x="18511" y="14093"/>
                </a:cubicBezTo>
                <a:lnTo>
                  <a:pt x="21456" y="11148"/>
                </a:lnTo>
                <a:cubicBezTo>
                  <a:pt x="21545" y="11058"/>
                  <a:pt x="21600" y="10936"/>
                  <a:pt x="21600" y="10800"/>
                </a:cubicBezTo>
                <a:cubicBezTo>
                  <a:pt x="21600" y="10665"/>
                  <a:pt x="21545" y="10542"/>
                  <a:pt x="21456" y="1045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3" name="Shape 2913"/>
          <p:cNvSpPr/>
          <p:nvPr/>
        </p:nvSpPr>
        <p:spPr>
          <a:xfrm>
            <a:off x="4660103"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6200" y="7855"/>
                </a:moveTo>
                <a:cubicBezTo>
                  <a:pt x="16073" y="7855"/>
                  <a:pt x="15959" y="7905"/>
                  <a:pt x="15873" y="7985"/>
                </a:cubicBezTo>
                <a:lnTo>
                  <a:pt x="15870" y="7982"/>
                </a:lnTo>
                <a:lnTo>
                  <a:pt x="10800" y="12591"/>
                </a:lnTo>
                <a:lnTo>
                  <a:pt x="5730" y="7982"/>
                </a:lnTo>
                <a:lnTo>
                  <a:pt x="5727" y="7985"/>
                </a:lnTo>
                <a:cubicBezTo>
                  <a:pt x="5641" y="7905"/>
                  <a:pt x="5527" y="7855"/>
                  <a:pt x="5400" y="7855"/>
                </a:cubicBezTo>
                <a:cubicBezTo>
                  <a:pt x="5129" y="7855"/>
                  <a:pt x="4909" y="8074"/>
                  <a:pt x="4909" y="8345"/>
                </a:cubicBezTo>
                <a:cubicBezTo>
                  <a:pt x="4909" y="8489"/>
                  <a:pt x="4973" y="8616"/>
                  <a:pt x="5073" y="8706"/>
                </a:cubicBezTo>
                <a:lnTo>
                  <a:pt x="5070" y="8709"/>
                </a:lnTo>
                <a:lnTo>
                  <a:pt x="10470" y="13618"/>
                </a:lnTo>
                <a:lnTo>
                  <a:pt x="10473" y="13615"/>
                </a:lnTo>
                <a:cubicBezTo>
                  <a:pt x="10559" y="13695"/>
                  <a:pt x="10673" y="13745"/>
                  <a:pt x="10800" y="13745"/>
                </a:cubicBezTo>
                <a:cubicBezTo>
                  <a:pt x="10927" y="13745"/>
                  <a:pt x="11041" y="13695"/>
                  <a:pt x="11127" y="13615"/>
                </a:cubicBezTo>
                <a:lnTo>
                  <a:pt x="11130" y="13618"/>
                </a:lnTo>
                <a:lnTo>
                  <a:pt x="16530" y="8709"/>
                </a:lnTo>
                <a:lnTo>
                  <a:pt x="16527" y="8706"/>
                </a:lnTo>
                <a:cubicBezTo>
                  <a:pt x="16627" y="8616"/>
                  <a:pt x="16691" y="8489"/>
                  <a:pt x="16691" y="8345"/>
                </a:cubicBezTo>
                <a:cubicBezTo>
                  <a:pt x="16691" y="8074"/>
                  <a:pt x="16471" y="7855"/>
                  <a:pt x="16200"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4" name="Shape 2914"/>
          <p:cNvSpPr/>
          <p:nvPr/>
        </p:nvSpPr>
        <p:spPr>
          <a:xfrm>
            <a:off x="5060049"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530" y="12891"/>
                </a:moveTo>
                <a:lnTo>
                  <a:pt x="11130" y="7982"/>
                </a:lnTo>
                <a:lnTo>
                  <a:pt x="11128" y="7985"/>
                </a:lnTo>
                <a:cubicBezTo>
                  <a:pt x="11040" y="7906"/>
                  <a:pt x="10927" y="7855"/>
                  <a:pt x="10800" y="7855"/>
                </a:cubicBezTo>
                <a:cubicBezTo>
                  <a:pt x="10673" y="7855"/>
                  <a:pt x="10559" y="7906"/>
                  <a:pt x="10473" y="7985"/>
                </a:cubicBezTo>
                <a:lnTo>
                  <a:pt x="10469" y="7982"/>
                </a:lnTo>
                <a:lnTo>
                  <a:pt x="5069" y="12891"/>
                </a:lnTo>
                <a:lnTo>
                  <a:pt x="5073" y="12895"/>
                </a:lnTo>
                <a:cubicBezTo>
                  <a:pt x="4973" y="12984"/>
                  <a:pt x="4909" y="13111"/>
                  <a:pt x="4909" y="13255"/>
                </a:cubicBezTo>
                <a:cubicBezTo>
                  <a:pt x="4909" y="13526"/>
                  <a:pt x="5129" y="13745"/>
                  <a:pt x="5400" y="13745"/>
                </a:cubicBezTo>
                <a:cubicBezTo>
                  <a:pt x="5527" y="13745"/>
                  <a:pt x="5640" y="13694"/>
                  <a:pt x="5728" y="13615"/>
                </a:cubicBezTo>
                <a:lnTo>
                  <a:pt x="5730" y="13618"/>
                </a:lnTo>
                <a:lnTo>
                  <a:pt x="10800" y="9009"/>
                </a:lnTo>
                <a:lnTo>
                  <a:pt x="15869" y="13618"/>
                </a:lnTo>
                <a:lnTo>
                  <a:pt x="15873" y="13615"/>
                </a:lnTo>
                <a:cubicBezTo>
                  <a:pt x="15959" y="13694"/>
                  <a:pt x="16073" y="13745"/>
                  <a:pt x="16200" y="13745"/>
                </a:cubicBezTo>
                <a:cubicBezTo>
                  <a:pt x="16471" y="13745"/>
                  <a:pt x="16691" y="13526"/>
                  <a:pt x="16691" y="13255"/>
                </a:cubicBezTo>
                <a:cubicBezTo>
                  <a:pt x="16691" y="13111"/>
                  <a:pt x="16627" y="12984"/>
                  <a:pt x="16527" y="12895"/>
                </a:cubicBezTo>
                <a:cubicBezTo>
                  <a:pt x="16527" y="12895"/>
                  <a:pt x="16530" y="12891"/>
                  <a:pt x="16530" y="12891"/>
                </a:cubicBezTo>
                <a:close/>
                <a:moveTo>
                  <a:pt x="20618" y="19636"/>
                </a:moveTo>
                <a:cubicBezTo>
                  <a:pt x="20618" y="20179"/>
                  <a:pt x="20179" y="20618"/>
                  <a:pt x="19636" y="20618"/>
                </a:cubicBezTo>
                <a:lnTo>
                  <a:pt x="1964" y="20618"/>
                </a:lnTo>
                <a:cubicBezTo>
                  <a:pt x="1422" y="20618"/>
                  <a:pt x="982" y="20179"/>
                  <a:pt x="982" y="19636"/>
                </a:cubicBezTo>
                <a:lnTo>
                  <a:pt x="982" y="1964"/>
                </a:lnTo>
                <a:cubicBezTo>
                  <a:pt x="982" y="1421"/>
                  <a:pt x="1422" y="982"/>
                  <a:pt x="1964" y="982"/>
                </a:cubicBezTo>
                <a:lnTo>
                  <a:pt x="19636" y="982"/>
                </a:lnTo>
                <a:cubicBezTo>
                  <a:pt x="20179" y="982"/>
                  <a:pt x="20618" y="1421"/>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5" name="Shape 2915"/>
          <p:cNvSpPr/>
          <p:nvPr/>
        </p:nvSpPr>
        <p:spPr>
          <a:xfrm>
            <a:off x="5459994"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2273" y="4909"/>
                </a:moveTo>
                <a:cubicBezTo>
                  <a:pt x="12128" y="4909"/>
                  <a:pt x="12002" y="4974"/>
                  <a:pt x="11912" y="5073"/>
                </a:cubicBezTo>
                <a:lnTo>
                  <a:pt x="11909" y="5070"/>
                </a:lnTo>
                <a:lnTo>
                  <a:pt x="7000" y="10470"/>
                </a:lnTo>
                <a:lnTo>
                  <a:pt x="7003" y="10473"/>
                </a:lnTo>
                <a:cubicBezTo>
                  <a:pt x="6924" y="10559"/>
                  <a:pt x="6873" y="10673"/>
                  <a:pt x="6873" y="10800"/>
                </a:cubicBezTo>
                <a:cubicBezTo>
                  <a:pt x="6873" y="10927"/>
                  <a:pt x="6924" y="11041"/>
                  <a:pt x="7003" y="11127"/>
                </a:cubicBezTo>
                <a:lnTo>
                  <a:pt x="7000" y="11130"/>
                </a:lnTo>
                <a:lnTo>
                  <a:pt x="11909" y="16530"/>
                </a:lnTo>
                <a:lnTo>
                  <a:pt x="11912" y="16527"/>
                </a:lnTo>
                <a:cubicBezTo>
                  <a:pt x="12002" y="16627"/>
                  <a:pt x="12128" y="16691"/>
                  <a:pt x="12273" y="16691"/>
                </a:cubicBezTo>
                <a:cubicBezTo>
                  <a:pt x="12544" y="16691"/>
                  <a:pt x="12764" y="16471"/>
                  <a:pt x="12764" y="16200"/>
                </a:cubicBezTo>
                <a:cubicBezTo>
                  <a:pt x="12764" y="16073"/>
                  <a:pt x="12713" y="15960"/>
                  <a:pt x="12633" y="15873"/>
                </a:cubicBezTo>
                <a:lnTo>
                  <a:pt x="12636" y="15870"/>
                </a:lnTo>
                <a:lnTo>
                  <a:pt x="8027" y="10800"/>
                </a:lnTo>
                <a:lnTo>
                  <a:pt x="12636" y="5730"/>
                </a:lnTo>
                <a:lnTo>
                  <a:pt x="12633" y="5728"/>
                </a:lnTo>
                <a:cubicBezTo>
                  <a:pt x="12713" y="5641"/>
                  <a:pt x="12764" y="5527"/>
                  <a:pt x="12764" y="5400"/>
                </a:cubicBezTo>
                <a:cubicBezTo>
                  <a:pt x="12764" y="5129"/>
                  <a:pt x="12544" y="4909"/>
                  <a:pt x="12273"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6" name="Shape 2916"/>
          <p:cNvSpPr/>
          <p:nvPr/>
        </p:nvSpPr>
        <p:spPr>
          <a:xfrm>
            <a:off x="5859940" y="107482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597" y="10473"/>
                </a:moveTo>
                <a:lnTo>
                  <a:pt x="14600" y="10470"/>
                </a:lnTo>
                <a:lnTo>
                  <a:pt x="9691" y="5070"/>
                </a:lnTo>
                <a:lnTo>
                  <a:pt x="9688" y="5073"/>
                </a:lnTo>
                <a:cubicBezTo>
                  <a:pt x="9598" y="4974"/>
                  <a:pt x="9471" y="4909"/>
                  <a:pt x="9327" y="4909"/>
                </a:cubicBezTo>
                <a:cubicBezTo>
                  <a:pt x="9056" y="4909"/>
                  <a:pt x="8836" y="5129"/>
                  <a:pt x="8836" y="5400"/>
                </a:cubicBezTo>
                <a:cubicBezTo>
                  <a:pt x="8836" y="5527"/>
                  <a:pt x="8887" y="5641"/>
                  <a:pt x="8967" y="5728"/>
                </a:cubicBezTo>
                <a:lnTo>
                  <a:pt x="8964" y="5730"/>
                </a:lnTo>
                <a:lnTo>
                  <a:pt x="13573" y="10800"/>
                </a:lnTo>
                <a:lnTo>
                  <a:pt x="8964" y="15870"/>
                </a:lnTo>
                <a:lnTo>
                  <a:pt x="8967" y="15873"/>
                </a:lnTo>
                <a:cubicBezTo>
                  <a:pt x="8887" y="15960"/>
                  <a:pt x="8836" y="16073"/>
                  <a:pt x="8836" y="16200"/>
                </a:cubicBezTo>
                <a:cubicBezTo>
                  <a:pt x="8836" y="16471"/>
                  <a:pt x="9056" y="16691"/>
                  <a:pt x="9327" y="16691"/>
                </a:cubicBezTo>
                <a:cubicBezTo>
                  <a:pt x="9471" y="16691"/>
                  <a:pt x="9598" y="16627"/>
                  <a:pt x="9688" y="16527"/>
                </a:cubicBezTo>
                <a:lnTo>
                  <a:pt x="9691" y="16530"/>
                </a:lnTo>
                <a:lnTo>
                  <a:pt x="14600" y="11130"/>
                </a:lnTo>
                <a:lnTo>
                  <a:pt x="14597" y="11127"/>
                </a:lnTo>
                <a:cubicBezTo>
                  <a:pt x="14676" y="11041"/>
                  <a:pt x="14727" y="10927"/>
                  <a:pt x="14727" y="10800"/>
                </a:cubicBezTo>
                <a:cubicBezTo>
                  <a:pt x="14727" y="10673"/>
                  <a:pt x="14676" y="10559"/>
                  <a:pt x="14597" y="104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7" name="Shape 2917"/>
          <p:cNvSpPr/>
          <p:nvPr/>
        </p:nvSpPr>
        <p:spPr>
          <a:xfrm>
            <a:off x="6293215"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2459" y="14727"/>
                </a:lnTo>
                <a:lnTo>
                  <a:pt x="8640" y="14727"/>
                </a:lnTo>
                <a:lnTo>
                  <a:pt x="8640" y="1964"/>
                </a:lnTo>
                <a:cubicBezTo>
                  <a:pt x="8640" y="1422"/>
                  <a:pt x="9285" y="982"/>
                  <a:pt x="10080" y="982"/>
                </a:cubicBezTo>
                <a:lnTo>
                  <a:pt x="11520" y="982"/>
                </a:lnTo>
                <a:cubicBezTo>
                  <a:pt x="12315" y="982"/>
                  <a:pt x="12960" y="1422"/>
                  <a:pt x="12960" y="1964"/>
                </a:cubicBezTo>
                <a:lnTo>
                  <a:pt x="12960" y="14727"/>
                </a:lnTo>
                <a:lnTo>
                  <a:pt x="19142" y="14727"/>
                </a:lnTo>
                <a:cubicBezTo>
                  <a:pt x="19142" y="14727"/>
                  <a:pt x="10800" y="20415"/>
                  <a:pt x="10800" y="20415"/>
                </a:cubicBezTo>
                <a:close/>
                <a:moveTo>
                  <a:pt x="20880" y="13745"/>
                </a:moveTo>
                <a:lnTo>
                  <a:pt x="14400" y="13745"/>
                </a:lnTo>
                <a:lnTo>
                  <a:pt x="14400" y="1964"/>
                </a:lnTo>
                <a:cubicBezTo>
                  <a:pt x="14400" y="879"/>
                  <a:pt x="13110" y="0"/>
                  <a:pt x="11520" y="0"/>
                </a:cubicBezTo>
                <a:lnTo>
                  <a:pt x="10080" y="0"/>
                </a:lnTo>
                <a:cubicBezTo>
                  <a:pt x="8490" y="0"/>
                  <a:pt x="7200" y="879"/>
                  <a:pt x="7200" y="1964"/>
                </a:cubicBezTo>
                <a:lnTo>
                  <a:pt x="7200" y="13745"/>
                </a:lnTo>
                <a:lnTo>
                  <a:pt x="720" y="13745"/>
                </a:lnTo>
                <a:cubicBezTo>
                  <a:pt x="323" y="13745"/>
                  <a:pt x="0" y="13966"/>
                  <a:pt x="0" y="14236"/>
                </a:cubicBezTo>
                <a:cubicBezTo>
                  <a:pt x="0" y="14373"/>
                  <a:pt x="81" y="14495"/>
                  <a:pt x="212" y="14584"/>
                </a:cubicBezTo>
                <a:lnTo>
                  <a:pt x="10290" y="21456"/>
                </a:lnTo>
                <a:cubicBezTo>
                  <a:pt x="10421" y="21545"/>
                  <a:pt x="10601" y="21600"/>
                  <a:pt x="10800" y="21600"/>
                </a:cubicBezTo>
                <a:cubicBezTo>
                  <a:pt x="10999" y="21600"/>
                  <a:pt x="11179" y="21545"/>
                  <a:pt x="11310" y="21456"/>
                </a:cubicBezTo>
                <a:lnTo>
                  <a:pt x="21388" y="14584"/>
                </a:lnTo>
                <a:cubicBezTo>
                  <a:pt x="21519" y="14495"/>
                  <a:pt x="21600" y="14373"/>
                  <a:pt x="21600" y="14236"/>
                </a:cubicBezTo>
                <a:cubicBezTo>
                  <a:pt x="21600" y="13966"/>
                  <a:pt x="21277" y="13745"/>
                  <a:pt x="20880"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8" name="Shape 2918"/>
          <p:cNvSpPr/>
          <p:nvPr/>
        </p:nvSpPr>
        <p:spPr>
          <a:xfrm>
            <a:off x="6693160" y="1074826"/>
            <a:ext cx="142838" cy="209495"/>
          </a:xfrm>
          <a:custGeom>
            <a:avLst/>
            <a:gdLst/>
            <a:ahLst/>
            <a:cxnLst>
              <a:cxn ang="0">
                <a:pos x="wd2" y="hd2"/>
              </a:cxn>
              <a:cxn ang="5400000">
                <a:pos x="wd2" y="hd2"/>
              </a:cxn>
              <a:cxn ang="10800000">
                <a:pos x="wd2" y="hd2"/>
              </a:cxn>
              <a:cxn ang="16200000">
                <a:pos x="wd2" y="hd2"/>
              </a:cxn>
            </a:cxnLst>
            <a:rect l="0" t="0" r="r" b="b"/>
            <a:pathLst>
              <a:path w="21600" h="21600" extrusionOk="0">
                <a:moveTo>
                  <a:pt x="12960" y="6873"/>
                </a:moveTo>
                <a:lnTo>
                  <a:pt x="12960" y="19636"/>
                </a:lnTo>
                <a:cubicBezTo>
                  <a:pt x="12960" y="20178"/>
                  <a:pt x="12315" y="20618"/>
                  <a:pt x="11520" y="20618"/>
                </a:cubicBezTo>
                <a:lnTo>
                  <a:pt x="10080" y="20618"/>
                </a:lnTo>
                <a:cubicBezTo>
                  <a:pt x="9285" y="20618"/>
                  <a:pt x="8640" y="20178"/>
                  <a:pt x="8640" y="19636"/>
                </a:cubicBezTo>
                <a:lnTo>
                  <a:pt x="8640" y="6873"/>
                </a:lnTo>
                <a:lnTo>
                  <a:pt x="2458" y="6873"/>
                </a:lnTo>
                <a:lnTo>
                  <a:pt x="10800" y="1185"/>
                </a:lnTo>
                <a:lnTo>
                  <a:pt x="19142" y="6873"/>
                </a:lnTo>
                <a:cubicBezTo>
                  <a:pt x="19142" y="6873"/>
                  <a:pt x="12960" y="6873"/>
                  <a:pt x="12960" y="6873"/>
                </a:cubicBezTo>
                <a:close/>
                <a:moveTo>
                  <a:pt x="21389" y="7017"/>
                </a:moveTo>
                <a:lnTo>
                  <a:pt x="11309" y="144"/>
                </a:lnTo>
                <a:cubicBezTo>
                  <a:pt x="11179" y="55"/>
                  <a:pt x="10999" y="0"/>
                  <a:pt x="10800" y="0"/>
                </a:cubicBezTo>
                <a:cubicBezTo>
                  <a:pt x="10601" y="0"/>
                  <a:pt x="10422" y="55"/>
                  <a:pt x="10291" y="144"/>
                </a:cubicBezTo>
                <a:lnTo>
                  <a:pt x="211" y="7017"/>
                </a:lnTo>
                <a:cubicBezTo>
                  <a:pt x="81" y="7106"/>
                  <a:pt x="0" y="7228"/>
                  <a:pt x="0" y="7364"/>
                </a:cubicBezTo>
                <a:cubicBezTo>
                  <a:pt x="0" y="7635"/>
                  <a:pt x="322" y="7855"/>
                  <a:pt x="720" y="7855"/>
                </a:cubicBezTo>
                <a:lnTo>
                  <a:pt x="7200" y="7855"/>
                </a:lnTo>
                <a:lnTo>
                  <a:pt x="7200" y="19636"/>
                </a:lnTo>
                <a:cubicBezTo>
                  <a:pt x="7200" y="20721"/>
                  <a:pt x="8490" y="21600"/>
                  <a:pt x="10080" y="21600"/>
                </a:cubicBezTo>
                <a:lnTo>
                  <a:pt x="11520" y="21600"/>
                </a:lnTo>
                <a:cubicBezTo>
                  <a:pt x="13110" y="21600"/>
                  <a:pt x="14400" y="20721"/>
                  <a:pt x="14400" y="19636"/>
                </a:cubicBezTo>
                <a:lnTo>
                  <a:pt x="14400" y="7855"/>
                </a:lnTo>
                <a:lnTo>
                  <a:pt x="20880" y="7855"/>
                </a:lnTo>
                <a:cubicBezTo>
                  <a:pt x="21278" y="7855"/>
                  <a:pt x="21600" y="7635"/>
                  <a:pt x="21600" y="7364"/>
                </a:cubicBezTo>
                <a:cubicBezTo>
                  <a:pt x="21600" y="7228"/>
                  <a:pt x="21519" y="7106"/>
                  <a:pt x="21389" y="70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19" name="Shape 2919"/>
          <p:cNvSpPr/>
          <p:nvPr/>
        </p:nvSpPr>
        <p:spPr>
          <a:xfrm>
            <a:off x="7059778"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20618" y="11520"/>
                </a:moveTo>
                <a:cubicBezTo>
                  <a:pt x="20618" y="12315"/>
                  <a:pt x="20178" y="12960"/>
                  <a:pt x="19636" y="12960"/>
                </a:cubicBezTo>
                <a:lnTo>
                  <a:pt x="6873" y="12960"/>
                </a:lnTo>
                <a:lnTo>
                  <a:pt x="6873" y="19142"/>
                </a:lnTo>
                <a:lnTo>
                  <a:pt x="1185" y="10800"/>
                </a:lnTo>
                <a:lnTo>
                  <a:pt x="6873" y="2458"/>
                </a:lnTo>
                <a:lnTo>
                  <a:pt x="6873" y="8640"/>
                </a:lnTo>
                <a:lnTo>
                  <a:pt x="19636" y="8640"/>
                </a:lnTo>
                <a:cubicBezTo>
                  <a:pt x="20178" y="8640"/>
                  <a:pt x="20618" y="9285"/>
                  <a:pt x="20618" y="10080"/>
                </a:cubicBezTo>
                <a:cubicBezTo>
                  <a:pt x="20618" y="10080"/>
                  <a:pt x="20618" y="11520"/>
                  <a:pt x="20618" y="11520"/>
                </a:cubicBezTo>
                <a:close/>
                <a:moveTo>
                  <a:pt x="19636" y="7200"/>
                </a:moveTo>
                <a:lnTo>
                  <a:pt x="7855" y="7200"/>
                </a:lnTo>
                <a:lnTo>
                  <a:pt x="7855" y="720"/>
                </a:lnTo>
                <a:cubicBezTo>
                  <a:pt x="7855" y="322"/>
                  <a:pt x="7635" y="0"/>
                  <a:pt x="7364" y="0"/>
                </a:cubicBezTo>
                <a:cubicBezTo>
                  <a:pt x="7228" y="0"/>
                  <a:pt x="7105" y="81"/>
                  <a:pt x="7017" y="212"/>
                </a:cubicBezTo>
                <a:lnTo>
                  <a:pt x="144" y="10291"/>
                </a:lnTo>
                <a:cubicBezTo>
                  <a:pt x="55" y="10422"/>
                  <a:pt x="0" y="10602"/>
                  <a:pt x="0" y="10800"/>
                </a:cubicBezTo>
                <a:cubicBezTo>
                  <a:pt x="0" y="11000"/>
                  <a:pt x="55" y="11180"/>
                  <a:pt x="144" y="11310"/>
                </a:cubicBezTo>
                <a:lnTo>
                  <a:pt x="7017" y="21389"/>
                </a:lnTo>
                <a:cubicBezTo>
                  <a:pt x="7105" y="21520"/>
                  <a:pt x="7228" y="21600"/>
                  <a:pt x="7364" y="21600"/>
                </a:cubicBezTo>
                <a:cubicBezTo>
                  <a:pt x="7635" y="21600"/>
                  <a:pt x="7855" y="21278"/>
                  <a:pt x="7855" y="20880"/>
                </a:cubicBezTo>
                <a:lnTo>
                  <a:pt x="7855" y="14400"/>
                </a:lnTo>
                <a:lnTo>
                  <a:pt x="19636" y="14400"/>
                </a:lnTo>
                <a:cubicBezTo>
                  <a:pt x="20721" y="14400"/>
                  <a:pt x="21600" y="13110"/>
                  <a:pt x="21600" y="11520"/>
                </a:cubicBezTo>
                <a:lnTo>
                  <a:pt x="21600" y="10080"/>
                </a:lnTo>
                <a:cubicBezTo>
                  <a:pt x="21600" y="8490"/>
                  <a:pt x="20721" y="7200"/>
                  <a:pt x="19636" y="72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0" name="Shape 2920"/>
          <p:cNvSpPr/>
          <p:nvPr/>
        </p:nvSpPr>
        <p:spPr>
          <a:xfrm>
            <a:off x="7459723" y="1108154"/>
            <a:ext cx="209495" cy="142838"/>
          </a:xfrm>
          <a:custGeom>
            <a:avLst/>
            <a:gdLst/>
            <a:ahLst/>
            <a:cxnLst>
              <a:cxn ang="0">
                <a:pos x="wd2" y="hd2"/>
              </a:cxn>
              <a:cxn ang="5400000">
                <a:pos x="wd2" y="hd2"/>
              </a:cxn>
              <a:cxn ang="10800000">
                <a:pos x="wd2" y="hd2"/>
              </a:cxn>
              <a:cxn ang="16200000">
                <a:pos x="wd2" y="hd2"/>
              </a:cxn>
            </a:cxnLst>
            <a:rect l="0" t="0" r="r" b="b"/>
            <a:pathLst>
              <a:path w="21600" h="21600" extrusionOk="0">
                <a:moveTo>
                  <a:pt x="14727" y="19142"/>
                </a:moveTo>
                <a:lnTo>
                  <a:pt x="14727" y="12960"/>
                </a:lnTo>
                <a:lnTo>
                  <a:pt x="1964" y="12960"/>
                </a:lnTo>
                <a:cubicBezTo>
                  <a:pt x="1421" y="12960"/>
                  <a:pt x="982" y="12316"/>
                  <a:pt x="982" y="11520"/>
                </a:cubicBezTo>
                <a:lnTo>
                  <a:pt x="982" y="10080"/>
                </a:lnTo>
                <a:cubicBezTo>
                  <a:pt x="982" y="9285"/>
                  <a:pt x="1421" y="8640"/>
                  <a:pt x="1964" y="8640"/>
                </a:cubicBezTo>
                <a:lnTo>
                  <a:pt x="14727" y="8640"/>
                </a:lnTo>
                <a:lnTo>
                  <a:pt x="14727" y="2458"/>
                </a:lnTo>
                <a:lnTo>
                  <a:pt x="20415" y="10800"/>
                </a:lnTo>
                <a:cubicBezTo>
                  <a:pt x="20415" y="10800"/>
                  <a:pt x="14727" y="19142"/>
                  <a:pt x="14727" y="19142"/>
                </a:cubicBezTo>
                <a:close/>
                <a:moveTo>
                  <a:pt x="21456" y="10291"/>
                </a:moveTo>
                <a:lnTo>
                  <a:pt x="14584" y="212"/>
                </a:lnTo>
                <a:cubicBezTo>
                  <a:pt x="14495" y="81"/>
                  <a:pt x="14372" y="0"/>
                  <a:pt x="14236" y="0"/>
                </a:cubicBezTo>
                <a:cubicBezTo>
                  <a:pt x="13965" y="0"/>
                  <a:pt x="13745" y="322"/>
                  <a:pt x="13745" y="720"/>
                </a:cubicBezTo>
                <a:lnTo>
                  <a:pt x="13745" y="7200"/>
                </a:lnTo>
                <a:lnTo>
                  <a:pt x="1964" y="7200"/>
                </a:lnTo>
                <a:cubicBezTo>
                  <a:pt x="879" y="7200"/>
                  <a:pt x="0" y="8490"/>
                  <a:pt x="0" y="10080"/>
                </a:cubicBezTo>
                <a:lnTo>
                  <a:pt x="0" y="11520"/>
                </a:lnTo>
                <a:cubicBezTo>
                  <a:pt x="0" y="13110"/>
                  <a:pt x="879" y="14400"/>
                  <a:pt x="1964" y="14400"/>
                </a:cubicBezTo>
                <a:lnTo>
                  <a:pt x="13745" y="14400"/>
                </a:lnTo>
                <a:lnTo>
                  <a:pt x="13745" y="20880"/>
                </a:lnTo>
                <a:cubicBezTo>
                  <a:pt x="13745" y="21278"/>
                  <a:pt x="13965" y="21600"/>
                  <a:pt x="14236" y="21600"/>
                </a:cubicBezTo>
                <a:cubicBezTo>
                  <a:pt x="14372" y="21600"/>
                  <a:pt x="14495" y="21520"/>
                  <a:pt x="14583" y="21389"/>
                </a:cubicBezTo>
                <a:lnTo>
                  <a:pt x="21456" y="11310"/>
                </a:lnTo>
                <a:cubicBezTo>
                  <a:pt x="21545" y="11180"/>
                  <a:pt x="21600" y="11000"/>
                  <a:pt x="21600" y="10800"/>
                </a:cubicBezTo>
                <a:cubicBezTo>
                  <a:pt x="21600" y="10601"/>
                  <a:pt x="21545" y="10421"/>
                  <a:pt x="21456" y="1029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1" name="Shape 2921"/>
          <p:cNvSpPr/>
          <p:nvPr/>
        </p:nvSpPr>
        <p:spPr>
          <a:xfrm>
            <a:off x="7888237" y="1074826"/>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21402" y="5052"/>
                </a:moveTo>
                <a:lnTo>
                  <a:pt x="14652" y="144"/>
                </a:lnTo>
                <a:cubicBezTo>
                  <a:pt x="14530" y="55"/>
                  <a:pt x="14362" y="0"/>
                  <a:pt x="14175" y="0"/>
                </a:cubicBezTo>
                <a:cubicBezTo>
                  <a:pt x="13802" y="0"/>
                  <a:pt x="13500" y="220"/>
                  <a:pt x="13500" y="491"/>
                </a:cubicBezTo>
                <a:cubicBezTo>
                  <a:pt x="13500" y="627"/>
                  <a:pt x="13576" y="749"/>
                  <a:pt x="13698" y="838"/>
                </a:cubicBezTo>
                <a:lnTo>
                  <a:pt x="19296" y="4909"/>
                </a:lnTo>
                <a:lnTo>
                  <a:pt x="675" y="4909"/>
                </a:lnTo>
                <a:cubicBezTo>
                  <a:pt x="302" y="4909"/>
                  <a:pt x="0" y="5129"/>
                  <a:pt x="0" y="5400"/>
                </a:cubicBezTo>
                <a:lnTo>
                  <a:pt x="0" y="21109"/>
                </a:lnTo>
                <a:cubicBezTo>
                  <a:pt x="0" y="21380"/>
                  <a:pt x="302" y="21600"/>
                  <a:pt x="675" y="21600"/>
                </a:cubicBezTo>
                <a:cubicBezTo>
                  <a:pt x="1048" y="21600"/>
                  <a:pt x="1350" y="21380"/>
                  <a:pt x="1350" y="21109"/>
                </a:cubicBezTo>
                <a:lnTo>
                  <a:pt x="1350" y="5891"/>
                </a:lnTo>
                <a:lnTo>
                  <a:pt x="19296" y="5891"/>
                </a:lnTo>
                <a:lnTo>
                  <a:pt x="13698" y="9962"/>
                </a:lnTo>
                <a:cubicBezTo>
                  <a:pt x="13575" y="10051"/>
                  <a:pt x="13500" y="10173"/>
                  <a:pt x="13500" y="10309"/>
                </a:cubicBezTo>
                <a:cubicBezTo>
                  <a:pt x="13500" y="10580"/>
                  <a:pt x="13802" y="10800"/>
                  <a:pt x="14175" y="10800"/>
                </a:cubicBezTo>
                <a:cubicBezTo>
                  <a:pt x="14362" y="10800"/>
                  <a:pt x="14531" y="10745"/>
                  <a:pt x="14653" y="10656"/>
                </a:cubicBezTo>
                <a:lnTo>
                  <a:pt x="21402" y="5747"/>
                </a:lnTo>
                <a:cubicBezTo>
                  <a:pt x="21525" y="5658"/>
                  <a:pt x="21600" y="5536"/>
                  <a:pt x="21600" y="5400"/>
                </a:cubicBezTo>
                <a:cubicBezTo>
                  <a:pt x="21600" y="5264"/>
                  <a:pt x="21524" y="5142"/>
                  <a:pt x="21402" y="50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2" name="Shape 2922"/>
          <p:cNvSpPr/>
          <p:nvPr/>
        </p:nvSpPr>
        <p:spPr>
          <a:xfrm>
            <a:off x="8259615" y="1103393"/>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12546"/>
                </a:moveTo>
                <a:lnTo>
                  <a:pt x="16691" y="2304"/>
                </a:lnTo>
                <a:lnTo>
                  <a:pt x="20415" y="7425"/>
                </a:lnTo>
                <a:cubicBezTo>
                  <a:pt x="20415" y="7425"/>
                  <a:pt x="16691" y="12546"/>
                  <a:pt x="16691" y="12546"/>
                </a:cubicBezTo>
                <a:close/>
                <a:moveTo>
                  <a:pt x="21456" y="6948"/>
                </a:moveTo>
                <a:lnTo>
                  <a:pt x="16548" y="198"/>
                </a:lnTo>
                <a:cubicBezTo>
                  <a:pt x="16458" y="76"/>
                  <a:pt x="16336" y="0"/>
                  <a:pt x="16200" y="0"/>
                </a:cubicBezTo>
                <a:cubicBezTo>
                  <a:pt x="15929" y="0"/>
                  <a:pt x="15709" y="302"/>
                  <a:pt x="15709" y="675"/>
                </a:cubicBezTo>
                <a:lnTo>
                  <a:pt x="15709" y="6750"/>
                </a:lnTo>
                <a:lnTo>
                  <a:pt x="491" y="6750"/>
                </a:lnTo>
                <a:cubicBezTo>
                  <a:pt x="220" y="6750"/>
                  <a:pt x="0" y="7052"/>
                  <a:pt x="0" y="7425"/>
                </a:cubicBezTo>
                <a:lnTo>
                  <a:pt x="0" y="20925"/>
                </a:lnTo>
                <a:cubicBezTo>
                  <a:pt x="0" y="21298"/>
                  <a:pt x="220" y="21600"/>
                  <a:pt x="491" y="21600"/>
                </a:cubicBezTo>
                <a:cubicBezTo>
                  <a:pt x="762" y="21600"/>
                  <a:pt x="982" y="21298"/>
                  <a:pt x="982" y="20925"/>
                </a:cubicBezTo>
                <a:lnTo>
                  <a:pt x="982" y="8100"/>
                </a:lnTo>
                <a:lnTo>
                  <a:pt x="15709" y="8100"/>
                </a:lnTo>
                <a:lnTo>
                  <a:pt x="15709" y="14175"/>
                </a:lnTo>
                <a:cubicBezTo>
                  <a:pt x="15709" y="14548"/>
                  <a:pt x="15929" y="14850"/>
                  <a:pt x="16200" y="14850"/>
                </a:cubicBezTo>
                <a:cubicBezTo>
                  <a:pt x="16336" y="14850"/>
                  <a:pt x="16458" y="14775"/>
                  <a:pt x="16547" y="14652"/>
                </a:cubicBezTo>
                <a:lnTo>
                  <a:pt x="21456" y="7903"/>
                </a:lnTo>
                <a:cubicBezTo>
                  <a:pt x="21545" y="7781"/>
                  <a:pt x="21600" y="7612"/>
                  <a:pt x="21600" y="7425"/>
                </a:cubicBezTo>
                <a:cubicBezTo>
                  <a:pt x="21600" y="7238"/>
                  <a:pt x="21545" y="7070"/>
                  <a:pt x="21456" y="6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3" name="Shape 2923"/>
          <p:cNvSpPr/>
          <p:nvPr/>
        </p:nvSpPr>
        <p:spPr>
          <a:xfrm>
            <a:off x="4660103"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4236" y="0"/>
                </a:lnTo>
                <a:cubicBezTo>
                  <a:pt x="13966" y="0"/>
                  <a:pt x="13745" y="220"/>
                  <a:pt x="13745" y="491"/>
                </a:cubicBezTo>
                <a:cubicBezTo>
                  <a:pt x="13745" y="762"/>
                  <a:pt x="13966" y="982"/>
                  <a:pt x="14236" y="982"/>
                </a:cubicBezTo>
                <a:lnTo>
                  <a:pt x="19924" y="982"/>
                </a:lnTo>
                <a:lnTo>
                  <a:pt x="11926" y="8980"/>
                </a:lnTo>
                <a:cubicBezTo>
                  <a:pt x="11837" y="9069"/>
                  <a:pt x="11782" y="9192"/>
                  <a:pt x="11782" y="9327"/>
                </a:cubicBezTo>
                <a:cubicBezTo>
                  <a:pt x="11782" y="9599"/>
                  <a:pt x="12002" y="9818"/>
                  <a:pt x="12273" y="9818"/>
                </a:cubicBezTo>
                <a:cubicBezTo>
                  <a:pt x="12408" y="9818"/>
                  <a:pt x="12531" y="9764"/>
                  <a:pt x="12620" y="9674"/>
                </a:cubicBezTo>
                <a:lnTo>
                  <a:pt x="20618" y="1676"/>
                </a:lnTo>
                <a:lnTo>
                  <a:pt x="20618" y="7364"/>
                </a:lnTo>
                <a:cubicBezTo>
                  <a:pt x="20618" y="7635"/>
                  <a:pt x="20838" y="7855"/>
                  <a:pt x="21109" y="7855"/>
                </a:cubicBezTo>
                <a:cubicBezTo>
                  <a:pt x="21380" y="7855"/>
                  <a:pt x="21600" y="7635"/>
                  <a:pt x="21600" y="7364"/>
                </a:cubicBezTo>
                <a:lnTo>
                  <a:pt x="21600" y="491"/>
                </a:lnTo>
                <a:cubicBezTo>
                  <a:pt x="21600" y="220"/>
                  <a:pt x="21380" y="0"/>
                  <a:pt x="21109" y="0"/>
                </a:cubicBezTo>
                <a:moveTo>
                  <a:pt x="9327" y="11782"/>
                </a:moveTo>
                <a:cubicBezTo>
                  <a:pt x="9192" y="11782"/>
                  <a:pt x="9069" y="11837"/>
                  <a:pt x="8980" y="11926"/>
                </a:cubicBezTo>
                <a:lnTo>
                  <a:pt x="982" y="19924"/>
                </a:lnTo>
                <a:lnTo>
                  <a:pt x="982" y="14236"/>
                </a:lnTo>
                <a:cubicBezTo>
                  <a:pt x="982" y="13966"/>
                  <a:pt x="762" y="13745"/>
                  <a:pt x="491" y="13745"/>
                </a:cubicBezTo>
                <a:cubicBezTo>
                  <a:pt x="220" y="13745"/>
                  <a:pt x="0" y="13966"/>
                  <a:pt x="0" y="14236"/>
                </a:cubicBezTo>
                <a:lnTo>
                  <a:pt x="0" y="21109"/>
                </a:lnTo>
                <a:cubicBezTo>
                  <a:pt x="0" y="21380"/>
                  <a:pt x="220" y="21600"/>
                  <a:pt x="491" y="21600"/>
                </a:cubicBezTo>
                <a:lnTo>
                  <a:pt x="7364" y="21600"/>
                </a:lnTo>
                <a:cubicBezTo>
                  <a:pt x="7634" y="21600"/>
                  <a:pt x="7855" y="21380"/>
                  <a:pt x="7855" y="21109"/>
                </a:cubicBezTo>
                <a:cubicBezTo>
                  <a:pt x="7855" y="20838"/>
                  <a:pt x="7634" y="20618"/>
                  <a:pt x="7364" y="20618"/>
                </a:cubicBezTo>
                <a:lnTo>
                  <a:pt x="1676" y="20618"/>
                </a:lnTo>
                <a:lnTo>
                  <a:pt x="9674" y="12620"/>
                </a:lnTo>
                <a:cubicBezTo>
                  <a:pt x="9763" y="12531"/>
                  <a:pt x="9818" y="12408"/>
                  <a:pt x="9818" y="12273"/>
                </a:cubicBez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4" name="Shape 2924"/>
          <p:cNvSpPr/>
          <p:nvPr/>
        </p:nvSpPr>
        <p:spPr>
          <a:xfrm>
            <a:off x="5060049"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491"/>
                </a:moveTo>
                <a:cubicBezTo>
                  <a:pt x="21600" y="220"/>
                  <a:pt x="21380" y="0"/>
                  <a:pt x="21109" y="0"/>
                </a:cubicBezTo>
                <a:cubicBezTo>
                  <a:pt x="20974" y="0"/>
                  <a:pt x="20851" y="55"/>
                  <a:pt x="20762" y="144"/>
                </a:cubicBezTo>
                <a:lnTo>
                  <a:pt x="12764" y="8142"/>
                </a:lnTo>
                <a:lnTo>
                  <a:pt x="12764" y="2455"/>
                </a:lnTo>
                <a:cubicBezTo>
                  <a:pt x="12764" y="2184"/>
                  <a:pt x="12544" y="1964"/>
                  <a:pt x="12273" y="1964"/>
                </a:cubicBezTo>
                <a:cubicBezTo>
                  <a:pt x="12002" y="1964"/>
                  <a:pt x="11782" y="2184"/>
                  <a:pt x="11782" y="2455"/>
                </a:cubicBezTo>
                <a:lnTo>
                  <a:pt x="11782" y="9327"/>
                </a:lnTo>
                <a:cubicBezTo>
                  <a:pt x="11782" y="9599"/>
                  <a:pt x="12002" y="9818"/>
                  <a:pt x="12273" y="9818"/>
                </a:cubicBezTo>
                <a:lnTo>
                  <a:pt x="19145" y="9818"/>
                </a:lnTo>
                <a:cubicBezTo>
                  <a:pt x="19416" y="9818"/>
                  <a:pt x="19636" y="9599"/>
                  <a:pt x="19636" y="9327"/>
                </a:cubicBezTo>
                <a:cubicBezTo>
                  <a:pt x="19636" y="9056"/>
                  <a:pt x="19416" y="8836"/>
                  <a:pt x="19145" y="8836"/>
                </a:cubicBezTo>
                <a:lnTo>
                  <a:pt x="13458" y="8836"/>
                </a:lnTo>
                <a:lnTo>
                  <a:pt x="21456" y="838"/>
                </a:lnTo>
                <a:cubicBezTo>
                  <a:pt x="21545" y="750"/>
                  <a:pt x="21600" y="627"/>
                  <a:pt x="21600" y="491"/>
                </a:cubicBezTo>
                <a:moveTo>
                  <a:pt x="9327" y="11782"/>
                </a:moveTo>
                <a:lnTo>
                  <a:pt x="2455" y="11782"/>
                </a:lnTo>
                <a:cubicBezTo>
                  <a:pt x="2184" y="11782"/>
                  <a:pt x="1964" y="12002"/>
                  <a:pt x="1964" y="12273"/>
                </a:cubicBezTo>
                <a:cubicBezTo>
                  <a:pt x="1964" y="12544"/>
                  <a:pt x="2184" y="12764"/>
                  <a:pt x="2455" y="12764"/>
                </a:cubicBezTo>
                <a:lnTo>
                  <a:pt x="8142" y="12764"/>
                </a:lnTo>
                <a:lnTo>
                  <a:pt x="144" y="20762"/>
                </a:lnTo>
                <a:cubicBezTo>
                  <a:pt x="55" y="20851"/>
                  <a:pt x="0" y="20973"/>
                  <a:pt x="0" y="21109"/>
                </a:cubicBezTo>
                <a:cubicBezTo>
                  <a:pt x="0" y="21380"/>
                  <a:pt x="220" y="21600"/>
                  <a:pt x="491" y="21600"/>
                </a:cubicBezTo>
                <a:cubicBezTo>
                  <a:pt x="626" y="21600"/>
                  <a:pt x="749" y="21545"/>
                  <a:pt x="838" y="21456"/>
                </a:cubicBezTo>
                <a:lnTo>
                  <a:pt x="8836" y="13458"/>
                </a:lnTo>
                <a:lnTo>
                  <a:pt x="8836" y="19145"/>
                </a:lnTo>
                <a:cubicBezTo>
                  <a:pt x="8836" y="19417"/>
                  <a:pt x="9056" y="19636"/>
                  <a:pt x="9327" y="19636"/>
                </a:cubicBezTo>
                <a:cubicBezTo>
                  <a:pt x="9598" y="19636"/>
                  <a:pt x="9818" y="19417"/>
                  <a:pt x="9818" y="19145"/>
                </a:cubicBezTo>
                <a:lnTo>
                  <a:pt x="9818" y="12273"/>
                </a:lnTo>
                <a:cubicBezTo>
                  <a:pt x="9818" y="12002"/>
                  <a:pt x="9598" y="11782"/>
                  <a:pt x="9327"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5" name="Shape 2925"/>
          <p:cNvSpPr/>
          <p:nvPr/>
        </p:nvSpPr>
        <p:spPr>
          <a:xfrm>
            <a:off x="5459994"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109" y="0"/>
                </a:moveTo>
                <a:lnTo>
                  <a:pt x="16200" y="0"/>
                </a:lnTo>
                <a:cubicBezTo>
                  <a:pt x="15929" y="0"/>
                  <a:pt x="15709" y="220"/>
                  <a:pt x="15709" y="491"/>
                </a:cubicBezTo>
                <a:cubicBezTo>
                  <a:pt x="15709" y="762"/>
                  <a:pt x="15929" y="982"/>
                  <a:pt x="16200" y="982"/>
                </a:cubicBezTo>
                <a:lnTo>
                  <a:pt x="19924" y="982"/>
                </a:lnTo>
                <a:lnTo>
                  <a:pt x="6035" y="14871"/>
                </a:lnTo>
                <a:cubicBezTo>
                  <a:pt x="5946" y="14960"/>
                  <a:pt x="5891" y="15083"/>
                  <a:pt x="5891" y="15218"/>
                </a:cubicBezTo>
                <a:cubicBezTo>
                  <a:pt x="5891" y="15489"/>
                  <a:pt x="6111" y="15709"/>
                  <a:pt x="6382" y="15709"/>
                </a:cubicBezTo>
                <a:cubicBezTo>
                  <a:pt x="6517" y="15709"/>
                  <a:pt x="6640" y="15654"/>
                  <a:pt x="6729" y="15565"/>
                </a:cubicBezTo>
                <a:lnTo>
                  <a:pt x="20618" y="1676"/>
                </a:lnTo>
                <a:lnTo>
                  <a:pt x="20618" y="5400"/>
                </a:lnTo>
                <a:cubicBezTo>
                  <a:pt x="20618" y="5671"/>
                  <a:pt x="20838" y="5890"/>
                  <a:pt x="21109" y="5890"/>
                </a:cubicBezTo>
                <a:cubicBezTo>
                  <a:pt x="21380" y="5890"/>
                  <a:pt x="21600" y="5671"/>
                  <a:pt x="21600" y="5400"/>
                </a:cubicBezTo>
                <a:lnTo>
                  <a:pt x="21600" y="491"/>
                </a:lnTo>
                <a:cubicBezTo>
                  <a:pt x="21600" y="220"/>
                  <a:pt x="21380" y="0"/>
                  <a:pt x="21109" y="0"/>
                </a:cubicBezTo>
                <a:moveTo>
                  <a:pt x="17182" y="6873"/>
                </a:moveTo>
                <a:cubicBezTo>
                  <a:pt x="16911" y="6873"/>
                  <a:pt x="16691" y="7092"/>
                  <a:pt x="16691" y="7364"/>
                </a:cubicBezTo>
                <a:lnTo>
                  <a:pt x="16691" y="20618"/>
                </a:lnTo>
                <a:lnTo>
                  <a:pt x="982" y="20618"/>
                </a:lnTo>
                <a:lnTo>
                  <a:pt x="982" y="4909"/>
                </a:lnTo>
                <a:lnTo>
                  <a:pt x="14236" y="4909"/>
                </a:lnTo>
                <a:cubicBezTo>
                  <a:pt x="14507" y="4909"/>
                  <a:pt x="14727" y="4689"/>
                  <a:pt x="14727" y="4418"/>
                </a:cubicBezTo>
                <a:cubicBezTo>
                  <a:pt x="14727" y="4147"/>
                  <a:pt x="14507" y="3927"/>
                  <a:pt x="14236" y="3927"/>
                </a:cubicBezTo>
                <a:lnTo>
                  <a:pt x="491" y="3927"/>
                </a:lnTo>
                <a:cubicBezTo>
                  <a:pt x="220" y="3927"/>
                  <a:pt x="0" y="4147"/>
                  <a:pt x="0" y="4418"/>
                </a:cubicBezTo>
                <a:lnTo>
                  <a:pt x="0" y="21109"/>
                </a:lnTo>
                <a:cubicBezTo>
                  <a:pt x="0" y="21380"/>
                  <a:pt x="220" y="21600"/>
                  <a:pt x="491" y="21600"/>
                </a:cubicBezTo>
                <a:lnTo>
                  <a:pt x="17182" y="21600"/>
                </a:lnTo>
                <a:cubicBezTo>
                  <a:pt x="17453" y="21600"/>
                  <a:pt x="17673" y="21380"/>
                  <a:pt x="17673" y="21109"/>
                </a:cubicBezTo>
                <a:lnTo>
                  <a:pt x="17673" y="7364"/>
                </a:lnTo>
                <a:cubicBezTo>
                  <a:pt x="17673" y="7092"/>
                  <a:pt x="17453" y="6873"/>
                  <a:pt x="17182"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6" name="Shape 2926"/>
          <p:cNvSpPr/>
          <p:nvPr/>
        </p:nvSpPr>
        <p:spPr>
          <a:xfrm>
            <a:off x="5859940"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20383"/>
                </a:moveTo>
                <a:lnTo>
                  <a:pt x="11424" y="15709"/>
                </a:lnTo>
                <a:lnTo>
                  <a:pt x="13255" y="15709"/>
                </a:lnTo>
                <a:cubicBezTo>
                  <a:pt x="13525" y="15709"/>
                  <a:pt x="13745" y="15490"/>
                  <a:pt x="13745" y="15218"/>
                </a:cubicBezTo>
                <a:lnTo>
                  <a:pt x="13745" y="14727"/>
                </a:lnTo>
                <a:cubicBezTo>
                  <a:pt x="13635" y="12724"/>
                  <a:pt x="12844" y="5590"/>
                  <a:pt x="7448" y="1949"/>
                </a:cubicBezTo>
                <a:cubicBezTo>
                  <a:pt x="16407" y="4809"/>
                  <a:pt x="17536" y="12588"/>
                  <a:pt x="17673" y="14727"/>
                </a:cubicBezTo>
                <a:lnTo>
                  <a:pt x="17673" y="15218"/>
                </a:lnTo>
                <a:cubicBezTo>
                  <a:pt x="17673" y="15490"/>
                  <a:pt x="17893" y="15709"/>
                  <a:pt x="18164" y="15709"/>
                </a:cubicBezTo>
                <a:lnTo>
                  <a:pt x="19994" y="15709"/>
                </a:lnTo>
                <a:cubicBezTo>
                  <a:pt x="19994" y="15709"/>
                  <a:pt x="15709" y="20383"/>
                  <a:pt x="15709" y="20383"/>
                </a:cubicBezTo>
                <a:close/>
                <a:moveTo>
                  <a:pt x="21109" y="14727"/>
                </a:moveTo>
                <a:lnTo>
                  <a:pt x="18658" y="14727"/>
                </a:lnTo>
                <a:cubicBezTo>
                  <a:pt x="18450" y="12130"/>
                  <a:pt x="16610" y="0"/>
                  <a:pt x="491" y="0"/>
                </a:cubicBezTo>
                <a:cubicBezTo>
                  <a:pt x="219" y="0"/>
                  <a:pt x="0" y="220"/>
                  <a:pt x="0" y="491"/>
                </a:cubicBezTo>
                <a:cubicBezTo>
                  <a:pt x="0" y="762"/>
                  <a:pt x="219" y="982"/>
                  <a:pt x="491" y="982"/>
                </a:cubicBezTo>
                <a:cubicBezTo>
                  <a:pt x="5558" y="982"/>
                  <a:pt x="9160" y="3417"/>
                  <a:pt x="11196" y="8250"/>
                </a:cubicBezTo>
                <a:cubicBezTo>
                  <a:pt x="12394" y="11093"/>
                  <a:pt x="12657" y="13684"/>
                  <a:pt x="12715" y="14727"/>
                </a:cubicBezTo>
                <a:lnTo>
                  <a:pt x="10309" y="14727"/>
                </a:lnTo>
                <a:cubicBezTo>
                  <a:pt x="10038" y="14727"/>
                  <a:pt x="9818" y="14947"/>
                  <a:pt x="9818" y="15218"/>
                </a:cubicBezTo>
                <a:cubicBezTo>
                  <a:pt x="9818" y="15354"/>
                  <a:pt x="9873" y="15477"/>
                  <a:pt x="9962" y="15566"/>
                </a:cubicBezTo>
                <a:lnTo>
                  <a:pt x="15362" y="21456"/>
                </a:lnTo>
                <a:cubicBezTo>
                  <a:pt x="15450" y="21545"/>
                  <a:pt x="15574" y="21600"/>
                  <a:pt x="15709" y="21600"/>
                </a:cubicBezTo>
                <a:cubicBezTo>
                  <a:pt x="15845" y="21600"/>
                  <a:pt x="15967" y="21545"/>
                  <a:pt x="16056" y="21456"/>
                </a:cubicBezTo>
                <a:lnTo>
                  <a:pt x="21456" y="15566"/>
                </a:lnTo>
                <a:cubicBezTo>
                  <a:pt x="21545" y="15477"/>
                  <a:pt x="21600" y="15354"/>
                  <a:pt x="21600" y="15218"/>
                </a:cubicBezTo>
                <a:cubicBezTo>
                  <a:pt x="21600" y="14947"/>
                  <a:pt x="21380" y="14727"/>
                  <a:pt x="21109" y="147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7" name="Shape 2927"/>
          <p:cNvSpPr/>
          <p:nvPr/>
        </p:nvSpPr>
        <p:spPr>
          <a:xfrm>
            <a:off x="6259886"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164" y="5891"/>
                </a:moveTo>
                <a:cubicBezTo>
                  <a:pt x="17893" y="5891"/>
                  <a:pt x="17673" y="6111"/>
                  <a:pt x="17673" y="6382"/>
                </a:cubicBezTo>
                <a:lnTo>
                  <a:pt x="17673" y="6873"/>
                </a:lnTo>
                <a:cubicBezTo>
                  <a:pt x="17536" y="9012"/>
                  <a:pt x="16407" y="16791"/>
                  <a:pt x="7448" y="19651"/>
                </a:cubicBezTo>
                <a:cubicBezTo>
                  <a:pt x="12844" y="16010"/>
                  <a:pt x="13635" y="8876"/>
                  <a:pt x="13745" y="6873"/>
                </a:cubicBezTo>
                <a:lnTo>
                  <a:pt x="13745" y="6382"/>
                </a:lnTo>
                <a:cubicBezTo>
                  <a:pt x="13745" y="6111"/>
                  <a:pt x="13525" y="5891"/>
                  <a:pt x="13255" y="5891"/>
                </a:cubicBezTo>
                <a:lnTo>
                  <a:pt x="11424" y="5891"/>
                </a:lnTo>
                <a:lnTo>
                  <a:pt x="15709" y="1217"/>
                </a:lnTo>
                <a:lnTo>
                  <a:pt x="19994" y="5891"/>
                </a:lnTo>
                <a:cubicBezTo>
                  <a:pt x="19994" y="5891"/>
                  <a:pt x="18164" y="5891"/>
                  <a:pt x="18164" y="5891"/>
                </a:cubicBezTo>
                <a:close/>
                <a:moveTo>
                  <a:pt x="21456" y="6035"/>
                </a:moveTo>
                <a:lnTo>
                  <a:pt x="16056" y="144"/>
                </a:lnTo>
                <a:cubicBezTo>
                  <a:pt x="15967" y="55"/>
                  <a:pt x="15845" y="0"/>
                  <a:pt x="15709" y="0"/>
                </a:cubicBezTo>
                <a:cubicBezTo>
                  <a:pt x="15573" y="0"/>
                  <a:pt x="15450" y="55"/>
                  <a:pt x="15362" y="144"/>
                </a:cubicBezTo>
                <a:lnTo>
                  <a:pt x="9962" y="6035"/>
                </a:lnTo>
                <a:cubicBezTo>
                  <a:pt x="9873" y="6124"/>
                  <a:pt x="9818" y="6247"/>
                  <a:pt x="9818" y="6382"/>
                </a:cubicBezTo>
                <a:cubicBezTo>
                  <a:pt x="9818" y="6653"/>
                  <a:pt x="10038" y="6873"/>
                  <a:pt x="10309" y="6873"/>
                </a:cubicBezTo>
                <a:lnTo>
                  <a:pt x="12715" y="6873"/>
                </a:lnTo>
                <a:cubicBezTo>
                  <a:pt x="12657" y="7916"/>
                  <a:pt x="12394" y="10507"/>
                  <a:pt x="11196" y="13351"/>
                </a:cubicBezTo>
                <a:cubicBezTo>
                  <a:pt x="9160" y="18184"/>
                  <a:pt x="5558" y="20618"/>
                  <a:pt x="491" y="20618"/>
                </a:cubicBezTo>
                <a:cubicBezTo>
                  <a:pt x="219" y="20618"/>
                  <a:pt x="0" y="20838"/>
                  <a:pt x="0" y="21109"/>
                </a:cubicBezTo>
                <a:cubicBezTo>
                  <a:pt x="0" y="21380"/>
                  <a:pt x="219" y="21600"/>
                  <a:pt x="491" y="21600"/>
                </a:cubicBezTo>
                <a:cubicBezTo>
                  <a:pt x="16610" y="21600"/>
                  <a:pt x="18450" y="9470"/>
                  <a:pt x="18658" y="6873"/>
                </a:cubicBezTo>
                <a:lnTo>
                  <a:pt x="21109" y="6873"/>
                </a:lnTo>
                <a:cubicBezTo>
                  <a:pt x="21380" y="6873"/>
                  <a:pt x="21600" y="6653"/>
                  <a:pt x="21600" y="6382"/>
                </a:cubicBezTo>
                <a:cubicBezTo>
                  <a:pt x="21600" y="6247"/>
                  <a:pt x="21545" y="6124"/>
                  <a:pt x="21456" y="603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8" name="Shape 2928"/>
          <p:cNvSpPr/>
          <p:nvPr/>
        </p:nvSpPr>
        <p:spPr>
          <a:xfrm>
            <a:off x="6659831"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6873" y="7855"/>
                </a:moveTo>
                <a:lnTo>
                  <a:pt x="6382" y="7855"/>
                </a:lnTo>
                <a:cubicBezTo>
                  <a:pt x="6110" y="7855"/>
                  <a:pt x="5891" y="8075"/>
                  <a:pt x="5891" y="8345"/>
                </a:cubicBezTo>
                <a:lnTo>
                  <a:pt x="5891" y="10176"/>
                </a:lnTo>
                <a:lnTo>
                  <a:pt x="1216" y="5891"/>
                </a:lnTo>
                <a:lnTo>
                  <a:pt x="5891" y="1606"/>
                </a:lnTo>
                <a:lnTo>
                  <a:pt x="5891" y="3436"/>
                </a:lnTo>
                <a:cubicBezTo>
                  <a:pt x="5891" y="3708"/>
                  <a:pt x="6110" y="3927"/>
                  <a:pt x="6382" y="3927"/>
                </a:cubicBezTo>
                <a:lnTo>
                  <a:pt x="6873" y="3927"/>
                </a:lnTo>
                <a:cubicBezTo>
                  <a:pt x="9012" y="4064"/>
                  <a:pt x="16791" y="5193"/>
                  <a:pt x="19651" y="14152"/>
                </a:cubicBezTo>
                <a:cubicBezTo>
                  <a:pt x="16010" y="8756"/>
                  <a:pt x="8876" y="7965"/>
                  <a:pt x="6873" y="7855"/>
                </a:cubicBezTo>
                <a:moveTo>
                  <a:pt x="6873" y="2942"/>
                </a:moveTo>
                <a:lnTo>
                  <a:pt x="6873" y="491"/>
                </a:lnTo>
                <a:cubicBezTo>
                  <a:pt x="6873" y="220"/>
                  <a:pt x="6653" y="0"/>
                  <a:pt x="6382" y="0"/>
                </a:cubicBezTo>
                <a:cubicBezTo>
                  <a:pt x="6246" y="0"/>
                  <a:pt x="6123" y="55"/>
                  <a:pt x="6035" y="144"/>
                </a:cubicBezTo>
                <a:lnTo>
                  <a:pt x="144" y="5544"/>
                </a:lnTo>
                <a:cubicBezTo>
                  <a:pt x="55" y="5633"/>
                  <a:pt x="0" y="5756"/>
                  <a:pt x="0" y="5891"/>
                </a:cubicBezTo>
                <a:cubicBezTo>
                  <a:pt x="0" y="6027"/>
                  <a:pt x="55" y="6150"/>
                  <a:pt x="144" y="6238"/>
                </a:cubicBezTo>
                <a:lnTo>
                  <a:pt x="6035" y="11638"/>
                </a:lnTo>
                <a:cubicBezTo>
                  <a:pt x="6123" y="11727"/>
                  <a:pt x="6246" y="11782"/>
                  <a:pt x="6382" y="11782"/>
                </a:cubicBezTo>
                <a:cubicBezTo>
                  <a:pt x="6653" y="11782"/>
                  <a:pt x="6873" y="11562"/>
                  <a:pt x="6873" y="11291"/>
                </a:cubicBezTo>
                <a:lnTo>
                  <a:pt x="6873" y="8884"/>
                </a:lnTo>
                <a:cubicBezTo>
                  <a:pt x="7916" y="8943"/>
                  <a:pt x="10507" y="9206"/>
                  <a:pt x="13350" y="10404"/>
                </a:cubicBezTo>
                <a:cubicBezTo>
                  <a:pt x="18183" y="12440"/>
                  <a:pt x="20618" y="16042"/>
                  <a:pt x="20618" y="21109"/>
                </a:cubicBezTo>
                <a:cubicBezTo>
                  <a:pt x="20618" y="21380"/>
                  <a:pt x="20838" y="21600"/>
                  <a:pt x="21109" y="21600"/>
                </a:cubicBezTo>
                <a:cubicBezTo>
                  <a:pt x="21380" y="21600"/>
                  <a:pt x="21600" y="21380"/>
                  <a:pt x="21600" y="21109"/>
                </a:cubicBezTo>
                <a:cubicBezTo>
                  <a:pt x="21600" y="4990"/>
                  <a:pt x="9470" y="3150"/>
                  <a:pt x="6873" y="294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29" name="Shape 2929"/>
          <p:cNvSpPr/>
          <p:nvPr/>
        </p:nvSpPr>
        <p:spPr>
          <a:xfrm>
            <a:off x="7059778" y="1474772"/>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0176"/>
                </a:moveTo>
                <a:lnTo>
                  <a:pt x="15709" y="8345"/>
                </a:lnTo>
                <a:cubicBezTo>
                  <a:pt x="15709" y="8075"/>
                  <a:pt x="15490" y="7855"/>
                  <a:pt x="15218" y="7855"/>
                </a:cubicBezTo>
                <a:lnTo>
                  <a:pt x="14727" y="7855"/>
                </a:lnTo>
                <a:cubicBezTo>
                  <a:pt x="12724" y="7965"/>
                  <a:pt x="5590" y="8756"/>
                  <a:pt x="1949" y="14152"/>
                </a:cubicBezTo>
                <a:cubicBezTo>
                  <a:pt x="4809" y="5193"/>
                  <a:pt x="12588" y="4064"/>
                  <a:pt x="14727" y="3927"/>
                </a:cubicBezTo>
                <a:lnTo>
                  <a:pt x="15218" y="3927"/>
                </a:lnTo>
                <a:cubicBezTo>
                  <a:pt x="15490" y="3927"/>
                  <a:pt x="15709" y="3708"/>
                  <a:pt x="15709" y="3436"/>
                </a:cubicBezTo>
                <a:lnTo>
                  <a:pt x="15709" y="1606"/>
                </a:lnTo>
                <a:lnTo>
                  <a:pt x="20383" y="5891"/>
                </a:lnTo>
                <a:cubicBezTo>
                  <a:pt x="20383" y="5891"/>
                  <a:pt x="15709" y="10176"/>
                  <a:pt x="15709" y="10176"/>
                </a:cubicBezTo>
                <a:close/>
                <a:moveTo>
                  <a:pt x="21456" y="5544"/>
                </a:moveTo>
                <a:lnTo>
                  <a:pt x="15565" y="144"/>
                </a:lnTo>
                <a:cubicBezTo>
                  <a:pt x="15477" y="55"/>
                  <a:pt x="15354" y="0"/>
                  <a:pt x="15218" y="0"/>
                </a:cubicBezTo>
                <a:cubicBezTo>
                  <a:pt x="14947" y="0"/>
                  <a:pt x="14727" y="220"/>
                  <a:pt x="14727" y="491"/>
                </a:cubicBezTo>
                <a:lnTo>
                  <a:pt x="14727" y="2942"/>
                </a:lnTo>
                <a:cubicBezTo>
                  <a:pt x="12130" y="3150"/>
                  <a:pt x="0" y="4991"/>
                  <a:pt x="0" y="21109"/>
                </a:cubicBezTo>
                <a:cubicBezTo>
                  <a:pt x="0" y="21380"/>
                  <a:pt x="220" y="21600"/>
                  <a:pt x="491" y="21600"/>
                </a:cubicBezTo>
                <a:cubicBezTo>
                  <a:pt x="762" y="21600"/>
                  <a:pt x="982" y="21380"/>
                  <a:pt x="982" y="21109"/>
                </a:cubicBezTo>
                <a:cubicBezTo>
                  <a:pt x="982" y="16042"/>
                  <a:pt x="3417" y="12440"/>
                  <a:pt x="8250" y="10404"/>
                </a:cubicBezTo>
                <a:cubicBezTo>
                  <a:pt x="11093" y="9206"/>
                  <a:pt x="13684" y="8943"/>
                  <a:pt x="14727" y="8884"/>
                </a:cubicBezTo>
                <a:lnTo>
                  <a:pt x="14727" y="11291"/>
                </a:lnTo>
                <a:cubicBezTo>
                  <a:pt x="14727" y="11562"/>
                  <a:pt x="14947" y="11782"/>
                  <a:pt x="15218" y="11782"/>
                </a:cubicBezTo>
                <a:cubicBezTo>
                  <a:pt x="15354" y="11782"/>
                  <a:pt x="15477" y="11727"/>
                  <a:pt x="15565" y="11638"/>
                </a:cubicBezTo>
                <a:lnTo>
                  <a:pt x="21456" y="6238"/>
                </a:lnTo>
                <a:cubicBezTo>
                  <a:pt x="21545" y="6150"/>
                  <a:pt x="21600" y="6027"/>
                  <a:pt x="21600" y="5891"/>
                </a:cubicBezTo>
                <a:cubicBezTo>
                  <a:pt x="21600" y="5756"/>
                  <a:pt x="21545" y="5633"/>
                  <a:pt x="21456" y="554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0" name="Shape 2930"/>
          <p:cNvSpPr/>
          <p:nvPr/>
        </p:nvSpPr>
        <p:spPr>
          <a:xfrm>
            <a:off x="7459723" y="1512862"/>
            <a:ext cx="209495" cy="133315"/>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1" name="Shape 2931"/>
          <p:cNvSpPr/>
          <p:nvPr/>
        </p:nvSpPr>
        <p:spPr>
          <a:xfrm>
            <a:off x="7859669" y="1503339"/>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9924" y="4050"/>
                </a:moveTo>
                <a:lnTo>
                  <a:pt x="18798" y="5598"/>
                </a:lnTo>
                <a:cubicBezTo>
                  <a:pt x="18709" y="5720"/>
                  <a:pt x="18655" y="5889"/>
                  <a:pt x="18655" y="6075"/>
                </a:cubicBezTo>
                <a:cubicBezTo>
                  <a:pt x="18655" y="6448"/>
                  <a:pt x="18874" y="6750"/>
                  <a:pt x="19145" y="6750"/>
                </a:cubicBezTo>
                <a:cubicBezTo>
                  <a:pt x="19281" y="6750"/>
                  <a:pt x="19404" y="6674"/>
                  <a:pt x="19493" y="6552"/>
                </a:cubicBezTo>
                <a:lnTo>
                  <a:pt x="21456" y="3853"/>
                </a:lnTo>
                <a:cubicBezTo>
                  <a:pt x="21545" y="3731"/>
                  <a:pt x="21600" y="3562"/>
                  <a:pt x="21600" y="3375"/>
                </a:cubicBezTo>
                <a:cubicBezTo>
                  <a:pt x="21600" y="3189"/>
                  <a:pt x="21545" y="3020"/>
                  <a:pt x="21456" y="2898"/>
                </a:cubicBezTo>
                <a:lnTo>
                  <a:pt x="19493" y="198"/>
                </a:lnTo>
                <a:cubicBezTo>
                  <a:pt x="19403" y="76"/>
                  <a:pt x="19281" y="0"/>
                  <a:pt x="19145" y="0"/>
                </a:cubicBezTo>
                <a:cubicBezTo>
                  <a:pt x="18874" y="0"/>
                  <a:pt x="18655" y="303"/>
                  <a:pt x="18655" y="675"/>
                </a:cubicBezTo>
                <a:cubicBezTo>
                  <a:pt x="18655" y="862"/>
                  <a:pt x="18709" y="1031"/>
                  <a:pt x="18799" y="1153"/>
                </a:cubicBezTo>
                <a:lnTo>
                  <a:pt x="19924" y="2700"/>
                </a:lnTo>
                <a:lnTo>
                  <a:pt x="15218" y="2700"/>
                </a:lnTo>
                <a:cubicBezTo>
                  <a:pt x="15065" y="2700"/>
                  <a:pt x="14933" y="2803"/>
                  <a:pt x="14843" y="2954"/>
                </a:cubicBezTo>
                <a:lnTo>
                  <a:pt x="14838" y="2948"/>
                </a:lnTo>
                <a:lnTo>
                  <a:pt x="6149" y="17550"/>
                </a:lnTo>
                <a:lnTo>
                  <a:pt x="491" y="17550"/>
                </a:lnTo>
                <a:cubicBezTo>
                  <a:pt x="220" y="17550"/>
                  <a:pt x="0" y="17853"/>
                  <a:pt x="0" y="18225"/>
                </a:cubicBezTo>
                <a:cubicBezTo>
                  <a:pt x="0" y="18598"/>
                  <a:pt x="220" y="18900"/>
                  <a:pt x="491" y="18900"/>
                </a:cubicBezTo>
                <a:lnTo>
                  <a:pt x="6382" y="18900"/>
                </a:lnTo>
                <a:cubicBezTo>
                  <a:pt x="6535" y="18900"/>
                  <a:pt x="6667" y="18798"/>
                  <a:pt x="6757" y="18647"/>
                </a:cubicBezTo>
                <a:lnTo>
                  <a:pt x="6762" y="18652"/>
                </a:lnTo>
                <a:lnTo>
                  <a:pt x="15451" y="4050"/>
                </a:lnTo>
                <a:cubicBezTo>
                  <a:pt x="15451" y="4050"/>
                  <a:pt x="19924" y="4050"/>
                  <a:pt x="19924" y="4050"/>
                </a:cubicBezTo>
                <a:close/>
                <a:moveTo>
                  <a:pt x="19493" y="15048"/>
                </a:moveTo>
                <a:cubicBezTo>
                  <a:pt x="19403" y="14926"/>
                  <a:pt x="19281" y="14850"/>
                  <a:pt x="19145" y="14850"/>
                </a:cubicBezTo>
                <a:cubicBezTo>
                  <a:pt x="18874" y="14850"/>
                  <a:pt x="18655" y="15153"/>
                  <a:pt x="18655" y="15525"/>
                </a:cubicBezTo>
                <a:cubicBezTo>
                  <a:pt x="18655" y="15712"/>
                  <a:pt x="18709" y="15880"/>
                  <a:pt x="18798" y="16002"/>
                </a:cubicBezTo>
                <a:lnTo>
                  <a:pt x="19924" y="17550"/>
                </a:lnTo>
                <a:lnTo>
                  <a:pt x="15451" y="17550"/>
                </a:lnTo>
                <a:lnTo>
                  <a:pt x="12386" y="12399"/>
                </a:lnTo>
                <a:lnTo>
                  <a:pt x="11751" y="13465"/>
                </a:lnTo>
                <a:lnTo>
                  <a:pt x="14838" y="18652"/>
                </a:lnTo>
                <a:lnTo>
                  <a:pt x="14843" y="18647"/>
                </a:lnTo>
                <a:cubicBezTo>
                  <a:pt x="14933" y="18798"/>
                  <a:pt x="15065" y="18900"/>
                  <a:pt x="15218" y="18900"/>
                </a:cubicBezTo>
                <a:lnTo>
                  <a:pt x="19924" y="18900"/>
                </a:lnTo>
                <a:lnTo>
                  <a:pt x="18798" y="20448"/>
                </a:lnTo>
                <a:cubicBezTo>
                  <a:pt x="18709" y="20570"/>
                  <a:pt x="18655" y="20739"/>
                  <a:pt x="18655" y="20925"/>
                </a:cubicBezTo>
                <a:cubicBezTo>
                  <a:pt x="18655" y="21298"/>
                  <a:pt x="18874" y="21600"/>
                  <a:pt x="19145" y="21600"/>
                </a:cubicBezTo>
                <a:cubicBezTo>
                  <a:pt x="19281" y="21600"/>
                  <a:pt x="19403" y="21525"/>
                  <a:pt x="19493" y="21402"/>
                </a:cubicBezTo>
                <a:lnTo>
                  <a:pt x="21456" y="18702"/>
                </a:lnTo>
                <a:cubicBezTo>
                  <a:pt x="21545" y="18580"/>
                  <a:pt x="21600" y="18412"/>
                  <a:pt x="21600" y="18225"/>
                </a:cubicBezTo>
                <a:cubicBezTo>
                  <a:pt x="21600" y="18039"/>
                  <a:pt x="21545" y="17870"/>
                  <a:pt x="21456" y="17748"/>
                </a:cubicBezTo>
                <a:cubicBezTo>
                  <a:pt x="21456" y="17748"/>
                  <a:pt x="19493" y="15048"/>
                  <a:pt x="19493" y="15048"/>
                </a:cubicBezTo>
                <a:close/>
                <a:moveTo>
                  <a:pt x="491" y="4050"/>
                </a:moveTo>
                <a:lnTo>
                  <a:pt x="6148" y="4050"/>
                </a:lnTo>
                <a:lnTo>
                  <a:pt x="9214" y="9201"/>
                </a:lnTo>
                <a:lnTo>
                  <a:pt x="9849" y="8136"/>
                </a:lnTo>
                <a:lnTo>
                  <a:pt x="6762" y="2948"/>
                </a:lnTo>
                <a:lnTo>
                  <a:pt x="6756" y="2954"/>
                </a:lnTo>
                <a:cubicBezTo>
                  <a:pt x="6667" y="2803"/>
                  <a:pt x="6535" y="2700"/>
                  <a:pt x="6382" y="2700"/>
                </a:cubicBezTo>
                <a:lnTo>
                  <a:pt x="491" y="2700"/>
                </a:lnTo>
                <a:cubicBezTo>
                  <a:pt x="220" y="2700"/>
                  <a:pt x="0" y="3003"/>
                  <a:pt x="0" y="3375"/>
                </a:cubicBezTo>
                <a:cubicBezTo>
                  <a:pt x="0" y="3748"/>
                  <a:pt x="220" y="4050"/>
                  <a:pt x="491" y="405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2" name="Shape 2932"/>
          <p:cNvSpPr/>
          <p:nvPr/>
        </p:nvSpPr>
        <p:spPr>
          <a:xfrm>
            <a:off x="8259615" y="1493815"/>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964" y="12000"/>
                </a:moveTo>
                <a:cubicBezTo>
                  <a:pt x="1421" y="12000"/>
                  <a:pt x="982" y="11462"/>
                  <a:pt x="982" y="10800"/>
                </a:cubicBezTo>
                <a:cubicBezTo>
                  <a:pt x="982" y="10138"/>
                  <a:pt x="1421" y="9600"/>
                  <a:pt x="1964" y="9600"/>
                </a:cubicBezTo>
                <a:cubicBezTo>
                  <a:pt x="2505" y="9600"/>
                  <a:pt x="2945" y="10138"/>
                  <a:pt x="2945" y="10800"/>
                </a:cubicBezTo>
                <a:cubicBezTo>
                  <a:pt x="2945" y="11462"/>
                  <a:pt x="2505" y="12000"/>
                  <a:pt x="1964" y="12000"/>
                </a:cubicBezTo>
                <a:moveTo>
                  <a:pt x="21456" y="10376"/>
                </a:moveTo>
                <a:lnTo>
                  <a:pt x="18511" y="6776"/>
                </a:lnTo>
                <a:cubicBezTo>
                  <a:pt x="18422" y="6667"/>
                  <a:pt x="18299" y="6600"/>
                  <a:pt x="18164" y="6600"/>
                </a:cubicBezTo>
                <a:cubicBezTo>
                  <a:pt x="17892" y="6600"/>
                  <a:pt x="17673" y="6869"/>
                  <a:pt x="17673" y="7200"/>
                </a:cubicBezTo>
                <a:cubicBezTo>
                  <a:pt x="17673" y="7366"/>
                  <a:pt x="17728" y="7516"/>
                  <a:pt x="17817" y="7624"/>
                </a:cubicBezTo>
                <a:lnTo>
                  <a:pt x="19924" y="10200"/>
                </a:lnTo>
                <a:lnTo>
                  <a:pt x="8058" y="10200"/>
                </a:lnTo>
                <a:lnTo>
                  <a:pt x="14727" y="2048"/>
                </a:lnTo>
                <a:lnTo>
                  <a:pt x="14727" y="5400"/>
                </a:lnTo>
                <a:cubicBezTo>
                  <a:pt x="14727" y="5732"/>
                  <a:pt x="14947" y="6000"/>
                  <a:pt x="15218" y="6000"/>
                </a:cubicBezTo>
                <a:cubicBezTo>
                  <a:pt x="15489" y="6000"/>
                  <a:pt x="15709" y="5732"/>
                  <a:pt x="15709" y="5400"/>
                </a:cubicBezTo>
                <a:lnTo>
                  <a:pt x="15709" y="600"/>
                </a:lnTo>
                <a:cubicBezTo>
                  <a:pt x="15709" y="269"/>
                  <a:pt x="15489" y="0"/>
                  <a:pt x="15218" y="0"/>
                </a:cubicBezTo>
                <a:lnTo>
                  <a:pt x="11291" y="0"/>
                </a:lnTo>
                <a:cubicBezTo>
                  <a:pt x="11020" y="0"/>
                  <a:pt x="10800" y="269"/>
                  <a:pt x="10800" y="600"/>
                </a:cubicBezTo>
                <a:cubicBezTo>
                  <a:pt x="10800" y="932"/>
                  <a:pt x="11020" y="1200"/>
                  <a:pt x="11291" y="1200"/>
                </a:cubicBezTo>
                <a:lnTo>
                  <a:pt x="14033" y="1200"/>
                </a:lnTo>
                <a:lnTo>
                  <a:pt x="6669" y="10200"/>
                </a:lnTo>
                <a:lnTo>
                  <a:pt x="3858" y="10200"/>
                </a:lnTo>
                <a:cubicBezTo>
                  <a:pt x="3639" y="9167"/>
                  <a:pt x="2877" y="8400"/>
                  <a:pt x="1964" y="8400"/>
                </a:cubicBezTo>
                <a:cubicBezTo>
                  <a:pt x="879" y="8400"/>
                  <a:pt x="0" y="9475"/>
                  <a:pt x="0" y="10800"/>
                </a:cubicBezTo>
                <a:cubicBezTo>
                  <a:pt x="0" y="12125"/>
                  <a:pt x="879" y="13200"/>
                  <a:pt x="1964" y="13200"/>
                </a:cubicBezTo>
                <a:cubicBezTo>
                  <a:pt x="2877" y="13200"/>
                  <a:pt x="3639" y="12434"/>
                  <a:pt x="3858" y="11400"/>
                </a:cubicBezTo>
                <a:lnTo>
                  <a:pt x="6669" y="11400"/>
                </a:lnTo>
                <a:lnTo>
                  <a:pt x="14033" y="20400"/>
                </a:lnTo>
                <a:lnTo>
                  <a:pt x="11291" y="20400"/>
                </a:lnTo>
                <a:cubicBezTo>
                  <a:pt x="11020" y="20400"/>
                  <a:pt x="10800" y="20669"/>
                  <a:pt x="10800" y="21000"/>
                </a:cubicBezTo>
                <a:cubicBezTo>
                  <a:pt x="10800" y="21332"/>
                  <a:pt x="11020" y="21600"/>
                  <a:pt x="11291" y="21600"/>
                </a:cubicBezTo>
                <a:lnTo>
                  <a:pt x="15218" y="21600"/>
                </a:lnTo>
                <a:cubicBezTo>
                  <a:pt x="15489" y="21600"/>
                  <a:pt x="15709" y="21332"/>
                  <a:pt x="15709" y="21000"/>
                </a:cubicBezTo>
                <a:lnTo>
                  <a:pt x="15709" y="16200"/>
                </a:lnTo>
                <a:cubicBezTo>
                  <a:pt x="15709" y="15869"/>
                  <a:pt x="15489" y="15600"/>
                  <a:pt x="15218" y="15600"/>
                </a:cubicBezTo>
                <a:cubicBezTo>
                  <a:pt x="14947" y="15600"/>
                  <a:pt x="14727" y="15869"/>
                  <a:pt x="14727" y="16200"/>
                </a:cubicBezTo>
                <a:lnTo>
                  <a:pt x="14727" y="19552"/>
                </a:lnTo>
                <a:lnTo>
                  <a:pt x="8058" y="11400"/>
                </a:lnTo>
                <a:lnTo>
                  <a:pt x="19924" y="11400"/>
                </a:lnTo>
                <a:lnTo>
                  <a:pt x="17817" y="13976"/>
                </a:lnTo>
                <a:cubicBezTo>
                  <a:pt x="17728" y="14085"/>
                  <a:pt x="17673" y="14235"/>
                  <a:pt x="17673" y="14400"/>
                </a:cubicBezTo>
                <a:cubicBezTo>
                  <a:pt x="17673" y="14732"/>
                  <a:pt x="17892" y="15000"/>
                  <a:pt x="18164" y="15000"/>
                </a:cubicBezTo>
                <a:cubicBezTo>
                  <a:pt x="18299" y="15000"/>
                  <a:pt x="18422" y="14933"/>
                  <a:pt x="18511" y="14824"/>
                </a:cubicBezTo>
                <a:lnTo>
                  <a:pt x="21456" y="11224"/>
                </a:lnTo>
                <a:cubicBezTo>
                  <a:pt x="21545" y="11116"/>
                  <a:pt x="21600" y="10966"/>
                  <a:pt x="21600" y="10800"/>
                </a:cubicBezTo>
                <a:cubicBezTo>
                  <a:pt x="21600" y="10635"/>
                  <a:pt x="21545" y="10485"/>
                  <a:pt x="21456" y="1037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4" name="Shape 2934"/>
          <p:cNvSpPr/>
          <p:nvPr/>
        </p:nvSpPr>
        <p:spPr>
          <a:xfrm>
            <a:off x="689212" y="2471921"/>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0800"/>
                </a:moveTo>
                <a:cubicBezTo>
                  <a:pt x="8563" y="10800"/>
                  <a:pt x="6750" y="9481"/>
                  <a:pt x="6750" y="7855"/>
                </a:cubicBezTo>
                <a:cubicBezTo>
                  <a:pt x="6750" y="6228"/>
                  <a:pt x="8563" y="4909"/>
                  <a:pt x="10800" y="4909"/>
                </a:cubicBezTo>
                <a:cubicBezTo>
                  <a:pt x="13037" y="4909"/>
                  <a:pt x="14850" y="6228"/>
                  <a:pt x="14850" y="7855"/>
                </a:cubicBezTo>
                <a:cubicBezTo>
                  <a:pt x="14850" y="9481"/>
                  <a:pt x="13037" y="10800"/>
                  <a:pt x="10800" y="10800"/>
                </a:cubicBezTo>
                <a:moveTo>
                  <a:pt x="10800" y="3927"/>
                </a:moveTo>
                <a:cubicBezTo>
                  <a:pt x="7817" y="3927"/>
                  <a:pt x="5400" y="5686"/>
                  <a:pt x="5400" y="7855"/>
                </a:cubicBezTo>
                <a:cubicBezTo>
                  <a:pt x="5400" y="10023"/>
                  <a:pt x="7817" y="11782"/>
                  <a:pt x="10800" y="11782"/>
                </a:cubicBezTo>
                <a:cubicBezTo>
                  <a:pt x="13783" y="11782"/>
                  <a:pt x="16200" y="10023"/>
                  <a:pt x="16200" y="7855"/>
                </a:cubicBezTo>
                <a:cubicBezTo>
                  <a:pt x="16200" y="5686"/>
                  <a:pt x="13783" y="3927"/>
                  <a:pt x="10800" y="3927"/>
                </a:cubicBezTo>
                <a:moveTo>
                  <a:pt x="10800" y="20127"/>
                </a:moveTo>
                <a:cubicBezTo>
                  <a:pt x="10800" y="20127"/>
                  <a:pt x="1350" y="13745"/>
                  <a:pt x="1350" y="7855"/>
                </a:cubicBezTo>
                <a:cubicBezTo>
                  <a:pt x="1350" y="4059"/>
                  <a:pt x="5581" y="982"/>
                  <a:pt x="10800" y="982"/>
                </a:cubicBezTo>
                <a:cubicBezTo>
                  <a:pt x="16019" y="982"/>
                  <a:pt x="20250" y="4059"/>
                  <a:pt x="20250" y="7855"/>
                </a:cubicBezTo>
                <a:cubicBezTo>
                  <a:pt x="20250" y="13745"/>
                  <a:pt x="10800" y="20127"/>
                  <a:pt x="10800" y="20127"/>
                </a:cubicBezTo>
                <a:moveTo>
                  <a:pt x="10800" y="0"/>
                </a:moveTo>
                <a:cubicBezTo>
                  <a:pt x="4836" y="0"/>
                  <a:pt x="0" y="3517"/>
                  <a:pt x="0" y="7855"/>
                </a:cubicBezTo>
                <a:cubicBezTo>
                  <a:pt x="0" y="14236"/>
                  <a:pt x="10800" y="21600"/>
                  <a:pt x="10800" y="21600"/>
                </a:cubicBezTo>
                <a:cubicBezTo>
                  <a:pt x="10800" y="21600"/>
                  <a:pt x="21600" y="14236"/>
                  <a:pt x="21600" y="7855"/>
                </a:cubicBezTo>
                <a:cubicBezTo>
                  <a:pt x="21600" y="3517"/>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5" name="Shape 2935"/>
          <p:cNvSpPr/>
          <p:nvPr/>
        </p:nvSpPr>
        <p:spPr>
          <a:xfrm>
            <a:off x="1060589" y="2471921"/>
            <a:ext cx="209345" cy="209375"/>
          </a:xfrm>
          <a:custGeom>
            <a:avLst/>
            <a:gdLst/>
            <a:ahLst/>
            <a:cxnLst>
              <a:cxn ang="0">
                <a:pos x="wd2" y="hd2"/>
              </a:cxn>
              <a:cxn ang="5400000">
                <a:pos x="wd2" y="hd2"/>
              </a:cxn>
              <a:cxn ang="10800000">
                <a:pos x="wd2" y="hd2"/>
              </a:cxn>
              <a:cxn ang="16200000">
                <a:pos x="wd2" y="hd2"/>
              </a:cxn>
            </a:cxnLst>
            <a:rect l="0" t="0" r="r" b="b"/>
            <a:pathLst>
              <a:path w="21531" h="21600" extrusionOk="0">
                <a:moveTo>
                  <a:pt x="6365" y="15409"/>
                </a:moveTo>
                <a:cubicBezTo>
                  <a:pt x="5782" y="14888"/>
                  <a:pt x="4858" y="14006"/>
                  <a:pt x="3935" y="12895"/>
                </a:cubicBezTo>
                <a:cubicBezTo>
                  <a:pt x="2587" y="11273"/>
                  <a:pt x="979" y="8835"/>
                  <a:pt x="979" y="6430"/>
                </a:cubicBezTo>
                <a:cubicBezTo>
                  <a:pt x="979" y="3427"/>
                  <a:pt x="3396" y="982"/>
                  <a:pt x="6366" y="982"/>
                </a:cubicBezTo>
                <a:cubicBezTo>
                  <a:pt x="9336" y="982"/>
                  <a:pt x="11752" y="3427"/>
                  <a:pt x="11752" y="6430"/>
                </a:cubicBezTo>
                <a:cubicBezTo>
                  <a:pt x="11752" y="10208"/>
                  <a:pt x="7888" y="14044"/>
                  <a:pt x="6365" y="15409"/>
                </a:cubicBezTo>
                <a:moveTo>
                  <a:pt x="6366" y="0"/>
                </a:moveTo>
                <a:cubicBezTo>
                  <a:pt x="2850" y="0"/>
                  <a:pt x="0" y="2879"/>
                  <a:pt x="0" y="6430"/>
                </a:cubicBezTo>
                <a:cubicBezTo>
                  <a:pt x="0" y="11655"/>
                  <a:pt x="6366" y="16701"/>
                  <a:pt x="6366" y="16701"/>
                </a:cubicBezTo>
                <a:cubicBezTo>
                  <a:pt x="6366" y="16701"/>
                  <a:pt x="12732" y="11655"/>
                  <a:pt x="12732" y="6430"/>
                </a:cubicBezTo>
                <a:cubicBezTo>
                  <a:pt x="12732" y="2879"/>
                  <a:pt x="9882" y="0"/>
                  <a:pt x="6366" y="0"/>
                </a:cubicBezTo>
                <a:moveTo>
                  <a:pt x="17357" y="19604"/>
                </a:moveTo>
                <a:cubicBezTo>
                  <a:pt x="17127" y="19764"/>
                  <a:pt x="16856" y="19909"/>
                  <a:pt x="16554" y="20033"/>
                </a:cubicBezTo>
                <a:cubicBezTo>
                  <a:pt x="16304" y="20137"/>
                  <a:pt x="16185" y="20424"/>
                  <a:pt x="16288" y="20675"/>
                </a:cubicBezTo>
                <a:cubicBezTo>
                  <a:pt x="16365" y="20865"/>
                  <a:pt x="16548" y="20979"/>
                  <a:pt x="16740" y="20979"/>
                </a:cubicBezTo>
                <a:cubicBezTo>
                  <a:pt x="16802" y="20979"/>
                  <a:pt x="16866" y="20967"/>
                  <a:pt x="16926" y="20942"/>
                </a:cubicBezTo>
                <a:cubicBezTo>
                  <a:pt x="17294" y="20790"/>
                  <a:pt x="17627" y="20611"/>
                  <a:pt x="17915" y="20411"/>
                </a:cubicBezTo>
                <a:cubicBezTo>
                  <a:pt x="18138" y="20256"/>
                  <a:pt x="18193" y="19950"/>
                  <a:pt x="18039" y="19727"/>
                </a:cubicBezTo>
                <a:cubicBezTo>
                  <a:pt x="17885" y="19505"/>
                  <a:pt x="17579" y="19449"/>
                  <a:pt x="17357" y="19604"/>
                </a:cubicBezTo>
                <a:moveTo>
                  <a:pt x="16249" y="13042"/>
                </a:moveTo>
                <a:cubicBezTo>
                  <a:pt x="16109" y="12790"/>
                  <a:pt x="16024" y="12529"/>
                  <a:pt x="15995" y="12265"/>
                </a:cubicBezTo>
                <a:cubicBezTo>
                  <a:pt x="15966" y="11995"/>
                  <a:pt x="15731" y="11801"/>
                  <a:pt x="15456" y="11829"/>
                </a:cubicBezTo>
                <a:cubicBezTo>
                  <a:pt x="15187" y="11859"/>
                  <a:pt x="14992" y="12100"/>
                  <a:pt x="15022" y="12370"/>
                </a:cubicBezTo>
                <a:cubicBezTo>
                  <a:pt x="15064" y="12767"/>
                  <a:pt x="15190" y="13154"/>
                  <a:pt x="15395" y="13522"/>
                </a:cubicBezTo>
                <a:cubicBezTo>
                  <a:pt x="15484" y="13682"/>
                  <a:pt x="15651" y="13773"/>
                  <a:pt x="15822" y="13773"/>
                </a:cubicBezTo>
                <a:cubicBezTo>
                  <a:pt x="15904" y="13773"/>
                  <a:pt x="15985" y="13753"/>
                  <a:pt x="16061" y="13710"/>
                </a:cubicBezTo>
                <a:cubicBezTo>
                  <a:pt x="16297" y="13578"/>
                  <a:pt x="16382" y="13279"/>
                  <a:pt x="16249" y="13042"/>
                </a:cubicBezTo>
                <a:moveTo>
                  <a:pt x="18249" y="15254"/>
                </a:moveTo>
                <a:cubicBezTo>
                  <a:pt x="18041" y="14981"/>
                  <a:pt x="17803" y="14708"/>
                  <a:pt x="17538" y="14439"/>
                </a:cubicBezTo>
                <a:cubicBezTo>
                  <a:pt x="17349" y="14246"/>
                  <a:pt x="17039" y="14244"/>
                  <a:pt x="16845" y="14434"/>
                </a:cubicBezTo>
                <a:cubicBezTo>
                  <a:pt x="16653" y="14624"/>
                  <a:pt x="16651" y="14935"/>
                  <a:pt x="16841" y="15129"/>
                </a:cubicBezTo>
                <a:cubicBezTo>
                  <a:pt x="17076" y="15368"/>
                  <a:pt x="17288" y="15612"/>
                  <a:pt x="17471" y="15851"/>
                </a:cubicBezTo>
                <a:cubicBezTo>
                  <a:pt x="17568" y="15977"/>
                  <a:pt x="17713" y="16043"/>
                  <a:pt x="17860" y="16043"/>
                </a:cubicBezTo>
                <a:cubicBezTo>
                  <a:pt x="17964" y="16043"/>
                  <a:pt x="18068" y="16011"/>
                  <a:pt x="18157" y="15942"/>
                </a:cubicBezTo>
                <a:cubicBezTo>
                  <a:pt x="18373" y="15777"/>
                  <a:pt x="18413" y="15469"/>
                  <a:pt x="18249" y="15254"/>
                </a:cubicBezTo>
                <a:moveTo>
                  <a:pt x="21476" y="5928"/>
                </a:moveTo>
                <a:cubicBezTo>
                  <a:pt x="21352" y="5687"/>
                  <a:pt x="21057" y="5592"/>
                  <a:pt x="20817" y="5717"/>
                </a:cubicBezTo>
                <a:cubicBezTo>
                  <a:pt x="20817" y="5717"/>
                  <a:pt x="20650" y="5803"/>
                  <a:pt x="20371" y="5962"/>
                </a:cubicBezTo>
                <a:cubicBezTo>
                  <a:pt x="20136" y="6096"/>
                  <a:pt x="20054" y="6396"/>
                  <a:pt x="20188" y="6632"/>
                </a:cubicBezTo>
                <a:cubicBezTo>
                  <a:pt x="20278" y="6791"/>
                  <a:pt x="20444" y="6880"/>
                  <a:pt x="20614" y="6880"/>
                </a:cubicBezTo>
                <a:cubicBezTo>
                  <a:pt x="20697" y="6880"/>
                  <a:pt x="20780" y="6859"/>
                  <a:pt x="20856" y="6815"/>
                </a:cubicBezTo>
                <a:cubicBezTo>
                  <a:pt x="21108" y="6672"/>
                  <a:pt x="21261" y="6592"/>
                  <a:pt x="21265" y="6590"/>
                </a:cubicBezTo>
                <a:cubicBezTo>
                  <a:pt x="21506" y="6466"/>
                  <a:pt x="21600" y="6170"/>
                  <a:pt x="21476" y="5928"/>
                </a:cubicBezTo>
                <a:moveTo>
                  <a:pt x="18659" y="16886"/>
                </a:moveTo>
                <a:cubicBezTo>
                  <a:pt x="18395" y="16941"/>
                  <a:pt x="18225" y="17201"/>
                  <a:pt x="18280" y="17467"/>
                </a:cubicBezTo>
                <a:cubicBezTo>
                  <a:pt x="18312" y="17625"/>
                  <a:pt x="18330" y="17781"/>
                  <a:pt x="18330" y="17929"/>
                </a:cubicBezTo>
                <a:cubicBezTo>
                  <a:pt x="18330" y="18050"/>
                  <a:pt x="18318" y="18171"/>
                  <a:pt x="18296" y="18287"/>
                </a:cubicBezTo>
                <a:cubicBezTo>
                  <a:pt x="18244" y="18554"/>
                  <a:pt x="18418" y="18811"/>
                  <a:pt x="18683" y="18862"/>
                </a:cubicBezTo>
                <a:cubicBezTo>
                  <a:pt x="18715" y="18869"/>
                  <a:pt x="18746" y="18871"/>
                  <a:pt x="18777" y="18871"/>
                </a:cubicBezTo>
                <a:cubicBezTo>
                  <a:pt x="19007" y="18871"/>
                  <a:pt x="19212" y="18708"/>
                  <a:pt x="19257" y="18473"/>
                </a:cubicBezTo>
                <a:cubicBezTo>
                  <a:pt x="19292" y="18296"/>
                  <a:pt x="19309" y="18114"/>
                  <a:pt x="19309" y="17929"/>
                </a:cubicBezTo>
                <a:cubicBezTo>
                  <a:pt x="19309" y="17715"/>
                  <a:pt x="19285" y="17492"/>
                  <a:pt x="19239" y="17267"/>
                </a:cubicBezTo>
                <a:cubicBezTo>
                  <a:pt x="19183" y="17001"/>
                  <a:pt x="18923" y="16832"/>
                  <a:pt x="18659" y="16886"/>
                </a:cubicBezTo>
                <a:moveTo>
                  <a:pt x="18590" y="7106"/>
                </a:moveTo>
                <a:cubicBezTo>
                  <a:pt x="18317" y="7303"/>
                  <a:pt x="18035" y="7518"/>
                  <a:pt x="17756" y="7745"/>
                </a:cubicBezTo>
                <a:cubicBezTo>
                  <a:pt x="17546" y="7917"/>
                  <a:pt x="17515" y="8226"/>
                  <a:pt x="17686" y="8436"/>
                </a:cubicBezTo>
                <a:cubicBezTo>
                  <a:pt x="17783" y="8556"/>
                  <a:pt x="17924" y="8617"/>
                  <a:pt x="18066" y="8617"/>
                </a:cubicBezTo>
                <a:cubicBezTo>
                  <a:pt x="18174" y="8617"/>
                  <a:pt x="18284" y="8581"/>
                  <a:pt x="18374" y="8507"/>
                </a:cubicBezTo>
                <a:cubicBezTo>
                  <a:pt x="18637" y="8292"/>
                  <a:pt x="18903" y="8090"/>
                  <a:pt x="19161" y="7905"/>
                </a:cubicBezTo>
                <a:cubicBezTo>
                  <a:pt x="19380" y="7747"/>
                  <a:pt x="19431" y="7440"/>
                  <a:pt x="19273" y="7220"/>
                </a:cubicBezTo>
                <a:cubicBezTo>
                  <a:pt x="19116" y="6999"/>
                  <a:pt x="18810" y="6949"/>
                  <a:pt x="18590" y="7106"/>
                </a:cubicBezTo>
                <a:moveTo>
                  <a:pt x="14704" y="20512"/>
                </a:moveTo>
                <a:cubicBezTo>
                  <a:pt x="14393" y="20556"/>
                  <a:pt x="14065" y="20590"/>
                  <a:pt x="13729" y="20611"/>
                </a:cubicBezTo>
                <a:cubicBezTo>
                  <a:pt x="13459" y="20629"/>
                  <a:pt x="13254" y="20863"/>
                  <a:pt x="13272" y="21134"/>
                </a:cubicBezTo>
                <a:cubicBezTo>
                  <a:pt x="13289" y="21394"/>
                  <a:pt x="13504" y="21593"/>
                  <a:pt x="13760" y="21593"/>
                </a:cubicBezTo>
                <a:cubicBezTo>
                  <a:pt x="13771" y="21593"/>
                  <a:pt x="13781" y="21592"/>
                  <a:pt x="13792" y="21592"/>
                </a:cubicBezTo>
                <a:cubicBezTo>
                  <a:pt x="14152" y="21568"/>
                  <a:pt x="14506" y="21533"/>
                  <a:pt x="14842" y="21485"/>
                </a:cubicBezTo>
                <a:cubicBezTo>
                  <a:pt x="15110" y="21447"/>
                  <a:pt x="15296" y="21198"/>
                  <a:pt x="15258" y="20929"/>
                </a:cubicBezTo>
                <a:cubicBezTo>
                  <a:pt x="15220" y="20661"/>
                  <a:pt x="14973" y="20472"/>
                  <a:pt x="14704" y="20512"/>
                </a:cubicBezTo>
                <a:moveTo>
                  <a:pt x="8893" y="20109"/>
                </a:moveTo>
                <a:cubicBezTo>
                  <a:pt x="8582" y="19997"/>
                  <a:pt x="8299" y="19866"/>
                  <a:pt x="8052" y="19721"/>
                </a:cubicBezTo>
                <a:cubicBezTo>
                  <a:pt x="7818" y="19582"/>
                  <a:pt x="7519" y="19663"/>
                  <a:pt x="7382" y="19896"/>
                </a:cubicBezTo>
                <a:cubicBezTo>
                  <a:pt x="7244" y="20130"/>
                  <a:pt x="7323" y="20432"/>
                  <a:pt x="7556" y="20568"/>
                </a:cubicBezTo>
                <a:cubicBezTo>
                  <a:pt x="7856" y="20744"/>
                  <a:pt x="8194" y="20901"/>
                  <a:pt x="8562" y="21034"/>
                </a:cubicBezTo>
                <a:cubicBezTo>
                  <a:pt x="8617" y="21053"/>
                  <a:pt x="8672" y="21062"/>
                  <a:pt x="8728" y="21062"/>
                </a:cubicBezTo>
                <a:cubicBezTo>
                  <a:pt x="8928" y="21062"/>
                  <a:pt x="9117" y="20938"/>
                  <a:pt x="9189" y="20737"/>
                </a:cubicBezTo>
                <a:cubicBezTo>
                  <a:pt x="9280" y="20482"/>
                  <a:pt x="9148" y="20200"/>
                  <a:pt x="8893" y="20109"/>
                </a:cubicBezTo>
                <a:moveTo>
                  <a:pt x="11751" y="20618"/>
                </a:moveTo>
                <a:cubicBezTo>
                  <a:pt x="11412" y="20600"/>
                  <a:pt x="11082" y="20572"/>
                  <a:pt x="10771" y="20533"/>
                </a:cubicBezTo>
                <a:cubicBezTo>
                  <a:pt x="10502" y="20493"/>
                  <a:pt x="10258" y="20690"/>
                  <a:pt x="10225" y="20959"/>
                </a:cubicBezTo>
                <a:cubicBezTo>
                  <a:pt x="10191" y="21229"/>
                  <a:pt x="10382" y="21474"/>
                  <a:pt x="10650" y="21507"/>
                </a:cubicBezTo>
                <a:cubicBezTo>
                  <a:pt x="10984" y="21549"/>
                  <a:pt x="11337" y="21580"/>
                  <a:pt x="11699" y="21600"/>
                </a:cubicBezTo>
                <a:cubicBezTo>
                  <a:pt x="11708" y="21600"/>
                  <a:pt x="11716" y="21600"/>
                  <a:pt x="11725" y="21600"/>
                </a:cubicBezTo>
                <a:cubicBezTo>
                  <a:pt x="11984" y="21600"/>
                  <a:pt x="12200" y="21397"/>
                  <a:pt x="12214" y="21135"/>
                </a:cubicBezTo>
                <a:cubicBezTo>
                  <a:pt x="12228" y="20863"/>
                  <a:pt x="12021" y="20632"/>
                  <a:pt x="11751" y="20618"/>
                </a:cubicBezTo>
                <a:moveTo>
                  <a:pt x="6840" y="18180"/>
                </a:moveTo>
                <a:cubicBezTo>
                  <a:pt x="6836" y="17912"/>
                  <a:pt x="6619" y="17696"/>
                  <a:pt x="6351" y="17696"/>
                </a:cubicBezTo>
                <a:cubicBezTo>
                  <a:pt x="6080" y="17696"/>
                  <a:pt x="5861" y="17916"/>
                  <a:pt x="5861" y="18188"/>
                </a:cubicBezTo>
                <a:cubicBezTo>
                  <a:pt x="5861" y="18234"/>
                  <a:pt x="5867" y="18484"/>
                  <a:pt x="5997" y="18834"/>
                </a:cubicBezTo>
                <a:cubicBezTo>
                  <a:pt x="6070" y="19033"/>
                  <a:pt x="6257" y="19155"/>
                  <a:pt x="6456" y="19155"/>
                </a:cubicBezTo>
                <a:cubicBezTo>
                  <a:pt x="6512" y="19155"/>
                  <a:pt x="6570" y="19145"/>
                  <a:pt x="6626" y="19124"/>
                </a:cubicBezTo>
                <a:cubicBezTo>
                  <a:pt x="6880" y="19030"/>
                  <a:pt x="7009" y="18748"/>
                  <a:pt x="6915" y="18493"/>
                </a:cubicBezTo>
                <a:cubicBezTo>
                  <a:pt x="6849" y="18314"/>
                  <a:pt x="6841" y="18191"/>
                  <a:pt x="6840" y="18180"/>
                </a:cubicBezTo>
                <a:moveTo>
                  <a:pt x="15760" y="10798"/>
                </a:moveTo>
                <a:cubicBezTo>
                  <a:pt x="15838" y="10844"/>
                  <a:pt x="15924" y="10866"/>
                  <a:pt x="16008" y="10866"/>
                </a:cubicBezTo>
                <a:cubicBezTo>
                  <a:pt x="16176" y="10866"/>
                  <a:pt x="16339" y="10780"/>
                  <a:pt x="16431" y="10625"/>
                </a:cubicBezTo>
                <a:cubicBezTo>
                  <a:pt x="16577" y="10376"/>
                  <a:pt x="16761" y="10120"/>
                  <a:pt x="16977" y="9861"/>
                </a:cubicBezTo>
                <a:cubicBezTo>
                  <a:pt x="17151" y="9653"/>
                  <a:pt x="17124" y="9343"/>
                  <a:pt x="16917" y="9169"/>
                </a:cubicBezTo>
                <a:cubicBezTo>
                  <a:pt x="16709" y="8994"/>
                  <a:pt x="16400" y="9022"/>
                  <a:pt x="16227" y="9230"/>
                </a:cubicBezTo>
                <a:cubicBezTo>
                  <a:pt x="15976" y="9529"/>
                  <a:pt x="15761" y="9832"/>
                  <a:pt x="15587" y="10125"/>
                </a:cubicBezTo>
                <a:cubicBezTo>
                  <a:pt x="15450" y="10359"/>
                  <a:pt x="15527" y="10659"/>
                  <a:pt x="15760" y="10798"/>
                </a:cubicBezTo>
                <a:moveTo>
                  <a:pt x="6366" y="8841"/>
                </a:moveTo>
                <a:cubicBezTo>
                  <a:pt x="5014" y="8841"/>
                  <a:pt x="3917" y="7741"/>
                  <a:pt x="3917" y="6384"/>
                </a:cubicBezTo>
                <a:cubicBezTo>
                  <a:pt x="3917" y="5027"/>
                  <a:pt x="5014" y="3927"/>
                  <a:pt x="6366" y="3927"/>
                </a:cubicBezTo>
                <a:cubicBezTo>
                  <a:pt x="7719" y="3927"/>
                  <a:pt x="8814" y="5027"/>
                  <a:pt x="8814" y="6384"/>
                </a:cubicBezTo>
                <a:cubicBezTo>
                  <a:pt x="8814" y="7741"/>
                  <a:pt x="7719" y="8841"/>
                  <a:pt x="6366" y="8841"/>
                </a:cubicBezTo>
                <a:moveTo>
                  <a:pt x="6366" y="2955"/>
                </a:moveTo>
                <a:cubicBezTo>
                  <a:pt x="4473" y="2955"/>
                  <a:pt x="2938" y="4494"/>
                  <a:pt x="2938" y="6392"/>
                </a:cubicBezTo>
                <a:cubicBezTo>
                  <a:pt x="2938" y="8291"/>
                  <a:pt x="4473" y="9831"/>
                  <a:pt x="6366" y="9831"/>
                </a:cubicBezTo>
                <a:cubicBezTo>
                  <a:pt x="8259" y="9831"/>
                  <a:pt x="9794" y="8291"/>
                  <a:pt x="9794" y="6392"/>
                </a:cubicBezTo>
                <a:cubicBezTo>
                  <a:pt x="9794" y="4494"/>
                  <a:pt x="8259" y="2955"/>
                  <a:pt x="6366" y="29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6" name="Shape 2936"/>
          <p:cNvSpPr/>
          <p:nvPr/>
        </p:nvSpPr>
        <p:spPr>
          <a:xfrm>
            <a:off x="1517672" y="2471921"/>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964"/>
                </a:moveTo>
                <a:cubicBezTo>
                  <a:pt x="10800" y="1964"/>
                  <a:pt x="4320" y="1964"/>
                  <a:pt x="4320" y="4909"/>
                </a:cubicBezTo>
                <a:cubicBezTo>
                  <a:pt x="4320" y="5180"/>
                  <a:pt x="4804" y="5400"/>
                  <a:pt x="5400" y="5400"/>
                </a:cubicBezTo>
                <a:cubicBezTo>
                  <a:pt x="5996" y="5400"/>
                  <a:pt x="6480" y="5180"/>
                  <a:pt x="6480" y="4909"/>
                </a:cubicBezTo>
                <a:cubicBezTo>
                  <a:pt x="6480" y="2945"/>
                  <a:pt x="10800" y="2945"/>
                  <a:pt x="10800" y="2945"/>
                </a:cubicBezTo>
                <a:cubicBezTo>
                  <a:pt x="11396" y="2945"/>
                  <a:pt x="11880" y="2726"/>
                  <a:pt x="11880" y="2455"/>
                </a:cubicBezTo>
                <a:cubicBezTo>
                  <a:pt x="11880" y="2183"/>
                  <a:pt x="11396" y="1964"/>
                  <a:pt x="10800" y="1964"/>
                </a:cubicBezTo>
                <a:moveTo>
                  <a:pt x="10800" y="8836"/>
                </a:moveTo>
                <a:cubicBezTo>
                  <a:pt x="6029" y="8836"/>
                  <a:pt x="2160" y="7078"/>
                  <a:pt x="2160" y="4909"/>
                </a:cubicBezTo>
                <a:cubicBezTo>
                  <a:pt x="2160" y="2740"/>
                  <a:pt x="6029" y="982"/>
                  <a:pt x="10800" y="982"/>
                </a:cubicBezTo>
                <a:cubicBezTo>
                  <a:pt x="15571" y="982"/>
                  <a:pt x="19440" y="2740"/>
                  <a:pt x="19440" y="4909"/>
                </a:cubicBezTo>
                <a:cubicBezTo>
                  <a:pt x="19440" y="7078"/>
                  <a:pt x="15571" y="8836"/>
                  <a:pt x="10800" y="8836"/>
                </a:cubicBezTo>
                <a:moveTo>
                  <a:pt x="10800" y="17182"/>
                </a:moveTo>
                <a:lnTo>
                  <a:pt x="8154" y="9664"/>
                </a:lnTo>
                <a:cubicBezTo>
                  <a:pt x="9002" y="9761"/>
                  <a:pt x="9885" y="9818"/>
                  <a:pt x="10800" y="9818"/>
                </a:cubicBezTo>
                <a:cubicBezTo>
                  <a:pt x="11715" y="9818"/>
                  <a:pt x="12598" y="9761"/>
                  <a:pt x="13446" y="9664"/>
                </a:cubicBezTo>
                <a:cubicBezTo>
                  <a:pt x="13446" y="9664"/>
                  <a:pt x="10800" y="17182"/>
                  <a:pt x="10800" y="17182"/>
                </a:cubicBezTo>
                <a:close/>
                <a:moveTo>
                  <a:pt x="10800" y="0"/>
                </a:moveTo>
                <a:cubicBezTo>
                  <a:pt x="4835" y="0"/>
                  <a:pt x="0" y="2199"/>
                  <a:pt x="0" y="4909"/>
                </a:cubicBezTo>
                <a:cubicBezTo>
                  <a:pt x="0" y="6830"/>
                  <a:pt x="2431" y="8487"/>
                  <a:pt x="5966" y="9295"/>
                </a:cubicBezTo>
                <a:lnTo>
                  <a:pt x="10800" y="21600"/>
                </a:lnTo>
                <a:lnTo>
                  <a:pt x="15635" y="9295"/>
                </a:lnTo>
                <a:cubicBezTo>
                  <a:pt x="19169" y="8487"/>
                  <a:pt x="21600" y="6830"/>
                  <a:pt x="21600" y="4909"/>
                </a:cubicBezTo>
                <a:cubicBezTo>
                  <a:pt x="21600" y="2199"/>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7" name="Shape 2937"/>
          <p:cNvSpPr/>
          <p:nvPr/>
        </p:nvSpPr>
        <p:spPr>
          <a:xfrm>
            <a:off x="1860482"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9145"/>
                </a:lnTo>
                <a:cubicBezTo>
                  <a:pt x="11291" y="18875"/>
                  <a:pt x="11071" y="18655"/>
                  <a:pt x="10800" y="18655"/>
                </a:cubicBezTo>
                <a:cubicBezTo>
                  <a:pt x="10529" y="18655"/>
                  <a:pt x="10309" y="18875"/>
                  <a:pt x="10309" y="19145"/>
                </a:cubicBezTo>
                <a:lnTo>
                  <a:pt x="10309" y="20593"/>
                </a:lnTo>
                <a:cubicBezTo>
                  <a:pt x="5280" y="20344"/>
                  <a:pt x="1255" y="16319"/>
                  <a:pt x="1006" y="11291"/>
                </a:cubicBezTo>
                <a:lnTo>
                  <a:pt x="2455" y="11291"/>
                </a:lnTo>
                <a:cubicBezTo>
                  <a:pt x="2725" y="11291"/>
                  <a:pt x="2945" y="11071"/>
                  <a:pt x="2945" y="10800"/>
                </a:cubicBezTo>
                <a:cubicBezTo>
                  <a:pt x="2945" y="10529"/>
                  <a:pt x="2725" y="10309"/>
                  <a:pt x="2455" y="10309"/>
                </a:cubicBezTo>
                <a:lnTo>
                  <a:pt x="1006" y="10309"/>
                </a:lnTo>
                <a:cubicBezTo>
                  <a:pt x="1255" y="5281"/>
                  <a:pt x="5280" y="1256"/>
                  <a:pt x="10309" y="1007"/>
                </a:cubicBezTo>
                <a:lnTo>
                  <a:pt x="10309" y="2455"/>
                </a:lnTo>
                <a:cubicBezTo>
                  <a:pt x="10309" y="2726"/>
                  <a:pt x="10529" y="2945"/>
                  <a:pt x="10800" y="2945"/>
                </a:cubicBezTo>
                <a:cubicBezTo>
                  <a:pt x="11071" y="2945"/>
                  <a:pt x="11291" y="2726"/>
                  <a:pt x="11291" y="2455"/>
                </a:cubicBezTo>
                <a:lnTo>
                  <a:pt x="11291" y="1007"/>
                </a:lnTo>
                <a:cubicBezTo>
                  <a:pt x="16320" y="1256"/>
                  <a:pt x="20345" y="5281"/>
                  <a:pt x="20594" y="10309"/>
                </a:cubicBezTo>
                <a:lnTo>
                  <a:pt x="19145" y="10309"/>
                </a:lnTo>
                <a:cubicBezTo>
                  <a:pt x="18875" y="10309"/>
                  <a:pt x="18655" y="10529"/>
                  <a:pt x="18655" y="10800"/>
                </a:cubicBezTo>
                <a:cubicBezTo>
                  <a:pt x="18655" y="11071"/>
                  <a:pt x="18875" y="11291"/>
                  <a:pt x="19145" y="11291"/>
                </a:cubicBezTo>
                <a:lnTo>
                  <a:pt x="20594" y="11291"/>
                </a:lnTo>
                <a:cubicBezTo>
                  <a:pt x="20345" y="16319"/>
                  <a:pt x="16320" y="20344"/>
                  <a:pt x="11291" y="20593"/>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4965" y="6634"/>
                </a:moveTo>
                <a:lnTo>
                  <a:pt x="12189" y="12188"/>
                </a:lnTo>
                <a:lnTo>
                  <a:pt x="6635" y="14966"/>
                </a:lnTo>
                <a:lnTo>
                  <a:pt x="9411" y="9412"/>
                </a:lnTo>
                <a:cubicBezTo>
                  <a:pt x="9411" y="9412"/>
                  <a:pt x="14965" y="6634"/>
                  <a:pt x="14965" y="6634"/>
                </a:cubicBezTo>
                <a:close/>
                <a:moveTo>
                  <a:pt x="4552" y="17048"/>
                </a:moveTo>
                <a:lnTo>
                  <a:pt x="12883" y="12883"/>
                </a:lnTo>
                <a:lnTo>
                  <a:pt x="17048" y="4551"/>
                </a:lnTo>
                <a:lnTo>
                  <a:pt x="8717" y="8717"/>
                </a:lnTo>
                <a:cubicBezTo>
                  <a:pt x="8717" y="8717"/>
                  <a:pt x="4552" y="17048"/>
                  <a:pt x="4552" y="17048"/>
                </a:cubicBezTo>
                <a:close/>
                <a:moveTo>
                  <a:pt x="11494" y="11494"/>
                </a:moveTo>
                <a:cubicBezTo>
                  <a:pt x="11877" y="11111"/>
                  <a:pt x="11877" y="10489"/>
                  <a:pt x="11494" y="10106"/>
                </a:cubicBezTo>
                <a:cubicBezTo>
                  <a:pt x="11111" y="9722"/>
                  <a:pt x="10489" y="9722"/>
                  <a:pt x="10106" y="10106"/>
                </a:cubicBezTo>
                <a:cubicBezTo>
                  <a:pt x="9723" y="10489"/>
                  <a:pt x="9723" y="11111"/>
                  <a:pt x="10106" y="11494"/>
                </a:cubicBezTo>
                <a:cubicBezTo>
                  <a:pt x="10489" y="11878"/>
                  <a:pt x="11111" y="11878"/>
                  <a:pt x="11494" y="1149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8" name="Shape 2938"/>
          <p:cNvSpPr/>
          <p:nvPr/>
        </p:nvSpPr>
        <p:spPr>
          <a:xfrm>
            <a:off x="2260427"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20458"/>
                </a:moveTo>
                <a:lnTo>
                  <a:pt x="14727" y="18775"/>
                </a:lnTo>
                <a:lnTo>
                  <a:pt x="14727" y="1142"/>
                </a:lnTo>
                <a:lnTo>
                  <a:pt x="20618" y="2825"/>
                </a:lnTo>
                <a:cubicBezTo>
                  <a:pt x="20618" y="2825"/>
                  <a:pt x="20618" y="20458"/>
                  <a:pt x="20618" y="20458"/>
                </a:cubicBezTo>
                <a:close/>
                <a:moveTo>
                  <a:pt x="13745" y="18775"/>
                </a:moveTo>
                <a:lnTo>
                  <a:pt x="7855" y="20458"/>
                </a:ln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2" y="1990"/>
                </a:moveTo>
                <a:lnTo>
                  <a:pt x="21244" y="1983"/>
                </a:lnTo>
                <a:lnTo>
                  <a:pt x="14371" y="19"/>
                </a:lnTo>
                <a:lnTo>
                  <a:pt x="14369" y="27"/>
                </a:lnTo>
                <a:cubicBezTo>
                  <a:pt x="14326" y="14"/>
                  <a:pt x="14284" y="0"/>
                  <a:pt x="14236" y="0"/>
                </a:cubicBezTo>
                <a:cubicBezTo>
                  <a:pt x="14189" y="0"/>
                  <a:pt x="14147" y="14"/>
                  <a:pt x="14104" y="27"/>
                </a:cubicBezTo>
                <a:lnTo>
                  <a:pt x="14102" y="19"/>
                </a:lnTo>
                <a:lnTo>
                  <a:pt x="7364" y="1944"/>
                </a:lnTo>
                <a:lnTo>
                  <a:pt x="626" y="19"/>
                </a:lnTo>
                <a:lnTo>
                  <a:pt x="623" y="27"/>
                </a:lnTo>
                <a:cubicBezTo>
                  <a:pt x="581" y="14"/>
                  <a:pt x="538" y="0"/>
                  <a:pt x="491" y="0"/>
                </a:cubicBezTo>
                <a:cubicBezTo>
                  <a:pt x="220" y="0"/>
                  <a:pt x="0" y="220"/>
                  <a:pt x="0" y="491"/>
                </a:cubicBezTo>
                <a:lnTo>
                  <a:pt x="0" y="19145"/>
                </a:lnTo>
                <a:cubicBezTo>
                  <a:pt x="0" y="19370"/>
                  <a:pt x="153" y="19551"/>
                  <a:pt x="358" y="19610"/>
                </a:cubicBezTo>
                <a:lnTo>
                  <a:pt x="356" y="19618"/>
                </a:lnTo>
                <a:lnTo>
                  <a:pt x="7229" y="21581"/>
                </a:lnTo>
                <a:lnTo>
                  <a:pt x="7231" y="21573"/>
                </a:lnTo>
                <a:cubicBezTo>
                  <a:pt x="7274" y="21586"/>
                  <a:pt x="7316" y="21600"/>
                  <a:pt x="7364" y="21600"/>
                </a:cubicBezTo>
                <a:cubicBezTo>
                  <a:pt x="7411" y="21600"/>
                  <a:pt x="7454"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2" y="199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39" name="Shape 2939"/>
          <p:cNvSpPr/>
          <p:nvPr/>
        </p:nvSpPr>
        <p:spPr>
          <a:xfrm>
            <a:off x="2660374"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547" y="12509"/>
                </a:moveTo>
                <a:lnTo>
                  <a:pt x="18520" y="12645"/>
                </a:lnTo>
                <a:cubicBezTo>
                  <a:pt x="18572" y="12276"/>
                  <a:pt x="18589" y="11922"/>
                  <a:pt x="18572" y="11593"/>
                </a:cubicBezTo>
                <a:lnTo>
                  <a:pt x="17592" y="11644"/>
                </a:lnTo>
                <a:cubicBezTo>
                  <a:pt x="17606" y="11910"/>
                  <a:pt x="17591" y="12201"/>
                  <a:pt x="17547" y="12509"/>
                </a:cubicBezTo>
                <a:moveTo>
                  <a:pt x="17444" y="10833"/>
                </a:moveTo>
                <a:lnTo>
                  <a:pt x="18374" y="10520"/>
                </a:lnTo>
                <a:cubicBezTo>
                  <a:pt x="18262" y="10187"/>
                  <a:pt x="18104" y="9869"/>
                  <a:pt x="17890" y="9546"/>
                </a:cubicBezTo>
                <a:lnTo>
                  <a:pt x="17072" y="10089"/>
                </a:lnTo>
                <a:cubicBezTo>
                  <a:pt x="17237" y="10339"/>
                  <a:pt x="17359" y="10582"/>
                  <a:pt x="17444" y="10833"/>
                </a:cubicBezTo>
                <a:moveTo>
                  <a:pt x="17529" y="13890"/>
                </a:moveTo>
                <a:cubicBezTo>
                  <a:pt x="17440" y="13801"/>
                  <a:pt x="17317" y="13745"/>
                  <a:pt x="17182" y="13745"/>
                </a:cubicBezTo>
                <a:cubicBezTo>
                  <a:pt x="16910" y="13745"/>
                  <a:pt x="16691" y="13965"/>
                  <a:pt x="16691" y="14236"/>
                </a:cubicBezTo>
                <a:cubicBezTo>
                  <a:pt x="16691" y="14372"/>
                  <a:pt x="16746" y="14495"/>
                  <a:pt x="16835" y="14583"/>
                </a:cubicBezTo>
                <a:lnTo>
                  <a:pt x="17469" y="15218"/>
                </a:lnTo>
                <a:lnTo>
                  <a:pt x="16835" y="15853"/>
                </a:lnTo>
                <a:cubicBezTo>
                  <a:pt x="16746" y="15942"/>
                  <a:pt x="16691" y="16064"/>
                  <a:pt x="16691" y="16200"/>
                </a:cubicBezTo>
                <a:cubicBezTo>
                  <a:pt x="16691" y="16471"/>
                  <a:pt x="16910" y="16691"/>
                  <a:pt x="17182" y="16691"/>
                </a:cubicBezTo>
                <a:cubicBezTo>
                  <a:pt x="17317" y="16691"/>
                  <a:pt x="17440" y="16636"/>
                  <a:pt x="17529" y="16547"/>
                </a:cubicBezTo>
                <a:lnTo>
                  <a:pt x="18164" y="15912"/>
                </a:lnTo>
                <a:lnTo>
                  <a:pt x="18798" y="16547"/>
                </a:lnTo>
                <a:cubicBezTo>
                  <a:pt x="18887" y="16636"/>
                  <a:pt x="19010" y="16691"/>
                  <a:pt x="19145" y="16691"/>
                </a:cubicBezTo>
                <a:cubicBezTo>
                  <a:pt x="19417" y="16691"/>
                  <a:pt x="19636" y="16471"/>
                  <a:pt x="19636" y="16200"/>
                </a:cubicBezTo>
                <a:cubicBezTo>
                  <a:pt x="19636" y="16064"/>
                  <a:pt x="19582" y="15942"/>
                  <a:pt x="19493" y="15853"/>
                </a:cubicBezTo>
                <a:lnTo>
                  <a:pt x="18858" y="15218"/>
                </a:lnTo>
                <a:lnTo>
                  <a:pt x="19493" y="14583"/>
                </a:lnTo>
                <a:cubicBezTo>
                  <a:pt x="19582" y="14495"/>
                  <a:pt x="19636" y="14372"/>
                  <a:pt x="19636" y="14236"/>
                </a:cubicBezTo>
                <a:cubicBezTo>
                  <a:pt x="19636" y="13965"/>
                  <a:pt x="19417" y="13745"/>
                  <a:pt x="19145" y="13745"/>
                </a:cubicBezTo>
                <a:cubicBezTo>
                  <a:pt x="19009" y="13745"/>
                  <a:pt x="18887" y="13801"/>
                  <a:pt x="18798" y="13890"/>
                </a:cubicBezTo>
                <a:lnTo>
                  <a:pt x="18164" y="14524"/>
                </a:lnTo>
                <a:cubicBezTo>
                  <a:pt x="18164" y="14524"/>
                  <a:pt x="17529" y="13890"/>
                  <a:pt x="17529" y="13890"/>
                </a:cubicBezTo>
                <a:close/>
                <a:moveTo>
                  <a:pt x="20618" y="20458"/>
                </a:moveTo>
                <a:lnTo>
                  <a:pt x="14727" y="18775"/>
                </a:lnTo>
                <a:lnTo>
                  <a:pt x="14727" y="7698"/>
                </a:lnTo>
                <a:cubicBezTo>
                  <a:pt x="14950" y="7802"/>
                  <a:pt x="15155" y="7914"/>
                  <a:pt x="15324" y="8034"/>
                </a:cubicBezTo>
                <a:lnTo>
                  <a:pt x="15893" y="7234"/>
                </a:lnTo>
                <a:cubicBezTo>
                  <a:pt x="15627" y="7044"/>
                  <a:pt x="15313" y="6872"/>
                  <a:pt x="14959" y="6721"/>
                </a:cubicBezTo>
                <a:lnTo>
                  <a:pt x="14727" y="7263"/>
                </a:lnTo>
                <a:lnTo>
                  <a:pt x="14727" y="1142"/>
                </a:lnTo>
                <a:lnTo>
                  <a:pt x="20618" y="2825"/>
                </a:lnTo>
                <a:cubicBezTo>
                  <a:pt x="20618" y="2825"/>
                  <a:pt x="20618" y="20458"/>
                  <a:pt x="20618" y="20458"/>
                </a:cubicBezTo>
                <a:close/>
                <a:moveTo>
                  <a:pt x="13745" y="18775"/>
                </a:moveTo>
                <a:lnTo>
                  <a:pt x="7855" y="20458"/>
                </a:lnTo>
                <a:lnTo>
                  <a:pt x="7855" y="9347"/>
                </a:lnTo>
                <a:lnTo>
                  <a:pt x="8249" y="10199"/>
                </a:lnTo>
                <a:cubicBezTo>
                  <a:pt x="8580" y="10045"/>
                  <a:pt x="8881" y="9843"/>
                  <a:pt x="9168" y="9581"/>
                </a:cubicBezTo>
                <a:lnTo>
                  <a:pt x="8505" y="8857"/>
                </a:lnTo>
                <a:cubicBezTo>
                  <a:pt x="8297" y="9048"/>
                  <a:pt x="8088" y="9187"/>
                  <a:pt x="7855" y="9299"/>
                </a:cubicBezTo>
                <a:lnTo>
                  <a:pt x="7855" y="2825"/>
                </a:lnTo>
                <a:lnTo>
                  <a:pt x="13745" y="1142"/>
                </a:lnTo>
                <a:cubicBezTo>
                  <a:pt x="13745" y="1142"/>
                  <a:pt x="13745" y="18775"/>
                  <a:pt x="13745" y="18775"/>
                </a:cubicBezTo>
                <a:close/>
                <a:moveTo>
                  <a:pt x="6873" y="20458"/>
                </a:moveTo>
                <a:lnTo>
                  <a:pt x="982" y="18775"/>
                </a:lnTo>
                <a:lnTo>
                  <a:pt x="982" y="1142"/>
                </a:lnTo>
                <a:lnTo>
                  <a:pt x="6873" y="2825"/>
                </a:lnTo>
                <a:cubicBezTo>
                  <a:pt x="6873" y="2825"/>
                  <a:pt x="6873" y="20458"/>
                  <a:pt x="6873" y="20458"/>
                </a:cubicBezTo>
                <a:close/>
                <a:moveTo>
                  <a:pt x="21241" y="1990"/>
                </a:moveTo>
                <a:lnTo>
                  <a:pt x="21244" y="1983"/>
                </a:lnTo>
                <a:lnTo>
                  <a:pt x="14372" y="19"/>
                </a:lnTo>
                <a:lnTo>
                  <a:pt x="14369" y="27"/>
                </a:lnTo>
                <a:cubicBezTo>
                  <a:pt x="14326" y="14"/>
                  <a:pt x="14283" y="0"/>
                  <a:pt x="14236" y="0"/>
                </a:cubicBezTo>
                <a:cubicBezTo>
                  <a:pt x="14189" y="0"/>
                  <a:pt x="14147" y="14"/>
                  <a:pt x="14104" y="27"/>
                </a:cubicBezTo>
                <a:lnTo>
                  <a:pt x="14102" y="19"/>
                </a:lnTo>
                <a:lnTo>
                  <a:pt x="7364" y="1944"/>
                </a:lnTo>
                <a:lnTo>
                  <a:pt x="626" y="19"/>
                </a:lnTo>
                <a:lnTo>
                  <a:pt x="623" y="27"/>
                </a:lnTo>
                <a:cubicBezTo>
                  <a:pt x="580" y="14"/>
                  <a:pt x="538" y="0"/>
                  <a:pt x="491" y="0"/>
                </a:cubicBezTo>
                <a:cubicBezTo>
                  <a:pt x="220" y="0"/>
                  <a:pt x="0" y="220"/>
                  <a:pt x="0" y="491"/>
                </a:cubicBezTo>
                <a:lnTo>
                  <a:pt x="0" y="19145"/>
                </a:lnTo>
                <a:cubicBezTo>
                  <a:pt x="0" y="19370"/>
                  <a:pt x="153" y="19551"/>
                  <a:pt x="359" y="19610"/>
                </a:cubicBezTo>
                <a:lnTo>
                  <a:pt x="356" y="19618"/>
                </a:lnTo>
                <a:lnTo>
                  <a:pt x="7228" y="21581"/>
                </a:lnTo>
                <a:lnTo>
                  <a:pt x="7231" y="21573"/>
                </a:lnTo>
                <a:cubicBezTo>
                  <a:pt x="7274" y="21586"/>
                  <a:pt x="7317" y="21600"/>
                  <a:pt x="7364" y="21600"/>
                </a:cubicBezTo>
                <a:cubicBezTo>
                  <a:pt x="7411" y="21600"/>
                  <a:pt x="7453" y="21586"/>
                  <a:pt x="7496" y="21573"/>
                </a:cubicBezTo>
                <a:lnTo>
                  <a:pt x="7499" y="21581"/>
                </a:lnTo>
                <a:lnTo>
                  <a:pt x="14236" y="19656"/>
                </a:lnTo>
                <a:lnTo>
                  <a:pt x="20975" y="21581"/>
                </a:lnTo>
                <a:lnTo>
                  <a:pt x="20977" y="21573"/>
                </a:lnTo>
                <a:cubicBezTo>
                  <a:pt x="21020" y="21586"/>
                  <a:pt x="21062" y="21600"/>
                  <a:pt x="21109" y="21600"/>
                </a:cubicBezTo>
                <a:cubicBezTo>
                  <a:pt x="21380" y="21600"/>
                  <a:pt x="21600" y="21380"/>
                  <a:pt x="21600" y="21109"/>
                </a:cubicBezTo>
                <a:lnTo>
                  <a:pt x="21600" y="2455"/>
                </a:lnTo>
                <a:cubicBezTo>
                  <a:pt x="21600" y="2231"/>
                  <a:pt x="21447" y="2049"/>
                  <a:pt x="21241" y="1990"/>
                </a:cubicBezTo>
                <a:moveTo>
                  <a:pt x="16435" y="9275"/>
                </a:moveTo>
                <a:lnTo>
                  <a:pt x="16518" y="9374"/>
                </a:lnTo>
                <a:lnTo>
                  <a:pt x="17269" y="8740"/>
                </a:lnTo>
                <a:lnTo>
                  <a:pt x="17184" y="8640"/>
                </a:lnTo>
                <a:cubicBezTo>
                  <a:pt x="17013" y="8438"/>
                  <a:pt x="16840" y="8236"/>
                  <a:pt x="16677" y="8019"/>
                </a:cubicBezTo>
                <a:lnTo>
                  <a:pt x="15891" y="8606"/>
                </a:lnTo>
                <a:cubicBezTo>
                  <a:pt x="16066" y="8840"/>
                  <a:pt x="16251" y="9059"/>
                  <a:pt x="16435" y="9275"/>
                </a:cubicBezTo>
                <a:moveTo>
                  <a:pt x="6270" y="11022"/>
                </a:moveTo>
                <a:lnTo>
                  <a:pt x="5739" y="10196"/>
                </a:lnTo>
                <a:cubicBezTo>
                  <a:pt x="5432" y="10394"/>
                  <a:pt x="5153" y="10605"/>
                  <a:pt x="4909" y="10825"/>
                </a:cubicBezTo>
                <a:lnTo>
                  <a:pt x="5568" y="11554"/>
                </a:lnTo>
                <a:cubicBezTo>
                  <a:pt x="5772" y="11370"/>
                  <a:pt x="6008" y="11191"/>
                  <a:pt x="6270" y="11022"/>
                </a:cubicBezTo>
                <a:moveTo>
                  <a:pt x="5004" y="12185"/>
                </a:moveTo>
                <a:lnTo>
                  <a:pt x="4196" y="11628"/>
                </a:lnTo>
                <a:cubicBezTo>
                  <a:pt x="3975" y="11949"/>
                  <a:pt x="3812" y="12288"/>
                  <a:pt x="3713" y="12634"/>
                </a:cubicBezTo>
                <a:lnTo>
                  <a:pt x="4656" y="12906"/>
                </a:lnTo>
                <a:cubicBezTo>
                  <a:pt x="4727" y="12661"/>
                  <a:pt x="4844" y="12418"/>
                  <a:pt x="5004" y="12185"/>
                </a:cubicBezTo>
                <a:moveTo>
                  <a:pt x="10467" y="8318"/>
                </a:moveTo>
                <a:lnTo>
                  <a:pt x="9972" y="7470"/>
                </a:lnTo>
                <a:cubicBezTo>
                  <a:pt x="9623" y="7674"/>
                  <a:pt x="9362" y="7936"/>
                  <a:pt x="9132" y="8189"/>
                </a:cubicBezTo>
                <a:lnTo>
                  <a:pt x="9857" y="8850"/>
                </a:lnTo>
                <a:cubicBezTo>
                  <a:pt x="10063" y="8624"/>
                  <a:pt x="10245" y="8448"/>
                  <a:pt x="10467" y="8318"/>
                </a:cubicBezTo>
                <a:moveTo>
                  <a:pt x="3927" y="15709"/>
                </a:moveTo>
                <a:cubicBezTo>
                  <a:pt x="4469" y="15709"/>
                  <a:pt x="4909" y="15270"/>
                  <a:pt x="4909" y="14727"/>
                </a:cubicBezTo>
                <a:cubicBezTo>
                  <a:pt x="4909" y="14185"/>
                  <a:pt x="4469" y="13745"/>
                  <a:pt x="3927" y="13745"/>
                </a:cubicBezTo>
                <a:cubicBezTo>
                  <a:pt x="3385" y="13745"/>
                  <a:pt x="2945" y="14185"/>
                  <a:pt x="2945" y="14727"/>
                </a:cubicBezTo>
                <a:cubicBezTo>
                  <a:pt x="2945" y="15270"/>
                  <a:pt x="3385" y="15709"/>
                  <a:pt x="3927" y="15709"/>
                </a:cubicBezTo>
                <a:moveTo>
                  <a:pt x="12273" y="7855"/>
                </a:moveTo>
                <a:cubicBezTo>
                  <a:pt x="12815" y="7855"/>
                  <a:pt x="13255" y="7415"/>
                  <a:pt x="13255" y="6873"/>
                </a:cubicBezTo>
                <a:cubicBezTo>
                  <a:pt x="13255" y="6331"/>
                  <a:pt x="12815" y="5891"/>
                  <a:pt x="12273" y="5891"/>
                </a:cubicBezTo>
                <a:cubicBezTo>
                  <a:pt x="11730" y="5891"/>
                  <a:pt x="11291" y="6331"/>
                  <a:pt x="11291" y="6873"/>
                </a:cubicBezTo>
                <a:cubicBezTo>
                  <a:pt x="11291" y="7415"/>
                  <a:pt x="11730" y="7855"/>
                  <a:pt x="12273" y="78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0" name="Shape 2940"/>
          <p:cNvSpPr/>
          <p:nvPr/>
        </p:nvSpPr>
        <p:spPr>
          <a:xfrm>
            <a:off x="3060320"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8345"/>
                </a:moveTo>
                <a:cubicBezTo>
                  <a:pt x="9444" y="8345"/>
                  <a:pt x="8345" y="9444"/>
                  <a:pt x="8345" y="10800"/>
                </a:cubicBezTo>
                <a:cubicBezTo>
                  <a:pt x="8345" y="12156"/>
                  <a:pt x="9444" y="13255"/>
                  <a:pt x="10800" y="13255"/>
                </a:cubicBezTo>
                <a:cubicBezTo>
                  <a:pt x="12156" y="13255"/>
                  <a:pt x="13255" y="12156"/>
                  <a:pt x="13255" y="10800"/>
                </a:cubicBezTo>
                <a:cubicBezTo>
                  <a:pt x="13255" y="9444"/>
                  <a:pt x="12156" y="8345"/>
                  <a:pt x="10800" y="8345"/>
                </a:cubicBezTo>
                <a:moveTo>
                  <a:pt x="11291" y="20593"/>
                </a:moveTo>
                <a:lnTo>
                  <a:pt x="11291" y="17182"/>
                </a:lnTo>
                <a:cubicBezTo>
                  <a:pt x="11291" y="16910"/>
                  <a:pt x="11071" y="16691"/>
                  <a:pt x="10800" y="16691"/>
                </a:cubicBezTo>
                <a:cubicBezTo>
                  <a:pt x="10529" y="16691"/>
                  <a:pt x="10309" y="16910"/>
                  <a:pt x="10309" y="17182"/>
                </a:cubicBezTo>
                <a:lnTo>
                  <a:pt x="10309" y="20593"/>
                </a:lnTo>
                <a:cubicBezTo>
                  <a:pt x="5280" y="20344"/>
                  <a:pt x="1255" y="16319"/>
                  <a:pt x="1006" y="11291"/>
                </a:cubicBezTo>
                <a:lnTo>
                  <a:pt x="4418" y="11291"/>
                </a:lnTo>
                <a:cubicBezTo>
                  <a:pt x="4690" y="11291"/>
                  <a:pt x="4909" y="11071"/>
                  <a:pt x="4909" y="10800"/>
                </a:cubicBezTo>
                <a:cubicBezTo>
                  <a:pt x="4909" y="10529"/>
                  <a:pt x="4690" y="10309"/>
                  <a:pt x="4418" y="10309"/>
                </a:cubicBezTo>
                <a:lnTo>
                  <a:pt x="1006" y="10309"/>
                </a:lnTo>
                <a:cubicBezTo>
                  <a:pt x="1255" y="5281"/>
                  <a:pt x="5280" y="1256"/>
                  <a:pt x="10309" y="1007"/>
                </a:cubicBezTo>
                <a:lnTo>
                  <a:pt x="10309" y="4418"/>
                </a:lnTo>
                <a:cubicBezTo>
                  <a:pt x="10309" y="4690"/>
                  <a:pt x="10529" y="4909"/>
                  <a:pt x="10800" y="4909"/>
                </a:cubicBezTo>
                <a:cubicBezTo>
                  <a:pt x="11071" y="4909"/>
                  <a:pt x="11291" y="4690"/>
                  <a:pt x="11291" y="4418"/>
                </a:cubicBezTo>
                <a:lnTo>
                  <a:pt x="11291" y="1007"/>
                </a:lnTo>
                <a:cubicBezTo>
                  <a:pt x="16320" y="1256"/>
                  <a:pt x="20345" y="5281"/>
                  <a:pt x="20594" y="10309"/>
                </a:cubicBezTo>
                <a:lnTo>
                  <a:pt x="17182" y="10309"/>
                </a:lnTo>
                <a:cubicBezTo>
                  <a:pt x="16910" y="10309"/>
                  <a:pt x="16691" y="10529"/>
                  <a:pt x="16691" y="10800"/>
                </a:cubicBezTo>
                <a:cubicBezTo>
                  <a:pt x="16691" y="11071"/>
                  <a:pt x="16910" y="11291"/>
                  <a:pt x="17182" y="11291"/>
                </a:cubicBezTo>
                <a:lnTo>
                  <a:pt x="20594" y="11291"/>
                </a:lnTo>
                <a:cubicBezTo>
                  <a:pt x="20345" y="16319"/>
                  <a:pt x="16320" y="20344"/>
                  <a:pt x="11291" y="20593"/>
                </a:cubicBezTo>
                <a:moveTo>
                  <a:pt x="10800" y="0"/>
                </a:moveTo>
                <a:cubicBezTo>
                  <a:pt x="10800" y="0"/>
                  <a:pt x="10800" y="0"/>
                  <a:pt x="10800" y="0"/>
                </a:cubicBezTo>
                <a:cubicBezTo>
                  <a:pt x="10800" y="0"/>
                  <a:pt x="10800" y="0"/>
                  <a:pt x="10800" y="0"/>
                </a:cubicBezTo>
                <a:cubicBezTo>
                  <a:pt x="4835" y="0"/>
                  <a:pt x="0" y="4836"/>
                  <a:pt x="0" y="10800"/>
                </a:cubicBezTo>
                <a:cubicBezTo>
                  <a:pt x="0" y="16765"/>
                  <a:pt x="4835" y="21600"/>
                  <a:pt x="10800" y="21600"/>
                </a:cubicBezTo>
                <a:cubicBezTo>
                  <a:pt x="16765" y="21600"/>
                  <a:pt x="21600" y="16765"/>
                  <a:pt x="21600" y="10800"/>
                </a:cubicBezTo>
                <a:cubicBezTo>
                  <a:pt x="21600" y="4836"/>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1" name="Shape 2941"/>
          <p:cNvSpPr/>
          <p:nvPr/>
        </p:nvSpPr>
        <p:spPr>
          <a:xfrm>
            <a:off x="3460265" y="2471921"/>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1291" y="20593"/>
                </a:moveTo>
                <a:lnTo>
                  <a:pt x="11291" y="17648"/>
                </a:lnTo>
                <a:cubicBezTo>
                  <a:pt x="14694" y="17407"/>
                  <a:pt x="17408" y="14693"/>
                  <a:pt x="17649" y="11291"/>
                </a:cubicBezTo>
                <a:lnTo>
                  <a:pt x="20594" y="11291"/>
                </a:lnTo>
                <a:cubicBezTo>
                  <a:pt x="20345" y="16319"/>
                  <a:pt x="16320" y="20344"/>
                  <a:pt x="11291" y="20593"/>
                </a:cubicBezTo>
                <a:moveTo>
                  <a:pt x="11291" y="13205"/>
                </a:moveTo>
                <a:cubicBezTo>
                  <a:pt x="12252" y="13010"/>
                  <a:pt x="13005" y="12252"/>
                  <a:pt x="13201" y="11291"/>
                </a:cubicBezTo>
                <a:lnTo>
                  <a:pt x="16667" y="11291"/>
                </a:lnTo>
                <a:cubicBezTo>
                  <a:pt x="16431" y="14152"/>
                  <a:pt x="14152" y="16429"/>
                  <a:pt x="11291" y="16666"/>
                </a:cubicBezTo>
                <a:cubicBezTo>
                  <a:pt x="11291" y="16666"/>
                  <a:pt x="11291" y="13205"/>
                  <a:pt x="11291" y="13205"/>
                </a:cubicBezTo>
                <a:close/>
                <a:moveTo>
                  <a:pt x="11291" y="4934"/>
                </a:moveTo>
                <a:cubicBezTo>
                  <a:pt x="12233" y="5012"/>
                  <a:pt x="13111" y="5315"/>
                  <a:pt x="13875" y="5784"/>
                </a:cubicBezTo>
                <a:cubicBezTo>
                  <a:pt x="13793" y="5967"/>
                  <a:pt x="13745" y="6168"/>
                  <a:pt x="13745" y="6382"/>
                </a:cubicBezTo>
                <a:cubicBezTo>
                  <a:pt x="13745" y="7195"/>
                  <a:pt x="14405" y="7855"/>
                  <a:pt x="15218" y="7855"/>
                </a:cubicBezTo>
                <a:cubicBezTo>
                  <a:pt x="15432" y="7855"/>
                  <a:pt x="15633" y="7807"/>
                  <a:pt x="15816" y="7725"/>
                </a:cubicBezTo>
                <a:cubicBezTo>
                  <a:pt x="16286" y="8489"/>
                  <a:pt x="16589" y="9367"/>
                  <a:pt x="16667" y="10309"/>
                </a:cubicBezTo>
                <a:lnTo>
                  <a:pt x="13201" y="10309"/>
                </a:lnTo>
                <a:cubicBezTo>
                  <a:pt x="13005" y="9348"/>
                  <a:pt x="12252" y="8590"/>
                  <a:pt x="11291" y="8395"/>
                </a:cubicBezTo>
                <a:cubicBezTo>
                  <a:pt x="11291" y="8395"/>
                  <a:pt x="11291" y="4934"/>
                  <a:pt x="11291" y="4934"/>
                </a:cubicBezTo>
                <a:close/>
                <a:moveTo>
                  <a:pt x="11291" y="1007"/>
                </a:moveTo>
                <a:cubicBezTo>
                  <a:pt x="16320" y="1256"/>
                  <a:pt x="20345" y="5281"/>
                  <a:pt x="20594" y="10309"/>
                </a:cubicBezTo>
                <a:lnTo>
                  <a:pt x="17649" y="10309"/>
                </a:lnTo>
                <a:cubicBezTo>
                  <a:pt x="17563" y="9102"/>
                  <a:pt x="17162" y="7985"/>
                  <a:pt x="16534" y="7031"/>
                </a:cubicBezTo>
                <a:cubicBezTo>
                  <a:pt x="16631" y="6835"/>
                  <a:pt x="16691" y="6616"/>
                  <a:pt x="16691" y="6382"/>
                </a:cubicBezTo>
                <a:cubicBezTo>
                  <a:pt x="16691" y="5569"/>
                  <a:pt x="16032" y="4909"/>
                  <a:pt x="15218" y="4909"/>
                </a:cubicBezTo>
                <a:cubicBezTo>
                  <a:pt x="14984" y="4909"/>
                  <a:pt x="14765" y="4969"/>
                  <a:pt x="14568" y="5066"/>
                </a:cubicBezTo>
                <a:cubicBezTo>
                  <a:pt x="13614" y="4439"/>
                  <a:pt x="12498" y="4038"/>
                  <a:pt x="11291" y="3952"/>
                </a:cubicBezTo>
                <a:cubicBezTo>
                  <a:pt x="11291" y="3952"/>
                  <a:pt x="11291" y="1007"/>
                  <a:pt x="11291" y="1007"/>
                </a:cubicBezTo>
                <a:close/>
                <a:moveTo>
                  <a:pt x="10309" y="3949"/>
                </a:moveTo>
                <a:cubicBezTo>
                  <a:pt x="7225" y="4167"/>
                  <a:pt x="4703" y="6417"/>
                  <a:pt x="4078" y="9370"/>
                </a:cubicBezTo>
                <a:cubicBezTo>
                  <a:pt x="3590" y="9486"/>
                  <a:pt x="3196" y="9843"/>
                  <a:pt x="3030" y="10309"/>
                </a:cubicBezTo>
                <a:lnTo>
                  <a:pt x="1006" y="10309"/>
                </a:lnTo>
                <a:cubicBezTo>
                  <a:pt x="1255" y="5281"/>
                  <a:pt x="5280" y="1256"/>
                  <a:pt x="10309" y="1007"/>
                </a:cubicBezTo>
                <a:cubicBezTo>
                  <a:pt x="10309" y="1007"/>
                  <a:pt x="10309" y="3949"/>
                  <a:pt x="10309" y="3949"/>
                </a:cubicBezTo>
                <a:close/>
                <a:moveTo>
                  <a:pt x="10309" y="8395"/>
                </a:moveTo>
                <a:cubicBezTo>
                  <a:pt x="9348" y="8590"/>
                  <a:pt x="8595" y="9348"/>
                  <a:pt x="8399" y="10309"/>
                </a:cubicBezTo>
                <a:lnTo>
                  <a:pt x="5796" y="10309"/>
                </a:lnTo>
                <a:cubicBezTo>
                  <a:pt x="5666" y="9948"/>
                  <a:pt x="5405" y="9649"/>
                  <a:pt x="5062" y="9482"/>
                </a:cubicBezTo>
                <a:cubicBezTo>
                  <a:pt x="5626" y="7018"/>
                  <a:pt x="7730" y="5144"/>
                  <a:pt x="10309" y="4930"/>
                </a:cubicBezTo>
                <a:cubicBezTo>
                  <a:pt x="10309" y="4930"/>
                  <a:pt x="10309" y="8395"/>
                  <a:pt x="10309" y="8395"/>
                </a:cubicBezTo>
                <a:close/>
                <a:moveTo>
                  <a:pt x="10309" y="16670"/>
                </a:moveTo>
                <a:cubicBezTo>
                  <a:pt x="7730" y="16456"/>
                  <a:pt x="5626" y="14582"/>
                  <a:pt x="5062" y="12118"/>
                </a:cubicBezTo>
                <a:cubicBezTo>
                  <a:pt x="5405" y="11951"/>
                  <a:pt x="5666" y="11652"/>
                  <a:pt x="5796" y="11291"/>
                </a:cubicBezTo>
                <a:lnTo>
                  <a:pt x="8399" y="11291"/>
                </a:lnTo>
                <a:cubicBezTo>
                  <a:pt x="8595" y="12252"/>
                  <a:pt x="9348" y="13010"/>
                  <a:pt x="10309" y="13205"/>
                </a:cubicBezTo>
                <a:cubicBezTo>
                  <a:pt x="10309" y="13205"/>
                  <a:pt x="10309" y="16670"/>
                  <a:pt x="10309" y="16670"/>
                </a:cubicBezTo>
                <a:close/>
                <a:moveTo>
                  <a:pt x="10309" y="20593"/>
                </a:moveTo>
                <a:cubicBezTo>
                  <a:pt x="5280" y="20344"/>
                  <a:pt x="1255" y="16319"/>
                  <a:pt x="1006" y="11291"/>
                </a:cubicBezTo>
                <a:lnTo>
                  <a:pt x="3030" y="11291"/>
                </a:lnTo>
                <a:cubicBezTo>
                  <a:pt x="3196" y="11757"/>
                  <a:pt x="3590" y="12114"/>
                  <a:pt x="4078" y="12230"/>
                </a:cubicBezTo>
                <a:cubicBezTo>
                  <a:pt x="4703" y="15183"/>
                  <a:pt x="7225" y="17434"/>
                  <a:pt x="10309" y="17651"/>
                </a:cubicBezTo>
                <a:cubicBezTo>
                  <a:pt x="10309" y="17651"/>
                  <a:pt x="10309" y="20593"/>
                  <a:pt x="10309" y="20593"/>
                </a:cubicBezTo>
                <a:close/>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2" name="Shape 2942"/>
          <p:cNvSpPr/>
          <p:nvPr/>
        </p:nvSpPr>
        <p:spPr>
          <a:xfrm>
            <a:off x="3879256"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20400" y="12524"/>
                </a:moveTo>
                <a:cubicBezTo>
                  <a:pt x="19362" y="12218"/>
                  <a:pt x="17455" y="11782"/>
                  <a:pt x="15000" y="11782"/>
                </a:cubicBezTo>
                <a:cubicBezTo>
                  <a:pt x="12625" y="11782"/>
                  <a:pt x="11514" y="12089"/>
                  <a:pt x="10534" y="12360"/>
                </a:cubicBezTo>
                <a:cubicBezTo>
                  <a:pt x="9751" y="12577"/>
                  <a:pt x="9076" y="12764"/>
                  <a:pt x="7800" y="12764"/>
                </a:cubicBezTo>
                <a:cubicBezTo>
                  <a:pt x="6097" y="12764"/>
                  <a:pt x="5268" y="12537"/>
                  <a:pt x="4390" y="12298"/>
                </a:cubicBezTo>
                <a:cubicBezTo>
                  <a:pt x="3564" y="12073"/>
                  <a:pt x="2709" y="11842"/>
                  <a:pt x="1200" y="11792"/>
                </a:cubicBezTo>
                <a:lnTo>
                  <a:pt x="1200" y="992"/>
                </a:lnTo>
                <a:cubicBezTo>
                  <a:pt x="2511" y="1038"/>
                  <a:pt x="3242" y="1238"/>
                  <a:pt x="4010" y="1448"/>
                </a:cubicBezTo>
                <a:cubicBezTo>
                  <a:pt x="4941" y="1701"/>
                  <a:pt x="5903" y="1964"/>
                  <a:pt x="7800" y="1964"/>
                </a:cubicBezTo>
                <a:cubicBezTo>
                  <a:pt x="9273" y="1964"/>
                  <a:pt x="10109" y="1733"/>
                  <a:pt x="10918" y="1508"/>
                </a:cubicBezTo>
                <a:cubicBezTo>
                  <a:pt x="11854" y="1250"/>
                  <a:pt x="12823" y="982"/>
                  <a:pt x="15000" y="982"/>
                </a:cubicBezTo>
                <a:cubicBezTo>
                  <a:pt x="17661" y="982"/>
                  <a:pt x="19648" y="1545"/>
                  <a:pt x="20400" y="1794"/>
                </a:cubicBezTo>
                <a:cubicBezTo>
                  <a:pt x="20400" y="1794"/>
                  <a:pt x="20400" y="12524"/>
                  <a:pt x="20400" y="12524"/>
                </a:cubicBezTo>
                <a:close/>
                <a:moveTo>
                  <a:pt x="21594" y="1473"/>
                </a:moveTo>
                <a:cubicBezTo>
                  <a:pt x="21594" y="1293"/>
                  <a:pt x="21478" y="1120"/>
                  <a:pt x="21268" y="1034"/>
                </a:cubicBezTo>
                <a:cubicBezTo>
                  <a:pt x="21165" y="991"/>
                  <a:pt x="18699" y="0"/>
                  <a:pt x="15000" y="0"/>
                </a:cubicBezTo>
                <a:cubicBezTo>
                  <a:pt x="12625" y="0"/>
                  <a:pt x="11514" y="308"/>
                  <a:pt x="10534" y="579"/>
                </a:cubicBezTo>
                <a:cubicBezTo>
                  <a:pt x="9751" y="795"/>
                  <a:pt x="9076" y="982"/>
                  <a:pt x="7800" y="982"/>
                </a:cubicBezTo>
                <a:cubicBezTo>
                  <a:pt x="6097" y="982"/>
                  <a:pt x="5268" y="756"/>
                  <a:pt x="4390" y="516"/>
                </a:cubicBezTo>
                <a:cubicBezTo>
                  <a:pt x="3459" y="263"/>
                  <a:pt x="2497" y="0"/>
                  <a:pt x="600" y="0"/>
                </a:cubicBezTo>
                <a:cubicBezTo>
                  <a:pt x="268" y="0"/>
                  <a:pt x="0" y="220"/>
                  <a:pt x="0" y="491"/>
                </a:cubicBezTo>
                <a:lnTo>
                  <a:pt x="0" y="21109"/>
                </a:lnTo>
                <a:cubicBezTo>
                  <a:pt x="0" y="21380"/>
                  <a:pt x="268" y="21600"/>
                  <a:pt x="600" y="21600"/>
                </a:cubicBezTo>
                <a:cubicBezTo>
                  <a:pt x="932" y="21600"/>
                  <a:pt x="1200" y="21380"/>
                  <a:pt x="1200" y="21109"/>
                </a:cubicBezTo>
                <a:lnTo>
                  <a:pt x="1200" y="12774"/>
                </a:lnTo>
                <a:cubicBezTo>
                  <a:pt x="2511" y="12820"/>
                  <a:pt x="3242" y="13020"/>
                  <a:pt x="4010" y="13230"/>
                </a:cubicBezTo>
                <a:cubicBezTo>
                  <a:pt x="4941" y="13483"/>
                  <a:pt x="5903" y="13745"/>
                  <a:pt x="7800" y="13745"/>
                </a:cubicBezTo>
                <a:cubicBezTo>
                  <a:pt x="9273" y="13745"/>
                  <a:pt x="10109" y="13514"/>
                  <a:pt x="10918" y="13291"/>
                </a:cubicBezTo>
                <a:cubicBezTo>
                  <a:pt x="11854" y="13031"/>
                  <a:pt x="12823" y="12764"/>
                  <a:pt x="15000" y="12764"/>
                </a:cubicBezTo>
                <a:cubicBezTo>
                  <a:pt x="18400" y="12764"/>
                  <a:pt x="20709" y="13685"/>
                  <a:pt x="20733" y="13694"/>
                </a:cubicBezTo>
                <a:cubicBezTo>
                  <a:pt x="21029" y="13814"/>
                  <a:pt x="21389" y="13716"/>
                  <a:pt x="21537" y="13473"/>
                </a:cubicBezTo>
                <a:cubicBezTo>
                  <a:pt x="21580" y="13403"/>
                  <a:pt x="21594" y="13328"/>
                  <a:pt x="21594" y="13255"/>
                </a:cubicBezTo>
                <a:lnTo>
                  <a:pt x="21600" y="13255"/>
                </a:lnTo>
                <a:lnTo>
                  <a:pt x="21600" y="1473"/>
                </a:lnTo>
                <a:cubicBezTo>
                  <a:pt x="21600" y="1473"/>
                  <a:pt x="21594" y="1473"/>
                  <a:pt x="21594" y="1473"/>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3" name="Shape 2943"/>
          <p:cNvSpPr/>
          <p:nvPr/>
        </p:nvSpPr>
        <p:spPr>
          <a:xfrm>
            <a:off x="4279201" y="2471921"/>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9600" y="11782"/>
                </a:moveTo>
                <a:lnTo>
                  <a:pt x="9600" y="10800"/>
                </a:lnTo>
                <a:lnTo>
                  <a:pt x="11400" y="10800"/>
                </a:lnTo>
                <a:cubicBezTo>
                  <a:pt x="11732" y="10800"/>
                  <a:pt x="12000" y="10580"/>
                  <a:pt x="12000" y="10309"/>
                </a:cubicBezTo>
                <a:lnTo>
                  <a:pt x="12000" y="2945"/>
                </a:lnTo>
                <a:lnTo>
                  <a:pt x="19940" y="2945"/>
                </a:lnTo>
                <a:lnTo>
                  <a:pt x="16886" y="7111"/>
                </a:lnTo>
                <a:lnTo>
                  <a:pt x="16894" y="7115"/>
                </a:lnTo>
                <a:cubicBezTo>
                  <a:pt x="16840" y="7189"/>
                  <a:pt x="16800" y="7272"/>
                  <a:pt x="16800" y="7364"/>
                </a:cubicBezTo>
                <a:cubicBezTo>
                  <a:pt x="16800" y="7457"/>
                  <a:pt x="16840" y="7538"/>
                  <a:pt x="16894" y="7612"/>
                </a:cubicBezTo>
                <a:lnTo>
                  <a:pt x="16886" y="7616"/>
                </a:lnTo>
                <a:lnTo>
                  <a:pt x="19940" y="11782"/>
                </a:lnTo>
                <a:cubicBezTo>
                  <a:pt x="19940" y="11782"/>
                  <a:pt x="9600" y="11782"/>
                  <a:pt x="9600" y="11782"/>
                </a:cubicBezTo>
                <a:close/>
                <a:moveTo>
                  <a:pt x="1200" y="982"/>
                </a:moveTo>
                <a:lnTo>
                  <a:pt x="10800" y="982"/>
                </a:lnTo>
                <a:lnTo>
                  <a:pt x="10800" y="9818"/>
                </a:lnTo>
                <a:lnTo>
                  <a:pt x="1200" y="9818"/>
                </a:lnTo>
                <a:cubicBezTo>
                  <a:pt x="1200" y="9818"/>
                  <a:pt x="1200" y="982"/>
                  <a:pt x="1200" y="982"/>
                </a:cubicBezTo>
                <a:close/>
                <a:moveTo>
                  <a:pt x="21514" y="12020"/>
                </a:moveTo>
                <a:lnTo>
                  <a:pt x="18100" y="7364"/>
                </a:lnTo>
                <a:lnTo>
                  <a:pt x="21514" y="2707"/>
                </a:lnTo>
                <a:lnTo>
                  <a:pt x="21506" y="2703"/>
                </a:lnTo>
                <a:cubicBezTo>
                  <a:pt x="21560" y="2629"/>
                  <a:pt x="21600" y="2547"/>
                  <a:pt x="21600" y="2455"/>
                </a:cubicBezTo>
                <a:cubicBezTo>
                  <a:pt x="21600" y="2183"/>
                  <a:pt x="21332" y="1964"/>
                  <a:pt x="21000" y="1964"/>
                </a:cubicBezTo>
                <a:lnTo>
                  <a:pt x="12000" y="1964"/>
                </a:lnTo>
                <a:lnTo>
                  <a:pt x="12000" y="491"/>
                </a:lnTo>
                <a:cubicBezTo>
                  <a:pt x="12000" y="220"/>
                  <a:pt x="11732" y="0"/>
                  <a:pt x="11400" y="0"/>
                </a:cubicBezTo>
                <a:lnTo>
                  <a:pt x="600" y="0"/>
                </a:lnTo>
                <a:cubicBezTo>
                  <a:pt x="268" y="0"/>
                  <a:pt x="0" y="220"/>
                  <a:pt x="0" y="491"/>
                </a:cubicBezTo>
                <a:lnTo>
                  <a:pt x="0" y="21109"/>
                </a:lnTo>
                <a:cubicBezTo>
                  <a:pt x="0" y="21380"/>
                  <a:pt x="268" y="21600"/>
                  <a:pt x="600" y="21600"/>
                </a:cubicBezTo>
                <a:cubicBezTo>
                  <a:pt x="932" y="21600"/>
                  <a:pt x="1200" y="21380"/>
                  <a:pt x="1200" y="21109"/>
                </a:cubicBezTo>
                <a:lnTo>
                  <a:pt x="1200" y="10800"/>
                </a:lnTo>
                <a:lnTo>
                  <a:pt x="8400" y="10800"/>
                </a:lnTo>
                <a:lnTo>
                  <a:pt x="8400" y="12273"/>
                </a:lnTo>
                <a:cubicBezTo>
                  <a:pt x="8400" y="12544"/>
                  <a:pt x="8668" y="12764"/>
                  <a:pt x="9000" y="12764"/>
                </a:cubicBezTo>
                <a:lnTo>
                  <a:pt x="21000" y="12764"/>
                </a:lnTo>
                <a:cubicBezTo>
                  <a:pt x="21332" y="12764"/>
                  <a:pt x="21600" y="12544"/>
                  <a:pt x="21600" y="12273"/>
                </a:cubicBezTo>
                <a:cubicBezTo>
                  <a:pt x="21600" y="12181"/>
                  <a:pt x="21560" y="12098"/>
                  <a:pt x="21506" y="12024"/>
                </a:cubicBezTo>
                <a:cubicBezTo>
                  <a:pt x="21506" y="12024"/>
                  <a:pt x="21514" y="12020"/>
                  <a:pt x="21514" y="1202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4" name="Shape 2944"/>
          <p:cNvSpPr/>
          <p:nvPr/>
        </p:nvSpPr>
        <p:spPr>
          <a:xfrm>
            <a:off x="4688671"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5" name="Shape 2945"/>
          <p:cNvSpPr/>
          <p:nvPr/>
        </p:nvSpPr>
        <p:spPr>
          <a:xfrm>
            <a:off x="5088616"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58" y="8342"/>
                </a:moveTo>
                <a:cubicBezTo>
                  <a:pt x="17614" y="6914"/>
                  <a:pt x="17383" y="5576"/>
                  <a:pt x="17008" y="4408"/>
                </a:cubicBezTo>
                <a:cubicBezTo>
                  <a:pt x="17543" y="4130"/>
                  <a:pt x="18018" y="3797"/>
                  <a:pt x="18435" y="3427"/>
                </a:cubicBezTo>
                <a:cubicBezTo>
                  <a:pt x="19673" y="4722"/>
                  <a:pt x="20474" y="6437"/>
                  <a:pt x="20593" y="8342"/>
                </a:cubicBezTo>
                <a:cubicBezTo>
                  <a:pt x="20593" y="8342"/>
                  <a:pt x="17658" y="8342"/>
                  <a:pt x="17658" y="8342"/>
                </a:cubicBezTo>
                <a:close/>
                <a:moveTo>
                  <a:pt x="15485" y="1482"/>
                </a:moveTo>
                <a:cubicBezTo>
                  <a:pt x="16306" y="1786"/>
                  <a:pt x="17058" y="2226"/>
                  <a:pt x="17723" y="2769"/>
                </a:cubicBezTo>
                <a:cubicBezTo>
                  <a:pt x="17412" y="3036"/>
                  <a:pt x="17056" y="3275"/>
                  <a:pt x="16666" y="3486"/>
                </a:cubicBezTo>
                <a:cubicBezTo>
                  <a:pt x="16337" y="2707"/>
                  <a:pt x="15939" y="2026"/>
                  <a:pt x="15485" y="1482"/>
                </a:cubicBezTo>
                <a:moveTo>
                  <a:pt x="12764" y="0"/>
                </a:moveTo>
                <a:cubicBezTo>
                  <a:pt x="9919" y="0"/>
                  <a:pt x="7396" y="1350"/>
                  <a:pt x="5780" y="3437"/>
                </a:cubicBezTo>
                <a:cubicBezTo>
                  <a:pt x="6514" y="3197"/>
                  <a:pt x="7287" y="3044"/>
                  <a:pt x="8086" y="2983"/>
                </a:cubicBezTo>
                <a:cubicBezTo>
                  <a:pt x="7991" y="2912"/>
                  <a:pt x="7892" y="2844"/>
                  <a:pt x="7804" y="2769"/>
                </a:cubicBezTo>
                <a:cubicBezTo>
                  <a:pt x="8469" y="2226"/>
                  <a:pt x="9222" y="1786"/>
                  <a:pt x="10042" y="1482"/>
                </a:cubicBezTo>
                <a:cubicBezTo>
                  <a:pt x="9694" y="1899"/>
                  <a:pt x="9380" y="2398"/>
                  <a:pt x="9104" y="2959"/>
                </a:cubicBezTo>
                <a:cubicBezTo>
                  <a:pt x="9451" y="2968"/>
                  <a:pt x="9793" y="2996"/>
                  <a:pt x="10131" y="3040"/>
                </a:cubicBezTo>
                <a:cubicBezTo>
                  <a:pt x="10712" y="1983"/>
                  <a:pt x="11449" y="1263"/>
                  <a:pt x="12269" y="1056"/>
                </a:cubicBezTo>
                <a:lnTo>
                  <a:pt x="12269" y="3575"/>
                </a:lnTo>
                <a:cubicBezTo>
                  <a:pt x="12608" y="3701"/>
                  <a:pt x="12938" y="3844"/>
                  <a:pt x="13258" y="4006"/>
                </a:cubicBezTo>
                <a:lnTo>
                  <a:pt x="13258" y="1056"/>
                </a:lnTo>
                <a:cubicBezTo>
                  <a:pt x="14282" y="1315"/>
                  <a:pt x="15181" y="2363"/>
                  <a:pt x="15801" y="3883"/>
                </a:cubicBezTo>
                <a:cubicBezTo>
                  <a:pt x="15207" y="4107"/>
                  <a:pt x="14555" y="4261"/>
                  <a:pt x="13865" y="4342"/>
                </a:cubicBezTo>
                <a:cubicBezTo>
                  <a:pt x="14263" y="4581"/>
                  <a:pt x="14647" y="4840"/>
                  <a:pt x="15006" y="5131"/>
                </a:cubicBezTo>
                <a:cubicBezTo>
                  <a:pt x="15391" y="5041"/>
                  <a:pt x="15767" y="4935"/>
                  <a:pt x="16122" y="4801"/>
                </a:cubicBezTo>
                <a:cubicBezTo>
                  <a:pt x="16296" y="5379"/>
                  <a:pt x="16430" y="6009"/>
                  <a:pt x="16526" y="6670"/>
                </a:cubicBezTo>
                <a:cubicBezTo>
                  <a:pt x="17157" y="7466"/>
                  <a:pt x="17663" y="8363"/>
                  <a:pt x="18025" y="9331"/>
                </a:cubicBezTo>
                <a:lnTo>
                  <a:pt x="20593" y="9331"/>
                </a:lnTo>
                <a:cubicBezTo>
                  <a:pt x="20478" y="11173"/>
                  <a:pt x="19721" y="12834"/>
                  <a:pt x="18551" y="14114"/>
                </a:cubicBezTo>
                <a:cubicBezTo>
                  <a:pt x="18470" y="14700"/>
                  <a:pt x="18342" y="15272"/>
                  <a:pt x="18163" y="15821"/>
                </a:cubicBezTo>
                <a:cubicBezTo>
                  <a:pt x="20250" y="14204"/>
                  <a:pt x="21600" y="11681"/>
                  <a:pt x="21600" y="8836"/>
                </a:cubicBezTo>
                <a:cubicBezTo>
                  <a:pt x="21600" y="3956"/>
                  <a:pt x="17644" y="0"/>
                  <a:pt x="12764" y="0"/>
                </a:cubicBezTo>
                <a:moveTo>
                  <a:pt x="13731" y="12269"/>
                </a:moveTo>
                <a:cubicBezTo>
                  <a:pt x="13687" y="10842"/>
                  <a:pt x="13456" y="9504"/>
                  <a:pt x="13081" y="8335"/>
                </a:cubicBezTo>
                <a:cubicBezTo>
                  <a:pt x="13616" y="8057"/>
                  <a:pt x="14091" y="7725"/>
                  <a:pt x="14507" y="7354"/>
                </a:cubicBezTo>
                <a:cubicBezTo>
                  <a:pt x="15746" y="8649"/>
                  <a:pt x="16547" y="10365"/>
                  <a:pt x="16666" y="12269"/>
                </a:cubicBezTo>
                <a:cubicBezTo>
                  <a:pt x="16666" y="12269"/>
                  <a:pt x="13731" y="12269"/>
                  <a:pt x="13731" y="12269"/>
                </a:cubicBezTo>
                <a:close/>
                <a:moveTo>
                  <a:pt x="14507" y="18173"/>
                </a:moveTo>
                <a:cubicBezTo>
                  <a:pt x="14091" y="17803"/>
                  <a:pt x="13616" y="17470"/>
                  <a:pt x="13081" y="17192"/>
                </a:cubicBezTo>
                <a:cubicBezTo>
                  <a:pt x="13456" y="16024"/>
                  <a:pt x="13687" y="14686"/>
                  <a:pt x="13731" y="13258"/>
                </a:cubicBezTo>
                <a:lnTo>
                  <a:pt x="16666" y="13258"/>
                </a:lnTo>
                <a:cubicBezTo>
                  <a:pt x="16547" y="15163"/>
                  <a:pt x="15746" y="16878"/>
                  <a:pt x="14507" y="18173"/>
                </a:cubicBezTo>
                <a:moveTo>
                  <a:pt x="11558" y="20118"/>
                </a:moveTo>
                <a:cubicBezTo>
                  <a:pt x="12012" y="19574"/>
                  <a:pt x="12409" y="18893"/>
                  <a:pt x="12738" y="18114"/>
                </a:cubicBezTo>
                <a:cubicBezTo>
                  <a:pt x="13129" y="18325"/>
                  <a:pt x="13485" y="18564"/>
                  <a:pt x="13796" y="18831"/>
                </a:cubicBezTo>
                <a:cubicBezTo>
                  <a:pt x="13131" y="19374"/>
                  <a:pt x="12378" y="19814"/>
                  <a:pt x="11558" y="20118"/>
                </a:cubicBezTo>
                <a:moveTo>
                  <a:pt x="9331" y="20544"/>
                </a:moveTo>
                <a:lnTo>
                  <a:pt x="9331" y="17204"/>
                </a:lnTo>
                <a:cubicBezTo>
                  <a:pt x="10246" y="17253"/>
                  <a:pt x="11108" y="17428"/>
                  <a:pt x="11874" y="17717"/>
                </a:cubicBezTo>
                <a:cubicBezTo>
                  <a:pt x="11254" y="19237"/>
                  <a:pt x="10355" y="20286"/>
                  <a:pt x="9331" y="20544"/>
                </a:cubicBezTo>
                <a:moveTo>
                  <a:pt x="9331" y="13258"/>
                </a:moveTo>
                <a:lnTo>
                  <a:pt x="12749" y="13258"/>
                </a:lnTo>
                <a:cubicBezTo>
                  <a:pt x="12709" y="14550"/>
                  <a:pt x="12510" y="15752"/>
                  <a:pt x="12195" y="16799"/>
                </a:cubicBezTo>
                <a:cubicBezTo>
                  <a:pt x="11327" y="16471"/>
                  <a:pt x="10357" y="16273"/>
                  <a:pt x="9331" y="16223"/>
                </a:cubicBezTo>
                <a:cubicBezTo>
                  <a:pt x="9331" y="16223"/>
                  <a:pt x="9331" y="13258"/>
                  <a:pt x="9331" y="13258"/>
                </a:cubicBezTo>
                <a:close/>
                <a:moveTo>
                  <a:pt x="9331" y="9305"/>
                </a:moveTo>
                <a:cubicBezTo>
                  <a:pt x="10357" y="9254"/>
                  <a:pt x="11327" y="9056"/>
                  <a:pt x="12195" y="8728"/>
                </a:cubicBezTo>
                <a:cubicBezTo>
                  <a:pt x="12510" y="9775"/>
                  <a:pt x="12709" y="10977"/>
                  <a:pt x="12749" y="12269"/>
                </a:cubicBezTo>
                <a:lnTo>
                  <a:pt x="9331" y="12269"/>
                </a:lnTo>
                <a:cubicBezTo>
                  <a:pt x="9331" y="12269"/>
                  <a:pt x="9331" y="9305"/>
                  <a:pt x="9331" y="9305"/>
                </a:cubicBezTo>
                <a:close/>
                <a:moveTo>
                  <a:pt x="9331" y="4983"/>
                </a:moveTo>
                <a:cubicBezTo>
                  <a:pt x="10355" y="5242"/>
                  <a:pt x="11254" y="6290"/>
                  <a:pt x="11874" y="7810"/>
                </a:cubicBezTo>
                <a:cubicBezTo>
                  <a:pt x="11108" y="8099"/>
                  <a:pt x="10246" y="8275"/>
                  <a:pt x="9331" y="8323"/>
                </a:cubicBezTo>
                <a:cubicBezTo>
                  <a:pt x="9331" y="8323"/>
                  <a:pt x="9331" y="4983"/>
                  <a:pt x="9331" y="4983"/>
                </a:cubicBezTo>
                <a:close/>
                <a:moveTo>
                  <a:pt x="13796" y="6696"/>
                </a:moveTo>
                <a:cubicBezTo>
                  <a:pt x="13485" y="6963"/>
                  <a:pt x="13129" y="7203"/>
                  <a:pt x="12738" y="7413"/>
                </a:cubicBezTo>
                <a:cubicBezTo>
                  <a:pt x="12409" y="6634"/>
                  <a:pt x="12012" y="5954"/>
                  <a:pt x="11557" y="5410"/>
                </a:cubicBezTo>
                <a:cubicBezTo>
                  <a:pt x="12378" y="5714"/>
                  <a:pt x="13131" y="6153"/>
                  <a:pt x="13796" y="6696"/>
                </a:cubicBezTo>
                <a:moveTo>
                  <a:pt x="8342" y="8323"/>
                </a:moveTo>
                <a:cubicBezTo>
                  <a:pt x="7427" y="8275"/>
                  <a:pt x="6564" y="8099"/>
                  <a:pt x="5799" y="7810"/>
                </a:cubicBezTo>
                <a:cubicBezTo>
                  <a:pt x="6419" y="6290"/>
                  <a:pt x="7318" y="5242"/>
                  <a:pt x="8342" y="4983"/>
                </a:cubicBezTo>
                <a:cubicBezTo>
                  <a:pt x="8342" y="4983"/>
                  <a:pt x="8342" y="8323"/>
                  <a:pt x="8342" y="8323"/>
                </a:cubicBezTo>
                <a:close/>
                <a:moveTo>
                  <a:pt x="8342" y="12269"/>
                </a:moveTo>
                <a:lnTo>
                  <a:pt x="4923" y="12269"/>
                </a:lnTo>
                <a:cubicBezTo>
                  <a:pt x="4964" y="10977"/>
                  <a:pt x="5163" y="9775"/>
                  <a:pt x="5478" y="8728"/>
                </a:cubicBezTo>
                <a:cubicBezTo>
                  <a:pt x="6346" y="9056"/>
                  <a:pt x="7316" y="9254"/>
                  <a:pt x="8342" y="9305"/>
                </a:cubicBezTo>
                <a:cubicBezTo>
                  <a:pt x="8342" y="9305"/>
                  <a:pt x="8342" y="12269"/>
                  <a:pt x="8342" y="12269"/>
                </a:cubicBezTo>
                <a:close/>
                <a:moveTo>
                  <a:pt x="8342" y="16223"/>
                </a:moveTo>
                <a:cubicBezTo>
                  <a:pt x="7316" y="16273"/>
                  <a:pt x="6346" y="16471"/>
                  <a:pt x="5478" y="16799"/>
                </a:cubicBezTo>
                <a:cubicBezTo>
                  <a:pt x="5163" y="15752"/>
                  <a:pt x="4964" y="14550"/>
                  <a:pt x="4923" y="13258"/>
                </a:cubicBezTo>
                <a:lnTo>
                  <a:pt x="8342" y="13258"/>
                </a:lnTo>
                <a:cubicBezTo>
                  <a:pt x="8342" y="13258"/>
                  <a:pt x="8342" y="16223"/>
                  <a:pt x="8342" y="16223"/>
                </a:cubicBezTo>
                <a:close/>
                <a:moveTo>
                  <a:pt x="8342" y="20544"/>
                </a:moveTo>
                <a:cubicBezTo>
                  <a:pt x="7318" y="20286"/>
                  <a:pt x="6419" y="19237"/>
                  <a:pt x="5799" y="17717"/>
                </a:cubicBezTo>
                <a:cubicBezTo>
                  <a:pt x="6564" y="17428"/>
                  <a:pt x="7427" y="17253"/>
                  <a:pt x="8342" y="17204"/>
                </a:cubicBezTo>
                <a:cubicBezTo>
                  <a:pt x="8342" y="17204"/>
                  <a:pt x="8342" y="20544"/>
                  <a:pt x="8342" y="20544"/>
                </a:cubicBezTo>
                <a:close/>
                <a:moveTo>
                  <a:pt x="3877" y="18831"/>
                </a:moveTo>
                <a:cubicBezTo>
                  <a:pt x="4188" y="18564"/>
                  <a:pt x="4544" y="18325"/>
                  <a:pt x="4935" y="18114"/>
                </a:cubicBezTo>
                <a:cubicBezTo>
                  <a:pt x="5264" y="18893"/>
                  <a:pt x="5661" y="19574"/>
                  <a:pt x="6115" y="20118"/>
                </a:cubicBezTo>
                <a:cubicBezTo>
                  <a:pt x="5295" y="19814"/>
                  <a:pt x="4541" y="19374"/>
                  <a:pt x="3877" y="18831"/>
                </a:cubicBezTo>
                <a:moveTo>
                  <a:pt x="1007" y="13258"/>
                </a:moveTo>
                <a:lnTo>
                  <a:pt x="3942" y="13258"/>
                </a:lnTo>
                <a:cubicBezTo>
                  <a:pt x="3986" y="14686"/>
                  <a:pt x="4217" y="16024"/>
                  <a:pt x="4591" y="17192"/>
                </a:cubicBezTo>
                <a:cubicBezTo>
                  <a:pt x="4057" y="17470"/>
                  <a:pt x="3582" y="17803"/>
                  <a:pt x="3166" y="18173"/>
                </a:cubicBezTo>
                <a:cubicBezTo>
                  <a:pt x="1927" y="16878"/>
                  <a:pt x="1126" y="15163"/>
                  <a:pt x="1007" y="13258"/>
                </a:cubicBezTo>
                <a:moveTo>
                  <a:pt x="3166" y="7354"/>
                </a:moveTo>
                <a:cubicBezTo>
                  <a:pt x="3582" y="7725"/>
                  <a:pt x="4057" y="8057"/>
                  <a:pt x="4591" y="8335"/>
                </a:cubicBezTo>
                <a:cubicBezTo>
                  <a:pt x="4217" y="9504"/>
                  <a:pt x="3986" y="10842"/>
                  <a:pt x="3942" y="12269"/>
                </a:cubicBezTo>
                <a:lnTo>
                  <a:pt x="1007" y="12269"/>
                </a:lnTo>
                <a:cubicBezTo>
                  <a:pt x="1126" y="10365"/>
                  <a:pt x="1927" y="8649"/>
                  <a:pt x="3166" y="7354"/>
                </a:cubicBezTo>
                <a:moveTo>
                  <a:pt x="6115" y="5410"/>
                </a:moveTo>
                <a:cubicBezTo>
                  <a:pt x="5661" y="5954"/>
                  <a:pt x="5264" y="6634"/>
                  <a:pt x="4935" y="7413"/>
                </a:cubicBezTo>
                <a:cubicBezTo>
                  <a:pt x="4544" y="7203"/>
                  <a:pt x="4188" y="6963"/>
                  <a:pt x="3877" y="6696"/>
                </a:cubicBezTo>
                <a:cubicBezTo>
                  <a:pt x="4542" y="6153"/>
                  <a:pt x="5295" y="5714"/>
                  <a:pt x="6115" y="5410"/>
                </a:cubicBezTo>
                <a:moveTo>
                  <a:pt x="8836" y="3927"/>
                </a:moveTo>
                <a:cubicBezTo>
                  <a:pt x="3956" y="3927"/>
                  <a:pt x="0" y="7883"/>
                  <a:pt x="0" y="12764"/>
                </a:cubicBezTo>
                <a:cubicBezTo>
                  <a:pt x="0" y="17644"/>
                  <a:pt x="3956" y="21600"/>
                  <a:pt x="8836" y="21600"/>
                </a:cubicBezTo>
                <a:cubicBezTo>
                  <a:pt x="13717" y="21600"/>
                  <a:pt x="17673" y="17644"/>
                  <a:pt x="17673" y="12764"/>
                </a:cubicBezTo>
                <a:cubicBezTo>
                  <a:pt x="17673" y="7883"/>
                  <a:pt x="13717" y="3927"/>
                  <a:pt x="8836"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6" name="Shape 2946"/>
          <p:cNvSpPr/>
          <p:nvPr/>
        </p:nvSpPr>
        <p:spPr>
          <a:xfrm>
            <a:off x="548856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9595" y="9980"/>
                </a:moveTo>
                <a:cubicBezTo>
                  <a:pt x="19587" y="9894"/>
                  <a:pt x="19575" y="9811"/>
                  <a:pt x="19565" y="9726"/>
                </a:cubicBezTo>
                <a:cubicBezTo>
                  <a:pt x="19542" y="9539"/>
                  <a:pt x="19514" y="9355"/>
                  <a:pt x="19480" y="9172"/>
                </a:cubicBezTo>
                <a:cubicBezTo>
                  <a:pt x="19463" y="9078"/>
                  <a:pt x="19444" y="8986"/>
                  <a:pt x="19424" y="8893"/>
                </a:cubicBezTo>
                <a:cubicBezTo>
                  <a:pt x="19384" y="8712"/>
                  <a:pt x="19337" y="8533"/>
                  <a:pt x="19286" y="8356"/>
                </a:cubicBezTo>
                <a:cubicBezTo>
                  <a:pt x="19263" y="8276"/>
                  <a:pt x="19244" y="8195"/>
                  <a:pt x="19218" y="8116"/>
                </a:cubicBezTo>
                <a:cubicBezTo>
                  <a:pt x="19143" y="7879"/>
                  <a:pt x="19057" y="7646"/>
                  <a:pt x="18963" y="7418"/>
                </a:cubicBezTo>
                <a:cubicBezTo>
                  <a:pt x="18923" y="7321"/>
                  <a:pt x="18876" y="7229"/>
                  <a:pt x="18833" y="7134"/>
                </a:cubicBezTo>
                <a:cubicBezTo>
                  <a:pt x="18771" y="6999"/>
                  <a:pt x="18708" y="6865"/>
                  <a:pt x="18640" y="6734"/>
                </a:cubicBezTo>
                <a:cubicBezTo>
                  <a:pt x="18580" y="6618"/>
                  <a:pt x="18516" y="6504"/>
                  <a:pt x="18450" y="6391"/>
                </a:cubicBezTo>
                <a:cubicBezTo>
                  <a:pt x="18392" y="6291"/>
                  <a:pt x="18331" y="6192"/>
                  <a:pt x="18269" y="6094"/>
                </a:cubicBezTo>
                <a:cubicBezTo>
                  <a:pt x="18192" y="5971"/>
                  <a:pt x="18114" y="5849"/>
                  <a:pt x="18031" y="5731"/>
                </a:cubicBezTo>
                <a:cubicBezTo>
                  <a:pt x="17986" y="5667"/>
                  <a:pt x="17936" y="5605"/>
                  <a:pt x="17889" y="5541"/>
                </a:cubicBezTo>
                <a:cubicBezTo>
                  <a:pt x="17544" y="5080"/>
                  <a:pt x="17159" y="4651"/>
                  <a:pt x="16732" y="4265"/>
                </a:cubicBezTo>
                <a:cubicBezTo>
                  <a:pt x="16705" y="4241"/>
                  <a:pt x="16679" y="4216"/>
                  <a:pt x="16652" y="4192"/>
                </a:cubicBezTo>
                <a:cubicBezTo>
                  <a:pt x="16499" y="4058"/>
                  <a:pt x="16343" y="3927"/>
                  <a:pt x="16181" y="3803"/>
                </a:cubicBezTo>
                <a:cubicBezTo>
                  <a:pt x="16173" y="3796"/>
                  <a:pt x="16165" y="3790"/>
                  <a:pt x="16156" y="3784"/>
                </a:cubicBezTo>
                <a:cubicBezTo>
                  <a:pt x="15459" y="3252"/>
                  <a:pt x="14680" y="2821"/>
                  <a:pt x="13842" y="2513"/>
                </a:cubicBezTo>
                <a:cubicBezTo>
                  <a:pt x="13592" y="2912"/>
                  <a:pt x="13337" y="3420"/>
                  <a:pt x="13040" y="3590"/>
                </a:cubicBezTo>
                <a:cubicBezTo>
                  <a:pt x="12610" y="3835"/>
                  <a:pt x="12641" y="4817"/>
                  <a:pt x="13469" y="4725"/>
                </a:cubicBezTo>
                <a:cubicBezTo>
                  <a:pt x="13469" y="4725"/>
                  <a:pt x="13224" y="4970"/>
                  <a:pt x="13469" y="5860"/>
                </a:cubicBezTo>
                <a:cubicBezTo>
                  <a:pt x="13715" y="6750"/>
                  <a:pt x="14126" y="6943"/>
                  <a:pt x="15341" y="6443"/>
                </a:cubicBezTo>
                <a:cubicBezTo>
                  <a:pt x="15862" y="6228"/>
                  <a:pt x="16258" y="6340"/>
                  <a:pt x="16200" y="6873"/>
                </a:cubicBezTo>
                <a:cubicBezTo>
                  <a:pt x="16077" y="8008"/>
                  <a:pt x="15202" y="7960"/>
                  <a:pt x="15862" y="9788"/>
                </a:cubicBezTo>
                <a:cubicBezTo>
                  <a:pt x="16261" y="10892"/>
                  <a:pt x="17243" y="11322"/>
                  <a:pt x="17611" y="12181"/>
                </a:cubicBezTo>
                <a:cubicBezTo>
                  <a:pt x="17814" y="12653"/>
                  <a:pt x="18591" y="13088"/>
                  <a:pt x="19250" y="13384"/>
                </a:cubicBezTo>
                <a:cubicBezTo>
                  <a:pt x="19321" y="13153"/>
                  <a:pt x="19380" y="12917"/>
                  <a:pt x="19432" y="12677"/>
                </a:cubicBezTo>
                <a:cubicBezTo>
                  <a:pt x="19452" y="12587"/>
                  <a:pt x="19467" y="12494"/>
                  <a:pt x="19484" y="12402"/>
                </a:cubicBezTo>
                <a:cubicBezTo>
                  <a:pt x="19517" y="12224"/>
                  <a:pt x="19545" y="12044"/>
                  <a:pt x="19566" y="11862"/>
                </a:cubicBezTo>
                <a:cubicBezTo>
                  <a:pt x="19576" y="11776"/>
                  <a:pt x="19588" y="11691"/>
                  <a:pt x="19596" y="11604"/>
                </a:cubicBezTo>
                <a:cubicBezTo>
                  <a:pt x="19620" y="11340"/>
                  <a:pt x="19636" y="11072"/>
                  <a:pt x="19636" y="10800"/>
                </a:cubicBezTo>
                <a:cubicBezTo>
                  <a:pt x="19636" y="10523"/>
                  <a:pt x="19620" y="10250"/>
                  <a:pt x="19595" y="9980"/>
                </a:cubicBezTo>
                <a:moveTo>
                  <a:pt x="10800" y="20618"/>
                </a:moveTo>
                <a:cubicBezTo>
                  <a:pt x="5377" y="20618"/>
                  <a:pt x="982" y="16223"/>
                  <a:pt x="982" y="10800"/>
                </a:cubicBezTo>
                <a:cubicBezTo>
                  <a:pt x="982" y="5377"/>
                  <a:pt x="5377" y="982"/>
                  <a:pt x="10800" y="982"/>
                </a:cubicBezTo>
                <a:cubicBezTo>
                  <a:pt x="16222" y="982"/>
                  <a:pt x="20618" y="5377"/>
                  <a:pt x="20618" y="10800"/>
                </a:cubicBezTo>
                <a:cubicBezTo>
                  <a:pt x="20618" y="16223"/>
                  <a:pt x="16222" y="20618"/>
                  <a:pt x="10800" y="20618"/>
                </a:cubicBezTo>
                <a:moveTo>
                  <a:pt x="10800" y="0"/>
                </a:moveTo>
                <a:cubicBezTo>
                  <a:pt x="4835" y="0"/>
                  <a:pt x="0" y="4836"/>
                  <a:pt x="0" y="10800"/>
                </a:cubicBezTo>
                <a:cubicBezTo>
                  <a:pt x="0" y="16765"/>
                  <a:pt x="4835" y="21600"/>
                  <a:pt x="10800" y="21600"/>
                </a:cubicBezTo>
                <a:cubicBezTo>
                  <a:pt x="16764" y="21600"/>
                  <a:pt x="21600" y="16765"/>
                  <a:pt x="21600" y="10800"/>
                </a:cubicBezTo>
                <a:cubicBezTo>
                  <a:pt x="21600" y="4836"/>
                  <a:pt x="16764" y="0"/>
                  <a:pt x="10800" y="0"/>
                </a:cubicBezTo>
                <a:moveTo>
                  <a:pt x="8407" y="9726"/>
                </a:moveTo>
                <a:cubicBezTo>
                  <a:pt x="8468" y="9020"/>
                  <a:pt x="9603" y="8284"/>
                  <a:pt x="10370" y="7947"/>
                </a:cubicBezTo>
                <a:cubicBezTo>
                  <a:pt x="11137" y="7609"/>
                  <a:pt x="11843" y="7486"/>
                  <a:pt x="11751" y="6903"/>
                </a:cubicBezTo>
                <a:cubicBezTo>
                  <a:pt x="11659" y="6320"/>
                  <a:pt x="11444" y="5891"/>
                  <a:pt x="10248" y="5891"/>
                </a:cubicBezTo>
                <a:cubicBezTo>
                  <a:pt x="9051" y="5891"/>
                  <a:pt x="9573" y="7486"/>
                  <a:pt x="8591" y="6535"/>
                </a:cubicBezTo>
                <a:cubicBezTo>
                  <a:pt x="7609" y="5584"/>
                  <a:pt x="8805" y="5830"/>
                  <a:pt x="9296" y="5615"/>
                </a:cubicBezTo>
                <a:cubicBezTo>
                  <a:pt x="9787" y="5400"/>
                  <a:pt x="10278" y="4510"/>
                  <a:pt x="9419" y="4449"/>
                </a:cubicBezTo>
                <a:cubicBezTo>
                  <a:pt x="8560" y="4388"/>
                  <a:pt x="8744" y="4817"/>
                  <a:pt x="8069" y="4572"/>
                </a:cubicBezTo>
                <a:cubicBezTo>
                  <a:pt x="7394" y="4326"/>
                  <a:pt x="7087" y="5431"/>
                  <a:pt x="6658" y="5277"/>
                </a:cubicBezTo>
                <a:cubicBezTo>
                  <a:pt x="6373" y="5176"/>
                  <a:pt x="5613" y="4605"/>
                  <a:pt x="5110" y="4044"/>
                </a:cubicBezTo>
                <a:cubicBezTo>
                  <a:pt x="4094" y="4900"/>
                  <a:pt x="3277" y="5982"/>
                  <a:pt x="2729" y="7212"/>
                </a:cubicBezTo>
                <a:cubicBezTo>
                  <a:pt x="2875" y="8862"/>
                  <a:pt x="3774" y="9726"/>
                  <a:pt x="3774" y="9726"/>
                </a:cubicBezTo>
                <a:cubicBezTo>
                  <a:pt x="3774" y="9726"/>
                  <a:pt x="4234" y="10800"/>
                  <a:pt x="6995" y="12119"/>
                </a:cubicBezTo>
                <a:cubicBezTo>
                  <a:pt x="6995" y="12119"/>
                  <a:pt x="7517" y="12150"/>
                  <a:pt x="6903" y="11536"/>
                </a:cubicBezTo>
                <a:cubicBezTo>
                  <a:pt x="6290" y="10923"/>
                  <a:pt x="5615" y="10156"/>
                  <a:pt x="6382" y="9757"/>
                </a:cubicBezTo>
                <a:cubicBezTo>
                  <a:pt x="7149" y="9358"/>
                  <a:pt x="7364" y="9389"/>
                  <a:pt x="7548" y="10125"/>
                </a:cubicBezTo>
                <a:cubicBezTo>
                  <a:pt x="7732" y="10861"/>
                  <a:pt x="8345" y="10432"/>
                  <a:pt x="8407" y="9726"/>
                </a:cubicBezTo>
                <a:moveTo>
                  <a:pt x="16246" y="12871"/>
                </a:moveTo>
                <a:cubicBezTo>
                  <a:pt x="15893" y="13086"/>
                  <a:pt x="15908" y="13561"/>
                  <a:pt x="16200" y="13822"/>
                </a:cubicBezTo>
                <a:cubicBezTo>
                  <a:pt x="16491" y="14083"/>
                  <a:pt x="17074" y="14420"/>
                  <a:pt x="17258" y="13822"/>
                </a:cubicBezTo>
                <a:cubicBezTo>
                  <a:pt x="17442" y="13224"/>
                  <a:pt x="16599" y="12656"/>
                  <a:pt x="16246" y="12871"/>
                </a:cubicBezTo>
                <a:moveTo>
                  <a:pt x="12027" y="12948"/>
                </a:moveTo>
                <a:cubicBezTo>
                  <a:pt x="10984" y="12058"/>
                  <a:pt x="11107" y="11659"/>
                  <a:pt x="9787" y="11659"/>
                </a:cubicBezTo>
                <a:cubicBezTo>
                  <a:pt x="8468" y="11659"/>
                  <a:pt x="7640" y="11966"/>
                  <a:pt x="7977" y="13807"/>
                </a:cubicBezTo>
                <a:cubicBezTo>
                  <a:pt x="8315" y="15648"/>
                  <a:pt x="9296" y="14819"/>
                  <a:pt x="9205" y="16231"/>
                </a:cubicBezTo>
                <a:cubicBezTo>
                  <a:pt x="9112" y="17642"/>
                  <a:pt x="9450" y="17949"/>
                  <a:pt x="9665" y="18286"/>
                </a:cubicBezTo>
                <a:cubicBezTo>
                  <a:pt x="9880" y="18624"/>
                  <a:pt x="10524" y="19606"/>
                  <a:pt x="10769" y="18225"/>
                </a:cubicBezTo>
                <a:cubicBezTo>
                  <a:pt x="11015" y="16844"/>
                  <a:pt x="11475" y="16077"/>
                  <a:pt x="11996" y="15402"/>
                </a:cubicBezTo>
                <a:cubicBezTo>
                  <a:pt x="12518" y="14727"/>
                  <a:pt x="13070" y="13837"/>
                  <a:pt x="12027" y="1294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7" name="Shape 2947"/>
          <p:cNvSpPr/>
          <p:nvPr/>
        </p:nvSpPr>
        <p:spPr>
          <a:xfrm>
            <a:off x="588850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8367" y="17673"/>
                </a:moveTo>
                <a:lnTo>
                  <a:pt x="20127" y="17673"/>
                </a:lnTo>
                <a:cubicBezTo>
                  <a:pt x="20398" y="17673"/>
                  <a:pt x="20618" y="17453"/>
                  <a:pt x="20618" y="17182"/>
                </a:cubicBezTo>
                <a:cubicBezTo>
                  <a:pt x="20618" y="16910"/>
                  <a:pt x="20398" y="16691"/>
                  <a:pt x="20127" y="16691"/>
                </a:cubicBezTo>
                <a:lnTo>
                  <a:pt x="17182" y="16691"/>
                </a:lnTo>
                <a:cubicBezTo>
                  <a:pt x="16911" y="16691"/>
                  <a:pt x="16691" y="16910"/>
                  <a:pt x="16691" y="17182"/>
                </a:cubicBezTo>
                <a:lnTo>
                  <a:pt x="16691" y="20127"/>
                </a:lnTo>
                <a:cubicBezTo>
                  <a:pt x="16691" y="20399"/>
                  <a:pt x="16911" y="20618"/>
                  <a:pt x="17182" y="20618"/>
                </a:cubicBezTo>
                <a:cubicBezTo>
                  <a:pt x="17453" y="20618"/>
                  <a:pt x="17673" y="20399"/>
                  <a:pt x="17673" y="20127"/>
                </a:cubicBezTo>
                <a:lnTo>
                  <a:pt x="17673" y="18367"/>
                </a:lnTo>
                <a:lnTo>
                  <a:pt x="20762" y="21456"/>
                </a:lnTo>
                <a:cubicBezTo>
                  <a:pt x="20851" y="21545"/>
                  <a:pt x="20974" y="21600"/>
                  <a:pt x="21109" y="21600"/>
                </a:cubicBezTo>
                <a:cubicBezTo>
                  <a:pt x="21380" y="21600"/>
                  <a:pt x="21600" y="21380"/>
                  <a:pt x="21600" y="21109"/>
                </a:cubicBezTo>
                <a:cubicBezTo>
                  <a:pt x="21600" y="20974"/>
                  <a:pt x="21545" y="20851"/>
                  <a:pt x="21456" y="20762"/>
                </a:cubicBezTo>
                <a:cubicBezTo>
                  <a:pt x="21456" y="20762"/>
                  <a:pt x="18367" y="17673"/>
                  <a:pt x="18367" y="17673"/>
                </a:cubicBezTo>
                <a:close/>
                <a:moveTo>
                  <a:pt x="4418" y="16691"/>
                </a:moveTo>
                <a:lnTo>
                  <a:pt x="1473" y="16691"/>
                </a:lnTo>
                <a:cubicBezTo>
                  <a:pt x="1202" y="16691"/>
                  <a:pt x="982" y="16910"/>
                  <a:pt x="982" y="17182"/>
                </a:cubicBezTo>
                <a:cubicBezTo>
                  <a:pt x="982" y="17453"/>
                  <a:pt x="1202" y="17673"/>
                  <a:pt x="1473" y="17673"/>
                </a:cubicBezTo>
                <a:lnTo>
                  <a:pt x="3233" y="17673"/>
                </a:lnTo>
                <a:lnTo>
                  <a:pt x="144" y="20762"/>
                </a:lnTo>
                <a:cubicBezTo>
                  <a:pt x="55" y="20851"/>
                  <a:pt x="0" y="20974"/>
                  <a:pt x="0" y="21109"/>
                </a:cubicBezTo>
                <a:cubicBezTo>
                  <a:pt x="0" y="21380"/>
                  <a:pt x="220" y="21600"/>
                  <a:pt x="491" y="21600"/>
                </a:cubicBezTo>
                <a:cubicBezTo>
                  <a:pt x="626" y="21600"/>
                  <a:pt x="749" y="21545"/>
                  <a:pt x="838" y="21456"/>
                </a:cubicBezTo>
                <a:lnTo>
                  <a:pt x="3927" y="18367"/>
                </a:lnTo>
                <a:lnTo>
                  <a:pt x="3927" y="20127"/>
                </a:lnTo>
                <a:cubicBezTo>
                  <a:pt x="3927" y="20399"/>
                  <a:pt x="4147" y="20618"/>
                  <a:pt x="4418" y="20618"/>
                </a:cubicBezTo>
                <a:cubicBezTo>
                  <a:pt x="4689" y="20618"/>
                  <a:pt x="4909" y="20399"/>
                  <a:pt x="4909" y="20127"/>
                </a:cubicBezTo>
                <a:lnTo>
                  <a:pt x="4909" y="17182"/>
                </a:lnTo>
                <a:cubicBezTo>
                  <a:pt x="4909" y="16910"/>
                  <a:pt x="4689" y="16691"/>
                  <a:pt x="4418" y="16691"/>
                </a:cubicBezTo>
                <a:moveTo>
                  <a:pt x="14578" y="13923"/>
                </a:moveTo>
                <a:cubicBezTo>
                  <a:pt x="14366" y="13756"/>
                  <a:pt x="14123" y="13606"/>
                  <a:pt x="13863" y="13470"/>
                </a:cubicBezTo>
                <a:cubicBezTo>
                  <a:pt x="14060" y="12810"/>
                  <a:pt x="14189" y="12080"/>
                  <a:pt x="14228" y="11304"/>
                </a:cubicBezTo>
                <a:lnTo>
                  <a:pt x="15676" y="11304"/>
                </a:lnTo>
                <a:cubicBezTo>
                  <a:pt x="15574" y="12295"/>
                  <a:pt x="15177" y="13195"/>
                  <a:pt x="14578" y="13923"/>
                </a:cubicBezTo>
                <a:moveTo>
                  <a:pt x="13136" y="15120"/>
                </a:moveTo>
                <a:cubicBezTo>
                  <a:pt x="13280" y="14892"/>
                  <a:pt x="13410" y="14641"/>
                  <a:pt x="13529" y="14374"/>
                </a:cubicBezTo>
                <a:cubicBezTo>
                  <a:pt x="13660" y="14445"/>
                  <a:pt x="13781" y="14521"/>
                  <a:pt x="13893" y="14602"/>
                </a:cubicBezTo>
                <a:cubicBezTo>
                  <a:pt x="13656" y="14795"/>
                  <a:pt x="13407" y="14973"/>
                  <a:pt x="13136" y="15120"/>
                </a:cubicBezTo>
                <a:moveTo>
                  <a:pt x="11304" y="12785"/>
                </a:moveTo>
                <a:lnTo>
                  <a:pt x="11304" y="11304"/>
                </a:lnTo>
                <a:lnTo>
                  <a:pt x="13226" y="11304"/>
                </a:lnTo>
                <a:cubicBezTo>
                  <a:pt x="13193" y="11948"/>
                  <a:pt x="13093" y="12547"/>
                  <a:pt x="12949" y="13093"/>
                </a:cubicBezTo>
                <a:cubicBezTo>
                  <a:pt x="12443" y="12931"/>
                  <a:pt x="11890" y="12824"/>
                  <a:pt x="11304" y="12785"/>
                </a:cubicBezTo>
                <a:moveTo>
                  <a:pt x="11304" y="15605"/>
                </a:moveTo>
                <a:lnTo>
                  <a:pt x="11304" y="13766"/>
                </a:lnTo>
                <a:cubicBezTo>
                  <a:pt x="11784" y="13800"/>
                  <a:pt x="12233" y="13886"/>
                  <a:pt x="12642" y="14009"/>
                </a:cubicBezTo>
                <a:cubicBezTo>
                  <a:pt x="12301" y="14805"/>
                  <a:pt x="11837" y="15382"/>
                  <a:pt x="11304" y="15605"/>
                </a:cubicBezTo>
                <a:moveTo>
                  <a:pt x="11304" y="8815"/>
                </a:moveTo>
                <a:cubicBezTo>
                  <a:pt x="11890" y="8776"/>
                  <a:pt x="12443" y="8669"/>
                  <a:pt x="12949" y="8507"/>
                </a:cubicBezTo>
                <a:cubicBezTo>
                  <a:pt x="13093" y="9053"/>
                  <a:pt x="13193" y="9652"/>
                  <a:pt x="13226" y="10297"/>
                </a:cubicBezTo>
                <a:lnTo>
                  <a:pt x="11304" y="10297"/>
                </a:lnTo>
                <a:cubicBezTo>
                  <a:pt x="11304" y="10297"/>
                  <a:pt x="11304" y="8815"/>
                  <a:pt x="11304" y="8815"/>
                </a:cubicBezTo>
                <a:close/>
                <a:moveTo>
                  <a:pt x="11304" y="5995"/>
                </a:moveTo>
                <a:cubicBezTo>
                  <a:pt x="11837" y="6218"/>
                  <a:pt x="12301" y="6795"/>
                  <a:pt x="12642" y="7591"/>
                </a:cubicBezTo>
                <a:cubicBezTo>
                  <a:pt x="12233" y="7714"/>
                  <a:pt x="11784" y="7800"/>
                  <a:pt x="11304" y="7835"/>
                </a:cubicBezTo>
                <a:cubicBezTo>
                  <a:pt x="11304" y="7835"/>
                  <a:pt x="11304" y="5995"/>
                  <a:pt x="11304" y="5995"/>
                </a:cubicBezTo>
                <a:close/>
                <a:moveTo>
                  <a:pt x="13893" y="6998"/>
                </a:moveTo>
                <a:cubicBezTo>
                  <a:pt x="13781" y="7079"/>
                  <a:pt x="13660" y="7155"/>
                  <a:pt x="13529" y="7227"/>
                </a:cubicBezTo>
                <a:cubicBezTo>
                  <a:pt x="13410" y="6960"/>
                  <a:pt x="13280" y="6708"/>
                  <a:pt x="13136" y="6480"/>
                </a:cubicBezTo>
                <a:cubicBezTo>
                  <a:pt x="13407" y="6627"/>
                  <a:pt x="13656" y="6805"/>
                  <a:pt x="13893" y="6998"/>
                </a:cubicBezTo>
                <a:moveTo>
                  <a:pt x="15676" y="10297"/>
                </a:moveTo>
                <a:lnTo>
                  <a:pt x="14228" y="10297"/>
                </a:lnTo>
                <a:cubicBezTo>
                  <a:pt x="14189" y="9520"/>
                  <a:pt x="14060" y="8790"/>
                  <a:pt x="13863" y="8130"/>
                </a:cubicBezTo>
                <a:cubicBezTo>
                  <a:pt x="14123" y="7994"/>
                  <a:pt x="14366" y="7844"/>
                  <a:pt x="14578" y="7677"/>
                </a:cubicBezTo>
                <a:cubicBezTo>
                  <a:pt x="15177" y="8405"/>
                  <a:pt x="15574" y="9305"/>
                  <a:pt x="15676" y="10297"/>
                </a:cubicBezTo>
                <a:moveTo>
                  <a:pt x="10296" y="7835"/>
                </a:moveTo>
                <a:cubicBezTo>
                  <a:pt x="9816" y="7800"/>
                  <a:pt x="9367" y="7714"/>
                  <a:pt x="8958" y="7591"/>
                </a:cubicBezTo>
                <a:cubicBezTo>
                  <a:pt x="9299" y="6795"/>
                  <a:pt x="9764" y="6218"/>
                  <a:pt x="10296" y="5995"/>
                </a:cubicBezTo>
                <a:cubicBezTo>
                  <a:pt x="10296" y="5995"/>
                  <a:pt x="10296" y="7835"/>
                  <a:pt x="10296" y="7835"/>
                </a:cubicBezTo>
                <a:close/>
                <a:moveTo>
                  <a:pt x="10296" y="10297"/>
                </a:moveTo>
                <a:lnTo>
                  <a:pt x="8374" y="10297"/>
                </a:lnTo>
                <a:cubicBezTo>
                  <a:pt x="8407" y="9652"/>
                  <a:pt x="8507" y="9053"/>
                  <a:pt x="8651" y="8507"/>
                </a:cubicBezTo>
                <a:cubicBezTo>
                  <a:pt x="9158" y="8669"/>
                  <a:pt x="9710" y="8776"/>
                  <a:pt x="10296" y="8815"/>
                </a:cubicBezTo>
                <a:cubicBezTo>
                  <a:pt x="10296" y="8815"/>
                  <a:pt x="10296" y="10297"/>
                  <a:pt x="10296" y="10297"/>
                </a:cubicBezTo>
                <a:close/>
                <a:moveTo>
                  <a:pt x="10296" y="12785"/>
                </a:moveTo>
                <a:cubicBezTo>
                  <a:pt x="9710" y="12824"/>
                  <a:pt x="9158" y="12931"/>
                  <a:pt x="8651" y="13093"/>
                </a:cubicBezTo>
                <a:cubicBezTo>
                  <a:pt x="8507" y="12547"/>
                  <a:pt x="8407" y="11948"/>
                  <a:pt x="8374" y="11304"/>
                </a:cubicBezTo>
                <a:lnTo>
                  <a:pt x="10296" y="11304"/>
                </a:lnTo>
                <a:cubicBezTo>
                  <a:pt x="10296" y="11304"/>
                  <a:pt x="10296" y="12785"/>
                  <a:pt x="10296" y="12785"/>
                </a:cubicBezTo>
                <a:close/>
                <a:moveTo>
                  <a:pt x="10296" y="15605"/>
                </a:moveTo>
                <a:cubicBezTo>
                  <a:pt x="9764" y="15382"/>
                  <a:pt x="9299" y="14805"/>
                  <a:pt x="8958" y="14009"/>
                </a:cubicBezTo>
                <a:cubicBezTo>
                  <a:pt x="9367" y="13886"/>
                  <a:pt x="9816" y="13800"/>
                  <a:pt x="10296" y="13766"/>
                </a:cubicBezTo>
                <a:cubicBezTo>
                  <a:pt x="10296" y="13766"/>
                  <a:pt x="10296" y="15605"/>
                  <a:pt x="10296" y="15605"/>
                </a:cubicBezTo>
                <a:close/>
                <a:moveTo>
                  <a:pt x="7707" y="14602"/>
                </a:moveTo>
                <a:cubicBezTo>
                  <a:pt x="7819" y="14521"/>
                  <a:pt x="7941" y="14445"/>
                  <a:pt x="8071" y="14374"/>
                </a:cubicBezTo>
                <a:cubicBezTo>
                  <a:pt x="8190" y="14641"/>
                  <a:pt x="8321" y="14892"/>
                  <a:pt x="8464" y="15120"/>
                </a:cubicBezTo>
                <a:cubicBezTo>
                  <a:pt x="8193" y="14973"/>
                  <a:pt x="7944" y="14795"/>
                  <a:pt x="7707" y="14602"/>
                </a:cubicBezTo>
                <a:moveTo>
                  <a:pt x="5925" y="11304"/>
                </a:moveTo>
                <a:lnTo>
                  <a:pt x="7372" y="11304"/>
                </a:lnTo>
                <a:cubicBezTo>
                  <a:pt x="7411" y="12080"/>
                  <a:pt x="7540" y="12810"/>
                  <a:pt x="7737" y="13470"/>
                </a:cubicBezTo>
                <a:cubicBezTo>
                  <a:pt x="7477" y="13606"/>
                  <a:pt x="7235" y="13756"/>
                  <a:pt x="7022" y="13923"/>
                </a:cubicBezTo>
                <a:cubicBezTo>
                  <a:pt x="6423" y="13195"/>
                  <a:pt x="6026" y="12295"/>
                  <a:pt x="5925" y="11304"/>
                </a:cubicBezTo>
                <a:moveTo>
                  <a:pt x="7022" y="7677"/>
                </a:moveTo>
                <a:cubicBezTo>
                  <a:pt x="7235" y="7844"/>
                  <a:pt x="7477" y="7994"/>
                  <a:pt x="7737" y="8130"/>
                </a:cubicBezTo>
                <a:cubicBezTo>
                  <a:pt x="7540" y="8790"/>
                  <a:pt x="7411" y="9520"/>
                  <a:pt x="7372" y="10297"/>
                </a:cubicBezTo>
                <a:lnTo>
                  <a:pt x="5925" y="10297"/>
                </a:lnTo>
                <a:cubicBezTo>
                  <a:pt x="6026" y="9305"/>
                  <a:pt x="6423" y="8405"/>
                  <a:pt x="7022" y="7677"/>
                </a:cubicBezTo>
                <a:moveTo>
                  <a:pt x="8464" y="6480"/>
                </a:moveTo>
                <a:cubicBezTo>
                  <a:pt x="8321" y="6708"/>
                  <a:pt x="8190" y="6960"/>
                  <a:pt x="8071" y="7227"/>
                </a:cubicBezTo>
                <a:cubicBezTo>
                  <a:pt x="7941" y="7155"/>
                  <a:pt x="7819" y="7079"/>
                  <a:pt x="7707" y="6998"/>
                </a:cubicBezTo>
                <a:cubicBezTo>
                  <a:pt x="7944" y="6805"/>
                  <a:pt x="8193" y="6627"/>
                  <a:pt x="8464" y="6480"/>
                </a:cubicBezTo>
                <a:moveTo>
                  <a:pt x="10800" y="4909"/>
                </a:moveTo>
                <a:cubicBezTo>
                  <a:pt x="7546" y="4909"/>
                  <a:pt x="4909" y="7546"/>
                  <a:pt x="4909" y="10800"/>
                </a:cubicBezTo>
                <a:cubicBezTo>
                  <a:pt x="4909" y="14053"/>
                  <a:pt x="7546" y="16691"/>
                  <a:pt x="10800" y="16691"/>
                </a:cubicBezTo>
                <a:cubicBezTo>
                  <a:pt x="14053" y="16691"/>
                  <a:pt x="16691" y="14053"/>
                  <a:pt x="16691" y="10800"/>
                </a:cubicBezTo>
                <a:cubicBezTo>
                  <a:pt x="16691" y="7546"/>
                  <a:pt x="14053" y="4909"/>
                  <a:pt x="10800" y="4909"/>
                </a:cubicBezTo>
                <a:moveTo>
                  <a:pt x="3233" y="3927"/>
                </a:moveTo>
                <a:lnTo>
                  <a:pt x="1473" y="3927"/>
                </a:lnTo>
                <a:cubicBezTo>
                  <a:pt x="1202" y="3927"/>
                  <a:pt x="982" y="4147"/>
                  <a:pt x="982" y="4418"/>
                </a:cubicBezTo>
                <a:cubicBezTo>
                  <a:pt x="982" y="4690"/>
                  <a:pt x="1202" y="4909"/>
                  <a:pt x="1473" y="4909"/>
                </a:cubicBezTo>
                <a:lnTo>
                  <a:pt x="4418" y="4909"/>
                </a:lnTo>
                <a:cubicBezTo>
                  <a:pt x="4689" y="4909"/>
                  <a:pt x="4909" y="4690"/>
                  <a:pt x="4909" y="4418"/>
                </a:cubicBezTo>
                <a:lnTo>
                  <a:pt x="4909" y="1473"/>
                </a:lnTo>
                <a:cubicBezTo>
                  <a:pt x="4909" y="1201"/>
                  <a:pt x="4689" y="982"/>
                  <a:pt x="4418" y="982"/>
                </a:cubicBezTo>
                <a:cubicBezTo>
                  <a:pt x="4147" y="982"/>
                  <a:pt x="3927" y="1201"/>
                  <a:pt x="3927" y="1473"/>
                </a:cubicBezTo>
                <a:lnTo>
                  <a:pt x="3927" y="3233"/>
                </a:lnTo>
                <a:lnTo>
                  <a:pt x="838" y="144"/>
                </a:lnTo>
                <a:cubicBezTo>
                  <a:pt x="749" y="55"/>
                  <a:pt x="626" y="0"/>
                  <a:pt x="491" y="0"/>
                </a:cubicBezTo>
                <a:cubicBezTo>
                  <a:pt x="220" y="0"/>
                  <a:pt x="0" y="220"/>
                  <a:pt x="0" y="491"/>
                </a:cubicBezTo>
                <a:cubicBezTo>
                  <a:pt x="0" y="627"/>
                  <a:pt x="55" y="749"/>
                  <a:pt x="144" y="838"/>
                </a:cubicBezTo>
                <a:cubicBezTo>
                  <a:pt x="144" y="838"/>
                  <a:pt x="3233" y="3927"/>
                  <a:pt x="3233" y="3927"/>
                </a:cubicBezTo>
                <a:close/>
                <a:moveTo>
                  <a:pt x="17182" y="4909"/>
                </a:moveTo>
                <a:lnTo>
                  <a:pt x="20127" y="4909"/>
                </a:lnTo>
                <a:cubicBezTo>
                  <a:pt x="20398" y="4909"/>
                  <a:pt x="20618" y="4690"/>
                  <a:pt x="20618" y="4418"/>
                </a:cubicBezTo>
                <a:cubicBezTo>
                  <a:pt x="20618" y="4147"/>
                  <a:pt x="20398" y="3927"/>
                  <a:pt x="20127" y="3927"/>
                </a:cubicBezTo>
                <a:lnTo>
                  <a:pt x="18367" y="3927"/>
                </a:lnTo>
                <a:lnTo>
                  <a:pt x="21456" y="838"/>
                </a:lnTo>
                <a:cubicBezTo>
                  <a:pt x="21545" y="749"/>
                  <a:pt x="21600" y="627"/>
                  <a:pt x="21600" y="491"/>
                </a:cubicBezTo>
                <a:cubicBezTo>
                  <a:pt x="21600" y="220"/>
                  <a:pt x="21380" y="0"/>
                  <a:pt x="21109" y="0"/>
                </a:cubicBezTo>
                <a:cubicBezTo>
                  <a:pt x="20974" y="0"/>
                  <a:pt x="20851" y="55"/>
                  <a:pt x="20762" y="144"/>
                </a:cubicBezTo>
                <a:lnTo>
                  <a:pt x="17673" y="3233"/>
                </a:lnTo>
                <a:lnTo>
                  <a:pt x="17673" y="1473"/>
                </a:lnTo>
                <a:cubicBezTo>
                  <a:pt x="17673" y="1201"/>
                  <a:pt x="17453" y="982"/>
                  <a:pt x="17182" y="982"/>
                </a:cubicBezTo>
                <a:cubicBezTo>
                  <a:pt x="16911" y="982"/>
                  <a:pt x="16691" y="1201"/>
                  <a:pt x="16691" y="1473"/>
                </a:cubicBezTo>
                <a:lnTo>
                  <a:pt x="16691" y="4418"/>
                </a:lnTo>
                <a:cubicBezTo>
                  <a:pt x="16691" y="4690"/>
                  <a:pt x="16911" y="4909"/>
                  <a:pt x="17182" y="490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8" name="Shape 2948"/>
          <p:cNvSpPr/>
          <p:nvPr/>
        </p:nvSpPr>
        <p:spPr>
          <a:xfrm>
            <a:off x="6317021" y="2467003"/>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6275" y="6273"/>
                </a:moveTo>
                <a:cubicBezTo>
                  <a:pt x="6275" y="6273"/>
                  <a:pt x="6661" y="6914"/>
                  <a:pt x="8976" y="7703"/>
                </a:cubicBezTo>
                <a:cubicBezTo>
                  <a:pt x="8976" y="7703"/>
                  <a:pt x="9413" y="7721"/>
                  <a:pt x="8899" y="7354"/>
                </a:cubicBezTo>
                <a:cubicBezTo>
                  <a:pt x="8384" y="6987"/>
                  <a:pt x="7819" y="6529"/>
                  <a:pt x="8462" y="6291"/>
                </a:cubicBezTo>
                <a:cubicBezTo>
                  <a:pt x="9104" y="6052"/>
                  <a:pt x="9285" y="6071"/>
                  <a:pt x="9439" y="6511"/>
                </a:cubicBezTo>
                <a:cubicBezTo>
                  <a:pt x="9594" y="6950"/>
                  <a:pt x="10108" y="6694"/>
                  <a:pt x="10159" y="6273"/>
                </a:cubicBezTo>
                <a:cubicBezTo>
                  <a:pt x="10211" y="5851"/>
                  <a:pt x="11163" y="5411"/>
                  <a:pt x="11806" y="5209"/>
                </a:cubicBezTo>
                <a:cubicBezTo>
                  <a:pt x="12449" y="5007"/>
                  <a:pt x="13040" y="4934"/>
                  <a:pt x="12963" y="4585"/>
                </a:cubicBezTo>
                <a:cubicBezTo>
                  <a:pt x="12886" y="4237"/>
                  <a:pt x="12706" y="3980"/>
                  <a:pt x="11703" y="3980"/>
                </a:cubicBezTo>
                <a:cubicBezTo>
                  <a:pt x="10699" y="3980"/>
                  <a:pt x="11137" y="4934"/>
                  <a:pt x="10314" y="4365"/>
                </a:cubicBezTo>
                <a:cubicBezTo>
                  <a:pt x="9491" y="3797"/>
                  <a:pt x="10493" y="3944"/>
                  <a:pt x="10905" y="3816"/>
                </a:cubicBezTo>
                <a:cubicBezTo>
                  <a:pt x="11317" y="3687"/>
                  <a:pt x="11729" y="3155"/>
                  <a:pt x="11009" y="3119"/>
                </a:cubicBezTo>
                <a:cubicBezTo>
                  <a:pt x="10287" y="3082"/>
                  <a:pt x="10442" y="3339"/>
                  <a:pt x="9876" y="3192"/>
                </a:cubicBezTo>
                <a:cubicBezTo>
                  <a:pt x="9310" y="3045"/>
                  <a:pt x="9053" y="3706"/>
                  <a:pt x="8693" y="3614"/>
                </a:cubicBezTo>
                <a:cubicBezTo>
                  <a:pt x="8519" y="3570"/>
                  <a:pt x="8131" y="3374"/>
                  <a:pt x="7770" y="3142"/>
                </a:cubicBezTo>
                <a:cubicBezTo>
                  <a:pt x="6767" y="3765"/>
                  <a:pt x="6022" y="4597"/>
                  <a:pt x="5656" y="5546"/>
                </a:cubicBezTo>
                <a:cubicBezTo>
                  <a:pt x="5919" y="6021"/>
                  <a:pt x="6275" y="6273"/>
                  <a:pt x="6275" y="6273"/>
                </a:cubicBezTo>
                <a:moveTo>
                  <a:pt x="20588" y="12027"/>
                </a:moveTo>
                <a:cubicBezTo>
                  <a:pt x="20407" y="12027"/>
                  <a:pt x="20245" y="12080"/>
                  <a:pt x="20124" y="12164"/>
                </a:cubicBezTo>
                <a:lnTo>
                  <a:pt x="20119" y="12161"/>
                </a:lnTo>
                <a:cubicBezTo>
                  <a:pt x="18145" y="13734"/>
                  <a:pt x="15310" y="14727"/>
                  <a:pt x="12150" y="14727"/>
                </a:cubicBezTo>
                <a:cubicBezTo>
                  <a:pt x="6186" y="14727"/>
                  <a:pt x="1350" y="11211"/>
                  <a:pt x="1350" y="6873"/>
                </a:cubicBezTo>
                <a:cubicBezTo>
                  <a:pt x="1350" y="4606"/>
                  <a:pt x="2678" y="2571"/>
                  <a:pt x="4788" y="1137"/>
                </a:cubicBezTo>
                <a:lnTo>
                  <a:pt x="4777" y="1127"/>
                </a:lnTo>
                <a:cubicBezTo>
                  <a:pt x="4945" y="1037"/>
                  <a:pt x="5062" y="900"/>
                  <a:pt x="5062" y="736"/>
                </a:cubicBezTo>
                <a:cubicBezTo>
                  <a:pt x="5062" y="465"/>
                  <a:pt x="4760" y="245"/>
                  <a:pt x="4388" y="245"/>
                </a:cubicBezTo>
                <a:cubicBezTo>
                  <a:pt x="4192" y="245"/>
                  <a:pt x="4020" y="308"/>
                  <a:pt x="3897" y="405"/>
                </a:cubicBezTo>
                <a:lnTo>
                  <a:pt x="3895" y="403"/>
                </a:lnTo>
                <a:cubicBezTo>
                  <a:pt x="1505" y="2016"/>
                  <a:pt x="0" y="4314"/>
                  <a:pt x="0" y="6873"/>
                </a:cubicBezTo>
                <a:cubicBezTo>
                  <a:pt x="0" y="11587"/>
                  <a:pt x="5081" y="15428"/>
                  <a:pt x="11475" y="15684"/>
                </a:cubicBezTo>
                <a:lnTo>
                  <a:pt x="11475" y="20618"/>
                </a:lnTo>
                <a:lnTo>
                  <a:pt x="7425" y="20618"/>
                </a:lnTo>
                <a:cubicBezTo>
                  <a:pt x="7052" y="20618"/>
                  <a:pt x="6750" y="20838"/>
                  <a:pt x="6750" y="21109"/>
                </a:cubicBezTo>
                <a:cubicBezTo>
                  <a:pt x="6750" y="21380"/>
                  <a:pt x="7052" y="21600"/>
                  <a:pt x="7425" y="21600"/>
                </a:cubicBezTo>
                <a:lnTo>
                  <a:pt x="16875" y="21600"/>
                </a:lnTo>
                <a:cubicBezTo>
                  <a:pt x="17247" y="21600"/>
                  <a:pt x="17550" y="21380"/>
                  <a:pt x="17550" y="21109"/>
                </a:cubicBezTo>
                <a:cubicBezTo>
                  <a:pt x="17550" y="20838"/>
                  <a:pt x="17247" y="20618"/>
                  <a:pt x="16875" y="20618"/>
                </a:cubicBezTo>
                <a:lnTo>
                  <a:pt x="12825" y="20618"/>
                </a:lnTo>
                <a:lnTo>
                  <a:pt x="12825" y="15684"/>
                </a:lnTo>
                <a:cubicBezTo>
                  <a:pt x="16068" y="15554"/>
                  <a:pt x="18970" y="14500"/>
                  <a:pt x="21045" y="12880"/>
                </a:cubicBezTo>
                <a:lnTo>
                  <a:pt x="21041" y="12877"/>
                </a:lnTo>
                <a:cubicBezTo>
                  <a:pt x="21175" y="12788"/>
                  <a:pt x="21262" y="12661"/>
                  <a:pt x="21262" y="12518"/>
                </a:cubicBezTo>
                <a:cubicBezTo>
                  <a:pt x="21262" y="12247"/>
                  <a:pt x="20960" y="12027"/>
                  <a:pt x="20588" y="12027"/>
                </a:cubicBezTo>
                <a:moveTo>
                  <a:pt x="12150" y="982"/>
                </a:moveTo>
                <a:cubicBezTo>
                  <a:pt x="16623" y="982"/>
                  <a:pt x="20250" y="3619"/>
                  <a:pt x="20250" y="6873"/>
                </a:cubicBezTo>
                <a:cubicBezTo>
                  <a:pt x="20250" y="10127"/>
                  <a:pt x="16623" y="12764"/>
                  <a:pt x="12150" y="12764"/>
                </a:cubicBezTo>
                <a:cubicBezTo>
                  <a:pt x="7677" y="12764"/>
                  <a:pt x="4050" y="10127"/>
                  <a:pt x="4050" y="6873"/>
                </a:cubicBezTo>
                <a:cubicBezTo>
                  <a:pt x="4050" y="3619"/>
                  <a:pt x="7677" y="982"/>
                  <a:pt x="12150" y="982"/>
                </a:cubicBezTo>
                <a:moveTo>
                  <a:pt x="12150" y="13745"/>
                </a:moveTo>
                <a:cubicBezTo>
                  <a:pt x="17369" y="13745"/>
                  <a:pt x="21600" y="10669"/>
                  <a:pt x="21600" y="6873"/>
                </a:cubicBezTo>
                <a:cubicBezTo>
                  <a:pt x="21600" y="3077"/>
                  <a:pt x="17369" y="0"/>
                  <a:pt x="12150" y="0"/>
                </a:cubicBezTo>
                <a:cubicBezTo>
                  <a:pt x="6931" y="0"/>
                  <a:pt x="2700" y="3077"/>
                  <a:pt x="2700" y="6873"/>
                </a:cubicBezTo>
                <a:cubicBezTo>
                  <a:pt x="2700" y="10669"/>
                  <a:pt x="6931" y="13745"/>
                  <a:pt x="12150" y="13745"/>
                </a:cubicBezTo>
                <a:moveTo>
                  <a:pt x="16733" y="8152"/>
                </a:moveTo>
                <a:cubicBezTo>
                  <a:pt x="16437" y="8280"/>
                  <a:pt x="16449" y="8564"/>
                  <a:pt x="16693" y="8720"/>
                </a:cubicBezTo>
                <a:cubicBezTo>
                  <a:pt x="16938" y="8876"/>
                  <a:pt x="17427" y="9078"/>
                  <a:pt x="17581" y="8720"/>
                </a:cubicBezTo>
                <a:cubicBezTo>
                  <a:pt x="17736" y="8362"/>
                  <a:pt x="17028" y="8023"/>
                  <a:pt x="16733" y="8152"/>
                </a:cubicBezTo>
                <a:moveTo>
                  <a:pt x="11317" y="7428"/>
                </a:moveTo>
                <a:cubicBezTo>
                  <a:pt x="10211" y="7428"/>
                  <a:pt x="9516" y="7611"/>
                  <a:pt x="9800" y="8711"/>
                </a:cubicBezTo>
                <a:cubicBezTo>
                  <a:pt x="10082" y="9811"/>
                  <a:pt x="10905" y="9316"/>
                  <a:pt x="10828" y="10160"/>
                </a:cubicBezTo>
                <a:cubicBezTo>
                  <a:pt x="10751" y="11003"/>
                  <a:pt x="11034" y="11186"/>
                  <a:pt x="11214" y="11388"/>
                </a:cubicBezTo>
                <a:cubicBezTo>
                  <a:pt x="11315" y="11501"/>
                  <a:pt x="11532" y="11731"/>
                  <a:pt x="11738" y="11767"/>
                </a:cubicBezTo>
                <a:cubicBezTo>
                  <a:pt x="11768" y="11768"/>
                  <a:pt x="11798" y="11769"/>
                  <a:pt x="11828" y="11770"/>
                </a:cubicBezTo>
                <a:cubicBezTo>
                  <a:pt x="11954" y="11751"/>
                  <a:pt x="12068" y="11642"/>
                  <a:pt x="12140" y="11351"/>
                </a:cubicBezTo>
                <a:cubicBezTo>
                  <a:pt x="12346" y="10526"/>
                  <a:pt x="12732" y="10067"/>
                  <a:pt x="13169" y="9664"/>
                </a:cubicBezTo>
                <a:cubicBezTo>
                  <a:pt x="13606" y="9261"/>
                  <a:pt x="14070" y="8729"/>
                  <a:pt x="13195" y="8197"/>
                </a:cubicBezTo>
                <a:cubicBezTo>
                  <a:pt x="12320" y="7666"/>
                  <a:pt x="12423" y="7428"/>
                  <a:pt x="11317" y="7428"/>
                </a:cubicBezTo>
                <a:moveTo>
                  <a:pt x="14404" y="3284"/>
                </a:moveTo>
                <a:cubicBezTo>
                  <a:pt x="14404" y="3284"/>
                  <a:pt x="14198" y="3431"/>
                  <a:pt x="14404" y="3962"/>
                </a:cubicBezTo>
                <a:cubicBezTo>
                  <a:pt x="14610" y="4494"/>
                  <a:pt x="14955" y="4609"/>
                  <a:pt x="15974" y="4311"/>
                </a:cubicBezTo>
                <a:cubicBezTo>
                  <a:pt x="16411" y="4182"/>
                  <a:pt x="16742" y="4248"/>
                  <a:pt x="16693" y="4567"/>
                </a:cubicBezTo>
                <a:cubicBezTo>
                  <a:pt x="16591" y="5246"/>
                  <a:pt x="15858" y="5217"/>
                  <a:pt x="16411" y="6309"/>
                </a:cubicBezTo>
                <a:cubicBezTo>
                  <a:pt x="16745" y="6969"/>
                  <a:pt x="17568" y="7226"/>
                  <a:pt x="17877" y="7739"/>
                </a:cubicBezTo>
                <a:cubicBezTo>
                  <a:pt x="17984" y="7918"/>
                  <a:pt x="18288" y="8083"/>
                  <a:pt x="18633" y="8228"/>
                </a:cubicBezTo>
                <a:cubicBezTo>
                  <a:pt x="18803" y="7797"/>
                  <a:pt x="18900" y="7344"/>
                  <a:pt x="18900" y="6873"/>
                </a:cubicBezTo>
                <a:cubicBezTo>
                  <a:pt x="18900" y="4752"/>
                  <a:pt x="17047" y="2950"/>
                  <a:pt x="14457" y="2264"/>
                </a:cubicBezTo>
                <a:cubicBezTo>
                  <a:pt x="14328" y="2411"/>
                  <a:pt x="14192" y="2545"/>
                  <a:pt x="14044" y="2605"/>
                </a:cubicBezTo>
                <a:cubicBezTo>
                  <a:pt x="13684" y="2752"/>
                  <a:pt x="13710" y="3339"/>
                  <a:pt x="14404" y="328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49" name="Shape 2949"/>
          <p:cNvSpPr/>
          <p:nvPr/>
        </p:nvSpPr>
        <p:spPr>
          <a:xfrm>
            <a:off x="6707443"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17152" y="16691"/>
                </a:moveTo>
                <a:lnTo>
                  <a:pt x="3600" y="16691"/>
                </a:lnTo>
                <a:lnTo>
                  <a:pt x="3600" y="11782"/>
                </a:lnTo>
                <a:lnTo>
                  <a:pt x="17152" y="11782"/>
                </a:lnTo>
                <a:lnTo>
                  <a:pt x="20152" y="14236"/>
                </a:lnTo>
                <a:cubicBezTo>
                  <a:pt x="20152" y="14236"/>
                  <a:pt x="17152" y="16691"/>
                  <a:pt x="17152" y="16691"/>
                </a:cubicBezTo>
                <a:close/>
                <a:moveTo>
                  <a:pt x="11400" y="20618"/>
                </a:moveTo>
                <a:lnTo>
                  <a:pt x="10200" y="20618"/>
                </a:lnTo>
                <a:lnTo>
                  <a:pt x="10200" y="17673"/>
                </a:lnTo>
                <a:lnTo>
                  <a:pt x="11400" y="17673"/>
                </a:lnTo>
                <a:cubicBezTo>
                  <a:pt x="11400" y="17673"/>
                  <a:pt x="11400" y="20618"/>
                  <a:pt x="11400" y="20618"/>
                </a:cubicBezTo>
                <a:close/>
                <a:moveTo>
                  <a:pt x="11400" y="10800"/>
                </a:moveTo>
                <a:lnTo>
                  <a:pt x="10200" y="10800"/>
                </a:lnTo>
                <a:lnTo>
                  <a:pt x="10200" y="8836"/>
                </a:lnTo>
                <a:lnTo>
                  <a:pt x="11400" y="8836"/>
                </a:lnTo>
                <a:cubicBezTo>
                  <a:pt x="11400" y="8836"/>
                  <a:pt x="11400" y="10800"/>
                  <a:pt x="11400" y="10800"/>
                </a:cubicBezTo>
                <a:close/>
                <a:moveTo>
                  <a:pt x="4448" y="7855"/>
                </a:moveTo>
                <a:lnTo>
                  <a:pt x="1448" y="5400"/>
                </a:lnTo>
                <a:lnTo>
                  <a:pt x="4448" y="2945"/>
                </a:lnTo>
                <a:lnTo>
                  <a:pt x="18000" y="2945"/>
                </a:lnTo>
                <a:lnTo>
                  <a:pt x="18000" y="7855"/>
                </a:lnTo>
                <a:cubicBezTo>
                  <a:pt x="18000" y="7855"/>
                  <a:pt x="4448" y="7855"/>
                  <a:pt x="4448" y="7855"/>
                </a:cubicBezTo>
                <a:close/>
                <a:moveTo>
                  <a:pt x="10200" y="982"/>
                </a:moveTo>
                <a:lnTo>
                  <a:pt x="11400" y="982"/>
                </a:lnTo>
                <a:lnTo>
                  <a:pt x="11400" y="1964"/>
                </a:lnTo>
                <a:lnTo>
                  <a:pt x="10200" y="1964"/>
                </a:lnTo>
                <a:cubicBezTo>
                  <a:pt x="10200" y="1964"/>
                  <a:pt x="10200" y="982"/>
                  <a:pt x="10200" y="982"/>
                </a:cubicBezTo>
                <a:close/>
                <a:moveTo>
                  <a:pt x="21424" y="13889"/>
                </a:moveTo>
                <a:lnTo>
                  <a:pt x="17824" y="10944"/>
                </a:lnTo>
                <a:cubicBezTo>
                  <a:pt x="17715" y="10855"/>
                  <a:pt x="17565" y="10800"/>
                  <a:pt x="17400" y="10800"/>
                </a:cubicBezTo>
                <a:lnTo>
                  <a:pt x="12600" y="10800"/>
                </a:lnTo>
                <a:lnTo>
                  <a:pt x="12600" y="8836"/>
                </a:lnTo>
                <a:lnTo>
                  <a:pt x="18600" y="8836"/>
                </a:lnTo>
                <a:cubicBezTo>
                  <a:pt x="18932" y="8836"/>
                  <a:pt x="19200" y="8616"/>
                  <a:pt x="19200" y="8345"/>
                </a:cubicBezTo>
                <a:lnTo>
                  <a:pt x="19200" y="2455"/>
                </a:lnTo>
                <a:cubicBezTo>
                  <a:pt x="19200" y="2184"/>
                  <a:pt x="18932" y="1964"/>
                  <a:pt x="18600" y="1964"/>
                </a:cubicBezTo>
                <a:lnTo>
                  <a:pt x="12600" y="1964"/>
                </a:lnTo>
                <a:lnTo>
                  <a:pt x="12600" y="982"/>
                </a:lnTo>
                <a:cubicBezTo>
                  <a:pt x="12600" y="440"/>
                  <a:pt x="12063" y="0"/>
                  <a:pt x="11400" y="0"/>
                </a:cubicBezTo>
                <a:lnTo>
                  <a:pt x="10200" y="0"/>
                </a:lnTo>
                <a:cubicBezTo>
                  <a:pt x="9537" y="0"/>
                  <a:pt x="9000" y="440"/>
                  <a:pt x="9000" y="982"/>
                </a:cubicBezTo>
                <a:lnTo>
                  <a:pt x="9000" y="1964"/>
                </a:lnTo>
                <a:lnTo>
                  <a:pt x="4200" y="1964"/>
                </a:lnTo>
                <a:cubicBezTo>
                  <a:pt x="4034" y="1964"/>
                  <a:pt x="3885" y="2019"/>
                  <a:pt x="3776" y="2107"/>
                </a:cubicBezTo>
                <a:lnTo>
                  <a:pt x="176" y="5053"/>
                </a:lnTo>
                <a:cubicBezTo>
                  <a:pt x="67" y="5142"/>
                  <a:pt x="0" y="5265"/>
                  <a:pt x="0" y="5400"/>
                </a:cubicBezTo>
                <a:cubicBezTo>
                  <a:pt x="0" y="5536"/>
                  <a:pt x="67" y="5658"/>
                  <a:pt x="176" y="5747"/>
                </a:cubicBezTo>
                <a:lnTo>
                  <a:pt x="3776" y="8693"/>
                </a:lnTo>
                <a:cubicBezTo>
                  <a:pt x="3885" y="8782"/>
                  <a:pt x="4034" y="8836"/>
                  <a:pt x="4200" y="8836"/>
                </a:cubicBezTo>
                <a:lnTo>
                  <a:pt x="9000" y="8836"/>
                </a:lnTo>
                <a:lnTo>
                  <a:pt x="9000" y="10800"/>
                </a:lnTo>
                <a:lnTo>
                  <a:pt x="3000" y="10800"/>
                </a:lnTo>
                <a:cubicBezTo>
                  <a:pt x="2668" y="10800"/>
                  <a:pt x="2400" y="11020"/>
                  <a:pt x="2400" y="11291"/>
                </a:cubicBezTo>
                <a:lnTo>
                  <a:pt x="2400" y="17182"/>
                </a:lnTo>
                <a:cubicBezTo>
                  <a:pt x="2400" y="17453"/>
                  <a:pt x="2668" y="17673"/>
                  <a:pt x="3000" y="17673"/>
                </a:cubicBezTo>
                <a:lnTo>
                  <a:pt x="9000" y="17673"/>
                </a:lnTo>
                <a:lnTo>
                  <a:pt x="9000" y="20618"/>
                </a:lnTo>
                <a:cubicBezTo>
                  <a:pt x="9000" y="21160"/>
                  <a:pt x="9537" y="21600"/>
                  <a:pt x="10200" y="21600"/>
                </a:cubicBezTo>
                <a:lnTo>
                  <a:pt x="11400" y="21600"/>
                </a:lnTo>
                <a:cubicBezTo>
                  <a:pt x="12063" y="21600"/>
                  <a:pt x="12600" y="21160"/>
                  <a:pt x="12600" y="20618"/>
                </a:cubicBezTo>
                <a:lnTo>
                  <a:pt x="12600" y="17673"/>
                </a:lnTo>
                <a:lnTo>
                  <a:pt x="17400" y="17673"/>
                </a:lnTo>
                <a:cubicBezTo>
                  <a:pt x="17565" y="17673"/>
                  <a:pt x="17715" y="17618"/>
                  <a:pt x="17824" y="17529"/>
                </a:cubicBezTo>
                <a:lnTo>
                  <a:pt x="21424" y="14583"/>
                </a:lnTo>
                <a:cubicBezTo>
                  <a:pt x="21533" y="14495"/>
                  <a:pt x="21600" y="14372"/>
                  <a:pt x="21600" y="14236"/>
                </a:cubicBezTo>
                <a:cubicBezTo>
                  <a:pt x="21600" y="14101"/>
                  <a:pt x="21533" y="13978"/>
                  <a:pt x="21424" y="13889"/>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0" name="Shape 2950"/>
          <p:cNvSpPr/>
          <p:nvPr/>
        </p:nvSpPr>
        <p:spPr>
          <a:xfrm>
            <a:off x="7107389" y="2467003"/>
            <a:ext cx="171406" cy="209495"/>
          </a:xfrm>
          <a:custGeom>
            <a:avLst/>
            <a:gdLst/>
            <a:ahLst/>
            <a:cxnLst>
              <a:cxn ang="0">
                <a:pos x="wd2" y="hd2"/>
              </a:cxn>
              <a:cxn ang="5400000">
                <a:pos x="wd2" y="hd2"/>
              </a:cxn>
              <a:cxn ang="10800000">
                <a:pos x="wd2" y="hd2"/>
              </a:cxn>
              <a:cxn ang="16200000">
                <a:pos x="wd2" y="hd2"/>
              </a:cxn>
            </a:cxnLst>
            <a:rect l="0" t="0" r="r" b="b"/>
            <a:pathLst>
              <a:path w="21600" h="21600" extrusionOk="0">
                <a:moveTo>
                  <a:pt x="4200" y="7855"/>
                </a:moveTo>
                <a:lnTo>
                  <a:pt x="7800" y="7855"/>
                </a:lnTo>
                <a:cubicBezTo>
                  <a:pt x="8132" y="7855"/>
                  <a:pt x="8400" y="7635"/>
                  <a:pt x="8400" y="7364"/>
                </a:cubicBezTo>
                <a:cubicBezTo>
                  <a:pt x="8400" y="7092"/>
                  <a:pt x="8132" y="6873"/>
                  <a:pt x="7800" y="6873"/>
                </a:cubicBezTo>
                <a:lnTo>
                  <a:pt x="4200" y="6873"/>
                </a:lnTo>
                <a:cubicBezTo>
                  <a:pt x="3868" y="6873"/>
                  <a:pt x="3600" y="7092"/>
                  <a:pt x="3600" y="7364"/>
                </a:cubicBezTo>
                <a:cubicBezTo>
                  <a:pt x="3600" y="7635"/>
                  <a:pt x="3868" y="7855"/>
                  <a:pt x="4200" y="7855"/>
                </a:cubicBezTo>
                <a:moveTo>
                  <a:pt x="4200" y="11782"/>
                </a:moveTo>
                <a:lnTo>
                  <a:pt x="16200" y="11782"/>
                </a:lnTo>
                <a:cubicBezTo>
                  <a:pt x="16532" y="11782"/>
                  <a:pt x="16800" y="11562"/>
                  <a:pt x="16800" y="11291"/>
                </a:cubicBezTo>
                <a:cubicBezTo>
                  <a:pt x="16800" y="11020"/>
                  <a:pt x="16532" y="10800"/>
                  <a:pt x="16200" y="10800"/>
                </a:cubicBezTo>
                <a:lnTo>
                  <a:pt x="4200" y="10800"/>
                </a:lnTo>
                <a:cubicBezTo>
                  <a:pt x="3868" y="10800"/>
                  <a:pt x="3600" y="11020"/>
                  <a:pt x="3600" y="11291"/>
                </a:cubicBezTo>
                <a:cubicBezTo>
                  <a:pt x="3600" y="11562"/>
                  <a:pt x="3868" y="11782"/>
                  <a:pt x="4200" y="11782"/>
                </a:cubicBezTo>
                <a:moveTo>
                  <a:pt x="4200" y="9818"/>
                </a:moveTo>
                <a:lnTo>
                  <a:pt x="11400" y="9818"/>
                </a:lnTo>
                <a:cubicBezTo>
                  <a:pt x="11732" y="9818"/>
                  <a:pt x="12000" y="9599"/>
                  <a:pt x="12000" y="9327"/>
                </a:cubicBezTo>
                <a:cubicBezTo>
                  <a:pt x="12000" y="9056"/>
                  <a:pt x="11732" y="8836"/>
                  <a:pt x="11400" y="8836"/>
                </a:cubicBezTo>
                <a:lnTo>
                  <a:pt x="4200" y="8836"/>
                </a:lnTo>
                <a:cubicBezTo>
                  <a:pt x="3868" y="8836"/>
                  <a:pt x="3600" y="9056"/>
                  <a:pt x="3600" y="9327"/>
                </a:cubicBezTo>
                <a:cubicBezTo>
                  <a:pt x="3600" y="9599"/>
                  <a:pt x="3868" y="9818"/>
                  <a:pt x="4200" y="9818"/>
                </a:cubicBezTo>
                <a:moveTo>
                  <a:pt x="4200" y="5891"/>
                </a:moveTo>
                <a:lnTo>
                  <a:pt x="15000" y="5891"/>
                </a:lnTo>
                <a:cubicBezTo>
                  <a:pt x="15332" y="5891"/>
                  <a:pt x="15600" y="5671"/>
                  <a:pt x="15600" y="5400"/>
                </a:cubicBezTo>
                <a:cubicBezTo>
                  <a:pt x="15600" y="5129"/>
                  <a:pt x="15332" y="4909"/>
                  <a:pt x="15000" y="4909"/>
                </a:cubicBezTo>
                <a:lnTo>
                  <a:pt x="4200" y="4909"/>
                </a:lnTo>
                <a:cubicBezTo>
                  <a:pt x="3868" y="4909"/>
                  <a:pt x="3600" y="5129"/>
                  <a:pt x="3600" y="5400"/>
                </a:cubicBezTo>
                <a:cubicBezTo>
                  <a:pt x="3600" y="5671"/>
                  <a:pt x="3868" y="5891"/>
                  <a:pt x="4200" y="5891"/>
                </a:cubicBezTo>
                <a:moveTo>
                  <a:pt x="20400" y="13745"/>
                </a:moveTo>
                <a:lnTo>
                  <a:pt x="1200" y="13745"/>
                </a:lnTo>
                <a:lnTo>
                  <a:pt x="1200" y="2945"/>
                </a:lnTo>
                <a:lnTo>
                  <a:pt x="20400" y="2945"/>
                </a:lnTo>
                <a:cubicBezTo>
                  <a:pt x="20400" y="2945"/>
                  <a:pt x="20400" y="13745"/>
                  <a:pt x="20400" y="13745"/>
                </a:cubicBezTo>
                <a:close/>
                <a:moveTo>
                  <a:pt x="11400" y="20618"/>
                </a:moveTo>
                <a:lnTo>
                  <a:pt x="10200" y="20618"/>
                </a:lnTo>
                <a:lnTo>
                  <a:pt x="10200" y="14727"/>
                </a:lnTo>
                <a:lnTo>
                  <a:pt x="11400" y="14727"/>
                </a:lnTo>
                <a:cubicBezTo>
                  <a:pt x="11400" y="14727"/>
                  <a:pt x="11400" y="20618"/>
                  <a:pt x="11400" y="20618"/>
                </a:cubicBezTo>
                <a:close/>
                <a:moveTo>
                  <a:pt x="10200" y="982"/>
                </a:moveTo>
                <a:lnTo>
                  <a:pt x="11400" y="982"/>
                </a:lnTo>
                <a:lnTo>
                  <a:pt x="11400" y="1964"/>
                </a:lnTo>
                <a:lnTo>
                  <a:pt x="10200" y="1964"/>
                </a:lnTo>
                <a:cubicBezTo>
                  <a:pt x="10200" y="1964"/>
                  <a:pt x="10200" y="982"/>
                  <a:pt x="10200" y="982"/>
                </a:cubicBezTo>
                <a:close/>
                <a:moveTo>
                  <a:pt x="20400" y="1964"/>
                </a:moveTo>
                <a:lnTo>
                  <a:pt x="12600" y="1964"/>
                </a:lnTo>
                <a:lnTo>
                  <a:pt x="12600" y="982"/>
                </a:lnTo>
                <a:cubicBezTo>
                  <a:pt x="12600" y="440"/>
                  <a:pt x="12062" y="0"/>
                  <a:pt x="11400" y="0"/>
                </a:cubicBezTo>
                <a:lnTo>
                  <a:pt x="10200" y="0"/>
                </a:lnTo>
                <a:cubicBezTo>
                  <a:pt x="9537" y="0"/>
                  <a:pt x="9000" y="440"/>
                  <a:pt x="9000" y="982"/>
                </a:cubicBezTo>
                <a:lnTo>
                  <a:pt x="9000" y="1964"/>
                </a:lnTo>
                <a:lnTo>
                  <a:pt x="1200" y="1964"/>
                </a:lnTo>
                <a:cubicBezTo>
                  <a:pt x="537" y="1964"/>
                  <a:pt x="0" y="2404"/>
                  <a:pt x="0" y="2945"/>
                </a:cubicBezTo>
                <a:lnTo>
                  <a:pt x="0" y="13745"/>
                </a:lnTo>
                <a:cubicBezTo>
                  <a:pt x="0" y="14287"/>
                  <a:pt x="537" y="14727"/>
                  <a:pt x="1200" y="14727"/>
                </a:cubicBezTo>
                <a:lnTo>
                  <a:pt x="9000" y="14727"/>
                </a:lnTo>
                <a:lnTo>
                  <a:pt x="9000" y="20618"/>
                </a:lnTo>
                <a:cubicBezTo>
                  <a:pt x="9000" y="21160"/>
                  <a:pt x="9537" y="21600"/>
                  <a:pt x="10200" y="21600"/>
                </a:cubicBezTo>
                <a:lnTo>
                  <a:pt x="11400" y="21600"/>
                </a:lnTo>
                <a:cubicBezTo>
                  <a:pt x="12062" y="21600"/>
                  <a:pt x="12600" y="21160"/>
                  <a:pt x="12600" y="20618"/>
                </a:cubicBezTo>
                <a:lnTo>
                  <a:pt x="12600" y="14727"/>
                </a:lnTo>
                <a:lnTo>
                  <a:pt x="20400" y="14727"/>
                </a:lnTo>
                <a:cubicBezTo>
                  <a:pt x="21062" y="14727"/>
                  <a:pt x="21600" y="14287"/>
                  <a:pt x="21600" y="13745"/>
                </a:cubicBezTo>
                <a:lnTo>
                  <a:pt x="21600" y="2945"/>
                </a:lnTo>
                <a:cubicBezTo>
                  <a:pt x="21600" y="2404"/>
                  <a:pt x="21062" y="1964"/>
                  <a:pt x="20400" y="1964"/>
                </a:cubicBezTo>
                <a:moveTo>
                  <a:pt x="17400" y="8836"/>
                </a:moveTo>
                <a:lnTo>
                  <a:pt x="13800" y="8836"/>
                </a:lnTo>
                <a:cubicBezTo>
                  <a:pt x="13468" y="8836"/>
                  <a:pt x="13200" y="9056"/>
                  <a:pt x="13200" y="9327"/>
                </a:cubicBezTo>
                <a:cubicBezTo>
                  <a:pt x="13200" y="9599"/>
                  <a:pt x="13468" y="9818"/>
                  <a:pt x="13800" y="9818"/>
                </a:cubicBezTo>
                <a:lnTo>
                  <a:pt x="17400" y="9818"/>
                </a:lnTo>
                <a:cubicBezTo>
                  <a:pt x="17732" y="9818"/>
                  <a:pt x="18000" y="9599"/>
                  <a:pt x="18000" y="9327"/>
                </a:cubicBezTo>
                <a:cubicBezTo>
                  <a:pt x="18000" y="9056"/>
                  <a:pt x="17732" y="8836"/>
                  <a:pt x="17400" y="8836"/>
                </a:cubicBezTo>
                <a:moveTo>
                  <a:pt x="9600" y="7364"/>
                </a:moveTo>
                <a:cubicBezTo>
                  <a:pt x="9600" y="7635"/>
                  <a:pt x="9868" y="7855"/>
                  <a:pt x="10200" y="7855"/>
                </a:cubicBezTo>
                <a:lnTo>
                  <a:pt x="17400" y="7855"/>
                </a:lnTo>
                <a:cubicBezTo>
                  <a:pt x="17732" y="7855"/>
                  <a:pt x="18000" y="7635"/>
                  <a:pt x="18000" y="7364"/>
                </a:cubicBezTo>
                <a:cubicBezTo>
                  <a:pt x="18000" y="7092"/>
                  <a:pt x="17732" y="6873"/>
                  <a:pt x="17400" y="6873"/>
                </a:cubicBezTo>
                <a:lnTo>
                  <a:pt x="10200" y="6873"/>
                </a:lnTo>
                <a:cubicBezTo>
                  <a:pt x="9868" y="6873"/>
                  <a:pt x="9600" y="7092"/>
                  <a:pt x="9600" y="7364"/>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1" name="Shape 2951"/>
          <p:cNvSpPr/>
          <p:nvPr/>
        </p:nvSpPr>
        <p:spPr>
          <a:xfrm>
            <a:off x="7488291" y="2486049"/>
            <a:ext cx="209495" cy="171405"/>
          </a:xfrm>
          <a:custGeom>
            <a:avLst/>
            <a:gdLst/>
            <a:ahLst/>
            <a:cxnLst>
              <a:cxn ang="0">
                <a:pos x="wd2" y="hd2"/>
              </a:cxn>
              <a:cxn ang="5400000">
                <a:pos x="wd2" y="hd2"/>
              </a:cxn>
              <a:cxn ang="10800000">
                <a:pos x="wd2" y="hd2"/>
              </a:cxn>
              <a:cxn ang="16200000">
                <a:pos x="wd2" y="hd2"/>
              </a:cxn>
            </a:cxnLst>
            <a:rect l="0" t="0" r="r" b="b"/>
            <a:pathLst>
              <a:path w="21600" h="21600" extrusionOk="0">
                <a:moveTo>
                  <a:pt x="19636" y="20400"/>
                </a:moveTo>
                <a:lnTo>
                  <a:pt x="1964" y="20400"/>
                </a:lnTo>
                <a:cubicBezTo>
                  <a:pt x="1422" y="20400"/>
                  <a:pt x="982" y="19862"/>
                  <a:pt x="982" y="19200"/>
                </a:cubicBezTo>
                <a:cubicBezTo>
                  <a:pt x="982" y="18949"/>
                  <a:pt x="1026" y="18796"/>
                  <a:pt x="1048" y="18735"/>
                </a:cubicBezTo>
                <a:cubicBezTo>
                  <a:pt x="1065" y="18712"/>
                  <a:pt x="1048" y="18729"/>
                  <a:pt x="1078" y="18673"/>
                </a:cubicBezTo>
                <a:lnTo>
                  <a:pt x="9915" y="1873"/>
                </a:lnTo>
                <a:cubicBezTo>
                  <a:pt x="9929" y="1843"/>
                  <a:pt x="9944" y="1813"/>
                  <a:pt x="9957" y="1783"/>
                </a:cubicBezTo>
                <a:cubicBezTo>
                  <a:pt x="9960" y="1778"/>
                  <a:pt x="10234" y="1200"/>
                  <a:pt x="10800" y="1200"/>
                </a:cubicBezTo>
                <a:cubicBezTo>
                  <a:pt x="11366" y="1200"/>
                  <a:pt x="11588" y="1654"/>
                  <a:pt x="11617" y="1719"/>
                </a:cubicBezTo>
                <a:cubicBezTo>
                  <a:pt x="11641" y="1792"/>
                  <a:pt x="11650" y="1806"/>
                  <a:pt x="11685" y="1873"/>
                </a:cubicBezTo>
                <a:lnTo>
                  <a:pt x="20522" y="18673"/>
                </a:lnTo>
                <a:cubicBezTo>
                  <a:pt x="20535" y="18697"/>
                  <a:pt x="20548" y="18720"/>
                  <a:pt x="20562" y="18743"/>
                </a:cubicBezTo>
                <a:cubicBezTo>
                  <a:pt x="20576" y="18785"/>
                  <a:pt x="20618" y="18928"/>
                  <a:pt x="20618" y="19200"/>
                </a:cubicBezTo>
                <a:cubicBezTo>
                  <a:pt x="20618" y="19862"/>
                  <a:pt x="20178" y="20400"/>
                  <a:pt x="19636" y="20400"/>
                </a:cubicBezTo>
                <a:moveTo>
                  <a:pt x="21348" y="18023"/>
                </a:moveTo>
                <a:lnTo>
                  <a:pt x="12511" y="1223"/>
                </a:lnTo>
                <a:cubicBezTo>
                  <a:pt x="12511" y="1223"/>
                  <a:pt x="12057" y="0"/>
                  <a:pt x="10800" y="0"/>
                </a:cubicBezTo>
                <a:cubicBezTo>
                  <a:pt x="9616" y="0"/>
                  <a:pt x="9089" y="1223"/>
                  <a:pt x="9089" y="1223"/>
                </a:cubicBezTo>
                <a:lnTo>
                  <a:pt x="252" y="18023"/>
                </a:lnTo>
                <a:cubicBezTo>
                  <a:pt x="252" y="18023"/>
                  <a:pt x="0" y="18421"/>
                  <a:pt x="0" y="19200"/>
                </a:cubicBezTo>
                <a:cubicBezTo>
                  <a:pt x="0" y="20525"/>
                  <a:pt x="879" y="21600"/>
                  <a:pt x="1964" y="21600"/>
                </a:cubicBezTo>
                <a:lnTo>
                  <a:pt x="19636" y="21600"/>
                </a:lnTo>
                <a:cubicBezTo>
                  <a:pt x="20721" y="21600"/>
                  <a:pt x="21600" y="20525"/>
                  <a:pt x="21600" y="19200"/>
                </a:cubicBezTo>
                <a:cubicBezTo>
                  <a:pt x="21600" y="18362"/>
                  <a:pt x="21348" y="18023"/>
                  <a:pt x="21348" y="18023"/>
                </a:cubicBezTo>
                <a:moveTo>
                  <a:pt x="13255" y="8400"/>
                </a:moveTo>
                <a:lnTo>
                  <a:pt x="10309" y="8400"/>
                </a:lnTo>
                <a:cubicBezTo>
                  <a:pt x="10038" y="8400"/>
                  <a:pt x="9818" y="8668"/>
                  <a:pt x="9818" y="9000"/>
                </a:cubicBezTo>
                <a:cubicBezTo>
                  <a:pt x="9818" y="9332"/>
                  <a:pt x="10038" y="9600"/>
                  <a:pt x="10309" y="9600"/>
                </a:cubicBezTo>
                <a:lnTo>
                  <a:pt x="11821" y="9600"/>
                </a:lnTo>
                <a:cubicBezTo>
                  <a:pt x="10310" y="11177"/>
                  <a:pt x="7852" y="14224"/>
                  <a:pt x="7852" y="17384"/>
                </a:cubicBezTo>
                <a:lnTo>
                  <a:pt x="7857" y="17384"/>
                </a:lnTo>
                <a:cubicBezTo>
                  <a:pt x="7857" y="17389"/>
                  <a:pt x="7855" y="17394"/>
                  <a:pt x="7855" y="17400"/>
                </a:cubicBezTo>
                <a:cubicBezTo>
                  <a:pt x="7855" y="17732"/>
                  <a:pt x="8074" y="18000"/>
                  <a:pt x="8345" y="18000"/>
                </a:cubicBezTo>
                <a:cubicBezTo>
                  <a:pt x="8617" y="18000"/>
                  <a:pt x="8836" y="17732"/>
                  <a:pt x="8836" y="17400"/>
                </a:cubicBezTo>
                <a:cubicBezTo>
                  <a:pt x="8836" y="17394"/>
                  <a:pt x="8833" y="17389"/>
                  <a:pt x="8833" y="17384"/>
                </a:cubicBezTo>
                <a:cubicBezTo>
                  <a:pt x="8833" y="14516"/>
                  <a:pt x="11431" y="11542"/>
                  <a:pt x="12764" y="10204"/>
                </a:cubicBezTo>
                <a:lnTo>
                  <a:pt x="12764" y="12600"/>
                </a:lnTo>
                <a:cubicBezTo>
                  <a:pt x="12764" y="12932"/>
                  <a:pt x="12983" y="13200"/>
                  <a:pt x="13255" y="13200"/>
                </a:cubicBezTo>
                <a:cubicBezTo>
                  <a:pt x="13526" y="13200"/>
                  <a:pt x="13745" y="12932"/>
                  <a:pt x="13745" y="12600"/>
                </a:cubicBezTo>
                <a:lnTo>
                  <a:pt x="13745" y="9000"/>
                </a:lnTo>
                <a:cubicBezTo>
                  <a:pt x="13745" y="8668"/>
                  <a:pt x="13526" y="8400"/>
                  <a:pt x="13255" y="8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2" name="Shape 2952"/>
          <p:cNvSpPr/>
          <p:nvPr/>
        </p:nvSpPr>
        <p:spPr>
          <a:xfrm>
            <a:off x="7888237"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9"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3" name="Shape 2953"/>
          <p:cNvSpPr/>
          <p:nvPr/>
        </p:nvSpPr>
        <p:spPr>
          <a:xfrm>
            <a:off x="8288182" y="2467003"/>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3745"/>
                </a:moveTo>
                <a:lnTo>
                  <a:pt x="982" y="13745"/>
                </a:lnTo>
                <a:lnTo>
                  <a:pt x="982" y="12764"/>
                </a:lnTo>
                <a:lnTo>
                  <a:pt x="20618" y="12764"/>
                </a:lnTo>
                <a:cubicBezTo>
                  <a:pt x="20618" y="12764"/>
                  <a:pt x="20618" y="13745"/>
                  <a:pt x="20618" y="13745"/>
                </a:cubicBezTo>
                <a:close/>
                <a:moveTo>
                  <a:pt x="17673" y="15015"/>
                </a:moveTo>
                <a:lnTo>
                  <a:pt x="16691" y="15997"/>
                </a:lnTo>
                <a:lnTo>
                  <a:pt x="16691" y="14727"/>
                </a:lnTo>
                <a:lnTo>
                  <a:pt x="17673" y="14727"/>
                </a:lnTo>
                <a:cubicBezTo>
                  <a:pt x="17673" y="14727"/>
                  <a:pt x="17673" y="15015"/>
                  <a:pt x="17673" y="15015"/>
                </a:cubicBezTo>
                <a:close/>
                <a:moveTo>
                  <a:pt x="17673" y="17960"/>
                </a:moveTo>
                <a:lnTo>
                  <a:pt x="16894" y="17182"/>
                </a:lnTo>
                <a:lnTo>
                  <a:pt x="17673" y="16403"/>
                </a:lnTo>
                <a:cubicBezTo>
                  <a:pt x="17673" y="16403"/>
                  <a:pt x="17673" y="17960"/>
                  <a:pt x="17673" y="17960"/>
                </a:cubicBezTo>
                <a:close/>
                <a:moveTo>
                  <a:pt x="16691" y="19924"/>
                </a:moveTo>
                <a:lnTo>
                  <a:pt x="16691" y="18367"/>
                </a:lnTo>
                <a:lnTo>
                  <a:pt x="17469" y="19145"/>
                </a:lnTo>
                <a:cubicBezTo>
                  <a:pt x="17469" y="19145"/>
                  <a:pt x="16691" y="19924"/>
                  <a:pt x="16691" y="19924"/>
                </a:cubicBezTo>
                <a:close/>
                <a:moveTo>
                  <a:pt x="4909" y="15997"/>
                </a:moveTo>
                <a:lnTo>
                  <a:pt x="3927" y="15015"/>
                </a:lnTo>
                <a:lnTo>
                  <a:pt x="3927" y="14727"/>
                </a:lnTo>
                <a:lnTo>
                  <a:pt x="4909" y="14727"/>
                </a:lnTo>
                <a:cubicBezTo>
                  <a:pt x="4909" y="14727"/>
                  <a:pt x="4909" y="15997"/>
                  <a:pt x="4909" y="15997"/>
                </a:cubicBezTo>
                <a:close/>
                <a:moveTo>
                  <a:pt x="3927" y="17960"/>
                </a:moveTo>
                <a:lnTo>
                  <a:pt x="3927" y="16403"/>
                </a:lnTo>
                <a:lnTo>
                  <a:pt x="4706" y="17182"/>
                </a:lnTo>
                <a:cubicBezTo>
                  <a:pt x="4706" y="17182"/>
                  <a:pt x="3927" y="17960"/>
                  <a:pt x="3927" y="17960"/>
                </a:cubicBezTo>
                <a:close/>
                <a:moveTo>
                  <a:pt x="4909" y="19924"/>
                </a:moveTo>
                <a:lnTo>
                  <a:pt x="4131" y="19145"/>
                </a:lnTo>
                <a:lnTo>
                  <a:pt x="4909" y="18367"/>
                </a:lnTo>
                <a:cubicBezTo>
                  <a:pt x="4909" y="18367"/>
                  <a:pt x="4909" y="19924"/>
                  <a:pt x="4909" y="19924"/>
                </a:cubicBezTo>
                <a:close/>
                <a:moveTo>
                  <a:pt x="1964" y="1964"/>
                </a:moveTo>
                <a:lnTo>
                  <a:pt x="19636" y="1964"/>
                </a:lnTo>
                <a:lnTo>
                  <a:pt x="19636" y="11782"/>
                </a:lnTo>
                <a:lnTo>
                  <a:pt x="1964" y="11782"/>
                </a:lnTo>
                <a:cubicBezTo>
                  <a:pt x="1964" y="11782"/>
                  <a:pt x="1964" y="1964"/>
                  <a:pt x="1964" y="1964"/>
                </a:cubicBezTo>
                <a:close/>
                <a:moveTo>
                  <a:pt x="20618" y="11782"/>
                </a:moveTo>
                <a:lnTo>
                  <a:pt x="20618" y="1964"/>
                </a:lnTo>
                <a:cubicBezTo>
                  <a:pt x="20618" y="1422"/>
                  <a:pt x="20178" y="982"/>
                  <a:pt x="19636" y="982"/>
                </a:cubicBezTo>
                <a:lnTo>
                  <a:pt x="17673" y="982"/>
                </a:lnTo>
                <a:lnTo>
                  <a:pt x="17673" y="491"/>
                </a:lnTo>
                <a:cubicBezTo>
                  <a:pt x="17673" y="220"/>
                  <a:pt x="17453" y="0"/>
                  <a:pt x="17182" y="0"/>
                </a:cubicBezTo>
                <a:cubicBezTo>
                  <a:pt x="16910" y="0"/>
                  <a:pt x="16691" y="220"/>
                  <a:pt x="16691" y="491"/>
                </a:cubicBezTo>
                <a:lnTo>
                  <a:pt x="16691" y="982"/>
                </a:lnTo>
                <a:lnTo>
                  <a:pt x="4909" y="982"/>
                </a:lnTo>
                <a:lnTo>
                  <a:pt x="4909" y="491"/>
                </a:lnTo>
                <a:cubicBezTo>
                  <a:pt x="4909" y="220"/>
                  <a:pt x="4690" y="0"/>
                  <a:pt x="4418" y="0"/>
                </a:cubicBezTo>
                <a:cubicBezTo>
                  <a:pt x="4147" y="0"/>
                  <a:pt x="3927" y="220"/>
                  <a:pt x="3927" y="491"/>
                </a:cubicBezTo>
                <a:lnTo>
                  <a:pt x="3927" y="982"/>
                </a:lnTo>
                <a:lnTo>
                  <a:pt x="1964" y="982"/>
                </a:lnTo>
                <a:cubicBezTo>
                  <a:pt x="1422" y="982"/>
                  <a:pt x="982" y="1422"/>
                  <a:pt x="982" y="1964"/>
                </a:cubicBezTo>
                <a:lnTo>
                  <a:pt x="982" y="11782"/>
                </a:lnTo>
                <a:cubicBezTo>
                  <a:pt x="440" y="11782"/>
                  <a:pt x="0" y="12222"/>
                  <a:pt x="0" y="12764"/>
                </a:cubicBezTo>
                <a:lnTo>
                  <a:pt x="0" y="13745"/>
                </a:lnTo>
                <a:cubicBezTo>
                  <a:pt x="0" y="14287"/>
                  <a:pt x="440" y="14727"/>
                  <a:pt x="982" y="14727"/>
                </a:cubicBezTo>
                <a:lnTo>
                  <a:pt x="2945" y="14727"/>
                </a:lnTo>
                <a:lnTo>
                  <a:pt x="2945" y="21109"/>
                </a:lnTo>
                <a:cubicBezTo>
                  <a:pt x="2945" y="21380"/>
                  <a:pt x="3165" y="21600"/>
                  <a:pt x="3436" y="21600"/>
                </a:cubicBezTo>
                <a:cubicBezTo>
                  <a:pt x="3708" y="21600"/>
                  <a:pt x="3927" y="21380"/>
                  <a:pt x="3927" y="21109"/>
                </a:cubicBezTo>
                <a:lnTo>
                  <a:pt x="3927" y="20331"/>
                </a:lnTo>
                <a:lnTo>
                  <a:pt x="5053" y="21456"/>
                </a:lnTo>
                <a:cubicBezTo>
                  <a:pt x="5141" y="21545"/>
                  <a:pt x="5264" y="21600"/>
                  <a:pt x="5400" y="21600"/>
                </a:cubicBezTo>
                <a:cubicBezTo>
                  <a:pt x="5671" y="21600"/>
                  <a:pt x="5891" y="21380"/>
                  <a:pt x="5891" y="21109"/>
                </a:cubicBezTo>
                <a:lnTo>
                  <a:pt x="5891" y="14727"/>
                </a:lnTo>
                <a:lnTo>
                  <a:pt x="15709" y="14727"/>
                </a:lnTo>
                <a:lnTo>
                  <a:pt x="15709" y="21109"/>
                </a:lnTo>
                <a:cubicBezTo>
                  <a:pt x="15709" y="21380"/>
                  <a:pt x="15929" y="21600"/>
                  <a:pt x="16200" y="21600"/>
                </a:cubicBezTo>
                <a:cubicBezTo>
                  <a:pt x="16336" y="21600"/>
                  <a:pt x="16458" y="21545"/>
                  <a:pt x="16548" y="21456"/>
                </a:cubicBezTo>
                <a:lnTo>
                  <a:pt x="17673" y="20331"/>
                </a:lnTo>
                <a:lnTo>
                  <a:pt x="17673" y="21109"/>
                </a:lnTo>
                <a:cubicBezTo>
                  <a:pt x="17673" y="21380"/>
                  <a:pt x="17892" y="21600"/>
                  <a:pt x="18164" y="21600"/>
                </a:cubicBezTo>
                <a:cubicBezTo>
                  <a:pt x="18435" y="21600"/>
                  <a:pt x="18655" y="21380"/>
                  <a:pt x="18655" y="21109"/>
                </a:cubicBezTo>
                <a:lnTo>
                  <a:pt x="18655" y="14727"/>
                </a:lnTo>
                <a:lnTo>
                  <a:pt x="20618" y="14727"/>
                </a:lnTo>
                <a:cubicBezTo>
                  <a:pt x="21160" y="14727"/>
                  <a:pt x="21600" y="14287"/>
                  <a:pt x="21600" y="13745"/>
                </a:cubicBezTo>
                <a:lnTo>
                  <a:pt x="21600" y="12764"/>
                </a:lnTo>
                <a:cubicBezTo>
                  <a:pt x="21600" y="12222"/>
                  <a:pt x="21160" y="11782"/>
                  <a:pt x="20618" y="11782"/>
                </a:cubicBezTo>
                <a:moveTo>
                  <a:pt x="12620" y="4072"/>
                </a:moveTo>
                <a:cubicBezTo>
                  <a:pt x="12531" y="3982"/>
                  <a:pt x="12408" y="3927"/>
                  <a:pt x="12273" y="3927"/>
                </a:cubicBezTo>
                <a:cubicBezTo>
                  <a:pt x="12001" y="3927"/>
                  <a:pt x="11782" y="4147"/>
                  <a:pt x="11782" y="4418"/>
                </a:cubicBezTo>
                <a:cubicBezTo>
                  <a:pt x="11782" y="4554"/>
                  <a:pt x="11837" y="4677"/>
                  <a:pt x="11926" y="4765"/>
                </a:cubicBezTo>
                <a:lnTo>
                  <a:pt x="13542" y="6382"/>
                </a:lnTo>
                <a:lnTo>
                  <a:pt x="6873" y="6382"/>
                </a:lnTo>
                <a:cubicBezTo>
                  <a:pt x="6601" y="6382"/>
                  <a:pt x="6382" y="6602"/>
                  <a:pt x="6382" y="6873"/>
                </a:cubicBezTo>
                <a:cubicBezTo>
                  <a:pt x="6382" y="7144"/>
                  <a:pt x="6601" y="7364"/>
                  <a:pt x="6873" y="7364"/>
                </a:cubicBezTo>
                <a:lnTo>
                  <a:pt x="13542" y="7364"/>
                </a:lnTo>
                <a:lnTo>
                  <a:pt x="11926" y="8980"/>
                </a:lnTo>
                <a:cubicBezTo>
                  <a:pt x="11837" y="9069"/>
                  <a:pt x="11782" y="9192"/>
                  <a:pt x="11782" y="9327"/>
                </a:cubicBezTo>
                <a:cubicBezTo>
                  <a:pt x="11782" y="9599"/>
                  <a:pt x="12001" y="9818"/>
                  <a:pt x="12273" y="9818"/>
                </a:cubicBezTo>
                <a:cubicBezTo>
                  <a:pt x="12408" y="9818"/>
                  <a:pt x="12531" y="9764"/>
                  <a:pt x="12620" y="9674"/>
                </a:cubicBezTo>
                <a:lnTo>
                  <a:pt x="15074" y="7220"/>
                </a:lnTo>
                <a:cubicBezTo>
                  <a:pt x="15163" y="7131"/>
                  <a:pt x="15218" y="7008"/>
                  <a:pt x="15218" y="6873"/>
                </a:cubicBezTo>
                <a:cubicBezTo>
                  <a:pt x="15218" y="6738"/>
                  <a:pt x="15163" y="6614"/>
                  <a:pt x="15074" y="6526"/>
                </a:cubicBezTo>
                <a:cubicBezTo>
                  <a:pt x="15074" y="6526"/>
                  <a:pt x="12620" y="4072"/>
                  <a:pt x="12620" y="4072"/>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5" name="Shape 2955"/>
          <p:cNvSpPr/>
          <p:nvPr/>
        </p:nvSpPr>
        <p:spPr>
          <a:xfrm>
            <a:off x="660644"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7673"/>
                </a:moveTo>
                <a:cubicBezTo>
                  <a:pt x="10529" y="17673"/>
                  <a:pt x="10309" y="17892"/>
                  <a:pt x="10309" y="18164"/>
                </a:cubicBezTo>
                <a:lnTo>
                  <a:pt x="10309" y="21109"/>
                </a:lnTo>
                <a:cubicBezTo>
                  <a:pt x="10309" y="21380"/>
                  <a:pt x="10529" y="21600"/>
                  <a:pt x="10800" y="21600"/>
                </a:cubicBezTo>
                <a:cubicBezTo>
                  <a:pt x="11071" y="21600"/>
                  <a:pt x="11291" y="21380"/>
                  <a:pt x="11291" y="21109"/>
                </a:cubicBezTo>
                <a:lnTo>
                  <a:pt x="11291" y="18164"/>
                </a:lnTo>
                <a:cubicBezTo>
                  <a:pt x="11291" y="17892"/>
                  <a:pt x="11071" y="17673"/>
                  <a:pt x="10800" y="17673"/>
                </a:cubicBezTo>
                <a:moveTo>
                  <a:pt x="10800" y="15709"/>
                </a:moveTo>
                <a:cubicBezTo>
                  <a:pt x="8089" y="15709"/>
                  <a:pt x="5891" y="13511"/>
                  <a:pt x="5891" y="10800"/>
                </a:cubicBezTo>
                <a:cubicBezTo>
                  <a:pt x="5891" y="8088"/>
                  <a:pt x="8089" y="5891"/>
                  <a:pt x="10800" y="5891"/>
                </a:cubicBezTo>
                <a:cubicBezTo>
                  <a:pt x="13511" y="5891"/>
                  <a:pt x="15709" y="8088"/>
                  <a:pt x="15709" y="10800"/>
                </a:cubicBezTo>
                <a:cubicBezTo>
                  <a:pt x="15709" y="13511"/>
                  <a:pt x="13511" y="15709"/>
                  <a:pt x="10800" y="15709"/>
                </a:cubicBezTo>
                <a:moveTo>
                  <a:pt x="10800" y="4909"/>
                </a:moveTo>
                <a:cubicBezTo>
                  <a:pt x="7547" y="4909"/>
                  <a:pt x="4909" y="7547"/>
                  <a:pt x="4909" y="10800"/>
                </a:cubicBezTo>
                <a:cubicBezTo>
                  <a:pt x="4909" y="14054"/>
                  <a:pt x="7547" y="16691"/>
                  <a:pt x="10800" y="16691"/>
                </a:cubicBezTo>
                <a:cubicBezTo>
                  <a:pt x="14053" y="16691"/>
                  <a:pt x="16691" y="14054"/>
                  <a:pt x="16691" y="10800"/>
                </a:cubicBezTo>
                <a:cubicBezTo>
                  <a:pt x="16691" y="7547"/>
                  <a:pt x="14053" y="4909"/>
                  <a:pt x="10800" y="4909"/>
                </a:cubicBezTo>
                <a:moveTo>
                  <a:pt x="16354" y="15660"/>
                </a:moveTo>
                <a:cubicBezTo>
                  <a:pt x="16162" y="15468"/>
                  <a:pt x="15851" y="15468"/>
                  <a:pt x="15659" y="15660"/>
                </a:cubicBezTo>
                <a:cubicBezTo>
                  <a:pt x="15468" y="15851"/>
                  <a:pt x="15468" y="16163"/>
                  <a:pt x="15659" y="16354"/>
                </a:cubicBezTo>
                <a:lnTo>
                  <a:pt x="17742" y="18437"/>
                </a:lnTo>
                <a:cubicBezTo>
                  <a:pt x="17934" y="18629"/>
                  <a:pt x="18245" y="18629"/>
                  <a:pt x="18437" y="18437"/>
                </a:cubicBezTo>
                <a:cubicBezTo>
                  <a:pt x="18628" y="18245"/>
                  <a:pt x="18628" y="17934"/>
                  <a:pt x="18437" y="17743"/>
                </a:cubicBezTo>
                <a:cubicBezTo>
                  <a:pt x="18437" y="17743"/>
                  <a:pt x="16354" y="15660"/>
                  <a:pt x="16354" y="15660"/>
                </a:cubicBezTo>
                <a:close/>
                <a:moveTo>
                  <a:pt x="21109" y="10309"/>
                </a:moveTo>
                <a:lnTo>
                  <a:pt x="18164" y="10309"/>
                </a:lnTo>
                <a:cubicBezTo>
                  <a:pt x="17893" y="10309"/>
                  <a:pt x="17673" y="10529"/>
                  <a:pt x="17673" y="10800"/>
                </a:cubicBezTo>
                <a:cubicBezTo>
                  <a:pt x="17673" y="11071"/>
                  <a:pt x="17893" y="11291"/>
                  <a:pt x="18164" y="11291"/>
                </a:cubicBezTo>
                <a:lnTo>
                  <a:pt x="21109" y="11291"/>
                </a:lnTo>
                <a:cubicBezTo>
                  <a:pt x="21380" y="11291"/>
                  <a:pt x="21600" y="11071"/>
                  <a:pt x="21600" y="10800"/>
                </a:cubicBezTo>
                <a:cubicBezTo>
                  <a:pt x="21600" y="10529"/>
                  <a:pt x="21380" y="10309"/>
                  <a:pt x="21109" y="10309"/>
                </a:cubicBezTo>
                <a:moveTo>
                  <a:pt x="5246" y="15660"/>
                </a:moveTo>
                <a:lnTo>
                  <a:pt x="3163" y="17743"/>
                </a:lnTo>
                <a:cubicBezTo>
                  <a:pt x="2972" y="17934"/>
                  <a:pt x="2972" y="18245"/>
                  <a:pt x="3163" y="18437"/>
                </a:cubicBezTo>
                <a:cubicBezTo>
                  <a:pt x="3355" y="18629"/>
                  <a:pt x="3666" y="18629"/>
                  <a:pt x="3858" y="18437"/>
                </a:cubicBezTo>
                <a:lnTo>
                  <a:pt x="5941" y="16354"/>
                </a:lnTo>
                <a:cubicBezTo>
                  <a:pt x="6132" y="16163"/>
                  <a:pt x="6132" y="15851"/>
                  <a:pt x="5941" y="15660"/>
                </a:cubicBezTo>
                <a:cubicBezTo>
                  <a:pt x="5749" y="15468"/>
                  <a:pt x="5438" y="15468"/>
                  <a:pt x="5246" y="15660"/>
                </a:cubicBezTo>
                <a:moveTo>
                  <a:pt x="16354" y="5941"/>
                </a:moveTo>
                <a:lnTo>
                  <a:pt x="18437" y="3857"/>
                </a:lnTo>
                <a:cubicBezTo>
                  <a:pt x="18628" y="3666"/>
                  <a:pt x="18628" y="3355"/>
                  <a:pt x="18437" y="3163"/>
                </a:cubicBezTo>
                <a:cubicBezTo>
                  <a:pt x="18245" y="2971"/>
                  <a:pt x="17934" y="2971"/>
                  <a:pt x="17742" y="3163"/>
                </a:cubicBezTo>
                <a:lnTo>
                  <a:pt x="15659" y="5247"/>
                </a:lnTo>
                <a:cubicBezTo>
                  <a:pt x="15468" y="5437"/>
                  <a:pt x="15468" y="5749"/>
                  <a:pt x="15659" y="5941"/>
                </a:cubicBezTo>
                <a:cubicBezTo>
                  <a:pt x="15851" y="6132"/>
                  <a:pt x="16162" y="6132"/>
                  <a:pt x="16354" y="5941"/>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3927" y="10800"/>
                </a:moveTo>
                <a:cubicBezTo>
                  <a:pt x="3927" y="10529"/>
                  <a:pt x="3707" y="10309"/>
                  <a:pt x="3436" y="10309"/>
                </a:cubicBezTo>
                <a:lnTo>
                  <a:pt x="491" y="10309"/>
                </a:lnTo>
                <a:cubicBezTo>
                  <a:pt x="220" y="10309"/>
                  <a:pt x="0" y="10529"/>
                  <a:pt x="0" y="10800"/>
                </a:cubicBezTo>
                <a:cubicBezTo>
                  <a:pt x="0" y="11071"/>
                  <a:pt x="220" y="11291"/>
                  <a:pt x="491" y="11291"/>
                </a:cubicBezTo>
                <a:lnTo>
                  <a:pt x="3436" y="11291"/>
                </a:lnTo>
                <a:cubicBezTo>
                  <a:pt x="3707" y="11291"/>
                  <a:pt x="3927" y="11071"/>
                  <a:pt x="3927" y="10800"/>
                </a:cubicBezTo>
                <a:moveTo>
                  <a:pt x="5246" y="5941"/>
                </a:moveTo>
                <a:cubicBezTo>
                  <a:pt x="5438" y="6132"/>
                  <a:pt x="5749" y="6132"/>
                  <a:pt x="5941" y="5941"/>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1"/>
                  <a:pt x="5246" y="5941"/>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6" name="Shape 2956"/>
          <p:cNvSpPr/>
          <p:nvPr/>
        </p:nvSpPr>
        <p:spPr>
          <a:xfrm>
            <a:off x="1060590"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415"/>
                </a:moveTo>
                <a:lnTo>
                  <a:pt x="9040" y="18655"/>
                </a:lnTo>
                <a:lnTo>
                  <a:pt x="9327" y="18655"/>
                </a:lnTo>
                <a:cubicBezTo>
                  <a:pt x="9598" y="18655"/>
                  <a:pt x="9818" y="18435"/>
                  <a:pt x="9818" y="18164"/>
                </a:cubicBezTo>
                <a:lnTo>
                  <a:pt x="9818" y="15709"/>
                </a:lnTo>
                <a:lnTo>
                  <a:pt x="11782" y="15709"/>
                </a:lnTo>
                <a:lnTo>
                  <a:pt x="11782" y="18164"/>
                </a:lnTo>
                <a:cubicBezTo>
                  <a:pt x="11782" y="18435"/>
                  <a:pt x="12002" y="18655"/>
                  <a:pt x="12273" y="18655"/>
                </a:cubicBezTo>
                <a:lnTo>
                  <a:pt x="12560" y="18655"/>
                </a:lnTo>
                <a:cubicBezTo>
                  <a:pt x="12560" y="18655"/>
                  <a:pt x="10800" y="20415"/>
                  <a:pt x="10800" y="20415"/>
                </a:cubicBezTo>
                <a:close/>
                <a:moveTo>
                  <a:pt x="13745" y="17673"/>
                </a:moveTo>
                <a:lnTo>
                  <a:pt x="12764" y="17673"/>
                </a:lnTo>
                <a:lnTo>
                  <a:pt x="12764" y="15218"/>
                </a:lnTo>
                <a:cubicBezTo>
                  <a:pt x="12764" y="14947"/>
                  <a:pt x="12544" y="14727"/>
                  <a:pt x="12273" y="14727"/>
                </a:cubicBezTo>
                <a:lnTo>
                  <a:pt x="9327" y="14727"/>
                </a:lnTo>
                <a:cubicBezTo>
                  <a:pt x="9056" y="14727"/>
                  <a:pt x="8836" y="14947"/>
                  <a:pt x="8836" y="15218"/>
                </a:cubicBezTo>
                <a:lnTo>
                  <a:pt x="8836" y="17673"/>
                </a:lnTo>
                <a:lnTo>
                  <a:pt x="7855" y="17673"/>
                </a:lnTo>
                <a:cubicBezTo>
                  <a:pt x="7584" y="17673"/>
                  <a:pt x="7364" y="17892"/>
                  <a:pt x="7364" y="18164"/>
                </a:cubicBezTo>
                <a:cubicBezTo>
                  <a:pt x="7364" y="18299"/>
                  <a:pt x="7419" y="18422"/>
                  <a:pt x="7507" y="18511"/>
                </a:cubicBezTo>
                <a:lnTo>
                  <a:pt x="10453" y="21456"/>
                </a:lnTo>
                <a:cubicBezTo>
                  <a:pt x="10542" y="21545"/>
                  <a:pt x="10665" y="21600"/>
                  <a:pt x="10800" y="21600"/>
                </a:cubicBezTo>
                <a:cubicBezTo>
                  <a:pt x="10935" y="21600"/>
                  <a:pt x="11058" y="21545"/>
                  <a:pt x="11147" y="21456"/>
                </a:cubicBezTo>
                <a:lnTo>
                  <a:pt x="14093" y="18511"/>
                </a:lnTo>
                <a:cubicBezTo>
                  <a:pt x="14181" y="18422"/>
                  <a:pt x="14236" y="18299"/>
                  <a:pt x="14236" y="18164"/>
                </a:cubicBezTo>
                <a:cubicBezTo>
                  <a:pt x="14236" y="17892"/>
                  <a:pt x="14016" y="17673"/>
                  <a:pt x="13745" y="17673"/>
                </a:cubicBezTo>
                <a:moveTo>
                  <a:pt x="5891" y="10800"/>
                </a:moveTo>
                <a:cubicBezTo>
                  <a:pt x="5891" y="8088"/>
                  <a:pt x="8089" y="5891"/>
                  <a:pt x="10800" y="5891"/>
                </a:cubicBezTo>
                <a:cubicBezTo>
                  <a:pt x="13511" y="5891"/>
                  <a:pt x="15709" y="8088"/>
                  <a:pt x="15709" y="10800"/>
                </a:cubicBezTo>
                <a:cubicBezTo>
                  <a:pt x="15709" y="10800"/>
                  <a:pt x="5891" y="10800"/>
                  <a:pt x="5891" y="10800"/>
                </a:cubicBezTo>
                <a:close/>
                <a:moveTo>
                  <a:pt x="21109" y="10800"/>
                </a:moveTo>
                <a:lnTo>
                  <a:pt x="16691" y="10800"/>
                </a:lnTo>
                <a:cubicBezTo>
                  <a:pt x="16691" y="7547"/>
                  <a:pt x="14053" y="4909"/>
                  <a:pt x="10800" y="4909"/>
                </a:cubicBezTo>
                <a:cubicBezTo>
                  <a:pt x="7547" y="4909"/>
                  <a:pt x="4909" y="7547"/>
                  <a:pt x="4909" y="10800"/>
                </a:cubicBezTo>
                <a:lnTo>
                  <a:pt x="491" y="10800"/>
                </a:lnTo>
                <a:cubicBezTo>
                  <a:pt x="220" y="10800"/>
                  <a:pt x="0" y="11020"/>
                  <a:pt x="0" y="11291"/>
                </a:cubicBezTo>
                <a:cubicBezTo>
                  <a:pt x="0" y="11562"/>
                  <a:pt x="220" y="11782"/>
                  <a:pt x="491" y="11782"/>
                </a:cubicBezTo>
                <a:lnTo>
                  <a:pt x="21109" y="11782"/>
                </a:lnTo>
                <a:cubicBezTo>
                  <a:pt x="21380" y="11782"/>
                  <a:pt x="21600" y="11562"/>
                  <a:pt x="21600" y="11291"/>
                </a:cubicBezTo>
                <a:cubicBezTo>
                  <a:pt x="21600" y="11020"/>
                  <a:pt x="21380" y="10800"/>
                  <a:pt x="21109" y="10800"/>
                </a:cubicBezTo>
                <a:moveTo>
                  <a:pt x="10800" y="3927"/>
                </a:moveTo>
                <a:cubicBezTo>
                  <a:pt x="11071" y="3927"/>
                  <a:pt x="11291" y="3708"/>
                  <a:pt x="11291" y="3436"/>
                </a:cubicBezTo>
                <a:lnTo>
                  <a:pt x="11291" y="491"/>
                </a:lnTo>
                <a:cubicBezTo>
                  <a:pt x="11291" y="220"/>
                  <a:pt x="11071" y="0"/>
                  <a:pt x="10800" y="0"/>
                </a:cubicBezTo>
                <a:cubicBezTo>
                  <a:pt x="10529" y="0"/>
                  <a:pt x="10309" y="220"/>
                  <a:pt x="10309" y="491"/>
                </a:cubicBezTo>
                <a:lnTo>
                  <a:pt x="10309" y="3436"/>
                </a:lnTo>
                <a:cubicBezTo>
                  <a:pt x="10309" y="3708"/>
                  <a:pt x="10529" y="3927"/>
                  <a:pt x="10800" y="3927"/>
                </a:cubicBezTo>
                <a:moveTo>
                  <a:pt x="16354" y="5940"/>
                </a:moveTo>
                <a:lnTo>
                  <a:pt x="18437" y="3857"/>
                </a:lnTo>
                <a:cubicBezTo>
                  <a:pt x="18628" y="3666"/>
                  <a:pt x="18628" y="3355"/>
                  <a:pt x="18437" y="3163"/>
                </a:cubicBezTo>
                <a:cubicBezTo>
                  <a:pt x="18245" y="2971"/>
                  <a:pt x="17934" y="2971"/>
                  <a:pt x="17742" y="3163"/>
                </a:cubicBezTo>
                <a:lnTo>
                  <a:pt x="15659" y="5247"/>
                </a:lnTo>
                <a:cubicBezTo>
                  <a:pt x="15468" y="5437"/>
                  <a:pt x="15468" y="5749"/>
                  <a:pt x="15659" y="5940"/>
                </a:cubicBezTo>
                <a:cubicBezTo>
                  <a:pt x="15851" y="6132"/>
                  <a:pt x="16162" y="6132"/>
                  <a:pt x="16354" y="5940"/>
                </a:cubicBezTo>
                <a:moveTo>
                  <a:pt x="5246" y="5940"/>
                </a:moveTo>
                <a:cubicBezTo>
                  <a:pt x="5438" y="6132"/>
                  <a:pt x="5749" y="6132"/>
                  <a:pt x="5941" y="5940"/>
                </a:cubicBezTo>
                <a:cubicBezTo>
                  <a:pt x="6132" y="5749"/>
                  <a:pt x="6132" y="5437"/>
                  <a:pt x="5941" y="5247"/>
                </a:cubicBezTo>
                <a:lnTo>
                  <a:pt x="3858" y="3163"/>
                </a:lnTo>
                <a:cubicBezTo>
                  <a:pt x="3666" y="2971"/>
                  <a:pt x="3355" y="2971"/>
                  <a:pt x="3163" y="3163"/>
                </a:cubicBezTo>
                <a:cubicBezTo>
                  <a:pt x="2972" y="3355"/>
                  <a:pt x="2972" y="3666"/>
                  <a:pt x="3163" y="3857"/>
                </a:cubicBezTo>
                <a:cubicBezTo>
                  <a:pt x="3163" y="3857"/>
                  <a:pt x="5246" y="5940"/>
                  <a:pt x="5246" y="5940"/>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7" name="Shape 2957"/>
          <p:cNvSpPr/>
          <p:nvPr/>
        </p:nvSpPr>
        <p:spPr>
          <a:xfrm>
            <a:off x="1460536"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1185"/>
                </a:moveTo>
                <a:lnTo>
                  <a:pt x="12560" y="2945"/>
                </a:lnTo>
                <a:lnTo>
                  <a:pt x="12273" y="2945"/>
                </a:lnTo>
                <a:cubicBezTo>
                  <a:pt x="12002" y="2945"/>
                  <a:pt x="11782" y="3165"/>
                  <a:pt x="11782" y="3436"/>
                </a:cubicBezTo>
                <a:lnTo>
                  <a:pt x="11782" y="5891"/>
                </a:lnTo>
                <a:lnTo>
                  <a:pt x="9818" y="5891"/>
                </a:lnTo>
                <a:lnTo>
                  <a:pt x="9818" y="3436"/>
                </a:lnTo>
                <a:cubicBezTo>
                  <a:pt x="9818" y="3165"/>
                  <a:pt x="9598" y="2945"/>
                  <a:pt x="9327" y="2945"/>
                </a:cubicBezTo>
                <a:lnTo>
                  <a:pt x="9040" y="2945"/>
                </a:lnTo>
                <a:cubicBezTo>
                  <a:pt x="9040" y="2945"/>
                  <a:pt x="10800" y="1185"/>
                  <a:pt x="10800" y="1185"/>
                </a:cubicBezTo>
                <a:close/>
                <a:moveTo>
                  <a:pt x="7855" y="3927"/>
                </a:moveTo>
                <a:lnTo>
                  <a:pt x="8836" y="3927"/>
                </a:lnTo>
                <a:lnTo>
                  <a:pt x="8836" y="6382"/>
                </a:lnTo>
                <a:cubicBezTo>
                  <a:pt x="8836" y="6653"/>
                  <a:pt x="9056" y="6873"/>
                  <a:pt x="9327" y="6873"/>
                </a:cubicBezTo>
                <a:lnTo>
                  <a:pt x="12273" y="6873"/>
                </a:lnTo>
                <a:cubicBezTo>
                  <a:pt x="12544" y="6873"/>
                  <a:pt x="12764" y="6653"/>
                  <a:pt x="12764" y="6382"/>
                </a:cubicBezTo>
                <a:lnTo>
                  <a:pt x="12764" y="3927"/>
                </a:lnTo>
                <a:lnTo>
                  <a:pt x="13745" y="3927"/>
                </a:lnTo>
                <a:cubicBezTo>
                  <a:pt x="14016" y="3927"/>
                  <a:pt x="14236" y="3708"/>
                  <a:pt x="14236" y="3436"/>
                </a:cubicBezTo>
                <a:cubicBezTo>
                  <a:pt x="14236" y="3301"/>
                  <a:pt x="14181" y="3178"/>
                  <a:pt x="14093" y="3089"/>
                </a:cubicBezTo>
                <a:lnTo>
                  <a:pt x="11147" y="144"/>
                </a:lnTo>
                <a:cubicBezTo>
                  <a:pt x="11059" y="55"/>
                  <a:pt x="10935" y="0"/>
                  <a:pt x="10800" y="0"/>
                </a:cubicBezTo>
                <a:cubicBezTo>
                  <a:pt x="10665" y="0"/>
                  <a:pt x="10542" y="55"/>
                  <a:pt x="10452" y="144"/>
                </a:cubicBezTo>
                <a:lnTo>
                  <a:pt x="7507" y="3089"/>
                </a:lnTo>
                <a:cubicBezTo>
                  <a:pt x="7419" y="3178"/>
                  <a:pt x="7364" y="3301"/>
                  <a:pt x="7364" y="3436"/>
                </a:cubicBezTo>
                <a:cubicBezTo>
                  <a:pt x="7364" y="3708"/>
                  <a:pt x="7584" y="3927"/>
                  <a:pt x="7855" y="3927"/>
                </a:cubicBezTo>
                <a:moveTo>
                  <a:pt x="5246" y="15759"/>
                </a:moveTo>
                <a:cubicBezTo>
                  <a:pt x="5438" y="15950"/>
                  <a:pt x="5749" y="15950"/>
                  <a:pt x="5941" y="15759"/>
                </a:cubicBezTo>
                <a:cubicBezTo>
                  <a:pt x="6132" y="15567"/>
                  <a:pt x="6132" y="15256"/>
                  <a:pt x="5941" y="15064"/>
                </a:cubicBezTo>
                <a:lnTo>
                  <a:pt x="3858" y="12981"/>
                </a:lnTo>
                <a:cubicBezTo>
                  <a:pt x="3666" y="12790"/>
                  <a:pt x="3355" y="12790"/>
                  <a:pt x="3163" y="12981"/>
                </a:cubicBezTo>
                <a:cubicBezTo>
                  <a:pt x="2971" y="13173"/>
                  <a:pt x="2971" y="13484"/>
                  <a:pt x="3163" y="13675"/>
                </a:cubicBezTo>
                <a:cubicBezTo>
                  <a:pt x="3163" y="13675"/>
                  <a:pt x="5246" y="15759"/>
                  <a:pt x="5246" y="15759"/>
                </a:cubicBezTo>
                <a:close/>
                <a:moveTo>
                  <a:pt x="10309" y="10309"/>
                </a:moveTo>
                <a:lnTo>
                  <a:pt x="10309" y="13255"/>
                </a:lnTo>
                <a:cubicBezTo>
                  <a:pt x="10309" y="13526"/>
                  <a:pt x="10529" y="13745"/>
                  <a:pt x="10800" y="13745"/>
                </a:cubicBezTo>
                <a:cubicBezTo>
                  <a:pt x="11071" y="13745"/>
                  <a:pt x="11291" y="13526"/>
                  <a:pt x="11291" y="13255"/>
                </a:cubicBezTo>
                <a:lnTo>
                  <a:pt x="11291" y="10309"/>
                </a:lnTo>
                <a:cubicBezTo>
                  <a:pt x="11291" y="10038"/>
                  <a:pt x="11071" y="9818"/>
                  <a:pt x="10800" y="9818"/>
                </a:cubicBezTo>
                <a:cubicBezTo>
                  <a:pt x="10529" y="9818"/>
                  <a:pt x="10309" y="10038"/>
                  <a:pt x="10309" y="10309"/>
                </a:cubicBezTo>
                <a:moveTo>
                  <a:pt x="16354" y="15759"/>
                </a:moveTo>
                <a:lnTo>
                  <a:pt x="18437" y="13675"/>
                </a:lnTo>
                <a:cubicBezTo>
                  <a:pt x="18628" y="13484"/>
                  <a:pt x="18628" y="13173"/>
                  <a:pt x="18437" y="12981"/>
                </a:cubicBezTo>
                <a:cubicBezTo>
                  <a:pt x="18245" y="12790"/>
                  <a:pt x="17934" y="12790"/>
                  <a:pt x="17742" y="12981"/>
                </a:cubicBezTo>
                <a:lnTo>
                  <a:pt x="15659" y="15064"/>
                </a:lnTo>
                <a:cubicBezTo>
                  <a:pt x="15468" y="15256"/>
                  <a:pt x="15468" y="15567"/>
                  <a:pt x="15659" y="15759"/>
                </a:cubicBezTo>
                <a:cubicBezTo>
                  <a:pt x="15851" y="15950"/>
                  <a:pt x="16162" y="15950"/>
                  <a:pt x="16354" y="15759"/>
                </a:cubicBezTo>
                <a:moveTo>
                  <a:pt x="5891" y="20618"/>
                </a:moveTo>
                <a:cubicBezTo>
                  <a:pt x="5891" y="17907"/>
                  <a:pt x="8089" y="15709"/>
                  <a:pt x="10800" y="15709"/>
                </a:cubicBezTo>
                <a:cubicBezTo>
                  <a:pt x="13511" y="15709"/>
                  <a:pt x="15709" y="17907"/>
                  <a:pt x="15709" y="20618"/>
                </a:cubicBezTo>
                <a:cubicBezTo>
                  <a:pt x="15709" y="20618"/>
                  <a:pt x="5891" y="20618"/>
                  <a:pt x="5891" y="20618"/>
                </a:cubicBezTo>
                <a:close/>
                <a:moveTo>
                  <a:pt x="21109" y="20618"/>
                </a:moveTo>
                <a:lnTo>
                  <a:pt x="16691" y="20618"/>
                </a:lnTo>
                <a:cubicBezTo>
                  <a:pt x="16691" y="17365"/>
                  <a:pt x="14053" y="14727"/>
                  <a:pt x="10800" y="14727"/>
                </a:cubicBezTo>
                <a:cubicBezTo>
                  <a:pt x="7547" y="14727"/>
                  <a:pt x="4909" y="17365"/>
                  <a:pt x="4909" y="20618"/>
                </a:cubicBezTo>
                <a:lnTo>
                  <a:pt x="491" y="20618"/>
                </a:lnTo>
                <a:cubicBezTo>
                  <a:pt x="220" y="20618"/>
                  <a:pt x="0" y="20838"/>
                  <a:pt x="0" y="21109"/>
                </a:cubicBezTo>
                <a:cubicBezTo>
                  <a:pt x="0" y="21380"/>
                  <a:pt x="220" y="21600"/>
                  <a:pt x="491" y="21600"/>
                </a:cubicBezTo>
                <a:lnTo>
                  <a:pt x="21109" y="21600"/>
                </a:lnTo>
                <a:cubicBezTo>
                  <a:pt x="21380" y="21600"/>
                  <a:pt x="21600" y="21380"/>
                  <a:pt x="21600" y="21109"/>
                </a:cubicBezTo>
                <a:cubicBezTo>
                  <a:pt x="21600" y="20838"/>
                  <a:pt x="21380" y="20618"/>
                  <a:pt x="21109" y="206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8" name="Shape 2958"/>
          <p:cNvSpPr/>
          <p:nvPr/>
        </p:nvSpPr>
        <p:spPr>
          <a:xfrm>
            <a:off x="1860482"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1600" y="1964"/>
                </a:moveTo>
                <a:lnTo>
                  <a:pt x="19636" y="1964"/>
                </a:lnTo>
                <a:lnTo>
                  <a:pt x="18900" y="0"/>
                </a:lnTo>
                <a:lnTo>
                  <a:pt x="18164" y="1964"/>
                </a:lnTo>
                <a:lnTo>
                  <a:pt x="16200" y="1964"/>
                </a:lnTo>
                <a:lnTo>
                  <a:pt x="17795" y="3191"/>
                </a:lnTo>
                <a:lnTo>
                  <a:pt x="17059" y="5400"/>
                </a:lnTo>
                <a:lnTo>
                  <a:pt x="18900" y="4050"/>
                </a:lnTo>
                <a:lnTo>
                  <a:pt x="20741" y="5400"/>
                </a:lnTo>
                <a:lnTo>
                  <a:pt x="20005" y="3191"/>
                </a:lnTo>
                <a:cubicBezTo>
                  <a:pt x="20005" y="3191"/>
                  <a:pt x="21600" y="1964"/>
                  <a:pt x="21600" y="1964"/>
                </a:cubicBezTo>
                <a:close/>
                <a:moveTo>
                  <a:pt x="10800" y="20616"/>
                </a:moveTo>
                <a:cubicBezTo>
                  <a:pt x="5386" y="20616"/>
                  <a:pt x="982" y="16203"/>
                  <a:pt x="982" y="10777"/>
                </a:cubicBezTo>
                <a:cubicBezTo>
                  <a:pt x="982" y="6434"/>
                  <a:pt x="3745" y="2741"/>
                  <a:pt x="7690" y="1441"/>
                </a:cubicBezTo>
                <a:cubicBezTo>
                  <a:pt x="6837" y="3102"/>
                  <a:pt x="6382" y="4957"/>
                  <a:pt x="6382" y="6841"/>
                </a:cubicBezTo>
                <a:cubicBezTo>
                  <a:pt x="6382" y="13004"/>
                  <a:pt x="11118" y="18079"/>
                  <a:pt x="17134" y="18604"/>
                </a:cubicBezTo>
                <a:cubicBezTo>
                  <a:pt x="15361" y="19863"/>
                  <a:pt x="13065" y="20616"/>
                  <a:pt x="10800" y="20616"/>
                </a:cubicBezTo>
                <a:moveTo>
                  <a:pt x="7364" y="6841"/>
                </a:moveTo>
                <a:cubicBezTo>
                  <a:pt x="7364" y="4248"/>
                  <a:pt x="8276" y="1870"/>
                  <a:pt x="9794" y="5"/>
                </a:cubicBezTo>
                <a:cubicBezTo>
                  <a:pt x="4302" y="514"/>
                  <a:pt x="0" y="5140"/>
                  <a:pt x="0" y="10777"/>
                </a:cubicBezTo>
                <a:cubicBezTo>
                  <a:pt x="0" y="16755"/>
                  <a:pt x="4836" y="21600"/>
                  <a:pt x="10800" y="21600"/>
                </a:cubicBezTo>
                <a:cubicBezTo>
                  <a:pt x="14176" y="21600"/>
                  <a:pt x="17656" y="20045"/>
                  <a:pt x="19636" y="17613"/>
                </a:cubicBezTo>
                <a:cubicBezTo>
                  <a:pt x="19305" y="17644"/>
                  <a:pt x="18503" y="17665"/>
                  <a:pt x="18164" y="17665"/>
                </a:cubicBezTo>
                <a:cubicBezTo>
                  <a:pt x="12199" y="17665"/>
                  <a:pt x="7364" y="12819"/>
                  <a:pt x="7364" y="6841"/>
                </a:cubicBezTo>
                <a:moveTo>
                  <a:pt x="17673" y="10309"/>
                </a:moveTo>
                <a:lnTo>
                  <a:pt x="17137" y="11737"/>
                </a:lnTo>
                <a:lnTo>
                  <a:pt x="15709" y="11737"/>
                </a:lnTo>
                <a:lnTo>
                  <a:pt x="16869" y="12629"/>
                </a:lnTo>
                <a:lnTo>
                  <a:pt x="16334" y="14236"/>
                </a:lnTo>
                <a:lnTo>
                  <a:pt x="17673" y="13255"/>
                </a:lnTo>
                <a:lnTo>
                  <a:pt x="19011" y="14236"/>
                </a:lnTo>
                <a:lnTo>
                  <a:pt x="18476" y="12629"/>
                </a:lnTo>
                <a:lnTo>
                  <a:pt x="19636" y="11737"/>
                </a:lnTo>
                <a:lnTo>
                  <a:pt x="18208" y="11737"/>
                </a:lnTo>
                <a:cubicBezTo>
                  <a:pt x="18208" y="11737"/>
                  <a:pt x="17673" y="10309"/>
                  <a:pt x="17673" y="10309"/>
                </a:cubicBezTo>
                <a:close/>
                <a:moveTo>
                  <a:pt x="11425" y="9327"/>
                </a:moveTo>
                <a:lnTo>
                  <a:pt x="12764" y="8345"/>
                </a:lnTo>
                <a:lnTo>
                  <a:pt x="14102" y="9327"/>
                </a:lnTo>
                <a:lnTo>
                  <a:pt x="13567" y="7721"/>
                </a:lnTo>
                <a:lnTo>
                  <a:pt x="14727" y="6828"/>
                </a:lnTo>
                <a:lnTo>
                  <a:pt x="13299" y="6828"/>
                </a:lnTo>
                <a:lnTo>
                  <a:pt x="12764" y="5400"/>
                </a:lnTo>
                <a:lnTo>
                  <a:pt x="12228" y="6828"/>
                </a:lnTo>
                <a:lnTo>
                  <a:pt x="10800" y="6828"/>
                </a:lnTo>
                <a:lnTo>
                  <a:pt x="11960" y="7721"/>
                </a:lnTo>
                <a:cubicBezTo>
                  <a:pt x="11960" y="7721"/>
                  <a:pt x="11425" y="9327"/>
                  <a:pt x="11425" y="9327"/>
                </a:cubicBezTo>
                <a:close/>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59" name="Shape 2959"/>
          <p:cNvSpPr/>
          <p:nvPr/>
        </p:nvSpPr>
        <p:spPr>
          <a:xfrm>
            <a:off x="2260427"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7855" y="8836"/>
                </a:moveTo>
                <a:cubicBezTo>
                  <a:pt x="6770" y="8836"/>
                  <a:pt x="5891" y="7957"/>
                  <a:pt x="5891" y="6873"/>
                </a:cubicBezTo>
                <a:cubicBezTo>
                  <a:pt x="5891" y="5788"/>
                  <a:pt x="6770" y="4909"/>
                  <a:pt x="7855" y="4909"/>
                </a:cubicBezTo>
                <a:cubicBezTo>
                  <a:pt x="8939" y="4909"/>
                  <a:pt x="9818" y="5788"/>
                  <a:pt x="9818" y="6873"/>
                </a:cubicBezTo>
                <a:cubicBezTo>
                  <a:pt x="9818" y="7957"/>
                  <a:pt x="8939" y="8836"/>
                  <a:pt x="7855" y="8836"/>
                </a:cubicBezTo>
                <a:moveTo>
                  <a:pt x="7855" y="3927"/>
                </a:moveTo>
                <a:cubicBezTo>
                  <a:pt x="6228" y="3927"/>
                  <a:pt x="4909" y="5247"/>
                  <a:pt x="4909" y="6873"/>
                </a:cubicBezTo>
                <a:cubicBezTo>
                  <a:pt x="4909" y="8500"/>
                  <a:pt x="6228" y="9818"/>
                  <a:pt x="7855" y="9818"/>
                </a:cubicBezTo>
                <a:cubicBezTo>
                  <a:pt x="9481" y="9818"/>
                  <a:pt x="10800" y="8500"/>
                  <a:pt x="10800" y="6873"/>
                </a:cubicBezTo>
                <a:cubicBezTo>
                  <a:pt x="10800" y="5247"/>
                  <a:pt x="9481" y="3927"/>
                  <a:pt x="7855" y="3927"/>
                </a:cubicBezTo>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moveTo>
                  <a:pt x="12273" y="10800"/>
                </a:moveTo>
                <a:cubicBezTo>
                  <a:pt x="12002" y="10800"/>
                  <a:pt x="11782" y="11020"/>
                  <a:pt x="11782" y="11291"/>
                </a:cubicBezTo>
                <a:cubicBezTo>
                  <a:pt x="11782" y="11562"/>
                  <a:pt x="12002" y="11782"/>
                  <a:pt x="12273" y="11782"/>
                </a:cubicBezTo>
                <a:cubicBezTo>
                  <a:pt x="12544" y="11782"/>
                  <a:pt x="12764" y="11562"/>
                  <a:pt x="12764" y="11291"/>
                </a:cubicBezTo>
                <a:cubicBezTo>
                  <a:pt x="12764" y="11020"/>
                  <a:pt x="12544" y="10800"/>
                  <a:pt x="12273" y="10800"/>
                </a:cubicBezTo>
                <a:moveTo>
                  <a:pt x="9327" y="15709"/>
                </a:moveTo>
                <a:cubicBezTo>
                  <a:pt x="9056" y="15709"/>
                  <a:pt x="8836" y="15490"/>
                  <a:pt x="8836" y="15218"/>
                </a:cubicBezTo>
                <a:cubicBezTo>
                  <a:pt x="8836" y="14947"/>
                  <a:pt x="9056" y="14727"/>
                  <a:pt x="9327" y="14727"/>
                </a:cubicBezTo>
                <a:cubicBezTo>
                  <a:pt x="9598" y="14727"/>
                  <a:pt x="9818" y="14947"/>
                  <a:pt x="9818" y="15218"/>
                </a:cubicBezTo>
                <a:cubicBezTo>
                  <a:pt x="9818" y="15490"/>
                  <a:pt x="9598" y="15709"/>
                  <a:pt x="9327" y="15709"/>
                </a:cubicBezTo>
                <a:moveTo>
                  <a:pt x="9327" y="13745"/>
                </a:moveTo>
                <a:cubicBezTo>
                  <a:pt x="8514" y="13745"/>
                  <a:pt x="7855" y="14405"/>
                  <a:pt x="7855" y="15218"/>
                </a:cubicBezTo>
                <a:cubicBezTo>
                  <a:pt x="7855" y="16032"/>
                  <a:pt x="8514" y="16691"/>
                  <a:pt x="9327" y="16691"/>
                </a:cubicBezTo>
                <a:cubicBezTo>
                  <a:pt x="10141" y="16691"/>
                  <a:pt x="10800" y="16032"/>
                  <a:pt x="10800" y="15218"/>
                </a:cubicBezTo>
                <a:cubicBezTo>
                  <a:pt x="10800" y="14405"/>
                  <a:pt x="10141" y="13745"/>
                  <a:pt x="9327" y="13745"/>
                </a:cubicBezTo>
                <a:moveTo>
                  <a:pt x="4909" y="11782"/>
                </a:moveTo>
                <a:cubicBezTo>
                  <a:pt x="4367" y="11782"/>
                  <a:pt x="3927" y="12222"/>
                  <a:pt x="3927" y="12764"/>
                </a:cubicBezTo>
                <a:cubicBezTo>
                  <a:pt x="3927" y="13305"/>
                  <a:pt x="4367" y="13745"/>
                  <a:pt x="4909" y="13745"/>
                </a:cubicBezTo>
                <a:cubicBezTo>
                  <a:pt x="5451" y="13745"/>
                  <a:pt x="5891" y="13305"/>
                  <a:pt x="5891" y="12764"/>
                </a:cubicBezTo>
                <a:cubicBezTo>
                  <a:pt x="5891" y="12222"/>
                  <a:pt x="5451" y="11782"/>
                  <a:pt x="4909" y="11782"/>
                </a:cubicBezTo>
                <a:moveTo>
                  <a:pt x="14236" y="16691"/>
                </a:moveTo>
                <a:cubicBezTo>
                  <a:pt x="13966" y="16691"/>
                  <a:pt x="13745" y="16911"/>
                  <a:pt x="13745" y="17182"/>
                </a:cubicBezTo>
                <a:cubicBezTo>
                  <a:pt x="13745" y="17453"/>
                  <a:pt x="13966" y="17673"/>
                  <a:pt x="14236" y="17673"/>
                </a:cubicBezTo>
                <a:cubicBezTo>
                  <a:pt x="14507" y="17673"/>
                  <a:pt x="14727" y="17453"/>
                  <a:pt x="14727" y="17182"/>
                </a:cubicBezTo>
                <a:cubicBezTo>
                  <a:pt x="14727" y="16911"/>
                  <a:pt x="14507" y="16691"/>
                  <a:pt x="14236" y="16691"/>
                </a:cubicBezTo>
                <a:moveTo>
                  <a:pt x="16691" y="11782"/>
                </a:moveTo>
                <a:cubicBezTo>
                  <a:pt x="16149" y="11782"/>
                  <a:pt x="15709" y="11342"/>
                  <a:pt x="15709" y="10800"/>
                </a:cubicBezTo>
                <a:cubicBezTo>
                  <a:pt x="15709" y="10258"/>
                  <a:pt x="16149" y="9818"/>
                  <a:pt x="16691" y="9818"/>
                </a:cubicBezTo>
                <a:cubicBezTo>
                  <a:pt x="17233" y="9818"/>
                  <a:pt x="17673" y="10258"/>
                  <a:pt x="17673" y="10800"/>
                </a:cubicBezTo>
                <a:cubicBezTo>
                  <a:pt x="17673" y="11342"/>
                  <a:pt x="17233" y="11782"/>
                  <a:pt x="16691" y="11782"/>
                </a:cubicBezTo>
                <a:moveTo>
                  <a:pt x="16691" y="8836"/>
                </a:moveTo>
                <a:cubicBezTo>
                  <a:pt x="15606" y="8836"/>
                  <a:pt x="14727" y="9716"/>
                  <a:pt x="14727" y="10800"/>
                </a:cubicBezTo>
                <a:cubicBezTo>
                  <a:pt x="14727" y="11884"/>
                  <a:pt x="15606" y="12764"/>
                  <a:pt x="16691" y="12764"/>
                </a:cubicBezTo>
                <a:cubicBezTo>
                  <a:pt x="17775" y="12764"/>
                  <a:pt x="18655" y="11884"/>
                  <a:pt x="18655" y="10800"/>
                </a:cubicBezTo>
                <a:cubicBezTo>
                  <a:pt x="18655" y="9716"/>
                  <a:pt x="17775" y="8836"/>
                  <a:pt x="16691" y="883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0" name="Shape 2960"/>
          <p:cNvSpPr/>
          <p:nvPr/>
        </p:nvSpPr>
        <p:spPr>
          <a:xfrm>
            <a:off x="2660372" y="3507987"/>
            <a:ext cx="209522" cy="152361"/>
          </a:xfrm>
          <a:custGeom>
            <a:avLst/>
            <a:gdLst/>
            <a:ahLst/>
            <a:cxnLst>
              <a:cxn ang="0">
                <a:pos x="wd2" y="hd2"/>
              </a:cxn>
              <a:cxn ang="5400000">
                <a:pos x="wd2" y="hd2"/>
              </a:cxn>
              <a:cxn ang="10800000">
                <a:pos x="wd2" y="hd2"/>
              </a:cxn>
              <a:cxn ang="16200000">
                <a:pos x="wd2" y="hd2"/>
              </a:cxn>
            </a:cxnLst>
            <a:rect l="0" t="0" r="r" b="b"/>
            <a:pathLst>
              <a:path w="21016" h="21600" extrusionOk="0">
                <a:moveTo>
                  <a:pt x="17140" y="11946"/>
                </a:moveTo>
                <a:cubicBezTo>
                  <a:pt x="15736" y="13192"/>
                  <a:pt x="13853" y="14375"/>
                  <a:pt x="11542" y="15211"/>
                </a:cubicBezTo>
                <a:cubicBezTo>
                  <a:pt x="9755" y="15857"/>
                  <a:pt x="7947" y="16197"/>
                  <a:pt x="6315" y="16197"/>
                </a:cubicBezTo>
                <a:cubicBezTo>
                  <a:pt x="5843" y="16197"/>
                  <a:pt x="5401" y="16158"/>
                  <a:pt x="4974" y="16102"/>
                </a:cubicBezTo>
                <a:cubicBezTo>
                  <a:pt x="4247" y="14590"/>
                  <a:pt x="3822" y="12766"/>
                  <a:pt x="3822" y="10800"/>
                </a:cubicBezTo>
                <a:cubicBezTo>
                  <a:pt x="3822" y="5581"/>
                  <a:pt x="6815" y="1350"/>
                  <a:pt x="10508" y="1350"/>
                </a:cubicBezTo>
                <a:cubicBezTo>
                  <a:pt x="14201" y="1350"/>
                  <a:pt x="17194" y="5581"/>
                  <a:pt x="17194" y="10800"/>
                </a:cubicBezTo>
                <a:cubicBezTo>
                  <a:pt x="17194" y="11189"/>
                  <a:pt x="17172" y="11570"/>
                  <a:pt x="17140" y="11946"/>
                </a:cubicBezTo>
                <a:moveTo>
                  <a:pt x="10508" y="20250"/>
                </a:moveTo>
                <a:cubicBezTo>
                  <a:pt x="8681" y="20250"/>
                  <a:pt x="7028" y="19212"/>
                  <a:pt x="5821" y="17534"/>
                </a:cubicBezTo>
                <a:cubicBezTo>
                  <a:pt x="5984" y="17541"/>
                  <a:pt x="6147" y="17547"/>
                  <a:pt x="6315" y="17547"/>
                </a:cubicBezTo>
                <a:cubicBezTo>
                  <a:pt x="7976" y="17547"/>
                  <a:pt x="9848" y="17215"/>
                  <a:pt x="11778" y="16518"/>
                </a:cubicBezTo>
                <a:cubicBezTo>
                  <a:pt x="13697" y="15824"/>
                  <a:pt x="15425" y="14854"/>
                  <a:pt x="16859" y="13742"/>
                </a:cubicBezTo>
                <a:cubicBezTo>
                  <a:pt x="15984" y="17519"/>
                  <a:pt x="13473" y="20250"/>
                  <a:pt x="10508" y="20250"/>
                </a:cubicBezTo>
                <a:moveTo>
                  <a:pt x="20938" y="6356"/>
                </a:moveTo>
                <a:cubicBezTo>
                  <a:pt x="20592" y="4617"/>
                  <a:pt x="19141" y="3452"/>
                  <a:pt x="17072" y="2964"/>
                </a:cubicBezTo>
                <a:cubicBezTo>
                  <a:pt x="17380" y="3481"/>
                  <a:pt x="17660" y="4034"/>
                  <a:pt x="17905" y="4620"/>
                </a:cubicBezTo>
                <a:cubicBezTo>
                  <a:pt x="19058" y="5088"/>
                  <a:pt x="19838" y="5815"/>
                  <a:pt x="20018" y="6721"/>
                </a:cubicBezTo>
                <a:cubicBezTo>
                  <a:pt x="20123" y="7246"/>
                  <a:pt x="20033" y="7861"/>
                  <a:pt x="19752" y="8549"/>
                </a:cubicBezTo>
                <a:cubicBezTo>
                  <a:pt x="19449" y="9292"/>
                  <a:pt x="18904" y="10122"/>
                  <a:pt x="18143" y="10958"/>
                </a:cubicBezTo>
                <a:cubicBezTo>
                  <a:pt x="18144" y="10905"/>
                  <a:pt x="18149" y="10853"/>
                  <a:pt x="18149" y="10800"/>
                </a:cubicBezTo>
                <a:cubicBezTo>
                  <a:pt x="18149" y="4835"/>
                  <a:pt x="14728" y="0"/>
                  <a:pt x="10508" y="0"/>
                </a:cubicBezTo>
                <a:cubicBezTo>
                  <a:pt x="6288" y="0"/>
                  <a:pt x="2867" y="4835"/>
                  <a:pt x="2867" y="10800"/>
                </a:cubicBezTo>
                <a:cubicBezTo>
                  <a:pt x="2867" y="12627"/>
                  <a:pt x="3190" y="14345"/>
                  <a:pt x="3756" y="15853"/>
                </a:cubicBezTo>
                <a:cubicBezTo>
                  <a:pt x="2245" y="15418"/>
                  <a:pt x="1209" y="14595"/>
                  <a:pt x="997" y="13528"/>
                </a:cubicBezTo>
                <a:cubicBezTo>
                  <a:pt x="893" y="13003"/>
                  <a:pt x="982" y="12389"/>
                  <a:pt x="1263" y="11700"/>
                </a:cubicBezTo>
                <a:cubicBezTo>
                  <a:pt x="1416" y="11327"/>
                  <a:pt x="1650" y="10926"/>
                  <a:pt x="1922" y="10518"/>
                </a:cubicBezTo>
                <a:cubicBezTo>
                  <a:pt x="1933" y="9817"/>
                  <a:pt x="1982" y="9128"/>
                  <a:pt x="2074" y="8461"/>
                </a:cubicBezTo>
                <a:cubicBezTo>
                  <a:pt x="528" y="10248"/>
                  <a:pt x="-261" y="12188"/>
                  <a:pt x="78" y="13893"/>
                </a:cubicBezTo>
                <a:cubicBezTo>
                  <a:pt x="452" y="15777"/>
                  <a:pt x="2118" y="16988"/>
                  <a:pt x="4465" y="17394"/>
                </a:cubicBezTo>
                <a:cubicBezTo>
                  <a:pt x="5863" y="19948"/>
                  <a:pt x="8046" y="21600"/>
                  <a:pt x="10508" y="21600"/>
                </a:cubicBezTo>
                <a:cubicBezTo>
                  <a:pt x="14255" y="21600"/>
                  <a:pt x="17365" y="17785"/>
                  <a:pt x="18017" y="12755"/>
                </a:cubicBezTo>
                <a:cubicBezTo>
                  <a:pt x="20167" y="10724"/>
                  <a:pt x="21339" y="8374"/>
                  <a:pt x="20938" y="6356"/>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1" name="Shape 2961"/>
          <p:cNvSpPr/>
          <p:nvPr/>
        </p:nvSpPr>
        <p:spPr>
          <a:xfrm>
            <a:off x="3088887" y="3479418"/>
            <a:ext cx="152361"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581" y="20618"/>
                  <a:pt x="1350" y="17422"/>
                  <a:pt x="1350" y="13478"/>
                </a:cubicBezTo>
                <a:cubicBezTo>
                  <a:pt x="1350" y="8836"/>
                  <a:pt x="10125" y="1166"/>
                  <a:pt x="10800" y="1166"/>
                </a:cubicBezTo>
                <a:cubicBezTo>
                  <a:pt x="11475" y="1166"/>
                  <a:pt x="20250" y="8836"/>
                  <a:pt x="20250" y="13478"/>
                </a:cubicBezTo>
                <a:cubicBezTo>
                  <a:pt x="20250" y="17422"/>
                  <a:pt x="16019" y="20618"/>
                  <a:pt x="10800" y="20618"/>
                </a:cubicBezTo>
                <a:moveTo>
                  <a:pt x="10800" y="0"/>
                </a:moveTo>
                <a:cubicBezTo>
                  <a:pt x="9450" y="0"/>
                  <a:pt x="0" y="8345"/>
                  <a:pt x="0" y="13745"/>
                </a:cubicBezTo>
                <a:cubicBezTo>
                  <a:pt x="0" y="18083"/>
                  <a:pt x="4836" y="21600"/>
                  <a:pt x="10800" y="21600"/>
                </a:cubicBezTo>
                <a:cubicBezTo>
                  <a:pt x="16765" y="21600"/>
                  <a:pt x="21600" y="18083"/>
                  <a:pt x="21600" y="13745"/>
                </a:cubicBezTo>
                <a:cubicBezTo>
                  <a:pt x="21600" y="8345"/>
                  <a:pt x="12150" y="0"/>
                  <a:pt x="10800" y="0"/>
                </a:cubicBezTo>
                <a:moveTo>
                  <a:pt x="10800" y="18655"/>
                </a:moveTo>
                <a:cubicBezTo>
                  <a:pt x="7072" y="18655"/>
                  <a:pt x="4050" y="16456"/>
                  <a:pt x="4050" y="13745"/>
                </a:cubicBezTo>
                <a:cubicBezTo>
                  <a:pt x="4050" y="13474"/>
                  <a:pt x="3748" y="13255"/>
                  <a:pt x="3375" y="13255"/>
                </a:cubicBezTo>
                <a:cubicBezTo>
                  <a:pt x="3002" y="13255"/>
                  <a:pt x="2700" y="13474"/>
                  <a:pt x="2700" y="13745"/>
                </a:cubicBezTo>
                <a:cubicBezTo>
                  <a:pt x="2700" y="16999"/>
                  <a:pt x="6327" y="19636"/>
                  <a:pt x="10800" y="19636"/>
                </a:cubicBezTo>
                <a:cubicBezTo>
                  <a:pt x="11173" y="19636"/>
                  <a:pt x="11475" y="19417"/>
                  <a:pt x="11475" y="19145"/>
                </a:cubicBezTo>
                <a:cubicBezTo>
                  <a:pt x="11475" y="18875"/>
                  <a:pt x="11173" y="18655"/>
                  <a:pt x="10800" y="1865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2" name="Shape 2962"/>
          <p:cNvSpPr/>
          <p:nvPr/>
        </p:nvSpPr>
        <p:spPr>
          <a:xfrm>
            <a:off x="3460265" y="3479418"/>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3745" y="3927"/>
                </a:moveTo>
                <a:cubicBezTo>
                  <a:pt x="13204" y="3927"/>
                  <a:pt x="12764" y="4367"/>
                  <a:pt x="12764" y="4909"/>
                </a:cubicBezTo>
                <a:cubicBezTo>
                  <a:pt x="12764" y="5451"/>
                  <a:pt x="13204" y="5891"/>
                  <a:pt x="13745" y="5891"/>
                </a:cubicBezTo>
                <a:cubicBezTo>
                  <a:pt x="14287" y="5891"/>
                  <a:pt x="14727" y="5451"/>
                  <a:pt x="14727" y="4909"/>
                </a:cubicBezTo>
                <a:cubicBezTo>
                  <a:pt x="14727" y="4367"/>
                  <a:pt x="14287" y="3927"/>
                  <a:pt x="13745" y="3927"/>
                </a:cubicBezTo>
                <a:moveTo>
                  <a:pt x="16691" y="7855"/>
                </a:moveTo>
                <a:cubicBezTo>
                  <a:pt x="16149" y="7855"/>
                  <a:pt x="15709" y="8295"/>
                  <a:pt x="15709" y="8836"/>
                </a:cubicBezTo>
                <a:cubicBezTo>
                  <a:pt x="15709" y="9378"/>
                  <a:pt x="16149" y="9818"/>
                  <a:pt x="16691" y="9818"/>
                </a:cubicBezTo>
                <a:cubicBezTo>
                  <a:pt x="17233" y="9818"/>
                  <a:pt x="17673" y="9378"/>
                  <a:pt x="17673" y="8836"/>
                </a:cubicBezTo>
                <a:cubicBezTo>
                  <a:pt x="17673" y="8295"/>
                  <a:pt x="17233" y="7855"/>
                  <a:pt x="16691" y="7855"/>
                </a:cubicBezTo>
                <a:moveTo>
                  <a:pt x="7855" y="4909"/>
                </a:moveTo>
                <a:cubicBezTo>
                  <a:pt x="7313" y="4909"/>
                  <a:pt x="6873" y="5349"/>
                  <a:pt x="6873" y="5891"/>
                </a:cubicBezTo>
                <a:cubicBezTo>
                  <a:pt x="6873" y="6433"/>
                  <a:pt x="7313" y="6873"/>
                  <a:pt x="7855" y="6873"/>
                </a:cubicBezTo>
                <a:cubicBezTo>
                  <a:pt x="8396" y="6873"/>
                  <a:pt x="8836" y="6433"/>
                  <a:pt x="8836" y="5891"/>
                </a:cubicBezTo>
                <a:cubicBezTo>
                  <a:pt x="8836" y="5349"/>
                  <a:pt x="8396" y="4909"/>
                  <a:pt x="7855" y="4909"/>
                </a:cubicBezTo>
                <a:moveTo>
                  <a:pt x="3927" y="7855"/>
                </a:moveTo>
                <a:cubicBezTo>
                  <a:pt x="3385" y="7855"/>
                  <a:pt x="2945" y="8295"/>
                  <a:pt x="2945" y="8836"/>
                </a:cubicBezTo>
                <a:cubicBezTo>
                  <a:pt x="2945" y="9378"/>
                  <a:pt x="3385" y="9818"/>
                  <a:pt x="3927" y="9818"/>
                </a:cubicBezTo>
                <a:cubicBezTo>
                  <a:pt x="4469" y="9818"/>
                  <a:pt x="4909" y="9378"/>
                  <a:pt x="4909" y="8836"/>
                </a:cubicBezTo>
                <a:cubicBezTo>
                  <a:pt x="4909" y="8295"/>
                  <a:pt x="4469" y="7855"/>
                  <a:pt x="3927" y="7855"/>
                </a:cubicBezTo>
                <a:moveTo>
                  <a:pt x="1008" y="10800"/>
                </a:moveTo>
                <a:cubicBezTo>
                  <a:pt x="1278" y="5878"/>
                  <a:pt x="5552" y="1964"/>
                  <a:pt x="10800" y="1964"/>
                </a:cubicBezTo>
                <a:cubicBezTo>
                  <a:pt x="16048" y="1964"/>
                  <a:pt x="20322" y="5878"/>
                  <a:pt x="20592" y="10800"/>
                </a:cubicBezTo>
                <a:cubicBezTo>
                  <a:pt x="20592" y="10800"/>
                  <a:pt x="1008" y="10800"/>
                  <a:pt x="1008" y="10800"/>
                </a:cubicBezTo>
                <a:close/>
                <a:moveTo>
                  <a:pt x="11291" y="1005"/>
                </a:moveTo>
                <a:lnTo>
                  <a:pt x="11291" y="491"/>
                </a:lnTo>
                <a:cubicBezTo>
                  <a:pt x="11291" y="220"/>
                  <a:pt x="11071" y="0"/>
                  <a:pt x="10800" y="0"/>
                </a:cubicBezTo>
                <a:cubicBezTo>
                  <a:pt x="10529" y="0"/>
                  <a:pt x="10309" y="220"/>
                  <a:pt x="10309" y="491"/>
                </a:cubicBezTo>
                <a:lnTo>
                  <a:pt x="10309" y="1005"/>
                </a:lnTo>
                <a:cubicBezTo>
                  <a:pt x="4574" y="1252"/>
                  <a:pt x="0" y="5756"/>
                  <a:pt x="0" y="11291"/>
                </a:cubicBezTo>
                <a:cubicBezTo>
                  <a:pt x="0" y="11562"/>
                  <a:pt x="220" y="11782"/>
                  <a:pt x="491" y="11782"/>
                </a:cubicBezTo>
                <a:lnTo>
                  <a:pt x="10309" y="11782"/>
                </a:lnTo>
                <a:lnTo>
                  <a:pt x="10309" y="18655"/>
                </a:lnTo>
                <a:cubicBezTo>
                  <a:pt x="10309" y="19739"/>
                  <a:pt x="9430" y="20618"/>
                  <a:pt x="8345" y="20618"/>
                </a:cubicBezTo>
                <a:cubicBezTo>
                  <a:pt x="7261" y="20618"/>
                  <a:pt x="6382" y="19739"/>
                  <a:pt x="6382" y="18655"/>
                </a:cubicBezTo>
                <a:cubicBezTo>
                  <a:pt x="6382" y="18383"/>
                  <a:pt x="6162" y="18164"/>
                  <a:pt x="5891" y="18164"/>
                </a:cubicBezTo>
                <a:cubicBezTo>
                  <a:pt x="5620" y="18164"/>
                  <a:pt x="5400" y="18383"/>
                  <a:pt x="5400" y="18655"/>
                </a:cubicBezTo>
                <a:cubicBezTo>
                  <a:pt x="5400" y="20281"/>
                  <a:pt x="6719" y="21600"/>
                  <a:pt x="8345" y="21600"/>
                </a:cubicBezTo>
                <a:cubicBezTo>
                  <a:pt x="9804" y="21600"/>
                  <a:pt x="11007" y="20537"/>
                  <a:pt x="11242" y="19145"/>
                </a:cubicBezTo>
                <a:lnTo>
                  <a:pt x="11291" y="19145"/>
                </a:lnTo>
                <a:lnTo>
                  <a:pt x="11291" y="11782"/>
                </a:lnTo>
                <a:lnTo>
                  <a:pt x="21109" y="11782"/>
                </a:lnTo>
                <a:cubicBezTo>
                  <a:pt x="21380" y="11782"/>
                  <a:pt x="21600" y="11562"/>
                  <a:pt x="21600" y="11291"/>
                </a:cubicBezTo>
                <a:cubicBezTo>
                  <a:pt x="21600" y="5756"/>
                  <a:pt x="17026" y="1252"/>
                  <a:pt x="11291" y="1005"/>
                </a:cubicBezTo>
                <a:moveTo>
                  <a:pt x="10800" y="6873"/>
                </a:moveTo>
                <a:cubicBezTo>
                  <a:pt x="10258" y="6873"/>
                  <a:pt x="9818" y="7313"/>
                  <a:pt x="9818" y="7855"/>
                </a:cubicBezTo>
                <a:cubicBezTo>
                  <a:pt x="9818" y="8396"/>
                  <a:pt x="10258" y="8836"/>
                  <a:pt x="10800" y="8836"/>
                </a:cubicBezTo>
                <a:cubicBezTo>
                  <a:pt x="11342" y="8836"/>
                  <a:pt x="11782" y="8396"/>
                  <a:pt x="11782" y="7855"/>
                </a:cubicBezTo>
                <a:cubicBezTo>
                  <a:pt x="11782" y="7313"/>
                  <a:pt x="11342" y="6873"/>
                  <a:pt x="10800" y="687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3" name="Shape 2963"/>
          <p:cNvSpPr/>
          <p:nvPr/>
        </p:nvSpPr>
        <p:spPr>
          <a:xfrm>
            <a:off x="3860211" y="3527031"/>
            <a:ext cx="209495" cy="114271"/>
          </a:xfrm>
          <a:custGeom>
            <a:avLst/>
            <a:gdLst/>
            <a:ahLst/>
            <a:cxnLst>
              <a:cxn ang="0">
                <a:pos x="wd2" y="hd2"/>
              </a:cxn>
              <a:cxn ang="5400000">
                <a:pos x="wd2" y="hd2"/>
              </a:cxn>
              <a:cxn ang="10800000">
                <a:pos x="wd2" y="hd2"/>
              </a:cxn>
              <a:cxn ang="16200000">
                <a:pos x="wd2" y="hd2"/>
              </a:cxn>
            </a:cxnLst>
            <a:rect l="0" t="0" r="r" b="b"/>
            <a:pathLst>
              <a:path w="21600" h="21600" extrusionOk="0">
                <a:moveTo>
                  <a:pt x="18632" y="19800"/>
                </a:moveTo>
                <a:cubicBezTo>
                  <a:pt x="18391" y="11772"/>
                  <a:pt x="14982" y="5400"/>
                  <a:pt x="10800" y="5400"/>
                </a:cubicBezTo>
                <a:cubicBezTo>
                  <a:pt x="6618" y="5400"/>
                  <a:pt x="3209" y="11772"/>
                  <a:pt x="2968" y="19800"/>
                </a:cubicBezTo>
                <a:lnTo>
                  <a:pt x="1005" y="19800"/>
                </a:lnTo>
                <a:cubicBezTo>
                  <a:pt x="1251" y="9783"/>
                  <a:pt x="5535" y="1800"/>
                  <a:pt x="10800" y="1800"/>
                </a:cubicBezTo>
                <a:cubicBezTo>
                  <a:pt x="16065" y="1800"/>
                  <a:pt x="20349" y="9783"/>
                  <a:pt x="20595" y="19800"/>
                </a:cubicBezTo>
                <a:cubicBezTo>
                  <a:pt x="20595" y="19800"/>
                  <a:pt x="18632" y="19800"/>
                  <a:pt x="18632" y="19800"/>
                </a:cubicBezTo>
                <a:close/>
                <a:moveTo>
                  <a:pt x="15687" y="19800"/>
                </a:moveTo>
                <a:cubicBezTo>
                  <a:pt x="15461" y="14755"/>
                  <a:pt x="13360" y="10800"/>
                  <a:pt x="10800" y="10800"/>
                </a:cubicBezTo>
                <a:cubicBezTo>
                  <a:pt x="8240" y="10800"/>
                  <a:pt x="6139" y="14755"/>
                  <a:pt x="5913" y="19800"/>
                </a:cubicBezTo>
                <a:lnTo>
                  <a:pt x="3950" y="19800"/>
                </a:lnTo>
                <a:cubicBezTo>
                  <a:pt x="4187" y="12767"/>
                  <a:pt x="7159" y="7200"/>
                  <a:pt x="10800" y="7200"/>
                </a:cubicBezTo>
                <a:cubicBezTo>
                  <a:pt x="14441" y="7200"/>
                  <a:pt x="17413" y="12767"/>
                  <a:pt x="17650" y="19800"/>
                </a:cubicBezTo>
                <a:cubicBezTo>
                  <a:pt x="17650" y="19800"/>
                  <a:pt x="15687" y="19800"/>
                  <a:pt x="15687" y="19800"/>
                </a:cubicBezTo>
                <a:close/>
                <a:moveTo>
                  <a:pt x="12724" y="19800"/>
                </a:moveTo>
                <a:cubicBezTo>
                  <a:pt x="12542" y="17747"/>
                  <a:pt x="11750" y="16200"/>
                  <a:pt x="10800" y="16200"/>
                </a:cubicBezTo>
                <a:cubicBezTo>
                  <a:pt x="9850" y="16200"/>
                  <a:pt x="9058" y="17747"/>
                  <a:pt x="8876" y="19800"/>
                </a:cubicBezTo>
                <a:lnTo>
                  <a:pt x="6899" y="19800"/>
                </a:lnTo>
                <a:cubicBezTo>
                  <a:pt x="7115" y="15751"/>
                  <a:pt x="8779" y="12600"/>
                  <a:pt x="10800" y="12600"/>
                </a:cubicBezTo>
                <a:cubicBezTo>
                  <a:pt x="12821" y="12600"/>
                  <a:pt x="14485" y="15751"/>
                  <a:pt x="14701" y="19800"/>
                </a:cubicBezTo>
                <a:cubicBezTo>
                  <a:pt x="14701" y="19800"/>
                  <a:pt x="12724" y="19800"/>
                  <a:pt x="12724" y="19800"/>
                </a:cubicBezTo>
                <a:close/>
                <a:moveTo>
                  <a:pt x="10800" y="0"/>
                </a:moveTo>
                <a:cubicBezTo>
                  <a:pt x="4835" y="0"/>
                  <a:pt x="0" y="9268"/>
                  <a:pt x="0" y="20700"/>
                </a:cubicBezTo>
                <a:cubicBezTo>
                  <a:pt x="0" y="21197"/>
                  <a:pt x="220" y="21600"/>
                  <a:pt x="491" y="21600"/>
                </a:cubicBezTo>
                <a:lnTo>
                  <a:pt x="9327" y="21600"/>
                </a:lnTo>
                <a:cubicBezTo>
                  <a:pt x="9599" y="21600"/>
                  <a:pt x="9818" y="21197"/>
                  <a:pt x="9818" y="20700"/>
                </a:cubicBezTo>
                <a:cubicBezTo>
                  <a:pt x="9818" y="19209"/>
                  <a:pt x="10258" y="18000"/>
                  <a:pt x="10800" y="18000"/>
                </a:cubicBezTo>
                <a:cubicBezTo>
                  <a:pt x="11342" y="18000"/>
                  <a:pt x="11782" y="19209"/>
                  <a:pt x="11782" y="20700"/>
                </a:cubicBezTo>
                <a:cubicBezTo>
                  <a:pt x="11782" y="21197"/>
                  <a:pt x="12001" y="21600"/>
                  <a:pt x="12273" y="21600"/>
                </a:cubicBezTo>
                <a:lnTo>
                  <a:pt x="21109" y="21600"/>
                </a:lnTo>
                <a:cubicBezTo>
                  <a:pt x="21380" y="21600"/>
                  <a:pt x="21600" y="21197"/>
                  <a:pt x="21600" y="20700"/>
                </a:cubicBezTo>
                <a:cubicBezTo>
                  <a:pt x="21600" y="9268"/>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4" name="Shape 2964"/>
          <p:cNvSpPr/>
          <p:nvPr/>
        </p:nvSpPr>
        <p:spPr>
          <a:xfrm>
            <a:off x="4260157" y="3507987"/>
            <a:ext cx="209495" cy="152361"/>
          </a:xfrm>
          <a:custGeom>
            <a:avLst/>
            <a:gdLst/>
            <a:ahLst/>
            <a:cxnLst>
              <a:cxn ang="0">
                <a:pos x="wd2" y="hd2"/>
              </a:cxn>
              <a:cxn ang="5400000">
                <a:pos x="wd2" y="hd2"/>
              </a:cxn>
              <a:cxn ang="10800000">
                <a:pos x="wd2" y="hd2"/>
              </a:cxn>
              <a:cxn ang="16200000">
                <a:pos x="wd2" y="hd2"/>
              </a:cxn>
            </a:cxnLst>
            <a:rect l="0" t="0" r="r" b="b"/>
            <a:pathLst>
              <a:path w="21600" h="21600" extrusionOk="0">
                <a:moveTo>
                  <a:pt x="16691" y="20250"/>
                </a:moveTo>
                <a:lnTo>
                  <a:pt x="4418" y="20250"/>
                </a:lnTo>
                <a:cubicBezTo>
                  <a:pt x="2524" y="20250"/>
                  <a:pt x="982" y="18130"/>
                  <a:pt x="982" y="15525"/>
                </a:cubicBezTo>
                <a:cubicBezTo>
                  <a:pt x="982" y="13489"/>
                  <a:pt x="1926" y="11690"/>
                  <a:pt x="3333" y="11045"/>
                </a:cubicBezTo>
                <a:lnTo>
                  <a:pt x="4165" y="10664"/>
                </a:lnTo>
                <a:lnTo>
                  <a:pt x="3982" y="9484"/>
                </a:lnTo>
                <a:cubicBezTo>
                  <a:pt x="3946" y="9247"/>
                  <a:pt x="3927" y="9008"/>
                  <a:pt x="3927" y="8775"/>
                </a:cubicBezTo>
                <a:cubicBezTo>
                  <a:pt x="3927" y="6914"/>
                  <a:pt x="5028" y="5400"/>
                  <a:pt x="6382" y="5400"/>
                </a:cubicBezTo>
                <a:cubicBezTo>
                  <a:pt x="6662" y="5400"/>
                  <a:pt x="6942" y="5470"/>
                  <a:pt x="7215" y="5605"/>
                </a:cubicBezTo>
                <a:lnTo>
                  <a:pt x="8019" y="6006"/>
                </a:lnTo>
                <a:lnTo>
                  <a:pt x="8418" y="4965"/>
                </a:lnTo>
                <a:cubicBezTo>
                  <a:pt x="9272" y="2735"/>
                  <a:pt x="10937" y="1350"/>
                  <a:pt x="12764" y="1350"/>
                </a:cubicBezTo>
                <a:cubicBezTo>
                  <a:pt x="15470" y="1350"/>
                  <a:pt x="17673" y="4378"/>
                  <a:pt x="17673" y="8100"/>
                </a:cubicBezTo>
                <a:cubicBezTo>
                  <a:pt x="17673" y="8218"/>
                  <a:pt x="17666" y="8333"/>
                  <a:pt x="17660" y="8449"/>
                </a:cubicBezTo>
                <a:lnTo>
                  <a:pt x="17655" y="8565"/>
                </a:lnTo>
                <a:lnTo>
                  <a:pt x="17610" y="9515"/>
                </a:lnTo>
                <a:lnTo>
                  <a:pt x="18245" y="9892"/>
                </a:lnTo>
                <a:cubicBezTo>
                  <a:pt x="19687" y="10747"/>
                  <a:pt x="20618" y="12693"/>
                  <a:pt x="20618" y="14850"/>
                </a:cubicBezTo>
                <a:cubicBezTo>
                  <a:pt x="20618" y="17828"/>
                  <a:pt x="18856" y="20250"/>
                  <a:pt x="16691" y="20250"/>
                </a:cubicBezTo>
                <a:moveTo>
                  <a:pt x="18634" y="8652"/>
                </a:moveTo>
                <a:cubicBezTo>
                  <a:pt x="18643" y="8469"/>
                  <a:pt x="18655" y="8287"/>
                  <a:pt x="18655" y="8100"/>
                </a:cubicBezTo>
                <a:cubicBezTo>
                  <a:pt x="18655" y="3627"/>
                  <a:pt x="16017" y="0"/>
                  <a:pt x="12764" y="0"/>
                </a:cubicBezTo>
                <a:cubicBezTo>
                  <a:pt x="10499" y="0"/>
                  <a:pt x="8536" y="1759"/>
                  <a:pt x="7550" y="4336"/>
                </a:cubicBezTo>
                <a:cubicBezTo>
                  <a:pt x="7185" y="4154"/>
                  <a:pt x="6793" y="4050"/>
                  <a:pt x="6382" y="4050"/>
                </a:cubicBezTo>
                <a:cubicBezTo>
                  <a:pt x="4484" y="4050"/>
                  <a:pt x="2945" y="6165"/>
                  <a:pt x="2945" y="8775"/>
                </a:cubicBezTo>
                <a:cubicBezTo>
                  <a:pt x="2945" y="9114"/>
                  <a:pt x="2973" y="9445"/>
                  <a:pt x="3022" y="9764"/>
                </a:cubicBezTo>
                <a:cubicBezTo>
                  <a:pt x="1267" y="10569"/>
                  <a:pt x="0" y="12841"/>
                  <a:pt x="0" y="15525"/>
                </a:cubicBezTo>
                <a:cubicBezTo>
                  <a:pt x="0" y="18880"/>
                  <a:pt x="1978" y="21600"/>
                  <a:pt x="4418" y="21600"/>
                </a:cubicBezTo>
                <a:lnTo>
                  <a:pt x="16691" y="21600"/>
                </a:lnTo>
                <a:cubicBezTo>
                  <a:pt x="19401" y="21600"/>
                  <a:pt x="21600" y="18578"/>
                  <a:pt x="21600" y="14850"/>
                </a:cubicBezTo>
                <a:cubicBezTo>
                  <a:pt x="21600" y="12072"/>
                  <a:pt x="20378" y="9687"/>
                  <a:pt x="18634" y="8652"/>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5" name="Shape 2965"/>
          <p:cNvSpPr/>
          <p:nvPr/>
        </p:nvSpPr>
        <p:spPr>
          <a:xfrm>
            <a:off x="660644" y="3926977"/>
            <a:ext cx="209495" cy="123793"/>
          </a:xfrm>
          <a:custGeom>
            <a:avLst/>
            <a:gdLst/>
            <a:ahLst/>
            <a:cxnLst>
              <a:cxn ang="0">
                <a:pos x="wd2" y="hd2"/>
              </a:cxn>
              <a:cxn ang="5400000">
                <a:pos x="wd2" y="hd2"/>
              </a:cxn>
              <a:cxn ang="10800000">
                <a:pos x="wd2" y="hd2"/>
              </a:cxn>
              <a:cxn ang="16200000">
                <a:pos x="wd2" y="hd2"/>
              </a:cxn>
            </a:cxnLst>
            <a:rect l="0" t="0" r="r" b="b"/>
            <a:pathLst>
              <a:path w="21600" h="21600" extrusionOk="0">
                <a:moveTo>
                  <a:pt x="17673" y="19938"/>
                </a:moveTo>
                <a:lnTo>
                  <a:pt x="3927" y="19938"/>
                </a:lnTo>
                <a:cubicBezTo>
                  <a:pt x="2303" y="19938"/>
                  <a:pt x="982" y="17703"/>
                  <a:pt x="982" y="14954"/>
                </a:cubicBezTo>
                <a:cubicBezTo>
                  <a:pt x="982" y="12638"/>
                  <a:pt x="1912" y="10647"/>
                  <a:pt x="3244" y="10110"/>
                </a:cubicBezTo>
                <a:cubicBezTo>
                  <a:pt x="3634" y="9954"/>
                  <a:pt x="3929" y="9410"/>
                  <a:pt x="3988" y="8739"/>
                </a:cubicBezTo>
                <a:cubicBezTo>
                  <a:pt x="4343" y="4704"/>
                  <a:pt x="6427" y="1662"/>
                  <a:pt x="8836" y="1662"/>
                </a:cubicBezTo>
                <a:cubicBezTo>
                  <a:pt x="10501" y="1662"/>
                  <a:pt x="12038" y="3081"/>
                  <a:pt x="12948" y="5461"/>
                </a:cubicBezTo>
                <a:cubicBezTo>
                  <a:pt x="13103" y="5866"/>
                  <a:pt x="13354" y="6137"/>
                  <a:pt x="13636" y="6203"/>
                </a:cubicBezTo>
                <a:cubicBezTo>
                  <a:pt x="13682" y="6215"/>
                  <a:pt x="13727" y="6219"/>
                  <a:pt x="13773" y="6219"/>
                </a:cubicBezTo>
                <a:cubicBezTo>
                  <a:pt x="14009" y="6219"/>
                  <a:pt x="14238" y="6076"/>
                  <a:pt x="14419" y="5809"/>
                </a:cubicBezTo>
                <a:cubicBezTo>
                  <a:pt x="14777" y="5278"/>
                  <a:pt x="15236" y="4985"/>
                  <a:pt x="15709" y="4985"/>
                </a:cubicBezTo>
                <a:cubicBezTo>
                  <a:pt x="16792" y="4985"/>
                  <a:pt x="17673" y="6476"/>
                  <a:pt x="17671" y="8326"/>
                </a:cubicBezTo>
                <a:lnTo>
                  <a:pt x="17667" y="8447"/>
                </a:lnTo>
                <a:cubicBezTo>
                  <a:pt x="17646" y="9234"/>
                  <a:pt x="17953" y="9937"/>
                  <a:pt x="18404" y="10132"/>
                </a:cubicBezTo>
                <a:cubicBezTo>
                  <a:pt x="19708" y="10697"/>
                  <a:pt x="20618" y="12680"/>
                  <a:pt x="20618" y="14954"/>
                </a:cubicBezTo>
                <a:cubicBezTo>
                  <a:pt x="20618" y="17703"/>
                  <a:pt x="19297" y="19938"/>
                  <a:pt x="17673" y="19938"/>
                </a:cubicBezTo>
                <a:moveTo>
                  <a:pt x="18648" y="8523"/>
                </a:moveTo>
                <a:cubicBezTo>
                  <a:pt x="18650" y="8451"/>
                  <a:pt x="18655" y="8381"/>
                  <a:pt x="18655" y="8308"/>
                </a:cubicBezTo>
                <a:cubicBezTo>
                  <a:pt x="18655" y="5556"/>
                  <a:pt x="17335" y="3323"/>
                  <a:pt x="15709" y="3323"/>
                </a:cubicBezTo>
                <a:cubicBezTo>
                  <a:pt x="14967" y="3323"/>
                  <a:pt x="14290" y="3791"/>
                  <a:pt x="13773" y="4558"/>
                </a:cubicBezTo>
                <a:cubicBezTo>
                  <a:pt x="12724" y="1819"/>
                  <a:pt x="10909" y="0"/>
                  <a:pt x="8836" y="0"/>
                </a:cubicBezTo>
                <a:cubicBezTo>
                  <a:pt x="5880" y="0"/>
                  <a:pt x="3439" y="3690"/>
                  <a:pt x="3017" y="8494"/>
                </a:cubicBezTo>
                <a:cubicBezTo>
                  <a:pt x="1288" y="9190"/>
                  <a:pt x="0" y="11814"/>
                  <a:pt x="0" y="14954"/>
                </a:cubicBezTo>
                <a:cubicBezTo>
                  <a:pt x="0" y="18624"/>
                  <a:pt x="1758" y="21600"/>
                  <a:pt x="3927" y="21600"/>
                </a:cubicBezTo>
                <a:lnTo>
                  <a:pt x="17673" y="21600"/>
                </a:lnTo>
                <a:cubicBezTo>
                  <a:pt x="19842" y="21600"/>
                  <a:pt x="21600" y="18624"/>
                  <a:pt x="21600" y="14954"/>
                </a:cubicBezTo>
                <a:cubicBezTo>
                  <a:pt x="21600" y="11855"/>
                  <a:pt x="20344" y="9259"/>
                  <a:pt x="18648" y="8523"/>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6" name="Shape 2966"/>
          <p:cNvSpPr/>
          <p:nvPr/>
        </p:nvSpPr>
        <p:spPr>
          <a:xfrm>
            <a:off x="1060590"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20400"/>
                </a:moveTo>
                <a:lnTo>
                  <a:pt x="3927" y="20400"/>
                </a:lnTo>
                <a:cubicBezTo>
                  <a:pt x="2303" y="20400"/>
                  <a:pt x="982" y="18785"/>
                  <a:pt x="982" y="16800"/>
                </a:cubicBezTo>
                <a:cubicBezTo>
                  <a:pt x="982" y="15128"/>
                  <a:pt x="1912" y="13690"/>
                  <a:pt x="3244" y="13302"/>
                </a:cubicBezTo>
                <a:cubicBezTo>
                  <a:pt x="3634" y="13189"/>
                  <a:pt x="3929" y="12796"/>
                  <a:pt x="3988" y="12312"/>
                </a:cubicBezTo>
                <a:cubicBezTo>
                  <a:pt x="4343" y="9397"/>
                  <a:pt x="6427" y="7200"/>
                  <a:pt x="8836" y="7200"/>
                </a:cubicBezTo>
                <a:cubicBezTo>
                  <a:pt x="10501" y="7200"/>
                  <a:pt x="11547" y="7626"/>
                  <a:pt x="12457" y="9344"/>
                </a:cubicBezTo>
                <a:cubicBezTo>
                  <a:pt x="12612" y="9636"/>
                  <a:pt x="13354" y="10432"/>
                  <a:pt x="13636" y="10480"/>
                </a:cubicBezTo>
                <a:cubicBezTo>
                  <a:pt x="13682" y="10488"/>
                  <a:pt x="13773" y="10492"/>
                  <a:pt x="13773" y="10492"/>
                </a:cubicBezTo>
                <a:cubicBezTo>
                  <a:pt x="14009" y="10492"/>
                  <a:pt x="14238" y="10388"/>
                  <a:pt x="14419" y="10195"/>
                </a:cubicBezTo>
                <a:cubicBezTo>
                  <a:pt x="14777" y="9812"/>
                  <a:pt x="15236" y="9600"/>
                  <a:pt x="15709" y="9600"/>
                </a:cubicBezTo>
                <a:cubicBezTo>
                  <a:pt x="16792" y="9600"/>
                  <a:pt x="17673" y="10677"/>
                  <a:pt x="17671" y="12013"/>
                </a:cubicBezTo>
                <a:lnTo>
                  <a:pt x="17667" y="12101"/>
                </a:lnTo>
                <a:cubicBezTo>
                  <a:pt x="17646" y="12669"/>
                  <a:pt x="17953" y="13177"/>
                  <a:pt x="18404" y="13318"/>
                </a:cubicBezTo>
                <a:cubicBezTo>
                  <a:pt x="19708" y="13726"/>
                  <a:pt x="20618" y="15158"/>
                  <a:pt x="20618" y="16800"/>
                </a:cubicBezTo>
                <a:cubicBezTo>
                  <a:pt x="20618" y="18785"/>
                  <a:pt x="19297" y="20400"/>
                  <a:pt x="17673" y="20400"/>
                </a:cubicBezTo>
                <a:moveTo>
                  <a:pt x="15709" y="1200"/>
                </a:moveTo>
                <a:cubicBezTo>
                  <a:pt x="18420" y="1200"/>
                  <a:pt x="20618" y="3887"/>
                  <a:pt x="20618" y="7200"/>
                </a:cubicBezTo>
                <a:cubicBezTo>
                  <a:pt x="20618" y="9162"/>
                  <a:pt x="19844" y="10898"/>
                  <a:pt x="18654" y="11992"/>
                </a:cubicBezTo>
                <a:cubicBezTo>
                  <a:pt x="18651" y="10008"/>
                  <a:pt x="17334" y="8400"/>
                  <a:pt x="15709" y="8400"/>
                </a:cubicBezTo>
                <a:cubicBezTo>
                  <a:pt x="14967" y="8400"/>
                  <a:pt x="14290" y="8738"/>
                  <a:pt x="13773" y="9292"/>
                </a:cubicBezTo>
                <a:cubicBezTo>
                  <a:pt x="13082" y="7989"/>
                  <a:pt x="12054" y="6984"/>
                  <a:pt x="10843" y="6443"/>
                </a:cubicBezTo>
                <a:cubicBezTo>
                  <a:pt x="11149" y="3488"/>
                  <a:pt x="13208" y="1200"/>
                  <a:pt x="15709" y="1200"/>
                </a:cubicBezTo>
                <a:moveTo>
                  <a:pt x="19575" y="12625"/>
                </a:moveTo>
                <a:cubicBezTo>
                  <a:pt x="20814" y="11304"/>
                  <a:pt x="21600" y="9367"/>
                  <a:pt x="21600" y="7200"/>
                </a:cubicBezTo>
                <a:cubicBezTo>
                  <a:pt x="21600" y="3224"/>
                  <a:pt x="18962" y="0"/>
                  <a:pt x="15709" y="0"/>
                </a:cubicBezTo>
                <a:cubicBezTo>
                  <a:pt x="12754" y="0"/>
                  <a:pt x="10314" y="2663"/>
                  <a:pt x="9890" y="6130"/>
                </a:cubicBezTo>
                <a:cubicBezTo>
                  <a:pt x="9547" y="6053"/>
                  <a:pt x="9198" y="6000"/>
                  <a:pt x="8836" y="6000"/>
                </a:cubicBezTo>
                <a:cubicBezTo>
                  <a:pt x="5880" y="6000"/>
                  <a:pt x="3439" y="8665"/>
                  <a:pt x="3017" y="12135"/>
                </a:cubicBezTo>
                <a:cubicBezTo>
                  <a:pt x="1288" y="12638"/>
                  <a:pt x="0" y="14532"/>
                  <a:pt x="0" y="16800"/>
                </a:cubicBezTo>
                <a:cubicBezTo>
                  <a:pt x="0" y="19451"/>
                  <a:pt x="1758" y="21600"/>
                  <a:pt x="3927" y="21600"/>
                </a:cubicBezTo>
                <a:lnTo>
                  <a:pt x="17673" y="21600"/>
                </a:lnTo>
                <a:cubicBezTo>
                  <a:pt x="19842" y="21600"/>
                  <a:pt x="21600" y="19451"/>
                  <a:pt x="21600" y="16800"/>
                </a:cubicBezTo>
                <a:cubicBezTo>
                  <a:pt x="21600" y="14997"/>
                  <a:pt x="20778" y="13443"/>
                  <a:pt x="19575" y="1262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7" name="Shape 2967"/>
          <p:cNvSpPr/>
          <p:nvPr/>
        </p:nvSpPr>
        <p:spPr>
          <a:xfrm>
            <a:off x="1460536"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4727" y="19440"/>
                </a:moveTo>
                <a:cubicBezTo>
                  <a:pt x="14727" y="20036"/>
                  <a:pt x="15167" y="20520"/>
                  <a:pt x="15709" y="20520"/>
                </a:cubicBezTo>
                <a:cubicBezTo>
                  <a:pt x="16251" y="20520"/>
                  <a:pt x="16691" y="20036"/>
                  <a:pt x="16691" y="19440"/>
                </a:cubicBezTo>
                <a:cubicBezTo>
                  <a:pt x="16691" y="18360"/>
                  <a:pt x="15709" y="17280"/>
                  <a:pt x="15709" y="17280"/>
                </a:cubicBezTo>
                <a:cubicBezTo>
                  <a:pt x="15709" y="17280"/>
                  <a:pt x="14727" y="18360"/>
                  <a:pt x="14727" y="19440"/>
                </a:cubicBezTo>
                <a:moveTo>
                  <a:pt x="4909" y="20520"/>
                </a:moveTo>
                <a:cubicBezTo>
                  <a:pt x="4909" y="21117"/>
                  <a:pt x="5349" y="21600"/>
                  <a:pt x="5891" y="21600"/>
                </a:cubicBezTo>
                <a:cubicBezTo>
                  <a:pt x="6433" y="21600"/>
                  <a:pt x="6873" y="21117"/>
                  <a:pt x="6873" y="20520"/>
                </a:cubicBezTo>
                <a:cubicBezTo>
                  <a:pt x="6873" y="19440"/>
                  <a:pt x="5891" y="18360"/>
                  <a:pt x="5891" y="18360"/>
                </a:cubicBezTo>
                <a:cubicBezTo>
                  <a:pt x="5891" y="18360"/>
                  <a:pt x="4909" y="19440"/>
                  <a:pt x="4909" y="20520"/>
                </a:cubicBezTo>
                <a:moveTo>
                  <a:pt x="9818" y="17280"/>
                </a:moveTo>
                <a:cubicBezTo>
                  <a:pt x="9818" y="17876"/>
                  <a:pt x="10258" y="18360"/>
                  <a:pt x="10800" y="18360"/>
                </a:cubicBezTo>
                <a:cubicBezTo>
                  <a:pt x="11342" y="18360"/>
                  <a:pt x="11782" y="17876"/>
                  <a:pt x="11782" y="17280"/>
                </a:cubicBezTo>
                <a:cubicBezTo>
                  <a:pt x="11782" y="16200"/>
                  <a:pt x="10800" y="15120"/>
                  <a:pt x="10800" y="15120"/>
                </a:cubicBezTo>
                <a:cubicBezTo>
                  <a:pt x="10800" y="15120"/>
                  <a:pt x="9818" y="16200"/>
                  <a:pt x="9818" y="1728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8" name="Shape 2968"/>
          <p:cNvSpPr/>
          <p:nvPr/>
        </p:nvSpPr>
        <p:spPr>
          <a:xfrm>
            <a:off x="1860482" y="3898410"/>
            <a:ext cx="209495" cy="171406"/>
          </a:xfrm>
          <a:custGeom>
            <a:avLst/>
            <a:gdLst/>
            <a:ahLst/>
            <a:cxnLst>
              <a:cxn ang="0">
                <a:pos x="wd2" y="hd2"/>
              </a:cxn>
              <a:cxn ang="5400000">
                <a:pos x="wd2" y="hd2"/>
              </a:cxn>
              <a:cxn ang="10800000">
                <a:pos x="wd2" y="hd2"/>
              </a:cxn>
              <a:cxn ang="16200000">
                <a:pos x="wd2" y="hd2"/>
              </a:cxn>
            </a:cxnLst>
            <a:rect l="0" t="0" r="r" b="b"/>
            <a:pathLst>
              <a:path w="21600" h="21600" extrusionOk="0">
                <a:moveTo>
                  <a:pt x="17673" y="14400"/>
                </a:moveTo>
                <a:lnTo>
                  <a:pt x="3927" y="14400"/>
                </a:lnTo>
                <a:cubicBezTo>
                  <a:pt x="2303" y="14400"/>
                  <a:pt x="982" y="12785"/>
                  <a:pt x="982" y="10800"/>
                </a:cubicBezTo>
                <a:cubicBezTo>
                  <a:pt x="982" y="9128"/>
                  <a:pt x="1912" y="7690"/>
                  <a:pt x="3244" y="7302"/>
                </a:cubicBezTo>
                <a:cubicBezTo>
                  <a:pt x="3634" y="7189"/>
                  <a:pt x="3929" y="6796"/>
                  <a:pt x="3988" y="6312"/>
                </a:cubicBezTo>
                <a:cubicBezTo>
                  <a:pt x="4343" y="3397"/>
                  <a:pt x="6427" y="1200"/>
                  <a:pt x="8836" y="1200"/>
                </a:cubicBezTo>
                <a:cubicBezTo>
                  <a:pt x="10501" y="1200"/>
                  <a:pt x="11547" y="1626"/>
                  <a:pt x="12457" y="3344"/>
                </a:cubicBezTo>
                <a:cubicBezTo>
                  <a:pt x="12612" y="3636"/>
                  <a:pt x="13354" y="4432"/>
                  <a:pt x="13636" y="4480"/>
                </a:cubicBezTo>
                <a:cubicBezTo>
                  <a:pt x="13682" y="4488"/>
                  <a:pt x="13773" y="4492"/>
                  <a:pt x="13773" y="4492"/>
                </a:cubicBezTo>
                <a:cubicBezTo>
                  <a:pt x="14009" y="4492"/>
                  <a:pt x="14238" y="4388"/>
                  <a:pt x="14419" y="4195"/>
                </a:cubicBezTo>
                <a:cubicBezTo>
                  <a:pt x="14777" y="3812"/>
                  <a:pt x="15236" y="3600"/>
                  <a:pt x="15709" y="3600"/>
                </a:cubicBezTo>
                <a:cubicBezTo>
                  <a:pt x="16792" y="3600"/>
                  <a:pt x="17673" y="4676"/>
                  <a:pt x="17671" y="6013"/>
                </a:cubicBezTo>
                <a:lnTo>
                  <a:pt x="17667" y="6101"/>
                </a:lnTo>
                <a:cubicBezTo>
                  <a:pt x="17646" y="6669"/>
                  <a:pt x="17953" y="7177"/>
                  <a:pt x="18404" y="7318"/>
                </a:cubicBezTo>
                <a:cubicBezTo>
                  <a:pt x="19708" y="7726"/>
                  <a:pt x="20618" y="9158"/>
                  <a:pt x="20618" y="10800"/>
                </a:cubicBezTo>
                <a:cubicBezTo>
                  <a:pt x="20618" y="12785"/>
                  <a:pt x="19297" y="14400"/>
                  <a:pt x="17673" y="14400"/>
                </a:cubicBezTo>
                <a:moveTo>
                  <a:pt x="18648" y="6156"/>
                </a:moveTo>
                <a:cubicBezTo>
                  <a:pt x="18650" y="6104"/>
                  <a:pt x="18655" y="6053"/>
                  <a:pt x="18655" y="6000"/>
                </a:cubicBezTo>
                <a:cubicBezTo>
                  <a:pt x="18655" y="4012"/>
                  <a:pt x="17335" y="2400"/>
                  <a:pt x="15709" y="2400"/>
                </a:cubicBezTo>
                <a:cubicBezTo>
                  <a:pt x="14967" y="2400"/>
                  <a:pt x="14290" y="2738"/>
                  <a:pt x="13773" y="3292"/>
                </a:cubicBezTo>
                <a:cubicBezTo>
                  <a:pt x="12724" y="1314"/>
                  <a:pt x="10909" y="0"/>
                  <a:pt x="8836" y="0"/>
                </a:cubicBezTo>
                <a:cubicBezTo>
                  <a:pt x="5880" y="0"/>
                  <a:pt x="3439" y="2665"/>
                  <a:pt x="3017" y="6135"/>
                </a:cubicBezTo>
                <a:cubicBezTo>
                  <a:pt x="1288" y="6638"/>
                  <a:pt x="0" y="8532"/>
                  <a:pt x="0" y="10800"/>
                </a:cubicBezTo>
                <a:cubicBezTo>
                  <a:pt x="0" y="13451"/>
                  <a:pt x="1758" y="15600"/>
                  <a:pt x="3927" y="15600"/>
                </a:cubicBezTo>
                <a:lnTo>
                  <a:pt x="17673" y="15600"/>
                </a:lnTo>
                <a:cubicBezTo>
                  <a:pt x="19842" y="15600"/>
                  <a:pt x="21600" y="13451"/>
                  <a:pt x="21600" y="10800"/>
                </a:cubicBezTo>
                <a:cubicBezTo>
                  <a:pt x="21600" y="8562"/>
                  <a:pt x="20344" y="6687"/>
                  <a:pt x="18648" y="6156"/>
                </a:cubicBezTo>
                <a:moveTo>
                  <a:pt x="15218" y="16800"/>
                </a:moveTo>
                <a:cubicBezTo>
                  <a:pt x="15083" y="16800"/>
                  <a:pt x="14960" y="16867"/>
                  <a:pt x="14871" y="16976"/>
                </a:cubicBezTo>
                <a:lnTo>
                  <a:pt x="11926" y="20575"/>
                </a:lnTo>
                <a:cubicBezTo>
                  <a:pt x="11837" y="20685"/>
                  <a:pt x="11782" y="20835"/>
                  <a:pt x="11782" y="21000"/>
                </a:cubicBezTo>
                <a:cubicBezTo>
                  <a:pt x="11782" y="21332"/>
                  <a:pt x="12002" y="21600"/>
                  <a:pt x="12273" y="21600"/>
                </a:cubicBezTo>
                <a:cubicBezTo>
                  <a:pt x="12408" y="21600"/>
                  <a:pt x="12531" y="21533"/>
                  <a:pt x="12620" y="21424"/>
                </a:cubicBezTo>
                <a:lnTo>
                  <a:pt x="15565" y="17824"/>
                </a:lnTo>
                <a:cubicBezTo>
                  <a:pt x="15654" y="17716"/>
                  <a:pt x="15709" y="17566"/>
                  <a:pt x="15709" y="17400"/>
                </a:cubicBezTo>
                <a:cubicBezTo>
                  <a:pt x="15709" y="17069"/>
                  <a:pt x="15489" y="16800"/>
                  <a:pt x="15218" y="16800"/>
                </a:cubicBezTo>
                <a:moveTo>
                  <a:pt x="12764" y="17400"/>
                </a:moveTo>
                <a:cubicBezTo>
                  <a:pt x="12764" y="17069"/>
                  <a:pt x="12544" y="16800"/>
                  <a:pt x="12273" y="16800"/>
                </a:cubicBezTo>
                <a:cubicBezTo>
                  <a:pt x="12137" y="16800"/>
                  <a:pt x="12015" y="16867"/>
                  <a:pt x="11925" y="16976"/>
                </a:cubicBezTo>
                <a:lnTo>
                  <a:pt x="8981" y="20575"/>
                </a:lnTo>
                <a:cubicBezTo>
                  <a:pt x="8891" y="20685"/>
                  <a:pt x="8836" y="20835"/>
                  <a:pt x="8836" y="21000"/>
                </a:cubicBezTo>
                <a:cubicBezTo>
                  <a:pt x="8836" y="21332"/>
                  <a:pt x="9056" y="21600"/>
                  <a:pt x="9327" y="21600"/>
                </a:cubicBezTo>
                <a:cubicBezTo>
                  <a:pt x="9463" y="21600"/>
                  <a:pt x="9585" y="21533"/>
                  <a:pt x="9674" y="21424"/>
                </a:cubicBezTo>
                <a:lnTo>
                  <a:pt x="12620" y="17824"/>
                </a:lnTo>
                <a:cubicBezTo>
                  <a:pt x="12709" y="17716"/>
                  <a:pt x="12764" y="17566"/>
                  <a:pt x="12764" y="17400"/>
                </a:cubicBezTo>
                <a:moveTo>
                  <a:pt x="6873" y="17400"/>
                </a:moveTo>
                <a:cubicBezTo>
                  <a:pt x="6873" y="17069"/>
                  <a:pt x="6653" y="16800"/>
                  <a:pt x="6382" y="16800"/>
                </a:cubicBezTo>
                <a:cubicBezTo>
                  <a:pt x="6246" y="16800"/>
                  <a:pt x="6124" y="16867"/>
                  <a:pt x="6034" y="16976"/>
                </a:cubicBezTo>
                <a:lnTo>
                  <a:pt x="3090" y="20575"/>
                </a:lnTo>
                <a:cubicBezTo>
                  <a:pt x="3000" y="20685"/>
                  <a:pt x="2945" y="20835"/>
                  <a:pt x="2945" y="21000"/>
                </a:cubicBezTo>
                <a:cubicBezTo>
                  <a:pt x="2945" y="21332"/>
                  <a:pt x="3166" y="21600"/>
                  <a:pt x="3436" y="21600"/>
                </a:cubicBezTo>
                <a:cubicBezTo>
                  <a:pt x="3572" y="21600"/>
                  <a:pt x="3695" y="21533"/>
                  <a:pt x="3783" y="21424"/>
                </a:cubicBezTo>
                <a:lnTo>
                  <a:pt x="6729" y="17824"/>
                </a:lnTo>
                <a:cubicBezTo>
                  <a:pt x="6818" y="17716"/>
                  <a:pt x="6873" y="17566"/>
                  <a:pt x="6873" y="17400"/>
                </a:cubicBezTo>
                <a:moveTo>
                  <a:pt x="9818" y="17400"/>
                </a:moveTo>
                <a:cubicBezTo>
                  <a:pt x="9818" y="17069"/>
                  <a:pt x="9598" y="16800"/>
                  <a:pt x="9327" y="16800"/>
                </a:cubicBezTo>
                <a:cubicBezTo>
                  <a:pt x="9192" y="16800"/>
                  <a:pt x="9069" y="16867"/>
                  <a:pt x="8980" y="16976"/>
                </a:cubicBezTo>
                <a:lnTo>
                  <a:pt x="6035" y="20575"/>
                </a:lnTo>
                <a:cubicBezTo>
                  <a:pt x="5946" y="20685"/>
                  <a:pt x="5891" y="20835"/>
                  <a:pt x="5891" y="21000"/>
                </a:cubicBezTo>
                <a:cubicBezTo>
                  <a:pt x="5891" y="21332"/>
                  <a:pt x="6111" y="21600"/>
                  <a:pt x="6382" y="21600"/>
                </a:cubicBezTo>
                <a:cubicBezTo>
                  <a:pt x="6517" y="21600"/>
                  <a:pt x="6640" y="21533"/>
                  <a:pt x="6729" y="21424"/>
                </a:cubicBezTo>
                <a:lnTo>
                  <a:pt x="9674" y="17824"/>
                </a:lnTo>
                <a:cubicBezTo>
                  <a:pt x="9763" y="17716"/>
                  <a:pt x="9818" y="17566"/>
                  <a:pt x="9818" y="1740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69" name="Shape 2969"/>
          <p:cNvSpPr/>
          <p:nvPr/>
        </p:nvSpPr>
        <p:spPr>
          <a:xfrm>
            <a:off x="2260427" y="3888887"/>
            <a:ext cx="209495" cy="190451"/>
          </a:xfrm>
          <a:custGeom>
            <a:avLst/>
            <a:gdLst/>
            <a:ahLst/>
            <a:cxnLst>
              <a:cxn ang="0">
                <a:pos x="wd2" y="hd2"/>
              </a:cxn>
              <a:cxn ang="5400000">
                <a:pos x="wd2" y="hd2"/>
              </a:cxn>
              <a:cxn ang="10800000">
                <a:pos x="wd2" y="hd2"/>
              </a:cxn>
              <a:cxn ang="16200000">
                <a:pos x="wd2" y="hd2"/>
              </a:cxn>
            </a:cxnLst>
            <a:rect l="0" t="0" r="r" b="b"/>
            <a:pathLst>
              <a:path w="21600" h="21600" extrusionOk="0">
                <a:moveTo>
                  <a:pt x="18164" y="15120"/>
                </a:moveTo>
                <a:cubicBezTo>
                  <a:pt x="17893" y="15120"/>
                  <a:pt x="17673" y="15362"/>
                  <a:pt x="17673" y="15660"/>
                </a:cubicBezTo>
                <a:lnTo>
                  <a:pt x="17673" y="17820"/>
                </a:lnTo>
                <a:cubicBezTo>
                  <a:pt x="17673" y="18118"/>
                  <a:pt x="17893" y="18360"/>
                  <a:pt x="18164" y="18360"/>
                </a:cubicBezTo>
                <a:cubicBezTo>
                  <a:pt x="18434" y="18360"/>
                  <a:pt x="18655" y="18118"/>
                  <a:pt x="18655" y="17820"/>
                </a:cubicBezTo>
                <a:lnTo>
                  <a:pt x="18655" y="15660"/>
                </a:lnTo>
                <a:cubicBezTo>
                  <a:pt x="18655" y="15362"/>
                  <a:pt x="18434" y="15120"/>
                  <a:pt x="18164" y="15120"/>
                </a:cubicBezTo>
                <a:moveTo>
                  <a:pt x="15218" y="15120"/>
                </a:moveTo>
                <a:cubicBezTo>
                  <a:pt x="14947" y="15120"/>
                  <a:pt x="14727" y="15362"/>
                  <a:pt x="14727" y="15660"/>
                </a:cubicBezTo>
                <a:lnTo>
                  <a:pt x="14727" y="18900"/>
                </a:lnTo>
                <a:cubicBezTo>
                  <a:pt x="14727" y="19198"/>
                  <a:pt x="14947" y="19440"/>
                  <a:pt x="15218" y="19440"/>
                </a:cubicBezTo>
                <a:cubicBezTo>
                  <a:pt x="15489" y="19440"/>
                  <a:pt x="15709" y="19198"/>
                  <a:pt x="15709" y="18900"/>
                </a:cubicBezTo>
                <a:lnTo>
                  <a:pt x="15709" y="15660"/>
                </a:lnTo>
                <a:cubicBezTo>
                  <a:pt x="15709" y="15362"/>
                  <a:pt x="15489" y="15120"/>
                  <a:pt x="15218" y="15120"/>
                </a:cubicBezTo>
                <a:moveTo>
                  <a:pt x="17673" y="12960"/>
                </a:moveTo>
                <a:lnTo>
                  <a:pt x="3927" y="12960"/>
                </a:lnTo>
                <a:cubicBezTo>
                  <a:pt x="2303" y="12960"/>
                  <a:pt x="982" y="11507"/>
                  <a:pt x="982" y="9720"/>
                </a:cubicBezTo>
                <a:cubicBezTo>
                  <a:pt x="982" y="8215"/>
                  <a:pt x="1912" y="6920"/>
                  <a:pt x="3244" y="6572"/>
                </a:cubicBezTo>
                <a:cubicBezTo>
                  <a:pt x="3634" y="6470"/>
                  <a:pt x="3929" y="6117"/>
                  <a:pt x="3988" y="5681"/>
                </a:cubicBezTo>
                <a:cubicBezTo>
                  <a:pt x="4343" y="3058"/>
                  <a:pt x="6427" y="1080"/>
                  <a:pt x="8836" y="1080"/>
                </a:cubicBezTo>
                <a:cubicBezTo>
                  <a:pt x="10501" y="1080"/>
                  <a:pt x="11547" y="1463"/>
                  <a:pt x="12457" y="3010"/>
                </a:cubicBezTo>
                <a:cubicBezTo>
                  <a:pt x="12612" y="3273"/>
                  <a:pt x="13354" y="3989"/>
                  <a:pt x="13636" y="4032"/>
                </a:cubicBezTo>
                <a:cubicBezTo>
                  <a:pt x="13682" y="4039"/>
                  <a:pt x="13773" y="4043"/>
                  <a:pt x="13773" y="4043"/>
                </a:cubicBezTo>
                <a:cubicBezTo>
                  <a:pt x="14009" y="4043"/>
                  <a:pt x="14238" y="3949"/>
                  <a:pt x="14419" y="3776"/>
                </a:cubicBezTo>
                <a:cubicBezTo>
                  <a:pt x="14777" y="3431"/>
                  <a:pt x="15236" y="3240"/>
                  <a:pt x="15709" y="3240"/>
                </a:cubicBezTo>
                <a:cubicBezTo>
                  <a:pt x="16792" y="3240"/>
                  <a:pt x="17673" y="4209"/>
                  <a:pt x="17671" y="5412"/>
                </a:cubicBezTo>
                <a:lnTo>
                  <a:pt x="17667" y="5491"/>
                </a:lnTo>
                <a:cubicBezTo>
                  <a:pt x="17646" y="6002"/>
                  <a:pt x="17953" y="6459"/>
                  <a:pt x="18404" y="6586"/>
                </a:cubicBezTo>
                <a:cubicBezTo>
                  <a:pt x="19708" y="6954"/>
                  <a:pt x="20618" y="8242"/>
                  <a:pt x="20618" y="9720"/>
                </a:cubicBezTo>
                <a:cubicBezTo>
                  <a:pt x="20618" y="11507"/>
                  <a:pt x="19297" y="12960"/>
                  <a:pt x="17673" y="12960"/>
                </a:cubicBezTo>
                <a:moveTo>
                  <a:pt x="18648" y="5540"/>
                </a:moveTo>
                <a:cubicBezTo>
                  <a:pt x="18650" y="5493"/>
                  <a:pt x="18655" y="5447"/>
                  <a:pt x="18655" y="5400"/>
                </a:cubicBezTo>
                <a:cubicBezTo>
                  <a:pt x="18655" y="3611"/>
                  <a:pt x="17335" y="2160"/>
                  <a:pt x="15709" y="2160"/>
                </a:cubicBezTo>
                <a:cubicBezTo>
                  <a:pt x="14967" y="2160"/>
                  <a:pt x="14290" y="2464"/>
                  <a:pt x="13773" y="2963"/>
                </a:cubicBezTo>
                <a:cubicBezTo>
                  <a:pt x="12724" y="1182"/>
                  <a:pt x="10909" y="0"/>
                  <a:pt x="8836" y="0"/>
                </a:cubicBezTo>
                <a:cubicBezTo>
                  <a:pt x="5880" y="0"/>
                  <a:pt x="3439" y="2398"/>
                  <a:pt x="3017" y="5521"/>
                </a:cubicBezTo>
                <a:cubicBezTo>
                  <a:pt x="1288" y="5974"/>
                  <a:pt x="0" y="7679"/>
                  <a:pt x="0" y="9720"/>
                </a:cubicBezTo>
                <a:cubicBezTo>
                  <a:pt x="0" y="12106"/>
                  <a:pt x="1758" y="14040"/>
                  <a:pt x="3927" y="14040"/>
                </a:cubicBezTo>
                <a:lnTo>
                  <a:pt x="17673" y="14040"/>
                </a:lnTo>
                <a:cubicBezTo>
                  <a:pt x="19842" y="14040"/>
                  <a:pt x="21600" y="12106"/>
                  <a:pt x="21600" y="9720"/>
                </a:cubicBezTo>
                <a:cubicBezTo>
                  <a:pt x="21600" y="7706"/>
                  <a:pt x="20344" y="6018"/>
                  <a:pt x="18648" y="5540"/>
                </a:cubicBezTo>
                <a:moveTo>
                  <a:pt x="6382" y="16200"/>
                </a:moveTo>
                <a:cubicBezTo>
                  <a:pt x="6111" y="16200"/>
                  <a:pt x="5891" y="16442"/>
                  <a:pt x="5891" y="16740"/>
                </a:cubicBezTo>
                <a:lnTo>
                  <a:pt x="5891" y="18900"/>
                </a:lnTo>
                <a:cubicBezTo>
                  <a:pt x="5891" y="19198"/>
                  <a:pt x="6111" y="19440"/>
                  <a:pt x="6382" y="19440"/>
                </a:cubicBezTo>
                <a:cubicBezTo>
                  <a:pt x="6653" y="19440"/>
                  <a:pt x="6873" y="19198"/>
                  <a:pt x="6873" y="18900"/>
                </a:cubicBezTo>
                <a:lnTo>
                  <a:pt x="6873" y="16740"/>
                </a:lnTo>
                <a:cubicBezTo>
                  <a:pt x="6873" y="16442"/>
                  <a:pt x="6653" y="16200"/>
                  <a:pt x="6382" y="16200"/>
                </a:cubicBezTo>
                <a:moveTo>
                  <a:pt x="3436" y="15120"/>
                </a:moveTo>
                <a:cubicBezTo>
                  <a:pt x="3166" y="15120"/>
                  <a:pt x="2945" y="15362"/>
                  <a:pt x="2945" y="15660"/>
                </a:cubicBezTo>
                <a:lnTo>
                  <a:pt x="2945" y="18900"/>
                </a:lnTo>
                <a:cubicBezTo>
                  <a:pt x="2945" y="19198"/>
                  <a:pt x="3166" y="19440"/>
                  <a:pt x="3436" y="19440"/>
                </a:cubicBezTo>
                <a:cubicBezTo>
                  <a:pt x="3707" y="19440"/>
                  <a:pt x="3927" y="19198"/>
                  <a:pt x="3927" y="18900"/>
                </a:cubicBezTo>
                <a:lnTo>
                  <a:pt x="3927" y="15660"/>
                </a:lnTo>
                <a:cubicBezTo>
                  <a:pt x="3927" y="15362"/>
                  <a:pt x="3707" y="15120"/>
                  <a:pt x="3436" y="15120"/>
                </a:cubicBezTo>
                <a:moveTo>
                  <a:pt x="12273" y="16200"/>
                </a:moveTo>
                <a:cubicBezTo>
                  <a:pt x="12002" y="16200"/>
                  <a:pt x="11782" y="16442"/>
                  <a:pt x="11782" y="16740"/>
                </a:cubicBezTo>
                <a:lnTo>
                  <a:pt x="11782" y="19980"/>
                </a:lnTo>
                <a:cubicBezTo>
                  <a:pt x="11782" y="20278"/>
                  <a:pt x="12002" y="20520"/>
                  <a:pt x="12273" y="20520"/>
                </a:cubicBezTo>
                <a:cubicBezTo>
                  <a:pt x="12544" y="20520"/>
                  <a:pt x="12764" y="20278"/>
                  <a:pt x="12764" y="19980"/>
                </a:cubicBezTo>
                <a:lnTo>
                  <a:pt x="12764" y="16740"/>
                </a:lnTo>
                <a:cubicBezTo>
                  <a:pt x="12764" y="16442"/>
                  <a:pt x="12544" y="16200"/>
                  <a:pt x="12273" y="16200"/>
                </a:cubicBezTo>
                <a:moveTo>
                  <a:pt x="9327" y="17280"/>
                </a:moveTo>
                <a:cubicBezTo>
                  <a:pt x="9056" y="17280"/>
                  <a:pt x="8836" y="17522"/>
                  <a:pt x="8836" y="17820"/>
                </a:cubicBezTo>
                <a:lnTo>
                  <a:pt x="8836" y="21060"/>
                </a:lnTo>
                <a:cubicBezTo>
                  <a:pt x="8836" y="21358"/>
                  <a:pt x="9056" y="21600"/>
                  <a:pt x="9327" y="21600"/>
                </a:cubicBezTo>
                <a:cubicBezTo>
                  <a:pt x="9598" y="21600"/>
                  <a:pt x="9818" y="21358"/>
                  <a:pt x="9818" y="21060"/>
                </a:cubicBezTo>
                <a:lnTo>
                  <a:pt x="9818" y="17820"/>
                </a:lnTo>
                <a:cubicBezTo>
                  <a:pt x="9818" y="17522"/>
                  <a:pt x="9598" y="17280"/>
                  <a:pt x="9327" y="1728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0" name="Shape 2970"/>
          <p:cNvSpPr/>
          <p:nvPr/>
        </p:nvSpPr>
        <p:spPr>
          <a:xfrm>
            <a:off x="2660374"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5709" y="19636"/>
                </a:moveTo>
                <a:cubicBezTo>
                  <a:pt x="15167" y="19636"/>
                  <a:pt x="14727" y="20076"/>
                  <a:pt x="14727" y="20618"/>
                </a:cubicBezTo>
                <a:cubicBezTo>
                  <a:pt x="14727" y="21160"/>
                  <a:pt x="15167" y="21600"/>
                  <a:pt x="15709" y="21600"/>
                </a:cubicBezTo>
                <a:cubicBezTo>
                  <a:pt x="16251" y="21600"/>
                  <a:pt x="16691" y="21160"/>
                  <a:pt x="16691" y="20618"/>
                </a:cubicBezTo>
                <a:cubicBezTo>
                  <a:pt x="16691" y="20076"/>
                  <a:pt x="16251" y="19636"/>
                  <a:pt x="15709" y="19636"/>
                </a:cubicBezTo>
                <a:moveTo>
                  <a:pt x="18655" y="16691"/>
                </a:moveTo>
                <a:cubicBezTo>
                  <a:pt x="18113" y="16691"/>
                  <a:pt x="17673" y="17131"/>
                  <a:pt x="17673" y="17673"/>
                </a:cubicBezTo>
                <a:cubicBezTo>
                  <a:pt x="17673" y="18215"/>
                  <a:pt x="18113" y="18655"/>
                  <a:pt x="18655" y="18655"/>
                </a:cubicBezTo>
                <a:cubicBezTo>
                  <a:pt x="19196" y="18655"/>
                  <a:pt x="19636" y="18215"/>
                  <a:pt x="19636" y="17673"/>
                </a:cubicBezTo>
                <a:cubicBezTo>
                  <a:pt x="19636" y="17131"/>
                  <a:pt x="19196" y="16691"/>
                  <a:pt x="18655" y="16691"/>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6"/>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7"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6"/>
                </a:cubicBezTo>
                <a:moveTo>
                  <a:pt x="15709" y="15709"/>
                </a:moveTo>
                <a:cubicBezTo>
                  <a:pt x="15709" y="15167"/>
                  <a:pt x="15269" y="14727"/>
                  <a:pt x="14727" y="14727"/>
                </a:cubicBezTo>
                <a:cubicBezTo>
                  <a:pt x="14186" y="14727"/>
                  <a:pt x="13745" y="15167"/>
                  <a:pt x="13745" y="15709"/>
                </a:cubicBezTo>
                <a:cubicBezTo>
                  <a:pt x="13745" y="16252"/>
                  <a:pt x="14186" y="16691"/>
                  <a:pt x="14727" y="16691"/>
                </a:cubicBezTo>
                <a:cubicBezTo>
                  <a:pt x="15269" y="16691"/>
                  <a:pt x="15709" y="16252"/>
                  <a:pt x="15709" y="15709"/>
                </a:cubicBezTo>
                <a:moveTo>
                  <a:pt x="10800" y="17673"/>
                </a:moveTo>
                <a:cubicBezTo>
                  <a:pt x="10258" y="17673"/>
                  <a:pt x="9818" y="18113"/>
                  <a:pt x="9818" y="18655"/>
                </a:cubicBezTo>
                <a:cubicBezTo>
                  <a:pt x="9818" y="19196"/>
                  <a:pt x="10258" y="19636"/>
                  <a:pt x="10800" y="19636"/>
                </a:cubicBezTo>
                <a:cubicBezTo>
                  <a:pt x="11342" y="19636"/>
                  <a:pt x="11782" y="19196"/>
                  <a:pt x="11782" y="18655"/>
                </a:cubicBezTo>
                <a:cubicBezTo>
                  <a:pt x="11782" y="18113"/>
                  <a:pt x="11342" y="17673"/>
                  <a:pt x="10800" y="17673"/>
                </a:cubicBezTo>
                <a:moveTo>
                  <a:pt x="2945" y="15709"/>
                </a:moveTo>
                <a:cubicBezTo>
                  <a:pt x="2404" y="15709"/>
                  <a:pt x="1964" y="16149"/>
                  <a:pt x="1964" y="16691"/>
                </a:cubicBezTo>
                <a:cubicBezTo>
                  <a:pt x="1964" y="17233"/>
                  <a:pt x="2404" y="17673"/>
                  <a:pt x="2945" y="17673"/>
                </a:cubicBezTo>
                <a:cubicBezTo>
                  <a:pt x="3487" y="17673"/>
                  <a:pt x="3927" y="17233"/>
                  <a:pt x="3927" y="16691"/>
                </a:cubicBezTo>
                <a:cubicBezTo>
                  <a:pt x="3927" y="16149"/>
                  <a:pt x="3487" y="15709"/>
                  <a:pt x="2945" y="15709"/>
                </a:cubicBezTo>
                <a:moveTo>
                  <a:pt x="4909" y="18655"/>
                </a:moveTo>
                <a:cubicBezTo>
                  <a:pt x="4367" y="18655"/>
                  <a:pt x="3927" y="19095"/>
                  <a:pt x="3927" y="19636"/>
                </a:cubicBezTo>
                <a:cubicBezTo>
                  <a:pt x="3927" y="20179"/>
                  <a:pt x="4367" y="20618"/>
                  <a:pt x="4909" y="20618"/>
                </a:cubicBezTo>
                <a:cubicBezTo>
                  <a:pt x="5451" y="20618"/>
                  <a:pt x="5891" y="20179"/>
                  <a:pt x="5891" y="19636"/>
                </a:cubicBezTo>
                <a:cubicBezTo>
                  <a:pt x="5891" y="19095"/>
                  <a:pt x="5451" y="18655"/>
                  <a:pt x="4909" y="18655"/>
                </a:cubicBezTo>
                <a:moveTo>
                  <a:pt x="7855" y="13745"/>
                </a:moveTo>
                <a:cubicBezTo>
                  <a:pt x="7313" y="13745"/>
                  <a:pt x="6873" y="14186"/>
                  <a:pt x="6873" y="14727"/>
                </a:cubicBezTo>
                <a:cubicBezTo>
                  <a:pt x="6873" y="15270"/>
                  <a:pt x="7313" y="15709"/>
                  <a:pt x="7855" y="15709"/>
                </a:cubicBezTo>
                <a:cubicBezTo>
                  <a:pt x="8396" y="15709"/>
                  <a:pt x="8836" y="15270"/>
                  <a:pt x="8836" y="14727"/>
                </a:cubicBezTo>
                <a:cubicBezTo>
                  <a:pt x="8836" y="14186"/>
                  <a:pt x="8396" y="13745"/>
                  <a:pt x="7855" y="13745"/>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1" name="Shape 2971"/>
          <p:cNvSpPr/>
          <p:nvPr/>
        </p:nvSpPr>
        <p:spPr>
          <a:xfrm>
            <a:off x="3060320"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6691" y="15709"/>
                </a:moveTo>
                <a:cubicBezTo>
                  <a:pt x="16555" y="15709"/>
                  <a:pt x="16433" y="15764"/>
                  <a:pt x="16344" y="15853"/>
                </a:cubicBezTo>
                <a:lnTo>
                  <a:pt x="13399" y="18798"/>
                </a:lnTo>
                <a:cubicBezTo>
                  <a:pt x="13310" y="18888"/>
                  <a:pt x="13255" y="19010"/>
                  <a:pt x="13255" y="19145"/>
                </a:cubicBezTo>
                <a:cubicBezTo>
                  <a:pt x="13255" y="19417"/>
                  <a:pt x="13474" y="19636"/>
                  <a:pt x="13745" y="19636"/>
                </a:cubicBezTo>
                <a:cubicBezTo>
                  <a:pt x="13881" y="19636"/>
                  <a:pt x="14003" y="19582"/>
                  <a:pt x="14093" y="19493"/>
                </a:cubicBezTo>
                <a:lnTo>
                  <a:pt x="17038" y="16547"/>
                </a:lnTo>
                <a:cubicBezTo>
                  <a:pt x="17127" y="16458"/>
                  <a:pt x="17182" y="16336"/>
                  <a:pt x="17182" y="16200"/>
                </a:cubicBezTo>
                <a:cubicBezTo>
                  <a:pt x="17182" y="15929"/>
                  <a:pt x="16962" y="15709"/>
                  <a:pt x="16691" y="15709"/>
                </a:cubicBezTo>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7"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6382" y="15709"/>
                </a:moveTo>
                <a:cubicBezTo>
                  <a:pt x="6246" y="15709"/>
                  <a:pt x="6123" y="15764"/>
                  <a:pt x="6035" y="15853"/>
                </a:cubicBezTo>
                <a:lnTo>
                  <a:pt x="3090" y="18798"/>
                </a:lnTo>
                <a:cubicBezTo>
                  <a:pt x="3001" y="18888"/>
                  <a:pt x="2945" y="19010"/>
                  <a:pt x="2945" y="19145"/>
                </a:cubicBezTo>
                <a:cubicBezTo>
                  <a:pt x="2945" y="19417"/>
                  <a:pt x="3165" y="19636"/>
                  <a:pt x="3436" y="19636"/>
                </a:cubicBezTo>
                <a:cubicBezTo>
                  <a:pt x="3572" y="19636"/>
                  <a:pt x="3695" y="19582"/>
                  <a:pt x="3783" y="19493"/>
                </a:cubicBezTo>
                <a:lnTo>
                  <a:pt x="6729" y="16547"/>
                </a:lnTo>
                <a:cubicBezTo>
                  <a:pt x="6818" y="16458"/>
                  <a:pt x="6873" y="16336"/>
                  <a:pt x="6873" y="16200"/>
                </a:cubicBezTo>
                <a:cubicBezTo>
                  <a:pt x="6873" y="15929"/>
                  <a:pt x="6653" y="15709"/>
                  <a:pt x="6382" y="15709"/>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10" y="20851"/>
                  <a:pt x="7855" y="20974"/>
                  <a:pt x="7855" y="21109"/>
                </a:cubicBezTo>
                <a:cubicBezTo>
                  <a:pt x="7855" y="21380"/>
                  <a:pt x="8074" y="21600"/>
                  <a:pt x="8345" y="21600"/>
                </a:cubicBezTo>
                <a:cubicBezTo>
                  <a:pt x="8481" y="21600"/>
                  <a:pt x="8604"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2" name="Shape 2972"/>
          <p:cNvSpPr/>
          <p:nvPr/>
        </p:nvSpPr>
        <p:spPr>
          <a:xfrm>
            <a:off x="3460265"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7673" y="11782"/>
                </a:moveTo>
                <a:lnTo>
                  <a:pt x="3927" y="11782"/>
                </a:lnTo>
                <a:cubicBezTo>
                  <a:pt x="2303" y="11782"/>
                  <a:pt x="982" y="10461"/>
                  <a:pt x="982" y="8836"/>
                </a:cubicBezTo>
                <a:cubicBezTo>
                  <a:pt x="982" y="7468"/>
                  <a:pt x="1911" y="6292"/>
                  <a:pt x="3244" y="5975"/>
                </a:cubicBezTo>
                <a:cubicBezTo>
                  <a:pt x="3634" y="5882"/>
                  <a:pt x="3929" y="5561"/>
                  <a:pt x="3988" y="5164"/>
                </a:cubicBezTo>
                <a:cubicBezTo>
                  <a:pt x="4342" y="2780"/>
                  <a:pt x="6427" y="982"/>
                  <a:pt x="8836" y="982"/>
                </a:cubicBezTo>
                <a:cubicBezTo>
                  <a:pt x="10501" y="982"/>
                  <a:pt x="11547" y="1330"/>
                  <a:pt x="12457" y="2736"/>
                </a:cubicBezTo>
                <a:cubicBezTo>
                  <a:pt x="12612" y="2975"/>
                  <a:pt x="13354" y="3626"/>
                  <a:pt x="13636" y="3666"/>
                </a:cubicBezTo>
                <a:cubicBezTo>
                  <a:pt x="13682" y="3672"/>
                  <a:pt x="13772" y="3675"/>
                  <a:pt x="13772" y="3675"/>
                </a:cubicBezTo>
                <a:cubicBezTo>
                  <a:pt x="14009" y="3675"/>
                  <a:pt x="14238" y="3590"/>
                  <a:pt x="14419" y="3433"/>
                </a:cubicBezTo>
                <a:cubicBezTo>
                  <a:pt x="14777" y="3119"/>
                  <a:pt x="15236" y="2945"/>
                  <a:pt x="15709" y="2945"/>
                </a:cubicBezTo>
                <a:cubicBezTo>
                  <a:pt x="16792" y="2945"/>
                  <a:pt x="17673" y="3826"/>
                  <a:pt x="17671" y="4920"/>
                </a:cubicBezTo>
                <a:lnTo>
                  <a:pt x="17667" y="4992"/>
                </a:lnTo>
                <a:cubicBezTo>
                  <a:pt x="17646" y="5457"/>
                  <a:pt x="17954" y="5872"/>
                  <a:pt x="18404" y="5987"/>
                </a:cubicBezTo>
                <a:cubicBezTo>
                  <a:pt x="19708" y="6321"/>
                  <a:pt x="20618" y="7493"/>
                  <a:pt x="20618" y="8836"/>
                </a:cubicBezTo>
                <a:cubicBezTo>
                  <a:pt x="20618" y="10461"/>
                  <a:pt x="19297" y="11782"/>
                  <a:pt x="17673" y="11782"/>
                </a:cubicBezTo>
                <a:moveTo>
                  <a:pt x="18648" y="5037"/>
                </a:moveTo>
                <a:cubicBezTo>
                  <a:pt x="18650" y="4994"/>
                  <a:pt x="18655" y="4952"/>
                  <a:pt x="18655" y="4909"/>
                </a:cubicBezTo>
                <a:cubicBezTo>
                  <a:pt x="18655" y="3283"/>
                  <a:pt x="17335" y="1964"/>
                  <a:pt x="15709" y="1964"/>
                </a:cubicBezTo>
                <a:cubicBezTo>
                  <a:pt x="14967" y="1964"/>
                  <a:pt x="14291" y="2240"/>
                  <a:pt x="13772" y="2693"/>
                </a:cubicBezTo>
                <a:cubicBezTo>
                  <a:pt x="12724" y="1075"/>
                  <a:pt x="10909" y="0"/>
                  <a:pt x="8836" y="0"/>
                </a:cubicBezTo>
                <a:cubicBezTo>
                  <a:pt x="5879" y="0"/>
                  <a:pt x="3439" y="2180"/>
                  <a:pt x="3016" y="5019"/>
                </a:cubicBezTo>
                <a:cubicBezTo>
                  <a:pt x="1288" y="5431"/>
                  <a:pt x="0" y="6981"/>
                  <a:pt x="0" y="8836"/>
                </a:cubicBezTo>
                <a:cubicBezTo>
                  <a:pt x="0" y="11005"/>
                  <a:pt x="1758" y="12764"/>
                  <a:pt x="3927" y="12764"/>
                </a:cubicBezTo>
                <a:lnTo>
                  <a:pt x="17673" y="12764"/>
                </a:lnTo>
                <a:cubicBezTo>
                  <a:pt x="19842" y="12764"/>
                  <a:pt x="21600" y="11005"/>
                  <a:pt x="21600" y="8836"/>
                </a:cubicBezTo>
                <a:cubicBezTo>
                  <a:pt x="21600" y="7005"/>
                  <a:pt x="20344" y="5471"/>
                  <a:pt x="18648" y="5037"/>
                </a:cubicBezTo>
                <a:moveTo>
                  <a:pt x="11782" y="15218"/>
                </a:moveTo>
                <a:cubicBezTo>
                  <a:pt x="11782" y="14947"/>
                  <a:pt x="11562" y="14727"/>
                  <a:pt x="11291" y="14727"/>
                </a:cubicBezTo>
                <a:cubicBezTo>
                  <a:pt x="11155" y="14727"/>
                  <a:pt x="11032" y="14782"/>
                  <a:pt x="10944" y="14872"/>
                </a:cubicBezTo>
                <a:lnTo>
                  <a:pt x="7999" y="17816"/>
                </a:lnTo>
                <a:cubicBezTo>
                  <a:pt x="7910" y="17906"/>
                  <a:pt x="7855" y="18028"/>
                  <a:pt x="7855" y="18164"/>
                </a:cubicBezTo>
                <a:cubicBezTo>
                  <a:pt x="7855" y="18435"/>
                  <a:pt x="8074" y="18655"/>
                  <a:pt x="8345" y="18655"/>
                </a:cubicBezTo>
                <a:lnTo>
                  <a:pt x="10106" y="18655"/>
                </a:lnTo>
                <a:lnTo>
                  <a:pt x="7998" y="20762"/>
                </a:lnTo>
                <a:cubicBezTo>
                  <a:pt x="7909" y="20851"/>
                  <a:pt x="7855" y="20974"/>
                  <a:pt x="7855" y="21109"/>
                </a:cubicBezTo>
                <a:cubicBezTo>
                  <a:pt x="7855" y="21380"/>
                  <a:pt x="8074" y="21600"/>
                  <a:pt x="8345" y="21600"/>
                </a:cubicBezTo>
                <a:cubicBezTo>
                  <a:pt x="8481" y="21600"/>
                  <a:pt x="8603" y="21545"/>
                  <a:pt x="8693" y="21456"/>
                </a:cubicBezTo>
                <a:lnTo>
                  <a:pt x="11638" y="18511"/>
                </a:lnTo>
                <a:cubicBezTo>
                  <a:pt x="11727" y="18422"/>
                  <a:pt x="11782" y="18299"/>
                  <a:pt x="11782" y="18164"/>
                </a:cubicBezTo>
                <a:cubicBezTo>
                  <a:pt x="11782" y="17892"/>
                  <a:pt x="11562" y="17673"/>
                  <a:pt x="11291" y="17673"/>
                </a:cubicBezTo>
                <a:lnTo>
                  <a:pt x="11290" y="17673"/>
                </a:lnTo>
                <a:lnTo>
                  <a:pt x="9531" y="17673"/>
                </a:lnTo>
                <a:lnTo>
                  <a:pt x="11638" y="15565"/>
                </a:lnTo>
                <a:cubicBezTo>
                  <a:pt x="11727" y="15477"/>
                  <a:pt x="11782" y="15354"/>
                  <a:pt x="11782" y="15218"/>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3" name="Shape 2973"/>
          <p:cNvSpPr/>
          <p:nvPr/>
        </p:nvSpPr>
        <p:spPr>
          <a:xfrm>
            <a:off x="3860211" y="3893648"/>
            <a:ext cx="209495" cy="180929"/>
          </a:xfrm>
          <a:custGeom>
            <a:avLst/>
            <a:gdLst/>
            <a:ahLst/>
            <a:cxnLst>
              <a:cxn ang="0">
                <a:pos x="wd2" y="hd2"/>
              </a:cxn>
              <a:cxn ang="5400000">
                <a:pos x="wd2" y="hd2"/>
              </a:cxn>
              <a:cxn ang="10800000">
                <a:pos x="wd2" y="hd2"/>
              </a:cxn>
              <a:cxn ang="16200000">
                <a:pos x="wd2" y="hd2"/>
              </a:cxn>
            </a:cxnLst>
            <a:rect l="0" t="0" r="r" b="b"/>
            <a:pathLst>
              <a:path w="21600" h="21600" extrusionOk="0">
                <a:moveTo>
                  <a:pt x="11782" y="12505"/>
                </a:moveTo>
                <a:lnTo>
                  <a:pt x="4418" y="12505"/>
                </a:lnTo>
                <a:cubicBezTo>
                  <a:pt x="4147" y="12505"/>
                  <a:pt x="3927" y="12759"/>
                  <a:pt x="3927" y="13074"/>
                </a:cubicBezTo>
                <a:cubicBezTo>
                  <a:pt x="3927" y="13388"/>
                  <a:pt x="4147" y="13642"/>
                  <a:pt x="4418" y="13642"/>
                </a:cubicBezTo>
                <a:lnTo>
                  <a:pt x="11782" y="13642"/>
                </a:lnTo>
                <a:cubicBezTo>
                  <a:pt x="13408" y="13642"/>
                  <a:pt x="14727" y="15170"/>
                  <a:pt x="14727" y="17053"/>
                </a:cubicBezTo>
                <a:cubicBezTo>
                  <a:pt x="14727" y="18937"/>
                  <a:pt x="13408" y="20463"/>
                  <a:pt x="11782" y="20463"/>
                </a:cubicBezTo>
                <a:lnTo>
                  <a:pt x="11291" y="20463"/>
                </a:lnTo>
                <a:cubicBezTo>
                  <a:pt x="11020" y="20463"/>
                  <a:pt x="10800" y="20717"/>
                  <a:pt x="10800" y="21032"/>
                </a:cubicBezTo>
                <a:cubicBezTo>
                  <a:pt x="10800" y="21346"/>
                  <a:pt x="11020" y="21600"/>
                  <a:pt x="11291" y="21600"/>
                </a:cubicBezTo>
                <a:lnTo>
                  <a:pt x="11782" y="21600"/>
                </a:lnTo>
                <a:cubicBezTo>
                  <a:pt x="13951" y="21600"/>
                  <a:pt x="15709" y="19564"/>
                  <a:pt x="15709" y="17053"/>
                </a:cubicBezTo>
                <a:cubicBezTo>
                  <a:pt x="15709" y="14541"/>
                  <a:pt x="13951" y="12505"/>
                  <a:pt x="11782" y="12505"/>
                </a:cubicBezTo>
                <a:moveTo>
                  <a:pt x="18655" y="10232"/>
                </a:moveTo>
                <a:lnTo>
                  <a:pt x="2455" y="10232"/>
                </a:lnTo>
                <a:cubicBezTo>
                  <a:pt x="2183" y="10232"/>
                  <a:pt x="1964" y="10486"/>
                  <a:pt x="1964" y="10800"/>
                </a:cubicBezTo>
                <a:cubicBezTo>
                  <a:pt x="1964" y="11114"/>
                  <a:pt x="2183" y="11368"/>
                  <a:pt x="2455" y="11368"/>
                </a:cubicBezTo>
                <a:lnTo>
                  <a:pt x="18655" y="11368"/>
                </a:lnTo>
                <a:cubicBezTo>
                  <a:pt x="19739" y="11368"/>
                  <a:pt x="20618" y="12386"/>
                  <a:pt x="20618" y="13642"/>
                </a:cubicBezTo>
                <a:cubicBezTo>
                  <a:pt x="20618" y="14898"/>
                  <a:pt x="19739" y="15916"/>
                  <a:pt x="18655" y="15916"/>
                </a:cubicBezTo>
                <a:lnTo>
                  <a:pt x="18164" y="15916"/>
                </a:lnTo>
                <a:cubicBezTo>
                  <a:pt x="17892" y="15916"/>
                  <a:pt x="17673" y="16170"/>
                  <a:pt x="17673" y="16484"/>
                </a:cubicBezTo>
                <a:cubicBezTo>
                  <a:pt x="17673" y="16798"/>
                  <a:pt x="17892" y="17053"/>
                  <a:pt x="18164" y="17053"/>
                </a:cubicBezTo>
                <a:lnTo>
                  <a:pt x="18655" y="17053"/>
                </a:lnTo>
                <a:cubicBezTo>
                  <a:pt x="20281" y="17053"/>
                  <a:pt x="21600" y="15526"/>
                  <a:pt x="21600" y="13642"/>
                </a:cubicBezTo>
                <a:cubicBezTo>
                  <a:pt x="21600" y="11759"/>
                  <a:pt x="20281" y="10232"/>
                  <a:pt x="18655" y="10232"/>
                </a:cubicBezTo>
                <a:moveTo>
                  <a:pt x="17673" y="6821"/>
                </a:moveTo>
                <a:cubicBezTo>
                  <a:pt x="17673" y="5565"/>
                  <a:pt x="16794" y="4547"/>
                  <a:pt x="15709" y="4547"/>
                </a:cubicBezTo>
                <a:lnTo>
                  <a:pt x="15218" y="4547"/>
                </a:lnTo>
                <a:cubicBezTo>
                  <a:pt x="14947" y="4547"/>
                  <a:pt x="14727" y="4802"/>
                  <a:pt x="14727" y="5116"/>
                </a:cubicBezTo>
                <a:cubicBezTo>
                  <a:pt x="14727" y="5430"/>
                  <a:pt x="14947" y="5684"/>
                  <a:pt x="15218" y="5684"/>
                </a:cubicBezTo>
                <a:lnTo>
                  <a:pt x="15709" y="5684"/>
                </a:lnTo>
                <a:cubicBezTo>
                  <a:pt x="16251" y="5684"/>
                  <a:pt x="16691" y="6194"/>
                  <a:pt x="16691" y="6821"/>
                </a:cubicBezTo>
                <a:cubicBezTo>
                  <a:pt x="16691" y="7448"/>
                  <a:pt x="16251" y="7958"/>
                  <a:pt x="15709" y="7958"/>
                </a:cubicBezTo>
                <a:lnTo>
                  <a:pt x="491" y="7958"/>
                </a:lnTo>
                <a:cubicBezTo>
                  <a:pt x="220" y="7958"/>
                  <a:pt x="0" y="8212"/>
                  <a:pt x="0" y="8526"/>
                </a:cubicBezTo>
                <a:cubicBezTo>
                  <a:pt x="0" y="8841"/>
                  <a:pt x="220" y="9095"/>
                  <a:pt x="491" y="9095"/>
                </a:cubicBezTo>
                <a:lnTo>
                  <a:pt x="15709" y="9095"/>
                </a:lnTo>
                <a:cubicBezTo>
                  <a:pt x="16794" y="9095"/>
                  <a:pt x="17673" y="8077"/>
                  <a:pt x="17673" y="6821"/>
                </a:cubicBezTo>
                <a:moveTo>
                  <a:pt x="2455" y="6821"/>
                </a:moveTo>
                <a:lnTo>
                  <a:pt x="9818" y="6821"/>
                </a:lnTo>
                <a:cubicBezTo>
                  <a:pt x="11444" y="6821"/>
                  <a:pt x="12764" y="5294"/>
                  <a:pt x="12764" y="3411"/>
                </a:cubicBezTo>
                <a:cubicBezTo>
                  <a:pt x="12764" y="1528"/>
                  <a:pt x="11444" y="0"/>
                  <a:pt x="9818" y="0"/>
                </a:cubicBezTo>
                <a:lnTo>
                  <a:pt x="9327" y="0"/>
                </a:lnTo>
                <a:cubicBezTo>
                  <a:pt x="9056" y="0"/>
                  <a:pt x="8836" y="254"/>
                  <a:pt x="8836" y="568"/>
                </a:cubicBezTo>
                <a:cubicBezTo>
                  <a:pt x="8836" y="883"/>
                  <a:pt x="9056" y="1137"/>
                  <a:pt x="9327" y="1137"/>
                </a:cubicBezTo>
                <a:lnTo>
                  <a:pt x="9818" y="1137"/>
                </a:lnTo>
                <a:cubicBezTo>
                  <a:pt x="10903" y="1137"/>
                  <a:pt x="11782" y="2155"/>
                  <a:pt x="11782" y="3411"/>
                </a:cubicBezTo>
                <a:cubicBezTo>
                  <a:pt x="11782" y="4666"/>
                  <a:pt x="10903" y="5684"/>
                  <a:pt x="9818" y="5684"/>
                </a:cubicBezTo>
                <a:lnTo>
                  <a:pt x="2455" y="5684"/>
                </a:lnTo>
                <a:cubicBezTo>
                  <a:pt x="2183" y="5684"/>
                  <a:pt x="1964" y="5938"/>
                  <a:pt x="1964" y="6253"/>
                </a:cubicBezTo>
                <a:cubicBezTo>
                  <a:pt x="1964" y="6567"/>
                  <a:pt x="2183" y="6821"/>
                  <a:pt x="2455" y="6821"/>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4" name="Shape 2974"/>
          <p:cNvSpPr/>
          <p:nvPr/>
        </p:nvSpPr>
        <p:spPr>
          <a:xfrm>
            <a:off x="4260157" y="3879364"/>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14480" y="13937"/>
                </a:moveTo>
                <a:cubicBezTo>
                  <a:pt x="14147" y="14117"/>
                  <a:pt x="13804" y="14208"/>
                  <a:pt x="13451" y="14208"/>
                </a:cubicBezTo>
                <a:cubicBezTo>
                  <a:pt x="12999" y="14208"/>
                  <a:pt x="12590" y="14119"/>
                  <a:pt x="12225" y="13943"/>
                </a:cubicBezTo>
                <a:cubicBezTo>
                  <a:pt x="11859" y="13768"/>
                  <a:pt x="11545" y="13525"/>
                  <a:pt x="11282" y="13217"/>
                </a:cubicBezTo>
                <a:cubicBezTo>
                  <a:pt x="11020" y="12909"/>
                  <a:pt x="10816" y="12544"/>
                  <a:pt x="10672" y="12121"/>
                </a:cubicBezTo>
                <a:cubicBezTo>
                  <a:pt x="10529" y="11698"/>
                  <a:pt x="10457" y="11236"/>
                  <a:pt x="10457" y="10734"/>
                </a:cubicBezTo>
                <a:cubicBezTo>
                  <a:pt x="10457" y="10268"/>
                  <a:pt x="10529" y="9832"/>
                  <a:pt x="10672" y="9427"/>
                </a:cubicBezTo>
                <a:cubicBezTo>
                  <a:pt x="10816" y="9022"/>
                  <a:pt x="11020" y="8668"/>
                  <a:pt x="11282" y="8364"/>
                </a:cubicBezTo>
                <a:cubicBezTo>
                  <a:pt x="11545" y="8060"/>
                  <a:pt x="11859" y="7823"/>
                  <a:pt x="12225" y="7651"/>
                </a:cubicBezTo>
                <a:cubicBezTo>
                  <a:pt x="12590" y="7479"/>
                  <a:pt x="12999" y="7393"/>
                  <a:pt x="13451" y="7393"/>
                </a:cubicBezTo>
                <a:cubicBezTo>
                  <a:pt x="13755" y="7393"/>
                  <a:pt x="14057" y="7456"/>
                  <a:pt x="14357" y="7579"/>
                </a:cubicBezTo>
                <a:cubicBezTo>
                  <a:pt x="14656" y="7702"/>
                  <a:pt x="14966" y="7948"/>
                  <a:pt x="15287" y="8318"/>
                </a:cubicBezTo>
                <a:lnTo>
                  <a:pt x="16494" y="7367"/>
                </a:lnTo>
                <a:cubicBezTo>
                  <a:pt x="16059" y="6830"/>
                  <a:pt x="15589" y="6449"/>
                  <a:pt x="15083" y="6225"/>
                </a:cubicBezTo>
                <a:cubicBezTo>
                  <a:pt x="14578" y="6000"/>
                  <a:pt x="14030" y="5888"/>
                  <a:pt x="13439" y="5888"/>
                </a:cubicBezTo>
                <a:cubicBezTo>
                  <a:pt x="12765" y="5888"/>
                  <a:pt x="12147" y="6005"/>
                  <a:pt x="11584" y="6238"/>
                </a:cubicBezTo>
                <a:cubicBezTo>
                  <a:pt x="11021" y="6471"/>
                  <a:pt x="10537" y="6804"/>
                  <a:pt x="10131" y="7235"/>
                </a:cubicBezTo>
                <a:cubicBezTo>
                  <a:pt x="9724" y="7666"/>
                  <a:pt x="9405" y="8188"/>
                  <a:pt x="9176" y="8800"/>
                </a:cubicBezTo>
                <a:cubicBezTo>
                  <a:pt x="8946" y="9412"/>
                  <a:pt x="8831" y="10092"/>
                  <a:pt x="8831" y="10840"/>
                </a:cubicBezTo>
                <a:cubicBezTo>
                  <a:pt x="8831" y="11571"/>
                  <a:pt x="8946" y="12235"/>
                  <a:pt x="9176" y="12835"/>
                </a:cubicBezTo>
                <a:cubicBezTo>
                  <a:pt x="9405" y="13433"/>
                  <a:pt x="9724" y="13946"/>
                  <a:pt x="10131" y="14373"/>
                </a:cubicBezTo>
                <a:cubicBezTo>
                  <a:pt x="10537" y="14800"/>
                  <a:pt x="11021" y="15130"/>
                  <a:pt x="11584" y="15363"/>
                </a:cubicBezTo>
                <a:cubicBezTo>
                  <a:pt x="12147" y="15597"/>
                  <a:pt x="12765" y="15713"/>
                  <a:pt x="13439" y="15713"/>
                </a:cubicBezTo>
                <a:cubicBezTo>
                  <a:pt x="14079" y="15713"/>
                  <a:pt x="14683" y="15581"/>
                  <a:pt x="15250" y="15317"/>
                </a:cubicBezTo>
                <a:cubicBezTo>
                  <a:pt x="15816" y="15053"/>
                  <a:pt x="16297" y="14630"/>
                  <a:pt x="16691" y="14049"/>
                </a:cubicBezTo>
                <a:lnTo>
                  <a:pt x="15410" y="13072"/>
                </a:lnTo>
                <a:cubicBezTo>
                  <a:pt x="15122" y="13468"/>
                  <a:pt x="14813" y="13756"/>
                  <a:pt x="14480" y="13937"/>
                </a:cubicBezTo>
                <a:moveTo>
                  <a:pt x="5891" y="6873"/>
                </a:moveTo>
                <a:cubicBezTo>
                  <a:pt x="5349" y="6873"/>
                  <a:pt x="4909" y="6433"/>
                  <a:pt x="4909" y="5891"/>
                </a:cubicBezTo>
                <a:cubicBezTo>
                  <a:pt x="4909" y="5349"/>
                  <a:pt x="5349" y="4909"/>
                  <a:pt x="5891" y="4909"/>
                </a:cubicBezTo>
                <a:cubicBezTo>
                  <a:pt x="6433" y="4909"/>
                  <a:pt x="6873" y="5349"/>
                  <a:pt x="6873" y="5891"/>
                </a:cubicBezTo>
                <a:cubicBezTo>
                  <a:pt x="6873" y="6433"/>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5" name="Shape 2975"/>
          <p:cNvSpPr/>
          <p:nvPr/>
        </p:nvSpPr>
        <p:spPr>
          <a:xfrm>
            <a:off x="4717237"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moveTo>
                  <a:pt x="9825" y="15704"/>
                </a:moveTo>
                <a:lnTo>
                  <a:pt x="11291" y="15709"/>
                </a:lnTo>
                <a:lnTo>
                  <a:pt x="11291" y="11782"/>
                </a:lnTo>
                <a:lnTo>
                  <a:pt x="15218" y="11782"/>
                </a:lnTo>
                <a:lnTo>
                  <a:pt x="15218" y="10309"/>
                </a:lnTo>
                <a:lnTo>
                  <a:pt x="11291" y="10309"/>
                </a:lnTo>
                <a:lnTo>
                  <a:pt x="11291" y="7364"/>
                </a:lnTo>
                <a:lnTo>
                  <a:pt x="15709" y="7364"/>
                </a:lnTo>
                <a:lnTo>
                  <a:pt x="15711" y="5897"/>
                </a:lnTo>
                <a:lnTo>
                  <a:pt x="9825" y="5897"/>
                </a:lnTo>
                <a:cubicBezTo>
                  <a:pt x="9825" y="5897"/>
                  <a:pt x="9825" y="15704"/>
                  <a:pt x="9825" y="15704"/>
                </a:cubicBezTo>
                <a:close/>
                <a:moveTo>
                  <a:pt x="5891" y="6873"/>
                </a:moveTo>
                <a:cubicBezTo>
                  <a:pt x="5349" y="6873"/>
                  <a:pt x="4909" y="6434"/>
                  <a:pt x="4909" y="5891"/>
                </a:cubicBezTo>
                <a:cubicBezTo>
                  <a:pt x="4909" y="5349"/>
                  <a:pt x="5349" y="4909"/>
                  <a:pt x="5891" y="4909"/>
                </a:cubicBezTo>
                <a:cubicBezTo>
                  <a:pt x="6433" y="4909"/>
                  <a:pt x="6873" y="5349"/>
                  <a:pt x="6873" y="5891"/>
                </a:cubicBezTo>
                <a:cubicBezTo>
                  <a:pt x="6873" y="6434"/>
                  <a:pt x="6433" y="6873"/>
                  <a:pt x="5891" y="6873"/>
                </a:cubicBezTo>
                <a:moveTo>
                  <a:pt x="5891" y="3927"/>
                </a:moveTo>
                <a:cubicBezTo>
                  <a:pt x="4806" y="3927"/>
                  <a:pt x="3927" y="4806"/>
                  <a:pt x="3927" y="5891"/>
                </a:cubicBezTo>
                <a:cubicBezTo>
                  <a:pt x="3927" y="6975"/>
                  <a:pt x="4806" y="7855"/>
                  <a:pt x="5891" y="7855"/>
                </a:cubicBezTo>
                <a:cubicBezTo>
                  <a:pt x="6975" y="7855"/>
                  <a:pt x="7855" y="6975"/>
                  <a:pt x="7855" y="5891"/>
                </a:cubicBezTo>
                <a:cubicBezTo>
                  <a:pt x="7855" y="4806"/>
                  <a:pt x="6975" y="3927"/>
                  <a:pt x="5891" y="392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6" name="Shape 2976"/>
          <p:cNvSpPr/>
          <p:nvPr/>
        </p:nvSpPr>
        <p:spPr>
          <a:xfrm>
            <a:off x="5117183"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7" name="Shape 2977"/>
          <p:cNvSpPr/>
          <p:nvPr/>
        </p:nvSpPr>
        <p:spPr>
          <a:xfrm>
            <a:off x="5517129"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86" y="20524"/>
                </a:moveTo>
                <a:cubicBezTo>
                  <a:pt x="11664" y="20580"/>
                  <a:pt x="11237" y="20618"/>
                  <a:pt x="10800" y="20618"/>
                </a:cubicBezTo>
                <a:cubicBezTo>
                  <a:pt x="5377" y="20618"/>
                  <a:pt x="982" y="16223"/>
                  <a:pt x="982" y="10800"/>
                </a:cubicBezTo>
                <a:cubicBezTo>
                  <a:pt x="982" y="5378"/>
                  <a:pt x="5377" y="982"/>
                  <a:pt x="10800" y="982"/>
                </a:cubicBezTo>
                <a:cubicBezTo>
                  <a:pt x="11237" y="982"/>
                  <a:pt x="11665" y="1020"/>
                  <a:pt x="12086" y="1076"/>
                </a:cubicBezTo>
                <a:cubicBezTo>
                  <a:pt x="14339" y="3664"/>
                  <a:pt x="15709" y="7100"/>
                  <a:pt x="15709" y="10800"/>
                </a:cubicBezTo>
                <a:cubicBezTo>
                  <a:pt x="15709" y="14500"/>
                  <a:pt x="14339" y="17936"/>
                  <a:pt x="12086" y="20524"/>
                </a:cubicBezTo>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8" name="Shape 2978"/>
          <p:cNvSpPr/>
          <p:nvPr/>
        </p:nvSpPr>
        <p:spPr>
          <a:xfrm>
            <a:off x="5917075"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0800" y="982"/>
                  <a:pt x="10800" y="20618"/>
                  <a:pt x="10800" y="20618"/>
                </a:cubicBezTo>
                <a:close/>
                <a:moveTo>
                  <a:pt x="10800" y="0"/>
                </a:moveTo>
                <a:cubicBezTo>
                  <a:pt x="4836" y="0"/>
                  <a:pt x="0" y="4835"/>
                  <a:pt x="0" y="10800"/>
                </a:cubicBezTo>
                <a:cubicBezTo>
                  <a:pt x="0" y="16765"/>
                  <a:pt x="4836" y="21600"/>
                  <a:pt x="10800" y="21600"/>
                </a:cubicBezTo>
                <a:cubicBezTo>
                  <a:pt x="16764" y="21600"/>
                  <a:pt x="21600" y="16765"/>
                  <a:pt x="21600" y="10800"/>
                </a:cubicBezTo>
                <a:cubicBezTo>
                  <a:pt x="21600" y="4835"/>
                  <a:pt x="16764"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79" name="Shape 2979"/>
          <p:cNvSpPr/>
          <p:nvPr/>
        </p:nvSpPr>
        <p:spPr>
          <a:xfrm>
            <a:off x="6317021"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9570" y="20533"/>
                </a:moveTo>
                <a:cubicBezTo>
                  <a:pt x="4730" y="19927"/>
                  <a:pt x="982" y="15805"/>
                  <a:pt x="982" y="10800"/>
                </a:cubicBezTo>
                <a:cubicBezTo>
                  <a:pt x="982" y="5795"/>
                  <a:pt x="4730" y="1673"/>
                  <a:pt x="9570" y="1067"/>
                </a:cubicBezTo>
                <a:cubicBezTo>
                  <a:pt x="7282" y="3663"/>
                  <a:pt x="5891" y="7068"/>
                  <a:pt x="5891" y="10800"/>
                </a:cubicBezTo>
                <a:cubicBezTo>
                  <a:pt x="5891" y="14532"/>
                  <a:pt x="7282" y="17937"/>
                  <a:pt x="9570" y="20533"/>
                </a:cubicBezTo>
                <a:moveTo>
                  <a:pt x="10800" y="0"/>
                </a:moveTo>
                <a:cubicBezTo>
                  <a:pt x="4836" y="0"/>
                  <a:pt x="0" y="4835"/>
                  <a:pt x="0" y="10800"/>
                </a:cubicBezTo>
                <a:cubicBezTo>
                  <a:pt x="0" y="16765"/>
                  <a:pt x="4836"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0" name="Shape 2980"/>
          <p:cNvSpPr/>
          <p:nvPr/>
        </p:nvSpPr>
        <p:spPr>
          <a:xfrm>
            <a:off x="6716967" y="3507986"/>
            <a:ext cx="209495" cy="209495"/>
          </a:xfrm>
          <a:prstGeom prst="ellipse">
            <a:avLst/>
          </a:pr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1" name="Shape 2981"/>
          <p:cNvSpPr/>
          <p:nvPr/>
        </p:nvSpPr>
        <p:spPr>
          <a:xfrm>
            <a:off x="7116912"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2030" y="20533"/>
                </a:moveTo>
                <a:cubicBezTo>
                  <a:pt x="14318" y="17937"/>
                  <a:pt x="15709" y="14532"/>
                  <a:pt x="15709" y="10800"/>
                </a:cubicBezTo>
                <a:cubicBezTo>
                  <a:pt x="15709" y="7068"/>
                  <a:pt x="14318" y="3663"/>
                  <a:pt x="12030" y="1067"/>
                </a:cubicBezTo>
                <a:cubicBezTo>
                  <a:pt x="16870" y="1673"/>
                  <a:pt x="20618" y="5795"/>
                  <a:pt x="20618" y="10800"/>
                </a:cubicBezTo>
                <a:cubicBezTo>
                  <a:pt x="20618" y="15805"/>
                  <a:pt x="16870" y="19927"/>
                  <a:pt x="12030" y="20533"/>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2" name="Shape 2982"/>
          <p:cNvSpPr/>
          <p:nvPr/>
        </p:nvSpPr>
        <p:spPr>
          <a:xfrm>
            <a:off x="7516858"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lnTo>
                  <a:pt x="10800" y="982"/>
                </a:ln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3" name="Shape 2983"/>
          <p:cNvSpPr/>
          <p:nvPr/>
        </p:nvSpPr>
        <p:spPr>
          <a:xfrm>
            <a:off x="7916804" y="3507986"/>
            <a:ext cx="209495"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10378" y="20618"/>
                  <a:pt x="9964" y="20583"/>
                  <a:pt x="9556" y="20531"/>
                </a:cubicBezTo>
                <a:cubicBezTo>
                  <a:pt x="7276" y="17937"/>
                  <a:pt x="5891" y="14524"/>
                  <a:pt x="5891" y="10800"/>
                </a:cubicBezTo>
                <a:cubicBezTo>
                  <a:pt x="5891" y="7076"/>
                  <a:pt x="7276" y="3663"/>
                  <a:pt x="9556" y="1069"/>
                </a:cubicBezTo>
                <a:cubicBezTo>
                  <a:pt x="9964" y="1017"/>
                  <a:pt x="10378" y="982"/>
                  <a:pt x="10800" y="982"/>
                </a:cubicBezTo>
                <a:cubicBezTo>
                  <a:pt x="16223" y="982"/>
                  <a:pt x="20618" y="5377"/>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2984" name="Shape 2984"/>
          <p:cNvSpPr/>
          <p:nvPr/>
        </p:nvSpPr>
        <p:spPr>
          <a:xfrm>
            <a:off x="8373885" y="3507986"/>
            <a:ext cx="95226" cy="209495"/>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6029" y="20618"/>
                  <a:pt x="2160" y="18860"/>
                  <a:pt x="2160" y="16691"/>
                </a:cubicBezTo>
                <a:cubicBezTo>
                  <a:pt x="2160" y="15238"/>
                  <a:pt x="3900" y="13973"/>
                  <a:pt x="6480" y="13293"/>
                </a:cubicBezTo>
                <a:lnTo>
                  <a:pt x="6480" y="2945"/>
                </a:lnTo>
                <a:cubicBezTo>
                  <a:pt x="6480" y="1861"/>
                  <a:pt x="8414" y="982"/>
                  <a:pt x="10800" y="982"/>
                </a:cubicBezTo>
                <a:cubicBezTo>
                  <a:pt x="13186" y="982"/>
                  <a:pt x="15120" y="1861"/>
                  <a:pt x="15120" y="2945"/>
                </a:cubicBezTo>
                <a:lnTo>
                  <a:pt x="15120" y="13293"/>
                </a:lnTo>
                <a:cubicBezTo>
                  <a:pt x="17700" y="13973"/>
                  <a:pt x="19440" y="15238"/>
                  <a:pt x="19440" y="16691"/>
                </a:cubicBezTo>
                <a:cubicBezTo>
                  <a:pt x="19440" y="18860"/>
                  <a:pt x="15571" y="20618"/>
                  <a:pt x="10800" y="20618"/>
                </a:cubicBezTo>
                <a:moveTo>
                  <a:pt x="17280" y="12770"/>
                </a:moveTo>
                <a:lnTo>
                  <a:pt x="17280" y="2945"/>
                </a:lnTo>
                <a:cubicBezTo>
                  <a:pt x="17280" y="1318"/>
                  <a:pt x="14378" y="0"/>
                  <a:pt x="10800" y="0"/>
                </a:cubicBezTo>
                <a:cubicBezTo>
                  <a:pt x="7221" y="0"/>
                  <a:pt x="4320" y="1318"/>
                  <a:pt x="4320" y="2945"/>
                </a:cubicBezTo>
                <a:lnTo>
                  <a:pt x="4320" y="12770"/>
                </a:lnTo>
                <a:cubicBezTo>
                  <a:pt x="1701" y="13666"/>
                  <a:pt x="0" y="15087"/>
                  <a:pt x="0" y="16691"/>
                </a:cubicBezTo>
                <a:cubicBezTo>
                  <a:pt x="0" y="19402"/>
                  <a:pt x="4835" y="21600"/>
                  <a:pt x="10800" y="21600"/>
                </a:cubicBezTo>
                <a:cubicBezTo>
                  <a:pt x="16763" y="21600"/>
                  <a:pt x="21600" y="19402"/>
                  <a:pt x="21600" y="16691"/>
                </a:cubicBezTo>
                <a:cubicBezTo>
                  <a:pt x="21600" y="15087"/>
                  <a:pt x="19899" y="13666"/>
                  <a:pt x="17280" y="12770"/>
                </a:cubicBezTo>
                <a:moveTo>
                  <a:pt x="12960" y="13917"/>
                </a:moveTo>
                <a:lnTo>
                  <a:pt x="12960" y="7855"/>
                </a:lnTo>
                <a:cubicBezTo>
                  <a:pt x="12960" y="7313"/>
                  <a:pt x="11992" y="6873"/>
                  <a:pt x="10800" y="6873"/>
                </a:cubicBezTo>
                <a:cubicBezTo>
                  <a:pt x="9608" y="6873"/>
                  <a:pt x="8640" y="7313"/>
                  <a:pt x="8640" y="7855"/>
                </a:cubicBezTo>
                <a:lnTo>
                  <a:pt x="8640" y="13917"/>
                </a:lnTo>
                <a:cubicBezTo>
                  <a:pt x="6126" y="14322"/>
                  <a:pt x="4320" y="15409"/>
                  <a:pt x="4320" y="16691"/>
                </a:cubicBezTo>
                <a:cubicBezTo>
                  <a:pt x="4320" y="18318"/>
                  <a:pt x="7221" y="19636"/>
                  <a:pt x="10800" y="19636"/>
                </a:cubicBezTo>
                <a:cubicBezTo>
                  <a:pt x="14378" y="19636"/>
                  <a:pt x="17280" y="18318"/>
                  <a:pt x="17280" y="16691"/>
                </a:cubicBezTo>
                <a:cubicBezTo>
                  <a:pt x="17280" y="15409"/>
                  <a:pt x="15475" y="14322"/>
                  <a:pt x="12960" y="13917"/>
                </a:cubicBezTo>
              </a:path>
            </a:pathLst>
          </a:custGeom>
          <a:solidFill>
            <a:schemeClr val="tx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p>
        </p:txBody>
      </p:sp>
      <p:sp>
        <p:nvSpPr>
          <p:cNvPr id="96" name="Shape 2707"/>
          <p:cNvSpPr/>
          <p:nvPr/>
        </p:nvSpPr>
        <p:spPr>
          <a:xfrm>
            <a:off x="4228204" y="3078257"/>
            <a:ext cx="708584"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Weather</a:t>
            </a:r>
          </a:p>
        </p:txBody>
      </p:sp>
      <p:sp>
        <p:nvSpPr>
          <p:cNvPr id="97" name="Shape 2707"/>
          <p:cNvSpPr/>
          <p:nvPr/>
        </p:nvSpPr>
        <p:spPr>
          <a:xfrm>
            <a:off x="4269912" y="657413"/>
            <a:ext cx="625164"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Arrows</a:t>
            </a:r>
          </a:p>
        </p:txBody>
      </p:sp>
      <p:sp>
        <p:nvSpPr>
          <p:cNvPr id="98" name="Shape 2707"/>
          <p:cNvSpPr/>
          <p:nvPr/>
        </p:nvSpPr>
        <p:spPr>
          <a:xfrm>
            <a:off x="4207396" y="2054250"/>
            <a:ext cx="750198" cy="236596"/>
          </a:xfrm>
          <a:prstGeom prst="rect">
            <a:avLst/>
          </a:prstGeom>
          <a:noFill/>
          <a:ln w="12700">
            <a:miter lim="400000"/>
          </a:ln>
          <a:extLst>
            <a:ext uri="{C572A759-6A51-4108-AA02-DFA0A04FC94B}">
              <ma14:wrappingTextBoxFlag xmlns="" xmlns:ma14="http://schemas.microsoft.com/office/mac/drawingml/2011/main" val="1"/>
            </a:ext>
          </a:extLst>
        </p:spPr>
        <p:txBody>
          <a:bodyPr wrap="none" lIns="14284" tIns="14284" rIns="14284" bIns="14284" anchor="ctr">
            <a:spAutoFit/>
          </a:bodyPr>
          <a:lstStyle>
            <a:lvl1pPr algn="l">
              <a:defRPr sz="3000" b="1" cap="none" spc="-90">
                <a:solidFill>
                  <a:srgbClr val="1C1D21"/>
                </a:solidFill>
                <a:latin typeface="+mj-lt"/>
                <a:ea typeface="+mj-ea"/>
                <a:cs typeface="+mj-cs"/>
                <a:sym typeface="Karla"/>
              </a:defRPr>
            </a:lvl1pPr>
          </a:lstStyle>
          <a:p>
            <a:pPr algn="ctr"/>
            <a:r>
              <a:rPr lang="en-US" sz="1350" spc="0" dirty="0">
                <a:solidFill>
                  <a:schemeClr val="accent3"/>
                </a:solidFill>
                <a:latin typeface="Arial" panose="020B0604020202020204" pitchFamily="34" charset="0"/>
                <a:cs typeface="Arial" panose="020B0604020202020204" pitchFamily="34" charset="0"/>
              </a:rPr>
              <a:t>Location</a:t>
            </a:r>
          </a:p>
        </p:txBody>
      </p:sp>
    </p:spTree>
    <p:extLst>
      <p:ext uri="{BB962C8B-B14F-4D97-AF65-F5344CB8AC3E}">
        <p14:creationId xmlns:p14="http://schemas.microsoft.com/office/powerpoint/2010/main" val="18590315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id="{9256FF68-9801-B84E-AED2-47801F0C2FB6}"/>
              </a:ext>
            </a:extLst>
          </p:cNvPr>
          <p:cNvSpPr/>
          <p:nvPr/>
        </p:nvSpPr>
        <p:spPr>
          <a:xfrm rot="10800000" flipV="1">
            <a:off x="1188" y="0"/>
            <a:ext cx="9142811"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grpSp>
        <p:nvGrpSpPr>
          <p:cNvPr id="2" name="Group 1">
            <a:extLst>
              <a:ext uri="{FF2B5EF4-FFF2-40B4-BE49-F238E27FC236}">
                <a16:creationId xmlns:a16="http://schemas.microsoft.com/office/drawing/2014/main" id="{99B75920-E937-1748-B276-BE8AD24A6FCA}"/>
              </a:ext>
            </a:extLst>
          </p:cNvPr>
          <p:cNvGrpSpPr/>
          <p:nvPr/>
        </p:nvGrpSpPr>
        <p:grpSpPr>
          <a:xfrm>
            <a:off x="1041135" y="1268749"/>
            <a:ext cx="7061729" cy="3412452"/>
            <a:chOff x="3209292" y="3691995"/>
            <a:chExt cx="18831276" cy="9099872"/>
          </a:xfrm>
        </p:grpSpPr>
        <p:grpSp>
          <p:nvGrpSpPr>
            <p:cNvPr id="126" name="Group 125">
              <a:extLst>
                <a:ext uri="{FF2B5EF4-FFF2-40B4-BE49-F238E27FC236}">
                  <a16:creationId xmlns:a16="http://schemas.microsoft.com/office/drawing/2014/main" id="{53976A36-F0C8-B44F-97B2-B44FB55F5C23}"/>
                </a:ext>
              </a:extLst>
            </p:cNvPr>
            <p:cNvGrpSpPr/>
            <p:nvPr/>
          </p:nvGrpSpPr>
          <p:grpSpPr>
            <a:xfrm>
              <a:off x="3209292" y="3753014"/>
              <a:ext cx="17943828" cy="8876496"/>
              <a:chOff x="3843499" y="3719582"/>
              <a:chExt cx="16665619" cy="8244192"/>
            </a:xfrm>
            <a:solidFill>
              <a:schemeClr val="bg1"/>
            </a:solidFill>
          </p:grpSpPr>
          <p:sp>
            <p:nvSpPr>
              <p:cNvPr id="127" name="Freeform 781">
                <a:extLst>
                  <a:ext uri="{FF2B5EF4-FFF2-40B4-BE49-F238E27FC236}">
                    <a16:creationId xmlns:a16="http://schemas.microsoft.com/office/drawing/2014/main" id="{D8C38CD4-0F3C-424B-B322-AD6B8A5C2B2C}"/>
                  </a:ext>
                </a:extLst>
              </p:cNvPr>
              <p:cNvSpPr>
                <a:spLocks/>
              </p:cNvSpPr>
              <p:nvPr/>
            </p:nvSpPr>
            <p:spPr bwMode="auto">
              <a:xfrm>
                <a:off x="9818027" y="3757809"/>
                <a:ext cx="85988" cy="38227"/>
              </a:xfrm>
              <a:custGeom>
                <a:avLst/>
                <a:gdLst>
                  <a:gd name="T0" fmla="*/ 4 w 9"/>
                  <a:gd name="T1" fmla="*/ 3 h 4"/>
                  <a:gd name="T2" fmla="*/ 1 w 9"/>
                  <a:gd name="T3" fmla="*/ 2 h 4"/>
                  <a:gd name="T4" fmla="*/ 5 w 9"/>
                  <a:gd name="T5" fmla="*/ 2 h 4"/>
                  <a:gd name="T6" fmla="*/ 0 w 9"/>
                  <a:gd name="T7" fmla="*/ 0 h 4"/>
                  <a:gd name="T8" fmla="*/ 9 w 9"/>
                  <a:gd name="T9" fmla="*/ 2 h 4"/>
                  <a:gd name="T10" fmla="*/ 5 w 9"/>
                  <a:gd name="T11" fmla="*/ 2 h 4"/>
                  <a:gd name="T12" fmla="*/ 4 w 9"/>
                  <a:gd name="T13" fmla="*/ 3 h 4"/>
                  <a:gd name="T14" fmla="*/ 4 w 9"/>
                  <a:gd name="T15" fmla="*/ 3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4">
                    <a:moveTo>
                      <a:pt x="4" y="3"/>
                    </a:moveTo>
                    <a:cubicBezTo>
                      <a:pt x="4" y="3"/>
                      <a:pt x="1" y="2"/>
                      <a:pt x="1" y="2"/>
                    </a:cubicBezTo>
                    <a:cubicBezTo>
                      <a:pt x="1" y="2"/>
                      <a:pt x="4" y="2"/>
                      <a:pt x="5" y="2"/>
                    </a:cubicBezTo>
                    <a:cubicBezTo>
                      <a:pt x="3" y="1"/>
                      <a:pt x="1" y="2"/>
                      <a:pt x="0" y="0"/>
                    </a:cubicBezTo>
                    <a:cubicBezTo>
                      <a:pt x="1" y="1"/>
                      <a:pt x="8" y="0"/>
                      <a:pt x="9" y="2"/>
                    </a:cubicBezTo>
                    <a:cubicBezTo>
                      <a:pt x="9" y="2"/>
                      <a:pt x="6" y="2"/>
                      <a:pt x="5" y="2"/>
                    </a:cubicBezTo>
                    <a:cubicBezTo>
                      <a:pt x="5" y="2"/>
                      <a:pt x="7" y="4"/>
                      <a:pt x="4" y="3"/>
                    </a:cubicBezTo>
                    <a:cubicBezTo>
                      <a:pt x="3" y="3"/>
                      <a:pt x="6" y="4"/>
                      <a:pt x="4"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28" name="Freeform 403">
                <a:extLst>
                  <a:ext uri="{FF2B5EF4-FFF2-40B4-BE49-F238E27FC236}">
                    <a16:creationId xmlns:a16="http://schemas.microsoft.com/office/drawing/2014/main" id="{6E7D15CA-4343-3642-B9BC-724FE18A0A79}"/>
                  </a:ext>
                </a:extLst>
              </p:cNvPr>
              <p:cNvSpPr>
                <a:spLocks/>
              </p:cNvSpPr>
              <p:nvPr/>
            </p:nvSpPr>
            <p:spPr bwMode="auto">
              <a:xfrm>
                <a:off x="16859435" y="9558687"/>
                <a:ext cx="1904460" cy="1423937"/>
              </a:xfrm>
              <a:custGeom>
                <a:avLst/>
                <a:gdLst>
                  <a:gd name="T0" fmla="*/ 96 w 204"/>
                  <a:gd name="T1" fmla="*/ 3 h 152"/>
                  <a:gd name="T2" fmla="*/ 97 w 204"/>
                  <a:gd name="T3" fmla="*/ 7 h 152"/>
                  <a:gd name="T4" fmla="*/ 86 w 204"/>
                  <a:gd name="T5" fmla="*/ 13 h 152"/>
                  <a:gd name="T6" fmla="*/ 76 w 204"/>
                  <a:gd name="T7" fmla="*/ 24 h 152"/>
                  <a:gd name="T8" fmla="*/ 71 w 204"/>
                  <a:gd name="T9" fmla="*/ 15 h 152"/>
                  <a:gd name="T10" fmla="*/ 65 w 204"/>
                  <a:gd name="T11" fmla="*/ 19 h 152"/>
                  <a:gd name="T12" fmla="*/ 62 w 204"/>
                  <a:gd name="T13" fmla="*/ 22 h 152"/>
                  <a:gd name="T14" fmla="*/ 59 w 204"/>
                  <a:gd name="T15" fmla="*/ 26 h 152"/>
                  <a:gd name="T16" fmla="*/ 55 w 204"/>
                  <a:gd name="T17" fmla="*/ 33 h 152"/>
                  <a:gd name="T18" fmla="*/ 51 w 204"/>
                  <a:gd name="T19" fmla="*/ 30 h 152"/>
                  <a:gd name="T20" fmla="*/ 47 w 204"/>
                  <a:gd name="T21" fmla="*/ 38 h 152"/>
                  <a:gd name="T22" fmla="*/ 24 w 204"/>
                  <a:gd name="T23" fmla="*/ 50 h 152"/>
                  <a:gd name="T24" fmla="*/ 7 w 204"/>
                  <a:gd name="T25" fmla="*/ 60 h 152"/>
                  <a:gd name="T26" fmla="*/ 3 w 204"/>
                  <a:gd name="T27" fmla="*/ 68 h 152"/>
                  <a:gd name="T28" fmla="*/ 4 w 204"/>
                  <a:gd name="T29" fmla="*/ 82 h 152"/>
                  <a:gd name="T30" fmla="*/ 7 w 204"/>
                  <a:gd name="T31" fmla="*/ 91 h 152"/>
                  <a:gd name="T32" fmla="*/ 13 w 204"/>
                  <a:gd name="T33" fmla="*/ 106 h 152"/>
                  <a:gd name="T34" fmla="*/ 11 w 204"/>
                  <a:gd name="T35" fmla="*/ 121 h 152"/>
                  <a:gd name="T36" fmla="*/ 30 w 204"/>
                  <a:gd name="T37" fmla="*/ 125 h 152"/>
                  <a:gd name="T38" fmla="*/ 54 w 204"/>
                  <a:gd name="T39" fmla="*/ 121 h 152"/>
                  <a:gd name="T40" fmla="*/ 73 w 204"/>
                  <a:gd name="T41" fmla="*/ 112 h 152"/>
                  <a:gd name="T42" fmla="*/ 96 w 204"/>
                  <a:gd name="T43" fmla="*/ 111 h 152"/>
                  <a:gd name="T44" fmla="*/ 111 w 204"/>
                  <a:gd name="T45" fmla="*/ 121 h 152"/>
                  <a:gd name="T46" fmla="*/ 116 w 204"/>
                  <a:gd name="T47" fmla="*/ 125 h 152"/>
                  <a:gd name="T48" fmla="*/ 125 w 204"/>
                  <a:gd name="T49" fmla="*/ 120 h 152"/>
                  <a:gd name="T50" fmla="*/ 122 w 204"/>
                  <a:gd name="T51" fmla="*/ 129 h 152"/>
                  <a:gd name="T52" fmla="*/ 131 w 204"/>
                  <a:gd name="T53" fmla="*/ 132 h 152"/>
                  <a:gd name="T54" fmla="*/ 145 w 204"/>
                  <a:gd name="T55" fmla="*/ 147 h 152"/>
                  <a:gd name="T56" fmla="*/ 161 w 204"/>
                  <a:gd name="T57" fmla="*/ 145 h 152"/>
                  <a:gd name="T58" fmla="*/ 165 w 204"/>
                  <a:gd name="T59" fmla="*/ 149 h 152"/>
                  <a:gd name="T60" fmla="*/ 174 w 204"/>
                  <a:gd name="T61" fmla="*/ 145 h 152"/>
                  <a:gd name="T62" fmla="*/ 194 w 204"/>
                  <a:gd name="T63" fmla="*/ 118 h 152"/>
                  <a:gd name="T64" fmla="*/ 200 w 204"/>
                  <a:gd name="T65" fmla="*/ 108 h 152"/>
                  <a:gd name="T66" fmla="*/ 202 w 204"/>
                  <a:gd name="T67" fmla="*/ 96 h 152"/>
                  <a:gd name="T68" fmla="*/ 201 w 204"/>
                  <a:gd name="T69" fmla="*/ 83 h 152"/>
                  <a:gd name="T70" fmla="*/ 196 w 204"/>
                  <a:gd name="T71" fmla="*/ 70 h 152"/>
                  <a:gd name="T72" fmla="*/ 184 w 204"/>
                  <a:gd name="T73" fmla="*/ 59 h 152"/>
                  <a:gd name="T74" fmla="*/ 180 w 204"/>
                  <a:gd name="T75" fmla="*/ 50 h 152"/>
                  <a:gd name="T76" fmla="*/ 166 w 204"/>
                  <a:gd name="T77" fmla="*/ 36 h 152"/>
                  <a:gd name="T78" fmla="*/ 161 w 204"/>
                  <a:gd name="T79" fmla="*/ 20 h 152"/>
                  <a:gd name="T80" fmla="*/ 152 w 204"/>
                  <a:gd name="T81" fmla="*/ 8 h 152"/>
                  <a:gd name="T82" fmla="*/ 145 w 204"/>
                  <a:gd name="T83" fmla="*/ 6 h 152"/>
                  <a:gd name="T84" fmla="*/ 143 w 204"/>
                  <a:gd name="T85" fmla="*/ 16 h 152"/>
                  <a:gd name="T86" fmla="*/ 130 w 204"/>
                  <a:gd name="T87" fmla="*/ 31 h 152"/>
                  <a:gd name="T88" fmla="*/ 115 w 204"/>
                  <a:gd name="T89" fmla="*/ 17 h 152"/>
                  <a:gd name="T90" fmla="*/ 118 w 204"/>
                  <a:gd name="T91" fmla="*/ 11 h 152"/>
                  <a:gd name="T92" fmla="*/ 117 w 204"/>
                  <a:gd name="T93" fmla="*/ 8 h 152"/>
                  <a:gd name="T94" fmla="*/ 109 w 204"/>
                  <a:gd name="T95" fmla="*/ 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52">
                    <a:moveTo>
                      <a:pt x="101" y="4"/>
                    </a:moveTo>
                    <a:cubicBezTo>
                      <a:pt x="99" y="4"/>
                      <a:pt x="98" y="2"/>
                      <a:pt x="96" y="2"/>
                    </a:cubicBezTo>
                    <a:cubicBezTo>
                      <a:pt x="95" y="1"/>
                      <a:pt x="95" y="2"/>
                      <a:pt x="96" y="3"/>
                    </a:cubicBezTo>
                    <a:cubicBezTo>
                      <a:pt x="96" y="4"/>
                      <a:pt x="98" y="3"/>
                      <a:pt x="98" y="3"/>
                    </a:cubicBezTo>
                    <a:cubicBezTo>
                      <a:pt x="99" y="4"/>
                      <a:pt x="98" y="6"/>
                      <a:pt x="99" y="6"/>
                    </a:cubicBezTo>
                    <a:cubicBezTo>
                      <a:pt x="99" y="7"/>
                      <a:pt x="98" y="7"/>
                      <a:pt x="97" y="7"/>
                    </a:cubicBezTo>
                    <a:cubicBezTo>
                      <a:pt x="96" y="8"/>
                      <a:pt x="95" y="8"/>
                      <a:pt x="94" y="8"/>
                    </a:cubicBezTo>
                    <a:cubicBezTo>
                      <a:pt x="92" y="7"/>
                      <a:pt x="92" y="8"/>
                      <a:pt x="90" y="8"/>
                    </a:cubicBezTo>
                    <a:cubicBezTo>
                      <a:pt x="87" y="9"/>
                      <a:pt x="88" y="12"/>
                      <a:pt x="86" y="13"/>
                    </a:cubicBezTo>
                    <a:cubicBezTo>
                      <a:pt x="84" y="15"/>
                      <a:pt x="83" y="18"/>
                      <a:pt x="84" y="20"/>
                    </a:cubicBezTo>
                    <a:cubicBezTo>
                      <a:pt x="86" y="23"/>
                      <a:pt x="81" y="21"/>
                      <a:pt x="80" y="21"/>
                    </a:cubicBezTo>
                    <a:cubicBezTo>
                      <a:pt x="79" y="21"/>
                      <a:pt x="76" y="24"/>
                      <a:pt x="76" y="24"/>
                    </a:cubicBezTo>
                    <a:cubicBezTo>
                      <a:pt x="76" y="24"/>
                      <a:pt x="75" y="19"/>
                      <a:pt x="74" y="18"/>
                    </a:cubicBezTo>
                    <a:cubicBezTo>
                      <a:pt x="74" y="17"/>
                      <a:pt x="73" y="17"/>
                      <a:pt x="72" y="17"/>
                    </a:cubicBezTo>
                    <a:cubicBezTo>
                      <a:pt x="71" y="16"/>
                      <a:pt x="71" y="16"/>
                      <a:pt x="71" y="15"/>
                    </a:cubicBezTo>
                    <a:cubicBezTo>
                      <a:pt x="70" y="14"/>
                      <a:pt x="70" y="16"/>
                      <a:pt x="70" y="17"/>
                    </a:cubicBezTo>
                    <a:cubicBezTo>
                      <a:pt x="69" y="17"/>
                      <a:pt x="68" y="17"/>
                      <a:pt x="68" y="16"/>
                    </a:cubicBezTo>
                    <a:cubicBezTo>
                      <a:pt x="66" y="16"/>
                      <a:pt x="67" y="20"/>
                      <a:pt x="65" y="19"/>
                    </a:cubicBezTo>
                    <a:cubicBezTo>
                      <a:pt x="65" y="19"/>
                      <a:pt x="64" y="18"/>
                      <a:pt x="64" y="18"/>
                    </a:cubicBezTo>
                    <a:cubicBezTo>
                      <a:pt x="63" y="19"/>
                      <a:pt x="63" y="19"/>
                      <a:pt x="63" y="19"/>
                    </a:cubicBezTo>
                    <a:cubicBezTo>
                      <a:pt x="60" y="18"/>
                      <a:pt x="62" y="22"/>
                      <a:pt x="62" y="22"/>
                    </a:cubicBezTo>
                    <a:cubicBezTo>
                      <a:pt x="62" y="22"/>
                      <a:pt x="60" y="22"/>
                      <a:pt x="60" y="22"/>
                    </a:cubicBezTo>
                    <a:cubicBezTo>
                      <a:pt x="60" y="23"/>
                      <a:pt x="61" y="23"/>
                      <a:pt x="61" y="23"/>
                    </a:cubicBezTo>
                    <a:cubicBezTo>
                      <a:pt x="60" y="25"/>
                      <a:pt x="59" y="23"/>
                      <a:pt x="59" y="26"/>
                    </a:cubicBezTo>
                    <a:cubicBezTo>
                      <a:pt x="59" y="27"/>
                      <a:pt x="60" y="27"/>
                      <a:pt x="60" y="28"/>
                    </a:cubicBezTo>
                    <a:cubicBezTo>
                      <a:pt x="60" y="30"/>
                      <a:pt x="53" y="26"/>
                      <a:pt x="53" y="29"/>
                    </a:cubicBezTo>
                    <a:cubicBezTo>
                      <a:pt x="53" y="30"/>
                      <a:pt x="57" y="32"/>
                      <a:pt x="55" y="33"/>
                    </a:cubicBezTo>
                    <a:cubicBezTo>
                      <a:pt x="54" y="33"/>
                      <a:pt x="54" y="32"/>
                      <a:pt x="54" y="33"/>
                    </a:cubicBezTo>
                    <a:cubicBezTo>
                      <a:pt x="53" y="34"/>
                      <a:pt x="53" y="34"/>
                      <a:pt x="52" y="33"/>
                    </a:cubicBezTo>
                    <a:cubicBezTo>
                      <a:pt x="51" y="33"/>
                      <a:pt x="52" y="31"/>
                      <a:pt x="51" y="30"/>
                    </a:cubicBezTo>
                    <a:cubicBezTo>
                      <a:pt x="50" y="28"/>
                      <a:pt x="48" y="32"/>
                      <a:pt x="47" y="33"/>
                    </a:cubicBezTo>
                    <a:cubicBezTo>
                      <a:pt x="47" y="34"/>
                      <a:pt x="46" y="35"/>
                      <a:pt x="46" y="36"/>
                    </a:cubicBezTo>
                    <a:cubicBezTo>
                      <a:pt x="46" y="36"/>
                      <a:pt x="47" y="37"/>
                      <a:pt x="47" y="38"/>
                    </a:cubicBezTo>
                    <a:cubicBezTo>
                      <a:pt x="47" y="38"/>
                      <a:pt x="45" y="40"/>
                      <a:pt x="44" y="41"/>
                    </a:cubicBezTo>
                    <a:cubicBezTo>
                      <a:pt x="41" y="44"/>
                      <a:pt x="38" y="46"/>
                      <a:pt x="34" y="47"/>
                    </a:cubicBezTo>
                    <a:cubicBezTo>
                      <a:pt x="31" y="47"/>
                      <a:pt x="28" y="49"/>
                      <a:pt x="24" y="50"/>
                    </a:cubicBezTo>
                    <a:cubicBezTo>
                      <a:pt x="21" y="51"/>
                      <a:pt x="18" y="51"/>
                      <a:pt x="15" y="53"/>
                    </a:cubicBezTo>
                    <a:cubicBezTo>
                      <a:pt x="13" y="55"/>
                      <a:pt x="12" y="55"/>
                      <a:pt x="10" y="56"/>
                    </a:cubicBezTo>
                    <a:cubicBezTo>
                      <a:pt x="9" y="57"/>
                      <a:pt x="7" y="60"/>
                      <a:pt x="7" y="60"/>
                    </a:cubicBezTo>
                    <a:cubicBezTo>
                      <a:pt x="6" y="60"/>
                      <a:pt x="7" y="57"/>
                      <a:pt x="7" y="56"/>
                    </a:cubicBezTo>
                    <a:cubicBezTo>
                      <a:pt x="5" y="56"/>
                      <a:pt x="4" y="61"/>
                      <a:pt x="4" y="61"/>
                    </a:cubicBezTo>
                    <a:cubicBezTo>
                      <a:pt x="5" y="64"/>
                      <a:pt x="3" y="65"/>
                      <a:pt x="3" y="68"/>
                    </a:cubicBezTo>
                    <a:cubicBezTo>
                      <a:pt x="3" y="69"/>
                      <a:pt x="8" y="80"/>
                      <a:pt x="6" y="81"/>
                    </a:cubicBezTo>
                    <a:cubicBezTo>
                      <a:pt x="6" y="81"/>
                      <a:pt x="3" y="77"/>
                      <a:pt x="3" y="77"/>
                    </a:cubicBezTo>
                    <a:cubicBezTo>
                      <a:pt x="3" y="78"/>
                      <a:pt x="6" y="81"/>
                      <a:pt x="4" y="82"/>
                    </a:cubicBezTo>
                    <a:cubicBezTo>
                      <a:pt x="2" y="82"/>
                      <a:pt x="2" y="77"/>
                      <a:pt x="0" y="77"/>
                    </a:cubicBezTo>
                    <a:cubicBezTo>
                      <a:pt x="0" y="77"/>
                      <a:pt x="6" y="85"/>
                      <a:pt x="6" y="86"/>
                    </a:cubicBezTo>
                    <a:cubicBezTo>
                      <a:pt x="7" y="87"/>
                      <a:pt x="6" y="89"/>
                      <a:pt x="7" y="91"/>
                    </a:cubicBezTo>
                    <a:cubicBezTo>
                      <a:pt x="8" y="93"/>
                      <a:pt x="9" y="94"/>
                      <a:pt x="10" y="96"/>
                    </a:cubicBezTo>
                    <a:cubicBezTo>
                      <a:pt x="11" y="97"/>
                      <a:pt x="11" y="100"/>
                      <a:pt x="11" y="101"/>
                    </a:cubicBezTo>
                    <a:cubicBezTo>
                      <a:pt x="11" y="103"/>
                      <a:pt x="12" y="105"/>
                      <a:pt x="13" y="106"/>
                    </a:cubicBezTo>
                    <a:cubicBezTo>
                      <a:pt x="14" y="109"/>
                      <a:pt x="14" y="110"/>
                      <a:pt x="14" y="113"/>
                    </a:cubicBezTo>
                    <a:cubicBezTo>
                      <a:pt x="14" y="114"/>
                      <a:pt x="14" y="119"/>
                      <a:pt x="14" y="119"/>
                    </a:cubicBezTo>
                    <a:cubicBezTo>
                      <a:pt x="13" y="120"/>
                      <a:pt x="12" y="120"/>
                      <a:pt x="11" y="121"/>
                    </a:cubicBezTo>
                    <a:cubicBezTo>
                      <a:pt x="10" y="124"/>
                      <a:pt x="12" y="124"/>
                      <a:pt x="13" y="125"/>
                    </a:cubicBezTo>
                    <a:cubicBezTo>
                      <a:pt x="17" y="127"/>
                      <a:pt x="20" y="129"/>
                      <a:pt x="25" y="128"/>
                    </a:cubicBezTo>
                    <a:cubicBezTo>
                      <a:pt x="27" y="127"/>
                      <a:pt x="29" y="126"/>
                      <a:pt x="30" y="125"/>
                    </a:cubicBezTo>
                    <a:cubicBezTo>
                      <a:pt x="33" y="124"/>
                      <a:pt x="32" y="125"/>
                      <a:pt x="33" y="123"/>
                    </a:cubicBezTo>
                    <a:cubicBezTo>
                      <a:pt x="35" y="121"/>
                      <a:pt x="42" y="121"/>
                      <a:pt x="44" y="122"/>
                    </a:cubicBezTo>
                    <a:cubicBezTo>
                      <a:pt x="47" y="122"/>
                      <a:pt x="52" y="124"/>
                      <a:pt x="54" y="121"/>
                    </a:cubicBezTo>
                    <a:cubicBezTo>
                      <a:pt x="55" y="120"/>
                      <a:pt x="55" y="118"/>
                      <a:pt x="57" y="117"/>
                    </a:cubicBezTo>
                    <a:cubicBezTo>
                      <a:pt x="59" y="116"/>
                      <a:pt x="61" y="115"/>
                      <a:pt x="63" y="114"/>
                    </a:cubicBezTo>
                    <a:cubicBezTo>
                      <a:pt x="66" y="112"/>
                      <a:pt x="70" y="114"/>
                      <a:pt x="73" y="112"/>
                    </a:cubicBezTo>
                    <a:cubicBezTo>
                      <a:pt x="78" y="110"/>
                      <a:pt x="82" y="110"/>
                      <a:pt x="88" y="109"/>
                    </a:cubicBezTo>
                    <a:cubicBezTo>
                      <a:pt x="89" y="109"/>
                      <a:pt x="90" y="108"/>
                      <a:pt x="92" y="108"/>
                    </a:cubicBezTo>
                    <a:cubicBezTo>
                      <a:pt x="93" y="109"/>
                      <a:pt x="95" y="110"/>
                      <a:pt x="96" y="111"/>
                    </a:cubicBezTo>
                    <a:cubicBezTo>
                      <a:pt x="97" y="111"/>
                      <a:pt x="107" y="113"/>
                      <a:pt x="107" y="114"/>
                    </a:cubicBezTo>
                    <a:cubicBezTo>
                      <a:pt x="106" y="115"/>
                      <a:pt x="105" y="118"/>
                      <a:pt x="107" y="117"/>
                    </a:cubicBezTo>
                    <a:cubicBezTo>
                      <a:pt x="108" y="117"/>
                      <a:pt x="110" y="120"/>
                      <a:pt x="111" y="121"/>
                    </a:cubicBezTo>
                    <a:cubicBezTo>
                      <a:pt x="112" y="122"/>
                      <a:pt x="112" y="123"/>
                      <a:pt x="112" y="125"/>
                    </a:cubicBezTo>
                    <a:cubicBezTo>
                      <a:pt x="113" y="126"/>
                      <a:pt x="115" y="128"/>
                      <a:pt x="115" y="128"/>
                    </a:cubicBezTo>
                    <a:cubicBezTo>
                      <a:pt x="115" y="127"/>
                      <a:pt x="114" y="126"/>
                      <a:pt x="116" y="125"/>
                    </a:cubicBezTo>
                    <a:cubicBezTo>
                      <a:pt x="117" y="124"/>
                      <a:pt x="118" y="123"/>
                      <a:pt x="120" y="122"/>
                    </a:cubicBezTo>
                    <a:cubicBezTo>
                      <a:pt x="121" y="121"/>
                      <a:pt x="126" y="116"/>
                      <a:pt x="125" y="115"/>
                    </a:cubicBezTo>
                    <a:cubicBezTo>
                      <a:pt x="126" y="117"/>
                      <a:pt x="125" y="118"/>
                      <a:pt x="125" y="120"/>
                    </a:cubicBezTo>
                    <a:cubicBezTo>
                      <a:pt x="126" y="121"/>
                      <a:pt x="124" y="122"/>
                      <a:pt x="124" y="122"/>
                    </a:cubicBezTo>
                    <a:cubicBezTo>
                      <a:pt x="123" y="124"/>
                      <a:pt x="123" y="125"/>
                      <a:pt x="123" y="126"/>
                    </a:cubicBezTo>
                    <a:cubicBezTo>
                      <a:pt x="123" y="128"/>
                      <a:pt x="119" y="129"/>
                      <a:pt x="122" y="129"/>
                    </a:cubicBezTo>
                    <a:cubicBezTo>
                      <a:pt x="126" y="129"/>
                      <a:pt x="124" y="125"/>
                      <a:pt x="125" y="123"/>
                    </a:cubicBezTo>
                    <a:cubicBezTo>
                      <a:pt x="125" y="123"/>
                      <a:pt x="129" y="127"/>
                      <a:pt x="128" y="129"/>
                    </a:cubicBezTo>
                    <a:cubicBezTo>
                      <a:pt x="125" y="133"/>
                      <a:pt x="129" y="130"/>
                      <a:pt x="131" y="132"/>
                    </a:cubicBezTo>
                    <a:cubicBezTo>
                      <a:pt x="134" y="135"/>
                      <a:pt x="134" y="136"/>
                      <a:pt x="134" y="139"/>
                    </a:cubicBezTo>
                    <a:cubicBezTo>
                      <a:pt x="133" y="142"/>
                      <a:pt x="137" y="145"/>
                      <a:pt x="139" y="145"/>
                    </a:cubicBezTo>
                    <a:cubicBezTo>
                      <a:pt x="141" y="146"/>
                      <a:pt x="143" y="147"/>
                      <a:pt x="145" y="147"/>
                    </a:cubicBezTo>
                    <a:cubicBezTo>
                      <a:pt x="147" y="147"/>
                      <a:pt x="151" y="152"/>
                      <a:pt x="153" y="151"/>
                    </a:cubicBezTo>
                    <a:cubicBezTo>
                      <a:pt x="155" y="150"/>
                      <a:pt x="157" y="149"/>
                      <a:pt x="158" y="147"/>
                    </a:cubicBezTo>
                    <a:cubicBezTo>
                      <a:pt x="158" y="147"/>
                      <a:pt x="160" y="144"/>
                      <a:pt x="161" y="145"/>
                    </a:cubicBezTo>
                    <a:cubicBezTo>
                      <a:pt x="161" y="146"/>
                      <a:pt x="159" y="147"/>
                      <a:pt x="160" y="148"/>
                    </a:cubicBezTo>
                    <a:cubicBezTo>
                      <a:pt x="161" y="149"/>
                      <a:pt x="161" y="146"/>
                      <a:pt x="162" y="146"/>
                    </a:cubicBezTo>
                    <a:cubicBezTo>
                      <a:pt x="162" y="146"/>
                      <a:pt x="164" y="149"/>
                      <a:pt x="165" y="149"/>
                    </a:cubicBezTo>
                    <a:cubicBezTo>
                      <a:pt x="165" y="150"/>
                      <a:pt x="167" y="152"/>
                      <a:pt x="168" y="152"/>
                    </a:cubicBezTo>
                    <a:cubicBezTo>
                      <a:pt x="167" y="152"/>
                      <a:pt x="170" y="149"/>
                      <a:pt x="170" y="149"/>
                    </a:cubicBezTo>
                    <a:cubicBezTo>
                      <a:pt x="172" y="148"/>
                      <a:pt x="173" y="146"/>
                      <a:pt x="174" y="145"/>
                    </a:cubicBezTo>
                    <a:cubicBezTo>
                      <a:pt x="177" y="144"/>
                      <a:pt x="185" y="146"/>
                      <a:pt x="185" y="142"/>
                    </a:cubicBezTo>
                    <a:cubicBezTo>
                      <a:pt x="186" y="137"/>
                      <a:pt x="187" y="134"/>
                      <a:pt x="188" y="130"/>
                    </a:cubicBezTo>
                    <a:cubicBezTo>
                      <a:pt x="190" y="126"/>
                      <a:pt x="191" y="122"/>
                      <a:pt x="194" y="118"/>
                    </a:cubicBezTo>
                    <a:cubicBezTo>
                      <a:pt x="195" y="117"/>
                      <a:pt x="197" y="116"/>
                      <a:pt x="198" y="114"/>
                    </a:cubicBezTo>
                    <a:cubicBezTo>
                      <a:pt x="198" y="113"/>
                      <a:pt x="198" y="113"/>
                      <a:pt x="198" y="112"/>
                    </a:cubicBezTo>
                    <a:cubicBezTo>
                      <a:pt x="199" y="111"/>
                      <a:pt x="200" y="110"/>
                      <a:pt x="200" y="108"/>
                    </a:cubicBezTo>
                    <a:cubicBezTo>
                      <a:pt x="201" y="106"/>
                      <a:pt x="200" y="104"/>
                      <a:pt x="201" y="102"/>
                    </a:cubicBezTo>
                    <a:cubicBezTo>
                      <a:pt x="201" y="101"/>
                      <a:pt x="202" y="100"/>
                      <a:pt x="202" y="99"/>
                    </a:cubicBezTo>
                    <a:cubicBezTo>
                      <a:pt x="203" y="98"/>
                      <a:pt x="201" y="97"/>
                      <a:pt x="202" y="96"/>
                    </a:cubicBezTo>
                    <a:cubicBezTo>
                      <a:pt x="203" y="95"/>
                      <a:pt x="204" y="92"/>
                      <a:pt x="203" y="91"/>
                    </a:cubicBezTo>
                    <a:cubicBezTo>
                      <a:pt x="203" y="89"/>
                      <a:pt x="202" y="88"/>
                      <a:pt x="202" y="87"/>
                    </a:cubicBezTo>
                    <a:cubicBezTo>
                      <a:pt x="201" y="86"/>
                      <a:pt x="201" y="84"/>
                      <a:pt x="201" y="83"/>
                    </a:cubicBezTo>
                    <a:cubicBezTo>
                      <a:pt x="200" y="79"/>
                      <a:pt x="203" y="77"/>
                      <a:pt x="202" y="73"/>
                    </a:cubicBezTo>
                    <a:cubicBezTo>
                      <a:pt x="202" y="74"/>
                      <a:pt x="201" y="76"/>
                      <a:pt x="200" y="76"/>
                    </a:cubicBezTo>
                    <a:cubicBezTo>
                      <a:pt x="198" y="76"/>
                      <a:pt x="197" y="72"/>
                      <a:pt x="196" y="70"/>
                    </a:cubicBezTo>
                    <a:cubicBezTo>
                      <a:pt x="194" y="67"/>
                      <a:pt x="190" y="67"/>
                      <a:pt x="190" y="62"/>
                    </a:cubicBezTo>
                    <a:cubicBezTo>
                      <a:pt x="189" y="60"/>
                      <a:pt x="188" y="60"/>
                      <a:pt x="187" y="59"/>
                    </a:cubicBezTo>
                    <a:cubicBezTo>
                      <a:pt x="185" y="58"/>
                      <a:pt x="185" y="61"/>
                      <a:pt x="184" y="59"/>
                    </a:cubicBezTo>
                    <a:cubicBezTo>
                      <a:pt x="184" y="56"/>
                      <a:pt x="183" y="55"/>
                      <a:pt x="181" y="53"/>
                    </a:cubicBezTo>
                    <a:cubicBezTo>
                      <a:pt x="181" y="53"/>
                      <a:pt x="180" y="52"/>
                      <a:pt x="180" y="51"/>
                    </a:cubicBezTo>
                    <a:cubicBezTo>
                      <a:pt x="179" y="51"/>
                      <a:pt x="180" y="49"/>
                      <a:pt x="180" y="50"/>
                    </a:cubicBezTo>
                    <a:cubicBezTo>
                      <a:pt x="178" y="48"/>
                      <a:pt x="176" y="47"/>
                      <a:pt x="174" y="46"/>
                    </a:cubicBezTo>
                    <a:cubicBezTo>
                      <a:pt x="172" y="44"/>
                      <a:pt x="169" y="45"/>
                      <a:pt x="168" y="43"/>
                    </a:cubicBezTo>
                    <a:cubicBezTo>
                      <a:pt x="166" y="41"/>
                      <a:pt x="167" y="37"/>
                      <a:pt x="166" y="36"/>
                    </a:cubicBezTo>
                    <a:cubicBezTo>
                      <a:pt x="166" y="34"/>
                      <a:pt x="166" y="32"/>
                      <a:pt x="165" y="31"/>
                    </a:cubicBezTo>
                    <a:cubicBezTo>
                      <a:pt x="164" y="30"/>
                      <a:pt x="163" y="30"/>
                      <a:pt x="163" y="28"/>
                    </a:cubicBezTo>
                    <a:cubicBezTo>
                      <a:pt x="163" y="26"/>
                      <a:pt x="163" y="23"/>
                      <a:pt x="161" y="20"/>
                    </a:cubicBezTo>
                    <a:cubicBezTo>
                      <a:pt x="160" y="20"/>
                      <a:pt x="158" y="17"/>
                      <a:pt x="158" y="18"/>
                    </a:cubicBezTo>
                    <a:cubicBezTo>
                      <a:pt x="156" y="18"/>
                      <a:pt x="156" y="19"/>
                      <a:pt x="155" y="17"/>
                    </a:cubicBezTo>
                    <a:cubicBezTo>
                      <a:pt x="153" y="15"/>
                      <a:pt x="154" y="11"/>
                      <a:pt x="152" y="8"/>
                    </a:cubicBezTo>
                    <a:cubicBezTo>
                      <a:pt x="152" y="7"/>
                      <a:pt x="148" y="0"/>
                      <a:pt x="148" y="0"/>
                    </a:cubicBezTo>
                    <a:cubicBezTo>
                      <a:pt x="147" y="0"/>
                      <a:pt x="147" y="2"/>
                      <a:pt x="147" y="3"/>
                    </a:cubicBezTo>
                    <a:cubicBezTo>
                      <a:pt x="147" y="4"/>
                      <a:pt x="146" y="5"/>
                      <a:pt x="145" y="6"/>
                    </a:cubicBezTo>
                    <a:cubicBezTo>
                      <a:pt x="145" y="6"/>
                      <a:pt x="143" y="8"/>
                      <a:pt x="144" y="9"/>
                    </a:cubicBezTo>
                    <a:cubicBezTo>
                      <a:pt x="144" y="9"/>
                      <a:pt x="146" y="9"/>
                      <a:pt x="145" y="10"/>
                    </a:cubicBezTo>
                    <a:cubicBezTo>
                      <a:pt x="144" y="10"/>
                      <a:pt x="143" y="15"/>
                      <a:pt x="143" y="16"/>
                    </a:cubicBezTo>
                    <a:cubicBezTo>
                      <a:pt x="144" y="18"/>
                      <a:pt x="144" y="20"/>
                      <a:pt x="144" y="22"/>
                    </a:cubicBezTo>
                    <a:cubicBezTo>
                      <a:pt x="143" y="26"/>
                      <a:pt x="143" y="36"/>
                      <a:pt x="137" y="36"/>
                    </a:cubicBezTo>
                    <a:cubicBezTo>
                      <a:pt x="133" y="36"/>
                      <a:pt x="133" y="32"/>
                      <a:pt x="130" y="31"/>
                    </a:cubicBezTo>
                    <a:cubicBezTo>
                      <a:pt x="128" y="30"/>
                      <a:pt x="126" y="30"/>
                      <a:pt x="124" y="28"/>
                    </a:cubicBezTo>
                    <a:cubicBezTo>
                      <a:pt x="123" y="27"/>
                      <a:pt x="112" y="21"/>
                      <a:pt x="113" y="20"/>
                    </a:cubicBezTo>
                    <a:cubicBezTo>
                      <a:pt x="113" y="19"/>
                      <a:pt x="114" y="18"/>
                      <a:pt x="115" y="17"/>
                    </a:cubicBezTo>
                    <a:cubicBezTo>
                      <a:pt x="115" y="16"/>
                      <a:pt x="117" y="16"/>
                      <a:pt x="117" y="15"/>
                    </a:cubicBezTo>
                    <a:cubicBezTo>
                      <a:pt x="117" y="15"/>
                      <a:pt x="116" y="14"/>
                      <a:pt x="116" y="13"/>
                    </a:cubicBezTo>
                    <a:cubicBezTo>
                      <a:pt x="117" y="12"/>
                      <a:pt x="117" y="12"/>
                      <a:pt x="118" y="11"/>
                    </a:cubicBezTo>
                    <a:cubicBezTo>
                      <a:pt x="118" y="10"/>
                      <a:pt x="120" y="9"/>
                      <a:pt x="121" y="8"/>
                    </a:cubicBezTo>
                    <a:cubicBezTo>
                      <a:pt x="121" y="7"/>
                      <a:pt x="119" y="5"/>
                      <a:pt x="118" y="6"/>
                    </a:cubicBezTo>
                    <a:cubicBezTo>
                      <a:pt x="118" y="6"/>
                      <a:pt x="117" y="8"/>
                      <a:pt x="117" y="8"/>
                    </a:cubicBezTo>
                    <a:cubicBezTo>
                      <a:pt x="116" y="7"/>
                      <a:pt x="116" y="7"/>
                      <a:pt x="115" y="6"/>
                    </a:cubicBezTo>
                    <a:cubicBezTo>
                      <a:pt x="115" y="5"/>
                      <a:pt x="113" y="7"/>
                      <a:pt x="112" y="7"/>
                    </a:cubicBezTo>
                    <a:cubicBezTo>
                      <a:pt x="111" y="8"/>
                      <a:pt x="110" y="7"/>
                      <a:pt x="109" y="7"/>
                    </a:cubicBezTo>
                    <a:cubicBezTo>
                      <a:pt x="107" y="6"/>
                      <a:pt x="104" y="5"/>
                      <a:pt x="101" y="4"/>
                    </a:cubicBezTo>
                    <a:cubicBezTo>
                      <a:pt x="99" y="4"/>
                      <a:pt x="103" y="5"/>
                      <a:pt x="10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29" name="Freeform 404">
                <a:extLst>
                  <a:ext uri="{FF2B5EF4-FFF2-40B4-BE49-F238E27FC236}">
                    <a16:creationId xmlns:a16="http://schemas.microsoft.com/office/drawing/2014/main" id="{B39C3362-D10E-A449-8EBA-5A903C80F399}"/>
                  </a:ext>
                </a:extLst>
              </p:cNvPr>
              <p:cNvSpPr>
                <a:spLocks/>
              </p:cNvSpPr>
              <p:nvPr/>
            </p:nvSpPr>
            <p:spPr bwMode="auto">
              <a:xfrm>
                <a:off x="11416754" y="5927165"/>
                <a:ext cx="372610" cy="563840"/>
              </a:xfrm>
              <a:custGeom>
                <a:avLst/>
                <a:gdLst>
                  <a:gd name="T0" fmla="*/ 7 w 40"/>
                  <a:gd name="T1" fmla="*/ 0 h 60"/>
                  <a:gd name="T2" fmla="*/ 4 w 40"/>
                  <a:gd name="T3" fmla="*/ 3 h 60"/>
                  <a:gd name="T4" fmla="*/ 2 w 40"/>
                  <a:gd name="T5" fmla="*/ 8 h 60"/>
                  <a:gd name="T6" fmla="*/ 5 w 40"/>
                  <a:gd name="T7" fmla="*/ 14 h 60"/>
                  <a:gd name="T8" fmla="*/ 3 w 40"/>
                  <a:gd name="T9" fmla="*/ 18 h 60"/>
                  <a:gd name="T10" fmla="*/ 3 w 40"/>
                  <a:gd name="T11" fmla="*/ 19 h 60"/>
                  <a:gd name="T12" fmla="*/ 2 w 40"/>
                  <a:gd name="T13" fmla="*/ 23 h 60"/>
                  <a:gd name="T14" fmla="*/ 5 w 40"/>
                  <a:gd name="T15" fmla="*/ 23 h 60"/>
                  <a:gd name="T16" fmla="*/ 7 w 40"/>
                  <a:gd name="T17" fmla="*/ 19 h 60"/>
                  <a:gd name="T18" fmla="*/ 7 w 40"/>
                  <a:gd name="T19" fmla="*/ 23 h 60"/>
                  <a:gd name="T20" fmla="*/ 11 w 40"/>
                  <a:gd name="T21" fmla="*/ 27 h 60"/>
                  <a:gd name="T22" fmla="*/ 14 w 40"/>
                  <a:gd name="T23" fmla="*/ 30 h 60"/>
                  <a:gd name="T24" fmla="*/ 16 w 40"/>
                  <a:gd name="T25" fmla="*/ 36 h 60"/>
                  <a:gd name="T26" fmla="*/ 8 w 40"/>
                  <a:gd name="T27" fmla="*/ 39 h 60"/>
                  <a:gd name="T28" fmla="*/ 9 w 40"/>
                  <a:gd name="T29" fmla="*/ 42 h 60"/>
                  <a:gd name="T30" fmla="*/ 5 w 40"/>
                  <a:gd name="T31" fmla="*/ 47 h 60"/>
                  <a:gd name="T32" fmla="*/ 9 w 40"/>
                  <a:gd name="T33" fmla="*/ 48 h 60"/>
                  <a:gd name="T34" fmla="*/ 18 w 40"/>
                  <a:gd name="T35" fmla="*/ 48 h 60"/>
                  <a:gd name="T36" fmla="*/ 10 w 40"/>
                  <a:gd name="T37" fmla="*/ 52 h 60"/>
                  <a:gd name="T38" fmla="*/ 7 w 40"/>
                  <a:gd name="T39" fmla="*/ 55 h 60"/>
                  <a:gd name="T40" fmla="*/ 3 w 40"/>
                  <a:gd name="T41" fmla="*/ 59 h 60"/>
                  <a:gd name="T42" fmla="*/ 5 w 40"/>
                  <a:gd name="T43" fmla="*/ 60 h 60"/>
                  <a:gd name="T44" fmla="*/ 12 w 40"/>
                  <a:gd name="T45" fmla="*/ 57 h 60"/>
                  <a:gd name="T46" fmla="*/ 19 w 40"/>
                  <a:gd name="T47" fmla="*/ 55 h 60"/>
                  <a:gd name="T48" fmla="*/ 27 w 40"/>
                  <a:gd name="T49" fmla="*/ 54 h 60"/>
                  <a:gd name="T50" fmla="*/ 38 w 40"/>
                  <a:gd name="T51" fmla="*/ 51 h 60"/>
                  <a:gd name="T52" fmla="*/ 38 w 40"/>
                  <a:gd name="T53" fmla="*/ 46 h 60"/>
                  <a:gd name="T54" fmla="*/ 32 w 40"/>
                  <a:gd name="T55" fmla="*/ 41 h 60"/>
                  <a:gd name="T56" fmla="*/ 31 w 40"/>
                  <a:gd name="T57" fmla="*/ 36 h 60"/>
                  <a:gd name="T58" fmla="*/ 30 w 40"/>
                  <a:gd name="T59" fmla="*/ 34 h 60"/>
                  <a:gd name="T60" fmla="*/ 23 w 40"/>
                  <a:gd name="T61" fmla="*/ 25 h 60"/>
                  <a:gd name="T62" fmla="*/ 12 w 40"/>
                  <a:gd name="T63" fmla="*/ 18 h 60"/>
                  <a:gd name="T64" fmla="*/ 14 w 40"/>
                  <a:gd name="T65" fmla="*/ 16 h 60"/>
                  <a:gd name="T66" fmla="*/ 21 w 40"/>
                  <a:gd name="T67" fmla="*/ 8 h 60"/>
                  <a:gd name="T68" fmla="*/ 9 w 40"/>
                  <a:gd name="T69" fmla="*/ 7 h 60"/>
                  <a:gd name="T70" fmla="*/ 9 w 40"/>
                  <a:gd name="T71" fmla="*/ 6 h 60"/>
                  <a:gd name="T72" fmla="*/ 15 w 40"/>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60">
                    <a:moveTo>
                      <a:pt x="15" y="0"/>
                    </a:moveTo>
                    <a:cubicBezTo>
                      <a:pt x="12" y="0"/>
                      <a:pt x="10" y="1"/>
                      <a:pt x="7" y="0"/>
                    </a:cubicBezTo>
                    <a:cubicBezTo>
                      <a:pt x="6" y="0"/>
                      <a:pt x="5" y="0"/>
                      <a:pt x="5" y="1"/>
                    </a:cubicBezTo>
                    <a:cubicBezTo>
                      <a:pt x="6" y="3"/>
                      <a:pt x="5" y="2"/>
                      <a:pt x="4" y="3"/>
                    </a:cubicBezTo>
                    <a:cubicBezTo>
                      <a:pt x="5" y="2"/>
                      <a:pt x="5" y="4"/>
                      <a:pt x="5" y="4"/>
                    </a:cubicBezTo>
                    <a:cubicBezTo>
                      <a:pt x="4" y="6"/>
                      <a:pt x="1" y="5"/>
                      <a:pt x="2" y="8"/>
                    </a:cubicBezTo>
                    <a:cubicBezTo>
                      <a:pt x="4" y="10"/>
                      <a:pt x="3" y="11"/>
                      <a:pt x="2" y="13"/>
                    </a:cubicBezTo>
                    <a:cubicBezTo>
                      <a:pt x="2" y="15"/>
                      <a:pt x="4" y="15"/>
                      <a:pt x="5" y="14"/>
                    </a:cubicBezTo>
                    <a:cubicBezTo>
                      <a:pt x="4" y="15"/>
                      <a:pt x="5" y="15"/>
                      <a:pt x="5" y="16"/>
                    </a:cubicBezTo>
                    <a:cubicBezTo>
                      <a:pt x="5" y="15"/>
                      <a:pt x="3" y="18"/>
                      <a:pt x="3" y="18"/>
                    </a:cubicBezTo>
                    <a:cubicBezTo>
                      <a:pt x="2" y="18"/>
                      <a:pt x="0" y="18"/>
                      <a:pt x="0" y="20"/>
                    </a:cubicBezTo>
                    <a:cubicBezTo>
                      <a:pt x="1" y="20"/>
                      <a:pt x="2" y="18"/>
                      <a:pt x="3" y="19"/>
                    </a:cubicBezTo>
                    <a:cubicBezTo>
                      <a:pt x="3" y="20"/>
                      <a:pt x="3" y="21"/>
                      <a:pt x="3" y="21"/>
                    </a:cubicBezTo>
                    <a:cubicBezTo>
                      <a:pt x="2" y="22"/>
                      <a:pt x="2" y="23"/>
                      <a:pt x="2" y="23"/>
                    </a:cubicBezTo>
                    <a:cubicBezTo>
                      <a:pt x="2" y="24"/>
                      <a:pt x="3" y="22"/>
                      <a:pt x="4" y="22"/>
                    </a:cubicBezTo>
                    <a:cubicBezTo>
                      <a:pt x="4" y="21"/>
                      <a:pt x="5" y="23"/>
                      <a:pt x="5" y="23"/>
                    </a:cubicBezTo>
                    <a:cubicBezTo>
                      <a:pt x="6" y="23"/>
                      <a:pt x="5" y="19"/>
                      <a:pt x="4" y="19"/>
                    </a:cubicBezTo>
                    <a:cubicBezTo>
                      <a:pt x="5" y="19"/>
                      <a:pt x="7" y="20"/>
                      <a:pt x="7" y="19"/>
                    </a:cubicBezTo>
                    <a:cubicBezTo>
                      <a:pt x="7" y="19"/>
                      <a:pt x="6" y="20"/>
                      <a:pt x="6" y="20"/>
                    </a:cubicBezTo>
                    <a:cubicBezTo>
                      <a:pt x="6" y="21"/>
                      <a:pt x="7" y="22"/>
                      <a:pt x="7" y="23"/>
                    </a:cubicBezTo>
                    <a:cubicBezTo>
                      <a:pt x="7" y="24"/>
                      <a:pt x="4" y="27"/>
                      <a:pt x="7" y="27"/>
                    </a:cubicBezTo>
                    <a:cubicBezTo>
                      <a:pt x="7" y="27"/>
                      <a:pt x="10" y="27"/>
                      <a:pt x="11" y="27"/>
                    </a:cubicBezTo>
                    <a:cubicBezTo>
                      <a:pt x="12" y="26"/>
                      <a:pt x="15" y="26"/>
                      <a:pt x="15" y="26"/>
                    </a:cubicBezTo>
                    <a:cubicBezTo>
                      <a:pt x="14" y="28"/>
                      <a:pt x="13" y="28"/>
                      <a:pt x="14" y="30"/>
                    </a:cubicBezTo>
                    <a:cubicBezTo>
                      <a:pt x="15" y="33"/>
                      <a:pt x="15" y="31"/>
                      <a:pt x="16" y="32"/>
                    </a:cubicBezTo>
                    <a:cubicBezTo>
                      <a:pt x="16" y="33"/>
                      <a:pt x="15" y="35"/>
                      <a:pt x="16" y="36"/>
                    </a:cubicBezTo>
                    <a:cubicBezTo>
                      <a:pt x="17" y="38"/>
                      <a:pt x="14" y="38"/>
                      <a:pt x="13" y="38"/>
                    </a:cubicBezTo>
                    <a:cubicBezTo>
                      <a:pt x="11" y="39"/>
                      <a:pt x="10" y="37"/>
                      <a:pt x="8" y="39"/>
                    </a:cubicBezTo>
                    <a:cubicBezTo>
                      <a:pt x="7" y="41"/>
                      <a:pt x="12" y="40"/>
                      <a:pt x="11" y="41"/>
                    </a:cubicBezTo>
                    <a:cubicBezTo>
                      <a:pt x="11" y="41"/>
                      <a:pt x="9" y="42"/>
                      <a:pt x="9" y="42"/>
                    </a:cubicBezTo>
                    <a:cubicBezTo>
                      <a:pt x="9" y="43"/>
                      <a:pt x="10" y="43"/>
                      <a:pt x="9" y="44"/>
                    </a:cubicBezTo>
                    <a:cubicBezTo>
                      <a:pt x="8" y="45"/>
                      <a:pt x="7" y="46"/>
                      <a:pt x="5" y="47"/>
                    </a:cubicBezTo>
                    <a:cubicBezTo>
                      <a:pt x="4" y="48"/>
                      <a:pt x="6" y="49"/>
                      <a:pt x="6" y="49"/>
                    </a:cubicBezTo>
                    <a:cubicBezTo>
                      <a:pt x="7" y="49"/>
                      <a:pt x="9" y="48"/>
                      <a:pt x="9" y="48"/>
                    </a:cubicBezTo>
                    <a:cubicBezTo>
                      <a:pt x="9" y="49"/>
                      <a:pt x="12" y="49"/>
                      <a:pt x="13" y="50"/>
                    </a:cubicBezTo>
                    <a:cubicBezTo>
                      <a:pt x="15" y="50"/>
                      <a:pt x="17" y="48"/>
                      <a:pt x="18" y="48"/>
                    </a:cubicBezTo>
                    <a:cubicBezTo>
                      <a:pt x="18" y="48"/>
                      <a:pt x="16" y="53"/>
                      <a:pt x="13" y="52"/>
                    </a:cubicBezTo>
                    <a:cubicBezTo>
                      <a:pt x="12" y="51"/>
                      <a:pt x="11" y="52"/>
                      <a:pt x="10" y="52"/>
                    </a:cubicBezTo>
                    <a:cubicBezTo>
                      <a:pt x="8" y="52"/>
                      <a:pt x="9" y="51"/>
                      <a:pt x="8" y="51"/>
                    </a:cubicBezTo>
                    <a:cubicBezTo>
                      <a:pt x="8" y="51"/>
                      <a:pt x="8" y="54"/>
                      <a:pt x="7" y="55"/>
                    </a:cubicBezTo>
                    <a:cubicBezTo>
                      <a:pt x="7" y="55"/>
                      <a:pt x="6" y="56"/>
                      <a:pt x="5" y="57"/>
                    </a:cubicBezTo>
                    <a:cubicBezTo>
                      <a:pt x="5" y="57"/>
                      <a:pt x="3" y="58"/>
                      <a:pt x="3" y="59"/>
                    </a:cubicBezTo>
                    <a:cubicBezTo>
                      <a:pt x="3" y="59"/>
                      <a:pt x="5" y="59"/>
                      <a:pt x="5" y="59"/>
                    </a:cubicBezTo>
                    <a:cubicBezTo>
                      <a:pt x="5" y="59"/>
                      <a:pt x="4" y="59"/>
                      <a:pt x="5" y="60"/>
                    </a:cubicBezTo>
                    <a:cubicBezTo>
                      <a:pt x="5" y="60"/>
                      <a:pt x="7" y="57"/>
                      <a:pt x="8" y="57"/>
                    </a:cubicBezTo>
                    <a:cubicBezTo>
                      <a:pt x="9" y="57"/>
                      <a:pt x="11" y="58"/>
                      <a:pt x="12" y="57"/>
                    </a:cubicBezTo>
                    <a:cubicBezTo>
                      <a:pt x="14" y="57"/>
                      <a:pt x="13" y="55"/>
                      <a:pt x="15" y="55"/>
                    </a:cubicBezTo>
                    <a:cubicBezTo>
                      <a:pt x="16" y="54"/>
                      <a:pt x="17" y="55"/>
                      <a:pt x="19" y="55"/>
                    </a:cubicBezTo>
                    <a:cubicBezTo>
                      <a:pt x="20" y="56"/>
                      <a:pt x="21" y="54"/>
                      <a:pt x="23" y="55"/>
                    </a:cubicBezTo>
                    <a:cubicBezTo>
                      <a:pt x="24" y="56"/>
                      <a:pt x="26" y="55"/>
                      <a:pt x="27" y="54"/>
                    </a:cubicBezTo>
                    <a:cubicBezTo>
                      <a:pt x="29" y="54"/>
                      <a:pt x="32" y="54"/>
                      <a:pt x="34" y="54"/>
                    </a:cubicBezTo>
                    <a:cubicBezTo>
                      <a:pt x="34" y="54"/>
                      <a:pt x="38" y="51"/>
                      <a:pt x="38" y="51"/>
                    </a:cubicBezTo>
                    <a:cubicBezTo>
                      <a:pt x="37" y="50"/>
                      <a:pt x="33" y="51"/>
                      <a:pt x="33" y="50"/>
                    </a:cubicBezTo>
                    <a:cubicBezTo>
                      <a:pt x="33" y="49"/>
                      <a:pt x="37" y="46"/>
                      <a:pt x="38" y="46"/>
                    </a:cubicBezTo>
                    <a:cubicBezTo>
                      <a:pt x="39" y="44"/>
                      <a:pt x="40" y="40"/>
                      <a:pt x="36" y="40"/>
                    </a:cubicBezTo>
                    <a:cubicBezTo>
                      <a:pt x="35" y="40"/>
                      <a:pt x="33" y="41"/>
                      <a:pt x="32" y="41"/>
                    </a:cubicBezTo>
                    <a:cubicBezTo>
                      <a:pt x="30" y="40"/>
                      <a:pt x="32" y="40"/>
                      <a:pt x="32" y="39"/>
                    </a:cubicBezTo>
                    <a:cubicBezTo>
                      <a:pt x="32" y="38"/>
                      <a:pt x="32" y="37"/>
                      <a:pt x="31" y="36"/>
                    </a:cubicBezTo>
                    <a:cubicBezTo>
                      <a:pt x="31" y="36"/>
                      <a:pt x="27" y="35"/>
                      <a:pt x="28" y="34"/>
                    </a:cubicBezTo>
                    <a:cubicBezTo>
                      <a:pt x="28" y="34"/>
                      <a:pt x="30" y="35"/>
                      <a:pt x="30" y="34"/>
                    </a:cubicBezTo>
                    <a:cubicBezTo>
                      <a:pt x="31" y="33"/>
                      <a:pt x="30" y="32"/>
                      <a:pt x="29" y="31"/>
                    </a:cubicBezTo>
                    <a:cubicBezTo>
                      <a:pt x="26" y="29"/>
                      <a:pt x="25" y="29"/>
                      <a:pt x="23" y="25"/>
                    </a:cubicBezTo>
                    <a:cubicBezTo>
                      <a:pt x="22" y="23"/>
                      <a:pt x="21" y="21"/>
                      <a:pt x="18" y="19"/>
                    </a:cubicBezTo>
                    <a:cubicBezTo>
                      <a:pt x="17" y="18"/>
                      <a:pt x="13" y="20"/>
                      <a:pt x="12" y="18"/>
                    </a:cubicBezTo>
                    <a:cubicBezTo>
                      <a:pt x="12" y="18"/>
                      <a:pt x="18" y="17"/>
                      <a:pt x="17" y="16"/>
                    </a:cubicBezTo>
                    <a:cubicBezTo>
                      <a:pt x="17" y="16"/>
                      <a:pt x="15" y="17"/>
                      <a:pt x="14" y="16"/>
                    </a:cubicBezTo>
                    <a:cubicBezTo>
                      <a:pt x="14" y="16"/>
                      <a:pt x="18" y="15"/>
                      <a:pt x="18" y="15"/>
                    </a:cubicBezTo>
                    <a:cubicBezTo>
                      <a:pt x="19" y="14"/>
                      <a:pt x="22" y="9"/>
                      <a:pt x="21" y="8"/>
                    </a:cubicBezTo>
                    <a:cubicBezTo>
                      <a:pt x="20" y="6"/>
                      <a:pt x="17" y="6"/>
                      <a:pt x="15" y="6"/>
                    </a:cubicBezTo>
                    <a:cubicBezTo>
                      <a:pt x="14" y="7"/>
                      <a:pt x="9" y="7"/>
                      <a:pt x="9" y="7"/>
                    </a:cubicBezTo>
                    <a:cubicBezTo>
                      <a:pt x="9" y="7"/>
                      <a:pt x="11" y="6"/>
                      <a:pt x="11" y="6"/>
                    </a:cubicBezTo>
                    <a:cubicBezTo>
                      <a:pt x="11" y="6"/>
                      <a:pt x="9" y="5"/>
                      <a:pt x="9" y="6"/>
                    </a:cubicBezTo>
                    <a:cubicBezTo>
                      <a:pt x="9" y="5"/>
                      <a:pt x="18" y="1"/>
                      <a:pt x="15" y="0"/>
                    </a:cubicBezTo>
                    <a:cubicBezTo>
                      <a:pt x="14" y="0"/>
                      <a:pt x="17" y="1"/>
                      <a:pt x="1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0" name="Freeform 405">
                <a:extLst>
                  <a:ext uri="{FF2B5EF4-FFF2-40B4-BE49-F238E27FC236}">
                    <a16:creationId xmlns:a16="http://schemas.microsoft.com/office/drawing/2014/main" id="{57C3D42E-4CBD-7841-889C-56E9BF209E39}"/>
                  </a:ext>
                </a:extLst>
              </p:cNvPr>
              <p:cNvSpPr>
                <a:spLocks/>
              </p:cNvSpPr>
              <p:nvPr/>
            </p:nvSpPr>
            <p:spPr bwMode="auto">
              <a:xfrm>
                <a:off x="10566434" y="5337841"/>
                <a:ext cx="503186" cy="245289"/>
              </a:xfrm>
              <a:custGeom>
                <a:avLst/>
                <a:gdLst>
                  <a:gd name="T0" fmla="*/ 53 w 54"/>
                  <a:gd name="T1" fmla="*/ 10 h 26"/>
                  <a:gd name="T2" fmla="*/ 49 w 54"/>
                  <a:gd name="T3" fmla="*/ 9 h 26"/>
                  <a:gd name="T4" fmla="*/ 50 w 54"/>
                  <a:gd name="T5" fmla="*/ 8 h 26"/>
                  <a:gd name="T6" fmla="*/ 48 w 54"/>
                  <a:gd name="T7" fmla="*/ 7 h 26"/>
                  <a:gd name="T8" fmla="*/ 49 w 54"/>
                  <a:gd name="T9" fmla="*/ 6 h 26"/>
                  <a:gd name="T10" fmla="*/ 46 w 54"/>
                  <a:gd name="T11" fmla="*/ 5 h 26"/>
                  <a:gd name="T12" fmla="*/ 48 w 54"/>
                  <a:gd name="T13" fmla="*/ 3 h 26"/>
                  <a:gd name="T14" fmla="*/ 43 w 54"/>
                  <a:gd name="T15" fmla="*/ 3 h 26"/>
                  <a:gd name="T16" fmla="*/ 39 w 54"/>
                  <a:gd name="T17" fmla="*/ 1 h 26"/>
                  <a:gd name="T18" fmla="*/ 39 w 54"/>
                  <a:gd name="T19" fmla="*/ 4 h 26"/>
                  <a:gd name="T20" fmla="*/ 36 w 54"/>
                  <a:gd name="T21" fmla="*/ 5 h 26"/>
                  <a:gd name="T22" fmla="*/ 32 w 54"/>
                  <a:gd name="T23" fmla="*/ 5 h 26"/>
                  <a:gd name="T24" fmla="*/ 32 w 54"/>
                  <a:gd name="T25" fmla="*/ 9 h 26"/>
                  <a:gd name="T26" fmla="*/ 26 w 54"/>
                  <a:gd name="T27" fmla="*/ 5 h 26"/>
                  <a:gd name="T28" fmla="*/ 25 w 54"/>
                  <a:gd name="T29" fmla="*/ 8 h 26"/>
                  <a:gd name="T30" fmla="*/ 21 w 54"/>
                  <a:gd name="T31" fmla="*/ 5 h 26"/>
                  <a:gd name="T32" fmla="*/ 21 w 54"/>
                  <a:gd name="T33" fmla="*/ 9 h 26"/>
                  <a:gd name="T34" fmla="*/ 19 w 54"/>
                  <a:gd name="T35" fmla="*/ 9 h 26"/>
                  <a:gd name="T36" fmla="*/ 17 w 54"/>
                  <a:gd name="T37" fmla="*/ 12 h 26"/>
                  <a:gd name="T38" fmla="*/ 14 w 54"/>
                  <a:gd name="T39" fmla="*/ 8 h 26"/>
                  <a:gd name="T40" fmla="*/ 16 w 54"/>
                  <a:gd name="T41" fmla="*/ 8 h 26"/>
                  <a:gd name="T42" fmla="*/ 14 w 54"/>
                  <a:gd name="T43" fmla="*/ 5 h 26"/>
                  <a:gd name="T44" fmla="*/ 7 w 54"/>
                  <a:gd name="T45" fmla="*/ 2 h 26"/>
                  <a:gd name="T46" fmla="*/ 9 w 54"/>
                  <a:gd name="T47" fmla="*/ 4 h 26"/>
                  <a:gd name="T48" fmla="*/ 8 w 54"/>
                  <a:gd name="T49" fmla="*/ 4 h 26"/>
                  <a:gd name="T50" fmla="*/ 10 w 54"/>
                  <a:gd name="T51" fmla="*/ 8 h 26"/>
                  <a:gd name="T52" fmla="*/ 5 w 54"/>
                  <a:gd name="T53" fmla="*/ 6 h 26"/>
                  <a:gd name="T54" fmla="*/ 3 w 54"/>
                  <a:gd name="T55" fmla="*/ 6 h 26"/>
                  <a:gd name="T56" fmla="*/ 5 w 54"/>
                  <a:gd name="T57" fmla="*/ 7 h 26"/>
                  <a:gd name="T58" fmla="*/ 5 w 54"/>
                  <a:gd name="T59" fmla="*/ 8 h 26"/>
                  <a:gd name="T60" fmla="*/ 2 w 54"/>
                  <a:gd name="T61" fmla="*/ 7 h 26"/>
                  <a:gd name="T62" fmla="*/ 1 w 54"/>
                  <a:gd name="T63" fmla="*/ 9 h 26"/>
                  <a:gd name="T64" fmla="*/ 8 w 54"/>
                  <a:gd name="T65" fmla="*/ 10 h 26"/>
                  <a:gd name="T66" fmla="*/ 13 w 54"/>
                  <a:gd name="T67" fmla="*/ 11 h 26"/>
                  <a:gd name="T68" fmla="*/ 11 w 54"/>
                  <a:gd name="T69" fmla="*/ 12 h 26"/>
                  <a:gd name="T70" fmla="*/ 12 w 54"/>
                  <a:gd name="T71" fmla="*/ 13 h 26"/>
                  <a:gd name="T72" fmla="*/ 8 w 54"/>
                  <a:gd name="T73" fmla="*/ 14 h 26"/>
                  <a:gd name="T74" fmla="*/ 3 w 54"/>
                  <a:gd name="T75" fmla="*/ 15 h 26"/>
                  <a:gd name="T76" fmla="*/ 10 w 54"/>
                  <a:gd name="T77" fmla="*/ 16 h 26"/>
                  <a:gd name="T78" fmla="*/ 12 w 54"/>
                  <a:gd name="T79" fmla="*/ 18 h 26"/>
                  <a:gd name="T80" fmla="*/ 15 w 54"/>
                  <a:gd name="T81" fmla="*/ 17 h 26"/>
                  <a:gd name="T82" fmla="*/ 13 w 54"/>
                  <a:gd name="T83" fmla="*/ 18 h 26"/>
                  <a:gd name="T84" fmla="*/ 15 w 54"/>
                  <a:gd name="T85" fmla="*/ 18 h 26"/>
                  <a:gd name="T86" fmla="*/ 10 w 54"/>
                  <a:gd name="T87" fmla="*/ 23 h 26"/>
                  <a:gd name="T88" fmla="*/ 15 w 54"/>
                  <a:gd name="T89" fmla="*/ 23 h 26"/>
                  <a:gd name="T90" fmla="*/ 21 w 54"/>
                  <a:gd name="T91" fmla="*/ 24 h 26"/>
                  <a:gd name="T92" fmla="*/ 20 w 54"/>
                  <a:gd name="T93" fmla="*/ 24 h 26"/>
                  <a:gd name="T94" fmla="*/ 22 w 54"/>
                  <a:gd name="T95" fmla="*/ 25 h 26"/>
                  <a:gd name="T96" fmla="*/ 29 w 54"/>
                  <a:gd name="T97" fmla="*/ 26 h 26"/>
                  <a:gd name="T98" fmla="*/ 33 w 54"/>
                  <a:gd name="T99" fmla="*/ 25 h 26"/>
                  <a:gd name="T100" fmla="*/ 39 w 54"/>
                  <a:gd name="T101" fmla="*/ 23 h 26"/>
                  <a:gd name="T102" fmla="*/ 46 w 54"/>
                  <a:gd name="T103" fmla="*/ 19 h 26"/>
                  <a:gd name="T104" fmla="*/ 52 w 54"/>
                  <a:gd name="T105" fmla="*/ 16 h 26"/>
                  <a:gd name="T106" fmla="*/ 52 w 54"/>
                  <a:gd name="T107" fmla="*/ 14 h 26"/>
                  <a:gd name="T108" fmla="*/ 54 w 54"/>
                  <a:gd name="T109" fmla="*/ 13 h 26"/>
                  <a:gd name="T110" fmla="*/ 52 w 54"/>
                  <a:gd name="T111" fmla="*/ 12 h 26"/>
                  <a:gd name="T112" fmla="*/ 53 w 54"/>
                  <a:gd name="T113" fmla="*/ 10 h 26"/>
                  <a:gd name="T114" fmla="*/ 53 w 54"/>
                  <a:gd name="T115"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26">
                    <a:moveTo>
                      <a:pt x="53" y="10"/>
                    </a:moveTo>
                    <a:cubicBezTo>
                      <a:pt x="53" y="10"/>
                      <a:pt x="49" y="9"/>
                      <a:pt x="49" y="9"/>
                    </a:cubicBezTo>
                    <a:cubicBezTo>
                      <a:pt x="49" y="9"/>
                      <a:pt x="50" y="8"/>
                      <a:pt x="50" y="8"/>
                    </a:cubicBezTo>
                    <a:cubicBezTo>
                      <a:pt x="49" y="8"/>
                      <a:pt x="47" y="8"/>
                      <a:pt x="48" y="7"/>
                    </a:cubicBezTo>
                    <a:cubicBezTo>
                      <a:pt x="48" y="7"/>
                      <a:pt x="49" y="6"/>
                      <a:pt x="49" y="6"/>
                    </a:cubicBezTo>
                    <a:cubicBezTo>
                      <a:pt x="48" y="5"/>
                      <a:pt x="46" y="5"/>
                      <a:pt x="46" y="5"/>
                    </a:cubicBezTo>
                    <a:cubicBezTo>
                      <a:pt x="46" y="4"/>
                      <a:pt x="48" y="3"/>
                      <a:pt x="48" y="3"/>
                    </a:cubicBezTo>
                    <a:cubicBezTo>
                      <a:pt x="48" y="3"/>
                      <a:pt x="44" y="4"/>
                      <a:pt x="43" y="3"/>
                    </a:cubicBezTo>
                    <a:cubicBezTo>
                      <a:pt x="42" y="2"/>
                      <a:pt x="41" y="1"/>
                      <a:pt x="39" y="1"/>
                    </a:cubicBezTo>
                    <a:cubicBezTo>
                      <a:pt x="38" y="1"/>
                      <a:pt x="40" y="3"/>
                      <a:pt x="39" y="4"/>
                    </a:cubicBezTo>
                    <a:cubicBezTo>
                      <a:pt x="38" y="5"/>
                      <a:pt x="37" y="4"/>
                      <a:pt x="36" y="5"/>
                    </a:cubicBezTo>
                    <a:cubicBezTo>
                      <a:pt x="35" y="6"/>
                      <a:pt x="34" y="5"/>
                      <a:pt x="32" y="5"/>
                    </a:cubicBezTo>
                    <a:cubicBezTo>
                      <a:pt x="30" y="4"/>
                      <a:pt x="33" y="8"/>
                      <a:pt x="32" y="9"/>
                    </a:cubicBezTo>
                    <a:cubicBezTo>
                      <a:pt x="32" y="9"/>
                      <a:pt x="28" y="2"/>
                      <a:pt x="26" y="5"/>
                    </a:cubicBezTo>
                    <a:cubicBezTo>
                      <a:pt x="25" y="5"/>
                      <a:pt x="26" y="7"/>
                      <a:pt x="25" y="8"/>
                    </a:cubicBezTo>
                    <a:cubicBezTo>
                      <a:pt x="25" y="9"/>
                      <a:pt x="22" y="5"/>
                      <a:pt x="21" y="5"/>
                    </a:cubicBezTo>
                    <a:cubicBezTo>
                      <a:pt x="20" y="5"/>
                      <a:pt x="23" y="9"/>
                      <a:pt x="21" y="9"/>
                    </a:cubicBezTo>
                    <a:cubicBezTo>
                      <a:pt x="20" y="9"/>
                      <a:pt x="20" y="9"/>
                      <a:pt x="19" y="9"/>
                    </a:cubicBezTo>
                    <a:cubicBezTo>
                      <a:pt x="18" y="9"/>
                      <a:pt x="17" y="11"/>
                      <a:pt x="17" y="12"/>
                    </a:cubicBezTo>
                    <a:cubicBezTo>
                      <a:pt x="17" y="11"/>
                      <a:pt x="14" y="9"/>
                      <a:pt x="14" y="8"/>
                    </a:cubicBezTo>
                    <a:cubicBezTo>
                      <a:pt x="14" y="8"/>
                      <a:pt x="16" y="8"/>
                      <a:pt x="16" y="8"/>
                    </a:cubicBezTo>
                    <a:cubicBezTo>
                      <a:pt x="16" y="7"/>
                      <a:pt x="14" y="5"/>
                      <a:pt x="14" y="5"/>
                    </a:cubicBezTo>
                    <a:cubicBezTo>
                      <a:pt x="13" y="5"/>
                      <a:pt x="8" y="0"/>
                      <a:pt x="7" y="2"/>
                    </a:cubicBezTo>
                    <a:cubicBezTo>
                      <a:pt x="7" y="3"/>
                      <a:pt x="10" y="3"/>
                      <a:pt x="9" y="4"/>
                    </a:cubicBezTo>
                    <a:cubicBezTo>
                      <a:pt x="9" y="4"/>
                      <a:pt x="9" y="4"/>
                      <a:pt x="8" y="4"/>
                    </a:cubicBezTo>
                    <a:cubicBezTo>
                      <a:pt x="10" y="3"/>
                      <a:pt x="11" y="7"/>
                      <a:pt x="10" y="8"/>
                    </a:cubicBezTo>
                    <a:cubicBezTo>
                      <a:pt x="10" y="8"/>
                      <a:pt x="2" y="1"/>
                      <a:pt x="5" y="6"/>
                    </a:cubicBezTo>
                    <a:cubicBezTo>
                      <a:pt x="5" y="6"/>
                      <a:pt x="3" y="6"/>
                      <a:pt x="3" y="6"/>
                    </a:cubicBezTo>
                    <a:cubicBezTo>
                      <a:pt x="3" y="7"/>
                      <a:pt x="5" y="7"/>
                      <a:pt x="5" y="7"/>
                    </a:cubicBezTo>
                    <a:cubicBezTo>
                      <a:pt x="5" y="6"/>
                      <a:pt x="5" y="8"/>
                      <a:pt x="5" y="8"/>
                    </a:cubicBezTo>
                    <a:cubicBezTo>
                      <a:pt x="5" y="8"/>
                      <a:pt x="3" y="7"/>
                      <a:pt x="2" y="7"/>
                    </a:cubicBezTo>
                    <a:cubicBezTo>
                      <a:pt x="3" y="7"/>
                      <a:pt x="0" y="10"/>
                      <a:pt x="1" y="9"/>
                    </a:cubicBezTo>
                    <a:cubicBezTo>
                      <a:pt x="0" y="11"/>
                      <a:pt x="8" y="10"/>
                      <a:pt x="8" y="10"/>
                    </a:cubicBezTo>
                    <a:cubicBezTo>
                      <a:pt x="9" y="10"/>
                      <a:pt x="13" y="11"/>
                      <a:pt x="13" y="11"/>
                    </a:cubicBezTo>
                    <a:cubicBezTo>
                      <a:pt x="12" y="11"/>
                      <a:pt x="11" y="11"/>
                      <a:pt x="11" y="12"/>
                    </a:cubicBezTo>
                    <a:cubicBezTo>
                      <a:pt x="11" y="12"/>
                      <a:pt x="12" y="13"/>
                      <a:pt x="12" y="13"/>
                    </a:cubicBezTo>
                    <a:cubicBezTo>
                      <a:pt x="11" y="14"/>
                      <a:pt x="9" y="14"/>
                      <a:pt x="8" y="14"/>
                    </a:cubicBezTo>
                    <a:cubicBezTo>
                      <a:pt x="8" y="14"/>
                      <a:pt x="2" y="15"/>
                      <a:pt x="3" y="15"/>
                    </a:cubicBezTo>
                    <a:cubicBezTo>
                      <a:pt x="5" y="16"/>
                      <a:pt x="8" y="15"/>
                      <a:pt x="10" y="16"/>
                    </a:cubicBezTo>
                    <a:cubicBezTo>
                      <a:pt x="11" y="17"/>
                      <a:pt x="11" y="18"/>
                      <a:pt x="12" y="18"/>
                    </a:cubicBezTo>
                    <a:cubicBezTo>
                      <a:pt x="12" y="18"/>
                      <a:pt x="14" y="17"/>
                      <a:pt x="15" y="17"/>
                    </a:cubicBezTo>
                    <a:cubicBezTo>
                      <a:pt x="14" y="17"/>
                      <a:pt x="13" y="18"/>
                      <a:pt x="13" y="18"/>
                    </a:cubicBezTo>
                    <a:cubicBezTo>
                      <a:pt x="13" y="19"/>
                      <a:pt x="15" y="18"/>
                      <a:pt x="15" y="18"/>
                    </a:cubicBezTo>
                    <a:cubicBezTo>
                      <a:pt x="16" y="19"/>
                      <a:pt x="8" y="23"/>
                      <a:pt x="10" y="23"/>
                    </a:cubicBezTo>
                    <a:cubicBezTo>
                      <a:pt x="12" y="24"/>
                      <a:pt x="14" y="23"/>
                      <a:pt x="15" y="23"/>
                    </a:cubicBezTo>
                    <a:cubicBezTo>
                      <a:pt x="17" y="23"/>
                      <a:pt x="19" y="23"/>
                      <a:pt x="21" y="24"/>
                    </a:cubicBezTo>
                    <a:cubicBezTo>
                      <a:pt x="20" y="23"/>
                      <a:pt x="20" y="24"/>
                      <a:pt x="20" y="24"/>
                    </a:cubicBezTo>
                    <a:cubicBezTo>
                      <a:pt x="21" y="25"/>
                      <a:pt x="22" y="25"/>
                      <a:pt x="22" y="25"/>
                    </a:cubicBezTo>
                    <a:cubicBezTo>
                      <a:pt x="24" y="26"/>
                      <a:pt x="27" y="26"/>
                      <a:pt x="29" y="26"/>
                    </a:cubicBezTo>
                    <a:cubicBezTo>
                      <a:pt x="31" y="26"/>
                      <a:pt x="31" y="25"/>
                      <a:pt x="33" y="25"/>
                    </a:cubicBezTo>
                    <a:cubicBezTo>
                      <a:pt x="35" y="24"/>
                      <a:pt x="37" y="24"/>
                      <a:pt x="39" y="23"/>
                    </a:cubicBezTo>
                    <a:cubicBezTo>
                      <a:pt x="42" y="21"/>
                      <a:pt x="43" y="20"/>
                      <a:pt x="46" y="19"/>
                    </a:cubicBezTo>
                    <a:cubicBezTo>
                      <a:pt x="48" y="19"/>
                      <a:pt x="49" y="16"/>
                      <a:pt x="52" y="16"/>
                    </a:cubicBezTo>
                    <a:cubicBezTo>
                      <a:pt x="52" y="15"/>
                      <a:pt x="53" y="15"/>
                      <a:pt x="52" y="14"/>
                    </a:cubicBezTo>
                    <a:cubicBezTo>
                      <a:pt x="51" y="13"/>
                      <a:pt x="53" y="13"/>
                      <a:pt x="54" y="13"/>
                    </a:cubicBezTo>
                    <a:cubicBezTo>
                      <a:pt x="54" y="13"/>
                      <a:pt x="52" y="12"/>
                      <a:pt x="52" y="12"/>
                    </a:cubicBezTo>
                    <a:cubicBezTo>
                      <a:pt x="52" y="11"/>
                      <a:pt x="54" y="10"/>
                      <a:pt x="53" y="10"/>
                    </a:cubicBezTo>
                    <a:cubicBezTo>
                      <a:pt x="51" y="9"/>
                      <a:pt x="54" y="10"/>
                      <a:pt x="53"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1" name="Freeform 406">
                <a:extLst>
                  <a:ext uri="{FF2B5EF4-FFF2-40B4-BE49-F238E27FC236}">
                    <a16:creationId xmlns:a16="http://schemas.microsoft.com/office/drawing/2014/main" id="{3C2DAA39-840D-174C-BC2A-4D3AA29AEE05}"/>
                  </a:ext>
                </a:extLst>
              </p:cNvPr>
              <p:cNvSpPr>
                <a:spLocks/>
              </p:cNvSpPr>
              <p:nvPr/>
            </p:nvSpPr>
            <p:spPr bwMode="auto">
              <a:xfrm>
                <a:off x="14085545" y="4439516"/>
                <a:ext cx="840765" cy="579771"/>
              </a:xfrm>
              <a:custGeom>
                <a:avLst/>
                <a:gdLst>
                  <a:gd name="T0" fmla="*/ 77 w 90"/>
                  <a:gd name="T1" fmla="*/ 2 h 62"/>
                  <a:gd name="T2" fmla="*/ 66 w 90"/>
                  <a:gd name="T3" fmla="*/ 6 h 62"/>
                  <a:gd name="T4" fmla="*/ 51 w 90"/>
                  <a:gd name="T5" fmla="*/ 8 h 62"/>
                  <a:gd name="T6" fmla="*/ 48 w 90"/>
                  <a:gd name="T7" fmla="*/ 9 h 62"/>
                  <a:gd name="T8" fmla="*/ 39 w 90"/>
                  <a:gd name="T9" fmla="*/ 11 h 62"/>
                  <a:gd name="T10" fmla="*/ 32 w 90"/>
                  <a:gd name="T11" fmla="*/ 14 h 62"/>
                  <a:gd name="T12" fmla="*/ 26 w 90"/>
                  <a:gd name="T13" fmla="*/ 19 h 62"/>
                  <a:gd name="T14" fmla="*/ 26 w 90"/>
                  <a:gd name="T15" fmla="*/ 21 h 62"/>
                  <a:gd name="T16" fmla="*/ 27 w 90"/>
                  <a:gd name="T17" fmla="*/ 23 h 62"/>
                  <a:gd name="T18" fmla="*/ 23 w 90"/>
                  <a:gd name="T19" fmla="*/ 25 h 62"/>
                  <a:gd name="T20" fmla="*/ 21 w 90"/>
                  <a:gd name="T21" fmla="*/ 28 h 62"/>
                  <a:gd name="T22" fmla="*/ 21 w 90"/>
                  <a:gd name="T23" fmla="*/ 29 h 62"/>
                  <a:gd name="T24" fmla="*/ 14 w 90"/>
                  <a:gd name="T25" fmla="*/ 31 h 62"/>
                  <a:gd name="T26" fmla="*/ 19 w 90"/>
                  <a:gd name="T27" fmla="*/ 34 h 62"/>
                  <a:gd name="T28" fmla="*/ 9 w 90"/>
                  <a:gd name="T29" fmla="*/ 38 h 62"/>
                  <a:gd name="T30" fmla="*/ 6 w 90"/>
                  <a:gd name="T31" fmla="*/ 41 h 62"/>
                  <a:gd name="T32" fmla="*/ 5 w 90"/>
                  <a:gd name="T33" fmla="*/ 47 h 62"/>
                  <a:gd name="T34" fmla="*/ 4 w 90"/>
                  <a:gd name="T35" fmla="*/ 53 h 62"/>
                  <a:gd name="T36" fmla="*/ 12 w 90"/>
                  <a:gd name="T37" fmla="*/ 55 h 62"/>
                  <a:gd name="T38" fmla="*/ 12 w 90"/>
                  <a:gd name="T39" fmla="*/ 56 h 62"/>
                  <a:gd name="T40" fmla="*/ 16 w 90"/>
                  <a:gd name="T41" fmla="*/ 62 h 62"/>
                  <a:gd name="T42" fmla="*/ 26 w 90"/>
                  <a:gd name="T43" fmla="*/ 61 h 62"/>
                  <a:gd name="T44" fmla="*/ 26 w 90"/>
                  <a:gd name="T45" fmla="*/ 59 h 62"/>
                  <a:gd name="T46" fmla="*/ 20 w 90"/>
                  <a:gd name="T47" fmla="*/ 48 h 62"/>
                  <a:gd name="T48" fmla="*/ 20 w 90"/>
                  <a:gd name="T49" fmla="*/ 42 h 62"/>
                  <a:gd name="T50" fmla="*/ 22 w 90"/>
                  <a:gd name="T51" fmla="*/ 40 h 62"/>
                  <a:gd name="T52" fmla="*/ 21 w 90"/>
                  <a:gd name="T53" fmla="*/ 36 h 62"/>
                  <a:gd name="T54" fmla="*/ 27 w 90"/>
                  <a:gd name="T55" fmla="*/ 34 h 62"/>
                  <a:gd name="T56" fmla="*/ 27 w 90"/>
                  <a:gd name="T57" fmla="*/ 32 h 62"/>
                  <a:gd name="T58" fmla="*/ 32 w 90"/>
                  <a:gd name="T59" fmla="*/ 31 h 62"/>
                  <a:gd name="T60" fmla="*/ 35 w 90"/>
                  <a:gd name="T61" fmla="*/ 29 h 62"/>
                  <a:gd name="T62" fmla="*/ 35 w 90"/>
                  <a:gd name="T63" fmla="*/ 26 h 62"/>
                  <a:gd name="T64" fmla="*/ 42 w 90"/>
                  <a:gd name="T65" fmla="*/ 24 h 62"/>
                  <a:gd name="T66" fmla="*/ 45 w 90"/>
                  <a:gd name="T67" fmla="*/ 22 h 62"/>
                  <a:gd name="T68" fmla="*/ 58 w 90"/>
                  <a:gd name="T69" fmla="*/ 15 h 62"/>
                  <a:gd name="T70" fmla="*/ 81 w 90"/>
                  <a:gd name="T71" fmla="*/ 8 h 62"/>
                  <a:gd name="T72" fmla="*/ 84 w 90"/>
                  <a:gd name="T73" fmla="*/ 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62">
                    <a:moveTo>
                      <a:pt x="84" y="1"/>
                    </a:moveTo>
                    <a:cubicBezTo>
                      <a:pt x="81" y="1"/>
                      <a:pt x="80" y="0"/>
                      <a:pt x="77" y="2"/>
                    </a:cubicBezTo>
                    <a:cubicBezTo>
                      <a:pt x="76" y="2"/>
                      <a:pt x="72" y="3"/>
                      <a:pt x="73" y="4"/>
                    </a:cubicBezTo>
                    <a:cubicBezTo>
                      <a:pt x="72" y="4"/>
                      <a:pt x="68" y="6"/>
                      <a:pt x="66" y="6"/>
                    </a:cubicBezTo>
                    <a:cubicBezTo>
                      <a:pt x="64" y="6"/>
                      <a:pt x="61" y="7"/>
                      <a:pt x="59" y="8"/>
                    </a:cubicBezTo>
                    <a:cubicBezTo>
                      <a:pt x="56" y="8"/>
                      <a:pt x="54" y="8"/>
                      <a:pt x="51" y="8"/>
                    </a:cubicBezTo>
                    <a:cubicBezTo>
                      <a:pt x="51" y="8"/>
                      <a:pt x="45" y="8"/>
                      <a:pt x="46" y="9"/>
                    </a:cubicBezTo>
                    <a:cubicBezTo>
                      <a:pt x="46" y="9"/>
                      <a:pt x="48" y="9"/>
                      <a:pt x="48" y="9"/>
                    </a:cubicBezTo>
                    <a:cubicBezTo>
                      <a:pt x="47" y="10"/>
                      <a:pt x="45" y="10"/>
                      <a:pt x="44" y="11"/>
                    </a:cubicBezTo>
                    <a:cubicBezTo>
                      <a:pt x="43" y="11"/>
                      <a:pt x="41" y="11"/>
                      <a:pt x="39" y="11"/>
                    </a:cubicBezTo>
                    <a:cubicBezTo>
                      <a:pt x="38" y="11"/>
                      <a:pt x="38" y="11"/>
                      <a:pt x="36" y="12"/>
                    </a:cubicBezTo>
                    <a:cubicBezTo>
                      <a:pt x="35" y="15"/>
                      <a:pt x="34" y="14"/>
                      <a:pt x="32" y="14"/>
                    </a:cubicBezTo>
                    <a:cubicBezTo>
                      <a:pt x="30" y="15"/>
                      <a:pt x="31" y="17"/>
                      <a:pt x="28" y="17"/>
                    </a:cubicBezTo>
                    <a:cubicBezTo>
                      <a:pt x="26" y="17"/>
                      <a:pt x="27" y="19"/>
                      <a:pt x="26" y="19"/>
                    </a:cubicBezTo>
                    <a:cubicBezTo>
                      <a:pt x="25" y="20"/>
                      <a:pt x="22" y="18"/>
                      <a:pt x="23" y="19"/>
                    </a:cubicBezTo>
                    <a:cubicBezTo>
                      <a:pt x="23" y="20"/>
                      <a:pt x="26" y="21"/>
                      <a:pt x="26" y="21"/>
                    </a:cubicBezTo>
                    <a:cubicBezTo>
                      <a:pt x="26" y="21"/>
                      <a:pt x="22" y="22"/>
                      <a:pt x="22" y="22"/>
                    </a:cubicBezTo>
                    <a:cubicBezTo>
                      <a:pt x="22" y="23"/>
                      <a:pt x="27" y="23"/>
                      <a:pt x="27" y="23"/>
                    </a:cubicBezTo>
                    <a:cubicBezTo>
                      <a:pt x="27" y="24"/>
                      <a:pt x="20" y="24"/>
                      <a:pt x="21" y="25"/>
                    </a:cubicBezTo>
                    <a:cubicBezTo>
                      <a:pt x="21" y="24"/>
                      <a:pt x="23" y="25"/>
                      <a:pt x="23" y="25"/>
                    </a:cubicBezTo>
                    <a:cubicBezTo>
                      <a:pt x="21" y="26"/>
                      <a:pt x="20" y="25"/>
                      <a:pt x="20" y="26"/>
                    </a:cubicBezTo>
                    <a:cubicBezTo>
                      <a:pt x="19" y="27"/>
                      <a:pt x="21" y="28"/>
                      <a:pt x="21" y="28"/>
                    </a:cubicBezTo>
                    <a:cubicBezTo>
                      <a:pt x="20" y="28"/>
                      <a:pt x="19" y="28"/>
                      <a:pt x="18" y="28"/>
                    </a:cubicBezTo>
                    <a:cubicBezTo>
                      <a:pt x="18" y="28"/>
                      <a:pt x="20" y="29"/>
                      <a:pt x="21" y="29"/>
                    </a:cubicBezTo>
                    <a:cubicBezTo>
                      <a:pt x="19" y="29"/>
                      <a:pt x="18" y="29"/>
                      <a:pt x="17" y="30"/>
                    </a:cubicBezTo>
                    <a:cubicBezTo>
                      <a:pt x="16" y="31"/>
                      <a:pt x="15" y="31"/>
                      <a:pt x="14" y="31"/>
                    </a:cubicBezTo>
                    <a:cubicBezTo>
                      <a:pt x="12" y="32"/>
                      <a:pt x="12" y="33"/>
                      <a:pt x="14" y="33"/>
                    </a:cubicBezTo>
                    <a:cubicBezTo>
                      <a:pt x="15" y="33"/>
                      <a:pt x="18" y="34"/>
                      <a:pt x="19" y="34"/>
                    </a:cubicBezTo>
                    <a:cubicBezTo>
                      <a:pt x="17" y="35"/>
                      <a:pt x="15" y="33"/>
                      <a:pt x="15" y="36"/>
                    </a:cubicBezTo>
                    <a:cubicBezTo>
                      <a:pt x="15" y="37"/>
                      <a:pt x="10" y="37"/>
                      <a:pt x="9" y="38"/>
                    </a:cubicBezTo>
                    <a:cubicBezTo>
                      <a:pt x="8" y="39"/>
                      <a:pt x="9" y="39"/>
                      <a:pt x="9" y="40"/>
                    </a:cubicBezTo>
                    <a:cubicBezTo>
                      <a:pt x="9" y="40"/>
                      <a:pt x="6" y="41"/>
                      <a:pt x="6" y="41"/>
                    </a:cubicBezTo>
                    <a:cubicBezTo>
                      <a:pt x="2" y="42"/>
                      <a:pt x="7" y="42"/>
                      <a:pt x="7" y="43"/>
                    </a:cubicBezTo>
                    <a:cubicBezTo>
                      <a:pt x="8" y="44"/>
                      <a:pt x="5" y="47"/>
                      <a:pt x="5" y="47"/>
                    </a:cubicBezTo>
                    <a:cubicBezTo>
                      <a:pt x="3" y="49"/>
                      <a:pt x="0" y="47"/>
                      <a:pt x="0" y="51"/>
                    </a:cubicBezTo>
                    <a:cubicBezTo>
                      <a:pt x="0" y="55"/>
                      <a:pt x="2" y="53"/>
                      <a:pt x="4" y="53"/>
                    </a:cubicBezTo>
                    <a:cubicBezTo>
                      <a:pt x="6" y="54"/>
                      <a:pt x="7" y="55"/>
                      <a:pt x="9" y="54"/>
                    </a:cubicBezTo>
                    <a:cubicBezTo>
                      <a:pt x="9" y="54"/>
                      <a:pt x="11" y="56"/>
                      <a:pt x="12" y="55"/>
                    </a:cubicBezTo>
                    <a:cubicBezTo>
                      <a:pt x="12" y="55"/>
                      <a:pt x="10" y="55"/>
                      <a:pt x="10" y="56"/>
                    </a:cubicBezTo>
                    <a:cubicBezTo>
                      <a:pt x="11" y="56"/>
                      <a:pt x="12" y="56"/>
                      <a:pt x="12" y="56"/>
                    </a:cubicBezTo>
                    <a:cubicBezTo>
                      <a:pt x="12" y="56"/>
                      <a:pt x="10" y="60"/>
                      <a:pt x="10" y="60"/>
                    </a:cubicBezTo>
                    <a:cubicBezTo>
                      <a:pt x="12" y="61"/>
                      <a:pt x="14" y="61"/>
                      <a:pt x="16" y="62"/>
                    </a:cubicBezTo>
                    <a:cubicBezTo>
                      <a:pt x="19" y="62"/>
                      <a:pt x="20" y="62"/>
                      <a:pt x="23" y="62"/>
                    </a:cubicBezTo>
                    <a:cubicBezTo>
                      <a:pt x="24" y="61"/>
                      <a:pt x="25" y="61"/>
                      <a:pt x="26" y="61"/>
                    </a:cubicBezTo>
                    <a:cubicBezTo>
                      <a:pt x="27" y="62"/>
                      <a:pt x="28" y="62"/>
                      <a:pt x="30" y="62"/>
                    </a:cubicBezTo>
                    <a:cubicBezTo>
                      <a:pt x="31" y="62"/>
                      <a:pt x="27" y="59"/>
                      <a:pt x="26" y="59"/>
                    </a:cubicBezTo>
                    <a:cubicBezTo>
                      <a:pt x="24" y="57"/>
                      <a:pt x="23" y="55"/>
                      <a:pt x="22" y="53"/>
                    </a:cubicBezTo>
                    <a:cubicBezTo>
                      <a:pt x="20" y="51"/>
                      <a:pt x="21" y="50"/>
                      <a:pt x="20" y="48"/>
                    </a:cubicBezTo>
                    <a:cubicBezTo>
                      <a:pt x="19" y="45"/>
                      <a:pt x="18" y="45"/>
                      <a:pt x="20" y="43"/>
                    </a:cubicBezTo>
                    <a:cubicBezTo>
                      <a:pt x="21" y="43"/>
                      <a:pt x="20" y="43"/>
                      <a:pt x="20" y="42"/>
                    </a:cubicBezTo>
                    <a:cubicBezTo>
                      <a:pt x="21" y="41"/>
                      <a:pt x="24" y="42"/>
                      <a:pt x="24" y="41"/>
                    </a:cubicBezTo>
                    <a:cubicBezTo>
                      <a:pt x="24" y="41"/>
                      <a:pt x="22" y="40"/>
                      <a:pt x="22" y="40"/>
                    </a:cubicBezTo>
                    <a:cubicBezTo>
                      <a:pt x="23" y="39"/>
                      <a:pt x="26" y="40"/>
                      <a:pt x="26" y="39"/>
                    </a:cubicBezTo>
                    <a:cubicBezTo>
                      <a:pt x="26" y="38"/>
                      <a:pt x="21" y="37"/>
                      <a:pt x="21" y="36"/>
                    </a:cubicBezTo>
                    <a:cubicBezTo>
                      <a:pt x="21" y="36"/>
                      <a:pt x="29" y="37"/>
                      <a:pt x="29" y="37"/>
                    </a:cubicBezTo>
                    <a:cubicBezTo>
                      <a:pt x="29" y="36"/>
                      <a:pt x="27" y="35"/>
                      <a:pt x="27" y="34"/>
                    </a:cubicBezTo>
                    <a:cubicBezTo>
                      <a:pt x="27" y="33"/>
                      <a:pt x="30" y="35"/>
                      <a:pt x="31" y="34"/>
                    </a:cubicBezTo>
                    <a:cubicBezTo>
                      <a:pt x="31" y="33"/>
                      <a:pt x="27" y="31"/>
                      <a:pt x="27" y="32"/>
                    </a:cubicBezTo>
                    <a:cubicBezTo>
                      <a:pt x="27" y="31"/>
                      <a:pt x="31" y="33"/>
                      <a:pt x="32" y="32"/>
                    </a:cubicBezTo>
                    <a:cubicBezTo>
                      <a:pt x="32" y="32"/>
                      <a:pt x="33" y="31"/>
                      <a:pt x="32" y="31"/>
                    </a:cubicBezTo>
                    <a:cubicBezTo>
                      <a:pt x="32" y="31"/>
                      <a:pt x="30" y="29"/>
                      <a:pt x="30" y="29"/>
                    </a:cubicBezTo>
                    <a:cubicBezTo>
                      <a:pt x="32" y="29"/>
                      <a:pt x="33" y="30"/>
                      <a:pt x="35" y="29"/>
                    </a:cubicBezTo>
                    <a:cubicBezTo>
                      <a:pt x="35" y="28"/>
                      <a:pt x="37" y="27"/>
                      <a:pt x="37" y="27"/>
                    </a:cubicBezTo>
                    <a:cubicBezTo>
                      <a:pt x="37" y="26"/>
                      <a:pt x="35" y="26"/>
                      <a:pt x="35" y="26"/>
                    </a:cubicBezTo>
                    <a:cubicBezTo>
                      <a:pt x="36" y="26"/>
                      <a:pt x="39" y="26"/>
                      <a:pt x="39" y="24"/>
                    </a:cubicBezTo>
                    <a:cubicBezTo>
                      <a:pt x="39" y="22"/>
                      <a:pt x="41" y="25"/>
                      <a:pt x="42" y="24"/>
                    </a:cubicBezTo>
                    <a:cubicBezTo>
                      <a:pt x="42" y="24"/>
                      <a:pt x="41" y="23"/>
                      <a:pt x="41" y="23"/>
                    </a:cubicBezTo>
                    <a:cubicBezTo>
                      <a:pt x="42" y="22"/>
                      <a:pt x="45" y="23"/>
                      <a:pt x="45" y="22"/>
                    </a:cubicBezTo>
                    <a:cubicBezTo>
                      <a:pt x="46" y="21"/>
                      <a:pt x="45" y="20"/>
                      <a:pt x="44" y="20"/>
                    </a:cubicBezTo>
                    <a:cubicBezTo>
                      <a:pt x="49" y="18"/>
                      <a:pt x="53" y="16"/>
                      <a:pt x="58" y="15"/>
                    </a:cubicBezTo>
                    <a:cubicBezTo>
                      <a:pt x="61" y="14"/>
                      <a:pt x="65" y="13"/>
                      <a:pt x="68" y="12"/>
                    </a:cubicBezTo>
                    <a:cubicBezTo>
                      <a:pt x="73" y="11"/>
                      <a:pt x="77" y="10"/>
                      <a:pt x="81" y="8"/>
                    </a:cubicBezTo>
                    <a:cubicBezTo>
                      <a:pt x="83" y="8"/>
                      <a:pt x="86" y="6"/>
                      <a:pt x="88" y="4"/>
                    </a:cubicBezTo>
                    <a:cubicBezTo>
                      <a:pt x="90" y="2"/>
                      <a:pt x="86" y="1"/>
                      <a:pt x="84" y="1"/>
                    </a:cubicBezTo>
                    <a:cubicBezTo>
                      <a:pt x="82" y="1"/>
                      <a:pt x="86" y="1"/>
                      <a:pt x="8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2" name="Freeform 407">
                <a:extLst>
                  <a:ext uri="{FF2B5EF4-FFF2-40B4-BE49-F238E27FC236}">
                    <a16:creationId xmlns:a16="http://schemas.microsoft.com/office/drawing/2014/main" id="{1A09AC03-21DD-EB4D-81BF-68898A3D5FD6}"/>
                  </a:ext>
                </a:extLst>
              </p:cNvPr>
              <p:cNvSpPr>
                <a:spLocks/>
              </p:cNvSpPr>
              <p:nvPr/>
            </p:nvSpPr>
            <p:spPr bwMode="auto">
              <a:xfrm>
                <a:off x="16241600" y="4197415"/>
                <a:ext cx="299364" cy="149721"/>
              </a:xfrm>
              <a:custGeom>
                <a:avLst/>
                <a:gdLst>
                  <a:gd name="T0" fmla="*/ 16 w 32"/>
                  <a:gd name="T1" fmla="*/ 6 h 16"/>
                  <a:gd name="T2" fmla="*/ 19 w 32"/>
                  <a:gd name="T3" fmla="*/ 1 h 16"/>
                  <a:gd name="T4" fmla="*/ 16 w 32"/>
                  <a:gd name="T5" fmla="*/ 0 h 16"/>
                  <a:gd name="T6" fmla="*/ 15 w 32"/>
                  <a:gd name="T7" fmla="*/ 2 h 16"/>
                  <a:gd name="T8" fmla="*/ 10 w 32"/>
                  <a:gd name="T9" fmla="*/ 2 h 16"/>
                  <a:gd name="T10" fmla="*/ 9 w 32"/>
                  <a:gd name="T11" fmla="*/ 4 h 16"/>
                  <a:gd name="T12" fmla="*/ 12 w 32"/>
                  <a:gd name="T13" fmla="*/ 4 h 16"/>
                  <a:gd name="T14" fmla="*/ 10 w 32"/>
                  <a:gd name="T15" fmla="*/ 8 h 16"/>
                  <a:gd name="T16" fmla="*/ 5 w 32"/>
                  <a:gd name="T17" fmla="*/ 10 h 16"/>
                  <a:gd name="T18" fmla="*/ 1 w 32"/>
                  <a:gd name="T19" fmla="*/ 15 h 16"/>
                  <a:gd name="T20" fmla="*/ 8 w 32"/>
                  <a:gd name="T21" fmla="*/ 15 h 16"/>
                  <a:gd name="T22" fmla="*/ 17 w 32"/>
                  <a:gd name="T23" fmla="*/ 14 h 16"/>
                  <a:gd name="T24" fmla="*/ 28 w 32"/>
                  <a:gd name="T25" fmla="*/ 12 h 16"/>
                  <a:gd name="T26" fmla="*/ 29 w 32"/>
                  <a:gd name="T27" fmla="*/ 7 h 16"/>
                  <a:gd name="T28" fmla="*/ 22 w 32"/>
                  <a:gd name="T29" fmla="*/ 3 h 16"/>
                  <a:gd name="T30" fmla="*/ 16 w 32"/>
                  <a:gd name="T31" fmla="*/ 6 h 16"/>
                  <a:gd name="T32" fmla="*/ 16 w 32"/>
                  <a:gd name="T33" fmla="*/ 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16">
                    <a:moveTo>
                      <a:pt x="16" y="6"/>
                    </a:moveTo>
                    <a:cubicBezTo>
                      <a:pt x="16" y="6"/>
                      <a:pt x="19" y="2"/>
                      <a:pt x="19" y="1"/>
                    </a:cubicBezTo>
                    <a:cubicBezTo>
                      <a:pt x="18" y="0"/>
                      <a:pt x="17" y="0"/>
                      <a:pt x="16" y="0"/>
                    </a:cubicBezTo>
                    <a:cubicBezTo>
                      <a:pt x="15" y="0"/>
                      <a:pt x="15" y="2"/>
                      <a:pt x="15" y="2"/>
                    </a:cubicBezTo>
                    <a:cubicBezTo>
                      <a:pt x="13" y="2"/>
                      <a:pt x="12" y="0"/>
                      <a:pt x="10" y="2"/>
                    </a:cubicBezTo>
                    <a:cubicBezTo>
                      <a:pt x="10" y="2"/>
                      <a:pt x="8" y="3"/>
                      <a:pt x="9" y="4"/>
                    </a:cubicBezTo>
                    <a:cubicBezTo>
                      <a:pt x="10" y="4"/>
                      <a:pt x="11" y="5"/>
                      <a:pt x="12" y="4"/>
                    </a:cubicBezTo>
                    <a:cubicBezTo>
                      <a:pt x="10" y="5"/>
                      <a:pt x="5" y="6"/>
                      <a:pt x="10" y="8"/>
                    </a:cubicBezTo>
                    <a:cubicBezTo>
                      <a:pt x="7" y="7"/>
                      <a:pt x="6" y="8"/>
                      <a:pt x="5" y="10"/>
                    </a:cubicBezTo>
                    <a:cubicBezTo>
                      <a:pt x="4" y="11"/>
                      <a:pt x="0" y="15"/>
                      <a:pt x="1" y="15"/>
                    </a:cubicBezTo>
                    <a:cubicBezTo>
                      <a:pt x="3" y="16"/>
                      <a:pt x="6" y="16"/>
                      <a:pt x="8" y="15"/>
                    </a:cubicBezTo>
                    <a:cubicBezTo>
                      <a:pt x="11" y="13"/>
                      <a:pt x="14" y="13"/>
                      <a:pt x="17" y="14"/>
                    </a:cubicBezTo>
                    <a:cubicBezTo>
                      <a:pt x="21" y="14"/>
                      <a:pt x="24" y="13"/>
                      <a:pt x="28" y="12"/>
                    </a:cubicBezTo>
                    <a:cubicBezTo>
                      <a:pt x="30" y="11"/>
                      <a:pt x="32" y="8"/>
                      <a:pt x="29" y="7"/>
                    </a:cubicBezTo>
                    <a:cubicBezTo>
                      <a:pt x="27" y="6"/>
                      <a:pt x="24" y="2"/>
                      <a:pt x="22" y="3"/>
                    </a:cubicBezTo>
                    <a:cubicBezTo>
                      <a:pt x="20" y="3"/>
                      <a:pt x="18" y="6"/>
                      <a:pt x="16" y="6"/>
                    </a:cubicBezTo>
                    <a:cubicBezTo>
                      <a:pt x="15" y="6"/>
                      <a:pt x="17" y="6"/>
                      <a:pt x="16"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3" name="Freeform 408">
                <a:extLst>
                  <a:ext uri="{FF2B5EF4-FFF2-40B4-BE49-F238E27FC236}">
                    <a16:creationId xmlns:a16="http://schemas.microsoft.com/office/drawing/2014/main" id="{5AEB5DBB-690D-A945-AA09-669F1109FE40}"/>
                  </a:ext>
                </a:extLst>
              </p:cNvPr>
              <p:cNvSpPr>
                <a:spLocks/>
              </p:cNvSpPr>
              <p:nvPr/>
            </p:nvSpPr>
            <p:spPr bwMode="auto">
              <a:xfrm>
                <a:off x="15999561" y="4111405"/>
                <a:ext cx="280256" cy="149721"/>
              </a:xfrm>
              <a:custGeom>
                <a:avLst/>
                <a:gdLst>
                  <a:gd name="T0" fmla="*/ 26 w 30"/>
                  <a:gd name="T1" fmla="*/ 10 h 16"/>
                  <a:gd name="T2" fmla="*/ 28 w 30"/>
                  <a:gd name="T3" fmla="*/ 7 h 16"/>
                  <a:gd name="T4" fmla="*/ 29 w 30"/>
                  <a:gd name="T5" fmla="*/ 5 h 16"/>
                  <a:gd name="T6" fmla="*/ 26 w 30"/>
                  <a:gd name="T7" fmla="*/ 3 h 16"/>
                  <a:gd name="T8" fmla="*/ 22 w 30"/>
                  <a:gd name="T9" fmla="*/ 3 h 16"/>
                  <a:gd name="T10" fmla="*/ 17 w 30"/>
                  <a:gd name="T11" fmla="*/ 4 h 16"/>
                  <a:gd name="T12" fmla="*/ 18 w 30"/>
                  <a:gd name="T13" fmla="*/ 1 h 16"/>
                  <a:gd name="T14" fmla="*/ 12 w 30"/>
                  <a:gd name="T15" fmla="*/ 1 h 16"/>
                  <a:gd name="T16" fmla="*/ 5 w 30"/>
                  <a:gd name="T17" fmla="*/ 4 h 16"/>
                  <a:gd name="T18" fmla="*/ 7 w 30"/>
                  <a:gd name="T19" fmla="*/ 4 h 16"/>
                  <a:gd name="T20" fmla="*/ 0 w 30"/>
                  <a:gd name="T21" fmla="*/ 8 h 16"/>
                  <a:gd name="T22" fmla="*/ 4 w 30"/>
                  <a:gd name="T23" fmla="*/ 9 h 16"/>
                  <a:gd name="T24" fmla="*/ 7 w 30"/>
                  <a:gd name="T25" fmla="*/ 12 h 16"/>
                  <a:gd name="T26" fmla="*/ 12 w 30"/>
                  <a:gd name="T27" fmla="*/ 13 h 16"/>
                  <a:gd name="T28" fmla="*/ 19 w 30"/>
                  <a:gd name="T29" fmla="*/ 16 h 16"/>
                  <a:gd name="T30" fmla="*/ 28 w 30"/>
                  <a:gd name="T31" fmla="*/ 15 h 16"/>
                  <a:gd name="T32" fmla="*/ 26 w 30"/>
                  <a:gd name="T33" fmla="*/ 10 h 16"/>
                  <a:gd name="T34" fmla="*/ 26 w 30"/>
                  <a:gd name="T35"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16">
                    <a:moveTo>
                      <a:pt x="26" y="10"/>
                    </a:moveTo>
                    <a:cubicBezTo>
                      <a:pt x="29" y="11"/>
                      <a:pt x="27" y="9"/>
                      <a:pt x="28" y="7"/>
                    </a:cubicBezTo>
                    <a:cubicBezTo>
                      <a:pt x="28" y="6"/>
                      <a:pt x="29" y="6"/>
                      <a:pt x="29" y="5"/>
                    </a:cubicBezTo>
                    <a:cubicBezTo>
                      <a:pt x="29" y="4"/>
                      <a:pt x="27" y="3"/>
                      <a:pt x="26" y="3"/>
                    </a:cubicBezTo>
                    <a:cubicBezTo>
                      <a:pt x="25" y="2"/>
                      <a:pt x="23" y="2"/>
                      <a:pt x="22" y="3"/>
                    </a:cubicBezTo>
                    <a:cubicBezTo>
                      <a:pt x="22" y="3"/>
                      <a:pt x="17" y="4"/>
                      <a:pt x="17" y="4"/>
                    </a:cubicBezTo>
                    <a:cubicBezTo>
                      <a:pt x="17" y="4"/>
                      <a:pt x="21" y="2"/>
                      <a:pt x="18" y="1"/>
                    </a:cubicBezTo>
                    <a:cubicBezTo>
                      <a:pt x="16" y="0"/>
                      <a:pt x="14" y="1"/>
                      <a:pt x="12" y="1"/>
                    </a:cubicBezTo>
                    <a:cubicBezTo>
                      <a:pt x="11" y="1"/>
                      <a:pt x="6" y="2"/>
                      <a:pt x="5" y="4"/>
                    </a:cubicBezTo>
                    <a:cubicBezTo>
                      <a:pt x="5" y="4"/>
                      <a:pt x="7" y="4"/>
                      <a:pt x="7" y="4"/>
                    </a:cubicBezTo>
                    <a:cubicBezTo>
                      <a:pt x="7" y="4"/>
                      <a:pt x="0" y="7"/>
                      <a:pt x="0" y="8"/>
                    </a:cubicBezTo>
                    <a:cubicBezTo>
                      <a:pt x="0" y="8"/>
                      <a:pt x="4" y="9"/>
                      <a:pt x="4" y="9"/>
                    </a:cubicBezTo>
                    <a:cubicBezTo>
                      <a:pt x="5" y="9"/>
                      <a:pt x="6" y="11"/>
                      <a:pt x="7" y="12"/>
                    </a:cubicBezTo>
                    <a:cubicBezTo>
                      <a:pt x="9" y="13"/>
                      <a:pt x="10" y="13"/>
                      <a:pt x="12" y="13"/>
                    </a:cubicBezTo>
                    <a:cubicBezTo>
                      <a:pt x="14" y="14"/>
                      <a:pt x="17" y="16"/>
                      <a:pt x="19" y="16"/>
                    </a:cubicBezTo>
                    <a:cubicBezTo>
                      <a:pt x="22" y="16"/>
                      <a:pt x="25" y="16"/>
                      <a:pt x="28" y="15"/>
                    </a:cubicBezTo>
                    <a:cubicBezTo>
                      <a:pt x="30" y="15"/>
                      <a:pt x="26" y="10"/>
                      <a:pt x="26" y="10"/>
                    </a:cubicBezTo>
                    <a:cubicBezTo>
                      <a:pt x="27" y="10"/>
                      <a:pt x="25" y="10"/>
                      <a:pt x="26"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4" name="Freeform 409">
                <a:extLst>
                  <a:ext uri="{FF2B5EF4-FFF2-40B4-BE49-F238E27FC236}">
                    <a16:creationId xmlns:a16="http://schemas.microsoft.com/office/drawing/2014/main" id="{03F16651-985C-894D-91BF-A12F30B992B8}"/>
                  </a:ext>
                </a:extLst>
              </p:cNvPr>
              <p:cNvSpPr>
                <a:spLocks/>
              </p:cNvSpPr>
              <p:nvPr/>
            </p:nvSpPr>
            <p:spPr bwMode="auto">
              <a:xfrm>
                <a:off x="15916758" y="4120960"/>
                <a:ext cx="140127" cy="47785"/>
              </a:xfrm>
              <a:custGeom>
                <a:avLst/>
                <a:gdLst>
                  <a:gd name="T0" fmla="*/ 9 w 15"/>
                  <a:gd name="T1" fmla="*/ 1 h 5"/>
                  <a:gd name="T2" fmla="*/ 4 w 15"/>
                  <a:gd name="T3" fmla="*/ 1 h 5"/>
                  <a:gd name="T4" fmla="*/ 0 w 15"/>
                  <a:gd name="T5" fmla="*/ 1 h 5"/>
                  <a:gd name="T6" fmla="*/ 1 w 15"/>
                  <a:gd name="T7" fmla="*/ 3 h 5"/>
                  <a:gd name="T8" fmla="*/ 6 w 15"/>
                  <a:gd name="T9" fmla="*/ 5 h 5"/>
                  <a:gd name="T10" fmla="*/ 9 w 15"/>
                  <a:gd name="T11" fmla="*/ 1 h 5"/>
                  <a:gd name="T12" fmla="*/ 9 w 15"/>
                  <a:gd name="T13" fmla="*/ 1 h 5"/>
                </a:gdLst>
                <a:ahLst/>
                <a:cxnLst>
                  <a:cxn ang="0">
                    <a:pos x="T0" y="T1"/>
                  </a:cxn>
                  <a:cxn ang="0">
                    <a:pos x="T2" y="T3"/>
                  </a:cxn>
                  <a:cxn ang="0">
                    <a:pos x="T4" y="T5"/>
                  </a:cxn>
                  <a:cxn ang="0">
                    <a:pos x="T6" y="T7"/>
                  </a:cxn>
                  <a:cxn ang="0">
                    <a:pos x="T8" y="T9"/>
                  </a:cxn>
                  <a:cxn ang="0">
                    <a:pos x="T10" y="T11"/>
                  </a:cxn>
                  <a:cxn ang="0">
                    <a:pos x="T12" y="T13"/>
                  </a:cxn>
                </a:cxnLst>
                <a:rect l="0" t="0" r="r" b="b"/>
                <a:pathLst>
                  <a:path w="15" h="5">
                    <a:moveTo>
                      <a:pt x="9" y="1"/>
                    </a:moveTo>
                    <a:cubicBezTo>
                      <a:pt x="8" y="1"/>
                      <a:pt x="6" y="1"/>
                      <a:pt x="4" y="1"/>
                    </a:cubicBezTo>
                    <a:cubicBezTo>
                      <a:pt x="3" y="1"/>
                      <a:pt x="1" y="0"/>
                      <a:pt x="0" y="1"/>
                    </a:cubicBezTo>
                    <a:cubicBezTo>
                      <a:pt x="0" y="1"/>
                      <a:pt x="0" y="3"/>
                      <a:pt x="1" y="3"/>
                    </a:cubicBezTo>
                    <a:cubicBezTo>
                      <a:pt x="3" y="4"/>
                      <a:pt x="4" y="5"/>
                      <a:pt x="6" y="5"/>
                    </a:cubicBezTo>
                    <a:cubicBezTo>
                      <a:pt x="8" y="5"/>
                      <a:pt x="15" y="2"/>
                      <a:pt x="9" y="1"/>
                    </a:cubicBezTo>
                    <a:cubicBezTo>
                      <a:pt x="8" y="1"/>
                      <a:pt x="10" y="2"/>
                      <a:pt x="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5" name="Freeform 410">
                <a:extLst>
                  <a:ext uri="{FF2B5EF4-FFF2-40B4-BE49-F238E27FC236}">
                    <a16:creationId xmlns:a16="http://schemas.microsoft.com/office/drawing/2014/main" id="{F7715155-7372-E447-8D08-BC1602345254}"/>
                  </a:ext>
                </a:extLst>
              </p:cNvPr>
              <p:cNvSpPr>
                <a:spLocks/>
              </p:cNvSpPr>
              <p:nvPr/>
            </p:nvSpPr>
            <p:spPr bwMode="auto">
              <a:xfrm>
                <a:off x="15942235" y="3990355"/>
                <a:ext cx="235667" cy="149721"/>
              </a:xfrm>
              <a:custGeom>
                <a:avLst/>
                <a:gdLst>
                  <a:gd name="T0" fmla="*/ 7 w 25"/>
                  <a:gd name="T1" fmla="*/ 15 h 16"/>
                  <a:gd name="T2" fmla="*/ 3 w 25"/>
                  <a:gd name="T3" fmla="*/ 13 h 16"/>
                  <a:gd name="T4" fmla="*/ 4 w 25"/>
                  <a:gd name="T5" fmla="*/ 12 h 16"/>
                  <a:gd name="T6" fmla="*/ 0 w 25"/>
                  <a:gd name="T7" fmla="*/ 12 h 16"/>
                  <a:gd name="T8" fmla="*/ 3 w 25"/>
                  <a:gd name="T9" fmla="*/ 11 h 16"/>
                  <a:gd name="T10" fmla="*/ 2 w 25"/>
                  <a:gd name="T11" fmla="*/ 10 h 16"/>
                  <a:gd name="T12" fmla="*/ 6 w 25"/>
                  <a:gd name="T13" fmla="*/ 6 h 16"/>
                  <a:gd name="T14" fmla="*/ 5 w 25"/>
                  <a:gd name="T15" fmla="*/ 6 h 16"/>
                  <a:gd name="T16" fmla="*/ 11 w 25"/>
                  <a:gd name="T17" fmla="*/ 3 h 16"/>
                  <a:gd name="T18" fmla="*/ 18 w 25"/>
                  <a:gd name="T19" fmla="*/ 0 h 16"/>
                  <a:gd name="T20" fmla="*/ 20 w 25"/>
                  <a:gd name="T21" fmla="*/ 4 h 16"/>
                  <a:gd name="T22" fmla="*/ 25 w 25"/>
                  <a:gd name="T23" fmla="*/ 7 h 16"/>
                  <a:gd name="T24" fmla="*/ 21 w 25"/>
                  <a:gd name="T25" fmla="*/ 9 h 16"/>
                  <a:gd name="T26" fmla="*/ 23 w 25"/>
                  <a:gd name="T27" fmla="*/ 12 h 16"/>
                  <a:gd name="T28" fmla="*/ 19 w 25"/>
                  <a:gd name="T29" fmla="*/ 13 h 16"/>
                  <a:gd name="T30" fmla="*/ 7 w 25"/>
                  <a:gd name="T31" fmla="*/ 15 h 16"/>
                  <a:gd name="T32" fmla="*/ 7 w 25"/>
                  <a:gd name="T33"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16">
                    <a:moveTo>
                      <a:pt x="7" y="15"/>
                    </a:moveTo>
                    <a:cubicBezTo>
                      <a:pt x="6" y="14"/>
                      <a:pt x="4" y="14"/>
                      <a:pt x="3" y="13"/>
                    </a:cubicBezTo>
                    <a:cubicBezTo>
                      <a:pt x="2" y="12"/>
                      <a:pt x="4" y="12"/>
                      <a:pt x="4" y="12"/>
                    </a:cubicBezTo>
                    <a:cubicBezTo>
                      <a:pt x="4" y="12"/>
                      <a:pt x="0" y="13"/>
                      <a:pt x="0" y="12"/>
                    </a:cubicBezTo>
                    <a:cubicBezTo>
                      <a:pt x="0" y="10"/>
                      <a:pt x="3" y="11"/>
                      <a:pt x="3" y="11"/>
                    </a:cubicBezTo>
                    <a:cubicBezTo>
                      <a:pt x="3" y="10"/>
                      <a:pt x="2" y="10"/>
                      <a:pt x="2" y="10"/>
                    </a:cubicBezTo>
                    <a:cubicBezTo>
                      <a:pt x="2" y="10"/>
                      <a:pt x="7" y="7"/>
                      <a:pt x="6" y="6"/>
                    </a:cubicBezTo>
                    <a:cubicBezTo>
                      <a:pt x="6" y="6"/>
                      <a:pt x="5" y="6"/>
                      <a:pt x="5" y="6"/>
                    </a:cubicBezTo>
                    <a:cubicBezTo>
                      <a:pt x="6" y="4"/>
                      <a:pt x="9" y="4"/>
                      <a:pt x="11" y="3"/>
                    </a:cubicBezTo>
                    <a:cubicBezTo>
                      <a:pt x="13" y="2"/>
                      <a:pt x="16" y="1"/>
                      <a:pt x="18" y="0"/>
                    </a:cubicBezTo>
                    <a:cubicBezTo>
                      <a:pt x="18" y="0"/>
                      <a:pt x="19" y="3"/>
                      <a:pt x="20" y="4"/>
                    </a:cubicBezTo>
                    <a:cubicBezTo>
                      <a:pt x="20" y="4"/>
                      <a:pt x="25" y="6"/>
                      <a:pt x="25" y="7"/>
                    </a:cubicBezTo>
                    <a:cubicBezTo>
                      <a:pt x="25" y="8"/>
                      <a:pt x="20" y="7"/>
                      <a:pt x="21" y="9"/>
                    </a:cubicBezTo>
                    <a:cubicBezTo>
                      <a:pt x="21" y="9"/>
                      <a:pt x="23" y="10"/>
                      <a:pt x="23" y="12"/>
                    </a:cubicBezTo>
                    <a:cubicBezTo>
                      <a:pt x="22" y="12"/>
                      <a:pt x="20" y="12"/>
                      <a:pt x="19" y="13"/>
                    </a:cubicBezTo>
                    <a:cubicBezTo>
                      <a:pt x="16" y="14"/>
                      <a:pt x="10" y="16"/>
                      <a:pt x="7" y="15"/>
                    </a:cubicBezTo>
                    <a:cubicBezTo>
                      <a:pt x="6" y="14"/>
                      <a:pt x="9" y="16"/>
                      <a:pt x="7"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6" name="Freeform 411">
                <a:extLst>
                  <a:ext uri="{FF2B5EF4-FFF2-40B4-BE49-F238E27FC236}">
                    <a16:creationId xmlns:a16="http://schemas.microsoft.com/office/drawing/2014/main" id="{3E45C619-102C-3147-AD8E-10B47ED6A69D}"/>
                  </a:ext>
                </a:extLst>
              </p:cNvPr>
              <p:cNvSpPr>
                <a:spLocks/>
              </p:cNvSpPr>
              <p:nvPr/>
            </p:nvSpPr>
            <p:spPr bwMode="auto">
              <a:xfrm>
                <a:off x="18426316" y="4579679"/>
                <a:ext cx="235667" cy="76452"/>
              </a:xfrm>
              <a:custGeom>
                <a:avLst/>
                <a:gdLst>
                  <a:gd name="T0" fmla="*/ 5 w 25"/>
                  <a:gd name="T1" fmla="*/ 3 h 8"/>
                  <a:gd name="T2" fmla="*/ 3 w 25"/>
                  <a:gd name="T3" fmla="*/ 1 h 8"/>
                  <a:gd name="T4" fmla="*/ 1 w 25"/>
                  <a:gd name="T5" fmla="*/ 2 h 8"/>
                  <a:gd name="T6" fmla="*/ 2 w 25"/>
                  <a:gd name="T7" fmla="*/ 4 h 8"/>
                  <a:gd name="T8" fmla="*/ 5 w 25"/>
                  <a:gd name="T9" fmla="*/ 6 h 8"/>
                  <a:gd name="T10" fmla="*/ 16 w 25"/>
                  <a:gd name="T11" fmla="*/ 8 h 8"/>
                  <a:gd name="T12" fmla="*/ 24 w 25"/>
                  <a:gd name="T13" fmla="*/ 5 h 8"/>
                  <a:gd name="T14" fmla="*/ 23 w 25"/>
                  <a:gd name="T15" fmla="*/ 6 h 8"/>
                  <a:gd name="T16" fmla="*/ 20 w 25"/>
                  <a:gd name="T17" fmla="*/ 4 h 8"/>
                  <a:gd name="T18" fmla="*/ 15 w 25"/>
                  <a:gd name="T19" fmla="*/ 4 h 8"/>
                  <a:gd name="T20" fmla="*/ 10 w 25"/>
                  <a:gd name="T21" fmla="*/ 2 h 8"/>
                  <a:gd name="T22" fmla="*/ 5 w 25"/>
                  <a:gd name="T2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8">
                    <a:moveTo>
                      <a:pt x="5" y="3"/>
                    </a:moveTo>
                    <a:cubicBezTo>
                      <a:pt x="4" y="3"/>
                      <a:pt x="4" y="1"/>
                      <a:pt x="3" y="1"/>
                    </a:cubicBezTo>
                    <a:cubicBezTo>
                      <a:pt x="3" y="0"/>
                      <a:pt x="1" y="2"/>
                      <a:pt x="1" y="2"/>
                    </a:cubicBezTo>
                    <a:cubicBezTo>
                      <a:pt x="0" y="4"/>
                      <a:pt x="1" y="4"/>
                      <a:pt x="2" y="4"/>
                    </a:cubicBezTo>
                    <a:cubicBezTo>
                      <a:pt x="3" y="4"/>
                      <a:pt x="4" y="6"/>
                      <a:pt x="5" y="6"/>
                    </a:cubicBezTo>
                    <a:cubicBezTo>
                      <a:pt x="9" y="7"/>
                      <a:pt x="12" y="8"/>
                      <a:pt x="16" y="8"/>
                    </a:cubicBezTo>
                    <a:cubicBezTo>
                      <a:pt x="17" y="8"/>
                      <a:pt x="25" y="7"/>
                      <a:pt x="24" y="5"/>
                    </a:cubicBezTo>
                    <a:cubicBezTo>
                      <a:pt x="23" y="5"/>
                      <a:pt x="23" y="6"/>
                      <a:pt x="23" y="6"/>
                    </a:cubicBezTo>
                    <a:cubicBezTo>
                      <a:pt x="22" y="6"/>
                      <a:pt x="21" y="5"/>
                      <a:pt x="20" y="4"/>
                    </a:cubicBezTo>
                    <a:cubicBezTo>
                      <a:pt x="19" y="4"/>
                      <a:pt x="17" y="3"/>
                      <a:pt x="15" y="4"/>
                    </a:cubicBezTo>
                    <a:cubicBezTo>
                      <a:pt x="14" y="4"/>
                      <a:pt x="12" y="2"/>
                      <a:pt x="10" y="2"/>
                    </a:cubicBezTo>
                    <a:cubicBezTo>
                      <a:pt x="8" y="2"/>
                      <a:pt x="7" y="3"/>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7" name="Freeform 412">
                <a:extLst>
                  <a:ext uri="{FF2B5EF4-FFF2-40B4-BE49-F238E27FC236}">
                    <a16:creationId xmlns:a16="http://schemas.microsoft.com/office/drawing/2014/main" id="{4F13D974-4A54-5143-A74B-F9F9B355DFB0}"/>
                  </a:ext>
                </a:extLst>
              </p:cNvPr>
              <p:cNvSpPr>
                <a:spLocks/>
              </p:cNvSpPr>
              <p:nvPr/>
            </p:nvSpPr>
            <p:spPr bwMode="auto">
              <a:xfrm>
                <a:off x="18126952" y="4729398"/>
                <a:ext cx="197453" cy="76452"/>
              </a:xfrm>
              <a:custGeom>
                <a:avLst/>
                <a:gdLst>
                  <a:gd name="T0" fmla="*/ 2 w 21"/>
                  <a:gd name="T1" fmla="*/ 6 h 8"/>
                  <a:gd name="T2" fmla="*/ 8 w 21"/>
                  <a:gd name="T3" fmla="*/ 6 h 8"/>
                  <a:gd name="T4" fmla="*/ 14 w 21"/>
                  <a:gd name="T5" fmla="*/ 8 h 8"/>
                  <a:gd name="T6" fmla="*/ 19 w 21"/>
                  <a:gd name="T7" fmla="*/ 7 h 8"/>
                  <a:gd name="T8" fmla="*/ 17 w 21"/>
                  <a:gd name="T9" fmla="*/ 4 h 8"/>
                  <a:gd name="T10" fmla="*/ 7 w 21"/>
                  <a:gd name="T11" fmla="*/ 2 h 8"/>
                  <a:gd name="T12" fmla="*/ 4 w 21"/>
                  <a:gd name="T13" fmla="*/ 5 h 8"/>
                  <a:gd name="T14" fmla="*/ 2 w 21"/>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8">
                    <a:moveTo>
                      <a:pt x="2" y="6"/>
                    </a:moveTo>
                    <a:cubicBezTo>
                      <a:pt x="5" y="6"/>
                      <a:pt x="6" y="6"/>
                      <a:pt x="8" y="6"/>
                    </a:cubicBezTo>
                    <a:cubicBezTo>
                      <a:pt x="10" y="7"/>
                      <a:pt x="12" y="7"/>
                      <a:pt x="14" y="8"/>
                    </a:cubicBezTo>
                    <a:cubicBezTo>
                      <a:pt x="16" y="8"/>
                      <a:pt x="18" y="8"/>
                      <a:pt x="19" y="7"/>
                    </a:cubicBezTo>
                    <a:cubicBezTo>
                      <a:pt x="21" y="6"/>
                      <a:pt x="18" y="5"/>
                      <a:pt x="17" y="4"/>
                    </a:cubicBezTo>
                    <a:cubicBezTo>
                      <a:pt x="14" y="2"/>
                      <a:pt x="11" y="0"/>
                      <a:pt x="7" y="2"/>
                    </a:cubicBezTo>
                    <a:cubicBezTo>
                      <a:pt x="5" y="3"/>
                      <a:pt x="5" y="4"/>
                      <a:pt x="4" y="5"/>
                    </a:cubicBezTo>
                    <a:cubicBezTo>
                      <a:pt x="3" y="5"/>
                      <a:pt x="0" y="6"/>
                      <a:pt x="2"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8" name="Freeform 413">
                <a:extLst>
                  <a:ext uri="{FF2B5EF4-FFF2-40B4-BE49-F238E27FC236}">
                    <a16:creationId xmlns:a16="http://schemas.microsoft.com/office/drawing/2014/main" id="{608D3050-49A5-1844-87A5-E89F1C719758}"/>
                  </a:ext>
                </a:extLst>
              </p:cNvPr>
              <p:cNvSpPr>
                <a:spLocks/>
              </p:cNvSpPr>
              <p:nvPr/>
            </p:nvSpPr>
            <p:spPr bwMode="auto">
              <a:xfrm>
                <a:off x="18136507" y="4694361"/>
                <a:ext cx="76432" cy="44598"/>
              </a:xfrm>
              <a:custGeom>
                <a:avLst/>
                <a:gdLst>
                  <a:gd name="T0" fmla="*/ 3 w 8"/>
                  <a:gd name="T1" fmla="*/ 5 h 5"/>
                  <a:gd name="T2" fmla="*/ 4 w 8"/>
                  <a:gd name="T3" fmla="*/ 1 h 5"/>
                  <a:gd name="T4" fmla="*/ 3 w 8"/>
                  <a:gd name="T5" fmla="*/ 5 h 5"/>
                  <a:gd name="T6" fmla="*/ 3 w 8"/>
                  <a:gd name="T7" fmla="*/ 5 h 5"/>
                </a:gdLst>
                <a:ahLst/>
                <a:cxnLst>
                  <a:cxn ang="0">
                    <a:pos x="T0" y="T1"/>
                  </a:cxn>
                  <a:cxn ang="0">
                    <a:pos x="T2" y="T3"/>
                  </a:cxn>
                  <a:cxn ang="0">
                    <a:pos x="T4" y="T5"/>
                  </a:cxn>
                  <a:cxn ang="0">
                    <a:pos x="T6" y="T7"/>
                  </a:cxn>
                </a:cxnLst>
                <a:rect l="0" t="0" r="r" b="b"/>
                <a:pathLst>
                  <a:path w="8" h="5">
                    <a:moveTo>
                      <a:pt x="3" y="5"/>
                    </a:moveTo>
                    <a:cubicBezTo>
                      <a:pt x="0" y="5"/>
                      <a:pt x="1" y="0"/>
                      <a:pt x="4" y="1"/>
                    </a:cubicBezTo>
                    <a:cubicBezTo>
                      <a:pt x="8" y="2"/>
                      <a:pt x="6" y="4"/>
                      <a:pt x="3" y="5"/>
                    </a:cubicBezTo>
                    <a:cubicBezTo>
                      <a:pt x="1" y="5"/>
                      <a:pt x="5" y="5"/>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39" name="Freeform 414">
                <a:extLst>
                  <a:ext uri="{FF2B5EF4-FFF2-40B4-BE49-F238E27FC236}">
                    <a16:creationId xmlns:a16="http://schemas.microsoft.com/office/drawing/2014/main" id="{A13887C7-5EB9-7948-B381-7698C620E6DC}"/>
                  </a:ext>
                </a:extLst>
              </p:cNvPr>
              <p:cNvSpPr>
                <a:spLocks/>
              </p:cNvSpPr>
              <p:nvPr/>
            </p:nvSpPr>
            <p:spPr bwMode="auto">
              <a:xfrm>
                <a:off x="17932683" y="4560566"/>
                <a:ext cx="28662" cy="47785"/>
              </a:xfrm>
              <a:custGeom>
                <a:avLst/>
                <a:gdLst>
                  <a:gd name="T0" fmla="*/ 1 w 3"/>
                  <a:gd name="T1" fmla="*/ 3 h 5"/>
                  <a:gd name="T2" fmla="*/ 3 w 3"/>
                  <a:gd name="T3" fmla="*/ 1 h 5"/>
                  <a:gd name="T4" fmla="*/ 1 w 3"/>
                  <a:gd name="T5" fmla="*/ 5 h 5"/>
                  <a:gd name="T6" fmla="*/ 1 w 3"/>
                  <a:gd name="T7" fmla="*/ 3 h 5"/>
                  <a:gd name="T8" fmla="*/ 1 w 3"/>
                  <a:gd name="T9" fmla="*/ 3 h 5"/>
                </a:gdLst>
                <a:ahLst/>
                <a:cxnLst>
                  <a:cxn ang="0">
                    <a:pos x="T0" y="T1"/>
                  </a:cxn>
                  <a:cxn ang="0">
                    <a:pos x="T2" y="T3"/>
                  </a:cxn>
                  <a:cxn ang="0">
                    <a:pos x="T4" y="T5"/>
                  </a:cxn>
                  <a:cxn ang="0">
                    <a:pos x="T6" y="T7"/>
                  </a:cxn>
                  <a:cxn ang="0">
                    <a:pos x="T8" y="T9"/>
                  </a:cxn>
                </a:cxnLst>
                <a:rect l="0" t="0" r="r" b="b"/>
                <a:pathLst>
                  <a:path w="3" h="5">
                    <a:moveTo>
                      <a:pt x="1" y="3"/>
                    </a:moveTo>
                    <a:cubicBezTo>
                      <a:pt x="0" y="2"/>
                      <a:pt x="2" y="0"/>
                      <a:pt x="3" y="1"/>
                    </a:cubicBezTo>
                    <a:cubicBezTo>
                      <a:pt x="3" y="2"/>
                      <a:pt x="2" y="5"/>
                      <a:pt x="1" y="5"/>
                    </a:cubicBezTo>
                    <a:cubicBezTo>
                      <a:pt x="1" y="5"/>
                      <a:pt x="1" y="3"/>
                      <a:pt x="1" y="3"/>
                    </a:cubicBezTo>
                    <a:cubicBezTo>
                      <a:pt x="0" y="2"/>
                      <a:pt x="1"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0" name="Freeform 415">
                <a:extLst>
                  <a:ext uri="{FF2B5EF4-FFF2-40B4-BE49-F238E27FC236}">
                    <a16:creationId xmlns:a16="http://schemas.microsoft.com/office/drawing/2014/main" id="{C5FABA75-FBB2-F94E-A8D6-8B695C84D56E}"/>
                  </a:ext>
                </a:extLst>
              </p:cNvPr>
              <p:cNvSpPr>
                <a:spLocks/>
              </p:cNvSpPr>
              <p:nvPr/>
            </p:nvSpPr>
            <p:spPr bwMode="auto">
              <a:xfrm>
                <a:off x="17932683" y="4700729"/>
                <a:ext cx="38217" cy="47785"/>
              </a:xfrm>
              <a:custGeom>
                <a:avLst/>
                <a:gdLst>
                  <a:gd name="T0" fmla="*/ 4 w 4"/>
                  <a:gd name="T1" fmla="*/ 4 h 5"/>
                  <a:gd name="T2" fmla="*/ 0 w 4"/>
                  <a:gd name="T3" fmla="*/ 1 h 5"/>
                  <a:gd name="T4" fmla="*/ 4 w 4"/>
                  <a:gd name="T5" fmla="*/ 4 h 5"/>
                </a:gdLst>
                <a:ahLst/>
                <a:cxnLst>
                  <a:cxn ang="0">
                    <a:pos x="T0" y="T1"/>
                  </a:cxn>
                  <a:cxn ang="0">
                    <a:pos x="T2" y="T3"/>
                  </a:cxn>
                  <a:cxn ang="0">
                    <a:pos x="T4" y="T5"/>
                  </a:cxn>
                </a:cxnLst>
                <a:rect l="0" t="0" r="r" b="b"/>
                <a:pathLst>
                  <a:path w="4" h="5">
                    <a:moveTo>
                      <a:pt x="4" y="4"/>
                    </a:moveTo>
                    <a:cubicBezTo>
                      <a:pt x="4" y="3"/>
                      <a:pt x="1" y="0"/>
                      <a:pt x="0" y="1"/>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1" name="Freeform 416">
                <a:extLst>
                  <a:ext uri="{FF2B5EF4-FFF2-40B4-BE49-F238E27FC236}">
                    <a16:creationId xmlns:a16="http://schemas.microsoft.com/office/drawing/2014/main" id="{B583A149-09FF-3042-9A2B-846180521371}"/>
                  </a:ext>
                </a:extLst>
              </p:cNvPr>
              <p:cNvSpPr>
                <a:spLocks/>
              </p:cNvSpPr>
              <p:nvPr/>
            </p:nvSpPr>
            <p:spPr bwMode="auto">
              <a:xfrm>
                <a:off x="17996378" y="4525526"/>
                <a:ext cx="394905" cy="149721"/>
              </a:xfrm>
              <a:custGeom>
                <a:avLst/>
                <a:gdLst>
                  <a:gd name="T0" fmla="*/ 34 w 42"/>
                  <a:gd name="T1" fmla="*/ 4 h 16"/>
                  <a:gd name="T2" fmla="*/ 29 w 42"/>
                  <a:gd name="T3" fmla="*/ 3 h 16"/>
                  <a:gd name="T4" fmla="*/ 23 w 42"/>
                  <a:gd name="T5" fmla="*/ 0 h 16"/>
                  <a:gd name="T6" fmla="*/ 22 w 42"/>
                  <a:gd name="T7" fmla="*/ 2 h 16"/>
                  <a:gd name="T8" fmla="*/ 20 w 42"/>
                  <a:gd name="T9" fmla="*/ 6 h 16"/>
                  <a:gd name="T10" fmla="*/ 11 w 42"/>
                  <a:gd name="T11" fmla="*/ 1 h 16"/>
                  <a:gd name="T12" fmla="*/ 4 w 42"/>
                  <a:gd name="T13" fmla="*/ 3 h 16"/>
                  <a:gd name="T14" fmla="*/ 2 w 42"/>
                  <a:gd name="T15" fmla="*/ 6 h 16"/>
                  <a:gd name="T16" fmla="*/ 1 w 42"/>
                  <a:gd name="T17" fmla="*/ 10 h 16"/>
                  <a:gd name="T18" fmla="*/ 9 w 42"/>
                  <a:gd name="T19" fmla="*/ 14 h 16"/>
                  <a:gd name="T20" fmla="*/ 13 w 42"/>
                  <a:gd name="T21" fmla="*/ 15 h 16"/>
                  <a:gd name="T22" fmla="*/ 15 w 42"/>
                  <a:gd name="T23" fmla="*/ 13 h 16"/>
                  <a:gd name="T24" fmla="*/ 16 w 42"/>
                  <a:gd name="T25" fmla="*/ 14 h 16"/>
                  <a:gd name="T26" fmla="*/ 18 w 42"/>
                  <a:gd name="T27" fmla="*/ 14 h 16"/>
                  <a:gd name="T28" fmla="*/ 25 w 42"/>
                  <a:gd name="T29" fmla="*/ 12 h 16"/>
                  <a:gd name="T30" fmla="*/ 28 w 42"/>
                  <a:gd name="T31" fmla="*/ 14 h 16"/>
                  <a:gd name="T32" fmla="*/ 34 w 42"/>
                  <a:gd name="T33" fmla="*/ 13 h 16"/>
                  <a:gd name="T34" fmla="*/ 33 w 42"/>
                  <a:gd name="T35" fmla="*/ 12 h 16"/>
                  <a:gd name="T36" fmla="*/ 37 w 42"/>
                  <a:gd name="T37" fmla="*/ 12 h 16"/>
                  <a:gd name="T38" fmla="*/ 39 w 42"/>
                  <a:gd name="T39" fmla="*/ 11 h 16"/>
                  <a:gd name="T40" fmla="*/ 40 w 42"/>
                  <a:gd name="T41" fmla="*/ 9 h 16"/>
                  <a:gd name="T42" fmla="*/ 39 w 42"/>
                  <a:gd name="T43" fmla="*/ 9 h 16"/>
                  <a:gd name="T44" fmla="*/ 42 w 42"/>
                  <a:gd name="T45" fmla="*/ 6 h 16"/>
                  <a:gd name="T46" fmla="*/ 34 w 42"/>
                  <a:gd name="T47" fmla="*/ 4 h 16"/>
                  <a:gd name="T48" fmla="*/ 34 w 42"/>
                  <a:gd name="T4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 h="16">
                    <a:moveTo>
                      <a:pt x="34" y="4"/>
                    </a:moveTo>
                    <a:cubicBezTo>
                      <a:pt x="32" y="3"/>
                      <a:pt x="31" y="4"/>
                      <a:pt x="29" y="3"/>
                    </a:cubicBezTo>
                    <a:cubicBezTo>
                      <a:pt x="29" y="3"/>
                      <a:pt x="24" y="0"/>
                      <a:pt x="23" y="0"/>
                    </a:cubicBezTo>
                    <a:cubicBezTo>
                      <a:pt x="23" y="0"/>
                      <a:pt x="24" y="1"/>
                      <a:pt x="22" y="2"/>
                    </a:cubicBezTo>
                    <a:cubicBezTo>
                      <a:pt x="20" y="2"/>
                      <a:pt x="22" y="5"/>
                      <a:pt x="20" y="6"/>
                    </a:cubicBezTo>
                    <a:cubicBezTo>
                      <a:pt x="19" y="6"/>
                      <a:pt x="12" y="1"/>
                      <a:pt x="11" y="1"/>
                    </a:cubicBezTo>
                    <a:cubicBezTo>
                      <a:pt x="9" y="0"/>
                      <a:pt x="4" y="1"/>
                      <a:pt x="4" y="3"/>
                    </a:cubicBezTo>
                    <a:cubicBezTo>
                      <a:pt x="4" y="5"/>
                      <a:pt x="0" y="4"/>
                      <a:pt x="2" y="6"/>
                    </a:cubicBezTo>
                    <a:cubicBezTo>
                      <a:pt x="3" y="7"/>
                      <a:pt x="0" y="9"/>
                      <a:pt x="1" y="10"/>
                    </a:cubicBezTo>
                    <a:cubicBezTo>
                      <a:pt x="3" y="12"/>
                      <a:pt x="6" y="13"/>
                      <a:pt x="9" y="14"/>
                    </a:cubicBezTo>
                    <a:cubicBezTo>
                      <a:pt x="10" y="15"/>
                      <a:pt x="12" y="16"/>
                      <a:pt x="13" y="15"/>
                    </a:cubicBezTo>
                    <a:cubicBezTo>
                      <a:pt x="14" y="15"/>
                      <a:pt x="14" y="12"/>
                      <a:pt x="15" y="13"/>
                    </a:cubicBezTo>
                    <a:cubicBezTo>
                      <a:pt x="15" y="13"/>
                      <a:pt x="15" y="14"/>
                      <a:pt x="16" y="14"/>
                    </a:cubicBezTo>
                    <a:cubicBezTo>
                      <a:pt x="17" y="14"/>
                      <a:pt x="18" y="14"/>
                      <a:pt x="18" y="14"/>
                    </a:cubicBezTo>
                    <a:cubicBezTo>
                      <a:pt x="20" y="13"/>
                      <a:pt x="22" y="13"/>
                      <a:pt x="25" y="12"/>
                    </a:cubicBezTo>
                    <a:cubicBezTo>
                      <a:pt x="27" y="12"/>
                      <a:pt x="27" y="14"/>
                      <a:pt x="28" y="14"/>
                    </a:cubicBezTo>
                    <a:cubicBezTo>
                      <a:pt x="29" y="14"/>
                      <a:pt x="34" y="13"/>
                      <a:pt x="34" y="13"/>
                    </a:cubicBezTo>
                    <a:cubicBezTo>
                      <a:pt x="34" y="13"/>
                      <a:pt x="33" y="12"/>
                      <a:pt x="33" y="12"/>
                    </a:cubicBezTo>
                    <a:cubicBezTo>
                      <a:pt x="33" y="11"/>
                      <a:pt x="36" y="12"/>
                      <a:pt x="37" y="12"/>
                    </a:cubicBezTo>
                    <a:cubicBezTo>
                      <a:pt x="37" y="12"/>
                      <a:pt x="39" y="12"/>
                      <a:pt x="39" y="11"/>
                    </a:cubicBezTo>
                    <a:cubicBezTo>
                      <a:pt x="39" y="10"/>
                      <a:pt x="40" y="9"/>
                      <a:pt x="40" y="9"/>
                    </a:cubicBezTo>
                    <a:cubicBezTo>
                      <a:pt x="40" y="9"/>
                      <a:pt x="40" y="9"/>
                      <a:pt x="39" y="9"/>
                    </a:cubicBezTo>
                    <a:cubicBezTo>
                      <a:pt x="39" y="8"/>
                      <a:pt x="42" y="7"/>
                      <a:pt x="42" y="6"/>
                    </a:cubicBezTo>
                    <a:cubicBezTo>
                      <a:pt x="41" y="5"/>
                      <a:pt x="36" y="4"/>
                      <a:pt x="34" y="4"/>
                    </a:cubicBezTo>
                    <a:cubicBezTo>
                      <a:pt x="32" y="3"/>
                      <a:pt x="36" y="4"/>
                      <a:pt x="3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2" name="Freeform 417">
                <a:extLst>
                  <a:ext uri="{FF2B5EF4-FFF2-40B4-BE49-F238E27FC236}">
                    <a16:creationId xmlns:a16="http://schemas.microsoft.com/office/drawing/2014/main" id="{0D4138FC-2434-4C46-B5DF-7B2110D96815}"/>
                  </a:ext>
                </a:extLst>
              </p:cNvPr>
              <p:cNvSpPr>
                <a:spLocks/>
              </p:cNvSpPr>
              <p:nvPr/>
            </p:nvSpPr>
            <p:spPr bwMode="auto">
              <a:xfrm>
                <a:off x="18222495" y="4570124"/>
                <a:ext cx="73248" cy="76452"/>
              </a:xfrm>
              <a:custGeom>
                <a:avLst/>
                <a:gdLst>
                  <a:gd name="T0" fmla="*/ 7 w 8"/>
                  <a:gd name="T1" fmla="*/ 6 h 8"/>
                  <a:gd name="T2" fmla="*/ 4 w 8"/>
                  <a:gd name="T3" fmla="*/ 0 h 8"/>
                  <a:gd name="T4" fmla="*/ 6 w 8"/>
                  <a:gd name="T5" fmla="*/ 2 h 8"/>
                  <a:gd name="T6" fmla="*/ 7 w 8"/>
                  <a:gd name="T7" fmla="*/ 6 h 8"/>
                  <a:gd name="T8" fmla="*/ 7 w 8"/>
                  <a:gd name="T9" fmla="*/ 6 h 8"/>
                </a:gdLst>
                <a:ahLst/>
                <a:cxnLst>
                  <a:cxn ang="0">
                    <a:pos x="T0" y="T1"/>
                  </a:cxn>
                  <a:cxn ang="0">
                    <a:pos x="T2" y="T3"/>
                  </a:cxn>
                  <a:cxn ang="0">
                    <a:pos x="T4" y="T5"/>
                  </a:cxn>
                  <a:cxn ang="0">
                    <a:pos x="T6" y="T7"/>
                  </a:cxn>
                  <a:cxn ang="0">
                    <a:pos x="T8" y="T9"/>
                  </a:cxn>
                </a:cxnLst>
                <a:rect l="0" t="0" r="r" b="b"/>
                <a:pathLst>
                  <a:path w="8" h="8">
                    <a:moveTo>
                      <a:pt x="7" y="6"/>
                    </a:moveTo>
                    <a:cubicBezTo>
                      <a:pt x="6" y="7"/>
                      <a:pt x="0" y="1"/>
                      <a:pt x="4" y="0"/>
                    </a:cubicBezTo>
                    <a:cubicBezTo>
                      <a:pt x="5" y="0"/>
                      <a:pt x="8" y="0"/>
                      <a:pt x="6" y="2"/>
                    </a:cubicBezTo>
                    <a:cubicBezTo>
                      <a:pt x="3" y="4"/>
                      <a:pt x="7" y="4"/>
                      <a:pt x="7" y="6"/>
                    </a:cubicBezTo>
                    <a:cubicBezTo>
                      <a:pt x="6" y="8"/>
                      <a:pt x="7" y="5"/>
                      <a:pt x="7"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3" name="Freeform 418">
                <a:extLst>
                  <a:ext uri="{FF2B5EF4-FFF2-40B4-BE49-F238E27FC236}">
                    <a16:creationId xmlns:a16="http://schemas.microsoft.com/office/drawing/2014/main" id="{55D8CF99-F4B7-4B4C-9C06-AF1F6FA6F14B}"/>
                  </a:ext>
                </a:extLst>
              </p:cNvPr>
              <p:cNvSpPr>
                <a:spLocks/>
              </p:cNvSpPr>
              <p:nvPr/>
            </p:nvSpPr>
            <p:spPr bwMode="auto">
              <a:xfrm>
                <a:off x="19445425" y="5076623"/>
                <a:ext cx="101909" cy="57338"/>
              </a:xfrm>
              <a:custGeom>
                <a:avLst/>
                <a:gdLst>
                  <a:gd name="T0" fmla="*/ 3 w 11"/>
                  <a:gd name="T1" fmla="*/ 4 h 6"/>
                  <a:gd name="T2" fmla="*/ 1 w 11"/>
                  <a:gd name="T3" fmla="*/ 1 h 6"/>
                  <a:gd name="T4" fmla="*/ 6 w 11"/>
                  <a:gd name="T5" fmla="*/ 1 h 6"/>
                  <a:gd name="T6" fmla="*/ 3 w 11"/>
                  <a:gd name="T7" fmla="*/ 4 h 6"/>
                  <a:gd name="T8" fmla="*/ 3 w 11"/>
                  <a:gd name="T9" fmla="*/ 4 h 6"/>
                </a:gdLst>
                <a:ahLst/>
                <a:cxnLst>
                  <a:cxn ang="0">
                    <a:pos x="T0" y="T1"/>
                  </a:cxn>
                  <a:cxn ang="0">
                    <a:pos x="T2" y="T3"/>
                  </a:cxn>
                  <a:cxn ang="0">
                    <a:pos x="T4" y="T5"/>
                  </a:cxn>
                  <a:cxn ang="0">
                    <a:pos x="T6" y="T7"/>
                  </a:cxn>
                  <a:cxn ang="0">
                    <a:pos x="T8" y="T9"/>
                  </a:cxn>
                </a:cxnLst>
                <a:rect l="0" t="0" r="r" b="b"/>
                <a:pathLst>
                  <a:path w="11" h="6">
                    <a:moveTo>
                      <a:pt x="3" y="4"/>
                    </a:moveTo>
                    <a:cubicBezTo>
                      <a:pt x="1" y="3"/>
                      <a:pt x="0" y="3"/>
                      <a:pt x="1" y="1"/>
                    </a:cubicBezTo>
                    <a:cubicBezTo>
                      <a:pt x="2" y="0"/>
                      <a:pt x="4" y="1"/>
                      <a:pt x="6" y="1"/>
                    </a:cubicBezTo>
                    <a:cubicBezTo>
                      <a:pt x="11" y="2"/>
                      <a:pt x="6" y="6"/>
                      <a:pt x="3" y="4"/>
                    </a:cubicBezTo>
                    <a:cubicBezTo>
                      <a:pt x="2" y="3"/>
                      <a:pt x="4" y="5"/>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4" name="Freeform 419">
                <a:extLst>
                  <a:ext uri="{FF2B5EF4-FFF2-40B4-BE49-F238E27FC236}">
                    <a16:creationId xmlns:a16="http://schemas.microsoft.com/office/drawing/2014/main" id="{BFA28A00-0643-4442-891B-5256D86CB221}"/>
                  </a:ext>
                </a:extLst>
              </p:cNvPr>
              <p:cNvSpPr>
                <a:spLocks/>
              </p:cNvSpPr>
              <p:nvPr/>
            </p:nvSpPr>
            <p:spPr bwMode="auto">
              <a:xfrm>
                <a:off x="19247970" y="5898496"/>
                <a:ext cx="57323" cy="47785"/>
              </a:xfrm>
              <a:custGeom>
                <a:avLst/>
                <a:gdLst>
                  <a:gd name="T0" fmla="*/ 5 w 6"/>
                  <a:gd name="T1" fmla="*/ 2 h 5"/>
                  <a:gd name="T2" fmla="*/ 5 w 6"/>
                  <a:gd name="T3" fmla="*/ 1 h 5"/>
                  <a:gd name="T4" fmla="*/ 2 w 6"/>
                  <a:gd name="T5" fmla="*/ 1 h 5"/>
                  <a:gd name="T6" fmla="*/ 1 w 6"/>
                  <a:gd name="T7" fmla="*/ 3 h 5"/>
                  <a:gd name="T8" fmla="*/ 0 w 6"/>
                  <a:gd name="T9" fmla="*/ 4 h 5"/>
                  <a:gd name="T10" fmla="*/ 5 w 6"/>
                  <a:gd name="T11" fmla="*/ 2 h 5"/>
                  <a:gd name="T12" fmla="*/ 5 w 6"/>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6" h="5">
                    <a:moveTo>
                      <a:pt x="5" y="2"/>
                    </a:moveTo>
                    <a:cubicBezTo>
                      <a:pt x="6" y="2"/>
                      <a:pt x="5" y="1"/>
                      <a:pt x="5" y="1"/>
                    </a:cubicBezTo>
                    <a:cubicBezTo>
                      <a:pt x="4" y="0"/>
                      <a:pt x="3" y="1"/>
                      <a:pt x="2" y="1"/>
                    </a:cubicBezTo>
                    <a:cubicBezTo>
                      <a:pt x="1" y="1"/>
                      <a:pt x="0" y="2"/>
                      <a:pt x="1" y="3"/>
                    </a:cubicBezTo>
                    <a:cubicBezTo>
                      <a:pt x="1" y="3"/>
                      <a:pt x="0" y="5"/>
                      <a:pt x="0" y="4"/>
                    </a:cubicBezTo>
                    <a:cubicBezTo>
                      <a:pt x="0" y="4"/>
                      <a:pt x="5" y="2"/>
                      <a:pt x="5" y="2"/>
                    </a:cubicBezTo>
                    <a:cubicBezTo>
                      <a:pt x="6" y="2"/>
                      <a:pt x="3" y="3"/>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5" name="Freeform 420">
                <a:extLst>
                  <a:ext uri="{FF2B5EF4-FFF2-40B4-BE49-F238E27FC236}">
                    <a16:creationId xmlns:a16="http://schemas.microsoft.com/office/drawing/2014/main" id="{871F37BE-A72F-054E-AD0C-DD433D3CB214}"/>
                  </a:ext>
                </a:extLst>
              </p:cNvPr>
              <p:cNvSpPr>
                <a:spLocks/>
              </p:cNvSpPr>
              <p:nvPr/>
            </p:nvSpPr>
            <p:spPr bwMode="auto">
              <a:xfrm>
                <a:off x="18005931" y="6172454"/>
                <a:ext cx="47770" cy="25484"/>
              </a:xfrm>
              <a:custGeom>
                <a:avLst/>
                <a:gdLst>
                  <a:gd name="T0" fmla="*/ 3 w 5"/>
                  <a:gd name="T1" fmla="*/ 3 h 3"/>
                  <a:gd name="T2" fmla="*/ 3 w 5"/>
                  <a:gd name="T3" fmla="*/ 0 h 3"/>
                  <a:gd name="T4" fmla="*/ 3 w 5"/>
                  <a:gd name="T5" fmla="*/ 3 h 3"/>
                </a:gdLst>
                <a:ahLst/>
                <a:cxnLst>
                  <a:cxn ang="0">
                    <a:pos x="T0" y="T1"/>
                  </a:cxn>
                  <a:cxn ang="0">
                    <a:pos x="T2" y="T3"/>
                  </a:cxn>
                  <a:cxn ang="0">
                    <a:pos x="T4" y="T5"/>
                  </a:cxn>
                </a:cxnLst>
                <a:rect l="0" t="0" r="r" b="b"/>
                <a:pathLst>
                  <a:path w="5" h="3">
                    <a:moveTo>
                      <a:pt x="3" y="3"/>
                    </a:moveTo>
                    <a:cubicBezTo>
                      <a:pt x="1" y="3"/>
                      <a:pt x="0" y="1"/>
                      <a:pt x="3" y="0"/>
                    </a:cubicBezTo>
                    <a:cubicBezTo>
                      <a:pt x="5" y="0"/>
                      <a:pt x="4"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6" name="Freeform 421">
                <a:extLst>
                  <a:ext uri="{FF2B5EF4-FFF2-40B4-BE49-F238E27FC236}">
                    <a16:creationId xmlns:a16="http://schemas.microsoft.com/office/drawing/2014/main" id="{2D77AB3F-6C90-0144-98C1-85CCCD57264B}"/>
                  </a:ext>
                </a:extLst>
              </p:cNvPr>
              <p:cNvSpPr>
                <a:spLocks/>
              </p:cNvSpPr>
              <p:nvPr/>
            </p:nvSpPr>
            <p:spPr bwMode="auto">
              <a:xfrm>
                <a:off x="18846696" y="6452780"/>
                <a:ext cx="47770" cy="44598"/>
              </a:xfrm>
              <a:custGeom>
                <a:avLst/>
                <a:gdLst>
                  <a:gd name="T0" fmla="*/ 5 w 5"/>
                  <a:gd name="T1" fmla="*/ 1 h 5"/>
                  <a:gd name="T2" fmla="*/ 1 w 5"/>
                  <a:gd name="T3" fmla="*/ 5 h 5"/>
                  <a:gd name="T4" fmla="*/ 4 w 5"/>
                  <a:gd name="T5" fmla="*/ 3 h 5"/>
                  <a:gd name="T6" fmla="*/ 5 w 5"/>
                  <a:gd name="T7" fmla="*/ 1 h 5"/>
                </a:gdLst>
                <a:ahLst/>
                <a:cxnLst>
                  <a:cxn ang="0">
                    <a:pos x="T0" y="T1"/>
                  </a:cxn>
                  <a:cxn ang="0">
                    <a:pos x="T2" y="T3"/>
                  </a:cxn>
                  <a:cxn ang="0">
                    <a:pos x="T4" y="T5"/>
                  </a:cxn>
                  <a:cxn ang="0">
                    <a:pos x="T6" y="T7"/>
                  </a:cxn>
                </a:cxnLst>
                <a:rect l="0" t="0" r="r" b="b"/>
                <a:pathLst>
                  <a:path w="5" h="5">
                    <a:moveTo>
                      <a:pt x="5" y="1"/>
                    </a:moveTo>
                    <a:cubicBezTo>
                      <a:pt x="5" y="1"/>
                      <a:pt x="0" y="5"/>
                      <a:pt x="1" y="5"/>
                    </a:cubicBezTo>
                    <a:cubicBezTo>
                      <a:pt x="2" y="5"/>
                      <a:pt x="4" y="3"/>
                      <a:pt x="4" y="3"/>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7" name="Freeform 422">
                <a:extLst>
                  <a:ext uri="{FF2B5EF4-FFF2-40B4-BE49-F238E27FC236}">
                    <a16:creationId xmlns:a16="http://schemas.microsoft.com/office/drawing/2014/main" id="{EB07E2EF-8093-C14E-963C-22A83E644383}"/>
                  </a:ext>
                </a:extLst>
              </p:cNvPr>
              <p:cNvSpPr>
                <a:spLocks/>
              </p:cNvSpPr>
              <p:nvPr/>
            </p:nvSpPr>
            <p:spPr bwMode="auto">
              <a:xfrm>
                <a:off x="18818035" y="6526047"/>
                <a:ext cx="19109" cy="9556"/>
              </a:xfrm>
              <a:custGeom>
                <a:avLst/>
                <a:gdLst>
                  <a:gd name="T0" fmla="*/ 1 w 2"/>
                  <a:gd name="T1" fmla="*/ 0 h 1"/>
                  <a:gd name="T2" fmla="*/ 1 w 2"/>
                  <a:gd name="T3" fmla="*/ 1 h 1"/>
                  <a:gd name="T4" fmla="*/ 1 w 2"/>
                  <a:gd name="T5" fmla="*/ 0 h 1"/>
                </a:gdLst>
                <a:ahLst/>
                <a:cxnLst>
                  <a:cxn ang="0">
                    <a:pos x="T0" y="T1"/>
                  </a:cxn>
                  <a:cxn ang="0">
                    <a:pos x="T2" y="T3"/>
                  </a:cxn>
                  <a:cxn ang="0">
                    <a:pos x="T4" y="T5"/>
                  </a:cxn>
                </a:cxnLst>
                <a:rect l="0" t="0" r="r" b="b"/>
                <a:pathLst>
                  <a:path w="2" h="1">
                    <a:moveTo>
                      <a:pt x="1" y="0"/>
                    </a:moveTo>
                    <a:cubicBezTo>
                      <a:pt x="1" y="0"/>
                      <a:pt x="0" y="1"/>
                      <a:pt x="1" y="1"/>
                    </a:cubicBezTo>
                    <a:cubicBezTo>
                      <a:pt x="1"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8" name="Freeform 423">
                <a:extLst>
                  <a:ext uri="{FF2B5EF4-FFF2-40B4-BE49-F238E27FC236}">
                    <a16:creationId xmlns:a16="http://schemas.microsoft.com/office/drawing/2014/main" id="{2C76390E-6833-0C44-927F-6226DEEF26E0}"/>
                  </a:ext>
                </a:extLst>
              </p:cNvPr>
              <p:cNvSpPr>
                <a:spLocks/>
              </p:cNvSpPr>
              <p:nvPr/>
            </p:nvSpPr>
            <p:spPr bwMode="auto">
              <a:xfrm>
                <a:off x="18687463" y="6675768"/>
                <a:ext cx="28662" cy="9556"/>
              </a:xfrm>
              <a:custGeom>
                <a:avLst/>
                <a:gdLst>
                  <a:gd name="T0" fmla="*/ 2 w 3"/>
                  <a:gd name="T1" fmla="*/ 0 h 1"/>
                  <a:gd name="T2" fmla="*/ 1 w 3"/>
                  <a:gd name="T3" fmla="*/ 1 h 1"/>
                  <a:gd name="T4" fmla="*/ 2 w 3"/>
                  <a:gd name="T5" fmla="*/ 0 h 1"/>
                </a:gdLst>
                <a:ahLst/>
                <a:cxnLst>
                  <a:cxn ang="0">
                    <a:pos x="T0" y="T1"/>
                  </a:cxn>
                  <a:cxn ang="0">
                    <a:pos x="T2" y="T3"/>
                  </a:cxn>
                  <a:cxn ang="0">
                    <a:pos x="T4" y="T5"/>
                  </a:cxn>
                </a:cxnLst>
                <a:rect l="0" t="0" r="r" b="b"/>
                <a:pathLst>
                  <a:path w="3" h="1">
                    <a:moveTo>
                      <a:pt x="2" y="0"/>
                    </a:moveTo>
                    <a:cubicBezTo>
                      <a:pt x="2" y="0"/>
                      <a:pt x="0" y="1"/>
                      <a:pt x="1" y="1"/>
                    </a:cubicBezTo>
                    <a:cubicBezTo>
                      <a:pt x="1" y="1"/>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49" name="Freeform 424">
                <a:extLst>
                  <a:ext uri="{FF2B5EF4-FFF2-40B4-BE49-F238E27FC236}">
                    <a16:creationId xmlns:a16="http://schemas.microsoft.com/office/drawing/2014/main" id="{E971D467-9E5D-FF40-88DC-FDA0ACA04A6D}"/>
                  </a:ext>
                </a:extLst>
              </p:cNvPr>
              <p:cNvSpPr>
                <a:spLocks/>
              </p:cNvSpPr>
              <p:nvPr/>
            </p:nvSpPr>
            <p:spPr bwMode="auto">
              <a:xfrm>
                <a:off x="18575996" y="6723551"/>
                <a:ext cx="66879" cy="38227"/>
              </a:xfrm>
              <a:custGeom>
                <a:avLst/>
                <a:gdLst>
                  <a:gd name="T0" fmla="*/ 6 w 7"/>
                  <a:gd name="T1" fmla="*/ 0 h 4"/>
                  <a:gd name="T2" fmla="*/ 1 w 7"/>
                  <a:gd name="T3" fmla="*/ 3 h 4"/>
                  <a:gd name="T4" fmla="*/ 6 w 7"/>
                  <a:gd name="T5" fmla="*/ 0 h 4"/>
                </a:gdLst>
                <a:ahLst/>
                <a:cxnLst>
                  <a:cxn ang="0">
                    <a:pos x="T0" y="T1"/>
                  </a:cxn>
                  <a:cxn ang="0">
                    <a:pos x="T2" y="T3"/>
                  </a:cxn>
                  <a:cxn ang="0">
                    <a:pos x="T4" y="T5"/>
                  </a:cxn>
                </a:cxnLst>
                <a:rect l="0" t="0" r="r" b="b"/>
                <a:pathLst>
                  <a:path w="7" h="4">
                    <a:moveTo>
                      <a:pt x="6" y="0"/>
                    </a:moveTo>
                    <a:cubicBezTo>
                      <a:pt x="5" y="0"/>
                      <a:pt x="0" y="2"/>
                      <a:pt x="1" y="3"/>
                    </a:cubicBezTo>
                    <a:cubicBezTo>
                      <a:pt x="2" y="4"/>
                      <a:pt x="7" y="0"/>
                      <a:pt x="6"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0" name="Freeform 425">
                <a:extLst>
                  <a:ext uri="{FF2B5EF4-FFF2-40B4-BE49-F238E27FC236}">
                    <a16:creationId xmlns:a16="http://schemas.microsoft.com/office/drawing/2014/main" id="{943F8EC6-00BF-6643-BB70-ED2E6AEE01F9}"/>
                  </a:ext>
                </a:extLst>
              </p:cNvPr>
              <p:cNvSpPr>
                <a:spLocks/>
              </p:cNvSpPr>
              <p:nvPr/>
            </p:nvSpPr>
            <p:spPr bwMode="auto">
              <a:xfrm>
                <a:off x="18502748" y="6761778"/>
                <a:ext cx="54139" cy="35042"/>
              </a:xfrm>
              <a:custGeom>
                <a:avLst/>
                <a:gdLst>
                  <a:gd name="T0" fmla="*/ 5 w 6"/>
                  <a:gd name="T1" fmla="*/ 0 h 4"/>
                  <a:gd name="T2" fmla="*/ 1 w 6"/>
                  <a:gd name="T3" fmla="*/ 3 h 4"/>
                  <a:gd name="T4" fmla="*/ 5 w 6"/>
                  <a:gd name="T5" fmla="*/ 0 h 4"/>
                  <a:gd name="T6" fmla="*/ 5 w 6"/>
                  <a:gd name="T7" fmla="*/ 0 h 4"/>
                </a:gdLst>
                <a:ahLst/>
                <a:cxnLst>
                  <a:cxn ang="0">
                    <a:pos x="T0" y="T1"/>
                  </a:cxn>
                  <a:cxn ang="0">
                    <a:pos x="T2" y="T3"/>
                  </a:cxn>
                  <a:cxn ang="0">
                    <a:pos x="T4" y="T5"/>
                  </a:cxn>
                  <a:cxn ang="0">
                    <a:pos x="T6" y="T7"/>
                  </a:cxn>
                </a:cxnLst>
                <a:rect l="0" t="0" r="r" b="b"/>
                <a:pathLst>
                  <a:path w="6" h="4">
                    <a:moveTo>
                      <a:pt x="5" y="0"/>
                    </a:moveTo>
                    <a:cubicBezTo>
                      <a:pt x="5" y="0"/>
                      <a:pt x="0" y="2"/>
                      <a:pt x="1" y="3"/>
                    </a:cubicBezTo>
                    <a:cubicBezTo>
                      <a:pt x="2" y="4"/>
                      <a:pt x="5" y="0"/>
                      <a:pt x="5" y="0"/>
                    </a:cubicBezTo>
                    <a:cubicBezTo>
                      <a:pt x="5"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1" name="Freeform 426">
                <a:extLst>
                  <a:ext uri="{FF2B5EF4-FFF2-40B4-BE49-F238E27FC236}">
                    <a16:creationId xmlns:a16="http://schemas.microsoft.com/office/drawing/2014/main" id="{269D0AFA-6B97-0749-A65E-C05093900F8E}"/>
                  </a:ext>
                </a:extLst>
              </p:cNvPr>
              <p:cNvSpPr>
                <a:spLocks/>
              </p:cNvSpPr>
              <p:nvPr/>
            </p:nvSpPr>
            <p:spPr bwMode="auto">
              <a:xfrm>
                <a:off x="18454978" y="6790447"/>
                <a:ext cx="47770" cy="44598"/>
              </a:xfrm>
              <a:custGeom>
                <a:avLst/>
                <a:gdLst>
                  <a:gd name="T0" fmla="*/ 4 w 5"/>
                  <a:gd name="T1" fmla="*/ 0 h 5"/>
                  <a:gd name="T2" fmla="*/ 0 w 5"/>
                  <a:gd name="T3" fmla="*/ 4 h 5"/>
                  <a:gd name="T4" fmla="*/ 4 w 5"/>
                  <a:gd name="T5" fmla="*/ 0 h 5"/>
                  <a:gd name="T6" fmla="*/ 4 w 5"/>
                  <a:gd name="T7" fmla="*/ 0 h 5"/>
                </a:gdLst>
                <a:ahLst/>
                <a:cxnLst>
                  <a:cxn ang="0">
                    <a:pos x="T0" y="T1"/>
                  </a:cxn>
                  <a:cxn ang="0">
                    <a:pos x="T2" y="T3"/>
                  </a:cxn>
                  <a:cxn ang="0">
                    <a:pos x="T4" y="T5"/>
                  </a:cxn>
                  <a:cxn ang="0">
                    <a:pos x="T6" y="T7"/>
                  </a:cxn>
                </a:cxnLst>
                <a:rect l="0" t="0" r="r" b="b"/>
                <a:pathLst>
                  <a:path w="5" h="5">
                    <a:moveTo>
                      <a:pt x="4" y="0"/>
                    </a:moveTo>
                    <a:cubicBezTo>
                      <a:pt x="4" y="0"/>
                      <a:pt x="0" y="4"/>
                      <a:pt x="0" y="4"/>
                    </a:cubicBezTo>
                    <a:cubicBezTo>
                      <a:pt x="2" y="5"/>
                      <a:pt x="4" y="0"/>
                      <a:pt x="4" y="0"/>
                    </a:cubicBezTo>
                    <a:cubicBezTo>
                      <a:pt x="4"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2" name="Freeform 427">
                <a:extLst>
                  <a:ext uri="{FF2B5EF4-FFF2-40B4-BE49-F238E27FC236}">
                    <a16:creationId xmlns:a16="http://schemas.microsoft.com/office/drawing/2014/main" id="{23415B42-69C9-9740-9B61-F6601B5E22C3}"/>
                  </a:ext>
                </a:extLst>
              </p:cNvPr>
              <p:cNvSpPr>
                <a:spLocks/>
              </p:cNvSpPr>
              <p:nvPr/>
            </p:nvSpPr>
            <p:spPr bwMode="auto">
              <a:xfrm>
                <a:off x="18445422" y="6854158"/>
                <a:ext cx="9553" cy="9556"/>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0" y="1"/>
                      <a:pt x="1" y="1"/>
                    </a:cubicBezTo>
                    <a:cubicBezTo>
                      <a:pt x="1"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3" name="Freeform 428">
                <a:extLst>
                  <a:ext uri="{FF2B5EF4-FFF2-40B4-BE49-F238E27FC236}">
                    <a16:creationId xmlns:a16="http://schemas.microsoft.com/office/drawing/2014/main" id="{B13B0DF3-0521-014D-9F03-236725825696}"/>
                  </a:ext>
                </a:extLst>
              </p:cNvPr>
              <p:cNvSpPr>
                <a:spLocks/>
              </p:cNvSpPr>
              <p:nvPr/>
            </p:nvSpPr>
            <p:spPr bwMode="auto">
              <a:xfrm>
                <a:off x="18397652" y="6815931"/>
                <a:ext cx="47770" cy="38227"/>
              </a:xfrm>
              <a:custGeom>
                <a:avLst/>
                <a:gdLst>
                  <a:gd name="T0" fmla="*/ 4 w 5"/>
                  <a:gd name="T1" fmla="*/ 1 h 4"/>
                  <a:gd name="T2" fmla="*/ 0 w 5"/>
                  <a:gd name="T3" fmla="*/ 4 h 4"/>
                  <a:gd name="T4" fmla="*/ 4 w 5"/>
                  <a:gd name="T5" fmla="*/ 1 h 4"/>
                  <a:gd name="T6" fmla="*/ 4 w 5"/>
                  <a:gd name="T7" fmla="*/ 1 h 4"/>
                </a:gdLst>
                <a:ahLst/>
                <a:cxnLst>
                  <a:cxn ang="0">
                    <a:pos x="T0" y="T1"/>
                  </a:cxn>
                  <a:cxn ang="0">
                    <a:pos x="T2" y="T3"/>
                  </a:cxn>
                  <a:cxn ang="0">
                    <a:pos x="T4" y="T5"/>
                  </a:cxn>
                  <a:cxn ang="0">
                    <a:pos x="T6" y="T7"/>
                  </a:cxn>
                </a:cxnLst>
                <a:rect l="0" t="0" r="r" b="b"/>
                <a:pathLst>
                  <a:path w="5" h="4">
                    <a:moveTo>
                      <a:pt x="4" y="1"/>
                    </a:moveTo>
                    <a:cubicBezTo>
                      <a:pt x="2" y="2"/>
                      <a:pt x="0" y="3"/>
                      <a:pt x="0" y="4"/>
                    </a:cubicBezTo>
                    <a:cubicBezTo>
                      <a:pt x="0" y="4"/>
                      <a:pt x="4" y="1"/>
                      <a:pt x="4" y="1"/>
                    </a:cubicBezTo>
                    <a:cubicBezTo>
                      <a:pt x="3" y="1"/>
                      <a:pt x="5" y="0"/>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4" name="Freeform 429">
                <a:extLst>
                  <a:ext uri="{FF2B5EF4-FFF2-40B4-BE49-F238E27FC236}">
                    <a16:creationId xmlns:a16="http://schemas.microsoft.com/office/drawing/2014/main" id="{A0ACAE68-9642-1447-ABD0-CB8B8AE0FD7E}"/>
                  </a:ext>
                </a:extLst>
              </p:cNvPr>
              <p:cNvSpPr>
                <a:spLocks/>
              </p:cNvSpPr>
              <p:nvPr/>
            </p:nvSpPr>
            <p:spPr bwMode="auto">
              <a:xfrm>
                <a:off x="18053701" y="7163156"/>
                <a:ext cx="19109" cy="28669"/>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1" y="0"/>
                      <a:pt x="0" y="3"/>
                      <a:pt x="1" y="3"/>
                    </a:cubicBezTo>
                    <a:cubicBezTo>
                      <a:pt x="2" y="3"/>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nvGrpSpPr>
              <p:cNvPr id="155" name="Group 154">
                <a:extLst>
                  <a:ext uri="{FF2B5EF4-FFF2-40B4-BE49-F238E27FC236}">
                    <a16:creationId xmlns:a16="http://schemas.microsoft.com/office/drawing/2014/main" id="{91B99AC9-DC25-8546-93DE-0759D18EC775}"/>
                  </a:ext>
                </a:extLst>
              </p:cNvPr>
              <p:cNvGrpSpPr/>
              <p:nvPr/>
            </p:nvGrpSpPr>
            <p:grpSpPr>
              <a:xfrm>
                <a:off x="17709756" y="6761778"/>
                <a:ext cx="697449" cy="662593"/>
                <a:chOff x="5961121" y="2686387"/>
                <a:chExt cx="288233" cy="273757"/>
              </a:xfrm>
              <a:grpFill/>
            </p:grpSpPr>
            <p:sp>
              <p:nvSpPr>
                <p:cNvPr id="520" name="Freeform 430">
                  <a:extLst>
                    <a:ext uri="{FF2B5EF4-FFF2-40B4-BE49-F238E27FC236}">
                      <a16:creationId xmlns:a16="http://schemas.microsoft.com/office/drawing/2014/main" id="{E3A7A116-7E3F-944B-A5A8-FB2D574DDD56}"/>
                    </a:ext>
                  </a:extLst>
                </p:cNvPr>
                <p:cNvSpPr>
                  <a:spLocks/>
                </p:cNvSpPr>
                <p:nvPr/>
              </p:nvSpPr>
              <p:spPr bwMode="auto">
                <a:xfrm>
                  <a:off x="6130902" y="2686387"/>
                  <a:ext cx="118452" cy="100026"/>
                </a:xfrm>
                <a:custGeom>
                  <a:avLst/>
                  <a:gdLst>
                    <a:gd name="T0" fmla="*/ 28 w 31"/>
                    <a:gd name="T1" fmla="*/ 10 h 26"/>
                    <a:gd name="T2" fmla="*/ 29 w 31"/>
                    <a:gd name="T3" fmla="*/ 7 h 26"/>
                    <a:gd name="T4" fmla="*/ 27 w 31"/>
                    <a:gd name="T5" fmla="*/ 10 h 26"/>
                    <a:gd name="T6" fmla="*/ 20 w 31"/>
                    <a:gd name="T7" fmla="*/ 8 h 26"/>
                    <a:gd name="T8" fmla="*/ 11 w 31"/>
                    <a:gd name="T9" fmla="*/ 1 h 26"/>
                    <a:gd name="T10" fmla="*/ 11 w 31"/>
                    <a:gd name="T11" fmla="*/ 5 h 26"/>
                    <a:gd name="T12" fmla="*/ 9 w 31"/>
                    <a:gd name="T13" fmla="*/ 11 h 26"/>
                    <a:gd name="T14" fmla="*/ 7 w 31"/>
                    <a:gd name="T15" fmla="*/ 14 h 26"/>
                    <a:gd name="T16" fmla="*/ 4 w 31"/>
                    <a:gd name="T17" fmla="*/ 14 h 26"/>
                    <a:gd name="T18" fmla="*/ 5 w 31"/>
                    <a:gd name="T19" fmla="*/ 16 h 26"/>
                    <a:gd name="T20" fmla="*/ 1 w 31"/>
                    <a:gd name="T21" fmla="*/ 18 h 26"/>
                    <a:gd name="T22" fmla="*/ 2 w 31"/>
                    <a:gd name="T23" fmla="*/ 23 h 26"/>
                    <a:gd name="T24" fmla="*/ 4 w 31"/>
                    <a:gd name="T25" fmla="*/ 25 h 26"/>
                    <a:gd name="T26" fmla="*/ 6 w 31"/>
                    <a:gd name="T27" fmla="*/ 23 h 26"/>
                    <a:gd name="T28" fmla="*/ 7 w 31"/>
                    <a:gd name="T29" fmla="*/ 23 h 26"/>
                    <a:gd name="T30" fmla="*/ 4 w 31"/>
                    <a:gd name="T31" fmla="*/ 20 h 26"/>
                    <a:gd name="T32" fmla="*/ 7 w 31"/>
                    <a:gd name="T33" fmla="*/ 19 h 26"/>
                    <a:gd name="T34" fmla="*/ 12 w 31"/>
                    <a:gd name="T35" fmla="*/ 18 h 26"/>
                    <a:gd name="T36" fmla="*/ 17 w 31"/>
                    <a:gd name="T37" fmla="*/ 21 h 26"/>
                    <a:gd name="T38" fmla="*/ 21 w 31"/>
                    <a:gd name="T39" fmla="*/ 16 h 26"/>
                    <a:gd name="T40" fmla="*/ 31 w 31"/>
                    <a:gd name="T41" fmla="*/ 14 h 26"/>
                    <a:gd name="T42" fmla="*/ 29 w 31"/>
                    <a:gd name="T43" fmla="*/ 12 h 26"/>
                    <a:gd name="T44" fmla="*/ 28 w 31"/>
                    <a:gd name="T45" fmla="*/ 10 h 26"/>
                    <a:gd name="T46" fmla="*/ 28 w 31"/>
                    <a:gd name="T4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 h="26">
                      <a:moveTo>
                        <a:pt x="28" y="10"/>
                      </a:moveTo>
                      <a:cubicBezTo>
                        <a:pt x="28" y="10"/>
                        <a:pt x="29" y="8"/>
                        <a:pt x="29" y="7"/>
                      </a:cubicBezTo>
                      <a:cubicBezTo>
                        <a:pt x="29" y="8"/>
                        <a:pt x="27" y="10"/>
                        <a:pt x="27" y="10"/>
                      </a:cubicBezTo>
                      <a:cubicBezTo>
                        <a:pt x="25" y="10"/>
                        <a:pt x="21" y="9"/>
                        <a:pt x="20" y="8"/>
                      </a:cubicBezTo>
                      <a:cubicBezTo>
                        <a:pt x="17" y="7"/>
                        <a:pt x="15" y="2"/>
                        <a:pt x="11" y="1"/>
                      </a:cubicBezTo>
                      <a:cubicBezTo>
                        <a:pt x="9" y="0"/>
                        <a:pt x="10" y="4"/>
                        <a:pt x="11" y="5"/>
                      </a:cubicBezTo>
                      <a:cubicBezTo>
                        <a:pt x="11" y="7"/>
                        <a:pt x="10" y="9"/>
                        <a:pt x="9" y="11"/>
                      </a:cubicBezTo>
                      <a:cubicBezTo>
                        <a:pt x="8" y="12"/>
                        <a:pt x="10" y="15"/>
                        <a:pt x="7" y="14"/>
                      </a:cubicBezTo>
                      <a:cubicBezTo>
                        <a:pt x="7" y="14"/>
                        <a:pt x="5" y="13"/>
                        <a:pt x="4" y="14"/>
                      </a:cubicBezTo>
                      <a:cubicBezTo>
                        <a:pt x="4" y="15"/>
                        <a:pt x="5" y="16"/>
                        <a:pt x="5" y="16"/>
                      </a:cubicBezTo>
                      <a:cubicBezTo>
                        <a:pt x="5" y="16"/>
                        <a:pt x="2" y="18"/>
                        <a:pt x="1" y="18"/>
                      </a:cubicBezTo>
                      <a:cubicBezTo>
                        <a:pt x="0" y="20"/>
                        <a:pt x="3" y="21"/>
                        <a:pt x="2" y="23"/>
                      </a:cubicBezTo>
                      <a:cubicBezTo>
                        <a:pt x="1" y="24"/>
                        <a:pt x="3" y="26"/>
                        <a:pt x="4" y="25"/>
                      </a:cubicBezTo>
                      <a:cubicBezTo>
                        <a:pt x="5" y="24"/>
                        <a:pt x="5" y="23"/>
                        <a:pt x="6" y="23"/>
                      </a:cubicBezTo>
                      <a:cubicBezTo>
                        <a:pt x="6" y="23"/>
                        <a:pt x="7" y="24"/>
                        <a:pt x="7" y="23"/>
                      </a:cubicBezTo>
                      <a:cubicBezTo>
                        <a:pt x="7" y="22"/>
                        <a:pt x="5" y="21"/>
                        <a:pt x="4" y="20"/>
                      </a:cubicBezTo>
                      <a:cubicBezTo>
                        <a:pt x="3" y="18"/>
                        <a:pt x="7" y="19"/>
                        <a:pt x="7" y="19"/>
                      </a:cubicBezTo>
                      <a:cubicBezTo>
                        <a:pt x="9" y="19"/>
                        <a:pt x="10" y="17"/>
                        <a:pt x="12" y="18"/>
                      </a:cubicBezTo>
                      <a:cubicBezTo>
                        <a:pt x="14" y="19"/>
                        <a:pt x="15" y="20"/>
                        <a:pt x="17" y="21"/>
                      </a:cubicBezTo>
                      <a:cubicBezTo>
                        <a:pt x="20" y="23"/>
                        <a:pt x="19" y="17"/>
                        <a:pt x="21" y="16"/>
                      </a:cubicBezTo>
                      <a:cubicBezTo>
                        <a:pt x="21" y="16"/>
                        <a:pt x="31" y="16"/>
                        <a:pt x="31" y="14"/>
                      </a:cubicBezTo>
                      <a:cubicBezTo>
                        <a:pt x="30" y="13"/>
                        <a:pt x="27" y="15"/>
                        <a:pt x="29" y="12"/>
                      </a:cubicBezTo>
                      <a:cubicBezTo>
                        <a:pt x="30" y="11"/>
                        <a:pt x="27" y="12"/>
                        <a:pt x="28" y="10"/>
                      </a:cubicBezTo>
                      <a:cubicBezTo>
                        <a:pt x="29" y="7"/>
                        <a:pt x="28" y="11"/>
                        <a:pt x="28"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21" name="Freeform 431">
                  <a:extLst>
                    <a:ext uri="{FF2B5EF4-FFF2-40B4-BE49-F238E27FC236}">
                      <a16:creationId xmlns:a16="http://schemas.microsoft.com/office/drawing/2014/main" id="{C8036AA9-EC50-9A43-826B-CED89AD7CF77}"/>
                    </a:ext>
                  </a:extLst>
                </p:cNvPr>
                <p:cNvSpPr>
                  <a:spLocks/>
                </p:cNvSpPr>
                <p:nvPr/>
              </p:nvSpPr>
              <p:spPr bwMode="auto">
                <a:xfrm>
                  <a:off x="5961121" y="2778517"/>
                  <a:ext cx="215847" cy="181627"/>
                </a:xfrm>
                <a:custGeom>
                  <a:avLst/>
                  <a:gdLst>
                    <a:gd name="T0" fmla="*/ 52 w 56"/>
                    <a:gd name="T1" fmla="*/ 1 h 47"/>
                    <a:gd name="T2" fmla="*/ 51 w 56"/>
                    <a:gd name="T3" fmla="*/ 1 h 47"/>
                    <a:gd name="T4" fmla="*/ 52 w 56"/>
                    <a:gd name="T5" fmla="*/ 3 h 47"/>
                    <a:gd name="T6" fmla="*/ 49 w 56"/>
                    <a:gd name="T7" fmla="*/ 3 h 47"/>
                    <a:gd name="T8" fmla="*/ 47 w 56"/>
                    <a:gd name="T9" fmla="*/ 5 h 47"/>
                    <a:gd name="T10" fmla="*/ 45 w 56"/>
                    <a:gd name="T11" fmla="*/ 6 h 47"/>
                    <a:gd name="T12" fmla="*/ 46 w 56"/>
                    <a:gd name="T13" fmla="*/ 7 h 47"/>
                    <a:gd name="T14" fmla="*/ 46 w 56"/>
                    <a:gd name="T15" fmla="*/ 10 h 47"/>
                    <a:gd name="T16" fmla="*/ 46 w 56"/>
                    <a:gd name="T17" fmla="*/ 13 h 47"/>
                    <a:gd name="T18" fmla="*/ 41 w 56"/>
                    <a:gd name="T19" fmla="*/ 22 h 47"/>
                    <a:gd name="T20" fmla="*/ 36 w 56"/>
                    <a:gd name="T21" fmla="*/ 27 h 47"/>
                    <a:gd name="T22" fmla="*/ 31 w 56"/>
                    <a:gd name="T23" fmla="*/ 27 h 47"/>
                    <a:gd name="T24" fmla="*/ 32 w 56"/>
                    <a:gd name="T25" fmla="*/ 24 h 47"/>
                    <a:gd name="T26" fmla="*/ 30 w 56"/>
                    <a:gd name="T27" fmla="*/ 25 h 47"/>
                    <a:gd name="T28" fmla="*/ 29 w 56"/>
                    <a:gd name="T29" fmla="*/ 27 h 47"/>
                    <a:gd name="T30" fmla="*/ 25 w 56"/>
                    <a:gd name="T31" fmla="*/ 33 h 47"/>
                    <a:gd name="T32" fmla="*/ 25 w 56"/>
                    <a:gd name="T33" fmla="*/ 34 h 47"/>
                    <a:gd name="T34" fmla="*/ 23 w 56"/>
                    <a:gd name="T35" fmla="*/ 36 h 47"/>
                    <a:gd name="T36" fmla="*/ 21 w 56"/>
                    <a:gd name="T37" fmla="*/ 35 h 47"/>
                    <a:gd name="T38" fmla="*/ 17 w 56"/>
                    <a:gd name="T39" fmla="*/ 35 h 47"/>
                    <a:gd name="T40" fmla="*/ 9 w 56"/>
                    <a:gd name="T41" fmla="*/ 36 h 47"/>
                    <a:gd name="T42" fmla="*/ 2 w 56"/>
                    <a:gd name="T43" fmla="*/ 42 h 47"/>
                    <a:gd name="T44" fmla="*/ 1 w 56"/>
                    <a:gd name="T45" fmla="*/ 44 h 47"/>
                    <a:gd name="T46" fmla="*/ 3 w 56"/>
                    <a:gd name="T47" fmla="*/ 43 h 47"/>
                    <a:gd name="T48" fmla="*/ 5 w 56"/>
                    <a:gd name="T49" fmla="*/ 44 h 47"/>
                    <a:gd name="T50" fmla="*/ 22 w 56"/>
                    <a:gd name="T51" fmla="*/ 40 h 47"/>
                    <a:gd name="T52" fmla="*/ 21 w 56"/>
                    <a:gd name="T53" fmla="*/ 43 h 47"/>
                    <a:gd name="T54" fmla="*/ 24 w 56"/>
                    <a:gd name="T55" fmla="*/ 47 h 47"/>
                    <a:gd name="T56" fmla="*/ 27 w 56"/>
                    <a:gd name="T57" fmla="*/ 44 h 47"/>
                    <a:gd name="T58" fmla="*/ 30 w 56"/>
                    <a:gd name="T59" fmla="*/ 43 h 47"/>
                    <a:gd name="T60" fmla="*/ 31 w 56"/>
                    <a:gd name="T61" fmla="*/ 40 h 47"/>
                    <a:gd name="T62" fmla="*/ 38 w 56"/>
                    <a:gd name="T63" fmla="*/ 39 h 47"/>
                    <a:gd name="T64" fmla="*/ 41 w 56"/>
                    <a:gd name="T65" fmla="*/ 40 h 47"/>
                    <a:gd name="T66" fmla="*/ 43 w 56"/>
                    <a:gd name="T67" fmla="*/ 37 h 47"/>
                    <a:gd name="T68" fmla="*/ 45 w 56"/>
                    <a:gd name="T69" fmla="*/ 35 h 47"/>
                    <a:gd name="T70" fmla="*/ 46 w 56"/>
                    <a:gd name="T71" fmla="*/ 38 h 47"/>
                    <a:gd name="T72" fmla="*/ 48 w 56"/>
                    <a:gd name="T73" fmla="*/ 37 h 47"/>
                    <a:gd name="T74" fmla="*/ 49 w 56"/>
                    <a:gd name="T75" fmla="*/ 35 h 47"/>
                    <a:gd name="T76" fmla="*/ 49 w 56"/>
                    <a:gd name="T77" fmla="*/ 32 h 47"/>
                    <a:gd name="T78" fmla="*/ 51 w 56"/>
                    <a:gd name="T79" fmla="*/ 26 h 47"/>
                    <a:gd name="T80" fmla="*/ 51 w 56"/>
                    <a:gd name="T81" fmla="*/ 19 h 47"/>
                    <a:gd name="T82" fmla="*/ 53 w 56"/>
                    <a:gd name="T83" fmla="*/ 19 h 47"/>
                    <a:gd name="T84" fmla="*/ 55 w 56"/>
                    <a:gd name="T85" fmla="*/ 17 h 47"/>
                    <a:gd name="T86" fmla="*/ 55 w 56"/>
                    <a:gd name="T87" fmla="*/ 9 h 47"/>
                    <a:gd name="T88" fmla="*/ 52 w 56"/>
                    <a:gd name="T89" fmla="*/ 1 h 47"/>
                    <a:gd name="T90" fmla="*/ 52 w 56"/>
                    <a:gd name="T91" fmla="*/ 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6" h="47">
                      <a:moveTo>
                        <a:pt x="52" y="1"/>
                      </a:moveTo>
                      <a:cubicBezTo>
                        <a:pt x="51" y="1"/>
                        <a:pt x="51" y="0"/>
                        <a:pt x="51" y="1"/>
                      </a:cubicBezTo>
                      <a:cubicBezTo>
                        <a:pt x="49" y="2"/>
                        <a:pt x="51" y="2"/>
                        <a:pt x="52" y="3"/>
                      </a:cubicBezTo>
                      <a:cubicBezTo>
                        <a:pt x="53" y="4"/>
                        <a:pt x="50" y="5"/>
                        <a:pt x="49" y="3"/>
                      </a:cubicBezTo>
                      <a:cubicBezTo>
                        <a:pt x="48" y="1"/>
                        <a:pt x="47" y="4"/>
                        <a:pt x="47" y="5"/>
                      </a:cubicBezTo>
                      <a:cubicBezTo>
                        <a:pt x="46" y="5"/>
                        <a:pt x="45" y="6"/>
                        <a:pt x="45" y="6"/>
                      </a:cubicBezTo>
                      <a:cubicBezTo>
                        <a:pt x="45" y="8"/>
                        <a:pt x="46" y="7"/>
                        <a:pt x="46" y="7"/>
                      </a:cubicBezTo>
                      <a:cubicBezTo>
                        <a:pt x="46" y="8"/>
                        <a:pt x="46" y="9"/>
                        <a:pt x="46" y="10"/>
                      </a:cubicBezTo>
                      <a:cubicBezTo>
                        <a:pt x="46" y="11"/>
                        <a:pt x="47" y="11"/>
                        <a:pt x="46" y="13"/>
                      </a:cubicBezTo>
                      <a:cubicBezTo>
                        <a:pt x="44" y="16"/>
                        <a:pt x="43" y="19"/>
                        <a:pt x="41" y="22"/>
                      </a:cubicBezTo>
                      <a:cubicBezTo>
                        <a:pt x="40" y="23"/>
                        <a:pt x="37" y="27"/>
                        <a:pt x="36" y="27"/>
                      </a:cubicBezTo>
                      <a:cubicBezTo>
                        <a:pt x="34" y="27"/>
                        <a:pt x="32" y="28"/>
                        <a:pt x="31" y="27"/>
                      </a:cubicBezTo>
                      <a:cubicBezTo>
                        <a:pt x="30" y="26"/>
                        <a:pt x="32" y="25"/>
                        <a:pt x="32" y="24"/>
                      </a:cubicBezTo>
                      <a:cubicBezTo>
                        <a:pt x="33" y="23"/>
                        <a:pt x="30" y="25"/>
                        <a:pt x="30" y="25"/>
                      </a:cubicBezTo>
                      <a:cubicBezTo>
                        <a:pt x="29" y="26"/>
                        <a:pt x="29" y="26"/>
                        <a:pt x="29" y="27"/>
                      </a:cubicBezTo>
                      <a:cubicBezTo>
                        <a:pt x="29" y="30"/>
                        <a:pt x="26" y="31"/>
                        <a:pt x="25" y="33"/>
                      </a:cubicBezTo>
                      <a:cubicBezTo>
                        <a:pt x="25" y="33"/>
                        <a:pt x="25" y="34"/>
                        <a:pt x="25" y="34"/>
                      </a:cubicBezTo>
                      <a:cubicBezTo>
                        <a:pt x="25" y="35"/>
                        <a:pt x="23" y="36"/>
                        <a:pt x="23" y="36"/>
                      </a:cubicBezTo>
                      <a:cubicBezTo>
                        <a:pt x="22" y="36"/>
                        <a:pt x="23" y="35"/>
                        <a:pt x="21" y="35"/>
                      </a:cubicBezTo>
                      <a:cubicBezTo>
                        <a:pt x="20" y="35"/>
                        <a:pt x="19" y="35"/>
                        <a:pt x="17" y="35"/>
                      </a:cubicBezTo>
                      <a:cubicBezTo>
                        <a:pt x="14" y="36"/>
                        <a:pt x="12" y="35"/>
                        <a:pt x="9" y="36"/>
                      </a:cubicBezTo>
                      <a:cubicBezTo>
                        <a:pt x="7" y="38"/>
                        <a:pt x="4" y="40"/>
                        <a:pt x="2" y="42"/>
                      </a:cubicBezTo>
                      <a:cubicBezTo>
                        <a:pt x="0" y="42"/>
                        <a:pt x="0" y="45"/>
                        <a:pt x="1" y="44"/>
                      </a:cubicBezTo>
                      <a:cubicBezTo>
                        <a:pt x="2" y="44"/>
                        <a:pt x="2" y="43"/>
                        <a:pt x="3" y="43"/>
                      </a:cubicBezTo>
                      <a:cubicBezTo>
                        <a:pt x="4" y="44"/>
                        <a:pt x="5" y="45"/>
                        <a:pt x="5" y="44"/>
                      </a:cubicBezTo>
                      <a:cubicBezTo>
                        <a:pt x="10" y="43"/>
                        <a:pt x="17" y="39"/>
                        <a:pt x="22" y="40"/>
                      </a:cubicBezTo>
                      <a:cubicBezTo>
                        <a:pt x="23" y="41"/>
                        <a:pt x="21" y="43"/>
                        <a:pt x="21" y="43"/>
                      </a:cubicBezTo>
                      <a:cubicBezTo>
                        <a:pt x="22" y="44"/>
                        <a:pt x="23" y="47"/>
                        <a:pt x="24" y="47"/>
                      </a:cubicBezTo>
                      <a:cubicBezTo>
                        <a:pt x="25" y="46"/>
                        <a:pt x="26" y="45"/>
                        <a:pt x="27" y="44"/>
                      </a:cubicBezTo>
                      <a:cubicBezTo>
                        <a:pt x="28" y="42"/>
                        <a:pt x="28" y="43"/>
                        <a:pt x="30" y="43"/>
                      </a:cubicBezTo>
                      <a:cubicBezTo>
                        <a:pt x="29" y="43"/>
                        <a:pt x="28" y="35"/>
                        <a:pt x="31" y="40"/>
                      </a:cubicBezTo>
                      <a:cubicBezTo>
                        <a:pt x="32" y="42"/>
                        <a:pt x="37" y="40"/>
                        <a:pt x="38" y="39"/>
                      </a:cubicBezTo>
                      <a:cubicBezTo>
                        <a:pt x="40" y="36"/>
                        <a:pt x="40" y="42"/>
                        <a:pt x="41" y="40"/>
                      </a:cubicBezTo>
                      <a:cubicBezTo>
                        <a:pt x="41" y="39"/>
                        <a:pt x="42" y="37"/>
                        <a:pt x="43" y="37"/>
                      </a:cubicBezTo>
                      <a:cubicBezTo>
                        <a:pt x="44" y="36"/>
                        <a:pt x="44" y="37"/>
                        <a:pt x="45" y="35"/>
                      </a:cubicBezTo>
                      <a:cubicBezTo>
                        <a:pt x="45" y="35"/>
                        <a:pt x="45" y="39"/>
                        <a:pt x="46" y="38"/>
                      </a:cubicBezTo>
                      <a:cubicBezTo>
                        <a:pt x="46" y="38"/>
                        <a:pt x="47" y="38"/>
                        <a:pt x="48" y="37"/>
                      </a:cubicBezTo>
                      <a:cubicBezTo>
                        <a:pt x="49" y="37"/>
                        <a:pt x="48" y="36"/>
                        <a:pt x="49" y="35"/>
                      </a:cubicBezTo>
                      <a:cubicBezTo>
                        <a:pt x="51" y="34"/>
                        <a:pt x="51" y="34"/>
                        <a:pt x="49" y="32"/>
                      </a:cubicBezTo>
                      <a:cubicBezTo>
                        <a:pt x="48" y="31"/>
                        <a:pt x="51" y="28"/>
                        <a:pt x="51" y="26"/>
                      </a:cubicBezTo>
                      <a:cubicBezTo>
                        <a:pt x="52" y="24"/>
                        <a:pt x="50" y="21"/>
                        <a:pt x="51" y="19"/>
                      </a:cubicBezTo>
                      <a:cubicBezTo>
                        <a:pt x="52" y="18"/>
                        <a:pt x="52" y="19"/>
                        <a:pt x="53" y="19"/>
                      </a:cubicBezTo>
                      <a:cubicBezTo>
                        <a:pt x="54" y="19"/>
                        <a:pt x="55" y="17"/>
                        <a:pt x="55" y="17"/>
                      </a:cubicBezTo>
                      <a:cubicBezTo>
                        <a:pt x="56" y="14"/>
                        <a:pt x="56" y="11"/>
                        <a:pt x="55" y="9"/>
                      </a:cubicBezTo>
                      <a:cubicBezTo>
                        <a:pt x="55" y="8"/>
                        <a:pt x="52" y="1"/>
                        <a:pt x="52" y="1"/>
                      </a:cubicBezTo>
                      <a:cubicBezTo>
                        <a:pt x="52" y="1"/>
                        <a:pt x="52" y="1"/>
                        <a:pt x="5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sp>
            <p:nvSpPr>
              <p:cNvPr id="156" name="Freeform 432">
                <a:extLst>
                  <a:ext uri="{FF2B5EF4-FFF2-40B4-BE49-F238E27FC236}">
                    <a16:creationId xmlns:a16="http://schemas.microsoft.com/office/drawing/2014/main" id="{C9F0AB5E-1124-0B45-B599-2FBEDAC3A586}"/>
                  </a:ext>
                </a:extLst>
              </p:cNvPr>
              <p:cNvSpPr>
                <a:spLocks/>
              </p:cNvSpPr>
              <p:nvPr/>
            </p:nvSpPr>
            <p:spPr bwMode="auto">
              <a:xfrm>
                <a:off x="17884911" y="7370216"/>
                <a:ext cx="19109" cy="25484"/>
              </a:xfrm>
              <a:custGeom>
                <a:avLst/>
                <a:gdLst>
                  <a:gd name="T0" fmla="*/ 2 w 2"/>
                  <a:gd name="T1" fmla="*/ 0 h 3"/>
                  <a:gd name="T2" fmla="*/ 0 w 2"/>
                  <a:gd name="T3" fmla="*/ 1 h 3"/>
                  <a:gd name="T4" fmla="*/ 2 w 2"/>
                  <a:gd name="T5" fmla="*/ 0 h 3"/>
                </a:gdLst>
                <a:ahLst/>
                <a:cxnLst>
                  <a:cxn ang="0">
                    <a:pos x="T0" y="T1"/>
                  </a:cxn>
                  <a:cxn ang="0">
                    <a:pos x="T2" y="T3"/>
                  </a:cxn>
                  <a:cxn ang="0">
                    <a:pos x="T4" y="T5"/>
                  </a:cxn>
                </a:cxnLst>
                <a:rect l="0" t="0" r="r" b="b"/>
                <a:pathLst>
                  <a:path w="2" h="3">
                    <a:moveTo>
                      <a:pt x="2" y="0"/>
                    </a:moveTo>
                    <a:cubicBezTo>
                      <a:pt x="2" y="0"/>
                      <a:pt x="0" y="1"/>
                      <a:pt x="0" y="1"/>
                    </a:cubicBezTo>
                    <a:cubicBezTo>
                      <a:pt x="1" y="3"/>
                      <a:pt x="2"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7" name="Freeform 433">
                <a:extLst>
                  <a:ext uri="{FF2B5EF4-FFF2-40B4-BE49-F238E27FC236}">
                    <a16:creationId xmlns:a16="http://schemas.microsoft.com/office/drawing/2014/main" id="{3CA857EB-2320-0C42-AD5A-E02B09D60CB5}"/>
                  </a:ext>
                </a:extLst>
              </p:cNvPr>
              <p:cNvSpPr>
                <a:spLocks/>
              </p:cNvSpPr>
              <p:nvPr/>
            </p:nvSpPr>
            <p:spPr bwMode="auto">
              <a:xfrm>
                <a:off x="17773446" y="7370216"/>
                <a:ext cx="121018" cy="92380"/>
              </a:xfrm>
              <a:custGeom>
                <a:avLst/>
                <a:gdLst>
                  <a:gd name="T0" fmla="*/ 11 w 13"/>
                  <a:gd name="T1" fmla="*/ 2 h 10"/>
                  <a:gd name="T2" fmla="*/ 7 w 13"/>
                  <a:gd name="T3" fmla="*/ 2 h 10"/>
                  <a:gd name="T4" fmla="*/ 5 w 13"/>
                  <a:gd name="T5" fmla="*/ 3 h 10"/>
                  <a:gd name="T6" fmla="*/ 3 w 13"/>
                  <a:gd name="T7" fmla="*/ 4 h 10"/>
                  <a:gd name="T8" fmla="*/ 0 w 13"/>
                  <a:gd name="T9" fmla="*/ 6 h 10"/>
                  <a:gd name="T10" fmla="*/ 3 w 13"/>
                  <a:gd name="T11" fmla="*/ 9 h 10"/>
                  <a:gd name="T12" fmla="*/ 6 w 13"/>
                  <a:gd name="T13" fmla="*/ 6 h 10"/>
                  <a:gd name="T14" fmla="*/ 10 w 13"/>
                  <a:gd name="T15" fmla="*/ 6 h 10"/>
                  <a:gd name="T16" fmla="*/ 11 w 13"/>
                  <a:gd name="T17" fmla="*/ 2 h 10"/>
                  <a:gd name="T18" fmla="*/ 11 w 13"/>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0">
                    <a:moveTo>
                      <a:pt x="11" y="2"/>
                    </a:moveTo>
                    <a:cubicBezTo>
                      <a:pt x="9" y="2"/>
                      <a:pt x="9" y="0"/>
                      <a:pt x="7" y="2"/>
                    </a:cubicBezTo>
                    <a:cubicBezTo>
                      <a:pt x="6" y="2"/>
                      <a:pt x="5" y="4"/>
                      <a:pt x="5" y="3"/>
                    </a:cubicBezTo>
                    <a:cubicBezTo>
                      <a:pt x="4" y="2"/>
                      <a:pt x="3" y="4"/>
                      <a:pt x="3" y="4"/>
                    </a:cubicBezTo>
                    <a:cubicBezTo>
                      <a:pt x="2" y="6"/>
                      <a:pt x="1" y="5"/>
                      <a:pt x="0" y="6"/>
                    </a:cubicBezTo>
                    <a:cubicBezTo>
                      <a:pt x="0" y="5"/>
                      <a:pt x="2" y="9"/>
                      <a:pt x="3" y="9"/>
                    </a:cubicBezTo>
                    <a:cubicBezTo>
                      <a:pt x="3" y="10"/>
                      <a:pt x="5" y="6"/>
                      <a:pt x="6" y="6"/>
                    </a:cubicBezTo>
                    <a:cubicBezTo>
                      <a:pt x="7" y="6"/>
                      <a:pt x="9" y="7"/>
                      <a:pt x="10" y="6"/>
                    </a:cubicBezTo>
                    <a:cubicBezTo>
                      <a:pt x="11" y="6"/>
                      <a:pt x="13" y="3"/>
                      <a:pt x="11" y="2"/>
                    </a:cubicBezTo>
                    <a:cubicBezTo>
                      <a:pt x="10" y="2"/>
                      <a:pt x="11" y="2"/>
                      <a:pt x="1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8" name="Freeform 434">
                <a:extLst>
                  <a:ext uri="{FF2B5EF4-FFF2-40B4-BE49-F238E27FC236}">
                    <a16:creationId xmlns:a16="http://schemas.microsoft.com/office/drawing/2014/main" id="{3EBA49BE-B8F7-A248-BAD7-D09EA541DC3F}"/>
                  </a:ext>
                </a:extLst>
              </p:cNvPr>
              <p:cNvSpPr>
                <a:spLocks/>
              </p:cNvSpPr>
              <p:nvPr/>
            </p:nvSpPr>
            <p:spPr bwMode="auto">
              <a:xfrm>
                <a:off x="17652427" y="7405258"/>
                <a:ext cx="101909" cy="149721"/>
              </a:xfrm>
              <a:custGeom>
                <a:avLst/>
                <a:gdLst>
                  <a:gd name="T0" fmla="*/ 7 w 11"/>
                  <a:gd name="T1" fmla="*/ 0 h 16"/>
                  <a:gd name="T2" fmla="*/ 2 w 11"/>
                  <a:gd name="T3" fmla="*/ 2 h 16"/>
                  <a:gd name="T4" fmla="*/ 0 w 11"/>
                  <a:gd name="T5" fmla="*/ 6 h 16"/>
                  <a:gd name="T6" fmla="*/ 2 w 11"/>
                  <a:gd name="T7" fmla="*/ 6 h 16"/>
                  <a:gd name="T8" fmla="*/ 3 w 11"/>
                  <a:gd name="T9" fmla="*/ 4 h 16"/>
                  <a:gd name="T10" fmla="*/ 4 w 11"/>
                  <a:gd name="T11" fmla="*/ 5 h 16"/>
                  <a:gd name="T12" fmla="*/ 3 w 11"/>
                  <a:gd name="T13" fmla="*/ 10 h 16"/>
                  <a:gd name="T14" fmla="*/ 3 w 11"/>
                  <a:gd name="T15" fmla="*/ 11 h 16"/>
                  <a:gd name="T16" fmla="*/ 3 w 11"/>
                  <a:gd name="T17" fmla="*/ 13 h 16"/>
                  <a:gd name="T18" fmla="*/ 5 w 11"/>
                  <a:gd name="T19" fmla="*/ 12 h 16"/>
                  <a:gd name="T20" fmla="*/ 6 w 11"/>
                  <a:gd name="T21" fmla="*/ 15 h 16"/>
                  <a:gd name="T22" fmla="*/ 8 w 11"/>
                  <a:gd name="T23" fmla="*/ 12 h 16"/>
                  <a:gd name="T24" fmla="*/ 11 w 11"/>
                  <a:gd name="T25" fmla="*/ 7 h 16"/>
                  <a:gd name="T26" fmla="*/ 10 w 11"/>
                  <a:gd name="T27" fmla="*/ 2 h 16"/>
                  <a:gd name="T28" fmla="*/ 7 w 11"/>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6">
                    <a:moveTo>
                      <a:pt x="7" y="0"/>
                    </a:moveTo>
                    <a:cubicBezTo>
                      <a:pt x="5" y="0"/>
                      <a:pt x="3" y="1"/>
                      <a:pt x="2" y="2"/>
                    </a:cubicBezTo>
                    <a:cubicBezTo>
                      <a:pt x="0" y="3"/>
                      <a:pt x="0" y="4"/>
                      <a:pt x="0" y="6"/>
                    </a:cubicBezTo>
                    <a:cubicBezTo>
                      <a:pt x="0" y="5"/>
                      <a:pt x="3" y="5"/>
                      <a:pt x="2" y="6"/>
                    </a:cubicBezTo>
                    <a:cubicBezTo>
                      <a:pt x="3" y="5"/>
                      <a:pt x="2" y="4"/>
                      <a:pt x="3" y="4"/>
                    </a:cubicBezTo>
                    <a:cubicBezTo>
                      <a:pt x="3" y="4"/>
                      <a:pt x="4" y="4"/>
                      <a:pt x="4" y="5"/>
                    </a:cubicBezTo>
                    <a:cubicBezTo>
                      <a:pt x="4" y="7"/>
                      <a:pt x="4" y="8"/>
                      <a:pt x="3" y="10"/>
                    </a:cubicBezTo>
                    <a:cubicBezTo>
                      <a:pt x="2" y="11"/>
                      <a:pt x="3" y="11"/>
                      <a:pt x="3" y="11"/>
                    </a:cubicBezTo>
                    <a:cubicBezTo>
                      <a:pt x="3" y="12"/>
                      <a:pt x="3" y="13"/>
                      <a:pt x="3" y="13"/>
                    </a:cubicBezTo>
                    <a:cubicBezTo>
                      <a:pt x="3" y="16"/>
                      <a:pt x="5" y="12"/>
                      <a:pt x="5" y="12"/>
                    </a:cubicBezTo>
                    <a:cubicBezTo>
                      <a:pt x="5" y="12"/>
                      <a:pt x="5" y="15"/>
                      <a:pt x="6" y="15"/>
                    </a:cubicBezTo>
                    <a:cubicBezTo>
                      <a:pt x="6" y="16"/>
                      <a:pt x="8" y="13"/>
                      <a:pt x="8" y="12"/>
                    </a:cubicBezTo>
                    <a:cubicBezTo>
                      <a:pt x="10" y="10"/>
                      <a:pt x="10" y="8"/>
                      <a:pt x="11" y="7"/>
                    </a:cubicBezTo>
                    <a:cubicBezTo>
                      <a:pt x="11" y="5"/>
                      <a:pt x="10" y="4"/>
                      <a:pt x="10" y="2"/>
                    </a:cubicBezTo>
                    <a:cubicBezTo>
                      <a:pt x="10" y="0"/>
                      <a:pt x="7" y="2"/>
                      <a:pt x="7"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59" name="Freeform 435">
                <a:extLst>
                  <a:ext uri="{FF2B5EF4-FFF2-40B4-BE49-F238E27FC236}">
                    <a16:creationId xmlns:a16="http://schemas.microsoft.com/office/drawing/2014/main" id="{B775854E-3660-AB46-A2F9-59DBF021CCE8}"/>
                  </a:ext>
                </a:extLst>
              </p:cNvPr>
              <p:cNvSpPr>
                <a:spLocks/>
              </p:cNvSpPr>
              <p:nvPr/>
            </p:nvSpPr>
            <p:spPr bwMode="auto">
              <a:xfrm>
                <a:off x="17550518" y="7771599"/>
                <a:ext cx="35033" cy="28669"/>
              </a:xfrm>
              <a:custGeom>
                <a:avLst/>
                <a:gdLst>
                  <a:gd name="T0" fmla="*/ 4 w 4"/>
                  <a:gd name="T1" fmla="*/ 0 h 3"/>
                  <a:gd name="T2" fmla="*/ 1 w 4"/>
                  <a:gd name="T3" fmla="*/ 3 h 3"/>
                  <a:gd name="T4" fmla="*/ 4 w 4"/>
                  <a:gd name="T5" fmla="*/ 0 h 3"/>
                </a:gdLst>
                <a:ahLst/>
                <a:cxnLst>
                  <a:cxn ang="0">
                    <a:pos x="T0" y="T1"/>
                  </a:cxn>
                  <a:cxn ang="0">
                    <a:pos x="T2" y="T3"/>
                  </a:cxn>
                  <a:cxn ang="0">
                    <a:pos x="T4" y="T5"/>
                  </a:cxn>
                </a:cxnLst>
                <a:rect l="0" t="0" r="r" b="b"/>
                <a:pathLst>
                  <a:path w="4" h="3">
                    <a:moveTo>
                      <a:pt x="4" y="0"/>
                    </a:moveTo>
                    <a:cubicBezTo>
                      <a:pt x="3" y="0"/>
                      <a:pt x="0" y="1"/>
                      <a:pt x="1" y="3"/>
                    </a:cubicBezTo>
                    <a:cubicBezTo>
                      <a:pt x="1" y="3"/>
                      <a:pt x="4"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0" name="Freeform 436">
                <a:extLst>
                  <a:ext uri="{FF2B5EF4-FFF2-40B4-BE49-F238E27FC236}">
                    <a16:creationId xmlns:a16="http://schemas.microsoft.com/office/drawing/2014/main" id="{B845136F-C44F-EC43-8B5B-91557822418B}"/>
                  </a:ext>
                </a:extLst>
              </p:cNvPr>
              <p:cNvSpPr>
                <a:spLocks/>
              </p:cNvSpPr>
              <p:nvPr/>
            </p:nvSpPr>
            <p:spPr bwMode="auto">
              <a:xfrm>
                <a:off x="17633319" y="7679216"/>
                <a:ext cx="19109" cy="15928"/>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1" y="0"/>
                      <a:pt x="0" y="1"/>
                      <a:pt x="0" y="1"/>
                    </a:cubicBezTo>
                    <a:cubicBezTo>
                      <a:pt x="0" y="2"/>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1" name="Freeform 437">
                <a:extLst>
                  <a:ext uri="{FF2B5EF4-FFF2-40B4-BE49-F238E27FC236}">
                    <a16:creationId xmlns:a16="http://schemas.microsoft.com/office/drawing/2014/main" id="{EFDC1262-F384-344F-8F1E-C34ACEC3EB0F}"/>
                  </a:ext>
                </a:extLst>
              </p:cNvPr>
              <p:cNvSpPr>
                <a:spLocks/>
              </p:cNvSpPr>
              <p:nvPr/>
            </p:nvSpPr>
            <p:spPr bwMode="auto">
              <a:xfrm>
                <a:off x="17381727" y="7873535"/>
                <a:ext cx="19109"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2" name="Freeform 438">
                <a:extLst>
                  <a:ext uri="{FF2B5EF4-FFF2-40B4-BE49-F238E27FC236}">
                    <a16:creationId xmlns:a16="http://schemas.microsoft.com/office/drawing/2014/main" id="{1C30A3BC-64B3-104E-9164-C95244594FE0}"/>
                  </a:ext>
                </a:extLst>
              </p:cNvPr>
              <p:cNvSpPr>
                <a:spLocks/>
              </p:cNvSpPr>
              <p:nvPr/>
            </p:nvSpPr>
            <p:spPr bwMode="auto">
              <a:xfrm>
                <a:off x="17203386" y="7838493"/>
                <a:ext cx="111465" cy="156092"/>
              </a:xfrm>
              <a:custGeom>
                <a:avLst/>
                <a:gdLst>
                  <a:gd name="T0" fmla="*/ 8 w 12"/>
                  <a:gd name="T1" fmla="*/ 1 h 17"/>
                  <a:gd name="T2" fmla="*/ 0 w 12"/>
                  <a:gd name="T3" fmla="*/ 8 h 17"/>
                  <a:gd name="T4" fmla="*/ 1 w 12"/>
                  <a:gd name="T5" fmla="*/ 14 h 17"/>
                  <a:gd name="T6" fmla="*/ 3 w 12"/>
                  <a:gd name="T7" fmla="*/ 17 h 17"/>
                  <a:gd name="T8" fmla="*/ 8 w 12"/>
                  <a:gd name="T9" fmla="*/ 1 h 17"/>
                  <a:gd name="T10" fmla="*/ 8 w 12"/>
                  <a:gd name="T11" fmla="*/ 1 h 17"/>
                </a:gdLst>
                <a:ahLst/>
                <a:cxnLst>
                  <a:cxn ang="0">
                    <a:pos x="T0" y="T1"/>
                  </a:cxn>
                  <a:cxn ang="0">
                    <a:pos x="T2" y="T3"/>
                  </a:cxn>
                  <a:cxn ang="0">
                    <a:pos x="T4" y="T5"/>
                  </a:cxn>
                  <a:cxn ang="0">
                    <a:pos x="T6" y="T7"/>
                  </a:cxn>
                  <a:cxn ang="0">
                    <a:pos x="T8" y="T9"/>
                  </a:cxn>
                  <a:cxn ang="0">
                    <a:pos x="T10" y="T11"/>
                  </a:cxn>
                </a:cxnLst>
                <a:rect l="0" t="0" r="r" b="b"/>
                <a:pathLst>
                  <a:path w="12" h="17">
                    <a:moveTo>
                      <a:pt x="8" y="1"/>
                    </a:moveTo>
                    <a:cubicBezTo>
                      <a:pt x="5" y="0"/>
                      <a:pt x="1" y="6"/>
                      <a:pt x="0" y="8"/>
                    </a:cubicBezTo>
                    <a:cubicBezTo>
                      <a:pt x="0" y="10"/>
                      <a:pt x="0" y="12"/>
                      <a:pt x="1" y="14"/>
                    </a:cubicBezTo>
                    <a:cubicBezTo>
                      <a:pt x="1" y="14"/>
                      <a:pt x="3" y="17"/>
                      <a:pt x="3" y="17"/>
                    </a:cubicBezTo>
                    <a:cubicBezTo>
                      <a:pt x="4" y="15"/>
                      <a:pt x="12" y="2"/>
                      <a:pt x="8" y="1"/>
                    </a:cubicBezTo>
                    <a:cubicBezTo>
                      <a:pt x="7" y="1"/>
                      <a:pt x="9" y="1"/>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3" name="Freeform 439">
                <a:extLst>
                  <a:ext uri="{FF2B5EF4-FFF2-40B4-BE49-F238E27FC236}">
                    <a16:creationId xmlns:a16="http://schemas.microsoft.com/office/drawing/2014/main" id="{627FA898-C5D9-7B40-A4B7-3226866145A6}"/>
                  </a:ext>
                </a:extLst>
              </p:cNvPr>
              <p:cNvSpPr>
                <a:spLocks/>
              </p:cNvSpPr>
              <p:nvPr/>
            </p:nvSpPr>
            <p:spPr bwMode="auto">
              <a:xfrm>
                <a:off x="16652429" y="8099708"/>
                <a:ext cx="130574" cy="92380"/>
              </a:xfrm>
              <a:custGeom>
                <a:avLst/>
                <a:gdLst>
                  <a:gd name="T0" fmla="*/ 13 w 14"/>
                  <a:gd name="T1" fmla="*/ 1 h 10"/>
                  <a:gd name="T2" fmla="*/ 9 w 14"/>
                  <a:gd name="T3" fmla="*/ 0 h 10"/>
                  <a:gd name="T4" fmla="*/ 4 w 14"/>
                  <a:gd name="T5" fmla="*/ 2 h 10"/>
                  <a:gd name="T6" fmla="*/ 4 w 14"/>
                  <a:gd name="T7" fmla="*/ 9 h 10"/>
                  <a:gd name="T8" fmla="*/ 11 w 14"/>
                  <a:gd name="T9" fmla="*/ 6 h 10"/>
                  <a:gd name="T10" fmla="*/ 13 w 14"/>
                  <a:gd name="T11" fmla="*/ 1 h 10"/>
                </a:gdLst>
                <a:ahLst/>
                <a:cxnLst>
                  <a:cxn ang="0">
                    <a:pos x="T0" y="T1"/>
                  </a:cxn>
                  <a:cxn ang="0">
                    <a:pos x="T2" y="T3"/>
                  </a:cxn>
                  <a:cxn ang="0">
                    <a:pos x="T4" y="T5"/>
                  </a:cxn>
                  <a:cxn ang="0">
                    <a:pos x="T6" y="T7"/>
                  </a:cxn>
                  <a:cxn ang="0">
                    <a:pos x="T8" y="T9"/>
                  </a:cxn>
                  <a:cxn ang="0">
                    <a:pos x="T10" y="T11"/>
                  </a:cxn>
                </a:cxnLst>
                <a:rect l="0" t="0" r="r" b="b"/>
                <a:pathLst>
                  <a:path w="14" h="10">
                    <a:moveTo>
                      <a:pt x="13" y="1"/>
                    </a:moveTo>
                    <a:cubicBezTo>
                      <a:pt x="12" y="1"/>
                      <a:pt x="11" y="0"/>
                      <a:pt x="9" y="0"/>
                    </a:cubicBezTo>
                    <a:cubicBezTo>
                      <a:pt x="7" y="0"/>
                      <a:pt x="6" y="1"/>
                      <a:pt x="4" y="2"/>
                    </a:cubicBezTo>
                    <a:cubicBezTo>
                      <a:pt x="2" y="4"/>
                      <a:pt x="0" y="7"/>
                      <a:pt x="4" y="9"/>
                    </a:cubicBezTo>
                    <a:cubicBezTo>
                      <a:pt x="6" y="10"/>
                      <a:pt x="10" y="8"/>
                      <a:pt x="11" y="6"/>
                    </a:cubicBezTo>
                    <a:cubicBezTo>
                      <a:pt x="11" y="5"/>
                      <a:pt x="14" y="1"/>
                      <a:pt x="1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4" name="Freeform 440">
                <a:extLst>
                  <a:ext uri="{FF2B5EF4-FFF2-40B4-BE49-F238E27FC236}">
                    <a16:creationId xmlns:a16="http://schemas.microsoft.com/office/drawing/2014/main" id="{412E10EC-793A-044A-9D6A-F1456DBF9E55}"/>
                  </a:ext>
                </a:extLst>
              </p:cNvPr>
              <p:cNvSpPr>
                <a:spLocks/>
              </p:cNvSpPr>
              <p:nvPr/>
            </p:nvSpPr>
            <p:spPr bwMode="auto">
              <a:xfrm>
                <a:off x="17184277" y="8163419"/>
                <a:ext cx="187897" cy="264400"/>
              </a:xfrm>
              <a:custGeom>
                <a:avLst/>
                <a:gdLst>
                  <a:gd name="T0" fmla="*/ 12 w 20"/>
                  <a:gd name="T1" fmla="*/ 2 h 28"/>
                  <a:gd name="T2" fmla="*/ 9 w 20"/>
                  <a:gd name="T3" fmla="*/ 2 h 28"/>
                  <a:gd name="T4" fmla="*/ 4 w 20"/>
                  <a:gd name="T5" fmla="*/ 3 h 28"/>
                  <a:gd name="T6" fmla="*/ 3 w 20"/>
                  <a:gd name="T7" fmla="*/ 11 h 28"/>
                  <a:gd name="T8" fmla="*/ 3 w 20"/>
                  <a:gd name="T9" fmla="*/ 13 h 28"/>
                  <a:gd name="T10" fmla="*/ 0 w 20"/>
                  <a:gd name="T11" fmla="*/ 13 h 28"/>
                  <a:gd name="T12" fmla="*/ 3 w 20"/>
                  <a:gd name="T13" fmla="*/ 22 h 28"/>
                  <a:gd name="T14" fmla="*/ 5 w 20"/>
                  <a:gd name="T15" fmla="*/ 20 h 28"/>
                  <a:gd name="T16" fmla="*/ 7 w 20"/>
                  <a:gd name="T17" fmla="*/ 22 h 28"/>
                  <a:gd name="T18" fmla="*/ 4 w 20"/>
                  <a:gd name="T19" fmla="*/ 23 h 28"/>
                  <a:gd name="T20" fmla="*/ 8 w 20"/>
                  <a:gd name="T21" fmla="*/ 26 h 28"/>
                  <a:gd name="T22" fmla="*/ 11 w 20"/>
                  <a:gd name="T23" fmla="*/ 25 h 28"/>
                  <a:gd name="T24" fmla="*/ 15 w 20"/>
                  <a:gd name="T25" fmla="*/ 28 h 28"/>
                  <a:gd name="T26" fmla="*/ 14 w 20"/>
                  <a:gd name="T27" fmla="*/ 25 h 28"/>
                  <a:gd name="T28" fmla="*/ 17 w 20"/>
                  <a:gd name="T29" fmla="*/ 24 h 28"/>
                  <a:gd name="T30" fmla="*/ 10 w 20"/>
                  <a:gd name="T31" fmla="*/ 22 h 28"/>
                  <a:gd name="T32" fmla="*/ 9 w 20"/>
                  <a:gd name="T33" fmla="*/ 16 h 28"/>
                  <a:gd name="T34" fmla="*/ 12 w 20"/>
                  <a:gd name="T35" fmla="*/ 12 h 28"/>
                  <a:gd name="T36" fmla="*/ 13 w 20"/>
                  <a:gd name="T37" fmla="*/ 7 h 28"/>
                  <a:gd name="T38" fmla="*/ 12 w 20"/>
                  <a:gd name="T39" fmla="*/ 2 h 28"/>
                  <a:gd name="T40" fmla="*/ 12 w 20"/>
                  <a:gd name="T41" fmla="*/ 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8">
                    <a:moveTo>
                      <a:pt x="12" y="2"/>
                    </a:moveTo>
                    <a:cubicBezTo>
                      <a:pt x="10" y="1"/>
                      <a:pt x="11" y="5"/>
                      <a:pt x="9" y="2"/>
                    </a:cubicBezTo>
                    <a:cubicBezTo>
                      <a:pt x="8" y="0"/>
                      <a:pt x="4" y="1"/>
                      <a:pt x="4" y="3"/>
                    </a:cubicBezTo>
                    <a:cubicBezTo>
                      <a:pt x="3" y="6"/>
                      <a:pt x="4" y="8"/>
                      <a:pt x="3" y="11"/>
                    </a:cubicBezTo>
                    <a:cubicBezTo>
                      <a:pt x="3" y="12"/>
                      <a:pt x="3" y="13"/>
                      <a:pt x="3" y="13"/>
                    </a:cubicBezTo>
                    <a:cubicBezTo>
                      <a:pt x="2" y="14"/>
                      <a:pt x="0" y="13"/>
                      <a:pt x="0" y="13"/>
                    </a:cubicBezTo>
                    <a:cubicBezTo>
                      <a:pt x="0" y="13"/>
                      <a:pt x="2" y="22"/>
                      <a:pt x="3" y="22"/>
                    </a:cubicBezTo>
                    <a:cubicBezTo>
                      <a:pt x="3" y="22"/>
                      <a:pt x="4" y="19"/>
                      <a:pt x="5" y="20"/>
                    </a:cubicBezTo>
                    <a:cubicBezTo>
                      <a:pt x="5" y="20"/>
                      <a:pt x="7" y="21"/>
                      <a:pt x="7" y="22"/>
                    </a:cubicBezTo>
                    <a:cubicBezTo>
                      <a:pt x="7" y="23"/>
                      <a:pt x="4" y="21"/>
                      <a:pt x="4" y="23"/>
                    </a:cubicBezTo>
                    <a:cubicBezTo>
                      <a:pt x="4" y="25"/>
                      <a:pt x="6" y="27"/>
                      <a:pt x="8" y="26"/>
                    </a:cubicBezTo>
                    <a:cubicBezTo>
                      <a:pt x="9" y="26"/>
                      <a:pt x="10" y="24"/>
                      <a:pt x="11" y="25"/>
                    </a:cubicBezTo>
                    <a:cubicBezTo>
                      <a:pt x="11" y="25"/>
                      <a:pt x="15" y="28"/>
                      <a:pt x="15" y="28"/>
                    </a:cubicBezTo>
                    <a:cubicBezTo>
                      <a:pt x="16" y="27"/>
                      <a:pt x="13" y="26"/>
                      <a:pt x="14" y="25"/>
                    </a:cubicBezTo>
                    <a:cubicBezTo>
                      <a:pt x="13" y="26"/>
                      <a:pt x="20" y="28"/>
                      <a:pt x="17" y="24"/>
                    </a:cubicBezTo>
                    <a:cubicBezTo>
                      <a:pt x="15" y="22"/>
                      <a:pt x="11" y="25"/>
                      <a:pt x="10" y="22"/>
                    </a:cubicBezTo>
                    <a:cubicBezTo>
                      <a:pt x="9" y="20"/>
                      <a:pt x="9" y="19"/>
                      <a:pt x="9" y="16"/>
                    </a:cubicBezTo>
                    <a:cubicBezTo>
                      <a:pt x="9" y="14"/>
                      <a:pt x="11" y="14"/>
                      <a:pt x="12" y="12"/>
                    </a:cubicBezTo>
                    <a:cubicBezTo>
                      <a:pt x="14" y="10"/>
                      <a:pt x="14" y="9"/>
                      <a:pt x="13" y="7"/>
                    </a:cubicBezTo>
                    <a:cubicBezTo>
                      <a:pt x="13" y="7"/>
                      <a:pt x="13" y="2"/>
                      <a:pt x="12" y="2"/>
                    </a:cubicBezTo>
                    <a:cubicBezTo>
                      <a:pt x="11" y="2"/>
                      <a:pt x="13" y="2"/>
                      <a:pt x="1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5" name="Freeform 441">
                <a:extLst>
                  <a:ext uri="{FF2B5EF4-FFF2-40B4-BE49-F238E27FC236}">
                    <a16:creationId xmlns:a16="http://schemas.microsoft.com/office/drawing/2014/main" id="{C8ED253B-65A9-4D40-8335-0CAF77434C1E}"/>
                  </a:ext>
                </a:extLst>
              </p:cNvPr>
              <p:cNvSpPr>
                <a:spLocks/>
              </p:cNvSpPr>
              <p:nvPr/>
            </p:nvSpPr>
            <p:spPr bwMode="auto">
              <a:xfrm>
                <a:off x="17343512" y="8389592"/>
                <a:ext cx="57323" cy="73269"/>
              </a:xfrm>
              <a:custGeom>
                <a:avLst/>
                <a:gdLst>
                  <a:gd name="T0" fmla="*/ 3 w 6"/>
                  <a:gd name="T1" fmla="*/ 1 h 8"/>
                  <a:gd name="T2" fmla="*/ 1 w 6"/>
                  <a:gd name="T3" fmla="*/ 1 h 8"/>
                  <a:gd name="T4" fmla="*/ 0 w 6"/>
                  <a:gd name="T5" fmla="*/ 3 h 8"/>
                  <a:gd name="T6" fmla="*/ 2 w 6"/>
                  <a:gd name="T7" fmla="*/ 6 h 8"/>
                  <a:gd name="T8" fmla="*/ 5 w 6"/>
                  <a:gd name="T9" fmla="*/ 7 h 8"/>
                  <a:gd name="T10" fmla="*/ 4 w 6"/>
                  <a:gd name="T11" fmla="*/ 4 h 8"/>
                  <a:gd name="T12" fmla="*/ 3 w 6"/>
                  <a:gd name="T13" fmla="*/ 1 h 8"/>
                  <a:gd name="T14" fmla="*/ 3 w 6"/>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8">
                    <a:moveTo>
                      <a:pt x="3" y="1"/>
                    </a:moveTo>
                    <a:cubicBezTo>
                      <a:pt x="3" y="1"/>
                      <a:pt x="2" y="0"/>
                      <a:pt x="1" y="1"/>
                    </a:cubicBezTo>
                    <a:cubicBezTo>
                      <a:pt x="1" y="2"/>
                      <a:pt x="0" y="2"/>
                      <a:pt x="0" y="3"/>
                    </a:cubicBezTo>
                    <a:cubicBezTo>
                      <a:pt x="1" y="4"/>
                      <a:pt x="0" y="5"/>
                      <a:pt x="2" y="6"/>
                    </a:cubicBezTo>
                    <a:cubicBezTo>
                      <a:pt x="2" y="6"/>
                      <a:pt x="6" y="8"/>
                      <a:pt x="5" y="7"/>
                    </a:cubicBezTo>
                    <a:cubicBezTo>
                      <a:pt x="5" y="6"/>
                      <a:pt x="5" y="5"/>
                      <a:pt x="4" y="4"/>
                    </a:cubicBezTo>
                    <a:cubicBezTo>
                      <a:pt x="2" y="4"/>
                      <a:pt x="2" y="1"/>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6" name="Freeform 442">
                <a:extLst>
                  <a:ext uri="{FF2B5EF4-FFF2-40B4-BE49-F238E27FC236}">
                    <a16:creationId xmlns:a16="http://schemas.microsoft.com/office/drawing/2014/main" id="{5BFD9CCD-19B5-7547-96A6-E3AFD1C1D2D8}"/>
                  </a:ext>
                </a:extLst>
              </p:cNvPr>
              <p:cNvSpPr>
                <a:spLocks/>
              </p:cNvSpPr>
              <p:nvPr/>
            </p:nvSpPr>
            <p:spPr bwMode="auto">
              <a:xfrm>
                <a:off x="17381727" y="8453303"/>
                <a:ext cx="92356" cy="124237"/>
              </a:xfrm>
              <a:custGeom>
                <a:avLst/>
                <a:gdLst>
                  <a:gd name="T0" fmla="*/ 4 w 10"/>
                  <a:gd name="T1" fmla="*/ 0 h 13"/>
                  <a:gd name="T2" fmla="*/ 2 w 10"/>
                  <a:gd name="T3" fmla="*/ 1 h 13"/>
                  <a:gd name="T4" fmla="*/ 4 w 10"/>
                  <a:gd name="T5" fmla="*/ 4 h 13"/>
                  <a:gd name="T6" fmla="*/ 4 w 10"/>
                  <a:gd name="T7" fmla="*/ 9 h 13"/>
                  <a:gd name="T8" fmla="*/ 5 w 10"/>
                  <a:gd name="T9" fmla="*/ 13 h 13"/>
                  <a:gd name="T10" fmla="*/ 5 w 10"/>
                  <a:gd name="T11" fmla="*/ 11 h 13"/>
                  <a:gd name="T12" fmla="*/ 9 w 10"/>
                  <a:gd name="T13" fmla="*/ 8 h 13"/>
                  <a:gd name="T14" fmla="*/ 8 w 10"/>
                  <a:gd name="T15" fmla="*/ 6 h 13"/>
                  <a:gd name="T16" fmla="*/ 9 w 10"/>
                  <a:gd name="T17" fmla="*/ 5 h 13"/>
                  <a:gd name="T18" fmla="*/ 7 w 10"/>
                  <a:gd name="T19" fmla="*/ 1 h 13"/>
                  <a:gd name="T20" fmla="*/ 4 w 10"/>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4" y="0"/>
                    </a:moveTo>
                    <a:cubicBezTo>
                      <a:pt x="3" y="0"/>
                      <a:pt x="4" y="0"/>
                      <a:pt x="2" y="1"/>
                    </a:cubicBezTo>
                    <a:cubicBezTo>
                      <a:pt x="1" y="2"/>
                      <a:pt x="3" y="3"/>
                      <a:pt x="4" y="4"/>
                    </a:cubicBezTo>
                    <a:cubicBezTo>
                      <a:pt x="5" y="6"/>
                      <a:pt x="0" y="7"/>
                      <a:pt x="4" y="9"/>
                    </a:cubicBezTo>
                    <a:cubicBezTo>
                      <a:pt x="5" y="10"/>
                      <a:pt x="3" y="12"/>
                      <a:pt x="5" y="13"/>
                    </a:cubicBezTo>
                    <a:cubicBezTo>
                      <a:pt x="6" y="13"/>
                      <a:pt x="6" y="12"/>
                      <a:pt x="5" y="11"/>
                    </a:cubicBezTo>
                    <a:cubicBezTo>
                      <a:pt x="3" y="5"/>
                      <a:pt x="9" y="10"/>
                      <a:pt x="9" y="8"/>
                    </a:cubicBezTo>
                    <a:cubicBezTo>
                      <a:pt x="9" y="7"/>
                      <a:pt x="7" y="6"/>
                      <a:pt x="8" y="6"/>
                    </a:cubicBezTo>
                    <a:cubicBezTo>
                      <a:pt x="8" y="5"/>
                      <a:pt x="10" y="6"/>
                      <a:pt x="9" y="5"/>
                    </a:cubicBezTo>
                    <a:cubicBezTo>
                      <a:pt x="8" y="4"/>
                      <a:pt x="6" y="3"/>
                      <a:pt x="7" y="1"/>
                    </a:cubicBezTo>
                    <a:cubicBezTo>
                      <a:pt x="7" y="0"/>
                      <a:pt x="5" y="0"/>
                      <a:pt x="4"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7" name="Freeform 443">
                <a:extLst>
                  <a:ext uri="{FF2B5EF4-FFF2-40B4-BE49-F238E27FC236}">
                    <a16:creationId xmlns:a16="http://schemas.microsoft.com/office/drawing/2014/main" id="{B4DC68F3-32E9-5447-98A6-AC29732DE11F}"/>
                  </a:ext>
                </a:extLst>
              </p:cNvPr>
              <p:cNvSpPr>
                <a:spLocks/>
              </p:cNvSpPr>
              <p:nvPr/>
            </p:nvSpPr>
            <p:spPr bwMode="auto">
              <a:xfrm>
                <a:off x="17212936" y="8399150"/>
                <a:ext cx="57323" cy="73269"/>
              </a:xfrm>
              <a:custGeom>
                <a:avLst/>
                <a:gdLst>
                  <a:gd name="T0" fmla="*/ 6 w 6"/>
                  <a:gd name="T1" fmla="*/ 5 h 8"/>
                  <a:gd name="T2" fmla="*/ 0 w 6"/>
                  <a:gd name="T3" fmla="*/ 2 h 8"/>
                  <a:gd name="T4" fmla="*/ 3 w 6"/>
                  <a:gd name="T5" fmla="*/ 6 h 8"/>
                  <a:gd name="T6" fmla="*/ 6 w 6"/>
                  <a:gd name="T7" fmla="*/ 5 h 8"/>
                  <a:gd name="T8" fmla="*/ 6 w 6"/>
                  <a:gd name="T9" fmla="*/ 5 h 8"/>
                </a:gdLst>
                <a:ahLst/>
                <a:cxnLst>
                  <a:cxn ang="0">
                    <a:pos x="T0" y="T1"/>
                  </a:cxn>
                  <a:cxn ang="0">
                    <a:pos x="T2" y="T3"/>
                  </a:cxn>
                  <a:cxn ang="0">
                    <a:pos x="T4" y="T5"/>
                  </a:cxn>
                  <a:cxn ang="0">
                    <a:pos x="T6" y="T7"/>
                  </a:cxn>
                  <a:cxn ang="0">
                    <a:pos x="T8" y="T9"/>
                  </a:cxn>
                </a:cxnLst>
                <a:rect l="0" t="0" r="r" b="b"/>
                <a:pathLst>
                  <a:path w="6" h="8">
                    <a:moveTo>
                      <a:pt x="6" y="5"/>
                    </a:moveTo>
                    <a:cubicBezTo>
                      <a:pt x="5" y="4"/>
                      <a:pt x="3" y="0"/>
                      <a:pt x="0" y="2"/>
                    </a:cubicBezTo>
                    <a:cubicBezTo>
                      <a:pt x="0" y="2"/>
                      <a:pt x="3" y="5"/>
                      <a:pt x="3" y="6"/>
                    </a:cubicBezTo>
                    <a:cubicBezTo>
                      <a:pt x="3" y="8"/>
                      <a:pt x="6" y="8"/>
                      <a:pt x="6" y="5"/>
                    </a:cubicBezTo>
                    <a:cubicBezTo>
                      <a:pt x="6" y="5"/>
                      <a:pt x="6" y="6"/>
                      <a:pt x="6"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8" name="Freeform 444">
                <a:extLst>
                  <a:ext uri="{FF2B5EF4-FFF2-40B4-BE49-F238E27FC236}">
                    <a16:creationId xmlns:a16="http://schemas.microsoft.com/office/drawing/2014/main" id="{291269F8-E03C-D849-96D1-E66055E128D9}"/>
                  </a:ext>
                </a:extLst>
              </p:cNvPr>
              <p:cNvSpPr>
                <a:spLocks/>
              </p:cNvSpPr>
              <p:nvPr/>
            </p:nvSpPr>
            <p:spPr bwMode="auto">
              <a:xfrm>
                <a:off x="17279818" y="8472417"/>
                <a:ext cx="82803" cy="95566"/>
              </a:xfrm>
              <a:custGeom>
                <a:avLst/>
                <a:gdLst>
                  <a:gd name="T0" fmla="*/ 3 w 9"/>
                  <a:gd name="T1" fmla="*/ 2 h 10"/>
                  <a:gd name="T2" fmla="*/ 0 w 9"/>
                  <a:gd name="T3" fmla="*/ 2 h 10"/>
                  <a:gd name="T4" fmla="*/ 2 w 9"/>
                  <a:gd name="T5" fmla="*/ 4 h 10"/>
                  <a:gd name="T6" fmla="*/ 1 w 9"/>
                  <a:gd name="T7" fmla="*/ 9 h 10"/>
                  <a:gd name="T8" fmla="*/ 6 w 9"/>
                  <a:gd name="T9" fmla="*/ 6 h 10"/>
                  <a:gd name="T10" fmla="*/ 3 w 9"/>
                  <a:gd name="T11" fmla="*/ 2 h 10"/>
                  <a:gd name="T12" fmla="*/ 3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3" y="2"/>
                    </a:moveTo>
                    <a:cubicBezTo>
                      <a:pt x="2" y="1"/>
                      <a:pt x="1" y="1"/>
                      <a:pt x="0" y="2"/>
                    </a:cubicBezTo>
                    <a:cubicBezTo>
                      <a:pt x="0" y="3"/>
                      <a:pt x="2" y="3"/>
                      <a:pt x="2" y="4"/>
                    </a:cubicBezTo>
                    <a:cubicBezTo>
                      <a:pt x="3" y="5"/>
                      <a:pt x="0" y="8"/>
                      <a:pt x="1" y="9"/>
                    </a:cubicBezTo>
                    <a:cubicBezTo>
                      <a:pt x="1" y="10"/>
                      <a:pt x="5" y="6"/>
                      <a:pt x="6" y="6"/>
                    </a:cubicBezTo>
                    <a:cubicBezTo>
                      <a:pt x="9" y="6"/>
                      <a:pt x="3" y="2"/>
                      <a:pt x="3" y="2"/>
                    </a:cubicBezTo>
                    <a:cubicBezTo>
                      <a:pt x="1" y="0"/>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69" name="Freeform 445">
                <a:extLst>
                  <a:ext uri="{FF2B5EF4-FFF2-40B4-BE49-F238E27FC236}">
                    <a16:creationId xmlns:a16="http://schemas.microsoft.com/office/drawing/2014/main" id="{EE95BD15-8881-C548-BFAB-E06FAA5F4601}"/>
                  </a:ext>
                </a:extLst>
              </p:cNvPr>
              <p:cNvSpPr>
                <a:spLocks/>
              </p:cNvSpPr>
              <p:nvPr/>
            </p:nvSpPr>
            <p:spPr bwMode="auto">
              <a:xfrm>
                <a:off x="17298926" y="8529755"/>
                <a:ext cx="63695" cy="101936"/>
              </a:xfrm>
              <a:custGeom>
                <a:avLst/>
                <a:gdLst>
                  <a:gd name="T0" fmla="*/ 6 w 7"/>
                  <a:gd name="T1" fmla="*/ 1 h 11"/>
                  <a:gd name="T2" fmla="*/ 3 w 7"/>
                  <a:gd name="T3" fmla="*/ 5 h 11"/>
                  <a:gd name="T4" fmla="*/ 3 w 7"/>
                  <a:gd name="T5" fmla="*/ 9 h 11"/>
                  <a:gd name="T6" fmla="*/ 5 w 7"/>
                  <a:gd name="T7" fmla="*/ 6 h 11"/>
                  <a:gd name="T8" fmla="*/ 6 w 7"/>
                  <a:gd name="T9" fmla="*/ 1 h 11"/>
                  <a:gd name="T10" fmla="*/ 6 w 7"/>
                  <a:gd name="T11" fmla="*/ 1 h 11"/>
                </a:gdLst>
                <a:ahLst/>
                <a:cxnLst>
                  <a:cxn ang="0">
                    <a:pos x="T0" y="T1"/>
                  </a:cxn>
                  <a:cxn ang="0">
                    <a:pos x="T2" y="T3"/>
                  </a:cxn>
                  <a:cxn ang="0">
                    <a:pos x="T4" y="T5"/>
                  </a:cxn>
                  <a:cxn ang="0">
                    <a:pos x="T6" y="T7"/>
                  </a:cxn>
                  <a:cxn ang="0">
                    <a:pos x="T8" y="T9"/>
                  </a:cxn>
                  <a:cxn ang="0">
                    <a:pos x="T10" y="T11"/>
                  </a:cxn>
                </a:cxnLst>
                <a:rect l="0" t="0" r="r" b="b"/>
                <a:pathLst>
                  <a:path w="7" h="11">
                    <a:moveTo>
                      <a:pt x="6" y="1"/>
                    </a:moveTo>
                    <a:cubicBezTo>
                      <a:pt x="3" y="1"/>
                      <a:pt x="4" y="4"/>
                      <a:pt x="3" y="5"/>
                    </a:cubicBezTo>
                    <a:cubicBezTo>
                      <a:pt x="0" y="7"/>
                      <a:pt x="1" y="7"/>
                      <a:pt x="3" y="9"/>
                    </a:cubicBezTo>
                    <a:cubicBezTo>
                      <a:pt x="6" y="11"/>
                      <a:pt x="4" y="8"/>
                      <a:pt x="5" y="6"/>
                    </a:cubicBezTo>
                    <a:cubicBezTo>
                      <a:pt x="5" y="6"/>
                      <a:pt x="7" y="0"/>
                      <a:pt x="6" y="1"/>
                    </a:cubicBezTo>
                    <a:cubicBezTo>
                      <a:pt x="5" y="1"/>
                      <a:pt x="6"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0" name="Freeform 446">
                <a:extLst>
                  <a:ext uri="{FF2B5EF4-FFF2-40B4-BE49-F238E27FC236}">
                    <a16:creationId xmlns:a16="http://schemas.microsoft.com/office/drawing/2014/main" id="{0F9AE5CD-8CB0-B54C-9D81-89FDB4D00639}"/>
                  </a:ext>
                </a:extLst>
              </p:cNvPr>
              <p:cNvSpPr>
                <a:spLocks/>
              </p:cNvSpPr>
              <p:nvPr/>
            </p:nvSpPr>
            <p:spPr bwMode="auto">
              <a:xfrm>
                <a:off x="17353063" y="8520200"/>
                <a:ext cx="38217" cy="73269"/>
              </a:xfrm>
              <a:custGeom>
                <a:avLst/>
                <a:gdLst>
                  <a:gd name="T0" fmla="*/ 3 w 4"/>
                  <a:gd name="T1" fmla="*/ 1 h 8"/>
                  <a:gd name="T2" fmla="*/ 0 w 4"/>
                  <a:gd name="T3" fmla="*/ 8 h 8"/>
                  <a:gd name="T4" fmla="*/ 3 w 4"/>
                  <a:gd name="T5" fmla="*/ 5 h 8"/>
                  <a:gd name="T6" fmla="*/ 3 w 4"/>
                  <a:gd name="T7" fmla="*/ 1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2" y="1"/>
                      <a:pt x="0" y="7"/>
                      <a:pt x="0" y="8"/>
                    </a:cubicBezTo>
                    <a:cubicBezTo>
                      <a:pt x="0" y="8"/>
                      <a:pt x="2" y="6"/>
                      <a:pt x="3" y="5"/>
                    </a:cubicBezTo>
                    <a:cubicBezTo>
                      <a:pt x="3" y="5"/>
                      <a:pt x="4"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1" name="Freeform 447">
                <a:extLst>
                  <a:ext uri="{FF2B5EF4-FFF2-40B4-BE49-F238E27FC236}">
                    <a16:creationId xmlns:a16="http://schemas.microsoft.com/office/drawing/2014/main" id="{21B77C3B-0904-0343-97FE-43F6AAB7B3A1}"/>
                  </a:ext>
                </a:extLst>
              </p:cNvPr>
              <p:cNvSpPr>
                <a:spLocks/>
              </p:cNvSpPr>
              <p:nvPr/>
            </p:nvSpPr>
            <p:spPr bwMode="auto">
              <a:xfrm>
                <a:off x="17372174" y="8567983"/>
                <a:ext cx="57323" cy="35042"/>
              </a:xfrm>
              <a:custGeom>
                <a:avLst/>
                <a:gdLst>
                  <a:gd name="T0" fmla="*/ 1 w 6"/>
                  <a:gd name="T1" fmla="*/ 1 h 4"/>
                  <a:gd name="T2" fmla="*/ 3 w 6"/>
                  <a:gd name="T3" fmla="*/ 3 h 4"/>
                  <a:gd name="T4" fmla="*/ 1 w 6"/>
                  <a:gd name="T5" fmla="*/ 1 h 4"/>
                  <a:gd name="T6" fmla="*/ 1 w 6"/>
                  <a:gd name="T7" fmla="*/ 1 h 4"/>
                </a:gdLst>
                <a:ahLst/>
                <a:cxnLst>
                  <a:cxn ang="0">
                    <a:pos x="T0" y="T1"/>
                  </a:cxn>
                  <a:cxn ang="0">
                    <a:pos x="T2" y="T3"/>
                  </a:cxn>
                  <a:cxn ang="0">
                    <a:pos x="T4" y="T5"/>
                  </a:cxn>
                  <a:cxn ang="0">
                    <a:pos x="T6" y="T7"/>
                  </a:cxn>
                </a:cxnLst>
                <a:rect l="0" t="0" r="r" b="b"/>
                <a:pathLst>
                  <a:path w="6" h="4">
                    <a:moveTo>
                      <a:pt x="1" y="1"/>
                    </a:moveTo>
                    <a:cubicBezTo>
                      <a:pt x="0" y="3"/>
                      <a:pt x="1" y="4"/>
                      <a:pt x="3" y="3"/>
                    </a:cubicBezTo>
                    <a:cubicBezTo>
                      <a:pt x="6" y="3"/>
                      <a:pt x="2" y="0"/>
                      <a:pt x="1" y="1"/>
                    </a:cubicBezTo>
                    <a:cubicBezTo>
                      <a:pt x="1" y="2"/>
                      <a:pt x="2" y="1"/>
                      <a:pt x="1"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2" name="Freeform 448">
                <a:extLst>
                  <a:ext uri="{FF2B5EF4-FFF2-40B4-BE49-F238E27FC236}">
                    <a16:creationId xmlns:a16="http://schemas.microsoft.com/office/drawing/2014/main" id="{CC28734D-C22B-4644-90A4-6C063145575A}"/>
                  </a:ext>
                </a:extLst>
              </p:cNvPr>
              <p:cNvSpPr>
                <a:spLocks/>
              </p:cNvSpPr>
              <p:nvPr/>
            </p:nvSpPr>
            <p:spPr bwMode="auto">
              <a:xfrm>
                <a:off x="17372174" y="8593469"/>
                <a:ext cx="130574" cy="197506"/>
              </a:xfrm>
              <a:custGeom>
                <a:avLst/>
                <a:gdLst>
                  <a:gd name="T0" fmla="*/ 10 w 14"/>
                  <a:gd name="T1" fmla="*/ 0 h 21"/>
                  <a:gd name="T2" fmla="*/ 9 w 14"/>
                  <a:gd name="T3" fmla="*/ 2 h 21"/>
                  <a:gd name="T4" fmla="*/ 7 w 14"/>
                  <a:gd name="T5" fmla="*/ 4 h 21"/>
                  <a:gd name="T6" fmla="*/ 3 w 14"/>
                  <a:gd name="T7" fmla="*/ 6 h 21"/>
                  <a:gd name="T8" fmla="*/ 2 w 14"/>
                  <a:gd name="T9" fmla="*/ 11 h 21"/>
                  <a:gd name="T10" fmla="*/ 2 w 14"/>
                  <a:gd name="T11" fmla="*/ 14 h 21"/>
                  <a:gd name="T12" fmla="*/ 3 w 14"/>
                  <a:gd name="T13" fmla="*/ 18 h 21"/>
                  <a:gd name="T14" fmla="*/ 8 w 14"/>
                  <a:gd name="T15" fmla="*/ 19 h 21"/>
                  <a:gd name="T16" fmla="*/ 8 w 14"/>
                  <a:gd name="T17" fmla="*/ 16 h 21"/>
                  <a:gd name="T18" fmla="*/ 10 w 14"/>
                  <a:gd name="T19" fmla="*/ 12 h 21"/>
                  <a:gd name="T20" fmla="*/ 12 w 14"/>
                  <a:gd name="T21" fmla="*/ 17 h 21"/>
                  <a:gd name="T22" fmla="*/ 13 w 14"/>
                  <a:gd name="T23" fmla="*/ 14 h 21"/>
                  <a:gd name="T24" fmla="*/ 13 w 14"/>
                  <a:gd name="T25" fmla="*/ 10 h 21"/>
                  <a:gd name="T26" fmla="*/ 10 w 14"/>
                  <a:gd name="T27" fmla="*/ 0 h 21"/>
                  <a:gd name="T28" fmla="*/ 10 w 14"/>
                  <a:gd name="T2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0" y="0"/>
                    </a:moveTo>
                    <a:cubicBezTo>
                      <a:pt x="9" y="0"/>
                      <a:pt x="9" y="1"/>
                      <a:pt x="9" y="2"/>
                    </a:cubicBezTo>
                    <a:cubicBezTo>
                      <a:pt x="9" y="3"/>
                      <a:pt x="9" y="3"/>
                      <a:pt x="7" y="4"/>
                    </a:cubicBezTo>
                    <a:cubicBezTo>
                      <a:pt x="6" y="4"/>
                      <a:pt x="4" y="6"/>
                      <a:pt x="3" y="6"/>
                    </a:cubicBezTo>
                    <a:cubicBezTo>
                      <a:pt x="1" y="9"/>
                      <a:pt x="0" y="9"/>
                      <a:pt x="2" y="11"/>
                    </a:cubicBezTo>
                    <a:cubicBezTo>
                      <a:pt x="3" y="12"/>
                      <a:pt x="2" y="13"/>
                      <a:pt x="2" y="14"/>
                    </a:cubicBezTo>
                    <a:cubicBezTo>
                      <a:pt x="1" y="16"/>
                      <a:pt x="2" y="17"/>
                      <a:pt x="3" y="18"/>
                    </a:cubicBezTo>
                    <a:cubicBezTo>
                      <a:pt x="5" y="19"/>
                      <a:pt x="7" y="19"/>
                      <a:pt x="8" y="19"/>
                    </a:cubicBezTo>
                    <a:cubicBezTo>
                      <a:pt x="11" y="21"/>
                      <a:pt x="9" y="18"/>
                      <a:pt x="8" y="16"/>
                    </a:cubicBezTo>
                    <a:cubicBezTo>
                      <a:pt x="8" y="16"/>
                      <a:pt x="8" y="12"/>
                      <a:pt x="10" y="12"/>
                    </a:cubicBezTo>
                    <a:cubicBezTo>
                      <a:pt x="11" y="12"/>
                      <a:pt x="11" y="17"/>
                      <a:pt x="12" y="17"/>
                    </a:cubicBezTo>
                    <a:cubicBezTo>
                      <a:pt x="12" y="17"/>
                      <a:pt x="13" y="14"/>
                      <a:pt x="13" y="14"/>
                    </a:cubicBezTo>
                    <a:cubicBezTo>
                      <a:pt x="14" y="12"/>
                      <a:pt x="14" y="11"/>
                      <a:pt x="13" y="10"/>
                    </a:cubicBezTo>
                    <a:cubicBezTo>
                      <a:pt x="13" y="7"/>
                      <a:pt x="13" y="1"/>
                      <a:pt x="10" y="0"/>
                    </a:cubicBezTo>
                    <a:cubicBezTo>
                      <a:pt x="9" y="0"/>
                      <a:pt x="10" y="1"/>
                      <a:pt x="1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3" name="Freeform 449">
                <a:extLst>
                  <a:ext uri="{FF2B5EF4-FFF2-40B4-BE49-F238E27FC236}">
                    <a16:creationId xmlns:a16="http://schemas.microsoft.com/office/drawing/2014/main" id="{3C36E338-D618-0B4D-B83C-78CB01193442}"/>
                  </a:ext>
                </a:extLst>
              </p:cNvPr>
              <p:cNvSpPr>
                <a:spLocks/>
              </p:cNvSpPr>
              <p:nvPr/>
            </p:nvSpPr>
            <p:spPr bwMode="auto">
              <a:xfrm>
                <a:off x="17289371" y="8631694"/>
                <a:ext cx="111465" cy="95566"/>
              </a:xfrm>
              <a:custGeom>
                <a:avLst/>
                <a:gdLst>
                  <a:gd name="T0" fmla="*/ 8 w 12"/>
                  <a:gd name="T1" fmla="*/ 1 h 10"/>
                  <a:gd name="T2" fmla="*/ 2 w 12"/>
                  <a:gd name="T3" fmla="*/ 4 h 10"/>
                  <a:gd name="T4" fmla="*/ 0 w 12"/>
                  <a:gd name="T5" fmla="*/ 10 h 10"/>
                  <a:gd name="T6" fmla="*/ 2 w 12"/>
                  <a:gd name="T7" fmla="*/ 6 h 10"/>
                  <a:gd name="T8" fmla="*/ 4 w 12"/>
                  <a:gd name="T9" fmla="*/ 6 h 10"/>
                  <a:gd name="T10" fmla="*/ 6 w 12"/>
                  <a:gd name="T11" fmla="*/ 7 h 10"/>
                  <a:gd name="T12" fmla="*/ 8 w 12"/>
                  <a:gd name="T13" fmla="*/ 7 h 10"/>
                  <a:gd name="T14" fmla="*/ 8 w 12"/>
                  <a:gd name="T15" fmla="*/ 5 h 10"/>
                  <a:gd name="T16" fmla="*/ 8 w 12"/>
                  <a:gd name="T17" fmla="*/ 1 h 10"/>
                  <a:gd name="T18" fmla="*/ 8 w 12"/>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0">
                    <a:moveTo>
                      <a:pt x="8" y="1"/>
                    </a:moveTo>
                    <a:cubicBezTo>
                      <a:pt x="6" y="0"/>
                      <a:pt x="5" y="4"/>
                      <a:pt x="2" y="4"/>
                    </a:cubicBezTo>
                    <a:cubicBezTo>
                      <a:pt x="0" y="5"/>
                      <a:pt x="0" y="9"/>
                      <a:pt x="0" y="10"/>
                    </a:cubicBezTo>
                    <a:cubicBezTo>
                      <a:pt x="1" y="9"/>
                      <a:pt x="1" y="7"/>
                      <a:pt x="2" y="6"/>
                    </a:cubicBezTo>
                    <a:cubicBezTo>
                      <a:pt x="2" y="6"/>
                      <a:pt x="4" y="5"/>
                      <a:pt x="4" y="6"/>
                    </a:cubicBezTo>
                    <a:cubicBezTo>
                      <a:pt x="4" y="7"/>
                      <a:pt x="6" y="7"/>
                      <a:pt x="6" y="7"/>
                    </a:cubicBezTo>
                    <a:cubicBezTo>
                      <a:pt x="7" y="7"/>
                      <a:pt x="7" y="8"/>
                      <a:pt x="8" y="7"/>
                    </a:cubicBezTo>
                    <a:cubicBezTo>
                      <a:pt x="8" y="7"/>
                      <a:pt x="8" y="5"/>
                      <a:pt x="8" y="5"/>
                    </a:cubicBezTo>
                    <a:cubicBezTo>
                      <a:pt x="9" y="3"/>
                      <a:pt x="11" y="2"/>
                      <a:pt x="8" y="1"/>
                    </a:cubicBezTo>
                    <a:cubicBezTo>
                      <a:pt x="7" y="1"/>
                      <a:pt x="12" y="3"/>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4" name="Freeform 450">
                <a:extLst>
                  <a:ext uri="{FF2B5EF4-FFF2-40B4-BE49-F238E27FC236}">
                    <a16:creationId xmlns:a16="http://schemas.microsoft.com/office/drawing/2014/main" id="{8CFBF097-71EE-1941-8214-91EDE71FE2DE}"/>
                  </a:ext>
                </a:extLst>
              </p:cNvPr>
              <p:cNvSpPr>
                <a:spLocks/>
              </p:cNvSpPr>
              <p:nvPr/>
            </p:nvSpPr>
            <p:spPr bwMode="auto">
              <a:xfrm>
                <a:off x="17063256" y="8539313"/>
                <a:ext cx="111465" cy="111494"/>
              </a:xfrm>
              <a:custGeom>
                <a:avLst/>
                <a:gdLst>
                  <a:gd name="T0" fmla="*/ 11 w 12"/>
                  <a:gd name="T1" fmla="*/ 0 h 12"/>
                  <a:gd name="T2" fmla="*/ 6 w 12"/>
                  <a:gd name="T3" fmla="*/ 6 h 12"/>
                  <a:gd name="T4" fmla="*/ 0 w 12"/>
                  <a:gd name="T5" fmla="*/ 12 h 12"/>
                  <a:gd name="T6" fmla="*/ 4 w 12"/>
                  <a:gd name="T7" fmla="*/ 10 h 12"/>
                  <a:gd name="T8" fmla="*/ 8 w 12"/>
                  <a:gd name="T9" fmla="*/ 7 h 12"/>
                  <a:gd name="T10" fmla="*/ 10 w 12"/>
                  <a:gd name="T11" fmla="*/ 3 h 12"/>
                  <a:gd name="T12" fmla="*/ 11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1" y="0"/>
                    </a:moveTo>
                    <a:cubicBezTo>
                      <a:pt x="9" y="1"/>
                      <a:pt x="7" y="4"/>
                      <a:pt x="6" y="6"/>
                    </a:cubicBezTo>
                    <a:cubicBezTo>
                      <a:pt x="5" y="7"/>
                      <a:pt x="0" y="10"/>
                      <a:pt x="0" y="12"/>
                    </a:cubicBezTo>
                    <a:cubicBezTo>
                      <a:pt x="0" y="12"/>
                      <a:pt x="3" y="11"/>
                      <a:pt x="4" y="10"/>
                    </a:cubicBezTo>
                    <a:cubicBezTo>
                      <a:pt x="5" y="10"/>
                      <a:pt x="7" y="8"/>
                      <a:pt x="8" y="7"/>
                    </a:cubicBezTo>
                    <a:cubicBezTo>
                      <a:pt x="8" y="5"/>
                      <a:pt x="9" y="4"/>
                      <a:pt x="10" y="3"/>
                    </a:cubicBezTo>
                    <a:cubicBezTo>
                      <a:pt x="11" y="3"/>
                      <a:pt x="12" y="0"/>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5" name="Freeform 451">
                <a:extLst>
                  <a:ext uri="{FF2B5EF4-FFF2-40B4-BE49-F238E27FC236}">
                    <a16:creationId xmlns:a16="http://schemas.microsoft.com/office/drawing/2014/main" id="{EBEC40FA-9B4E-1A4C-BB29-12A0D1FD62D2}"/>
                  </a:ext>
                </a:extLst>
              </p:cNvPr>
              <p:cNvSpPr>
                <a:spLocks/>
              </p:cNvSpPr>
              <p:nvPr/>
            </p:nvSpPr>
            <p:spPr bwMode="auto">
              <a:xfrm>
                <a:off x="17391283" y="8399150"/>
                <a:ext cx="19109" cy="9556"/>
              </a:xfrm>
              <a:custGeom>
                <a:avLst/>
                <a:gdLst>
                  <a:gd name="T0" fmla="*/ 0 w 2"/>
                  <a:gd name="T1" fmla="*/ 1 h 1"/>
                  <a:gd name="T2" fmla="*/ 1 w 2"/>
                  <a:gd name="T3" fmla="*/ 0 h 1"/>
                  <a:gd name="T4" fmla="*/ 0 w 2"/>
                  <a:gd name="T5" fmla="*/ 1 h 1"/>
                </a:gdLst>
                <a:ahLst/>
                <a:cxnLst>
                  <a:cxn ang="0">
                    <a:pos x="T0" y="T1"/>
                  </a:cxn>
                  <a:cxn ang="0">
                    <a:pos x="T2" y="T3"/>
                  </a:cxn>
                  <a:cxn ang="0">
                    <a:pos x="T4" y="T5"/>
                  </a:cxn>
                </a:cxnLst>
                <a:rect l="0" t="0" r="r" b="b"/>
                <a:pathLst>
                  <a:path w="2" h="1">
                    <a:moveTo>
                      <a:pt x="0" y="1"/>
                    </a:moveTo>
                    <a:cubicBezTo>
                      <a:pt x="1" y="1"/>
                      <a:pt x="2" y="0"/>
                      <a:pt x="1" y="0"/>
                    </a:cubicBezTo>
                    <a:cubicBezTo>
                      <a:pt x="0"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6" name="Freeform 452">
                <a:extLst>
                  <a:ext uri="{FF2B5EF4-FFF2-40B4-BE49-F238E27FC236}">
                    <a16:creationId xmlns:a16="http://schemas.microsoft.com/office/drawing/2014/main" id="{8DCE3842-DA03-F54F-9AAF-4EAEA9435F69}"/>
                  </a:ext>
                </a:extLst>
              </p:cNvPr>
              <p:cNvSpPr>
                <a:spLocks/>
              </p:cNvSpPr>
              <p:nvPr/>
            </p:nvSpPr>
            <p:spPr bwMode="auto">
              <a:xfrm>
                <a:off x="16037776" y="8781415"/>
                <a:ext cx="522294" cy="544729"/>
              </a:xfrm>
              <a:custGeom>
                <a:avLst/>
                <a:gdLst>
                  <a:gd name="T0" fmla="*/ 12 w 56"/>
                  <a:gd name="T1" fmla="*/ 3 h 58"/>
                  <a:gd name="T2" fmla="*/ 4 w 56"/>
                  <a:gd name="T3" fmla="*/ 2 h 58"/>
                  <a:gd name="T4" fmla="*/ 2 w 56"/>
                  <a:gd name="T5" fmla="*/ 3 h 58"/>
                  <a:gd name="T6" fmla="*/ 6 w 56"/>
                  <a:gd name="T7" fmla="*/ 9 h 58"/>
                  <a:gd name="T8" fmla="*/ 11 w 56"/>
                  <a:gd name="T9" fmla="*/ 13 h 58"/>
                  <a:gd name="T10" fmla="*/ 13 w 56"/>
                  <a:gd name="T11" fmla="*/ 17 h 58"/>
                  <a:gd name="T12" fmla="*/ 17 w 56"/>
                  <a:gd name="T13" fmla="*/ 19 h 58"/>
                  <a:gd name="T14" fmla="*/ 20 w 56"/>
                  <a:gd name="T15" fmla="*/ 26 h 58"/>
                  <a:gd name="T16" fmla="*/ 22 w 56"/>
                  <a:gd name="T17" fmla="*/ 28 h 58"/>
                  <a:gd name="T18" fmla="*/ 26 w 56"/>
                  <a:gd name="T19" fmla="*/ 33 h 58"/>
                  <a:gd name="T20" fmla="*/ 30 w 56"/>
                  <a:gd name="T21" fmla="*/ 42 h 58"/>
                  <a:gd name="T22" fmla="*/ 41 w 56"/>
                  <a:gd name="T23" fmla="*/ 52 h 58"/>
                  <a:gd name="T24" fmla="*/ 46 w 56"/>
                  <a:gd name="T25" fmla="*/ 57 h 58"/>
                  <a:gd name="T26" fmla="*/ 54 w 56"/>
                  <a:gd name="T27" fmla="*/ 57 h 58"/>
                  <a:gd name="T28" fmla="*/ 54 w 56"/>
                  <a:gd name="T29" fmla="*/ 46 h 58"/>
                  <a:gd name="T30" fmla="*/ 55 w 56"/>
                  <a:gd name="T31" fmla="*/ 44 h 58"/>
                  <a:gd name="T32" fmla="*/ 52 w 56"/>
                  <a:gd name="T33" fmla="*/ 41 h 58"/>
                  <a:gd name="T34" fmla="*/ 50 w 56"/>
                  <a:gd name="T35" fmla="*/ 40 h 58"/>
                  <a:gd name="T36" fmla="*/ 48 w 56"/>
                  <a:gd name="T37" fmla="*/ 42 h 58"/>
                  <a:gd name="T38" fmla="*/ 48 w 56"/>
                  <a:gd name="T39" fmla="*/ 38 h 58"/>
                  <a:gd name="T40" fmla="*/ 47 w 56"/>
                  <a:gd name="T41" fmla="*/ 36 h 58"/>
                  <a:gd name="T42" fmla="*/ 44 w 56"/>
                  <a:gd name="T43" fmla="*/ 34 h 58"/>
                  <a:gd name="T44" fmla="*/ 42 w 56"/>
                  <a:gd name="T45" fmla="*/ 30 h 58"/>
                  <a:gd name="T46" fmla="*/ 42 w 56"/>
                  <a:gd name="T47" fmla="*/ 29 h 58"/>
                  <a:gd name="T48" fmla="*/ 43 w 56"/>
                  <a:gd name="T49" fmla="*/ 28 h 58"/>
                  <a:gd name="T50" fmla="*/ 38 w 56"/>
                  <a:gd name="T51" fmla="*/ 27 h 58"/>
                  <a:gd name="T52" fmla="*/ 38 w 56"/>
                  <a:gd name="T53" fmla="*/ 25 h 58"/>
                  <a:gd name="T54" fmla="*/ 36 w 56"/>
                  <a:gd name="T55" fmla="*/ 24 h 58"/>
                  <a:gd name="T56" fmla="*/ 37 w 56"/>
                  <a:gd name="T57" fmla="*/ 23 h 58"/>
                  <a:gd name="T58" fmla="*/ 35 w 56"/>
                  <a:gd name="T59" fmla="*/ 22 h 58"/>
                  <a:gd name="T60" fmla="*/ 34 w 56"/>
                  <a:gd name="T61" fmla="*/ 21 h 58"/>
                  <a:gd name="T62" fmla="*/ 31 w 56"/>
                  <a:gd name="T63" fmla="*/ 19 h 58"/>
                  <a:gd name="T64" fmla="*/ 30 w 56"/>
                  <a:gd name="T65" fmla="*/ 19 h 58"/>
                  <a:gd name="T66" fmla="*/ 25 w 56"/>
                  <a:gd name="T67" fmla="*/ 16 h 58"/>
                  <a:gd name="T68" fmla="*/ 21 w 56"/>
                  <a:gd name="T69" fmla="*/ 11 h 58"/>
                  <a:gd name="T70" fmla="*/ 16 w 56"/>
                  <a:gd name="T71" fmla="*/ 7 h 58"/>
                  <a:gd name="T72" fmla="*/ 12 w 56"/>
                  <a:gd name="T73" fmla="*/ 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6" h="58">
                    <a:moveTo>
                      <a:pt x="12" y="3"/>
                    </a:moveTo>
                    <a:cubicBezTo>
                      <a:pt x="9" y="3"/>
                      <a:pt x="7" y="3"/>
                      <a:pt x="4" y="2"/>
                    </a:cubicBezTo>
                    <a:cubicBezTo>
                      <a:pt x="2" y="1"/>
                      <a:pt x="0" y="0"/>
                      <a:pt x="2" y="3"/>
                    </a:cubicBezTo>
                    <a:cubicBezTo>
                      <a:pt x="3" y="5"/>
                      <a:pt x="4" y="8"/>
                      <a:pt x="6" y="9"/>
                    </a:cubicBezTo>
                    <a:cubicBezTo>
                      <a:pt x="8" y="10"/>
                      <a:pt x="10" y="11"/>
                      <a:pt x="11" y="13"/>
                    </a:cubicBezTo>
                    <a:cubicBezTo>
                      <a:pt x="12" y="14"/>
                      <a:pt x="12" y="16"/>
                      <a:pt x="13" y="17"/>
                    </a:cubicBezTo>
                    <a:cubicBezTo>
                      <a:pt x="15" y="18"/>
                      <a:pt x="16" y="18"/>
                      <a:pt x="17" y="19"/>
                    </a:cubicBezTo>
                    <a:cubicBezTo>
                      <a:pt x="19" y="21"/>
                      <a:pt x="19" y="24"/>
                      <a:pt x="20" y="26"/>
                    </a:cubicBezTo>
                    <a:cubicBezTo>
                      <a:pt x="21" y="27"/>
                      <a:pt x="22" y="28"/>
                      <a:pt x="22" y="28"/>
                    </a:cubicBezTo>
                    <a:cubicBezTo>
                      <a:pt x="24" y="30"/>
                      <a:pt x="25" y="31"/>
                      <a:pt x="26" y="33"/>
                    </a:cubicBezTo>
                    <a:cubicBezTo>
                      <a:pt x="28" y="36"/>
                      <a:pt x="28" y="39"/>
                      <a:pt x="30" y="42"/>
                    </a:cubicBezTo>
                    <a:cubicBezTo>
                      <a:pt x="34" y="45"/>
                      <a:pt x="37" y="49"/>
                      <a:pt x="41" y="52"/>
                    </a:cubicBezTo>
                    <a:cubicBezTo>
                      <a:pt x="43" y="54"/>
                      <a:pt x="44" y="55"/>
                      <a:pt x="46" y="57"/>
                    </a:cubicBezTo>
                    <a:cubicBezTo>
                      <a:pt x="47" y="57"/>
                      <a:pt x="53" y="58"/>
                      <a:pt x="54" y="57"/>
                    </a:cubicBezTo>
                    <a:cubicBezTo>
                      <a:pt x="55" y="56"/>
                      <a:pt x="53" y="48"/>
                      <a:pt x="54" y="46"/>
                    </a:cubicBezTo>
                    <a:cubicBezTo>
                      <a:pt x="54" y="45"/>
                      <a:pt x="56" y="45"/>
                      <a:pt x="55" y="44"/>
                    </a:cubicBezTo>
                    <a:cubicBezTo>
                      <a:pt x="54" y="43"/>
                      <a:pt x="53" y="42"/>
                      <a:pt x="52" y="41"/>
                    </a:cubicBezTo>
                    <a:cubicBezTo>
                      <a:pt x="52" y="41"/>
                      <a:pt x="51" y="40"/>
                      <a:pt x="50" y="40"/>
                    </a:cubicBezTo>
                    <a:cubicBezTo>
                      <a:pt x="49" y="40"/>
                      <a:pt x="49" y="42"/>
                      <a:pt x="48" y="42"/>
                    </a:cubicBezTo>
                    <a:cubicBezTo>
                      <a:pt x="49" y="42"/>
                      <a:pt x="48" y="38"/>
                      <a:pt x="48" y="38"/>
                    </a:cubicBezTo>
                    <a:cubicBezTo>
                      <a:pt x="47" y="37"/>
                      <a:pt x="47" y="37"/>
                      <a:pt x="47" y="36"/>
                    </a:cubicBezTo>
                    <a:cubicBezTo>
                      <a:pt x="47" y="35"/>
                      <a:pt x="45" y="34"/>
                      <a:pt x="44" y="34"/>
                    </a:cubicBezTo>
                    <a:cubicBezTo>
                      <a:pt x="43" y="33"/>
                      <a:pt x="41" y="32"/>
                      <a:pt x="42" y="30"/>
                    </a:cubicBezTo>
                    <a:cubicBezTo>
                      <a:pt x="42" y="30"/>
                      <a:pt x="41" y="29"/>
                      <a:pt x="42" y="29"/>
                    </a:cubicBezTo>
                    <a:cubicBezTo>
                      <a:pt x="42" y="28"/>
                      <a:pt x="43" y="29"/>
                      <a:pt x="43" y="28"/>
                    </a:cubicBezTo>
                    <a:cubicBezTo>
                      <a:pt x="44" y="26"/>
                      <a:pt x="38" y="26"/>
                      <a:pt x="38" y="27"/>
                    </a:cubicBezTo>
                    <a:cubicBezTo>
                      <a:pt x="38" y="26"/>
                      <a:pt x="42" y="25"/>
                      <a:pt x="38" y="25"/>
                    </a:cubicBezTo>
                    <a:cubicBezTo>
                      <a:pt x="37" y="25"/>
                      <a:pt x="36" y="24"/>
                      <a:pt x="36" y="24"/>
                    </a:cubicBezTo>
                    <a:cubicBezTo>
                      <a:pt x="36" y="23"/>
                      <a:pt x="37" y="23"/>
                      <a:pt x="37" y="23"/>
                    </a:cubicBezTo>
                    <a:cubicBezTo>
                      <a:pt x="37" y="22"/>
                      <a:pt x="35" y="22"/>
                      <a:pt x="35" y="22"/>
                    </a:cubicBezTo>
                    <a:cubicBezTo>
                      <a:pt x="35" y="22"/>
                      <a:pt x="36" y="21"/>
                      <a:pt x="34" y="21"/>
                    </a:cubicBezTo>
                    <a:cubicBezTo>
                      <a:pt x="33" y="20"/>
                      <a:pt x="32" y="20"/>
                      <a:pt x="31" y="19"/>
                    </a:cubicBezTo>
                    <a:cubicBezTo>
                      <a:pt x="28" y="15"/>
                      <a:pt x="30" y="19"/>
                      <a:pt x="30" y="19"/>
                    </a:cubicBezTo>
                    <a:cubicBezTo>
                      <a:pt x="29" y="19"/>
                      <a:pt x="26" y="16"/>
                      <a:pt x="25" y="16"/>
                    </a:cubicBezTo>
                    <a:cubicBezTo>
                      <a:pt x="24" y="14"/>
                      <a:pt x="23" y="12"/>
                      <a:pt x="21" y="11"/>
                    </a:cubicBezTo>
                    <a:cubicBezTo>
                      <a:pt x="19" y="10"/>
                      <a:pt x="18" y="9"/>
                      <a:pt x="16" y="7"/>
                    </a:cubicBezTo>
                    <a:cubicBezTo>
                      <a:pt x="15" y="6"/>
                      <a:pt x="14" y="3"/>
                      <a:pt x="1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7" name="Freeform 453">
                <a:extLst>
                  <a:ext uri="{FF2B5EF4-FFF2-40B4-BE49-F238E27FC236}">
                    <a16:creationId xmlns:a16="http://schemas.microsoft.com/office/drawing/2014/main" id="{5390F68D-9299-C149-AACE-966D4E921CB3}"/>
                  </a:ext>
                </a:extLst>
              </p:cNvPr>
              <p:cNvSpPr>
                <a:spLocks/>
              </p:cNvSpPr>
              <p:nvPr/>
            </p:nvSpPr>
            <p:spPr bwMode="auto">
              <a:xfrm>
                <a:off x="16130132" y="8978921"/>
                <a:ext cx="47770"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8" name="Freeform 454">
                <a:extLst>
                  <a:ext uri="{FF2B5EF4-FFF2-40B4-BE49-F238E27FC236}">
                    <a16:creationId xmlns:a16="http://schemas.microsoft.com/office/drawing/2014/main" id="{5EDE4B32-00DF-8548-B277-8BC03FCBB185}"/>
                  </a:ext>
                </a:extLst>
              </p:cNvPr>
              <p:cNvSpPr>
                <a:spLocks/>
              </p:cNvSpPr>
              <p:nvPr/>
            </p:nvSpPr>
            <p:spPr bwMode="auto">
              <a:xfrm>
                <a:off x="16197014" y="9090415"/>
                <a:ext cx="44586" cy="47785"/>
              </a:xfrm>
              <a:custGeom>
                <a:avLst/>
                <a:gdLst>
                  <a:gd name="T0" fmla="*/ 4 w 5"/>
                  <a:gd name="T1" fmla="*/ 4 h 5"/>
                  <a:gd name="T2" fmla="*/ 1 w 5"/>
                  <a:gd name="T3" fmla="*/ 0 h 5"/>
                  <a:gd name="T4" fmla="*/ 4 w 5"/>
                  <a:gd name="T5" fmla="*/ 4 h 5"/>
                </a:gdLst>
                <a:ahLst/>
                <a:cxnLst>
                  <a:cxn ang="0">
                    <a:pos x="T0" y="T1"/>
                  </a:cxn>
                  <a:cxn ang="0">
                    <a:pos x="T2" y="T3"/>
                  </a:cxn>
                  <a:cxn ang="0">
                    <a:pos x="T4" y="T5"/>
                  </a:cxn>
                </a:cxnLst>
                <a:rect l="0" t="0" r="r" b="b"/>
                <a:pathLst>
                  <a:path w="5" h="5">
                    <a:moveTo>
                      <a:pt x="4" y="4"/>
                    </a:moveTo>
                    <a:cubicBezTo>
                      <a:pt x="5" y="3"/>
                      <a:pt x="2" y="0"/>
                      <a:pt x="1" y="0"/>
                    </a:cubicBezTo>
                    <a:cubicBezTo>
                      <a:pt x="0" y="1"/>
                      <a:pt x="3"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79" name="Freeform 455">
                <a:extLst>
                  <a:ext uri="{FF2B5EF4-FFF2-40B4-BE49-F238E27FC236}">
                    <a16:creationId xmlns:a16="http://schemas.microsoft.com/office/drawing/2014/main" id="{E153288B-C377-4048-B234-4595E59BAD8B}"/>
                  </a:ext>
                </a:extLst>
              </p:cNvPr>
              <p:cNvSpPr>
                <a:spLocks/>
              </p:cNvSpPr>
              <p:nvPr/>
            </p:nvSpPr>
            <p:spPr bwMode="auto">
              <a:xfrm>
                <a:off x="16512300" y="9119082"/>
                <a:ext cx="66879" cy="66896"/>
              </a:xfrm>
              <a:custGeom>
                <a:avLst/>
                <a:gdLst>
                  <a:gd name="T0" fmla="*/ 7 w 7"/>
                  <a:gd name="T1" fmla="*/ 7 h 7"/>
                  <a:gd name="T2" fmla="*/ 5 w 7"/>
                  <a:gd name="T3" fmla="*/ 3 h 7"/>
                  <a:gd name="T4" fmla="*/ 0 w 7"/>
                  <a:gd name="T5" fmla="*/ 1 h 7"/>
                  <a:gd name="T6" fmla="*/ 1 w 7"/>
                  <a:gd name="T7" fmla="*/ 3 h 7"/>
                  <a:gd name="T8" fmla="*/ 3 w 7"/>
                  <a:gd name="T9" fmla="*/ 5 h 7"/>
                  <a:gd name="T10" fmla="*/ 7 w 7"/>
                  <a:gd name="T11" fmla="*/ 7 h 7"/>
                </a:gdLst>
                <a:ahLst/>
                <a:cxnLst>
                  <a:cxn ang="0">
                    <a:pos x="T0" y="T1"/>
                  </a:cxn>
                  <a:cxn ang="0">
                    <a:pos x="T2" y="T3"/>
                  </a:cxn>
                  <a:cxn ang="0">
                    <a:pos x="T4" y="T5"/>
                  </a:cxn>
                  <a:cxn ang="0">
                    <a:pos x="T6" y="T7"/>
                  </a:cxn>
                  <a:cxn ang="0">
                    <a:pos x="T8" y="T9"/>
                  </a:cxn>
                  <a:cxn ang="0">
                    <a:pos x="T10" y="T11"/>
                  </a:cxn>
                </a:cxnLst>
                <a:rect l="0" t="0" r="r" b="b"/>
                <a:pathLst>
                  <a:path w="7" h="7">
                    <a:moveTo>
                      <a:pt x="7" y="7"/>
                    </a:moveTo>
                    <a:cubicBezTo>
                      <a:pt x="7" y="5"/>
                      <a:pt x="5" y="5"/>
                      <a:pt x="5" y="3"/>
                    </a:cubicBezTo>
                    <a:cubicBezTo>
                      <a:pt x="5" y="1"/>
                      <a:pt x="2" y="0"/>
                      <a:pt x="0" y="1"/>
                    </a:cubicBezTo>
                    <a:cubicBezTo>
                      <a:pt x="0" y="2"/>
                      <a:pt x="0" y="3"/>
                      <a:pt x="1" y="3"/>
                    </a:cubicBezTo>
                    <a:cubicBezTo>
                      <a:pt x="3" y="3"/>
                      <a:pt x="2" y="4"/>
                      <a:pt x="3" y="5"/>
                    </a:cubicBezTo>
                    <a:cubicBezTo>
                      <a:pt x="3" y="6"/>
                      <a:pt x="7" y="7"/>
                      <a:pt x="7"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0" name="Freeform 456">
                <a:extLst>
                  <a:ext uri="{FF2B5EF4-FFF2-40B4-BE49-F238E27FC236}">
                    <a16:creationId xmlns:a16="http://schemas.microsoft.com/office/drawing/2014/main" id="{279404A1-70F4-D94A-8284-5FCD3C999051}"/>
                  </a:ext>
                </a:extLst>
              </p:cNvPr>
              <p:cNvSpPr>
                <a:spLocks/>
              </p:cNvSpPr>
              <p:nvPr/>
            </p:nvSpPr>
            <p:spPr bwMode="auto">
              <a:xfrm>
                <a:off x="16617396" y="9166867"/>
                <a:ext cx="35033" cy="35042"/>
              </a:xfrm>
              <a:custGeom>
                <a:avLst/>
                <a:gdLst>
                  <a:gd name="T0" fmla="*/ 2 w 4"/>
                  <a:gd name="T1" fmla="*/ 3 h 4"/>
                  <a:gd name="T2" fmla="*/ 2 w 4"/>
                  <a:gd name="T3" fmla="*/ 0 h 4"/>
                  <a:gd name="T4" fmla="*/ 2 w 4"/>
                  <a:gd name="T5" fmla="*/ 3 h 4"/>
                  <a:gd name="T6" fmla="*/ 2 w 4"/>
                  <a:gd name="T7" fmla="*/ 3 h 4"/>
                </a:gdLst>
                <a:ahLst/>
                <a:cxnLst>
                  <a:cxn ang="0">
                    <a:pos x="T0" y="T1"/>
                  </a:cxn>
                  <a:cxn ang="0">
                    <a:pos x="T2" y="T3"/>
                  </a:cxn>
                  <a:cxn ang="0">
                    <a:pos x="T4" y="T5"/>
                  </a:cxn>
                  <a:cxn ang="0">
                    <a:pos x="T6" y="T7"/>
                  </a:cxn>
                </a:cxnLst>
                <a:rect l="0" t="0" r="r" b="b"/>
                <a:pathLst>
                  <a:path w="4" h="4">
                    <a:moveTo>
                      <a:pt x="2" y="3"/>
                    </a:moveTo>
                    <a:cubicBezTo>
                      <a:pt x="0" y="4"/>
                      <a:pt x="0" y="1"/>
                      <a:pt x="2" y="0"/>
                    </a:cubicBezTo>
                    <a:cubicBezTo>
                      <a:pt x="4" y="0"/>
                      <a:pt x="4" y="3"/>
                      <a:pt x="2" y="3"/>
                    </a:cubicBezTo>
                    <a:cubicBezTo>
                      <a:pt x="1" y="4"/>
                      <a:pt x="3"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1" name="Freeform 457">
                <a:extLst>
                  <a:ext uri="{FF2B5EF4-FFF2-40B4-BE49-F238E27FC236}">
                    <a16:creationId xmlns:a16="http://schemas.microsoft.com/office/drawing/2014/main" id="{80DDCB5B-4AD9-B44A-B56F-9E23F5BE19D8}"/>
                  </a:ext>
                </a:extLst>
              </p:cNvPr>
              <p:cNvSpPr>
                <a:spLocks/>
              </p:cNvSpPr>
              <p:nvPr/>
            </p:nvSpPr>
            <p:spPr bwMode="auto">
              <a:xfrm>
                <a:off x="16521853" y="9326144"/>
                <a:ext cx="429938" cy="140163"/>
              </a:xfrm>
              <a:custGeom>
                <a:avLst/>
                <a:gdLst>
                  <a:gd name="T0" fmla="*/ 9 w 46"/>
                  <a:gd name="T1" fmla="*/ 0 h 15"/>
                  <a:gd name="T2" fmla="*/ 3 w 46"/>
                  <a:gd name="T3" fmla="*/ 0 h 15"/>
                  <a:gd name="T4" fmla="*/ 0 w 46"/>
                  <a:gd name="T5" fmla="*/ 4 h 15"/>
                  <a:gd name="T6" fmla="*/ 5 w 46"/>
                  <a:gd name="T7" fmla="*/ 6 h 15"/>
                  <a:gd name="T8" fmla="*/ 11 w 46"/>
                  <a:gd name="T9" fmla="*/ 9 h 15"/>
                  <a:gd name="T10" fmla="*/ 15 w 46"/>
                  <a:gd name="T11" fmla="*/ 9 h 15"/>
                  <a:gd name="T12" fmla="*/ 24 w 46"/>
                  <a:gd name="T13" fmla="*/ 11 h 15"/>
                  <a:gd name="T14" fmla="*/ 40 w 46"/>
                  <a:gd name="T15" fmla="*/ 13 h 15"/>
                  <a:gd name="T16" fmla="*/ 45 w 46"/>
                  <a:gd name="T17" fmla="*/ 13 h 15"/>
                  <a:gd name="T18" fmla="*/ 43 w 46"/>
                  <a:gd name="T19" fmla="*/ 9 h 15"/>
                  <a:gd name="T20" fmla="*/ 41 w 46"/>
                  <a:gd name="T21" fmla="*/ 9 h 15"/>
                  <a:gd name="T22" fmla="*/ 37 w 46"/>
                  <a:gd name="T23" fmla="*/ 9 h 15"/>
                  <a:gd name="T24" fmla="*/ 35 w 46"/>
                  <a:gd name="T25" fmla="*/ 6 h 15"/>
                  <a:gd name="T26" fmla="*/ 32 w 46"/>
                  <a:gd name="T27" fmla="*/ 4 h 15"/>
                  <a:gd name="T28" fmla="*/ 27 w 46"/>
                  <a:gd name="T29" fmla="*/ 3 h 15"/>
                  <a:gd name="T30" fmla="*/ 25 w 46"/>
                  <a:gd name="T31" fmla="*/ 4 h 15"/>
                  <a:gd name="T32" fmla="*/ 21 w 46"/>
                  <a:gd name="T33" fmla="*/ 5 h 15"/>
                  <a:gd name="T34" fmla="*/ 15 w 46"/>
                  <a:gd name="T35" fmla="*/ 3 h 15"/>
                  <a:gd name="T36" fmla="*/ 11 w 46"/>
                  <a:gd name="T37" fmla="*/ 2 h 15"/>
                  <a:gd name="T38" fmla="*/ 9 w 46"/>
                  <a:gd name="T39" fmla="*/ 0 h 15"/>
                  <a:gd name="T40" fmla="*/ 9 w 46"/>
                  <a:gd name="T4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15">
                    <a:moveTo>
                      <a:pt x="9" y="0"/>
                    </a:moveTo>
                    <a:cubicBezTo>
                      <a:pt x="7" y="1"/>
                      <a:pt x="6" y="0"/>
                      <a:pt x="3" y="0"/>
                    </a:cubicBezTo>
                    <a:cubicBezTo>
                      <a:pt x="3" y="0"/>
                      <a:pt x="0" y="3"/>
                      <a:pt x="0" y="4"/>
                    </a:cubicBezTo>
                    <a:cubicBezTo>
                      <a:pt x="0" y="5"/>
                      <a:pt x="4" y="4"/>
                      <a:pt x="5" y="6"/>
                    </a:cubicBezTo>
                    <a:cubicBezTo>
                      <a:pt x="6" y="8"/>
                      <a:pt x="9" y="8"/>
                      <a:pt x="11" y="9"/>
                    </a:cubicBezTo>
                    <a:cubicBezTo>
                      <a:pt x="13" y="9"/>
                      <a:pt x="14" y="9"/>
                      <a:pt x="15" y="9"/>
                    </a:cubicBezTo>
                    <a:cubicBezTo>
                      <a:pt x="18" y="9"/>
                      <a:pt x="21" y="10"/>
                      <a:pt x="24" y="11"/>
                    </a:cubicBezTo>
                    <a:cubicBezTo>
                      <a:pt x="29" y="12"/>
                      <a:pt x="35" y="11"/>
                      <a:pt x="40" y="13"/>
                    </a:cubicBezTo>
                    <a:cubicBezTo>
                      <a:pt x="41" y="13"/>
                      <a:pt x="44" y="15"/>
                      <a:pt x="45" y="13"/>
                    </a:cubicBezTo>
                    <a:cubicBezTo>
                      <a:pt x="46" y="13"/>
                      <a:pt x="44" y="9"/>
                      <a:pt x="43" y="9"/>
                    </a:cubicBezTo>
                    <a:cubicBezTo>
                      <a:pt x="42" y="8"/>
                      <a:pt x="42" y="9"/>
                      <a:pt x="41" y="9"/>
                    </a:cubicBezTo>
                    <a:cubicBezTo>
                      <a:pt x="39" y="10"/>
                      <a:pt x="38" y="9"/>
                      <a:pt x="37" y="9"/>
                    </a:cubicBezTo>
                    <a:cubicBezTo>
                      <a:pt x="36" y="8"/>
                      <a:pt x="36" y="7"/>
                      <a:pt x="35" y="6"/>
                    </a:cubicBezTo>
                    <a:cubicBezTo>
                      <a:pt x="35" y="5"/>
                      <a:pt x="33" y="5"/>
                      <a:pt x="32" y="4"/>
                    </a:cubicBezTo>
                    <a:cubicBezTo>
                      <a:pt x="31" y="4"/>
                      <a:pt x="28" y="3"/>
                      <a:pt x="27" y="3"/>
                    </a:cubicBezTo>
                    <a:cubicBezTo>
                      <a:pt x="26" y="3"/>
                      <a:pt x="25" y="4"/>
                      <a:pt x="25" y="4"/>
                    </a:cubicBezTo>
                    <a:cubicBezTo>
                      <a:pt x="24" y="5"/>
                      <a:pt x="23" y="5"/>
                      <a:pt x="21" y="5"/>
                    </a:cubicBezTo>
                    <a:cubicBezTo>
                      <a:pt x="19" y="5"/>
                      <a:pt x="17" y="4"/>
                      <a:pt x="15" y="3"/>
                    </a:cubicBezTo>
                    <a:cubicBezTo>
                      <a:pt x="14" y="2"/>
                      <a:pt x="12" y="2"/>
                      <a:pt x="11" y="2"/>
                    </a:cubicBezTo>
                    <a:cubicBezTo>
                      <a:pt x="11" y="2"/>
                      <a:pt x="10" y="0"/>
                      <a:pt x="9" y="0"/>
                    </a:cubicBezTo>
                    <a:cubicBezTo>
                      <a:pt x="8" y="1"/>
                      <a:pt x="10" y="0"/>
                      <a:pt x="9"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2" name="Freeform 458">
                <a:extLst>
                  <a:ext uri="{FF2B5EF4-FFF2-40B4-BE49-F238E27FC236}">
                    <a16:creationId xmlns:a16="http://schemas.microsoft.com/office/drawing/2014/main" id="{11BB6454-F875-EA40-99C5-1BAC4365EA85}"/>
                  </a:ext>
                </a:extLst>
              </p:cNvPr>
              <p:cNvSpPr>
                <a:spLocks/>
              </p:cNvSpPr>
              <p:nvPr/>
            </p:nvSpPr>
            <p:spPr bwMode="auto">
              <a:xfrm>
                <a:off x="16840326" y="9361183"/>
                <a:ext cx="73248" cy="28669"/>
              </a:xfrm>
              <a:custGeom>
                <a:avLst/>
                <a:gdLst>
                  <a:gd name="T0" fmla="*/ 3 w 8"/>
                  <a:gd name="T1" fmla="*/ 3 h 3"/>
                  <a:gd name="T2" fmla="*/ 8 w 8"/>
                  <a:gd name="T3" fmla="*/ 1 h 3"/>
                  <a:gd name="T4" fmla="*/ 3 w 8"/>
                  <a:gd name="T5" fmla="*/ 3 h 3"/>
                  <a:gd name="T6" fmla="*/ 3 w 8"/>
                  <a:gd name="T7" fmla="*/ 3 h 3"/>
                </a:gdLst>
                <a:ahLst/>
                <a:cxnLst>
                  <a:cxn ang="0">
                    <a:pos x="T0" y="T1"/>
                  </a:cxn>
                  <a:cxn ang="0">
                    <a:pos x="T2" y="T3"/>
                  </a:cxn>
                  <a:cxn ang="0">
                    <a:pos x="T4" y="T5"/>
                  </a:cxn>
                  <a:cxn ang="0">
                    <a:pos x="T6" y="T7"/>
                  </a:cxn>
                </a:cxnLst>
                <a:rect l="0" t="0" r="r" b="b"/>
                <a:pathLst>
                  <a:path w="8" h="3">
                    <a:moveTo>
                      <a:pt x="3" y="3"/>
                    </a:moveTo>
                    <a:cubicBezTo>
                      <a:pt x="0" y="2"/>
                      <a:pt x="7" y="0"/>
                      <a:pt x="8" y="1"/>
                    </a:cubicBezTo>
                    <a:cubicBezTo>
                      <a:pt x="8" y="2"/>
                      <a:pt x="4" y="3"/>
                      <a:pt x="3" y="3"/>
                    </a:cubicBezTo>
                    <a:cubicBezTo>
                      <a:pt x="2" y="3"/>
                      <a:pt x="4"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3" name="Freeform 459">
                <a:extLst>
                  <a:ext uri="{FF2B5EF4-FFF2-40B4-BE49-F238E27FC236}">
                    <a16:creationId xmlns:a16="http://schemas.microsoft.com/office/drawing/2014/main" id="{CB3B69E1-89D8-1041-B847-4826BAC91D83}"/>
                  </a:ext>
                </a:extLst>
              </p:cNvPr>
              <p:cNvSpPr>
                <a:spLocks/>
              </p:cNvSpPr>
              <p:nvPr/>
            </p:nvSpPr>
            <p:spPr bwMode="auto">
              <a:xfrm>
                <a:off x="16942236" y="9428080"/>
                <a:ext cx="57323" cy="38227"/>
              </a:xfrm>
              <a:custGeom>
                <a:avLst/>
                <a:gdLst>
                  <a:gd name="T0" fmla="*/ 3 w 6"/>
                  <a:gd name="T1" fmla="*/ 0 h 4"/>
                  <a:gd name="T2" fmla="*/ 1 w 6"/>
                  <a:gd name="T3" fmla="*/ 1 h 4"/>
                  <a:gd name="T4" fmla="*/ 3 w 6"/>
                  <a:gd name="T5" fmla="*/ 4 h 4"/>
                  <a:gd name="T6" fmla="*/ 3 w 6"/>
                  <a:gd name="T7" fmla="*/ 0 h 4"/>
                </a:gdLst>
                <a:ahLst/>
                <a:cxnLst>
                  <a:cxn ang="0">
                    <a:pos x="T0" y="T1"/>
                  </a:cxn>
                  <a:cxn ang="0">
                    <a:pos x="T2" y="T3"/>
                  </a:cxn>
                  <a:cxn ang="0">
                    <a:pos x="T4" y="T5"/>
                  </a:cxn>
                  <a:cxn ang="0">
                    <a:pos x="T6" y="T7"/>
                  </a:cxn>
                </a:cxnLst>
                <a:rect l="0" t="0" r="r" b="b"/>
                <a:pathLst>
                  <a:path w="6" h="4">
                    <a:moveTo>
                      <a:pt x="3" y="0"/>
                    </a:moveTo>
                    <a:cubicBezTo>
                      <a:pt x="2" y="0"/>
                      <a:pt x="0" y="0"/>
                      <a:pt x="1" y="1"/>
                    </a:cubicBezTo>
                    <a:cubicBezTo>
                      <a:pt x="1" y="1"/>
                      <a:pt x="3" y="4"/>
                      <a:pt x="3" y="4"/>
                    </a:cubicBezTo>
                    <a:cubicBezTo>
                      <a:pt x="5" y="4"/>
                      <a:pt x="6" y="0"/>
                      <a:pt x="3"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4" name="Freeform 460">
                <a:extLst>
                  <a:ext uri="{FF2B5EF4-FFF2-40B4-BE49-F238E27FC236}">
                    <a16:creationId xmlns:a16="http://schemas.microsoft.com/office/drawing/2014/main" id="{9EA81206-A168-0848-8594-D6CD16E3A668}"/>
                  </a:ext>
                </a:extLst>
              </p:cNvPr>
              <p:cNvSpPr>
                <a:spLocks/>
              </p:cNvSpPr>
              <p:nvPr/>
            </p:nvSpPr>
            <p:spPr bwMode="auto">
              <a:xfrm>
                <a:off x="16999562" y="9437635"/>
                <a:ext cx="44586" cy="28669"/>
              </a:xfrm>
              <a:custGeom>
                <a:avLst/>
                <a:gdLst>
                  <a:gd name="T0" fmla="*/ 4 w 5"/>
                  <a:gd name="T1" fmla="*/ 1 h 3"/>
                  <a:gd name="T2" fmla="*/ 2 w 5"/>
                  <a:gd name="T3" fmla="*/ 0 h 3"/>
                  <a:gd name="T4" fmla="*/ 1 w 5"/>
                  <a:gd name="T5" fmla="*/ 2 h 3"/>
                  <a:gd name="T6" fmla="*/ 2 w 5"/>
                  <a:gd name="T7" fmla="*/ 2 h 3"/>
                  <a:gd name="T8" fmla="*/ 4 w 5"/>
                  <a:gd name="T9" fmla="*/ 1 h 3"/>
                  <a:gd name="T10" fmla="*/ 4 w 5"/>
                  <a:gd name="T11" fmla="*/ 1 h 3"/>
                </a:gdLst>
                <a:ahLst/>
                <a:cxnLst>
                  <a:cxn ang="0">
                    <a:pos x="T0" y="T1"/>
                  </a:cxn>
                  <a:cxn ang="0">
                    <a:pos x="T2" y="T3"/>
                  </a:cxn>
                  <a:cxn ang="0">
                    <a:pos x="T4" y="T5"/>
                  </a:cxn>
                  <a:cxn ang="0">
                    <a:pos x="T6" y="T7"/>
                  </a:cxn>
                  <a:cxn ang="0">
                    <a:pos x="T8" y="T9"/>
                  </a:cxn>
                  <a:cxn ang="0">
                    <a:pos x="T10" y="T11"/>
                  </a:cxn>
                </a:cxnLst>
                <a:rect l="0" t="0" r="r" b="b"/>
                <a:pathLst>
                  <a:path w="5" h="3">
                    <a:moveTo>
                      <a:pt x="4" y="1"/>
                    </a:moveTo>
                    <a:cubicBezTo>
                      <a:pt x="4" y="1"/>
                      <a:pt x="3" y="0"/>
                      <a:pt x="2" y="0"/>
                    </a:cubicBezTo>
                    <a:cubicBezTo>
                      <a:pt x="2" y="1"/>
                      <a:pt x="0" y="2"/>
                      <a:pt x="1" y="2"/>
                    </a:cubicBezTo>
                    <a:cubicBezTo>
                      <a:pt x="1" y="2"/>
                      <a:pt x="2" y="3"/>
                      <a:pt x="2" y="2"/>
                    </a:cubicBezTo>
                    <a:cubicBezTo>
                      <a:pt x="3" y="2"/>
                      <a:pt x="5" y="2"/>
                      <a:pt x="4" y="1"/>
                    </a:cubicBezTo>
                    <a:cubicBezTo>
                      <a:pt x="4" y="1"/>
                      <a:pt x="5" y="2"/>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5" name="Freeform 461">
                <a:extLst>
                  <a:ext uri="{FF2B5EF4-FFF2-40B4-BE49-F238E27FC236}">
                    <a16:creationId xmlns:a16="http://schemas.microsoft.com/office/drawing/2014/main" id="{08AD3170-794B-D349-8AF4-93FCA1DFF2AF}"/>
                  </a:ext>
                </a:extLst>
              </p:cNvPr>
              <p:cNvSpPr>
                <a:spLocks/>
              </p:cNvSpPr>
              <p:nvPr/>
            </p:nvSpPr>
            <p:spPr bwMode="auto">
              <a:xfrm>
                <a:off x="17034592" y="9437635"/>
                <a:ext cx="66879" cy="38227"/>
              </a:xfrm>
              <a:custGeom>
                <a:avLst/>
                <a:gdLst>
                  <a:gd name="T0" fmla="*/ 2 w 7"/>
                  <a:gd name="T1" fmla="*/ 1 h 4"/>
                  <a:gd name="T2" fmla="*/ 2 w 7"/>
                  <a:gd name="T3" fmla="*/ 4 h 4"/>
                  <a:gd name="T4" fmla="*/ 6 w 7"/>
                  <a:gd name="T5" fmla="*/ 3 h 4"/>
                  <a:gd name="T6" fmla="*/ 5 w 7"/>
                  <a:gd name="T7" fmla="*/ 1 h 4"/>
                  <a:gd name="T8" fmla="*/ 2 w 7"/>
                  <a:gd name="T9" fmla="*/ 1 h 4"/>
                </a:gdLst>
                <a:ahLst/>
                <a:cxnLst>
                  <a:cxn ang="0">
                    <a:pos x="T0" y="T1"/>
                  </a:cxn>
                  <a:cxn ang="0">
                    <a:pos x="T2" y="T3"/>
                  </a:cxn>
                  <a:cxn ang="0">
                    <a:pos x="T4" y="T5"/>
                  </a:cxn>
                  <a:cxn ang="0">
                    <a:pos x="T6" y="T7"/>
                  </a:cxn>
                  <a:cxn ang="0">
                    <a:pos x="T8" y="T9"/>
                  </a:cxn>
                </a:cxnLst>
                <a:rect l="0" t="0" r="r" b="b"/>
                <a:pathLst>
                  <a:path w="7" h="4">
                    <a:moveTo>
                      <a:pt x="2" y="1"/>
                    </a:moveTo>
                    <a:cubicBezTo>
                      <a:pt x="1" y="2"/>
                      <a:pt x="0" y="4"/>
                      <a:pt x="2" y="4"/>
                    </a:cubicBezTo>
                    <a:cubicBezTo>
                      <a:pt x="4" y="4"/>
                      <a:pt x="5" y="4"/>
                      <a:pt x="6" y="3"/>
                    </a:cubicBezTo>
                    <a:cubicBezTo>
                      <a:pt x="7" y="3"/>
                      <a:pt x="5" y="2"/>
                      <a:pt x="5" y="1"/>
                    </a:cubicBezTo>
                    <a:cubicBezTo>
                      <a:pt x="4" y="0"/>
                      <a:pt x="3" y="0"/>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6" name="Freeform 462">
                <a:extLst>
                  <a:ext uri="{FF2B5EF4-FFF2-40B4-BE49-F238E27FC236}">
                    <a16:creationId xmlns:a16="http://schemas.microsoft.com/office/drawing/2014/main" id="{47F7C44C-1381-0B45-818C-2149462F1BCE}"/>
                  </a:ext>
                </a:extLst>
              </p:cNvPr>
              <p:cNvSpPr>
                <a:spLocks/>
              </p:cNvSpPr>
              <p:nvPr/>
            </p:nvSpPr>
            <p:spPr bwMode="auto">
              <a:xfrm>
                <a:off x="17082363" y="9428080"/>
                <a:ext cx="76432" cy="47785"/>
              </a:xfrm>
              <a:custGeom>
                <a:avLst/>
                <a:gdLst>
                  <a:gd name="T0" fmla="*/ 1 w 8"/>
                  <a:gd name="T1" fmla="*/ 0 h 5"/>
                  <a:gd name="T2" fmla="*/ 0 w 8"/>
                  <a:gd name="T3" fmla="*/ 1 h 5"/>
                  <a:gd name="T4" fmla="*/ 2 w 8"/>
                  <a:gd name="T5" fmla="*/ 2 h 5"/>
                  <a:gd name="T6" fmla="*/ 2 w 8"/>
                  <a:gd name="T7" fmla="*/ 3 h 5"/>
                  <a:gd name="T8" fmla="*/ 7 w 8"/>
                  <a:gd name="T9" fmla="*/ 4 h 5"/>
                  <a:gd name="T10" fmla="*/ 7 w 8"/>
                  <a:gd name="T11" fmla="*/ 1 h 5"/>
                  <a:gd name="T12" fmla="*/ 1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1" y="0"/>
                    </a:moveTo>
                    <a:cubicBezTo>
                      <a:pt x="0" y="0"/>
                      <a:pt x="0" y="0"/>
                      <a:pt x="0" y="1"/>
                    </a:cubicBezTo>
                    <a:cubicBezTo>
                      <a:pt x="0" y="1"/>
                      <a:pt x="2" y="1"/>
                      <a:pt x="2" y="2"/>
                    </a:cubicBezTo>
                    <a:cubicBezTo>
                      <a:pt x="2" y="2"/>
                      <a:pt x="2" y="3"/>
                      <a:pt x="2" y="3"/>
                    </a:cubicBezTo>
                    <a:cubicBezTo>
                      <a:pt x="2" y="4"/>
                      <a:pt x="6" y="5"/>
                      <a:pt x="7" y="4"/>
                    </a:cubicBezTo>
                    <a:cubicBezTo>
                      <a:pt x="8" y="3"/>
                      <a:pt x="8" y="2"/>
                      <a:pt x="7" y="1"/>
                    </a:cubicBezTo>
                    <a:cubicBezTo>
                      <a:pt x="5" y="1"/>
                      <a:pt x="3" y="1"/>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7" name="Freeform 463">
                <a:extLst>
                  <a:ext uri="{FF2B5EF4-FFF2-40B4-BE49-F238E27FC236}">
                    <a16:creationId xmlns:a16="http://schemas.microsoft.com/office/drawing/2014/main" id="{B0B6D346-1684-C845-BE15-1B16508B48AF}"/>
                  </a:ext>
                </a:extLst>
              </p:cNvPr>
              <p:cNvSpPr>
                <a:spLocks/>
              </p:cNvSpPr>
              <p:nvPr/>
            </p:nvSpPr>
            <p:spPr bwMode="auto">
              <a:xfrm>
                <a:off x="17184277" y="9437635"/>
                <a:ext cx="114649" cy="38227"/>
              </a:xfrm>
              <a:custGeom>
                <a:avLst/>
                <a:gdLst>
                  <a:gd name="T0" fmla="*/ 2 w 12"/>
                  <a:gd name="T1" fmla="*/ 0 h 4"/>
                  <a:gd name="T2" fmla="*/ 0 w 12"/>
                  <a:gd name="T3" fmla="*/ 2 h 4"/>
                  <a:gd name="T4" fmla="*/ 12 w 12"/>
                  <a:gd name="T5" fmla="*/ 2 h 4"/>
                  <a:gd name="T6" fmla="*/ 9 w 12"/>
                  <a:gd name="T7" fmla="*/ 2 h 4"/>
                  <a:gd name="T8" fmla="*/ 2 w 12"/>
                  <a:gd name="T9" fmla="*/ 0 h 4"/>
                  <a:gd name="T10" fmla="*/ 2 w 12"/>
                  <a:gd name="T11" fmla="*/ 0 h 4"/>
                </a:gdLst>
                <a:ahLst/>
                <a:cxnLst>
                  <a:cxn ang="0">
                    <a:pos x="T0" y="T1"/>
                  </a:cxn>
                  <a:cxn ang="0">
                    <a:pos x="T2" y="T3"/>
                  </a:cxn>
                  <a:cxn ang="0">
                    <a:pos x="T4" y="T5"/>
                  </a:cxn>
                  <a:cxn ang="0">
                    <a:pos x="T6" y="T7"/>
                  </a:cxn>
                  <a:cxn ang="0">
                    <a:pos x="T8" y="T9"/>
                  </a:cxn>
                  <a:cxn ang="0">
                    <a:pos x="T10" y="T11"/>
                  </a:cxn>
                </a:cxnLst>
                <a:rect l="0" t="0" r="r" b="b"/>
                <a:pathLst>
                  <a:path w="12" h="4">
                    <a:moveTo>
                      <a:pt x="2" y="0"/>
                    </a:moveTo>
                    <a:cubicBezTo>
                      <a:pt x="2" y="0"/>
                      <a:pt x="0" y="1"/>
                      <a:pt x="0" y="2"/>
                    </a:cubicBezTo>
                    <a:cubicBezTo>
                      <a:pt x="0" y="2"/>
                      <a:pt x="11" y="4"/>
                      <a:pt x="12" y="2"/>
                    </a:cubicBezTo>
                    <a:cubicBezTo>
                      <a:pt x="12" y="1"/>
                      <a:pt x="9" y="2"/>
                      <a:pt x="9" y="2"/>
                    </a:cubicBezTo>
                    <a:cubicBezTo>
                      <a:pt x="7" y="2"/>
                      <a:pt x="4" y="1"/>
                      <a:pt x="2" y="0"/>
                    </a:cubicBezTo>
                    <a:cubicBezTo>
                      <a:pt x="2"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8" name="Freeform 464">
                <a:extLst>
                  <a:ext uri="{FF2B5EF4-FFF2-40B4-BE49-F238E27FC236}">
                    <a16:creationId xmlns:a16="http://schemas.microsoft.com/office/drawing/2014/main" id="{6484AD93-E695-B24F-99B6-B8304585FF24}"/>
                  </a:ext>
                </a:extLst>
              </p:cNvPr>
              <p:cNvSpPr>
                <a:spLocks/>
              </p:cNvSpPr>
              <p:nvPr/>
            </p:nvSpPr>
            <p:spPr bwMode="auto">
              <a:xfrm>
                <a:off x="17149244" y="9491791"/>
                <a:ext cx="101909" cy="57338"/>
              </a:xfrm>
              <a:custGeom>
                <a:avLst/>
                <a:gdLst>
                  <a:gd name="T0" fmla="*/ 0 w 11"/>
                  <a:gd name="T1" fmla="*/ 0 h 6"/>
                  <a:gd name="T2" fmla="*/ 8 w 11"/>
                  <a:gd name="T3" fmla="*/ 4 h 6"/>
                  <a:gd name="T4" fmla="*/ 0 w 11"/>
                  <a:gd name="T5" fmla="*/ 0 h 6"/>
                </a:gdLst>
                <a:ahLst/>
                <a:cxnLst>
                  <a:cxn ang="0">
                    <a:pos x="T0" y="T1"/>
                  </a:cxn>
                  <a:cxn ang="0">
                    <a:pos x="T2" y="T3"/>
                  </a:cxn>
                  <a:cxn ang="0">
                    <a:pos x="T4" y="T5"/>
                  </a:cxn>
                </a:cxnLst>
                <a:rect l="0" t="0" r="r" b="b"/>
                <a:pathLst>
                  <a:path w="11" h="6">
                    <a:moveTo>
                      <a:pt x="0" y="0"/>
                    </a:moveTo>
                    <a:cubicBezTo>
                      <a:pt x="1" y="0"/>
                      <a:pt x="7" y="6"/>
                      <a:pt x="8" y="4"/>
                    </a:cubicBezTo>
                    <a:cubicBezTo>
                      <a:pt x="11" y="1"/>
                      <a:pt x="1"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89" name="Freeform 465">
                <a:extLst>
                  <a:ext uri="{FF2B5EF4-FFF2-40B4-BE49-F238E27FC236}">
                    <a16:creationId xmlns:a16="http://schemas.microsoft.com/office/drawing/2014/main" id="{4A23A782-A392-E44B-B932-6ED10FA07A4D}"/>
                  </a:ext>
                </a:extLst>
              </p:cNvPr>
              <p:cNvSpPr>
                <a:spLocks/>
              </p:cNvSpPr>
              <p:nvPr/>
            </p:nvSpPr>
            <p:spPr bwMode="auto">
              <a:xfrm>
                <a:off x="17474083" y="9192351"/>
                <a:ext cx="57323" cy="38227"/>
              </a:xfrm>
              <a:custGeom>
                <a:avLst/>
                <a:gdLst>
                  <a:gd name="T0" fmla="*/ 3 w 6"/>
                  <a:gd name="T1" fmla="*/ 3 h 4"/>
                  <a:gd name="T2" fmla="*/ 4 w 6"/>
                  <a:gd name="T3" fmla="*/ 0 h 4"/>
                  <a:gd name="T4" fmla="*/ 3 w 6"/>
                  <a:gd name="T5" fmla="*/ 3 h 4"/>
                  <a:gd name="T6" fmla="*/ 3 w 6"/>
                  <a:gd name="T7" fmla="*/ 3 h 4"/>
                </a:gdLst>
                <a:ahLst/>
                <a:cxnLst>
                  <a:cxn ang="0">
                    <a:pos x="T0" y="T1"/>
                  </a:cxn>
                  <a:cxn ang="0">
                    <a:pos x="T2" y="T3"/>
                  </a:cxn>
                  <a:cxn ang="0">
                    <a:pos x="T4" y="T5"/>
                  </a:cxn>
                  <a:cxn ang="0">
                    <a:pos x="T6" y="T7"/>
                  </a:cxn>
                </a:cxnLst>
                <a:rect l="0" t="0" r="r" b="b"/>
                <a:pathLst>
                  <a:path w="6" h="4">
                    <a:moveTo>
                      <a:pt x="3" y="3"/>
                    </a:moveTo>
                    <a:cubicBezTo>
                      <a:pt x="0" y="4"/>
                      <a:pt x="1" y="0"/>
                      <a:pt x="4" y="0"/>
                    </a:cubicBezTo>
                    <a:cubicBezTo>
                      <a:pt x="6" y="0"/>
                      <a:pt x="5" y="3"/>
                      <a:pt x="3" y="3"/>
                    </a:cubicBezTo>
                    <a:cubicBezTo>
                      <a:pt x="2" y="4"/>
                      <a:pt x="5" y="3"/>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0" name="Freeform 466">
                <a:extLst>
                  <a:ext uri="{FF2B5EF4-FFF2-40B4-BE49-F238E27FC236}">
                    <a16:creationId xmlns:a16="http://schemas.microsoft.com/office/drawing/2014/main" id="{48FF5161-605F-374D-8063-3C988D0DE732}"/>
                  </a:ext>
                </a:extLst>
              </p:cNvPr>
              <p:cNvSpPr>
                <a:spLocks/>
              </p:cNvSpPr>
              <p:nvPr/>
            </p:nvSpPr>
            <p:spPr bwMode="auto">
              <a:xfrm>
                <a:off x="17569627" y="9185981"/>
                <a:ext cx="140127" cy="44598"/>
              </a:xfrm>
              <a:custGeom>
                <a:avLst/>
                <a:gdLst>
                  <a:gd name="T0" fmla="*/ 2 w 15"/>
                  <a:gd name="T1" fmla="*/ 3 h 5"/>
                  <a:gd name="T2" fmla="*/ 1 w 15"/>
                  <a:gd name="T3" fmla="*/ 1 h 5"/>
                  <a:gd name="T4" fmla="*/ 5 w 15"/>
                  <a:gd name="T5" fmla="*/ 0 h 5"/>
                  <a:gd name="T6" fmla="*/ 13 w 15"/>
                  <a:gd name="T7" fmla="*/ 2 h 5"/>
                  <a:gd name="T8" fmla="*/ 15 w 15"/>
                  <a:gd name="T9" fmla="*/ 5 h 5"/>
                  <a:gd name="T10" fmla="*/ 11 w 15"/>
                  <a:gd name="T11" fmla="*/ 3 h 5"/>
                  <a:gd name="T12" fmla="*/ 2 w 15"/>
                  <a:gd name="T13" fmla="*/ 3 h 5"/>
                  <a:gd name="T14" fmla="*/ 2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2" y="3"/>
                    </a:moveTo>
                    <a:cubicBezTo>
                      <a:pt x="1" y="3"/>
                      <a:pt x="0" y="2"/>
                      <a:pt x="1" y="1"/>
                    </a:cubicBezTo>
                    <a:cubicBezTo>
                      <a:pt x="2" y="0"/>
                      <a:pt x="3" y="0"/>
                      <a:pt x="5" y="0"/>
                    </a:cubicBezTo>
                    <a:cubicBezTo>
                      <a:pt x="8" y="0"/>
                      <a:pt x="10" y="0"/>
                      <a:pt x="13" y="2"/>
                    </a:cubicBezTo>
                    <a:cubicBezTo>
                      <a:pt x="14" y="3"/>
                      <a:pt x="15" y="4"/>
                      <a:pt x="15" y="5"/>
                    </a:cubicBezTo>
                    <a:cubicBezTo>
                      <a:pt x="14" y="5"/>
                      <a:pt x="11" y="3"/>
                      <a:pt x="11" y="3"/>
                    </a:cubicBezTo>
                    <a:cubicBezTo>
                      <a:pt x="8" y="2"/>
                      <a:pt x="5" y="3"/>
                      <a:pt x="2" y="3"/>
                    </a:cubicBezTo>
                    <a:cubicBezTo>
                      <a:pt x="1" y="3"/>
                      <a:pt x="3"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1" name="Freeform 467">
                <a:extLst>
                  <a:ext uri="{FF2B5EF4-FFF2-40B4-BE49-F238E27FC236}">
                    <a16:creationId xmlns:a16="http://schemas.microsoft.com/office/drawing/2014/main" id="{F1137952-CAD3-BE46-ACA2-CFDC2F44E811}"/>
                  </a:ext>
                </a:extLst>
              </p:cNvPr>
              <p:cNvSpPr>
                <a:spLocks/>
              </p:cNvSpPr>
              <p:nvPr/>
            </p:nvSpPr>
            <p:spPr bwMode="auto">
              <a:xfrm>
                <a:off x="17139689" y="8969361"/>
                <a:ext cx="299364" cy="337667"/>
              </a:xfrm>
              <a:custGeom>
                <a:avLst/>
                <a:gdLst>
                  <a:gd name="T0" fmla="*/ 13 w 32"/>
                  <a:gd name="T1" fmla="*/ 32 h 36"/>
                  <a:gd name="T2" fmla="*/ 14 w 32"/>
                  <a:gd name="T3" fmla="*/ 30 h 36"/>
                  <a:gd name="T4" fmla="*/ 11 w 32"/>
                  <a:gd name="T5" fmla="*/ 28 h 36"/>
                  <a:gd name="T6" fmla="*/ 12 w 32"/>
                  <a:gd name="T7" fmla="*/ 23 h 36"/>
                  <a:gd name="T8" fmla="*/ 8 w 32"/>
                  <a:gd name="T9" fmla="*/ 23 h 36"/>
                  <a:gd name="T10" fmla="*/ 8 w 32"/>
                  <a:gd name="T11" fmla="*/ 29 h 36"/>
                  <a:gd name="T12" fmla="*/ 8 w 32"/>
                  <a:gd name="T13" fmla="*/ 30 h 36"/>
                  <a:gd name="T14" fmla="*/ 7 w 32"/>
                  <a:gd name="T15" fmla="*/ 34 h 36"/>
                  <a:gd name="T16" fmla="*/ 4 w 32"/>
                  <a:gd name="T17" fmla="*/ 36 h 36"/>
                  <a:gd name="T18" fmla="*/ 4 w 32"/>
                  <a:gd name="T19" fmla="*/ 31 h 36"/>
                  <a:gd name="T20" fmla="*/ 2 w 32"/>
                  <a:gd name="T21" fmla="*/ 26 h 36"/>
                  <a:gd name="T22" fmla="*/ 1 w 32"/>
                  <a:gd name="T23" fmla="*/ 21 h 36"/>
                  <a:gd name="T24" fmla="*/ 3 w 32"/>
                  <a:gd name="T25" fmla="*/ 14 h 36"/>
                  <a:gd name="T26" fmla="*/ 9 w 32"/>
                  <a:gd name="T27" fmla="*/ 5 h 36"/>
                  <a:gd name="T28" fmla="*/ 11 w 32"/>
                  <a:gd name="T29" fmla="*/ 2 h 36"/>
                  <a:gd name="T30" fmla="*/ 18 w 32"/>
                  <a:gd name="T31" fmla="*/ 4 h 36"/>
                  <a:gd name="T32" fmla="*/ 25 w 32"/>
                  <a:gd name="T33" fmla="*/ 4 h 36"/>
                  <a:gd name="T34" fmla="*/ 32 w 32"/>
                  <a:gd name="T35" fmla="*/ 1 h 36"/>
                  <a:gd name="T36" fmla="*/ 29 w 32"/>
                  <a:gd name="T37" fmla="*/ 6 h 36"/>
                  <a:gd name="T38" fmla="*/ 23 w 32"/>
                  <a:gd name="T39" fmla="*/ 7 h 36"/>
                  <a:gd name="T40" fmla="*/ 10 w 32"/>
                  <a:gd name="T41" fmla="*/ 7 h 36"/>
                  <a:gd name="T42" fmla="*/ 6 w 32"/>
                  <a:gd name="T43" fmla="*/ 10 h 36"/>
                  <a:gd name="T44" fmla="*/ 10 w 32"/>
                  <a:gd name="T45" fmla="*/ 15 h 36"/>
                  <a:gd name="T46" fmla="*/ 13 w 32"/>
                  <a:gd name="T47" fmla="*/ 14 h 36"/>
                  <a:gd name="T48" fmla="*/ 20 w 32"/>
                  <a:gd name="T49" fmla="*/ 13 h 36"/>
                  <a:gd name="T50" fmla="*/ 17 w 32"/>
                  <a:gd name="T51" fmla="*/ 16 h 36"/>
                  <a:gd name="T52" fmla="*/ 13 w 32"/>
                  <a:gd name="T53" fmla="*/ 17 h 36"/>
                  <a:gd name="T54" fmla="*/ 14 w 32"/>
                  <a:gd name="T55" fmla="*/ 20 h 36"/>
                  <a:gd name="T56" fmla="*/ 18 w 32"/>
                  <a:gd name="T57" fmla="*/ 25 h 36"/>
                  <a:gd name="T58" fmla="*/ 19 w 32"/>
                  <a:gd name="T59" fmla="*/ 28 h 36"/>
                  <a:gd name="T60" fmla="*/ 22 w 32"/>
                  <a:gd name="T61" fmla="*/ 30 h 36"/>
                  <a:gd name="T62" fmla="*/ 13 w 32"/>
                  <a:gd name="T63" fmla="*/ 32 h 36"/>
                  <a:gd name="T64" fmla="*/ 13 w 32"/>
                  <a:gd name="T65"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6">
                    <a:moveTo>
                      <a:pt x="13" y="32"/>
                    </a:moveTo>
                    <a:cubicBezTo>
                      <a:pt x="13" y="31"/>
                      <a:pt x="14" y="31"/>
                      <a:pt x="14" y="30"/>
                    </a:cubicBezTo>
                    <a:cubicBezTo>
                      <a:pt x="14" y="29"/>
                      <a:pt x="12" y="28"/>
                      <a:pt x="11" y="28"/>
                    </a:cubicBezTo>
                    <a:cubicBezTo>
                      <a:pt x="10" y="26"/>
                      <a:pt x="12" y="25"/>
                      <a:pt x="12" y="23"/>
                    </a:cubicBezTo>
                    <a:cubicBezTo>
                      <a:pt x="12" y="22"/>
                      <a:pt x="8" y="22"/>
                      <a:pt x="8" y="23"/>
                    </a:cubicBezTo>
                    <a:cubicBezTo>
                      <a:pt x="7" y="25"/>
                      <a:pt x="8" y="27"/>
                      <a:pt x="8" y="29"/>
                    </a:cubicBezTo>
                    <a:cubicBezTo>
                      <a:pt x="7" y="29"/>
                      <a:pt x="8" y="30"/>
                      <a:pt x="8" y="30"/>
                    </a:cubicBezTo>
                    <a:cubicBezTo>
                      <a:pt x="8" y="32"/>
                      <a:pt x="7" y="33"/>
                      <a:pt x="7" y="34"/>
                    </a:cubicBezTo>
                    <a:cubicBezTo>
                      <a:pt x="6" y="36"/>
                      <a:pt x="7" y="36"/>
                      <a:pt x="4" y="36"/>
                    </a:cubicBezTo>
                    <a:cubicBezTo>
                      <a:pt x="1" y="36"/>
                      <a:pt x="4" y="32"/>
                      <a:pt x="4" y="31"/>
                    </a:cubicBezTo>
                    <a:cubicBezTo>
                      <a:pt x="5" y="30"/>
                      <a:pt x="4" y="27"/>
                      <a:pt x="2" y="26"/>
                    </a:cubicBezTo>
                    <a:cubicBezTo>
                      <a:pt x="0" y="25"/>
                      <a:pt x="0" y="23"/>
                      <a:pt x="1" y="21"/>
                    </a:cubicBezTo>
                    <a:cubicBezTo>
                      <a:pt x="2" y="19"/>
                      <a:pt x="2" y="16"/>
                      <a:pt x="3" y="14"/>
                    </a:cubicBezTo>
                    <a:cubicBezTo>
                      <a:pt x="5" y="11"/>
                      <a:pt x="4" y="5"/>
                      <a:pt x="9" y="5"/>
                    </a:cubicBezTo>
                    <a:cubicBezTo>
                      <a:pt x="10" y="5"/>
                      <a:pt x="9" y="2"/>
                      <a:pt x="11" y="2"/>
                    </a:cubicBezTo>
                    <a:cubicBezTo>
                      <a:pt x="14" y="3"/>
                      <a:pt x="16" y="4"/>
                      <a:pt x="18" y="4"/>
                    </a:cubicBezTo>
                    <a:cubicBezTo>
                      <a:pt x="20" y="4"/>
                      <a:pt x="23" y="5"/>
                      <a:pt x="25" y="4"/>
                    </a:cubicBezTo>
                    <a:cubicBezTo>
                      <a:pt x="26" y="4"/>
                      <a:pt x="32" y="0"/>
                      <a:pt x="32" y="1"/>
                    </a:cubicBezTo>
                    <a:cubicBezTo>
                      <a:pt x="32" y="2"/>
                      <a:pt x="29" y="5"/>
                      <a:pt x="29" y="6"/>
                    </a:cubicBezTo>
                    <a:cubicBezTo>
                      <a:pt x="27" y="7"/>
                      <a:pt x="25" y="7"/>
                      <a:pt x="23" y="7"/>
                    </a:cubicBezTo>
                    <a:cubicBezTo>
                      <a:pt x="18" y="6"/>
                      <a:pt x="14" y="7"/>
                      <a:pt x="10" y="7"/>
                    </a:cubicBezTo>
                    <a:cubicBezTo>
                      <a:pt x="7" y="6"/>
                      <a:pt x="6" y="7"/>
                      <a:pt x="6" y="10"/>
                    </a:cubicBezTo>
                    <a:cubicBezTo>
                      <a:pt x="6" y="13"/>
                      <a:pt x="9" y="13"/>
                      <a:pt x="10" y="15"/>
                    </a:cubicBezTo>
                    <a:cubicBezTo>
                      <a:pt x="11" y="17"/>
                      <a:pt x="12" y="15"/>
                      <a:pt x="13" y="14"/>
                    </a:cubicBezTo>
                    <a:cubicBezTo>
                      <a:pt x="13" y="13"/>
                      <a:pt x="20" y="12"/>
                      <a:pt x="20" y="13"/>
                    </a:cubicBezTo>
                    <a:cubicBezTo>
                      <a:pt x="21" y="13"/>
                      <a:pt x="18" y="16"/>
                      <a:pt x="17" y="16"/>
                    </a:cubicBezTo>
                    <a:cubicBezTo>
                      <a:pt x="15" y="18"/>
                      <a:pt x="15" y="18"/>
                      <a:pt x="13" y="17"/>
                    </a:cubicBezTo>
                    <a:cubicBezTo>
                      <a:pt x="13" y="17"/>
                      <a:pt x="14" y="20"/>
                      <a:pt x="14" y="20"/>
                    </a:cubicBezTo>
                    <a:cubicBezTo>
                      <a:pt x="15" y="21"/>
                      <a:pt x="18" y="23"/>
                      <a:pt x="18" y="25"/>
                    </a:cubicBezTo>
                    <a:cubicBezTo>
                      <a:pt x="18" y="26"/>
                      <a:pt x="18" y="27"/>
                      <a:pt x="19" y="28"/>
                    </a:cubicBezTo>
                    <a:cubicBezTo>
                      <a:pt x="19" y="28"/>
                      <a:pt x="21" y="30"/>
                      <a:pt x="22" y="30"/>
                    </a:cubicBezTo>
                    <a:cubicBezTo>
                      <a:pt x="20" y="31"/>
                      <a:pt x="15" y="33"/>
                      <a:pt x="13" y="32"/>
                    </a:cubicBezTo>
                    <a:cubicBezTo>
                      <a:pt x="13" y="31"/>
                      <a:pt x="14" y="33"/>
                      <a:pt x="13" y="3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2" name="Freeform 468">
                <a:extLst>
                  <a:ext uri="{FF2B5EF4-FFF2-40B4-BE49-F238E27FC236}">
                    <a16:creationId xmlns:a16="http://schemas.microsoft.com/office/drawing/2014/main" id="{76540667-EEA5-2646-9C96-C3C10F798242}"/>
                  </a:ext>
                </a:extLst>
              </p:cNvPr>
              <p:cNvSpPr>
                <a:spLocks/>
              </p:cNvSpPr>
              <p:nvPr/>
            </p:nvSpPr>
            <p:spPr bwMode="auto">
              <a:xfrm>
                <a:off x="17540962" y="8950247"/>
                <a:ext cx="73248" cy="140163"/>
              </a:xfrm>
              <a:custGeom>
                <a:avLst/>
                <a:gdLst>
                  <a:gd name="T0" fmla="*/ 3 w 8"/>
                  <a:gd name="T1" fmla="*/ 2 h 15"/>
                  <a:gd name="T2" fmla="*/ 3 w 8"/>
                  <a:gd name="T3" fmla="*/ 0 h 15"/>
                  <a:gd name="T4" fmla="*/ 0 w 8"/>
                  <a:gd name="T5" fmla="*/ 4 h 15"/>
                  <a:gd name="T6" fmla="*/ 1 w 8"/>
                  <a:gd name="T7" fmla="*/ 8 h 15"/>
                  <a:gd name="T8" fmla="*/ 2 w 8"/>
                  <a:gd name="T9" fmla="*/ 12 h 15"/>
                  <a:gd name="T10" fmla="*/ 5 w 8"/>
                  <a:gd name="T11" fmla="*/ 15 h 15"/>
                  <a:gd name="T12" fmla="*/ 4 w 8"/>
                  <a:gd name="T13" fmla="*/ 13 h 15"/>
                  <a:gd name="T14" fmla="*/ 3 w 8"/>
                  <a:gd name="T15" fmla="*/ 9 h 15"/>
                  <a:gd name="T16" fmla="*/ 7 w 8"/>
                  <a:gd name="T17" fmla="*/ 9 h 15"/>
                  <a:gd name="T18" fmla="*/ 5 w 8"/>
                  <a:gd name="T19" fmla="*/ 7 h 15"/>
                  <a:gd name="T20" fmla="*/ 6 w 8"/>
                  <a:gd name="T21" fmla="*/ 5 h 15"/>
                  <a:gd name="T22" fmla="*/ 2 w 8"/>
                  <a:gd name="T23" fmla="*/ 6 h 15"/>
                  <a:gd name="T24" fmla="*/ 3 w 8"/>
                  <a:gd name="T25" fmla="*/ 2 h 15"/>
                  <a:gd name="T26" fmla="*/ 3 w 8"/>
                  <a:gd name="T27"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5">
                    <a:moveTo>
                      <a:pt x="3" y="2"/>
                    </a:moveTo>
                    <a:cubicBezTo>
                      <a:pt x="3" y="1"/>
                      <a:pt x="3" y="1"/>
                      <a:pt x="3" y="0"/>
                    </a:cubicBezTo>
                    <a:cubicBezTo>
                      <a:pt x="2" y="0"/>
                      <a:pt x="0" y="3"/>
                      <a:pt x="0" y="4"/>
                    </a:cubicBezTo>
                    <a:cubicBezTo>
                      <a:pt x="0" y="5"/>
                      <a:pt x="1" y="6"/>
                      <a:pt x="1" y="8"/>
                    </a:cubicBezTo>
                    <a:cubicBezTo>
                      <a:pt x="1" y="9"/>
                      <a:pt x="1" y="11"/>
                      <a:pt x="2" y="12"/>
                    </a:cubicBezTo>
                    <a:cubicBezTo>
                      <a:pt x="2" y="12"/>
                      <a:pt x="5" y="15"/>
                      <a:pt x="5" y="15"/>
                    </a:cubicBezTo>
                    <a:cubicBezTo>
                      <a:pt x="5" y="15"/>
                      <a:pt x="4" y="13"/>
                      <a:pt x="4" y="13"/>
                    </a:cubicBezTo>
                    <a:cubicBezTo>
                      <a:pt x="3" y="12"/>
                      <a:pt x="3" y="10"/>
                      <a:pt x="3" y="9"/>
                    </a:cubicBezTo>
                    <a:cubicBezTo>
                      <a:pt x="3" y="8"/>
                      <a:pt x="7" y="9"/>
                      <a:pt x="7" y="9"/>
                    </a:cubicBezTo>
                    <a:cubicBezTo>
                      <a:pt x="8" y="9"/>
                      <a:pt x="6" y="8"/>
                      <a:pt x="5" y="7"/>
                    </a:cubicBezTo>
                    <a:cubicBezTo>
                      <a:pt x="5" y="7"/>
                      <a:pt x="6" y="6"/>
                      <a:pt x="6" y="5"/>
                    </a:cubicBezTo>
                    <a:cubicBezTo>
                      <a:pt x="7" y="1"/>
                      <a:pt x="3" y="6"/>
                      <a:pt x="2" y="6"/>
                    </a:cubicBezTo>
                    <a:cubicBezTo>
                      <a:pt x="2" y="6"/>
                      <a:pt x="4" y="3"/>
                      <a:pt x="3" y="2"/>
                    </a:cubicBezTo>
                    <a:cubicBezTo>
                      <a:pt x="3" y="1"/>
                      <a:pt x="4"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3" name="Freeform 469">
                <a:extLst>
                  <a:ext uri="{FF2B5EF4-FFF2-40B4-BE49-F238E27FC236}">
                    <a16:creationId xmlns:a16="http://schemas.microsoft.com/office/drawing/2014/main" id="{47C00660-2EAC-9846-9C1B-B1562781802E}"/>
                  </a:ext>
                </a:extLst>
              </p:cNvPr>
              <p:cNvSpPr>
                <a:spLocks/>
              </p:cNvSpPr>
              <p:nvPr/>
            </p:nvSpPr>
            <p:spPr bwMode="auto">
              <a:xfrm>
                <a:off x="17579182" y="8931136"/>
                <a:ext cx="25477" cy="19114"/>
              </a:xfrm>
              <a:custGeom>
                <a:avLst/>
                <a:gdLst>
                  <a:gd name="T0" fmla="*/ 1 w 3"/>
                  <a:gd name="T1" fmla="*/ 2 h 2"/>
                  <a:gd name="T2" fmla="*/ 2 w 3"/>
                  <a:gd name="T3" fmla="*/ 0 h 2"/>
                  <a:gd name="T4" fmla="*/ 1 w 3"/>
                  <a:gd name="T5" fmla="*/ 2 h 2"/>
                </a:gdLst>
                <a:ahLst/>
                <a:cxnLst>
                  <a:cxn ang="0">
                    <a:pos x="T0" y="T1"/>
                  </a:cxn>
                  <a:cxn ang="0">
                    <a:pos x="T2" y="T3"/>
                  </a:cxn>
                  <a:cxn ang="0">
                    <a:pos x="T4" y="T5"/>
                  </a:cxn>
                </a:cxnLst>
                <a:rect l="0" t="0" r="r" b="b"/>
                <a:pathLst>
                  <a:path w="3" h="2">
                    <a:moveTo>
                      <a:pt x="1" y="2"/>
                    </a:moveTo>
                    <a:cubicBezTo>
                      <a:pt x="0" y="2"/>
                      <a:pt x="1" y="0"/>
                      <a:pt x="2" y="0"/>
                    </a:cubicBezTo>
                    <a:cubicBezTo>
                      <a:pt x="3"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4" name="Freeform 470">
                <a:extLst>
                  <a:ext uri="{FF2B5EF4-FFF2-40B4-BE49-F238E27FC236}">
                    <a16:creationId xmlns:a16="http://schemas.microsoft.com/office/drawing/2014/main" id="{07C2D098-1E20-A847-AE41-A6E8CB9BA1D8}"/>
                  </a:ext>
                </a:extLst>
              </p:cNvPr>
              <p:cNvSpPr>
                <a:spLocks/>
              </p:cNvSpPr>
              <p:nvPr/>
            </p:nvSpPr>
            <p:spPr bwMode="auto">
              <a:xfrm>
                <a:off x="17681092" y="9052186"/>
                <a:ext cx="44586" cy="19114"/>
              </a:xfrm>
              <a:custGeom>
                <a:avLst/>
                <a:gdLst>
                  <a:gd name="T0" fmla="*/ 5 w 5"/>
                  <a:gd name="T1" fmla="*/ 1 h 2"/>
                  <a:gd name="T2" fmla="*/ 0 w 5"/>
                  <a:gd name="T3" fmla="*/ 1 h 2"/>
                  <a:gd name="T4" fmla="*/ 5 w 5"/>
                  <a:gd name="T5" fmla="*/ 1 h 2"/>
                </a:gdLst>
                <a:ahLst/>
                <a:cxnLst>
                  <a:cxn ang="0">
                    <a:pos x="T0" y="T1"/>
                  </a:cxn>
                  <a:cxn ang="0">
                    <a:pos x="T2" y="T3"/>
                  </a:cxn>
                  <a:cxn ang="0">
                    <a:pos x="T4" y="T5"/>
                  </a:cxn>
                </a:cxnLst>
                <a:rect l="0" t="0" r="r" b="b"/>
                <a:pathLst>
                  <a:path w="5" h="2">
                    <a:moveTo>
                      <a:pt x="5" y="1"/>
                    </a:moveTo>
                    <a:cubicBezTo>
                      <a:pt x="5" y="0"/>
                      <a:pt x="0" y="0"/>
                      <a:pt x="0" y="1"/>
                    </a:cubicBezTo>
                    <a:cubicBezTo>
                      <a:pt x="0" y="1"/>
                      <a:pt x="5" y="2"/>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5" name="Freeform 471">
                <a:extLst>
                  <a:ext uri="{FF2B5EF4-FFF2-40B4-BE49-F238E27FC236}">
                    <a16:creationId xmlns:a16="http://schemas.microsoft.com/office/drawing/2014/main" id="{B76BD06D-7C8B-E74F-959C-29A884C40046}"/>
                  </a:ext>
                </a:extLst>
              </p:cNvPr>
              <p:cNvSpPr>
                <a:spLocks/>
              </p:cNvSpPr>
              <p:nvPr/>
            </p:nvSpPr>
            <p:spPr bwMode="auto">
              <a:xfrm>
                <a:off x="17690647" y="9061741"/>
                <a:ext cx="175160" cy="105124"/>
              </a:xfrm>
              <a:custGeom>
                <a:avLst/>
                <a:gdLst>
                  <a:gd name="T0" fmla="*/ 10 w 19"/>
                  <a:gd name="T1" fmla="*/ 1 h 11"/>
                  <a:gd name="T2" fmla="*/ 4 w 19"/>
                  <a:gd name="T3" fmla="*/ 3 h 11"/>
                  <a:gd name="T4" fmla="*/ 3 w 19"/>
                  <a:gd name="T5" fmla="*/ 4 h 11"/>
                  <a:gd name="T6" fmla="*/ 1 w 19"/>
                  <a:gd name="T7" fmla="*/ 3 h 11"/>
                  <a:gd name="T8" fmla="*/ 3 w 19"/>
                  <a:gd name="T9" fmla="*/ 6 h 11"/>
                  <a:gd name="T10" fmla="*/ 6 w 19"/>
                  <a:gd name="T11" fmla="*/ 7 h 11"/>
                  <a:gd name="T12" fmla="*/ 9 w 19"/>
                  <a:gd name="T13" fmla="*/ 10 h 11"/>
                  <a:gd name="T14" fmla="*/ 14 w 19"/>
                  <a:gd name="T15" fmla="*/ 10 h 11"/>
                  <a:gd name="T16" fmla="*/ 18 w 19"/>
                  <a:gd name="T17" fmla="*/ 5 h 11"/>
                  <a:gd name="T18" fmla="*/ 15 w 19"/>
                  <a:gd name="T19" fmla="*/ 2 h 11"/>
                  <a:gd name="T20" fmla="*/ 10 w 19"/>
                  <a:gd name="T21" fmla="*/ 1 h 11"/>
                  <a:gd name="T22" fmla="*/ 10 w 19"/>
                  <a:gd name="T23"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1">
                    <a:moveTo>
                      <a:pt x="10" y="1"/>
                    </a:moveTo>
                    <a:cubicBezTo>
                      <a:pt x="9" y="0"/>
                      <a:pt x="5" y="2"/>
                      <a:pt x="4" y="3"/>
                    </a:cubicBezTo>
                    <a:cubicBezTo>
                      <a:pt x="3" y="3"/>
                      <a:pt x="4" y="3"/>
                      <a:pt x="3" y="4"/>
                    </a:cubicBezTo>
                    <a:cubicBezTo>
                      <a:pt x="3" y="5"/>
                      <a:pt x="2" y="3"/>
                      <a:pt x="1" y="3"/>
                    </a:cubicBezTo>
                    <a:cubicBezTo>
                      <a:pt x="0" y="3"/>
                      <a:pt x="2" y="6"/>
                      <a:pt x="3" y="6"/>
                    </a:cubicBezTo>
                    <a:cubicBezTo>
                      <a:pt x="3" y="7"/>
                      <a:pt x="5" y="7"/>
                      <a:pt x="6" y="7"/>
                    </a:cubicBezTo>
                    <a:cubicBezTo>
                      <a:pt x="8" y="7"/>
                      <a:pt x="8" y="9"/>
                      <a:pt x="9" y="10"/>
                    </a:cubicBezTo>
                    <a:cubicBezTo>
                      <a:pt x="10" y="11"/>
                      <a:pt x="13" y="10"/>
                      <a:pt x="14" y="10"/>
                    </a:cubicBezTo>
                    <a:cubicBezTo>
                      <a:pt x="18" y="10"/>
                      <a:pt x="19" y="8"/>
                      <a:pt x="18" y="5"/>
                    </a:cubicBezTo>
                    <a:cubicBezTo>
                      <a:pt x="18" y="3"/>
                      <a:pt x="17" y="2"/>
                      <a:pt x="15" y="2"/>
                    </a:cubicBezTo>
                    <a:cubicBezTo>
                      <a:pt x="14" y="2"/>
                      <a:pt x="12" y="1"/>
                      <a:pt x="10" y="1"/>
                    </a:cubicBezTo>
                    <a:cubicBezTo>
                      <a:pt x="10" y="1"/>
                      <a:pt x="11" y="1"/>
                      <a:pt x="1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6" name="Freeform 472">
                <a:extLst>
                  <a:ext uri="{FF2B5EF4-FFF2-40B4-BE49-F238E27FC236}">
                    <a16:creationId xmlns:a16="http://schemas.microsoft.com/office/drawing/2014/main" id="{7059ABC9-013B-BD45-9967-DB065C73F066}"/>
                  </a:ext>
                </a:extLst>
              </p:cNvPr>
              <p:cNvSpPr>
                <a:spLocks/>
              </p:cNvSpPr>
              <p:nvPr/>
            </p:nvSpPr>
            <p:spPr bwMode="auto">
              <a:xfrm>
                <a:off x="18521857" y="9240134"/>
                <a:ext cx="194268" cy="111494"/>
              </a:xfrm>
              <a:custGeom>
                <a:avLst/>
                <a:gdLst>
                  <a:gd name="T0" fmla="*/ 0 w 21"/>
                  <a:gd name="T1" fmla="*/ 8 h 12"/>
                  <a:gd name="T2" fmla="*/ 6 w 21"/>
                  <a:gd name="T3" fmla="*/ 8 h 12"/>
                  <a:gd name="T4" fmla="*/ 9 w 21"/>
                  <a:gd name="T5" fmla="*/ 7 h 12"/>
                  <a:gd name="T6" fmla="*/ 13 w 21"/>
                  <a:gd name="T7" fmla="*/ 7 h 12"/>
                  <a:gd name="T8" fmla="*/ 14 w 21"/>
                  <a:gd name="T9" fmla="*/ 5 h 12"/>
                  <a:gd name="T10" fmla="*/ 17 w 21"/>
                  <a:gd name="T11" fmla="*/ 3 h 12"/>
                  <a:gd name="T12" fmla="*/ 20 w 21"/>
                  <a:gd name="T13" fmla="*/ 4 h 12"/>
                  <a:gd name="T14" fmla="*/ 18 w 21"/>
                  <a:gd name="T15" fmla="*/ 7 h 12"/>
                  <a:gd name="T16" fmla="*/ 11 w 21"/>
                  <a:gd name="T17" fmla="*/ 11 h 12"/>
                  <a:gd name="T18" fmla="*/ 0 w 21"/>
                  <a:gd name="T19" fmla="*/ 8 h 12"/>
                  <a:gd name="T20" fmla="*/ 0 w 21"/>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2">
                    <a:moveTo>
                      <a:pt x="0" y="8"/>
                    </a:moveTo>
                    <a:cubicBezTo>
                      <a:pt x="1" y="7"/>
                      <a:pt x="5" y="8"/>
                      <a:pt x="6" y="8"/>
                    </a:cubicBezTo>
                    <a:cubicBezTo>
                      <a:pt x="7" y="8"/>
                      <a:pt x="8" y="6"/>
                      <a:pt x="9" y="7"/>
                    </a:cubicBezTo>
                    <a:cubicBezTo>
                      <a:pt x="10" y="8"/>
                      <a:pt x="12" y="8"/>
                      <a:pt x="13" y="7"/>
                    </a:cubicBezTo>
                    <a:cubicBezTo>
                      <a:pt x="13" y="6"/>
                      <a:pt x="14" y="5"/>
                      <a:pt x="14" y="5"/>
                    </a:cubicBezTo>
                    <a:cubicBezTo>
                      <a:pt x="15" y="5"/>
                      <a:pt x="17" y="5"/>
                      <a:pt x="17" y="3"/>
                    </a:cubicBezTo>
                    <a:cubicBezTo>
                      <a:pt x="17" y="0"/>
                      <a:pt x="21" y="2"/>
                      <a:pt x="20" y="4"/>
                    </a:cubicBezTo>
                    <a:cubicBezTo>
                      <a:pt x="19" y="5"/>
                      <a:pt x="18" y="7"/>
                      <a:pt x="18" y="7"/>
                    </a:cubicBezTo>
                    <a:cubicBezTo>
                      <a:pt x="15" y="8"/>
                      <a:pt x="14" y="10"/>
                      <a:pt x="11" y="11"/>
                    </a:cubicBezTo>
                    <a:cubicBezTo>
                      <a:pt x="9" y="12"/>
                      <a:pt x="0" y="11"/>
                      <a:pt x="0" y="8"/>
                    </a:cubicBezTo>
                    <a:cubicBezTo>
                      <a:pt x="0" y="7"/>
                      <a:pt x="0" y="10"/>
                      <a:pt x="0"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7" name="Freeform 473">
                <a:extLst>
                  <a:ext uri="{FF2B5EF4-FFF2-40B4-BE49-F238E27FC236}">
                    <a16:creationId xmlns:a16="http://schemas.microsoft.com/office/drawing/2014/main" id="{9CDC5ADB-2DD3-8E45-B563-4C9768A036E4}"/>
                  </a:ext>
                </a:extLst>
              </p:cNvPr>
              <p:cNvSpPr>
                <a:spLocks/>
              </p:cNvSpPr>
              <p:nvPr/>
            </p:nvSpPr>
            <p:spPr bwMode="auto">
              <a:xfrm>
                <a:off x="18802113" y="9297472"/>
                <a:ext cx="82803" cy="101936"/>
              </a:xfrm>
              <a:custGeom>
                <a:avLst/>
                <a:gdLst>
                  <a:gd name="T0" fmla="*/ 1 w 9"/>
                  <a:gd name="T1" fmla="*/ 0 h 11"/>
                  <a:gd name="T2" fmla="*/ 8 w 9"/>
                  <a:gd name="T3" fmla="*/ 8 h 11"/>
                  <a:gd name="T4" fmla="*/ 5 w 9"/>
                  <a:gd name="T5" fmla="*/ 4 h 11"/>
                  <a:gd name="T6" fmla="*/ 1 w 9"/>
                  <a:gd name="T7" fmla="*/ 0 h 11"/>
                  <a:gd name="T8" fmla="*/ 1 w 9"/>
                  <a:gd name="T9" fmla="*/ 0 h 11"/>
                </a:gdLst>
                <a:ahLst/>
                <a:cxnLst>
                  <a:cxn ang="0">
                    <a:pos x="T0" y="T1"/>
                  </a:cxn>
                  <a:cxn ang="0">
                    <a:pos x="T2" y="T3"/>
                  </a:cxn>
                  <a:cxn ang="0">
                    <a:pos x="T4" y="T5"/>
                  </a:cxn>
                  <a:cxn ang="0">
                    <a:pos x="T6" y="T7"/>
                  </a:cxn>
                  <a:cxn ang="0">
                    <a:pos x="T8" y="T9"/>
                  </a:cxn>
                </a:cxnLst>
                <a:rect l="0" t="0" r="r" b="b"/>
                <a:pathLst>
                  <a:path w="9" h="11">
                    <a:moveTo>
                      <a:pt x="1" y="0"/>
                    </a:moveTo>
                    <a:cubicBezTo>
                      <a:pt x="0" y="1"/>
                      <a:pt x="5" y="11"/>
                      <a:pt x="8" y="8"/>
                    </a:cubicBezTo>
                    <a:cubicBezTo>
                      <a:pt x="9" y="6"/>
                      <a:pt x="6" y="4"/>
                      <a:pt x="5" y="4"/>
                    </a:cubicBezTo>
                    <a:cubicBezTo>
                      <a:pt x="4" y="3"/>
                      <a:pt x="1" y="0"/>
                      <a:pt x="1" y="0"/>
                    </a:cubicBezTo>
                    <a:cubicBezTo>
                      <a:pt x="0" y="1"/>
                      <a:pt x="2"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8" name="Freeform 474">
                <a:extLst>
                  <a:ext uri="{FF2B5EF4-FFF2-40B4-BE49-F238E27FC236}">
                    <a16:creationId xmlns:a16="http://schemas.microsoft.com/office/drawing/2014/main" id="{90DE8701-BE86-D845-9899-0B9EB827D64B}"/>
                  </a:ext>
                </a:extLst>
              </p:cNvPr>
              <p:cNvSpPr>
                <a:spLocks/>
              </p:cNvSpPr>
              <p:nvPr/>
            </p:nvSpPr>
            <p:spPr bwMode="auto">
              <a:xfrm>
                <a:off x="19044149" y="9485423"/>
                <a:ext cx="54139" cy="54153"/>
              </a:xfrm>
              <a:custGeom>
                <a:avLst/>
                <a:gdLst>
                  <a:gd name="T0" fmla="*/ 6 w 6"/>
                  <a:gd name="T1" fmla="*/ 4 h 6"/>
                  <a:gd name="T2" fmla="*/ 1 w 6"/>
                  <a:gd name="T3" fmla="*/ 2 h 6"/>
                  <a:gd name="T4" fmla="*/ 6 w 6"/>
                  <a:gd name="T5" fmla="*/ 4 h 6"/>
                  <a:gd name="T6" fmla="*/ 6 w 6"/>
                  <a:gd name="T7" fmla="*/ 4 h 6"/>
                </a:gdLst>
                <a:ahLst/>
                <a:cxnLst>
                  <a:cxn ang="0">
                    <a:pos x="T0" y="T1"/>
                  </a:cxn>
                  <a:cxn ang="0">
                    <a:pos x="T2" y="T3"/>
                  </a:cxn>
                  <a:cxn ang="0">
                    <a:pos x="T4" y="T5"/>
                  </a:cxn>
                  <a:cxn ang="0">
                    <a:pos x="T6" y="T7"/>
                  </a:cxn>
                </a:cxnLst>
                <a:rect l="0" t="0" r="r" b="b"/>
                <a:pathLst>
                  <a:path w="6" h="6">
                    <a:moveTo>
                      <a:pt x="6" y="4"/>
                    </a:moveTo>
                    <a:cubicBezTo>
                      <a:pt x="6" y="2"/>
                      <a:pt x="0" y="0"/>
                      <a:pt x="1" y="2"/>
                    </a:cubicBezTo>
                    <a:cubicBezTo>
                      <a:pt x="1" y="3"/>
                      <a:pt x="6" y="5"/>
                      <a:pt x="6" y="4"/>
                    </a:cubicBezTo>
                    <a:cubicBezTo>
                      <a:pt x="6" y="3"/>
                      <a:pt x="6" y="6"/>
                      <a:pt x="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199" name="Freeform 475">
                <a:extLst>
                  <a:ext uri="{FF2B5EF4-FFF2-40B4-BE49-F238E27FC236}">
                    <a16:creationId xmlns:a16="http://schemas.microsoft.com/office/drawing/2014/main" id="{500D68D0-79AA-7A49-826F-541F6EED1512}"/>
                  </a:ext>
                </a:extLst>
              </p:cNvPr>
              <p:cNvSpPr>
                <a:spLocks/>
              </p:cNvSpPr>
              <p:nvPr/>
            </p:nvSpPr>
            <p:spPr bwMode="auto">
              <a:xfrm>
                <a:off x="18986825" y="9399411"/>
                <a:ext cx="85988" cy="57338"/>
              </a:xfrm>
              <a:custGeom>
                <a:avLst/>
                <a:gdLst>
                  <a:gd name="T0" fmla="*/ 8 w 9"/>
                  <a:gd name="T1" fmla="*/ 6 h 6"/>
                  <a:gd name="T2" fmla="*/ 0 w 9"/>
                  <a:gd name="T3" fmla="*/ 1 h 6"/>
                  <a:gd name="T4" fmla="*/ 3 w 9"/>
                  <a:gd name="T5" fmla="*/ 4 h 6"/>
                  <a:gd name="T6" fmla="*/ 8 w 9"/>
                  <a:gd name="T7" fmla="*/ 6 h 6"/>
                  <a:gd name="T8" fmla="*/ 8 w 9"/>
                  <a:gd name="T9" fmla="*/ 6 h 6"/>
                </a:gdLst>
                <a:ahLst/>
                <a:cxnLst>
                  <a:cxn ang="0">
                    <a:pos x="T0" y="T1"/>
                  </a:cxn>
                  <a:cxn ang="0">
                    <a:pos x="T2" y="T3"/>
                  </a:cxn>
                  <a:cxn ang="0">
                    <a:pos x="T4" y="T5"/>
                  </a:cxn>
                  <a:cxn ang="0">
                    <a:pos x="T6" y="T7"/>
                  </a:cxn>
                  <a:cxn ang="0">
                    <a:pos x="T8" y="T9"/>
                  </a:cxn>
                </a:cxnLst>
                <a:rect l="0" t="0" r="r" b="b"/>
                <a:pathLst>
                  <a:path w="9" h="6">
                    <a:moveTo>
                      <a:pt x="8" y="6"/>
                    </a:moveTo>
                    <a:cubicBezTo>
                      <a:pt x="6" y="5"/>
                      <a:pt x="3" y="0"/>
                      <a:pt x="0" y="1"/>
                    </a:cubicBezTo>
                    <a:cubicBezTo>
                      <a:pt x="0" y="2"/>
                      <a:pt x="3" y="3"/>
                      <a:pt x="3" y="4"/>
                    </a:cubicBezTo>
                    <a:cubicBezTo>
                      <a:pt x="5" y="4"/>
                      <a:pt x="6" y="5"/>
                      <a:pt x="8" y="6"/>
                    </a:cubicBezTo>
                    <a:cubicBezTo>
                      <a:pt x="9" y="6"/>
                      <a:pt x="6" y="5"/>
                      <a:pt x="8"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0" name="Freeform 476">
                <a:extLst>
                  <a:ext uri="{FF2B5EF4-FFF2-40B4-BE49-F238E27FC236}">
                    <a16:creationId xmlns:a16="http://schemas.microsoft.com/office/drawing/2014/main" id="{49FEB55C-0B86-454C-89EF-10719AE19F96}"/>
                  </a:ext>
                </a:extLst>
              </p:cNvPr>
              <p:cNvSpPr>
                <a:spLocks/>
              </p:cNvSpPr>
              <p:nvPr/>
            </p:nvSpPr>
            <p:spPr bwMode="auto">
              <a:xfrm>
                <a:off x="18904022" y="9361183"/>
                <a:ext cx="38217" cy="47785"/>
              </a:xfrm>
              <a:custGeom>
                <a:avLst/>
                <a:gdLst>
                  <a:gd name="T0" fmla="*/ 4 w 4"/>
                  <a:gd name="T1" fmla="*/ 4 h 5"/>
                  <a:gd name="T2" fmla="*/ 0 w 4"/>
                  <a:gd name="T3" fmla="*/ 0 h 5"/>
                  <a:gd name="T4" fmla="*/ 4 w 4"/>
                  <a:gd name="T5" fmla="*/ 4 h 5"/>
                </a:gdLst>
                <a:ahLst/>
                <a:cxnLst>
                  <a:cxn ang="0">
                    <a:pos x="T0" y="T1"/>
                  </a:cxn>
                  <a:cxn ang="0">
                    <a:pos x="T2" y="T3"/>
                  </a:cxn>
                  <a:cxn ang="0">
                    <a:pos x="T4" y="T5"/>
                  </a:cxn>
                </a:cxnLst>
                <a:rect l="0" t="0" r="r" b="b"/>
                <a:pathLst>
                  <a:path w="4" h="5">
                    <a:moveTo>
                      <a:pt x="4" y="4"/>
                    </a:moveTo>
                    <a:cubicBezTo>
                      <a:pt x="4" y="2"/>
                      <a:pt x="0" y="0"/>
                      <a:pt x="0" y="0"/>
                    </a:cubicBezTo>
                    <a:cubicBezTo>
                      <a:pt x="0" y="1"/>
                      <a:pt x="4" y="5"/>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1" name="Freeform 477">
                <a:extLst>
                  <a:ext uri="{FF2B5EF4-FFF2-40B4-BE49-F238E27FC236}">
                    <a16:creationId xmlns:a16="http://schemas.microsoft.com/office/drawing/2014/main" id="{14D84A96-A540-3849-B965-6B733F04FCDF}"/>
                  </a:ext>
                </a:extLst>
              </p:cNvPr>
              <p:cNvSpPr>
                <a:spLocks/>
              </p:cNvSpPr>
              <p:nvPr/>
            </p:nvSpPr>
            <p:spPr bwMode="auto">
              <a:xfrm>
                <a:off x="19247970" y="10017406"/>
                <a:ext cx="149680" cy="111494"/>
              </a:xfrm>
              <a:custGeom>
                <a:avLst/>
                <a:gdLst>
                  <a:gd name="T0" fmla="*/ 15 w 16"/>
                  <a:gd name="T1" fmla="*/ 11 h 12"/>
                  <a:gd name="T2" fmla="*/ 2 w 16"/>
                  <a:gd name="T3" fmla="*/ 0 h 12"/>
                  <a:gd name="T4" fmla="*/ 15 w 16"/>
                  <a:gd name="T5" fmla="*/ 11 h 12"/>
                </a:gdLst>
                <a:ahLst/>
                <a:cxnLst>
                  <a:cxn ang="0">
                    <a:pos x="T0" y="T1"/>
                  </a:cxn>
                  <a:cxn ang="0">
                    <a:pos x="T2" y="T3"/>
                  </a:cxn>
                  <a:cxn ang="0">
                    <a:pos x="T4" y="T5"/>
                  </a:cxn>
                </a:cxnLst>
                <a:rect l="0" t="0" r="r" b="b"/>
                <a:pathLst>
                  <a:path w="16" h="12">
                    <a:moveTo>
                      <a:pt x="15" y="11"/>
                    </a:moveTo>
                    <a:cubicBezTo>
                      <a:pt x="16" y="12"/>
                      <a:pt x="3" y="0"/>
                      <a:pt x="2" y="0"/>
                    </a:cubicBezTo>
                    <a:cubicBezTo>
                      <a:pt x="0" y="0"/>
                      <a:pt x="7" y="9"/>
                      <a:pt x="15" y="1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2" name="Freeform 478">
                <a:extLst>
                  <a:ext uri="{FF2B5EF4-FFF2-40B4-BE49-F238E27FC236}">
                    <a16:creationId xmlns:a16="http://schemas.microsoft.com/office/drawing/2014/main" id="{BE1C2153-C045-5947-BDA8-0D32B6A68CDF}"/>
                  </a:ext>
                </a:extLst>
              </p:cNvPr>
              <p:cNvSpPr>
                <a:spLocks/>
              </p:cNvSpPr>
              <p:nvPr/>
            </p:nvSpPr>
            <p:spPr bwMode="auto">
              <a:xfrm>
                <a:off x="19649244" y="10727782"/>
                <a:ext cx="105096" cy="130608"/>
              </a:xfrm>
              <a:custGeom>
                <a:avLst/>
                <a:gdLst>
                  <a:gd name="T0" fmla="*/ 11 w 11"/>
                  <a:gd name="T1" fmla="*/ 14 h 14"/>
                  <a:gd name="T2" fmla="*/ 9 w 11"/>
                  <a:gd name="T3" fmla="*/ 10 h 14"/>
                  <a:gd name="T4" fmla="*/ 9 w 11"/>
                  <a:gd name="T5" fmla="*/ 7 h 14"/>
                  <a:gd name="T6" fmla="*/ 0 w 11"/>
                  <a:gd name="T7" fmla="*/ 0 h 14"/>
                  <a:gd name="T8" fmla="*/ 3 w 11"/>
                  <a:gd name="T9" fmla="*/ 4 h 14"/>
                  <a:gd name="T10" fmla="*/ 5 w 11"/>
                  <a:gd name="T11" fmla="*/ 8 h 14"/>
                  <a:gd name="T12" fmla="*/ 8 w 11"/>
                  <a:gd name="T13" fmla="*/ 11 h 14"/>
                  <a:gd name="T14" fmla="*/ 11 w 11"/>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4">
                    <a:moveTo>
                      <a:pt x="11" y="14"/>
                    </a:moveTo>
                    <a:cubicBezTo>
                      <a:pt x="10" y="12"/>
                      <a:pt x="11" y="11"/>
                      <a:pt x="9" y="10"/>
                    </a:cubicBezTo>
                    <a:cubicBezTo>
                      <a:pt x="8" y="8"/>
                      <a:pt x="9" y="8"/>
                      <a:pt x="9" y="7"/>
                    </a:cubicBezTo>
                    <a:cubicBezTo>
                      <a:pt x="8" y="5"/>
                      <a:pt x="0" y="1"/>
                      <a:pt x="0" y="0"/>
                    </a:cubicBezTo>
                    <a:cubicBezTo>
                      <a:pt x="0" y="1"/>
                      <a:pt x="3" y="3"/>
                      <a:pt x="3" y="4"/>
                    </a:cubicBezTo>
                    <a:cubicBezTo>
                      <a:pt x="4" y="6"/>
                      <a:pt x="4" y="7"/>
                      <a:pt x="5" y="8"/>
                    </a:cubicBezTo>
                    <a:cubicBezTo>
                      <a:pt x="6" y="9"/>
                      <a:pt x="9" y="10"/>
                      <a:pt x="8" y="11"/>
                    </a:cubicBezTo>
                    <a:cubicBezTo>
                      <a:pt x="8" y="13"/>
                      <a:pt x="9" y="13"/>
                      <a:pt x="11"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3" name="Freeform 479">
                <a:extLst>
                  <a:ext uri="{FF2B5EF4-FFF2-40B4-BE49-F238E27FC236}">
                    <a16:creationId xmlns:a16="http://schemas.microsoft.com/office/drawing/2014/main" id="{1DF9757B-2B17-DB47-93A0-CEECC88E8CF6}"/>
                  </a:ext>
                </a:extLst>
              </p:cNvPr>
              <p:cNvSpPr>
                <a:spLocks/>
              </p:cNvSpPr>
              <p:nvPr/>
            </p:nvSpPr>
            <p:spPr bwMode="auto">
              <a:xfrm>
                <a:off x="19677908" y="10848834"/>
                <a:ext cx="242036" cy="283514"/>
              </a:xfrm>
              <a:custGeom>
                <a:avLst/>
                <a:gdLst>
                  <a:gd name="T0" fmla="*/ 8 w 26"/>
                  <a:gd name="T1" fmla="*/ 2 h 30"/>
                  <a:gd name="T2" fmla="*/ 7 w 26"/>
                  <a:gd name="T3" fmla="*/ 11 h 30"/>
                  <a:gd name="T4" fmla="*/ 5 w 26"/>
                  <a:gd name="T5" fmla="*/ 18 h 30"/>
                  <a:gd name="T6" fmla="*/ 9 w 26"/>
                  <a:gd name="T7" fmla="*/ 25 h 30"/>
                  <a:gd name="T8" fmla="*/ 14 w 26"/>
                  <a:gd name="T9" fmla="*/ 26 h 30"/>
                  <a:gd name="T10" fmla="*/ 17 w 26"/>
                  <a:gd name="T11" fmla="*/ 22 h 30"/>
                  <a:gd name="T12" fmla="*/ 18 w 26"/>
                  <a:gd name="T13" fmla="*/ 16 h 30"/>
                  <a:gd name="T14" fmla="*/ 22 w 26"/>
                  <a:gd name="T15" fmla="*/ 14 h 30"/>
                  <a:gd name="T16" fmla="*/ 26 w 26"/>
                  <a:gd name="T17" fmla="*/ 10 h 30"/>
                  <a:gd name="T18" fmla="*/ 25 w 26"/>
                  <a:gd name="T19" fmla="*/ 6 h 30"/>
                  <a:gd name="T20" fmla="*/ 20 w 26"/>
                  <a:gd name="T21" fmla="*/ 8 h 30"/>
                  <a:gd name="T22" fmla="*/ 14 w 26"/>
                  <a:gd name="T23" fmla="*/ 5 h 30"/>
                  <a:gd name="T24" fmla="*/ 11 w 26"/>
                  <a:gd name="T25" fmla="*/ 0 h 30"/>
                  <a:gd name="T26" fmla="*/ 11 w 26"/>
                  <a:gd name="T27" fmla="*/ 3 h 30"/>
                  <a:gd name="T28" fmla="*/ 8 w 26"/>
                  <a:gd name="T29" fmla="*/ 2 h 30"/>
                  <a:gd name="T30" fmla="*/ 8 w 26"/>
                  <a:gd name="T31"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 h="30">
                    <a:moveTo>
                      <a:pt x="8" y="2"/>
                    </a:moveTo>
                    <a:cubicBezTo>
                      <a:pt x="7" y="2"/>
                      <a:pt x="7" y="9"/>
                      <a:pt x="7" y="11"/>
                    </a:cubicBezTo>
                    <a:cubicBezTo>
                      <a:pt x="6" y="13"/>
                      <a:pt x="0" y="16"/>
                      <a:pt x="5" y="18"/>
                    </a:cubicBezTo>
                    <a:cubicBezTo>
                      <a:pt x="8" y="19"/>
                      <a:pt x="11" y="21"/>
                      <a:pt x="9" y="25"/>
                    </a:cubicBezTo>
                    <a:cubicBezTo>
                      <a:pt x="6" y="30"/>
                      <a:pt x="11" y="29"/>
                      <a:pt x="14" y="26"/>
                    </a:cubicBezTo>
                    <a:cubicBezTo>
                      <a:pt x="15" y="25"/>
                      <a:pt x="16" y="23"/>
                      <a:pt x="17" y="22"/>
                    </a:cubicBezTo>
                    <a:cubicBezTo>
                      <a:pt x="19" y="19"/>
                      <a:pt x="18" y="19"/>
                      <a:pt x="18" y="16"/>
                    </a:cubicBezTo>
                    <a:cubicBezTo>
                      <a:pt x="19" y="14"/>
                      <a:pt x="21" y="14"/>
                      <a:pt x="22" y="14"/>
                    </a:cubicBezTo>
                    <a:cubicBezTo>
                      <a:pt x="23" y="15"/>
                      <a:pt x="25" y="11"/>
                      <a:pt x="26" y="10"/>
                    </a:cubicBezTo>
                    <a:cubicBezTo>
                      <a:pt x="26" y="9"/>
                      <a:pt x="26" y="6"/>
                      <a:pt x="25" y="6"/>
                    </a:cubicBezTo>
                    <a:cubicBezTo>
                      <a:pt x="23" y="6"/>
                      <a:pt x="21" y="8"/>
                      <a:pt x="20" y="8"/>
                    </a:cubicBezTo>
                    <a:cubicBezTo>
                      <a:pt x="18" y="8"/>
                      <a:pt x="15" y="7"/>
                      <a:pt x="14" y="5"/>
                    </a:cubicBezTo>
                    <a:cubicBezTo>
                      <a:pt x="13" y="4"/>
                      <a:pt x="13" y="0"/>
                      <a:pt x="11" y="0"/>
                    </a:cubicBezTo>
                    <a:cubicBezTo>
                      <a:pt x="11" y="0"/>
                      <a:pt x="11" y="3"/>
                      <a:pt x="11" y="3"/>
                    </a:cubicBezTo>
                    <a:cubicBezTo>
                      <a:pt x="10" y="3"/>
                      <a:pt x="9" y="1"/>
                      <a:pt x="8" y="2"/>
                    </a:cubicBezTo>
                    <a:cubicBezTo>
                      <a:pt x="7" y="2"/>
                      <a:pt x="9" y="1"/>
                      <a:pt x="8"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4" name="Freeform 480">
                <a:extLst>
                  <a:ext uri="{FF2B5EF4-FFF2-40B4-BE49-F238E27FC236}">
                    <a16:creationId xmlns:a16="http://schemas.microsoft.com/office/drawing/2014/main" id="{BCBE99F0-0410-674D-9BA9-10CB8F931F19}"/>
                  </a:ext>
                </a:extLst>
              </p:cNvPr>
              <p:cNvSpPr>
                <a:spLocks/>
              </p:cNvSpPr>
              <p:nvPr/>
            </p:nvSpPr>
            <p:spPr bwMode="auto">
              <a:xfrm>
                <a:off x="19359438" y="11055894"/>
                <a:ext cx="366243" cy="356781"/>
              </a:xfrm>
              <a:custGeom>
                <a:avLst/>
                <a:gdLst>
                  <a:gd name="T0" fmla="*/ 33 w 39"/>
                  <a:gd name="T1" fmla="*/ 4 h 38"/>
                  <a:gd name="T2" fmla="*/ 30 w 39"/>
                  <a:gd name="T3" fmla="*/ 1 h 38"/>
                  <a:gd name="T4" fmla="*/ 26 w 39"/>
                  <a:gd name="T5" fmla="*/ 8 h 38"/>
                  <a:gd name="T6" fmla="*/ 22 w 39"/>
                  <a:gd name="T7" fmla="*/ 13 h 38"/>
                  <a:gd name="T8" fmla="*/ 15 w 39"/>
                  <a:gd name="T9" fmla="*/ 18 h 38"/>
                  <a:gd name="T10" fmla="*/ 9 w 39"/>
                  <a:gd name="T11" fmla="*/ 22 h 38"/>
                  <a:gd name="T12" fmla="*/ 4 w 39"/>
                  <a:gd name="T13" fmla="*/ 27 h 38"/>
                  <a:gd name="T14" fmla="*/ 2 w 39"/>
                  <a:gd name="T15" fmla="*/ 33 h 38"/>
                  <a:gd name="T16" fmla="*/ 1 w 39"/>
                  <a:gd name="T17" fmla="*/ 34 h 38"/>
                  <a:gd name="T18" fmla="*/ 3 w 39"/>
                  <a:gd name="T19" fmla="*/ 35 h 38"/>
                  <a:gd name="T20" fmla="*/ 10 w 39"/>
                  <a:gd name="T21" fmla="*/ 37 h 38"/>
                  <a:gd name="T22" fmla="*/ 19 w 39"/>
                  <a:gd name="T23" fmla="*/ 34 h 38"/>
                  <a:gd name="T24" fmla="*/ 22 w 39"/>
                  <a:gd name="T25" fmla="*/ 27 h 38"/>
                  <a:gd name="T26" fmla="*/ 27 w 39"/>
                  <a:gd name="T27" fmla="*/ 22 h 38"/>
                  <a:gd name="T28" fmla="*/ 29 w 39"/>
                  <a:gd name="T29" fmla="*/ 21 h 38"/>
                  <a:gd name="T30" fmla="*/ 33 w 39"/>
                  <a:gd name="T31" fmla="*/ 21 h 38"/>
                  <a:gd name="T32" fmla="*/ 32 w 39"/>
                  <a:gd name="T33" fmla="*/ 19 h 38"/>
                  <a:gd name="T34" fmla="*/ 32 w 39"/>
                  <a:gd name="T35" fmla="*/ 17 h 38"/>
                  <a:gd name="T36" fmla="*/ 38 w 39"/>
                  <a:gd name="T37" fmla="*/ 9 h 38"/>
                  <a:gd name="T38" fmla="*/ 38 w 39"/>
                  <a:gd name="T39" fmla="*/ 6 h 38"/>
                  <a:gd name="T40" fmla="*/ 38 w 39"/>
                  <a:gd name="T41" fmla="*/ 4 h 38"/>
                  <a:gd name="T42" fmla="*/ 37 w 39"/>
                  <a:gd name="T43" fmla="*/ 4 h 38"/>
                  <a:gd name="T44" fmla="*/ 37 w 39"/>
                  <a:gd name="T45" fmla="*/ 2 h 38"/>
                  <a:gd name="T46" fmla="*/ 33 w 39"/>
                  <a:gd name="T4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38">
                    <a:moveTo>
                      <a:pt x="33" y="4"/>
                    </a:moveTo>
                    <a:cubicBezTo>
                      <a:pt x="33" y="4"/>
                      <a:pt x="32" y="0"/>
                      <a:pt x="30" y="1"/>
                    </a:cubicBezTo>
                    <a:cubicBezTo>
                      <a:pt x="27" y="3"/>
                      <a:pt x="28" y="5"/>
                      <a:pt x="26" y="8"/>
                    </a:cubicBezTo>
                    <a:cubicBezTo>
                      <a:pt x="25" y="9"/>
                      <a:pt x="24" y="12"/>
                      <a:pt x="22" y="13"/>
                    </a:cubicBezTo>
                    <a:cubicBezTo>
                      <a:pt x="20" y="16"/>
                      <a:pt x="18" y="17"/>
                      <a:pt x="15" y="18"/>
                    </a:cubicBezTo>
                    <a:cubicBezTo>
                      <a:pt x="13" y="19"/>
                      <a:pt x="12" y="21"/>
                      <a:pt x="9" y="22"/>
                    </a:cubicBezTo>
                    <a:cubicBezTo>
                      <a:pt x="7" y="23"/>
                      <a:pt x="7" y="27"/>
                      <a:pt x="4" y="27"/>
                    </a:cubicBezTo>
                    <a:cubicBezTo>
                      <a:pt x="0" y="28"/>
                      <a:pt x="4" y="31"/>
                      <a:pt x="2" y="33"/>
                    </a:cubicBezTo>
                    <a:cubicBezTo>
                      <a:pt x="1" y="33"/>
                      <a:pt x="0" y="33"/>
                      <a:pt x="1" y="34"/>
                    </a:cubicBezTo>
                    <a:cubicBezTo>
                      <a:pt x="1" y="35"/>
                      <a:pt x="1" y="35"/>
                      <a:pt x="3" y="35"/>
                    </a:cubicBezTo>
                    <a:cubicBezTo>
                      <a:pt x="5" y="35"/>
                      <a:pt x="8" y="37"/>
                      <a:pt x="10" y="37"/>
                    </a:cubicBezTo>
                    <a:cubicBezTo>
                      <a:pt x="14" y="38"/>
                      <a:pt x="16" y="36"/>
                      <a:pt x="19" y="34"/>
                    </a:cubicBezTo>
                    <a:cubicBezTo>
                      <a:pt x="21" y="32"/>
                      <a:pt x="22" y="30"/>
                      <a:pt x="22" y="27"/>
                    </a:cubicBezTo>
                    <a:cubicBezTo>
                      <a:pt x="23" y="24"/>
                      <a:pt x="24" y="24"/>
                      <a:pt x="27" y="22"/>
                    </a:cubicBezTo>
                    <a:cubicBezTo>
                      <a:pt x="28" y="22"/>
                      <a:pt x="28" y="21"/>
                      <a:pt x="29" y="21"/>
                    </a:cubicBezTo>
                    <a:cubicBezTo>
                      <a:pt x="30" y="21"/>
                      <a:pt x="31" y="21"/>
                      <a:pt x="33" y="21"/>
                    </a:cubicBezTo>
                    <a:cubicBezTo>
                      <a:pt x="34" y="20"/>
                      <a:pt x="33" y="19"/>
                      <a:pt x="32" y="19"/>
                    </a:cubicBezTo>
                    <a:cubicBezTo>
                      <a:pt x="31" y="18"/>
                      <a:pt x="31" y="18"/>
                      <a:pt x="32" y="17"/>
                    </a:cubicBezTo>
                    <a:cubicBezTo>
                      <a:pt x="34" y="14"/>
                      <a:pt x="36" y="12"/>
                      <a:pt x="38" y="9"/>
                    </a:cubicBezTo>
                    <a:cubicBezTo>
                      <a:pt x="38" y="8"/>
                      <a:pt x="38" y="7"/>
                      <a:pt x="38" y="6"/>
                    </a:cubicBezTo>
                    <a:cubicBezTo>
                      <a:pt x="38" y="5"/>
                      <a:pt x="38" y="5"/>
                      <a:pt x="38" y="4"/>
                    </a:cubicBezTo>
                    <a:cubicBezTo>
                      <a:pt x="39" y="3"/>
                      <a:pt x="37" y="4"/>
                      <a:pt x="37" y="4"/>
                    </a:cubicBezTo>
                    <a:cubicBezTo>
                      <a:pt x="37" y="3"/>
                      <a:pt x="37" y="3"/>
                      <a:pt x="37" y="2"/>
                    </a:cubicBezTo>
                    <a:cubicBezTo>
                      <a:pt x="36" y="3"/>
                      <a:pt x="35" y="5"/>
                      <a:pt x="3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5" name="Freeform 481">
                <a:extLst>
                  <a:ext uri="{FF2B5EF4-FFF2-40B4-BE49-F238E27FC236}">
                    <a16:creationId xmlns:a16="http://schemas.microsoft.com/office/drawing/2014/main" id="{11350A23-0810-C344-80A6-CA434533C5EC}"/>
                  </a:ext>
                </a:extLst>
              </p:cNvPr>
              <p:cNvSpPr>
                <a:spLocks/>
              </p:cNvSpPr>
              <p:nvPr/>
            </p:nvSpPr>
            <p:spPr bwMode="auto">
              <a:xfrm>
                <a:off x="19416761" y="11412677"/>
                <a:ext cx="19109" cy="19114"/>
              </a:xfrm>
              <a:custGeom>
                <a:avLst/>
                <a:gdLst>
                  <a:gd name="T0" fmla="*/ 2 w 2"/>
                  <a:gd name="T1" fmla="*/ 2 h 2"/>
                  <a:gd name="T2" fmla="*/ 1 w 2"/>
                  <a:gd name="T3" fmla="*/ 0 h 2"/>
                  <a:gd name="T4" fmla="*/ 0 w 2"/>
                  <a:gd name="T5" fmla="*/ 2 h 2"/>
                  <a:gd name="T6" fmla="*/ 2 w 2"/>
                  <a:gd name="T7" fmla="*/ 2 h 2"/>
                </a:gdLst>
                <a:ahLst/>
                <a:cxnLst>
                  <a:cxn ang="0">
                    <a:pos x="T0" y="T1"/>
                  </a:cxn>
                  <a:cxn ang="0">
                    <a:pos x="T2" y="T3"/>
                  </a:cxn>
                  <a:cxn ang="0">
                    <a:pos x="T4" y="T5"/>
                  </a:cxn>
                  <a:cxn ang="0">
                    <a:pos x="T6" y="T7"/>
                  </a:cxn>
                </a:cxnLst>
                <a:rect l="0" t="0" r="r" b="b"/>
                <a:pathLst>
                  <a:path w="2" h="2">
                    <a:moveTo>
                      <a:pt x="2" y="2"/>
                    </a:moveTo>
                    <a:cubicBezTo>
                      <a:pt x="2" y="1"/>
                      <a:pt x="1" y="1"/>
                      <a:pt x="1" y="0"/>
                    </a:cubicBezTo>
                    <a:cubicBezTo>
                      <a:pt x="0" y="1"/>
                      <a:pt x="0" y="1"/>
                      <a:pt x="0" y="2"/>
                    </a:cubicBezTo>
                    <a:cubicBezTo>
                      <a:pt x="1" y="2"/>
                      <a:pt x="2" y="2"/>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6" name="Freeform 482">
                <a:extLst>
                  <a:ext uri="{FF2B5EF4-FFF2-40B4-BE49-F238E27FC236}">
                    <a16:creationId xmlns:a16="http://schemas.microsoft.com/office/drawing/2014/main" id="{19C82B1A-E465-7C40-8A7A-6F4D9157B017}"/>
                  </a:ext>
                </a:extLst>
              </p:cNvPr>
              <p:cNvSpPr>
                <a:spLocks/>
              </p:cNvSpPr>
              <p:nvPr/>
            </p:nvSpPr>
            <p:spPr bwMode="auto">
              <a:xfrm>
                <a:off x="18343513" y="11065452"/>
                <a:ext cx="178346" cy="168835"/>
              </a:xfrm>
              <a:custGeom>
                <a:avLst/>
                <a:gdLst>
                  <a:gd name="T0" fmla="*/ 0 w 19"/>
                  <a:gd name="T1" fmla="*/ 2 h 18"/>
                  <a:gd name="T2" fmla="*/ 2 w 19"/>
                  <a:gd name="T3" fmla="*/ 7 h 18"/>
                  <a:gd name="T4" fmla="*/ 4 w 19"/>
                  <a:gd name="T5" fmla="*/ 10 h 18"/>
                  <a:gd name="T6" fmla="*/ 3 w 19"/>
                  <a:gd name="T7" fmla="*/ 12 h 18"/>
                  <a:gd name="T8" fmla="*/ 9 w 19"/>
                  <a:gd name="T9" fmla="*/ 18 h 18"/>
                  <a:gd name="T10" fmla="*/ 12 w 19"/>
                  <a:gd name="T11" fmla="*/ 15 h 18"/>
                  <a:gd name="T12" fmla="*/ 13 w 19"/>
                  <a:gd name="T13" fmla="*/ 17 h 18"/>
                  <a:gd name="T14" fmla="*/ 14 w 19"/>
                  <a:gd name="T15" fmla="*/ 14 h 18"/>
                  <a:gd name="T16" fmla="*/ 16 w 19"/>
                  <a:gd name="T17" fmla="*/ 15 h 18"/>
                  <a:gd name="T18" fmla="*/ 18 w 19"/>
                  <a:gd name="T19" fmla="*/ 7 h 18"/>
                  <a:gd name="T20" fmla="*/ 16 w 19"/>
                  <a:gd name="T21" fmla="*/ 1 h 18"/>
                  <a:gd name="T22" fmla="*/ 7 w 19"/>
                  <a:gd name="T23" fmla="*/ 3 h 18"/>
                  <a:gd name="T24" fmla="*/ 0 w 19"/>
                  <a:gd name="T25" fmla="*/ 2 h 18"/>
                  <a:gd name="T26" fmla="*/ 0 w 19"/>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18">
                    <a:moveTo>
                      <a:pt x="0" y="2"/>
                    </a:moveTo>
                    <a:cubicBezTo>
                      <a:pt x="0" y="3"/>
                      <a:pt x="2" y="6"/>
                      <a:pt x="2" y="7"/>
                    </a:cubicBezTo>
                    <a:cubicBezTo>
                      <a:pt x="3" y="8"/>
                      <a:pt x="4" y="9"/>
                      <a:pt x="4" y="10"/>
                    </a:cubicBezTo>
                    <a:cubicBezTo>
                      <a:pt x="4" y="11"/>
                      <a:pt x="3" y="11"/>
                      <a:pt x="3" y="12"/>
                    </a:cubicBezTo>
                    <a:cubicBezTo>
                      <a:pt x="4" y="15"/>
                      <a:pt x="7" y="17"/>
                      <a:pt x="9" y="18"/>
                    </a:cubicBezTo>
                    <a:cubicBezTo>
                      <a:pt x="11" y="18"/>
                      <a:pt x="11" y="16"/>
                      <a:pt x="12" y="15"/>
                    </a:cubicBezTo>
                    <a:cubicBezTo>
                      <a:pt x="12" y="15"/>
                      <a:pt x="13" y="17"/>
                      <a:pt x="13" y="17"/>
                    </a:cubicBezTo>
                    <a:cubicBezTo>
                      <a:pt x="13" y="16"/>
                      <a:pt x="13" y="14"/>
                      <a:pt x="14" y="14"/>
                    </a:cubicBezTo>
                    <a:cubicBezTo>
                      <a:pt x="15" y="13"/>
                      <a:pt x="15" y="15"/>
                      <a:pt x="16" y="15"/>
                    </a:cubicBezTo>
                    <a:cubicBezTo>
                      <a:pt x="15" y="15"/>
                      <a:pt x="18" y="8"/>
                      <a:pt x="18" y="7"/>
                    </a:cubicBezTo>
                    <a:cubicBezTo>
                      <a:pt x="18" y="6"/>
                      <a:pt x="19" y="0"/>
                      <a:pt x="16" y="1"/>
                    </a:cubicBezTo>
                    <a:cubicBezTo>
                      <a:pt x="13" y="2"/>
                      <a:pt x="10" y="4"/>
                      <a:pt x="7" y="3"/>
                    </a:cubicBezTo>
                    <a:cubicBezTo>
                      <a:pt x="6" y="3"/>
                      <a:pt x="1" y="0"/>
                      <a:pt x="0" y="2"/>
                    </a:cubicBezTo>
                    <a:cubicBezTo>
                      <a:pt x="0" y="3"/>
                      <a:pt x="1" y="0"/>
                      <a:pt x="0"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7" name="Freeform 483">
                <a:extLst>
                  <a:ext uri="{FF2B5EF4-FFF2-40B4-BE49-F238E27FC236}">
                    <a16:creationId xmlns:a16="http://schemas.microsoft.com/office/drawing/2014/main" id="{81FE6F81-9D6A-FD46-A7C2-462ABFCCD8AC}"/>
                  </a:ext>
                </a:extLst>
              </p:cNvPr>
              <p:cNvSpPr>
                <a:spLocks/>
              </p:cNvSpPr>
              <p:nvPr/>
            </p:nvSpPr>
            <p:spPr bwMode="auto">
              <a:xfrm>
                <a:off x="18483640" y="11017669"/>
                <a:ext cx="28662" cy="47785"/>
              </a:xfrm>
              <a:custGeom>
                <a:avLst/>
                <a:gdLst>
                  <a:gd name="T0" fmla="*/ 3 w 3"/>
                  <a:gd name="T1" fmla="*/ 4 h 5"/>
                  <a:gd name="T2" fmla="*/ 1 w 3"/>
                  <a:gd name="T3" fmla="*/ 0 h 5"/>
                  <a:gd name="T4" fmla="*/ 3 w 3"/>
                  <a:gd name="T5" fmla="*/ 4 h 5"/>
                </a:gdLst>
                <a:ahLst/>
                <a:cxnLst>
                  <a:cxn ang="0">
                    <a:pos x="T0" y="T1"/>
                  </a:cxn>
                  <a:cxn ang="0">
                    <a:pos x="T2" y="T3"/>
                  </a:cxn>
                  <a:cxn ang="0">
                    <a:pos x="T4" y="T5"/>
                  </a:cxn>
                </a:cxnLst>
                <a:rect l="0" t="0" r="r" b="b"/>
                <a:pathLst>
                  <a:path w="3" h="5">
                    <a:moveTo>
                      <a:pt x="3" y="4"/>
                    </a:moveTo>
                    <a:cubicBezTo>
                      <a:pt x="3" y="5"/>
                      <a:pt x="0" y="1"/>
                      <a:pt x="1" y="0"/>
                    </a:cubicBezTo>
                    <a:cubicBezTo>
                      <a:pt x="2" y="0"/>
                      <a:pt x="3" y="1"/>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8" name="Freeform 484">
                <a:extLst>
                  <a:ext uri="{FF2B5EF4-FFF2-40B4-BE49-F238E27FC236}">
                    <a16:creationId xmlns:a16="http://schemas.microsoft.com/office/drawing/2014/main" id="{972C2056-4BA1-434C-8229-1F0F1E49F2F8}"/>
                  </a:ext>
                </a:extLst>
              </p:cNvPr>
              <p:cNvSpPr>
                <a:spLocks/>
              </p:cNvSpPr>
              <p:nvPr/>
            </p:nvSpPr>
            <p:spPr bwMode="auto">
              <a:xfrm>
                <a:off x="18295742" y="11017669"/>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0"/>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09" name="Freeform 485">
                <a:extLst>
                  <a:ext uri="{FF2B5EF4-FFF2-40B4-BE49-F238E27FC236}">
                    <a16:creationId xmlns:a16="http://schemas.microsoft.com/office/drawing/2014/main" id="{781EA042-DD69-5F42-9222-057DE1DAE88A}"/>
                  </a:ext>
                </a:extLst>
              </p:cNvPr>
              <p:cNvSpPr>
                <a:spLocks/>
              </p:cNvSpPr>
              <p:nvPr/>
            </p:nvSpPr>
            <p:spPr bwMode="auto">
              <a:xfrm>
                <a:off x="15384910" y="8593469"/>
                <a:ext cx="101909" cy="168835"/>
              </a:xfrm>
              <a:custGeom>
                <a:avLst/>
                <a:gdLst>
                  <a:gd name="T0" fmla="*/ 2 w 11"/>
                  <a:gd name="T1" fmla="*/ 0 h 18"/>
                  <a:gd name="T2" fmla="*/ 1 w 11"/>
                  <a:gd name="T3" fmla="*/ 0 h 18"/>
                  <a:gd name="T4" fmla="*/ 1 w 11"/>
                  <a:gd name="T5" fmla="*/ 3 h 18"/>
                  <a:gd name="T6" fmla="*/ 0 w 11"/>
                  <a:gd name="T7" fmla="*/ 8 h 18"/>
                  <a:gd name="T8" fmla="*/ 4 w 11"/>
                  <a:gd name="T9" fmla="*/ 18 h 18"/>
                  <a:gd name="T10" fmla="*/ 9 w 11"/>
                  <a:gd name="T11" fmla="*/ 15 h 18"/>
                  <a:gd name="T12" fmla="*/ 9 w 11"/>
                  <a:gd name="T13" fmla="*/ 8 h 18"/>
                  <a:gd name="T14" fmla="*/ 2 w 11"/>
                  <a:gd name="T15" fmla="*/ 0 h 18"/>
                  <a:gd name="T16" fmla="*/ 2 w 11"/>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8">
                    <a:moveTo>
                      <a:pt x="2" y="0"/>
                    </a:moveTo>
                    <a:cubicBezTo>
                      <a:pt x="2" y="0"/>
                      <a:pt x="2" y="0"/>
                      <a:pt x="1" y="0"/>
                    </a:cubicBezTo>
                    <a:cubicBezTo>
                      <a:pt x="1" y="0"/>
                      <a:pt x="1" y="3"/>
                      <a:pt x="1" y="3"/>
                    </a:cubicBezTo>
                    <a:cubicBezTo>
                      <a:pt x="1" y="5"/>
                      <a:pt x="0" y="6"/>
                      <a:pt x="0" y="8"/>
                    </a:cubicBezTo>
                    <a:cubicBezTo>
                      <a:pt x="0" y="11"/>
                      <a:pt x="0" y="18"/>
                      <a:pt x="4" y="18"/>
                    </a:cubicBezTo>
                    <a:cubicBezTo>
                      <a:pt x="6" y="18"/>
                      <a:pt x="9" y="17"/>
                      <a:pt x="9" y="15"/>
                    </a:cubicBezTo>
                    <a:cubicBezTo>
                      <a:pt x="11" y="13"/>
                      <a:pt x="9" y="10"/>
                      <a:pt x="9" y="8"/>
                    </a:cubicBezTo>
                    <a:cubicBezTo>
                      <a:pt x="7" y="6"/>
                      <a:pt x="5" y="0"/>
                      <a:pt x="2" y="0"/>
                    </a:cubicBezTo>
                    <a:cubicBezTo>
                      <a:pt x="1" y="0"/>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0" name="Freeform 486">
                <a:extLst>
                  <a:ext uri="{FF2B5EF4-FFF2-40B4-BE49-F238E27FC236}">
                    <a16:creationId xmlns:a16="http://schemas.microsoft.com/office/drawing/2014/main" id="{B19C97F2-57D2-6F47-B96F-F8DE9386F179}"/>
                  </a:ext>
                </a:extLst>
              </p:cNvPr>
              <p:cNvSpPr>
                <a:spLocks/>
              </p:cNvSpPr>
              <p:nvPr/>
            </p:nvSpPr>
            <p:spPr bwMode="auto">
              <a:xfrm>
                <a:off x="13665165" y="9606473"/>
                <a:ext cx="337579" cy="653035"/>
              </a:xfrm>
              <a:custGeom>
                <a:avLst/>
                <a:gdLst>
                  <a:gd name="T0" fmla="*/ 31 w 36"/>
                  <a:gd name="T1" fmla="*/ 2 h 70"/>
                  <a:gd name="T2" fmla="*/ 29 w 36"/>
                  <a:gd name="T3" fmla="*/ 0 h 70"/>
                  <a:gd name="T4" fmla="*/ 28 w 36"/>
                  <a:gd name="T5" fmla="*/ 3 h 70"/>
                  <a:gd name="T6" fmla="*/ 26 w 36"/>
                  <a:gd name="T7" fmla="*/ 8 h 70"/>
                  <a:gd name="T8" fmla="*/ 23 w 36"/>
                  <a:gd name="T9" fmla="*/ 8 h 70"/>
                  <a:gd name="T10" fmla="*/ 23 w 36"/>
                  <a:gd name="T11" fmla="*/ 10 h 70"/>
                  <a:gd name="T12" fmla="*/ 22 w 36"/>
                  <a:gd name="T13" fmla="*/ 12 h 70"/>
                  <a:gd name="T14" fmla="*/ 23 w 36"/>
                  <a:gd name="T15" fmla="*/ 13 h 70"/>
                  <a:gd name="T16" fmla="*/ 21 w 36"/>
                  <a:gd name="T17" fmla="*/ 14 h 70"/>
                  <a:gd name="T18" fmla="*/ 19 w 36"/>
                  <a:gd name="T19" fmla="*/ 16 h 70"/>
                  <a:gd name="T20" fmla="*/ 15 w 36"/>
                  <a:gd name="T21" fmla="*/ 18 h 70"/>
                  <a:gd name="T22" fmla="*/ 15 w 36"/>
                  <a:gd name="T23" fmla="*/ 19 h 70"/>
                  <a:gd name="T24" fmla="*/ 13 w 36"/>
                  <a:gd name="T25" fmla="*/ 19 h 70"/>
                  <a:gd name="T26" fmla="*/ 8 w 36"/>
                  <a:gd name="T27" fmla="*/ 21 h 70"/>
                  <a:gd name="T28" fmla="*/ 6 w 36"/>
                  <a:gd name="T29" fmla="*/ 21 h 70"/>
                  <a:gd name="T30" fmla="*/ 4 w 36"/>
                  <a:gd name="T31" fmla="*/ 27 h 70"/>
                  <a:gd name="T32" fmla="*/ 4 w 36"/>
                  <a:gd name="T33" fmla="*/ 44 h 70"/>
                  <a:gd name="T34" fmla="*/ 0 w 36"/>
                  <a:gd name="T35" fmla="*/ 51 h 70"/>
                  <a:gd name="T36" fmla="*/ 0 w 36"/>
                  <a:gd name="T37" fmla="*/ 55 h 70"/>
                  <a:gd name="T38" fmla="*/ 2 w 36"/>
                  <a:gd name="T39" fmla="*/ 59 h 70"/>
                  <a:gd name="T40" fmla="*/ 5 w 36"/>
                  <a:gd name="T41" fmla="*/ 68 h 70"/>
                  <a:gd name="T42" fmla="*/ 16 w 36"/>
                  <a:gd name="T43" fmla="*/ 68 h 70"/>
                  <a:gd name="T44" fmla="*/ 24 w 36"/>
                  <a:gd name="T45" fmla="*/ 50 h 70"/>
                  <a:gd name="T46" fmla="*/ 31 w 36"/>
                  <a:gd name="T47" fmla="*/ 30 h 70"/>
                  <a:gd name="T48" fmla="*/ 32 w 36"/>
                  <a:gd name="T49" fmla="*/ 23 h 70"/>
                  <a:gd name="T50" fmla="*/ 34 w 36"/>
                  <a:gd name="T51" fmla="*/ 19 h 70"/>
                  <a:gd name="T52" fmla="*/ 36 w 36"/>
                  <a:gd name="T53" fmla="*/ 17 h 70"/>
                  <a:gd name="T54" fmla="*/ 35 w 36"/>
                  <a:gd name="T55" fmla="*/ 11 h 70"/>
                  <a:gd name="T56" fmla="*/ 31 w 36"/>
                  <a:gd name="T57" fmla="*/ 2 h 70"/>
                  <a:gd name="T58" fmla="*/ 31 w 36"/>
                  <a:gd name="T59" fmla="*/ 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70">
                    <a:moveTo>
                      <a:pt x="31" y="2"/>
                    </a:moveTo>
                    <a:cubicBezTo>
                      <a:pt x="31" y="2"/>
                      <a:pt x="30" y="0"/>
                      <a:pt x="29" y="0"/>
                    </a:cubicBezTo>
                    <a:cubicBezTo>
                      <a:pt x="29" y="1"/>
                      <a:pt x="28" y="2"/>
                      <a:pt x="28" y="3"/>
                    </a:cubicBezTo>
                    <a:cubicBezTo>
                      <a:pt x="27" y="5"/>
                      <a:pt x="27" y="6"/>
                      <a:pt x="26" y="8"/>
                    </a:cubicBezTo>
                    <a:cubicBezTo>
                      <a:pt x="25" y="9"/>
                      <a:pt x="24" y="8"/>
                      <a:pt x="23" y="8"/>
                    </a:cubicBezTo>
                    <a:cubicBezTo>
                      <a:pt x="23" y="8"/>
                      <a:pt x="24" y="9"/>
                      <a:pt x="23" y="10"/>
                    </a:cubicBezTo>
                    <a:cubicBezTo>
                      <a:pt x="23" y="11"/>
                      <a:pt x="22" y="11"/>
                      <a:pt x="22" y="12"/>
                    </a:cubicBezTo>
                    <a:cubicBezTo>
                      <a:pt x="22" y="12"/>
                      <a:pt x="23" y="13"/>
                      <a:pt x="23" y="13"/>
                    </a:cubicBezTo>
                    <a:cubicBezTo>
                      <a:pt x="23" y="14"/>
                      <a:pt x="22" y="13"/>
                      <a:pt x="21" y="14"/>
                    </a:cubicBezTo>
                    <a:cubicBezTo>
                      <a:pt x="20" y="14"/>
                      <a:pt x="20" y="15"/>
                      <a:pt x="19" y="16"/>
                    </a:cubicBezTo>
                    <a:cubicBezTo>
                      <a:pt x="18" y="17"/>
                      <a:pt x="17" y="17"/>
                      <a:pt x="15" y="18"/>
                    </a:cubicBezTo>
                    <a:cubicBezTo>
                      <a:pt x="14" y="18"/>
                      <a:pt x="16" y="19"/>
                      <a:pt x="15" y="19"/>
                    </a:cubicBezTo>
                    <a:cubicBezTo>
                      <a:pt x="15" y="20"/>
                      <a:pt x="13" y="18"/>
                      <a:pt x="13" y="19"/>
                    </a:cubicBezTo>
                    <a:cubicBezTo>
                      <a:pt x="11" y="20"/>
                      <a:pt x="10" y="20"/>
                      <a:pt x="8" y="21"/>
                    </a:cubicBezTo>
                    <a:cubicBezTo>
                      <a:pt x="7" y="21"/>
                      <a:pt x="6" y="20"/>
                      <a:pt x="6" y="21"/>
                    </a:cubicBezTo>
                    <a:cubicBezTo>
                      <a:pt x="5" y="23"/>
                      <a:pt x="5" y="25"/>
                      <a:pt x="4" y="27"/>
                    </a:cubicBezTo>
                    <a:cubicBezTo>
                      <a:pt x="3" y="32"/>
                      <a:pt x="8" y="39"/>
                      <a:pt x="4" y="44"/>
                    </a:cubicBezTo>
                    <a:cubicBezTo>
                      <a:pt x="3" y="46"/>
                      <a:pt x="1" y="48"/>
                      <a:pt x="0" y="51"/>
                    </a:cubicBezTo>
                    <a:cubicBezTo>
                      <a:pt x="0" y="52"/>
                      <a:pt x="0" y="54"/>
                      <a:pt x="0" y="55"/>
                    </a:cubicBezTo>
                    <a:cubicBezTo>
                      <a:pt x="1" y="56"/>
                      <a:pt x="3" y="57"/>
                      <a:pt x="2" y="59"/>
                    </a:cubicBezTo>
                    <a:cubicBezTo>
                      <a:pt x="1" y="62"/>
                      <a:pt x="2" y="66"/>
                      <a:pt x="5" y="68"/>
                    </a:cubicBezTo>
                    <a:cubicBezTo>
                      <a:pt x="8" y="70"/>
                      <a:pt x="11" y="70"/>
                      <a:pt x="16" y="68"/>
                    </a:cubicBezTo>
                    <a:cubicBezTo>
                      <a:pt x="21" y="66"/>
                      <a:pt x="22" y="55"/>
                      <a:pt x="24" y="50"/>
                    </a:cubicBezTo>
                    <a:cubicBezTo>
                      <a:pt x="26" y="43"/>
                      <a:pt x="29" y="37"/>
                      <a:pt x="31" y="30"/>
                    </a:cubicBezTo>
                    <a:cubicBezTo>
                      <a:pt x="31" y="28"/>
                      <a:pt x="31" y="25"/>
                      <a:pt x="32" y="23"/>
                    </a:cubicBezTo>
                    <a:cubicBezTo>
                      <a:pt x="33" y="22"/>
                      <a:pt x="31" y="14"/>
                      <a:pt x="34" y="19"/>
                    </a:cubicBezTo>
                    <a:cubicBezTo>
                      <a:pt x="35" y="20"/>
                      <a:pt x="35" y="18"/>
                      <a:pt x="36" y="17"/>
                    </a:cubicBezTo>
                    <a:cubicBezTo>
                      <a:pt x="36" y="15"/>
                      <a:pt x="35" y="13"/>
                      <a:pt x="35" y="11"/>
                    </a:cubicBezTo>
                    <a:cubicBezTo>
                      <a:pt x="34" y="9"/>
                      <a:pt x="33" y="4"/>
                      <a:pt x="31" y="2"/>
                    </a:cubicBezTo>
                    <a:cubicBezTo>
                      <a:pt x="30" y="1"/>
                      <a:pt x="32" y="2"/>
                      <a:pt x="3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1" name="Freeform 487">
                <a:extLst>
                  <a:ext uri="{FF2B5EF4-FFF2-40B4-BE49-F238E27FC236}">
                    <a16:creationId xmlns:a16="http://schemas.microsoft.com/office/drawing/2014/main" id="{BE329FFE-68B1-8D49-A413-13AFF47CB339}"/>
                  </a:ext>
                </a:extLst>
              </p:cNvPr>
              <p:cNvSpPr>
                <a:spLocks/>
              </p:cNvSpPr>
              <p:nvPr/>
            </p:nvSpPr>
            <p:spPr bwMode="auto">
              <a:xfrm>
                <a:off x="14413572" y="5028840"/>
                <a:ext cx="101909" cy="76452"/>
              </a:xfrm>
              <a:custGeom>
                <a:avLst/>
                <a:gdLst>
                  <a:gd name="T0" fmla="*/ 9 w 11"/>
                  <a:gd name="T1" fmla="*/ 7 h 8"/>
                  <a:gd name="T2" fmla="*/ 8 w 11"/>
                  <a:gd name="T3" fmla="*/ 4 h 8"/>
                  <a:gd name="T4" fmla="*/ 3 w 11"/>
                  <a:gd name="T5" fmla="*/ 0 h 8"/>
                  <a:gd name="T6" fmla="*/ 1 w 11"/>
                  <a:gd name="T7" fmla="*/ 2 h 8"/>
                  <a:gd name="T8" fmla="*/ 3 w 11"/>
                  <a:gd name="T9" fmla="*/ 5 h 8"/>
                  <a:gd name="T10" fmla="*/ 9 w 11"/>
                  <a:gd name="T11" fmla="*/ 7 h 8"/>
                  <a:gd name="T12" fmla="*/ 9 w 11"/>
                  <a:gd name="T13" fmla="*/ 7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9" y="7"/>
                    </a:moveTo>
                    <a:cubicBezTo>
                      <a:pt x="11" y="8"/>
                      <a:pt x="9" y="5"/>
                      <a:pt x="8" y="4"/>
                    </a:cubicBezTo>
                    <a:cubicBezTo>
                      <a:pt x="7" y="3"/>
                      <a:pt x="4" y="1"/>
                      <a:pt x="3" y="0"/>
                    </a:cubicBezTo>
                    <a:cubicBezTo>
                      <a:pt x="2" y="0"/>
                      <a:pt x="1" y="1"/>
                      <a:pt x="1" y="2"/>
                    </a:cubicBezTo>
                    <a:cubicBezTo>
                      <a:pt x="0" y="3"/>
                      <a:pt x="2" y="4"/>
                      <a:pt x="3" y="5"/>
                    </a:cubicBezTo>
                    <a:cubicBezTo>
                      <a:pt x="5" y="6"/>
                      <a:pt x="7" y="7"/>
                      <a:pt x="9" y="7"/>
                    </a:cubicBezTo>
                    <a:cubicBezTo>
                      <a:pt x="10" y="7"/>
                      <a:pt x="7" y="7"/>
                      <a:pt x="9"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2" name="Freeform 488">
                <a:extLst>
                  <a:ext uri="{FF2B5EF4-FFF2-40B4-BE49-F238E27FC236}">
                    <a16:creationId xmlns:a16="http://schemas.microsoft.com/office/drawing/2014/main" id="{DC5814BB-C1A4-AB4E-899E-2BBDB7105288}"/>
                  </a:ext>
                </a:extLst>
              </p:cNvPr>
              <p:cNvSpPr>
                <a:spLocks/>
              </p:cNvSpPr>
              <p:nvPr/>
            </p:nvSpPr>
            <p:spPr bwMode="auto">
              <a:xfrm>
                <a:off x="13926310" y="5086181"/>
                <a:ext cx="101909" cy="92380"/>
              </a:xfrm>
              <a:custGeom>
                <a:avLst/>
                <a:gdLst>
                  <a:gd name="T0" fmla="*/ 10 w 11"/>
                  <a:gd name="T1" fmla="*/ 6 h 10"/>
                  <a:gd name="T2" fmla="*/ 6 w 11"/>
                  <a:gd name="T3" fmla="*/ 10 h 10"/>
                  <a:gd name="T4" fmla="*/ 0 w 11"/>
                  <a:gd name="T5" fmla="*/ 6 h 10"/>
                  <a:gd name="T6" fmla="*/ 10 w 11"/>
                  <a:gd name="T7" fmla="*/ 6 h 10"/>
                  <a:gd name="T8" fmla="*/ 10 w 11"/>
                  <a:gd name="T9" fmla="*/ 6 h 10"/>
                </a:gdLst>
                <a:ahLst/>
                <a:cxnLst>
                  <a:cxn ang="0">
                    <a:pos x="T0" y="T1"/>
                  </a:cxn>
                  <a:cxn ang="0">
                    <a:pos x="T2" y="T3"/>
                  </a:cxn>
                  <a:cxn ang="0">
                    <a:pos x="T4" y="T5"/>
                  </a:cxn>
                  <a:cxn ang="0">
                    <a:pos x="T6" y="T7"/>
                  </a:cxn>
                  <a:cxn ang="0">
                    <a:pos x="T8" y="T9"/>
                  </a:cxn>
                </a:cxnLst>
                <a:rect l="0" t="0" r="r" b="b"/>
                <a:pathLst>
                  <a:path w="11" h="10">
                    <a:moveTo>
                      <a:pt x="10" y="6"/>
                    </a:moveTo>
                    <a:cubicBezTo>
                      <a:pt x="10" y="8"/>
                      <a:pt x="7" y="9"/>
                      <a:pt x="6" y="10"/>
                    </a:cubicBezTo>
                    <a:cubicBezTo>
                      <a:pt x="4" y="10"/>
                      <a:pt x="0" y="9"/>
                      <a:pt x="0" y="6"/>
                    </a:cubicBezTo>
                    <a:cubicBezTo>
                      <a:pt x="1" y="0"/>
                      <a:pt x="11" y="6"/>
                      <a:pt x="10" y="6"/>
                    </a:cubicBezTo>
                    <a:cubicBezTo>
                      <a:pt x="10" y="7"/>
                      <a:pt x="11" y="5"/>
                      <a:pt x="10"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3" name="Freeform 489">
                <a:extLst>
                  <a:ext uri="{FF2B5EF4-FFF2-40B4-BE49-F238E27FC236}">
                    <a16:creationId xmlns:a16="http://schemas.microsoft.com/office/drawing/2014/main" id="{35356882-C1F4-1A4C-8E2D-295116615E7A}"/>
                  </a:ext>
                </a:extLst>
              </p:cNvPr>
              <p:cNvSpPr>
                <a:spLocks/>
              </p:cNvSpPr>
              <p:nvPr/>
            </p:nvSpPr>
            <p:spPr bwMode="auto">
              <a:xfrm>
                <a:off x="14945419" y="4767625"/>
                <a:ext cx="82803" cy="47785"/>
              </a:xfrm>
              <a:custGeom>
                <a:avLst/>
                <a:gdLst>
                  <a:gd name="T0" fmla="*/ 9 w 9"/>
                  <a:gd name="T1" fmla="*/ 3 h 5"/>
                  <a:gd name="T2" fmla="*/ 4 w 9"/>
                  <a:gd name="T3" fmla="*/ 5 h 5"/>
                  <a:gd name="T4" fmla="*/ 1 w 9"/>
                  <a:gd name="T5" fmla="*/ 1 h 5"/>
                  <a:gd name="T6" fmla="*/ 6 w 9"/>
                  <a:gd name="T7" fmla="*/ 1 h 5"/>
                  <a:gd name="T8" fmla="*/ 9 w 9"/>
                  <a:gd name="T9" fmla="*/ 3 h 5"/>
                </a:gdLst>
                <a:ahLst/>
                <a:cxnLst>
                  <a:cxn ang="0">
                    <a:pos x="T0" y="T1"/>
                  </a:cxn>
                  <a:cxn ang="0">
                    <a:pos x="T2" y="T3"/>
                  </a:cxn>
                  <a:cxn ang="0">
                    <a:pos x="T4" y="T5"/>
                  </a:cxn>
                  <a:cxn ang="0">
                    <a:pos x="T6" y="T7"/>
                  </a:cxn>
                  <a:cxn ang="0">
                    <a:pos x="T8" y="T9"/>
                  </a:cxn>
                </a:cxnLst>
                <a:rect l="0" t="0" r="r" b="b"/>
                <a:pathLst>
                  <a:path w="9" h="5">
                    <a:moveTo>
                      <a:pt x="9" y="3"/>
                    </a:moveTo>
                    <a:cubicBezTo>
                      <a:pt x="7" y="4"/>
                      <a:pt x="6" y="4"/>
                      <a:pt x="4" y="5"/>
                    </a:cubicBezTo>
                    <a:cubicBezTo>
                      <a:pt x="2" y="5"/>
                      <a:pt x="0" y="3"/>
                      <a:pt x="1" y="1"/>
                    </a:cubicBezTo>
                    <a:cubicBezTo>
                      <a:pt x="1" y="0"/>
                      <a:pt x="5" y="0"/>
                      <a:pt x="6" y="1"/>
                    </a:cubicBezTo>
                    <a:cubicBezTo>
                      <a:pt x="7" y="1"/>
                      <a:pt x="8" y="3"/>
                      <a:pt x="9"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4" name="Freeform 490">
                <a:extLst>
                  <a:ext uri="{FF2B5EF4-FFF2-40B4-BE49-F238E27FC236}">
                    <a16:creationId xmlns:a16="http://schemas.microsoft.com/office/drawing/2014/main" id="{A1A558EF-590A-C742-BB48-60293515E477}"/>
                  </a:ext>
                </a:extLst>
              </p:cNvPr>
              <p:cNvSpPr>
                <a:spLocks/>
              </p:cNvSpPr>
              <p:nvPr/>
            </p:nvSpPr>
            <p:spPr bwMode="auto">
              <a:xfrm>
                <a:off x="16811662" y="4675245"/>
                <a:ext cx="92356" cy="44598"/>
              </a:xfrm>
              <a:custGeom>
                <a:avLst/>
                <a:gdLst>
                  <a:gd name="T0" fmla="*/ 6 w 10"/>
                  <a:gd name="T1" fmla="*/ 5 h 5"/>
                  <a:gd name="T2" fmla="*/ 1 w 10"/>
                  <a:gd name="T3" fmla="*/ 4 h 5"/>
                  <a:gd name="T4" fmla="*/ 4 w 10"/>
                  <a:gd name="T5" fmla="*/ 1 h 5"/>
                  <a:gd name="T6" fmla="*/ 9 w 10"/>
                  <a:gd name="T7" fmla="*/ 1 h 5"/>
                  <a:gd name="T8" fmla="*/ 6 w 10"/>
                  <a:gd name="T9" fmla="*/ 5 h 5"/>
                  <a:gd name="T10" fmla="*/ 6 w 10"/>
                  <a:gd name="T11" fmla="*/ 5 h 5"/>
                </a:gdLst>
                <a:ahLst/>
                <a:cxnLst>
                  <a:cxn ang="0">
                    <a:pos x="T0" y="T1"/>
                  </a:cxn>
                  <a:cxn ang="0">
                    <a:pos x="T2" y="T3"/>
                  </a:cxn>
                  <a:cxn ang="0">
                    <a:pos x="T4" y="T5"/>
                  </a:cxn>
                  <a:cxn ang="0">
                    <a:pos x="T6" y="T7"/>
                  </a:cxn>
                  <a:cxn ang="0">
                    <a:pos x="T8" y="T9"/>
                  </a:cxn>
                  <a:cxn ang="0">
                    <a:pos x="T10" y="T11"/>
                  </a:cxn>
                </a:cxnLst>
                <a:rect l="0" t="0" r="r" b="b"/>
                <a:pathLst>
                  <a:path w="10" h="5">
                    <a:moveTo>
                      <a:pt x="6" y="5"/>
                    </a:moveTo>
                    <a:cubicBezTo>
                      <a:pt x="4" y="5"/>
                      <a:pt x="2" y="4"/>
                      <a:pt x="1" y="4"/>
                    </a:cubicBezTo>
                    <a:cubicBezTo>
                      <a:pt x="0" y="3"/>
                      <a:pt x="3" y="1"/>
                      <a:pt x="4" y="1"/>
                    </a:cubicBezTo>
                    <a:cubicBezTo>
                      <a:pt x="5" y="0"/>
                      <a:pt x="8" y="0"/>
                      <a:pt x="9" y="1"/>
                    </a:cubicBezTo>
                    <a:cubicBezTo>
                      <a:pt x="10" y="2"/>
                      <a:pt x="7" y="5"/>
                      <a:pt x="6" y="5"/>
                    </a:cubicBezTo>
                    <a:cubicBezTo>
                      <a:pt x="4" y="5"/>
                      <a:pt x="6" y="5"/>
                      <a:pt x="6"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5" name="Freeform 491">
                <a:extLst>
                  <a:ext uri="{FF2B5EF4-FFF2-40B4-BE49-F238E27FC236}">
                    <a16:creationId xmlns:a16="http://schemas.microsoft.com/office/drawing/2014/main" id="{97EF96AE-AA67-884D-8B8B-BB4D4F9B9EA5}"/>
                  </a:ext>
                </a:extLst>
              </p:cNvPr>
              <p:cNvSpPr>
                <a:spLocks/>
              </p:cNvSpPr>
              <p:nvPr/>
            </p:nvSpPr>
            <p:spPr bwMode="auto">
              <a:xfrm>
                <a:off x="15868988" y="3999911"/>
                <a:ext cx="57323" cy="19114"/>
              </a:xfrm>
              <a:custGeom>
                <a:avLst/>
                <a:gdLst>
                  <a:gd name="T0" fmla="*/ 6 w 6"/>
                  <a:gd name="T1" fmla="*/ 1 h 2"/>
                  <a:gd name="T2" fmla="*/ 0 w 6"/>
                  <a:gd name="T3" fmla="*/ 1 h 2"/>
                  <a:gd name="T4" fmla="*/ 6 w 6"/>
                  <a:gd name="T5" fmla="*/ 1 h 2"/>
                </a:gdLst>
                <a:ahLst/>
                <a:cxnLst>
                  <a:cxn ang="0">
                    <a:pos x="T0" y="T1"/>
                  </a:cxn>
                  <a:cxn ang="0">
                    <a:pos x="T2" y="T3"/>
                  </a:cxn>
                  <a:cxn ang="0">
                    <a:pos x="T4" y="T5"/>
                  </a:cxn>
                </a:cxnLst>
                <a:rect l="0" t="0" r="r" b="b"/>
                <a:pathLst>
                  <a:path w="6" h="2">
                    <a:moveTo>
                      <a:pt x="6" y="1"/>
                    </a:moveTo>
                    <a:cubicBezTo>
                      <a:pt x="6" y="2"/>
                      <a:pt x="0" y="2"/>
                      <a:pt x="0" y="1"/>
                    </a:cubicBezTo>
                    <a:cubicBezTo>
                      <a:pt x="0" y="0"/>
                      <a:pt x="6"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6" name="Freeform 492">
                <a:extLst>
                  <a:ext uri="{FF2B5EF4-FFF2-40B4-BE49-F238E27FC236}">
                    <a16:creationId xmlns:a16="http://schemas.microsoft.com/office/drawing/2014/main" id="{4F92D126-8F6D-EF4B-B0B0-A57377A362BF}"/>
                  </a:ext>
                </a:extLst>
              </p:cNvPr>
              <p:cNvSpPr>
                <a:spLocks/>
              </p:cNvSpPr>
              <p:nvPr/>
            </p:nvSpPr>
            <p:spPr bwMode="auto">
              <a:xfrm>
                <a:off x="15346696" y="4805855"/>
                <a:ext cx="54139" cy="38227"/>
              </a:xfrm>
              <a:custGeom>
                <a:avLst/>
                <a:gdLst>
                  <a:gd name="T0" fmla="*/ 5 w 6"/>
                  <a:gd name="T1" fmla="*/ 4 h 4"/>
                  <a:gd name="T2" fmla="*/ 2 w 6"/>
                  <a:gd name="T3" fmla="*/ 1 h 4"/>
                  <a:gd name="T4" fmla="*/ 5 w 6"/>
                  <a:gd name="T5" fmla="*/ 4 h 4"/>
                </a:gdLst>
                <a:ahLst/>
                <a:cxnLst>
                  <a:cxn ang="0">
                    <a:pos x="T0" y="T1"/>
                  </a:cxn>
                  <a:cxn ang="0">
                    <a:pos x="T2" y="T3"/>
                  </a:cxn>
                  <a:cxn ang="0">
                    <a:pos x="T4" y="T5"/>
                  </a:cxn>
                </a:cxnLst>
                <a:rect l="0" t="0" r="r" b="b"/>
                <a:pathLst>
                  <a:path w="6" h="4">
                    <a:moveTo>
                      <a:pt x="5" y="4"/>
                    </a:moveTo>
                    <a:cubicBezTo>
                      <a:pt x="4" y="4"/>
                      <a:pt x="0" y="3"/>
                      <a:pt x="2" y="1"/>
                    </a:cubicBezTo>
                    <a:cubicBezTo>
                      <a:pt x="5" y="0"/>
                      <a:pt x="6" y="4"/>
                      <a:pt x="5"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7" name="Freeform 493">
                <a:extLst>
                  <a:ext uri="{FF2B5EF4-FFF2-40B4-BE49-F238E27FC236}">
                    <a16:creationId xmlns:a16="http://schemas.microsoft.com/office/drawing/2014/main" id="{5823F5B5-B05C-4940-9918-C8BF221628CF}"/>
                  </a:ext>
                </a:extLst>
              </p:cNvPr>
              <p:cNvSpPr>
                <a:spLocks/>
              </p:cNvSpPr>
              <p:nvPr/>
            </p:nvSpPr>
            <p:spPr bwMode="auto">
              <a:xfrm>
                <a:off x="12098282" y="6892386"/>
                <a:ext cx="54139" cy="101936"/>
              </a:xfrm>
              <a:custGeom>
                <a:avLst/>
                <a:gdLst>
                  <a:gd name="T0" fmla="*/ 5 w 6"/>
                  <a:gd name="T1" fmla="*/ 1 h 11"/>
                  <a:gd name="T2" fmla="*/ 5 w 6"/>
                  <a:gd name="T3" fmla="*/ 7 h 11"/>
                  <a:gd name="T4" fmla="*/ 3 w 6"/>
                  <a:gd name="T5" fmla="*/ 10 h 11"/>
                  <a:gd name="T6" fmla="*/ 1 w 6"/>
                  <a:gd name="T7" fmla="*/ 4 h 11"/>
                  <a:gd name="T8" fmla="*/ 5 w 6"/>
                  <a:gd name="T9" fmla="*/ 1 h 11"/>
                  <a:gd name="T10" fmla="*/ 5 w 6"/>
                  <a:gd name="T11" fmla="*/ 1 h 11"/>
                </a:gdLst>
                <a:ahLst/>
                <a:cxnLst>
                  <a:cxn ang="0">
                    <a:pos x="T0" y="T1"/>
                  </a:cxn>
                  <a:cxn ang="0">
                    <a:pos x="T2" y="T3"/>
                  </a:cxn>
                  <a:cxn ang="0">
                    <a:pos x="T4" y="T5"/>
                  </a:cxn>
                  <a:cxn ang="0">
                    <a:pos x="T6" y="T7"/>
                  </a:cxn>
                  <a:cxn ang="0">
                    <a:pos x="T8" y="T9"/>
                  </a:cxn>
                  <a:cxn ang="0">
                    <a:pos x="T10" y="T11"/>
                  </a:cxn>
                </a:cxnLst>
                <a:rect l="0" t="0" r="r" b="b"/>
                <a:pathLst>
                  <a:path w="6" h="11">
                    <a:moveTo>
                      <a:pt x="5" y="1"/>
                    </a:moveTo>
                    <a:cubicBezTo>
                      <a:pt x="5" y="3"/>
                      <a:pt x="6" y="5"/>
                      <a:pt x="5" y="7"/>
                    </a:cubicBezTo>
                    <a:cubicBezTo>
                      <a:pt x="4" y="8"/>
                      <a:pt x="5" y="11"/>
                      <a:pt x="3" y="10"/>
                    </a:cubicBezTo>
                    <a:cubicBezTo>
                      <a:pt x="1" y="8"/>
                      <a:pt x="0" y="6"/>
                      <a:pt x="1" y="4"/>
                    </a:cubicBezTo>
                    <a:cubicBezTo>
                      <a:pt x="1" y="3"/>
                      <a:pt x="5" y="0"/>
                      <a:pt x="5" y="1"/>
                    </a:cubicBezTo>
                    <a:cubicBezTo>
                      <a:pt x="5"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8" name="Freeform 494">
                <a:extLst>
                  <a:ext uri="{FF2B5EF4-FFF2-40B4-BE49-F238E27FC236}">
                    <a16:creationId xmlns:a16="http://schemas.microsoft.com/office/drawing/2014/main" id="{19F31319-4769-6345-AAA4-FB83C36E964C}"/>
                  </a:ext>
                </a:extLst>
              </p:cNvPr>
              <p:cNvSpPr>
                <a:spLocks/>
              </p:cNvSpPr>
              <p:nvPr/>
            </p:nvSpPr>
            <p:spPr bwMode="auto">
              <a:xfrm>
                <a:off x="12079173" y="6984768"/>
                <a:ext cx="82803" cy="140163"/>
              </a:xfrm>
              <a:custGeom>
                <a:avLst/>
                <a:gdLst>
                  <a:gd name="T0" fmla="*/ 7 w 9"/>
                  <a:gd name="T1" fmla="*/ 3 h 15"/>
                  <a:gd name="T2" fmla="*/ 5 w 9"/>
                  <a:gd name="T3" fmla="*/ 2 h 15"/>
                  <a:gd name="T4" fmla="*/ 0 w 9"/>
                  <a:gd name="T5" fmla="*/ 2 h 15"/>
                  <a:gd name="T6" fmla="*/ 1 w 9"/>
                  <a:gd name="T7" fmla="*/ 8 h 15"/>
                  <a:gd name="T8" fmla="*/ 2 w 9"/>
                  <a:gd name="T9" fmla="*/ 13 h 15"/>
                  <a:gd name="T10" fmla="*/ 4 w 9"/>
                  <a:gd name="T11" fmla="*/ 14 h 15"/>
                  <a:gd name="T12" fmla="*/ 8 w 9"/>
                  <a:gd name="T13" fmla="*/ 10 h 15"/>
                  <a:gd name="T14" fmla="*/ 7 w 9"/>
                  <a:gd name="T15" fmla="*/ 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5">
                    <a:moveTo>
                      <a:pt x="7" y="3"/>
                    </a:moveTo>
                    <a:cubicBezTo>
                      <a:pt x="6" y="3"/>
                      <a:pt x="7" y="0"/>
                      <a:pt x="5" y="2"/>
                    </a:cubicBezTo>
                    <a:cubicBezTo>
                      <a:pt x="2" y="4"/>
                      <a:pt x="3" y="4"/>
                      <a:pt x="0" y="2"/>
                    </a:cubicBezTo>
                    <a:cubicBezTo>
                      <a:pt x="0" y="2"/>
                      <a:pt x="1" y="8"/>
                      <a:pt x="1" y="8"/>
                    </a:cubicBezTo>
                    <a:cubicBezTo>
                      <a:pt x="2" y="10"/>
                      <a:pt x="2" y="11"/>
                      <a:pt x="2" y="13"/>
                    </a:cubicBezTo>
                    <a:cubicBezTo>
                      <a:pt x="2" y="14"/>
                      <a:pt x="2" y="15"/>
                      <a:pt x="4" y="14"/>
                    </a:cubicBezTo>
                    <a:cubicBezTo>
                      <a:pt x="6" y="13"/>
                      <a:pt x="8" y="13"/>
                      <a:pt x="8" y="10"/>
                    </a:cubicBezTo>
                    <a:cubicBezTo>
                      <a:pt x="8" y="9"/>
                      <a:pt x="9" y="3"/>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19" name="Freeform 495">
                <a:extLst>
                  <a:ext uri="{FF2B5EF4-FFF2-40B4-BE49-F238E27FC236}">
                    <a16:creationId xmlns:a16="http://schemas.microsoft.com/office/drawing/2014/main" id="{E1E68E44-7AAC-F64F-B1BA-E5E396A7E586}"/>
                  </a:ext>
                </a:extLst>
              </p:cNvPr>
              <p:cNvSpPr>
                <a:spLocks/>
              </p:cNvSpPr>
              <p:nvPr/>
            </p:nvSpPr>
            <p:spPr bwMode="auto">
              <a:xfrm>
                <a:off x="12273444" y="7153601"/>
                <a:ext cx="149680" cy="92380"/>
              </a:xfrm>
              <a:custGeom>
                <a:avLst/>
                <a:gdLst>
                  <a:gd name="T0" fmla="*/ 5 w 16"/>
                  <a:gd name="T1" fmla="*/ 1 h 10"/>
                  <a:gd name="T2" fmla="*/ 0 w 16"/>
                  <a:gd name="T3" fmla="*/ 2 h 10"/>
                  <a:gd name="T4" fmla="*/ 3 w 16"/>
                  <a:gd name="T5" fmla="*/ 5 h 10"/>
                  <a:gd name="T6" fmla="*/ 8 w 16"/>
                  <a:gd name="T7" fmla="*/ 7 h 10"/>
                  <a:gd name="T8" fmla="*/ 14 w 16"/>
                  <a:gd name="T9" fmla="*/ 8 h 10"/>
                  <a:gd name="T10" fmla="*/ 13 w 16"/>
                  <a:gd name="T11" fmla="*/ 4 h 10"/>
                  <a:gd name="T12" fmla="*/ 15 w 16"/>
                  <a:gd name="T13" fmla="*/ 1 h 10"/>
                  <a:gd name="T14" fmla="*/ 11 w 16"/>
                  <a:gd name="T15" fmla="*/ 1 h 10"/>
                  <a:gd name="T16" fmla="*/ 5 w 16"/>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
                    <a:moveTo>
                      <a:pt x="5" y="1"/>
                    </a:moveTo>
                    <a:cubicBezTo>
                      <a:pt x="4" y="1"/>
                      <a:pt x="1" y="1"/>
                      <a:pt x="0" y="2"/>
                    </a:cubicBezTo>
                    <a:cubicBezTo>
                      <a:pt x="0" y="3"/>
                      <a:pt x="2" y="4"/>
                      <a:pt x="3" y="5"/>
                    </a:cubicBezTo>
                    <a:cubicBezTo>
                      <a:pt x="5" y="5"/>
                      <a:pt x="7" y="6"/>
                      <a:pt x="8" y="7"/>
                    </a:cubicBezTo>
                    <a:cubicBezTo>
                      <a:pt x="10" y="8"/>
                      <a:pt x="12" y="10"/>
                      <a:pt x="14" y="8"/>
                    </a:cubicBezTo>
                    <a:cubicBezTo>
                      <a:pt x="16" y="7"/>
                      <a:pt x="12" y="6"/>
                      <a:pt x="13" y="4"/>
                    </a:cubicBezTo>
                    <a:cubicBezTo>
                      <a:pt x="13" y="4"/>
                      <a:pt x="16" y="2"/>
                      <a:pt x="15" y="1"/>
                    </a:cubicBezTo>
                    <a:cubicBezTo>
                      <a:pt x="15" y="0"/>
                      <a:pt x="11" y="1"/>
                      <a:pt x="11" y="1"/>
                    </a:cubicBezTo>
                    <a:cubicBezTo>
                      <a:pt x="9" y="2"/>
                      <a:pt x="7"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0" name="Freeform 496">
                <a:extLst>
                  <a:ext uri="{FF2B5EF4-FFF2-40B4-BE49-F238E27FC236}">
                    <a16:creationId xmlns:a16="http://schemas.microsoft.com/office/drawing/2014/main" id="{06ACC18E-79FA-2A4E-A395-22265D2921A2}"/>
                  </a:ext>
                </a:extLst>
              </p:cNvPr>
              <p:cNvSpPr>
                <a:spLocks/>
              </p:cNvSpPr>
              <p:nvPr/>
            </p:nvSpPr>
            <p:spPr bwMode="auto">
              <a:xfrm>
                <a:off x="13161977" y="7284208"/>
                <a:ext cx="121018" cy="66896"/>
              </a:xfrm>
              <a:custGeom>
                <a:avLst/>
                <a:gdLst>
                  <a:gd name="T0" fmla="*/ 12 w 13"/>
                  <a:gd name="T1" fmla="*/ 1 h 7"/>
                  <a:gd name="T2" fmla="*/ 10 w 13"/>
                  <a:gd name="T3" fmla="*/ 2 h 7"/>
                  <a:gd name="T4" fmla="*/ 10 w 13"/>
                  <a:gd name="T5" fmla="*/ 5 h 7"/>
                  <a:gd name="T6" fmla="*/ 6 w 13"/>
                  <a:gd name="T7" fmla="*/ 6 h 7"/>
                  <a:gd name="T8" fmla="*/ 2 w 13"/>
                  <a:gd name="T9" fmla="*/ 6 h 7"/>
                  <a:gd name="T10" fmla="*/ 5 w 13"/>
                  <a:gd name="T11" fmla="*/ 3 h 7"/>
                  <a:gd name="T12" fmla="*/ 12 w 13"/>
                  <a:gd name="T13" fmla="*/ 1 h 7"/>
                  <a:gd name="T14" fmla="*/ 12 w 13"/>
                  <a:gd name="T15" fmla="*/ 1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7">
                    <a:moveTo>
                      <a:pt x="12" y="1"/>
                    </a:moveTo>
                    <a:cubicBezTo>
                      <a:pt x="12" y="1"/>
                      <a:pt x="10" y="2"/>
                      <a:pt x="10" y="2"/>
                    </a:cubicBezTo>
                    <a:cubicBezTo>
                      <a:pt x="9" y="3"/>
                      <a:pt x="10" y="5"/>
                      <a:pt x="10" y="5"/>
                    </a:cubicBezTo>
                    <a:cubicBezTo>
                      <a:pt x="9" y="5"/>
                      <a:pt x="7" y="5"/>
                      <a:pt x="6" y="6"/>
                    </a:cubicBezTo>
                    <a:cubicBezTo>
                      <a:pt x="4" y="7"/>
                      <a:pt x="3" y="7"/>
                      <a:pt x="2" y="6"/>
                    </a:cubicBezTo>
                    <a:cubicBezTo>
                      <a:pt x="0" y="4"/>
                      <a:pt x="4" y="3"/>
                      <a:pt x="5" y="3"/>
                    </a:cubicBezTo>
                    <a:cubicBezTo>
                      <a:pt x="7" y="3"/>
                      <a:pt x="10" y="2"/>
                      <a:pt x="12" y="1"/>
                    </a:cubicBezTo>
                    <a:cubicBezTo>
                      <a:pt x="13" y="0"/>
                      <a:pt x="11" y="2"/>
                      <a:pt x="1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1" name="Freeform 497">
                <a:extLst>
                  <a:ext uri="{FF2B5EF4-FFF2-40B4-BE49-F238E27FC236}">
                    <a16:creationId xmlns:a16="http://schemas.microsoft.com/office/drawing/2014/main" id="{16CBFE19-B184-2F41-AD79-1C7AF24CB299}"/>
                  </a:ext>
                </a:extLst>
              </p:cNvPr>
              <p:cNvSpPr>
                <a:spLocks/>
              </p:cNvSpPr>
              <p:nvPr/>
            </p:nvSpPr>
            <p:spPr bwMode="auto">
              <a:xfrm>
                <a:off x="12760705" y="7293764"/>
                <a:ext cx="140127" cy="38227"/>
              </a:xfrm>
              <a:custGeom>
                <a:avLst/>
                <a:gdLst>
                  <a:gd name="T0" fmla="*/ 8 w 15"/>
                  <a:gd name="T1" fmla="*/ 4 h 4"/>
                  <a:gd name="T2" fmla="*/ 1 w 15"/>
                  <a:gd name="T3" fmla="*/ 1 h 4"/>
                  <a:gd name="T4" fmla="*/ 7 w 15"/>
                  <a:gd name="T5" fmla="*/ 1 h 4"/>
                  <a:gd name="T6" fmla="*/ 15 w 15"/>
                  <a:gd name="T7" fmla="*/ 2 h 4"/>
                  <a:gd name="T8" fmla="*/ 13 w 15"/>
                  <a:gd name="T9" fmla="*/ 3 h 4"/>
                  <a:gd name="T10" fmla="*/ 8 w 15"/>
                  <a:gd name="T11" fmla="*/ 4 h 4"/>
                  <a:gd name="T12" fmla="*/ 8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8" y="4"/>
                    </a:moveTo>
                    <a:cubicBezTo>
                      <a:pt x="7" y="4"/>
                      <a:pt x="0" y="2"/>
                      <a:pt x="1" y="1"/>
                    </a:cubicBezTo>
                    <a:cubicBezTo>
                      <a:pt x="1" y="0"/>
                      <a:pt x="7" y="1"/>
                      <a:pt x="7" y="1"/>
                    </a:cubicBezTo>
                    <a:cubicBezTo>
                      <a:pt x="10" y="2"/>
                      <a:pt x="12" y="2"/>
                      <a:pt x="15" y="2"/>
                    </a:cubicBezTo>
                    <a:cubicBezTo>
                      <a:pt x="15" y="2"/>
                      <a:pt x="13" y="3"/>
                      <a:pt x="13" y="3"/>
                    </a:cubicBezTo>
                    <a:cubicBezTo>
                      <a:pt x="12" y="4"/>
                      <a:pt x="10" y="4"/>
                      <a:pt x="8" y="4"/>
                    </a:cubicBezTo>
                    <a:cubicBezTo>
                      <a:pt x="6" y="4"/>
                      <a:pt x="9" y="4"/>
                      <a:pt x="8"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2" name="Freeform 498">
                <a:extLst>
                  <a:ext uri="{FF2B5EF4-FFF2-40B4-BE49-F238E27FC236}">
                    <a16:creationId xmlns:a16="http://schemas.microsoft.com/office/drawing/2014/main" id="{8EF342B0-8A23-7F4C-B629-65F15011D2C9}"/>
                  </a:ext>
                </a:extLst>
              </p:cNvPr>
              <p:cNvSpPr>
                <a:spLocks/>
              </p:cNvSpPr>
              <p:nvPr/>
            </p:nvSpPr>
            <p:spPr bwMode="auto">
              <a:xfrm>
                <a:off x="12693826" y="5917609"/>
                <a:ext cx="66879" cy="66896"/>
              </a:xfrm>
              <a:custGeom>
                <a:avLst/>
                <a:gdLst>
                  <a:gd name="T0" fmla="*/ 1 w 7"/>
                  <a:gd name="T1" fmla="*/ 4 h 7"/>
                  <a:gd name="T2" fmla="*/ 1 w 7"/>
                  <a:gd name="T3" fmla="*/ 1 h 7"/>
                  <a:gd name="T4" fmla="*/ 7 w 7"/>
                  <a:gd name="T5" fmla="*/ 1 h 7"/>
                  <a:gd name="T6" fmla="*/ 1 w 7"/>
                  <a:gd name="T7" fmla="*/ 4 h 7"/>
                  <a:gd name="T8" fmla="*/ 1 w 7"/>
                  <a:gd name="T9" fmla="*/ 4 h 7"/>
                </a:gdLst>
                <a:ahLst/>
                <a:cxnLst>
                  <a:cxn ang="0">
                    <a:pos x="T0" y="T1"/>
                  </a:cxn>
                  <a:cxn ang="0">
                    <a:pos x="T2" y="T3"/>
                  </a:cxn>
                  <a:cxn ang="0">
                    <a:pos x="T4" y="T5"/>
                  </a:cxn>
                  <a:cxn ang="0">
                    <a:pos x="T6" y="T7"/>
                  </a:cxn>
                  <a:cxn ang="0">
                    <a:pos x="T8" y="T9"/>
                  </a:cxn>
                </a:cxnLst>
                <a:rect l="0" t="0" r="r" b="b"/>
                <a:pathLst>
                  <a:path w="7" h="7">
                    <a:moveTo>
                      <a:pt x="1" y="4"/>
                    </a:moveTo>
                    <a:cubicBezTo>
                      <a:pt x="1" y="3"/>
                      <a:pt x="0" y="1"/>
                      <a:pt x="1" y="1"/>
                    </a:cubicBezTo>
                    <a:cubicBezTo>
                      <a:pt x="2" y="1"/>
                      <a:pt x="7" y="0"/>
                      <a:pt x="7" y="1"/>
                    </a:cubicBezTo>
                    <a:cubicBezTo>
                      <a:pt x="7" y="2"/>
                      <a:pt x="2" y="6"/>
                      <a:pt x="1" y="4"/>
                    </a:cubicBezTo>
                    <a:cubicBezTo>
                      <a:pt x="1" y="1"/>
                      <a:pt x="2" y="7"/>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3" name="Freeform 499">
                <a:extLst>
                  <a:ext uri="{FF2B5EF4-FFF2-40B4-BE49-F238E27FC236}">
                    <a16:creationId xmlns:a16="http://schemas.microsoft.com/office/drawing/2014/main" id="{CDB4936F-2ED7-8D44-B4FF-BBFEE69B07C6}"/>
                  </a:ext>
                </a:extLst>
              </p:cNvPr>
              <p:cNvSpPr>
                <a:spLocks/>
              </p:cNvSpPr>
              <p:nvPr/>
            </p:nvSpPr>
            <p:spPr bwMode="auto">
              <a:xfrm>
                <a:off x="12703380" y="5892125"/>
                <a:ext cx="47770" cy="25484"/>
              </a:xfrm>
              <a:custGeom>
                <a:avLst/>
                <a:gdLst>
                  <a:gd name="T0" fmla="*/ 3 w 5"/>
                  <a:gd name="T1" fmla="*/ 2 h 3"/>
                  <a:gd name="T2" fmla="*/ 0 w 5"/>
                  <a:gd name="T3" fmla="*/ 1 h 3"/>
                  <a:gd name="T4" fmla="*/ 4 w 5"/>
                  <a:gd name="T5" fmla="*/ 1 h 3"/>
                  <a:gd name="T6" fmla="*/ 3 w 5"/>
                  <a:gd name="T7" fmla="*/ 2 h 3"/>
                  <a:gd name="T8" fmla="*/ 3 w 5"/>
                  <a:gd name="T9" fmla="*/ 2 h 3"/>
                </a:gdLst>
                <a:ahLst/>
                <a:cxnLst>
                  <a:cxn ang="0">
                    <a:pos x="T0" y="T1"/>
                  </a:cxn>
                  <a:cxn ang="0">
                    <a:pos x="T2" y="T3"/>
                  </a:cxn>
                  <a:cxn ang="0">
                    <a:pos x="T4" y="T5"/>
                  </a:cxn>
                  <a:cxn ang="0">
                    <a:pos x="T6" y="T7"/>
                  </a:cxn>
                  <a:cxn ang="0">
                    <a:pos x="T8" y="T9"/>
                  </a:cxn>
                </a:cxnLst>
                <a:rect l="0" t="0" r="r" b="b"/>
                <a:pathLst>
                  <a:path w="5" h="3">
                    <a:moveTo>
                      <a:pt x="3" y="2"/>
                    </a:moveTo>
                    <a:cubicBezTo>
                      <a:pt x="2" y="2"/>
                      <a:pt x="0" y="1"/>
                      <a:pt x="0" y="1"/>
                    </a:cubicBezTo>
                    <a:cubicBezTo>
                      <a:pt x="0" y="1"/>
                      <a:pt x="4" y="0"/>
                      <a:pt x="4" y="1"/>
                    </a:cubicBezTo>
                    <a:cubicBezTo>
                      <a:pt x="5" y="2"/>
                      <a:pt x="4" y="3"/>
                      <a:pt x="3" y="2"/>
                    </a:cubicBezTo>
                    <a:cubicBezTo>
                      <a:pt x="1" y="2"/>
                      <a:pt x="5"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4" name="Freeform 500">
                <a:extLst>
                  <a:ext uri="{FF2B5EF4-FFF2-40B4-BE49-F238E27FC236}">
                    <a16:creationId xmlns:a16="http://schemas.microsoft.com/office/drawing/2014/main" id="{721E916D-1A1B-0041-ACA6-E7F21B50FF6E}"/>
                  </a:ext>
                </a:extLst>
              </p:cNvPr>
              <p:cNvSpPr>
                <a:spLocks/>
              </p:cNvSpPr>
              <p:nvPr/>
            </p:nvSpPr>
            <p:spPr bwMode="auto">
              <a:xfrm>
                <a:off x="12509111" y="5955834"/>
                <a:ext cx="54139" cy="92380"/>
              </a:xfrm>
              <a:custGeom>
                <a:avLst/>
                <a:gdLst>
                  <a:gd name="T0" fmla="*/ 6 w 6"/>
                  <a:gd name="T1" fmla="*/ 2 h 10"/>
                  <a:gd name="T2" fmla="*/ 3 w 6"/>
                  <a:gd name="T3" fmla="*/ 9 h 10"/>
                  <a:gd name="T4" fmla="*/ 6 w 6"/>
                  <a:gd name="T5" fmla="*/ 2 h 10"/>
                  <a:gd name="T6" fmla="*/ 6 w 6"/>
                  <a:gd name="T7" fmla="*/ 2 h 10"/>
                </a:gdLst>
                <a:ahLst/>
                <a:cxnLst>
                  <a:cxn ang="0">
                    <a:pos x="T0" y="T1"/>
                  </a:cxn>
                  <a:cxn ang="0">
                    <a:pos x="T2" y="T3"/>
                  </a:cxn>
                  <a:cxn ang="0">
                    <a:pos x="T4" y="T5"/>
                  </a:cxn>
                  <a:cxn ang="0">
                    <a:pos x="T6" y="T7"/>
                  </a:cxn>
                </a:cxnLst>
                <a:rect l="0" t="0" r="r" b="b"/>
                <a:pathLst>
                  <a:path w="6" h="10">
                    <a:moveTo>
                      <a:pt x="6" y="2"/>
                    </a:moveTo>
                    <a:cubicBezTo>
                      <a:pt x="6" y="0"/>
                      <a:pt x="0" y="10"/>
                      <a:pt x="3" y="9"/>
                    </a:cubicBezTo>
                    <a:cubicBezTo>
                      <a:pt x="4" y="9"/>
                      <a:pt x="6" y="3"/>
                      <a:pt x="6" y="2"/>
                    </a:cubicBezTo>
                    <a:cubicBezTo>
                      <a:pt x="6" y="1"/>
                      <a:pt x="6" y="3"/>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5" name="Freeform 501">
                <a:extLst>
                  <a:ext uri="{FF2B5EF4-FFF2-40B4-BE49-F238E27FC236}">
                    <a16:creationId xmlns:a16="http://schemas.microsoft.com/office/drawing/2014/main" id="{3A1B3184-3EDB-DC42-8369-459EB83BE6B7}"/>
                  </a:ext>
                </a:extLst>
              </p:cNvPr>
              <p:cNvSpPr>
                <a:spLocks/>
              </p:cNvSpPr>
              <p:nvPr/>
            </p:nvSpPr>
            <p:spPr bwMode="auto">
              <a:xfrm>
                <a:off x="12591917" y="5796557"/>
                <a:ext cx="38217" cy="38227"/>
              </a:xfrm>
              <a:custGeom>
                <a:avLst/>
                <a:gdLst>
                  <a:gd name="T0" fmla="*/ 3 w 4"/>
                  <a:gd name="T1" fmla="*/ 3 h 4"/>
                  <a:gd name="T2" fmla="*/ 1 w 4"/>
                  <a:gd name="T3" fmla="*/ 1 h 4"/>
                  <a:gd name="T4" fmla="*/ 3 w 4"/>
                  <a:gd name="T5" fmla="*/ 0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3"/>
                      <a:pt x="0" y="2"/>
                      <a:pt x="1" y="1"/>
                    </a:cubicBezTo>
                    <a:cubicBezTo>
                      <a:pt x="2" y="1"/>
                      <a:pt x="3" y="0"/>
                      <a:pt x="3" y="0"/>
                    </a:cubicBezTo>
                    <a:cubicBezTo>
                      <a:pt x="4" y="0"/>
                      <a:pt x="4" y="2"/>
                      <a:pt x="3" y="3"/>
                    </a:cubicBezTo>
                    <a:cubicBezTo>
                      <a:pt x="2" y="4"/>
                      <a:pt x="4" y="2"/>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6" name="Freeform 502">
                <a:extLst>
                  <a:ext uri="{FF2B5EF4-FFF2-40B4-BE49-F238E27FC236}">
                    <a16:creationId xmlns:a16="http://schemas.microsoft.com/office/drawing/2014/main" id="{32A255C1-A45B-2944-99CA-6C0FF8509FE6}"/>
                  </a:ext>
                </a:extLst>
              </p:cNvPr>
              <p:cNvSpPr>
                <a:spLocks/>
              </p:cNvSpPr>
              <p:nvPr/>
            </p:nvSpPr>
            <p:spPr bwMode="auto">
              <a:xfrm>
                <a:off x="12219302" y="6086441"/>
                <a:ext cx="54139" cy="86010"/>
              </a:xfrm>
              <a:custGeom>
                <a:avLst/>
                <a:gdLst>
                  <a:gd name="T0" fmla="*/ 6 w 6"/>
                  <a:gd name="T1" fmla="*/ 2 h 9"/>
                  <a:gd name="T2" fmla="*/ 6 w 6"/>
                  <a:gd name="T3" fmla="*/ 4 h 9"/>
                  <a:gd name="T4" fmla="*/ 5 w 6"/>
                  <a:gd name="T5" fmla="*/ 9 h 9"/>
                  <a:gd name="T6" fmla="*/ 0 w 6"/>
                  <a:gd name="T7" fmla="*/ 3 h 9"/>
                  <a:gd name="T8" fmla="*/ 3 w 6"/>
                  <a:gd name="T9" fmla="*/ 3 h 9"/>
                  <a:gd name="T10" fmla="*/ 6 w 6"/>
                  <a:gd name="T11" fmla="*/ 2 h 9"/>
                  <a:gd name="T12" fmla="*/ 6 w 6"/>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2"/>
                    </a:moveTo>
                    <a:cubicBezTo>
                      <a:pt x="6" y="1"/>
                      <a:pt x="6" y="4"/>
                      <a:pt x="6" y="4"/>
                    </a:cubicBezTo>
                    <a:cubicBezTo>
                      <a:pt x="6" y="6"/>
                      <a:pt x="6" y="8"/>
                      <a:pt x="5" y="9"/>
                    </a:cubicBezTo>
                    <a:cubicBezTo>
                      <a:pt x="5" y="9"/>
                      <a:pt x="0" y="5"/>
                      <a:pt x="0" y="3"/>
                    </a:cubicBezTo>
                    <a:cubicBezTo>
                      <a:pt x="0" y="3"/>
                      <a:pt x="2" y="2"/>
                      <a:pt x="3" y="3"/>
                    </a:cubicBezTo>
                    <a:cubicBezTo>
                      <a:pt x="4" y="4"/>
                      <a:pt x="5" y="4"/>
                      <a:pt x="6" y="2"/>
                    </a:cubicBezTo>
                    <a:cubicBezTo>
                      <a:pt x="6" y="0"/>
                      <a:pt x="6" y="3"/>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7" name="Freeform 503">
                <a:extLst>
                  <a:ext uri="{FF2B5EF4-FFF2-40B4-BE49-F238E27FC236}">
                    <a16:creationId xmlns:a16="http://schemas.microsoft.com/office/drawing/2014/main" id="{E6F9CA63-A3FA-ED4D-BA57-76911F3436BF}"/>
                  </a:ext>
                </a:extLst>
              </p:cNvPr>
              <p:cNvSpPr>
                <a:spLocks/>
              </p:cNvSpPr>
              <p:nvPr/>
            </p:nvSpPr>
            <p:spPr bwMode="auto">
              <a:xfrm>
                <a:off x="12152426" y="6105555"/>
                <a:ext cx="76432" cy="76452"/>
              </a:xfrm>
              <a:custGeom>
                <a:avLst/>
                <a:gdLst>
                  <a:gd name="T0" fmla="*/ 6 w 8"/>
                  <a:gd name="T1" fmla="*/ 7 h 8"/>
                  <a:gd name="T2" fmla="*/ 1 w 8"/>
                  <a:gd name="T3" fmla="*/ 4 h 8"/>
                  <a:gd name="T4" fmla="*/ 6 w 8"/>
                  <a:gd name="T5" fmla="*/ 7 h 8"/>
                  <a:gd name="T6" fmla="*/ 6 w 8"/>
                  <a:gd name="T7" fmla="*/ 7 h 8"/>
                </a:gdLst>
                <a:ahLst/>
                <a:cxnLst>
                  <a:cxn ang="0">
                    <a:pos x="T0" y="T1"/>
                  </a:cxn>
                  <a:cxn ang="0">
                    <a:pos x="T2" y="T3"/>
                  </a:cxn>
                  <a:cxn ang="0">
                    <a:pos x="T4" y="T5"/>
                  </a:cxn>
                  <a:cxn ang="0">
                    <a:pos x="T6" y="T7"/>
                  </a:cxn>
                </a:cxnLst>
                <a:rect l="0" t="0" r="r" b="b"/>
                <a:pathLst>
                  <a:path w="8" h="8">
                    <a:moveTo>
                      <a:pt x="6" y="7"/>
                    </a:moveTo>
                    <a:cubicBezTo>
                      <a:pt x="5" y="8"/>
                      <a:pt x="0" y="5"/>
                      <a:pt x="1" y="4"/>
                    </a:cubicBezTo>
                    <a:cubicBezTo>
                      <a:pt x="3" y="0"/>
                      <a:pt x="8" y="5"/>
                      <a:pt x="6" y="7"/>
                    </a:cubicBezTo>
                    <a:cubicBezTo>
                      <a:pt x="5" y="8"/>
                      <a:pt x="7" y="6"/>
                      <a:pt x="6"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8" name="Freeform 504">
                <a:extLst>
                  <a:ext uri="{FF2B5EF4-FFF2-40B4-BE49-F238E27FC236}">
                    <a16:creationId xmlns:a16="http://schemas.microsoft.com/office/drawing/2014/main" id="{8558EAF6-262F-1A44-BEB5-D18B3849B18A}"/>
                  </a:ext>
                </a:extLst>
              </p:cNvPr>
              <p:cNvSpPr>
                <a:spLocks/>
              </p:cNvSpPr>
              <p:nvPr/>
            </p:nvSpPr>
            <p:spPr bwMode="auto">
              <a:xfrm>
                <a:off x="11818028" y="7070776"/>
                <a:ext cx="44586" cy="35042"/>
              </a:xfrm>
              <a:custGeom>
                <a:avLst/>
                <a:gdLst>
                  <a:gd name="T0" fmla="*/ 4 w 5"/>
                  <a:gd name="T1" fmla="*/ 2 h 4"/>
                  <a:gd name="T2" fmla="*/ 3 w 5"/>
                  <a:gd name="T3" fmla="*/ 3 h 4"/>
                  <a:gd name="T4" fmla="*/ 0 w 5"/>
                  <a:gd name="T5" fmla="*/ 2 h 4"/>
                  <a:gd name="T6" fmla="*/ 4 w 5"/>
                  <a:gd name="T7" fmla="*/ 0 h 4"/>
                  <a:gd name="T8" fmla="*/ 4 w 5"/>
                  <a:gd name="T9" fmla="*/ 2 h 4"/>
                  <a:gd name="T10" fmla="*/ 4 w 5"/>
                  <a:gd name="T11" fmla="*/ 2 h 4"/>
                </a:gdLst>
                <a:ahLst/>
                <a:cxnLst>
                  <a:cxn ang="0">
                    <a:pos x="T0" y="T1"/>
                  </a:cxn>
                  <a:cxn ang="0">
                    <a:pos x="T2" y="T3"/>
                  </a:cxn>
                  <a:cxn ang="0">
                    <a:pos x="T4" y="T5"/>
                  </a:cxn>
                  <a:cxn ang="0">
                    <a:pos x="T6" y="T7"/>
                  </a:cxn>
                  <a:cxn ang="0">
                    <a:pos x="T8" y="T9"/>
                  </a:cxn>
                  <a:cxn ang="0">
                    <a:pos x="T10" y="T11"/>
                  </a:cxn>
                </a:cxnLst>
                <a:rect l="0" t="0" r="r" b="b"/>
                <a:pathLst>
                  <a:path w="5" h="4">
                    <a:moveTo>
                      <a:pt x="4" y="2"/>
                    </a:moveTo>
                    <a:cubicBezTo>
                      <a:pt x="5" y="1"/>
                      <a:pt x="4" y="4"/>
                      <a:pt x="3" y="3"/>
                    </a:cubicBezTo>
                    <a:cubicBezTo>
                      <a:pt x="3" y="3"/>
                      <a:pt x="0" y="2"/>
                      <a:pt x="0" y="2"/>
                    </a:cubicBezTo>
                    <a:cubicBezTo>
                      <a:pt x="0" y="2"/>
                      <a:pt x="3" y="0"/>
                      <a:pt x="4" y="0"/>
                    </a:cubicBezTo>
                    <a:cubicBezTo>
                      <a:pt x="4" y="0"/>
                      <a:pt x="3" y="2"/>
                      <a:pt x="4" y="2"/>
                    </a:cubicBezTo>
                    <a:cubicBezTo>
                      <a:pt x="5" y="1"/>
                      <a:pt x="3" y="2"/>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29" name="Freeform 505">
                <a:extLst>
                  <a:ext uri="{FF2B5EF4-FFF2-40B4-BE49-F238E27FC236}">
                    <a16:creationId xmlns:a16="http://schemas.microsoft.com/office/drawing/2014/main" id="{190742D1-4687-8942-815D-3F72FD85A000}"/>
                  </a:ext>
                </a:extLst>
              </p:cNvPr>
              <p:cNvSpPr>
                <a:spLocks/>
              </p:cNvSpPr>
              <p:nvPr/>
            </p:nvSpPr>
            <p:spPr bwMode="auto">
              <a:xfrm>
                <a:off x="11359426" y="5927165"/>
                <a:ext cx="57323" cy="57338"/>
              </a:xfrm>
              <a:custGeom>
                <a:avLst/>
                <a:gdLst>
                  <a:gd name="T0" fmla="*/ 5 w 6"/>
                  <a:gd name="T1" fmla="*/ 1 h 6"/>
                  <a:gd name="T2" fmla="*/ 4 w 6"/>
                  <a:gd name="T3" fmla="*/ 5 h 6"/>
                  <a:gd name="T4" fmla="*/ 1 w 6"/>
                  <a:gd name="T5" fmla="*/ 5 h 6"/>
                  <a:gd name="T6" fmla="*/ 5 w 6"/>
                  <a:gd name="T7" fmla="*/ 1 h 6"/>
                  <a:gd name="T8" fmla="*/ 5 w 6"/>
                  <a:gd name="T9" fmla="*/ 1 h 6"/>
                </a:gdLst>
                <a:ahLst/>
                <a:cxnLst>
                  <a:cxn ang="0">
                    <a:pos x="T0" y="T1"/>
                  </a:cxn>
                  <a:cxn ang="0">
                    <a:pos x="T2" y="T3"/>
                  </a:cxn>
                  <a:cxn ang="0">
                    <a:pos x="T4" y="T5"/>
                  </a:cxn>
                  <a:cxn ang="0">
                    <a:pos x="T6" y="T7"/>
                  </a:cxn>
                  <a:cxn ang="0">
                    <a:pos x="T8" y="T9"/>
                  </a:cxn>
                </a:cxnLst>
                <a:rect l="0" t="0" r="r" b="b"/>
                <a:pathLst>
                  <a:path w="6" h="6">
                    <a:moveTo>
                      <a:pt x="5" y="1"/>
                    </a:moveTo>
                    <a:cubicBezTo>
                      <a:pt x="6" y="2"/>
                      <a:pt x="4" y="3"/>
                      <a:pt x="4" y="5"/>
                    </a:cubicBezTo>
                    <a:cubicBezTo>
                      <a:pt x="3" y="6"/>
                      <a:pt x="2" y="6"/>
                      <a:pt x="1" y="5"/>
                    </a:cubicBezTo>
                    <a:cubicBezTo>
                      <a:pt x="0" y="4"/>
                      <a:pt x="5" y="0"/>
                      <a:pt x="5" y="1"/>
                    </a:cubicBezTo>
                    <a:cubicBezTo>
                      <a:pt x="6" y="2"/>
                      <a:pt x="5"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0" name="Freeform 506">
                <a:extLst>
                  <a:ext uri="{FF2B5EF4-FFF2-40B4-BE49-F238E27FC236}">
                    <a16:creationId xmlns:a16="http://schemas.microsoft.com/office/drawing/2014/main" id="{9E5DEF84-CF5F-2F44-B920-54ED554435BE}"/>
                  </a:ext>
                </a:extLst>
              </p:cNvPr>
              <p:cNvSpPr>
                <a:spLocks/>
              </p:cNvSpPr>
              <p:nvPr/>
            </p:nvSpPr>
            <p:spPr bwMode="auto">
              <a:xfrm>
                <a:off x="11388093" y="5994061"/>
                <a:ext cx="28662" cy="28669"/>
              </a:xfrm>
              <a:custGeom>
                <a:avLst/>
                <a:gdLst>
                  <a:gd name="T0" fmla="*/ 3 w 3"/>
                  <a:gd name="T1" fmla="*/ 1 h 3"/>
                  <a:gd name="T2" fmla="*/ 0 w 3"/>
                  <a:gd name="T3" fmla="*/ 2 h 3"/>
                  <a:gd name="T4" fmla="*/ 2 w 3"/>
                  <a:gd name="T5" fmla="*/ 3 h 3"/>
                  <a:gd name="T6" fmla="*/ 3 w 3"/>
                  <a:gd name="T7" fmla="*/ 1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2" y="1"/>
                      <a:pt x="0" y="1"/>
                      <a:pt x="0" y="2"/>
                    </a:cubicBezTo>
                    <a:cubicBezTo>
                      <a:pt x="0" y="3"/>
                      <a:pt x="2" y="3"/>
                      <a:pt x="2" y="3"/>
                    </a:cubicBezTo>
                    <a:cubicBezTo>
                      <a:pt x="3" y="3"/>
                      <a:pt x="3" y="0"/>
                      <a:pt x="3" y="1"/>
                    </a:cubicBezTo>
                    <a:cubicBezTo>
                      <a:pt x="2" y="1"/>
                      <a:pt x="3"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1" name="Freeform 507">
                <a:extLst>
                  <a:ext uri="{FF2B5EF4-FFF2-40B4-BE49-F238E27FC236}">
                    <a16:creationId xmlns:a16="http://schemas.microsoft.com/office/drawing/2014/main" id="{CCE2A7E2-2E3E-F545-8541-5DBD824BC99F}"/>
                  </a:ext>
                </a:extLst>
              </p:cNvPr>
              <p:cNvSpPr>
                <a:spLocks/>
              </p:cNvSpPr>
              <p:nvPr/>
            </p:nvSpPr>
            <p:spPr bwMode="auto">
              <a:xfrm>
                <a:off x="11416754" y="6022733"/>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2" name="Freeform 508">
                <a:extLst>
                  <a:ext uri="{FF2B5EF4-FFF2-40B4-BE49-F238E27FC236}">
                    <a16:creationId xmlns:a16="http://schemas.microsoft.com/office/drawing/2014/main" id="{037E67FE-C3A6-4D4F-A2BC-C1C6E4F9E8DC}"/>
                  </a:ext>
                </a:extLst>
              </p:cNvPr>
              <p:cNvSpPr>
                <a:spLocks/>
              </p:cNvSpPr>
              <p:nvPr/>
            </p:nvSpPr>
            <p:spPr bwMode="auto">
              <a:xfrm>
                <a:off x="11416754" y="6048217"/>
                <a:ext cx="9553" cy="19114"/>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2"/>
                      <a:pt x="0" y="2"/>
                    </a:cubicBezTo>
                    <a:cubicBezTo>
                      <a:pt x="1" y="2"/>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3" name="Freeform 509">
                <a:extLst>
                  <a:ext uri="{FF2B5EF4-FFF2-40B4-BE49-F238E27FC236}">
                    <a16:creationId xmlns:a16="http://schemas.microsoft.com/office/drawing/2014/main" id="{A13F11C7-3717-A741-B18B-607108B33771}"/>
                  </a:ext>
                </a:extLst>
              </p:cNvPr>
              <p:cNvSpPr>
                <a:spLocks/>
              </p:cNvSpPr>
              <p:nvPr/>
            </p:nvSpPr>
            <p:spPr bwMode="auto">
              <a:xfrm>
                <a:off x="11416754" y="6067328"/>
                <a:ext cx="15924" cy="9556"/>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1" y="1"/>
                    </a:cubicBezTo>
                    <a:cubicBezTo>
                      <a:pt x="2" y="1"/>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4" name="Freeform 510">
                <a:extLst>
                  <a:ext uri="{FF2B5EF4-FFF2-40B4-BE49-F238E27FC236}">
                    <a16:creationId xmlns:a16="http://schemas.microsoft.com/office/drawing/2014/main" id="{4684F5B4-3594-B043-9EDE-65BC400BFE63}"/>
                  </a:ext>
                </a:extLst>
              </p:cNvPr>
              <p:cNvSpPr>
                <a:spLocks/>
              </p:cNvSpPr>
              <p:nvPr/>
            </p:nvSpPr>
            <p:spPr bwMode="auto">
              <a:xfrm>
                <a:off x="11490002" y="6207491"/>
                <a:ext cx="9553" cy="19114"/>
              </a:xfrm>
              <a:custGeom>
                <a:avLst/>
                <a:gdLst>
                  <a:gd name="T0" fmla="*/ 0 w 1"/>
                  <a:gd name="T1" fmla="*/ 0 h 2"/>
                  <a:gd name="T2" fmla="*/ 0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2"/>
                      <a:pt x="0" y="2"/>
                    </a:cubicBezTo>
                    <a:cubicBezTo>
                      <a:pt x="0" y="2"/>
                      <a:pt x="1"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5" name="Freeform 511">
                <a:extLst>
                  <a:ext uri="{FF2B5EF4-FFF2-40B4-BE49-F238E27FC236}">
                    <a16:creationId xmlns:a16="http://schemas.microsoft.com/office/drawing/2014/main" id="{DDC45861-89CA-524B-B8C8-B7DB8E2BFEEE}"/>
                  </a:ext>
                </a:extLst>
              </p:cNvPr>
              <p:cNvSpPr>
                <a:spLocks/>
              </p:cNvSpPr>
              <p:nvPr/>
            </p:nvSpPr>
            <p:spPr bwMode="auto">
              <a:xfrm>
                <a:off x="11630131" y="5787002"/>
                <a:ext cx="19109" cy="38227"/>
              </a:xfrm>
              <a:custGeom>
                <a:avLst/>
                <a:gdLst>
                  <a:gd name="T0" fmla="*/ 1 w 2"/>
                  <a:gd name="T1" fmla="*/ 4 h 4"/>
                  <a:gd name="T2" fmla="*/ 2 w 2"/>
                  <a:gd name="T3" fmla="*/ 1 h 4"/>
                  <a:gd name="T4" fmla="*/ 1 w 2"/>
                  <a:gd name="T5" fmla="*/ 4 h 4"/>
                  <a:gd name="T6" fmla="*/ 1 w 2"/>
                  <a:gd name="T7" fmla="*/ 4 h 4"/>
                </a:gdLst>
                <a:ahLst/>
                <a:cxnLst>
                  <a:cxn ang="0">
                    <a:pos x="T0" y="T1"/>
                  </a:cxn>
                  <a:cxn ang="0">
                    <a:pos x="T2" y="T3"/>
                  </a:cxn>
                  <a:cxn ang="0">
                    <a:pos x="T4" y="T5"/>
                  </a:cxn>
                  <a:cxn ang="0">
                    <a:pos x="T6" y="T7"/>
                  </a:cxn>
                </a:cxnLst>
                <a:rect l="0" t="0" r="r" b="b"/>
                <a:pathLst>
                  <a:path w="2" h="4">
                    <a:moveTo>
                      <a:pt x="1" y="4"/>
                    </a:moveTo>
                    <a:cubicBezTo>
                      <a:pt x="0" y="3"/>
                      <a:pt x="0" y="1"/>
                      <a:pt x="2" y="1"/>
                    </a:cubicBezTo>
                    <a:cubicBezTo>
                      <a:pt x="2" y="0"/>
                      <a:pt x="2" y="4"/>
                      <a:pt x="1" y="4"/>
                    </a:cubicBezTo>
                    <a:cubicBezTo>
                      <a:pt x="0" y="3"/>
                      <a:pt x="1" y="4"/>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6" name="Freeform 512">
                <a:extLst>
                  <a:ext uri="{FF2B5EF4-FFF2-40B4-BE49-F238E27FC236}">
                    <a16:creationId xmlns:a16="http://schemas.microsoft.com/office/drawing/2014/main" id="{42663440-7291-814B-8B23-1FA04F34C16B}"/>
                  </a:ext>
                </a:extLst>
              </p:cNvPr>
              <p:cNvSpPr>
                <a:spLocks/>
              </p:cNvSpPr>
              <p:nvPr/>
            </p:nvSpPr>
            <p:spPr bwMode="auto">
              <a:xfrm>
                <a:off x="8260699" y="11747159"/>
                <a:ext cx="111465" cy="57338"/>
              </a:xfrm>
              <a:custGeom>
                <a:avLst/>
                <a:gdLst>
                  <a:gd name="T0" fmla="*/ 10 w 12"/>
                  <a:gd name="T1" fmla="*/ 3 h 6"/>
                  <a:gd name="T2" fmla="*/ 8 w 12"/>
                  <a:gd name="T3" fmla="*/ 2 h 6"/>
                  <a:gd name="T4" fmla="*/ 5 w 12"/>
                  <a:gd name="T5" fmla="*/ 2 h 6"/>
                  <a:gd name="T6" fmla="*/ 3 w 12"/>
                  <a:gd name="T7" fmla="*/ 1 h 6"/>
                  <a:gd name="T8" fmla="*/ 0 w 12"/>
                  <a:gd name="T9" fmla="*/ 3 h 6"/>
                  <a:gd name="T10" fmla="*/ 2 w 12"/>
                  <a:gd name="T11" fmla="*/ 5 h 6"/>
                  <a:gd name="T12" fmla="*/ 6 w 12"/>
                  <a:gd name="T13" fmla="*/ 5 h 6"/>
                  <a:gd name="T14" fmla="*/ 11 w 12"/>
                  <a:gd name="T15" fmla="*/ 3 h 6"/>
                  <a:gd name="T16" fmla="*/ 10 w 12"/>
                  <a:gd name="T17" fmla="*/ 3 h 6"/>
                  <a:gd name="T18" fmla="*/ 10 w 12"/>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0" y="3"/>
                    </a:moveTo>
                    <a:cubicBezTo>
                      <a:pt x="9" y="3"/>
                      <a:pt x="9" y="2"/>
                      <a:pt x="8" y="2"/>
                    </a:cubicBezTo>
                    <a:cubicBezTo>
                      <a:pt x="7" y="2"/>
                      <a:pt x="6" y="2"/>
                      <a:pt x="5" y="2"/>
                    </a:cubicBezTo>
                    <a:cubicBezTo>
                      <a:pt x="4" y="2"/>
                      <a:pt x="4" y="0"/>
                      <a:pt x="3" y="1"/>
                    </a:cubicBezTo>
                    <a:cubicBezTo>
                      <a:pt x="3" y="1"/>
                      <a:pt x="0" y="3"/>
                      <a:pt x="0" y="3"/>
                    </a:cubicBezTo>
                    <a:cubicBezTo>
                      <a:pt x="0" y="3"/>
                      <a:pt x="2" y="5"/>
                      <a:pt x="2" y="5"/>
                    </a:cubicBezTo>
                    <a:cubicBezTo>
                      <a:pt x="3" y="6"/>
                      <a:pt x="5" y="5"/>
                      <a:pt x="6" y="5"/>
                    </a:cubicBezTo>
                    <a:cubicBezTo>
                      <a:pt x="7" y="5"/>
                      <a:pt x="11" y="4"/>
                      <a:pt x="11" y="3"/>
                    </a:cubicBezTo>
                    <a:cubicBezTo>
                      <a:pt x="10" y="3"/>
                      <a:pt x="10" y="3"/>
                      <a:pt x="10" y="3"/>
                    </a:cubicBezTo>
                    <a:cubicBezTo>
                      <a:pt x="9" y="3"/>
                      <a:pt x="12" y="2"/>
                      <a:pt x="1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7" name="Freeform 513">
                <a:extLst>
                  <a:ext uri="{FF2B5EF4-FFF2-40B4-BE49-F238E27FC236}">
                    <a16:creationId xmlns:a16="http://schemas.microsoft.com/office/drawing/2014/main" id="{EF075AF4-2096-6A46-AEF1-E9DE87E88CFD}"/>
                  </a:ext>
                </a:extLst>
              </p:cNvPr>
              <p:cNvSpPr>
                <a:spLocks/>
              </p:cNvSpPr>
              <p:nvPr/>
            </p:nvSpPr>
            <p:spPr bwMode="auto">
              <a:xfrm>
                <a:off x="8251144" y="11804497"/>
                <a:ext cx="82803" cy="57338"/>
              </a:xfrm>
              <a:custGeom>
                <a:avLst/>
                <a:gdLst>
                  <a:gd name="T0" fmla="*/ 7 w 9"/>
                  <a:gd name="T1" fmla="*/ 3 h 6"/>
                  <a:gd name="T2" fmla="*/ 0 w 9"/>
                  <a:gd name="T3" fmla="*/ 1 h 6"/>
                  <a:gd name="T4" fmla="*/ 2 w 9"/>
                  <a:gd name="T5" fmla="*/ 2 h 6"/>
                  <a:gd name="T6" fmla="*/ 1 w 9"/>
                  <a:gd name="T7" fmla="*/ 5 h 6"/>
                  <a:gd name="T8" fmla="*/ 3 w 9"/>
                  <a:gd name="T9" fmla="*/ 5 h 6"/>
                  <a:gd name="T10" fmla="*/ 4 w 9"/>
                  <a:gd name="T11" fmla="*/ 5 h 6"/>
                  <a:gd name="T12" fmla="*/ 7 w 9"/>
                  <a:gd name="T13" fmla="*/ 3 h 6"/>
                  <a:gd name="T14" fmla="*/ 7 w 9"/>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
                    <a:moveTo>
                      <a:pt x="7" y="3"/>
                    </a:moveTo>
                    <a:cubicBezTo>
                      <a:pt x="7" y="2"/>
                      <a:pt x="0" y="0"/>
                      <a:pt x="0" y="1"/>
                    </a:cubicBezTo>
                    <a:cubicBezTo>
                      <a:pt x="0" y="1"/>
                      <a:pt x="2" y="2"/>
                      <a:pt x="2" y="2"/>
                    </a:cubicBezTo>
                    <a:cubicBezTo>
                      <a:pt x="3" y="3"/>
                      <a:pt x="1" y="4"/>
                      <a:pt x="1" y="5"/>
                    </a:cubicBezTo>
                    <a:cubicBezTo>
                      <a:pt x="1" y="6"/>
                      <a:pt x="3" y="5"/>
                      <a:pt x="3" y="5"/>
                    </a:cubicBezTo>
                    <a:cubicBezTo>
                      <a:pt x="4" y="4"/>
                      <a:pt x="3" y="5"/>
                      <a:pt x="4" y="5"/>
                    </a:cubicBezTo>
                    <a:cubicBezTo>
                      <a:pt x="5" y="6"/>
                      <a:pt x="9" y="4"/>
                      <a:pt x="7" y="3"/>
                    </a:cubicBezTo>
                    <a:cubicBezTo>
                      <a:pt x="6" y="2"/>
                      <a:pt x="8" y="3"/>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8" name="Freeform 514">
                <a:extLst>
                  <a:ext uri="{FF2B5EF4-FFF2-40B4-BE49-F238E27FC236}">
                    <a16:creationId xmlns:a16="http://schemas.microsoft.com/office/drawing/2014/main" id="{53127A63-B06F-5C4D-9544-E3038367C52F}"/>
                  </a:ext>
                </a:extLst>
              </p:cNvPr>
              <p:cNvSpPr>
                <a:spLocks/>
              </p:cNvSpPr>
              <p:nvPr/>
            </p:nvSpPr>
            <p:spPr bwMode="auto">
              <a:xfrm>
                <a:off x="8241593" y="11731231"/>
                <a:ext cx="73248" cy="44598"/>
              </a:xfrm>
              <a:custGeom>
                <a:avLst/>
                <a:gdLst>
                  <a:gd name="T0" fmla="*/ 6 w 8"/>
                  <a:gd name="T1" fmla="*/ 0 h 5"/>
                  <a:gd name="T2" fmla="*/ 3 w 8"/>
                  <a:gd name="T3" fmla="*/ 1 h 5"/>
                  <a:gd name="T4" fmla="*/ 0 w 8"/>
                  <a:gd name="T5" fmla="*/ 1 h 5"/>
                  <a:gd name="T6" fmla="*/ 0 w 8"/>
                  <a:gd name="T7" fmla="*/ 3 h 5"/>
                  <a:gd name="T8" fmla="*/ 5 w 8"/>
                  <a:gd name="T9" fmla="*/ 2 h 5"/>
                  <a:gd name="T10" fmla="*/ 6 w 8"/>
                  <a:gd name="T11" fmla="*/ 0 h 5"/>
                  <a:gd name="T12" fmla="*/ 6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6" y="0"/>
                    </a:moveTo>
                    <a:cubicBezTo>
                      <a:pt x="5" y="0"/>
                      <a:pt x="4" y="1"/>
                      <a:pt x="3" y="1"/>
                    </a:cubicBezTo>
                    <a:cubicBezTo>
                      <a:pt x="2" y="0"/>
                      <a:pt x="0" y="1"/>
                      <a:pt x="0" y="1"/>
                    </a:cubicBezTo>
                    <a:cubicBezTo>
                      <a:pt x="1" y="0"/>
                      <a:pt x="0" y="4"/>
                      <a:pt x="0" y="3"/>
                    </a:cubicBezTo>
                    <a:cubicBezTo>
                      <a:pt x="1" y="5"/>
                      <a:pt x="4" y="3"/>
                      <a:pt x="5" y="2"/>
                    </a:cubicBezTo>
                    <a:cubicBezTo>
                      <a:pt x="6" y="2"/>
                      <a:pt x="8" y="0"/>
                      <a:pt x="6" y="0"/>
                    </a:cubicBezTo>
                    <a:cubicBezTo>
                      <a:pt x="5" y="0"/>
                      <a:pt x="8" y="0"/>
                      <a:pt x="6"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39" name="Freeform 515">
                <a:extLst>
                  <a:ext uri="{FF2B5EF4-FFF2-40B4-BE49-F238E27FC236}">
                    <a16:creationId xmlns:a16="http://schemas.microsoft.com/office/drawing/2014/main" id="{F71C9817-9DF5-CC4F-ADFA-1FC62BE9B17E}"/>
                  </a:ext>
                </a:extLst>
              </p:cNvPr>
              <p:cNvSpPr>
                <a:spLocks/>
              </p:cNvSpPr>
              <p:nvPr/>
            </p:nvSpPr>
            <p:spPr bwMode="auto">
              <a:xfrm>
                <a:off x="8203376" y="11766272"/>
                <a:ext cx="76432" cy="47785"/>
              </a:xfrm>
              <a:custGeom>
                <a:avLst/>
                <a:gdLst>
                  <a:gd name="T0" fmla="*/ 7 w 8"/>
                  <a:gd name="T1" fmla="*/ 4 h 5"/>
                  <a:gd name="T2" fmla="*/ 1 w 8"/>
                  <a:gd name="T3" fmla="*/ 1 h 5"/>
                  <a:gd name="T4" fmla="*/ 7 w 8"/>
                  <a:gd name="T5" fmla="*/ 4 h 5"/>
                </a:gdLst>
                <a:ahLst/>
                <a:cxnLst>
                  <a:cxn ang="0">
                    <a:pos x="T0" y="T1"/>
                  </a:cxn>
                  <a:cxn ang="0">
                    <a:pos x="T2" y="T3"/>
                  </a:cxn>
                  <a:cxn ang="0">
                    <a:pos x="T4" y="T5"/>
                  </a:cxn>
                </a:cxnLst>
                <a:rect l="0" t="0" r="r" b="b"/>
                <a:pathLst>
                  <a:path w="8" h="5">
                    <a:moveTo>
                      <a:pt x="7" y="4"/>
                    </a:moveTo>
                    <a:cubicBezTo>
                      <a:pt x="6" y="3"/>
                      <a:pt x="0" y="0"/>
                      <a:pt x="1" y="1"/>
                    </a:cubicBezTo>
                    <a:cubicBezTo>
                      <a:pt x="2" y="2"/>
                      <a:pt x="8" y="5"/>
                      <a:pt x="7"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0" name="Freeform 516">
                <a:extLst>
                  <a:ext uri="{FF2B5EF4-FFF2-40B4-BE49-F238E27FC236}">
                    <a16:creationId xmlns:a16="http://schemas.microsoft.com/office/drawing/2014/main" id="{AC390FFD-2A02-0E47-AEAA-7EAE2DC50836}"/>
                  </a:ext>
                </a:extLst>
              </p:cNvPr>
              <p:cNvSpPr>
                <a:spLocks/>
              </p:cNvSpPr>
              <p:nvPr/>
            </p:nvSpPr>
            <p:spPr bwMode="auto">
              <a:xfrm>
                <a:off x="8184267" y="11702559"/>
                <a:ext cx="28662" cy="28669"/>
              </a:xfrm>
              <a:custGeom>
                <a:avLst/>
                <a:gdLst>
                  <a:gd name="T0" fmla="*/ 2 w 3"/>
                  <a:gd name="T1" fmla="*/ 2 h 3"/>
                  <a:gd name="T2" fmla="*/ 0 w 3"/>
                  <a:gd name="T3" fmla="*/ 1 h 3"/>
                  <a:gd name="T4" fmla="*/ 2 w 3"/>
                  <a:gd name="T5" fmla="*/ 2 h 3"/>
                  <a:gd name="T6" fmla="*/ 2 w 3"/>
                  <a:gd name="T7" fmla="*/ 2 h 3"/>
                </a:gdLst>
                <a:ahLst/>
                <a:cxnLst>
                  <a:cxn ang="0">
                    <a:pos x="T0" y="T1"/>
                  </a:cxn>
                  <a:cxn ang="0">
                    <a:pos x="T2" y="T3"/>
                  </a:cxn>
                  <a:cxn ang="0">
                    <a:pos x="T4" y="T5"/>
                  </a:cxn>
                  <a:cxn ang="0">
                    <a:pos x="T6" y="T7"/>
                  </a:cxn>
                </a:cxnLst>
                <a:rect l="0" t="0" r="r" b="b"/>
                <a:pathLst>
                  <a:path w="3" h="3">
                    <a:moveTo>
                      <a:pt x="2" y="2"/>
                    </a:moveTo>
                    <a:cubicBezTo>
                      <a:pt x="2" y="3"/>
                      <a:pt x="1" y="2"/>
                      <a:pt x="0" y="1"/>
                    </a:cubicBezTo>
                    <a:cubicBezTo>
                      <a:pt x="0" y="0"/>
                      <a:pt x="3" y="0"/>
                      <a:pt x="2" y="2"/>
                    </a:cubicBezTo>
                    <a:cubicBezTo>
                      <a:pt x="2" y="3"/>
                      <a:pt x="2" y="1"/>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1" name="Freeform 517">
                <a:extLst>
                  <a:ext uri="{FF2B5EF4-FFF2-40B4-BE49-F238E27FC236}">
                    <a16:creationId xmlns:a16="http://schemas.microsoft.com/office/drawing/2014/main" id="{751F4134-8377-0B4A-8EE0-5D9E5AEFBB5F}"/>
                  </a:ext>
                </a:extLst>
              </p:cNvPr>
              <p:cNvSpPr>
                <a:spLocks/>
              </p:cNvSpPr>
              <p:nvPr/>
            </p:nvSpPr>
            <p:spPr bwMode="auto">
              <a:xfrm>
                <a:off x="8184267" y="11626107"/>
                <a:ext cx="66879" cy="66896"/>
              </a:xfrm>
              <a:custGeom>
                <a:avLst/>
                <a:gdLst>
                  <a:gd name="T0" fmla="*/ 5 w 7"/>
                  <a:gd name="T1" fmla="*/ 2 h 7"/>
                  <a:gd name="T2" fmla="*/ 4 w 7"/>
                  <a:gd name="T3" fmla="*/ 0 h 7"/>
                  <a:gd name="T4" fmla="*/ 2 w 7"/>
                  <a:gd name="T5" fmla="*/ 1 h 7"/>
                  <a:gd name="T6" fmla="*/ 0 w 7"/>
                  <a:gd name="T7" fmla="*/ 1 h 7"/>
                  <a:gd name="T8" fmla="*/ 2 w 7"/>
                  <a:gd name="T9" fmla="*/ 4 h 7"/>
                  <a:gd name="T10" fmla="*/ 0 w 7"/>
                  <a:gd name="T11" fmla="*/ 6 h 7"/>
                  <a:gd name="T12" fmla="*/ 3 w 7"/>
                  <a:gd name="T13" fmla="*/ 5 h 7"/>
                  <a:gd name="T14" fmla="*/ 4 w 7"/>
                  <a:gd name="T15" fmla="*/ 2 h 7"/>
                  <a:gd name="T16" fmla="*/ 4 w 7"/>
                  <a:gd name="T17" fmla="*/ 4 h 7"/>
                  <a:gd name="T18" fmla="*/ 6 w 7"/>
                  <a:gd name="T19" fmla="*/ 2 h 7"/>
                  <a:gd name="T20" fmla="*/ 5 w 7"/>
                  <a:gd name="T21" fmla="*/ 2 h 7"/>
                  <a:gd name="T22" fmla="*/ 5 w 7"/>
                  <a:gd name="T2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5" y="2"/>
                    </a:moveTo>
                    <a:cubicBezTo>
                      <a:pt x="5" y="1"/>
                      <a:pt x="4" y="1"/>
                      <a:pt x="4" y="0"/>
                    </a:cubicBezTo>
                    <a:cubicBezTo>
                      <a:pt x="3" y="0"/>
                      <a:pt x="1" y="0"/>
                      <a:pt x="2" y="1"/>
                    </a:cubicBezTo>
                    <a:cubicBezTo>
                      <a:pt x="4" y="3"/>
                      <a:pt x="1" y="2"/>
                      <a:pt x="0" y="1"/>
                    </a:cubicBezTo>
                    <a:cubicBezTo>
                      <a:pt x="1" y="3"/>
                      <a:pt x="2" y="3"/>
                      <a:pt x="2" y="4"/>
                    </a:cubicBezTo>
                    <a:cubicBezTo>
                      <a:pt x="3" y="6"/>
                      <a:pt x="1" y="5"/>
                      <a:pt x="0" y="6"/>
                    </a:cubicBezTo>
                    <a:cubicBezTo>
                      <a:pt x="0" y="7"/>
                      <a:pt x="4" y="6"/>
                      <a:pt x="3" y="5"/>
                    </a:cubicBezTo>
                    <a:cubicBezTo>
                      <a:pt x="3" y="5"/>
                      <a:pt x="4" y="3"/>
                      <a:pt x="4" y="2"/>
                    </a:cubicBezTo>
                    <a:cubicBezTo>
                      <a:pt x="4" y="2"/>
                      <a:pt x="4" y="3"/>
                      <a:pt x="4" y="4"/>
                    </a:cubicBezTo>
                    <a:cubicBezTo>
                      <a:pt x="4" y="3"/>
                      <a:pt x="6" y="2"/>
                      <a:pt x="6" y="2"/>
                    </a:cubicBezTo>
                    <a:cubicBezTo>
                      <a:pt x="6" y="2"/>
                      <a:pt x="6" y="2"/>
                      <a:pt x="5" y="2"/>
                    </a:cubicBezTo>
                    <a:cubicBezTo>
                      <a:pt x="5" y="1"/>
                      <a:pt x="7" y="2"/>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2" name="Freeform 518">
                <a:extLst>
                  <a:ext uri="{FF2B5EF4-FFF2-40B4-BE49-F238E27FC236}">
                    <a16:creationId xmlns:a16="http://schemas.microsoft.com/office/drawing/2014/main" id="{A51E2180-E88F-0F40-B5E0-492658E069C3}"/>
                  </a:ext>
                </a:extLst>
              </p:cNvPr>
              <p:cNvSpPr>
                <a:spLocks/>
              </p:cNvSpPr>
              <p:nvPr/>
            </p:nvSpPr>
            <p:spPr bwMode="auto">
              <a:xfrm>
                <a:off x="8174712" y="11505057"/>
                <a:ext cx="47770" cy="101936"/>
              </a:xfrm>
              <a:custGeom>
                <a:avLst/>
                <a:gdLst>
                  <a:gd name="T0" fmla="*/ 5 w 5"/>
                  <a:gd name="T1" fmla="*/ 7 h 11"/>
                  <a:gd name="T2" fmla="*/ 2 w 5"/>
                  <a:gd name="T3" fmla="*/ 2 h 11"/>
                  <a:gd name="T4" fmla="*/ 1 w 5"/>
                  <a:gd name="T5" fmla="*/ 6 h 11"/>
                  <a:gd name="T6" fmla="*/ 0 w 5"/>
                  <a:gd name="T7" fmla="*/ 9 h 11"/>
                  <a:gd name="T8" fmla="*/ 2 w 5"/>
                  <a:gd name="T9" fmla="*/ 7 h 11"/>
                  <a:gd name="T10" fmla="*/ 5 w 5"/>
                  <a:gd name="T11" fmla="*/ 7 h 11"/>
                  <a:gd name="T12" fmla="*/ 5 w 5"/>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5" h="11">
                    <a:moveTo>
                      <a:pt x="5" y="7"/>
                    </a:moveTo>
                    <a:cubicBezTo>
                      <a:pt x="5" y="6"/>
                      <a:pt x="4" y="0"/>
                      <a:pt x="2" y="2"/>
                    </a:cubicBezTo>
                    <a:cubicBezTo>
                      <a:pt x="2" y="3"/>
                      <a:pt x="3" y="6"/>
                      <a:pt x="1" y="6"/>
                    </a:cubicBezTo>
                    <a:cubicBezTo>
                      <a:pt x="0" y="6"/>
                      <a:pt x="0" y="7"/>
                      <a:pt x="0" y="9"/>
                    </a:cubicBezTo>
                    <a:cubicBezTo>
                      <a:pt x="1" y="9"/>
                      <a:pt x="2" y="7"/>
                      <a:pt x="2" y="7"/>
                    </a:cubicBezTo>
                    <a:cubicBezTo>
                      <a:pt x="1" y="7"/>
                      <a:pt x="5" y="11"/>
                      <a:pt x="5" y="7"/>
                    </a:cubicBezTo>
                    <a:cubicBezTo>
                      <a:pt x="5" y="6"/>
                      <a:pt x="5" y="8"/>
                      <a:pt x="5"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3" name="Freeform 519">
                <a:extLst>
                  <a:ext uri="{FF2B5EF4-FFF2-40B4-BE49-F238E27FC236}">
                    <a16:creationId xmlns:a16="http://schemas.microsoft.com/office/drawing/2014/main" id="{B7048D03-B7A7-CE42-9D45-D8665DF3C142}"/>
                  </a:ext>
                </a:extLst>
              </p:cNvPr>
              <p:cNvSpPr>
                <a:spLocks/>
              </p:cNvSpPr>
              <p:nvPr/>
            </p:nvSpPr>
            <p:spPr bwMode="auto">
              <a:xfrm>
                <a:off x="8165159" y="11587880"/>
                <a:ext cx="28662" cy="57338"/>
              </a:xfrm>
              <a:custGeom>
                <a:avLst/>
                <a:gdLst>
                  <a:gd name="T0" fmla="*/ 3 w 3"/>
                  <a:gd name="T1" fmla="*/ 2 h 6"/>
                  <a:gd name="T2" fmla="*/ 1 w 3"/>
                  <a:gd name="T3" fmla="*/ 6 h 6"/>
                  <a:gd name="T4" fmla="*/ 3 w 3"/>
                  <a:gd name="T5" fmla="*/ 2 h 6"/>
                  <a:gd name="T6" fmla="*/ 3 w 3"/>
                  <a:gd name="T7" fmla="*/ 2 h 6"/>
                </a:gdLst>
                <a:ahLst/>
                <a:cxnLst>
                  <a:cxn ang="0">
                    <a:pos x="T0" y="T1"/>
                  </a:cxn>
                  <a:cxn ang="0">
                    <a:pos x="T2" y="T3"/>
                  </a:cxn>
                  <a:cxn ang="0">
                    <a:pos x="T4" y="T5"/>
                  </a:cxn>
                  <a:cxn ang="0">
                    <a:pos x="T6" y="T7"/>
                  </a:cxn>
                </a:cxnLst>
                <a:rect l="0" t="0" r="r" b="b"/>
                <a:pathLst>
                  <a:path w="3" h="6">
                    <a:moveTo>
                      <a:pt x="3" y="2"/>
                    </a:moveTo>
                    <a:cubicBezTo>
                      <a:pt x="2" y="0"/>
                      <a:pt x="0" y="5"/>
                      <a:pt x="1" y="6"/>
                    </a:cubicBezTo>
                    <a:cubicBezTo>
                      <a:pt x="0" y="5"/>
                      <a:pt x="3" y="3"/>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4" name="Freeform 520">
                <a:extLst>
                  <a:ext uri="{FF2B5EF4-FFF2-40B4-BE49-F238E27FC236}">
                    <a16:creationId xmlns:a16="http://schemas.microsoft.com/office/drawing/2014/main" id="{12424FBE-2D2F-7349-8F5C-E45D23C58446}"/>
                  </a:ext>
                </a:extLst>
              </p:cNvPr>
              <p:cNvSpPr>
                <a:spLocks/>
              </p:cNvSpPr>
              <p:nvPr/>
            </p:nvSpPr>
            <p:spPr bwMode="auto">
              <a:xfrm>
                <a:off x="8165159" y="11466830"/>
                <a:ext cx="47770" cy="66896"/>
              </a:xfrm>
              <a:custGeom>
                <a:avLst/>
                <a:gdLst>
                  <a:gd name="T0" fmla="*/ 4 w 5"/>
                  <a:gd name="T1" fmla="*/ 2 h 7"/>
                  <a:gd name="T2" fmla="*/ 3 w 5"/>
                  <a:gd name="T3" fmla="*/ 0 h 7"/>
                  <a:gd name="T4" fmla="*/ 2 w 5"/>
                  <a:gd name="T5" fmla="*/ 3 h 7"/>
                  <a:gd name="T6" fmla="*/ 1 w 5"/>
                  <a:gd name="T7" fmla="*/ 2 h 7"/>
                  <a:gd name="T8" fmla="*/ 0 w 5"/>
                  <a:gd name="T9" fmla="*/ 5 h 7"/>
                  <a:gd name="T10" fmla="*/ 2 w 5"/>
                  <a:gd name="T11" fmla="*/ 7 h 7"/>
                  <a:gd name="T12" fmla="*/ 5 w 5"/>
                  <a:gd name="T13" fmla="*/ 5 h 7"/>
                  <a:gd name="T14" fmla="*/ 4 w 5"/>
                  <a:gd name="T15" fmla="*/ 2 h 7"/>
                  <a:gd name="T16" fmla="*/ 4 w 5"/>
                  <a:gd name="T1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4" y="2"/>
                    </a:moveTo>
                    <a:cubicBezTo>
                      <a:pt x="3" y="3"/>
                      <a:pt x="3" y="0"/>
                      <a:pt x="3" y="0"/>
                    </a:cubicBezTo>
                    <a:cubicBezTo>
                      <a:pt x="3" y="0"/>
                      <a:pt x="3" y="3"/>
                      <a:pt x="2" y="3"/>
                    </a:cubicBezTo>
                    <a:cubicBezTo>
                      <a:pt x="2" y="3"/>
                      <a:pt x="2" y="2"/>
                      <a:pt x="1" y="2"/>
                    </a:cubicBezTo>
                    <a:cubicBezTo>
                      <a:pt x="2" y="2"/>
                      <a:pt x="0" y="5"/>
                      <a:pt x="0" y="5"/>
                    </a:cubicBezTo>
                    <a:cubicBezTo>
                      <a:pt x="0" y="4"/>
                      <a:pt x="4" y="5"/>
                      <a:pt x="2" y="7"/>
                    </a:cubicBezTo>
                    <a:cubicBezTo>
                      <a:pt x="3" y="6"/>
                      <a:pt x="5" y="6"/>
                      <a:pt x="5" y="5"/>
                    </a:cubicBezTo>
                    <a:cubicBezTo>
                      <a:pt x="5" y="4"/>
                      <a:pt x="4" y="1"/>
                      <a:pt x="4" y="2"/>
                    </a:cubicBezTo>
                    <a:cubicBezTo>
                      <a:pt x="3" y="3"/>
                      <a:pt x="4" y="1"/>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5" name="Freeform 521">
                <a:extLst>
                  <a:ext uri="{FF2B5EF4-FFF2-40B4-BE49-F238E27FC236}">
                    <a16:creationId xmlns:a16="http://schemas.microsoft.com/office/drawing/2014/main" id="{7B88D608-3F51-8546-B7EB-6A5CA0023BAF}"/>
                  </a:ext>
                </a:extLst>
              </p:cNvPr>
              <p:cNvSpPr>
                <a:spLocks/>
              </p:cNvSpPr>
              <p:nvPr/>
            </p:nvSpPr>
            <p:spPr bwMode="auto">
              <a:xfrm>
                <a:off x="8212931" y="11282067"/>
                <a:ext cx="47770" cy="44598"/>
              </a:xfrm>
              <a:custGeom>
                <a:avLst/>
                <a:gdLst>
                  <a:gd name="T0" fmla="*/ 3 w 5"/>
                  <a:gd name="T1" fmla="*/ 4 h 5"/>
                  <a:gd name="T2" fmla="*/ 3 w 5"/>
                  <a:gd name="T3" fmla="*/ 0 h 5"/>
                  <a:gd name="T4" fmla="*/ 0 w 5"/>
                  <a:gd name="T5" fmla="*/ 0 h 5"/>
                  <a:gd name="T6" fmla="*/ 2 w 5"/>
                  <a:gd name="T7" fmla="*/ 1 h 5"/>
                  <a:gd name="T8" fmla="*/ 3 w 5"/>
                  <a:gd name="T9" fmla="*/ 4 h 5"/>
                  <a:gd name="T10" fmla="*/ 3 w 5"/>
                  <a:gd name="T11" fmla="*/ 4 h 5"/>
                </a:gdLst>
                <a:ahLst/>
                <a:cxnLst>
                  <a:cxn ang="0">
                    <a:pos x="T0" y="T1"/>
                  </a:cxn>
                  <a:cxn ang="0">
                    <a:pos x="T2" y="T3"/>
                  </a:cxn>
                  <a:cxn ang="0">
                    <a:pos x="T4" y="T5"/>
                  </a:cxn>
                  <a:cxn ang="0">
                    <a:pos x="T6" y="T7"/>
                  </a:cxn>
                  <a:cxn ang="0">
                    <a:pos x="T8" y="T9"/>
                  </a:cxn>
                  <a:cxn ang="0">
                    <a:pos x="T10" y="T11"/>
                  </a:cxn>
                </a:cxnLst>
                <a:rect l="0" t="0" r="r" b="b"/>
                <a:pathLst>
                  <a:path w="5" h="5">
                    <a:moveTo>
                      <a:pt x="3" y="4"/>
                    </a:moveTo>
                    <a:cubicBezTo>
                      <a:pt x="5" y="2"/>
                      <a:pt x="2" y="2"/>
                      <a:pt x="3" y="0"/>
                    </a:cubicBezTo>
                    <a:cubicBezTo>
                      <a:pt x="3" y="0"/>
                      <a:pt x="1" y="0"/>
                      <a:pt x="0" y="0"/>
                    </a:cubicBezTo>
                    <a:cubicBezTo>
                      <a:pt x="0" y="0"/>
                      <a:pt x="2" y="1"/>
                      <a:pt x="2" y="1"/>
                    </a:cubicBezTo>
                    <a:cubicBezTo>
                      <a:pt x="2" y="2"/>
                      <a:pt x="3" y="4"/>
                      <a:pt x="3" y="4"/>
                    </a:cubicBezTo>
                    <a:cubicBezTo>
                      <a:pt x="4" y="3"/>
                      <a:pt x="2" y="5"/>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6" name="Freeform 522">
                <a:extLst>
                  <a:ext uri="{FF2B5EF4-FFF2-40B4-BE49-F238E27FC236}">
                    <a16:creationId xmlns:a16="http://schemas.microsoft.com/office/drawing/2014/main" id="{76FD4243-EA7F-1F49-8CA8-CEF0E732ACDF}"/>
                  </a:ext>
                </a:extLst>
              </p:cNvPr>
              <p:cNvSpPr>
                <a:spLocks/>
              </p:cNvSpPr>
              <p:nvPr/>
            </p:nvSpPr>
            <p:spPr bwMode="auto">
              <a:xfrm>
                <a:off x="8222485" y="11113235"/>
                <a:ext cx="57323" cy="101936"/>
              </a:xfrm>
              <a:custGeom>
                <a:avLst/>
                <a:gdLst>
                  <a:gd name="T0" fmla="*/ 3 w 6"/>
                  <a:gd name="T1" fmla="*/ 10 h 11"/>
                  <a:gd name="T2" fmla="*/ 0 w 6"/>
                  <a:gd name="T3" fmla="*/ 9 h 11"/>
                  <a:gd name="T4" fmla="*/ 1 w 6"/>
                  <a:gd name="T5" fmla="*/ 2 h 11"/>
                  <a:gd name="T6" fmla="*/ 4 w 6"/>
                  <a:gd name="T7" fmla="*/ 3 h 11"/>
                  <a:gd name="T8" fmla="*/ 3 w 6"/>
                  <a:gd name="T9" fmla="*/ 10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1" y="11"/>
                      <a:pt x="0" y="11"/>
                      <a:pt x="0" y="9"/>
                    </a:cubicBezTo>
                    <a:cubicBezTo>
                      <a:pt x="1" y="7"/>
                      <a:pt x="1" y="4"/>
                      <a:pt x="1" y="2"/>
                    </a:cubicBezTo>
                    <a:cubicBezTo>
                      <a:pt x="1" y="0"/>
                      <a:pt x="5" y="0"/>
                      <a:pt x="4" y="3"/>
                    </a:cubicBezTo>
                    <a:cubicBezTo>
                      <a:pt x="4" y="5"/>
                      <a:pt x="6" y="8"/>
                      <a:pt x="3" y="10"/>
                    </a:cubicBezTo>
                    <a:cubicBezTo>
                      <a:pt x="2" y="10"/>
                      <a:pt x="4" y="9"/>
                      <a:pt x="3"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7" name="Freeform 523">
                <a:extLst>
                  <a:ext uri="{FF2B5EF4-FFF2-40B4-BE49-F238E27FC236}">
                    <a16:creationId xmlns:a16="http://schemas.microsoft.com/office/drawing/2014/main" id="{AF4D68E4-3D37-664F-8583-83FF5F7E308F}"/>
                  </a:ext>
                </a:extLst>
              </p:cNvPr>
              <p:cNvSpPr>
                <a:spLocks/>
              </p:cNvSpPr>
              <p:nvPr/>
            </p:nvSpPr>
            <p:spPr bwMode="auto">
              <a:xfrm>
                <a:off x="8410382" y="8462859"/>
                <a:ext cx="44586" cy="38227"/>
              </a:xfrm>
              <a:custGeom>
                <a:avLst/>
                <a:gdLst>
                  <a:gd name="T0" fmla="*/ 3 w 5"/>
                  <a:gd name="T1" fmla="*/ 3 h 4"/>
                  <a:gd name="T2" fmla="*/ 1 w 5"/>
                  <a:gd name="T3" fmla="*/ 1 h 4"/>
                  <a:gd name="T4" fmla="*/ 3 w 5"/>
                  <a:gd name="T5" fmla="*/ 3 h 4"/>
                  <a:gd name="T6" fmla="*/ 3 w 5"/>
                  <a:gd name="T7" fmla="*/ 3 h 4"/>
                </a:gdLst>
                <a:ahLst/>
                <a:cxnLst>
                  <a:cxn ang="0">
                    <a:pos x="T0" y="T1"/>
                  </a:cxn>
                  <a:cxn ang="0">
                    <a:pos x="T2" y="T3"/>
                  </a:cxn>
                  <a:cxn ang="0">
                    <a:pos x="T4" y="T5"/>
                  </a:cxn>
                  <a:cxn ang="0">
                    <a:pos x="T6" y="T7"/>
                  </a:cxn>
                </a:cxnLst>
                <a:rect l="0" t="0" r="r" b="b"/>
                <a:pathLst>
                  <a:path w="5" h="4">
                    <a:moveTo>
                      <a:pt x="3" y="3"/>
                    </a:moveTo>
                    <a:cubicBezTo>
                      <a:pt x="2" y="4"/>
                      <a:pt x="0" y="3"/>
                      <a:pt x="1" y="1"/>
                    </a:cubicBezTo>
                    <a:cubicBezTo>
                      <a:pt x="1" y="0"/>
                      <a:pt x="5" y="2"/>
                      <a:pt x="3" y="3"/>
                    </a:cubicBezTo>
                    <a:cubicBezTo>
                      <a:pt x="2" y="4"/>
                      <a:pt x="5" y="2"/>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8" name="Freeform 524">
                <a:extLst>
                  <a:ext uri="{FF2B5EF4-FFF2-40B4-BE49-F238E27FC236}">
                    <a16:creationId xmlns:a16="http://schemas.microsoft.com/office/drawing/2014/main" id="{08B5A2D2-279E-1742-82E4-3CF99BEFC534}"/>
                  </a:ext>
                </a:extLst>
              </p:cNvPr>
              <p:cNvSpPr>
                <a:spLocks/>
              </p:cNvSpPr>
              <p:nvPr/>
            </p:nvSpPr>
            <p:spPr bwMode="auto">
              <a:xfrm>
                <a:off x="8811656" y="8520200"/>
                <a:ext cx="54139" cy="73269"/>
              </a:xfrm>
              <a:custGeom>
                <a:avLst/>
                <a:gdLst>
                  <a:gd name="T0" fmla="*/ 1 w 6"/>
                  <a:gd name="T1" fmla="*/ 5 h 8"/>
                  <a:gd name="T2" fmla="*/ 2 w 6"/>
                  <a:gd name="T3" fmla="*/ 4 h 8"/>
                  <a:gd name="T4" fmla="*/ 4 w 6"/>
                  <a:gd name="T5" fmla="*/ 2 h 8"/>
                  <a:gd name="T6" fmla="*/ 1 w 6"/>
                  <a:gd name="T7" fmla="*/ 5 h 8"/>
                  <a:gd name="T8" fmla="*/ 1 w 6"/>
                  <a:gd name="T9" fmla="*/ 5 h 8"/>
                </a:gdLst>
                <a:ahLst/>
                <a:cxnLst>
                  <a:cxn ang="0">
                    <a:pos x="T0" y="T1"/>
                  </a:cxn>
                  <a:cxn ang="0">
                    <a:pos x="T2" y="T3"/>
                  </a:cxn>
                  <a:cxn ang="0">
                    <a:pos x="T4" y="T5"/>
                  </a:cxn>
                  <a:cxn ang="0">
                    <a:pos x="T6" y="T7"/>
                  </a:cxn>
                  <a:cxn ang="0">
                    <a:pos x="T8" y="T9"/>
                  </a:cxn>
                </a:cxnLst>
                <a:rect l="0" t="0" r="r" b="b"/>
                <a:pathLst>
                  <a:path w="6" h="8">
                    <a:moveTo>
                      <a:pt x="1" y="5"/>
                    </a:moveTo>
                    <a:cubicBezTo>
                      <a:pt x="0" y="4"/>
                      <a:pt x="2" y="4"/>
                      <a:pt x="2" y="4"/>
                    </a:cubicBezTo>
                    <a:cubicBezTo>
                      <a:pt x="3" y="4"/>
                      <a:pt x="3" y="0"/>
                      <a:pt x="4" y="2"/>
                    </a:cubicBezTo>
                    <a:cubicBezTo>
                      <a:pt x="6" y="4"/>
                      <a:pt x="2" y="8"/>
                      <a:pt x="1" y="5"/>
                    </a:cubicBezTo>
                    <a:cubicBezTo>
                      <a:pt x="0" y="4"/>
                      <a:pt x="1"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49" name="Freeform 525">
                <a:extLst>
                  <a:ext uri="{FF2B5EF4-FFF2-40B4-BE49-F238E27FC236}">
                    <a16:creationId xmlns:a16="http://schemas.microsoft.com/office/drawing/2014/main" id="{07D486BE-ABAA-4449-A914-7244179F3FA5}"/>
                  </a:ext>
                </a:extLst>
              </p:cNvPr>
              <p:cNvSpPr>
                <a:spLocks/>
              </p:cNvSpPr>
              <p:nvPr/>
            </p:nvSpPr>
            <p:spPr bwMode="auto">
              <a:xfrm>
                <a:off x="9324397" y="9026702"/>
                <a:ext cx="130574" cy="121050"/>
              </a:xfrm>
              <a:custGeom>
                <a:avLst/>
                <a:gdLst>
                  <a:gd name="T0" fmla="*/ 12 w 14"/>
                  <a:gd name="T1" fmla="*/ 4 h 13"/>
                  <a:gd name="T2" fmla="*/ 10 w 14"/>
                  <a:gd name="T3" fmla="*/ 3 h 13"/>
                  <a:gd name="T4" fmla="*/ 6 w 14"/>
                  <a:gd name="T5" fmla="*/ 1 h 13"/>
                  <a:gd name="T6" fmla="*/ 2 w 14"/>
                  <a:gd name="T7" fmla="*/ 1 h 13"/>
                  <a:gd name="T8" fmla="*/ 1 w 14"/>
                  <a:gd name="T9" fmla="*/ 2 h 13"/>
                  <a:gd name="T10" fmla="*/ 2 w 14"/>
                  <a:gd name="T11" fmla="*/ 4 h 13"/>
                  <a:gd name="T12" fmla="*/ 1 w 14"/>
                  <a:gd name="T13" fmla="*/ 7 h 13"/>
                  <a:gd name="T14" fmla="*/ 2 w 14"/>
                  <a:gd name="T15" fmla="*/ 10 h 13"/>
                  <a:gd name="T16" fmla="*/ 4 w 14"/>
                  <a:gd name="T17" fmla="*/ 10 h 13"/>
                  <a:gd name="T18" fmla="*/ 7 w 14"/>
                  <a:gd name="T19" fmla="*/ 12 h 13"/>
                  <a:gd name="T20" fmla="*/ 10 w 14"/>
                  <a:gd name="T21" fmla="*/ 10 h 13"/>
                  <a:gd name="T22" fmla="*/ 12 w 14"/>
                  <a:gd name="T23" fmla="*/ 4 h 13"/>
                  <a:gd name="T24" fmla="*/ 12 w 14"/>
                  <a:gd name="T25"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3">
                    <a:moveTo>
                      <a:pt x="12" y="4"/>
                    </a:moveTo>
                    <a:cubicBezTo>
                      <a:pt x="12" y="3"/>
                      <a:pt x="11" y="3"/>
                      <a:pt x="10" y="3"/>
                    </a:cubicBezTo>
                    <a:cubicBezTo>
                      <a:pt x="8" y="2"/>
                      <a:pt x="8" y="1"/>
                      <a:pt x="6" y="1"/>
                    </a:cubicBezTo>
                    <a:cubicBezTo>
                      <a:pt x="5" y="0"/>
                      <a:pt x="3" y="0"/>
                      <a:pt x="2" y="1"/>
                    </a:cubicBezTo>
                    <a:cubicBezTo>
                      <a:pt x="2" y="1"/>
                      <a:pt x="2" y="2"/>
                      <a:pt x="1" y="2"/>
                    </a:cubicBezTo>
                    <a:cubicBezTo>
                      <a:pt x="0" y="4"/>
                      <a:pt x="1" y="3"/>
                      <a:pt x="2" y="4"/>
                    </a:cubicBezTo>
                    <a:cubicBezTo>
                      <a:pt x="2" y="4"/>
                      <a:pt x="1" y="7"/>
                      <a:pt x="1" y="7"/>
                    </a:cubicBezTo>
                    <a:cubicBezTo>
                      <a:pt x="1" y="9"/>
                      <a:pt x="1" y="9"/>
                      <a:pt x="2" y="10"/>
                    </a:cubicBezTo>
                    <a:cubicBezTo>
                      <a:pt x="3" y="11"/>
                      <a:pt x="3" y="10"/>
                      <a:pt x="4" y="10"/>
                    </a:cubicBezTo>
                    <a:cubicBezTo>
                      <a:pt x="6" y="10"/>
                      <a:pt x="5" y="12"/>
                      <a:pt x="7" y="12"/>
                    </a:cubicBezTo>
                    <a:cubicBezTo>
                      <a:pt x="9" y="13"/>
                      <a:pt x="8" y="11"/>
                      <a:pt x="10" y="10"/>
                    </a:cubicBezTo>
                    <a:cubicBezTo>
                      <a:pt x="12" y="8"/>
                      <a:pt x="14" y="7"/>
                      <a:pt x="12" y="4"/>
                    </a:cubicBezTo>
                    <a:cubicBezTo>
                      <a:pt x="12" y="2"/>
                      <a:pt x="14" y="8"/>
                      <a:pt x="1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0" name="Freeform 526">
                <a:extLst>
                  <a:ext uri="{FF2B5EF4-FFF2-40B4-BE49-F238E27FC236}">
                    <a16:creationId xmlns:a16="http://schemas.microsoft.com/office/drawing/2014/main" id="{A70FCA01-71DB-8A4F-AE7A-D8FD7ACF39C2}"/>
                  </a:ext>
                </a:extLst>
              </p:cNvPr>
              <p:cNvSpPr>
                <a:spLocks/>
              </p:cNvSpPr>
              <p:nvPr/>
            </p:nvSpPr>
            <p:spPr bwMode="auto">
              <a:xfrm>
                <a:off x="8560064" y="8163419"/>
                <a:ext cx="92356" cy="38227"/>
              </a:xfrm>
              <a:custGeom>
                <a:avLst/>
                <a:gdLst>
                  <a:gd name="T0" fmla="*/ 9 w 10"/>
                  <a:gd name="T1" fmla="*/ 2 h 4"/>
                  <a:gd name="T2" fmla="*/ 4 w 10"/>
                  <a:gd name="T3" fmla="*/ 0 h 4"/>
                  <a:gd name="T4" fmla="*/ 1 w 10"/>
                  <a:gd name="T5" fmla="*/ 3 h 4"/>
                  <a:gd name="T6" fmla="*/ 9 w 10"/>
                  <a:gd name="T7" fmla="*/ 2 h 4"/>
                  <a:gd name="T8" fmla="*/ 9 w 10"/>
                  <a:gd name="T9" fmla="*/ 2 h 4"/>
                </a:gdLst>
                <a:ahLst/>
                <a:cxnLst>
                  <a:cxn ang="0">
                    <a:pos x="T0" y="T1"/>
                  </a:cxn>
                  <a:cxn ang="0">
                    <a:pos x="T2" y="T3"/>
                  </a:cxn>
                  <a:cxn ang="0">
                    <a:pos x="T4" y="T5"/>
                  </a:cxn>
                  <a:cxn ang="0">
                    <a:pos x="T6" y="T7"/>
                  </a:cxn>
                  <a:cxn ang="0">
                    <a:pos x="T8" y="T9"/>
                  </a:cxn>
                </a:cxnLst>
                <a:rect l="0" t="0" r="r" b="b"/>
                <a:pathLst>
                  <a:path w="10" h="4">
                    <a:moveTo>
                      <a:pt x="9" y="2"/>
                    </a:moveTo>
                    <a:cubicBezTo>
                      <a:pt x="7" y="1"/>
                      <a:pt x="6" y="0"/>
                      <a:pt x="4" y="0"/>
                    </a:cubicBezTo>
                    <a:cubicBezTo>
                      <a:pt x="3" y="0"/>
                      <a:pt x="0" y="1"/>
                      <a:pt x="1" y="3"/>
                    </a:cubicBezTo>
                    <a:cubicBezTo>
                      <a:pt x="2" y="4"/>
                      <a:pt x="9" y="2"/>
                      <a:pt x="9" y="2"/>
                    </a:cubicBezTo>
                    <a:cubicBezTo>
                      <a:pt x="6" y="1"/>
                      <a:pt x="10" y="3"/>
                      <a:pt x="9"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1" name="Freeform 527">
                <a:extLst>
                  <a:ext uri="{FF2B5EF4-FFF2-40B4-BE49-F238E27FC236}">
                    <a16:creationId xmlns:a16="http://schemas.microsoft.com/office/drawing/2014/main" id="{5270C636-DBFC-1340-958D-12A20DBAA815}"/>
                  </a:ext>
                </a:extLst>
              </p:cNvPr>
              <p:cNvSpPr>
                <a:spLocks/>
              </p:cNvSpPr>
              <p:nvPr/>
            </p:nvSpPr>
            <p:spPr bwMode="auto">
              <a:xfrm>
                <a:off x="8034585" y="8153861"/>
                <a:ext cx="105096" cy="47785"/>
              </a:xfrm>
              <a:custGeom>
                <a:avLst/>
                <a:gdLst>
                  <a:gd name="T0" fmla="*/ 10 w 11"/>
                  <a:gd name="T1" fmla="*/ 4 h 5"/>
                  <a:gd name="T2" fmla="*/ 0 w 11"/>
                  <a:gd name="T3" fmla="*/ 2 h 5"/>
                  <a:gd name="T4" fmla="*/ 5 w 11"/>
                  <a:gd name="T5" fmla="*/ 5 h 5"/>
                  <a:gd name="T6" fmla="*/ 10 w 11"/>
                  <a:gd name="T7" fmla="*/ 4 h 5"/>
                  <a:gd name="T8" fmla="*/ 10 w 11"/>
                  <a:gd name="T9" fmla="*/ 4 h 5"/>
                </a:gdLst>
                <a:ahLst/>
                <a:cxnLst>
                  <a:cxn ang="0">
                    <a:pos x="T0" y="T1"/>
                  </a:cxn>
                  <a:cxn ang="0">
                    <a:pos x="T2" y="T3"/>
                  </a:cxn>
                  <a:cxn ang="0">
                    <a:pos x="T4" y="T5"/>
                  </a:cxn>
                  <a:cxn ang="0">
                    <a:pos x="T6" y="T7"/>
                  </a:cxn>
                  <a:cxn ang="0">
                    <a:pos x="T8" y="T9"/>
                  </a:cxn>
                </a:cxnLst>
                <a:rect l="0" t="0" r="r" b="b"/>
                <a:pathLst>
                  <a:path w="11" h="5">
                    <a:moveTo>
                      <a:pt x="10" y="4"/>
                    </a:moveTo>
                    <a:cubicBezTo>
                      <a:pt x="10" y="1"/>
                      <a:pt x="2" y="0"/>
                      <a:pt x="0" y="2"/>
                    </a:cubicBezTo>
                    <a:cubicBezTo>
                      <a:pt x="0" y="2"/>
                      <a:pt x="4" y="5"/>
                      <a:pt x="5" y="5"/>
                    </a:cubicBezTo>
                    <a:cubicBezTo>
                      <a:pt x="6" y="5"/>
                      <a:pt x="11" y="4"/>
                      <a:pt x="10" y="4"/>
                    </a:cubicBezTo>
                    <a:cubicBezTo>
                      <a:pt x="10" y="3"/>
                      <a:pt x="11" y="5"/>
                      <a:pt x="1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2" name="Freeform 528">
                <a:extLst>
                  <a:ext uri="{FF2B5EF4-FFF2-40B4-BE49-F238E27FC236}">
                    <a16:creationId xmlns:a16="http://schemas.microsoft.com/office/drawing/2014/main" id="{947C9C61-D3C5-E541-81D2-E990FAC12A39}"/>
                  </a:ext>
                </a:extLst>
              </p:cNvPr>
              <p:cNvSpPr>
                <a:spLocks/>
              </p:cNvSpPr>
              <p:nvPr/>
            </p:nvSpPr>
            <p:spPr bwMode="auto">
              <a:xfrm>
                <a:off x="7747963" y="7940431"/>
                <a:ext cx="484077" cy="168835"/>
              </a:xfrm>
              <a:custGeom>
                <a:avLst/>
                <a:gdLst>
                  <a:gd name="T0" fmla="*/ 52 w 52"/>
                  <a:gd name="T1" fmla="*/ 16 h 18"/>
                  <a:gd name="T2" fmla="*/ 41 w 52"/>
                  <a:gd name="T3" fmla="*/ 17 h 18"/>
                  <a:gd name="T4" fmla="*/ 35 w 52"/>
                  <a:gd name="T5" fmla="*/ 17 h 18"/>
                  <a:gd name="T6" fmla="*/ 37 w 52"/>
                  <a:gd name="T7" fmla="*/ 14 h 18"/>
                  <a:gd name="T8" fmla="*/ 32 w 52"/>
                  <a:gd name="T9" fmla="*/ 11 h 18"/>
                  <a:gd name="T10" fmla="*/ 28 w 52"/>
                  <a:gd name="T11" fmla="*/ 8 h 18"/>
                  <a:gd name="T12" fmla="*/ 20 w 52"/>
                  <a:gd name="T13" fmla="*/ 5 h 18"/>
                  <a:gd name="T14" fmla="*/ 14 w 52"/>
                  <a:gd name="T15" fmla="*/ 5 h 18"/>
                  <a:gd name="T16" fmla="*/ 16 w 52"/>
                  <a:gd name="T17" fmla="*/ 3 h 18"/>
                  <a:gd name="T18" fmla="*/ 8 w 52"/>
                  <a:gd name="T19" fmla="*/ 3 h 18"/>
                  <a:gd name="T20" fmla="*/ 0 w 52"/>
                  <a:gd name="T21" fmla="*/ 6 h 18"/>
                  <a:gd name="T22" fmla="*/ 6 w 52"/>
                  <a:gd name="T23" fmla="*/ 2 h 18"/>
                  <a:gd name="T24" fmla="*/ 16 w 52"/>
                  <a:gd name="T25" fmla="*/ 0 h 18"/>
                  <a:gd name="T26" fmla="*/ 24 w 52"/>
                  <a:gd name="T27" fmla="*/ 1 h 18"/>
                  <a:gd name="T28" fmla="*/ 31 w 52"/>
                  <a:gd name="T29" fmla="*/ 4 h 18"/>
                  <a:gd name="T30" fmla="*/ 32 w 52"/>
                  <a:gd name="T31" fmla="*/ 4 h 18"/>
                  <a:gd name="T32" fmla="*/ 34 w 52"/>
                  <a:gd name="T33" fmla="*/ 5 h 18"/>
                  <a:gd name="T34" fmla="*/ 38 w 52"/>
                  <a:gd name="T35" fmla="*/ 8 h 18"/>
                  <a:gd name="T36" fmla="*/ 45 w 52"/>
                  <a:gd name="T37" fmla="*/ 11 h 18"/>
                  <a:gd name="T38" fmla="*/ 52 w 52"/>
                  <a:gd name="T39"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 h="18">
                    <a:moveTo>
                      <a:pt x="52" y="16"/>
                    </a:moveTo>
                    <a:cubicBezTo>
                      <a:pt x="52" y="17"/>
                      <a:pt x="42" y="17"/>
                      <a:pt x="41" y="17"/>
                    </a:cubicBezTo>
                    <a:cubicBezTo>
                      <a:pt x="39" y="17"/>
                      <a:pt x="37" y="18"/>
                      <a:pt x="35" y="17"/>
                    </a:cubicBezTo>
                    <a:cubicBezTo>
                      <a:pt x="34" y="16"/>
                      <a:pt x="41" y="15"/>
                      <a:pt x="37" y="14"/>
                    </a:cubicBezTo>
                    <a:cubicBezTo>
                      <a:pt x="35" y="13"/>
                      <a:pt x="33" y="13"/>
                      <a:pt x="32" y="11"/>
                    </a:cubicBezTo>
                    <a:cubicBezTo>
                      <a:pt x="30" y="9"/>
                      <a:pt x="31" y="8"/>
                      <a:pt x="28" y="8"/>
                    </a:cubicBezTo>
                    <a:cubicBezTo>
                      <a:pt x="24" y="9"/>
                      <a:pt x="23" y="6"/>
                      <a:pt x="20" y="5"/>
                    </a:cubicBezTo>
                    <a:cubicBezTo>
                      <a:pt x="19" y="5"/>
                      <a:pt x="15" y="6"/>
                      <a:pt x="14" y="5"/>
                    </a:cubicBezTo>
                    <a:cubicBezTo>
                      <a:pt x="14" y="4"/>
                      <a:pt x="16" y="4"/>
                      <a:pt x="16" y="3"/>
                    </a:cubicBezTo>
                    <a:cubicBezTo>
                      <a:pt x="16" y="2"/>
                      <a:pt x="9" y="3"/>
                      <a:pt x="8" y="3"/>
                    </a:cubicBezTo>
                    <a:cubicBezTo>
                      <a:pt x="8" y="4"/>
                      <a:pt x="0" y="7"/>
                      <a:pt x="0" y="6"/>
                    </a:cubicBezTo>
                    <a:cubicBezTo>
                      <a:pt x="0" y="4"/>
                      <a:pt x="4" y="2"/>
                      <a:pt x="6" y="2"/>
                    </a:cubicBezTo>
                    <a:cubicBezTo>
                      <a:pt x="9" y="0"/>
                      <a:pt x="12" y="0"/>
                      <a:pt x="16" y="0"/>
                    </a:cubicBezTo>
                    <a:cubicBezTo>
                      <a:pt x="18" y="0"/>
                      <a:pt x="22" y="0"/>
                      <a:pt x="24" y="1"/>
                    </a:cubicBezTo>
                    <a:cubicBezTo>
                      <a:pt x="26" y="2"/>
                      <a:pt x="28" y="4"/>
                      <a:pt x="31" y="4"/>
                    </a:cubicBezTo>
                    <a:cubicBezTo>
                      <a:pt x="31" y="4"/>
                      <a:pt x="31" y="3"/>
                      <a:pt x="32" y="4"/>
                    </a:cubicBezTo>
                    <a:cubicBezTo>
                      <a:pt x="33" y="5"/>
                      <a:pt x="33" y="5"/>
                      <a:pt x="34" y="5"/>
                    </a:cubicBezTo>
                    <a:cubicBezTo>
                      <a:pt x="35" y="6"/>
                      <a:pt x="37" y="7"/>
                      <a:pt x="38" y="8"/>
                    </a:cubicBezTo>
                    <a:cubicBezTo>
                      <a:pt x="40" y="9"/>
                      <a:pt x="44" y="9"/>
                      <a:pt x="45" y="11"/>
                    </a:cubicBezTo>
                    <a:cubicBezTo>
                      <a:pt x="47" y="13"/>
                      <a:pt x="52" y="13"/>
                      <a:pt x="52"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3" name="Freeform 529">
                <a:extLst>
                  <a:ext uri="{FF2B5EF4-FFF2-40B4-BE49-F238E27FC236}">
                    <a16:creationId xmlns:a16="http://schemas.microsoft.com/office/drawing/2014/main" id="{5B16A678-E42D-8E42-B41F-BF7AE355DD66}"/>
                  </a:ext>
                </a:extLst>
              </p:cNvPr>
              <p:cNvSpPr>
                <a:spLocks/>
              </p:cNvSpPr>
              <p:nvPr/>
            </p:nvSpPr>
            <p:spPr bwMode="auto">
              <a:xfrm>
                <a:off x="8034585" y="7838493"/>
                <a:ext cx="38217" cy="35042"/>
              </a:xfrm>
              <a:custGeom>
                <a:avLst/>
                <a:gdLst>
                  <a:gd name="T0" fmla="*/ 2 w 4"/>
                  <a:gd name="T1" fmla="*/ 4 h 4"/>
                  <a:gd name="T2" fmla="*/ 1 w 4"/>
                  <a:gd name="T3" fmla="*/ 0 h 4"/>
                  <a:gd name="T4" fmla="*/ 2 w 4"/>
                  <a:gd name="T5" fmla="*/ 4 h 4"/>
                  <a:gd name="T6" fmla="*/ 2 w 4"/>
                  <a:gd name="T7" fmla="*/ 4 h 4"/>
                </a:gdLst>
                <a:ahLst/>
                <a:cxnLst>
                  <a:cxn ang="0">
                    <a:pos x="T0" y="T1"/>
                  </a:cxn>
                  <a:cxn ang="0">
                    <a:pos x="T2" y="T3"/>
                  </a:cxn>
                  <a:cxn ang="0">
                    <a:pos x="T4" y="T5"/>
                  </a:cxn>
                  <a:cxn ang="0">
                    <a:pos x="T6" y="T7"/>
                  </a:cxn>
                </a:cxnLst>
                <a:rect l="0" t="0" r="r" b="b"/>
                <a:pathLst>
                  <a:path w="4" h="4">
                    <a:moveTo>
                      <a:pt x="2" y="4"/>
                    </a:moveTo>
                    <a:cubicBezTo>
                      <a:pt x="0" y="4"/>
                      <a:pt x="1" y="1"/>
                      <a:pt x="1" y="0"/>
                    </a:cubicBezTo>
                    <a:cubicBezTo>
                      <a:pt x="2" y="0"/>
                      <a:pt x="4"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4" name="Freeform 530">
                <a:extLst>
                  <a:ext uri="{FF2B5EF4-FFF2-40B4-BE49-F238E27FC236}">
                    <a16:creationId xmlns:a16="http://schemas.microsoft.com/office/drawing/2014/main" id="{5735CF2B-06AE-6D4A-BF7F-C9694FA1B9A9}"/>
                  </a:ext>
                </a:extLst>
              </p:cNvPr>
              <p:cNvSpPr>
                <a:spLocks/>
              </p:cNvSpPr>
              <p:nvPr/>
            </p:nvSpPr>
            <p:spPr bwMode="auto">
              <a:xfrm>
                <a:off x="8270255" y="8032812"/>
                <a:ext cx="19109" cy="19114"/>
              </a:xfrm>
              <a:custGeom>
                <a:avLst/>
                <a:gdLst>
                  <a:gd name="T0" fmla="*/ 2 w 2"/>
                  <a:gd name="T1" fmla="*/ 1 h 2"/>
                  <a:gd name="T2" fmla="*/ 0 w 2"/>
                  <a:gd name="T3" fmla="*/ 1 h 2"/>
                  <a:gd name="T4" fmla="*/ 2 w 2"/>
                  <a:gd name="T5" fmla="*/ 1 h 2"/>
                </a:gdLst>
                <a:ahLst/>
                <a:cxnLst>
                  <a:cxn ang="0">
                    <a:pos x="T0" y="T1"/>
                  </a:cxn>
                  <a:cxn ang="0">
                    <a:pos x="T2" y="T3"/>
                  </a:cxn>
                  <a:cxn ang="0">
                    <a:pos x="T4" y="T5"/>
                  </a:cxn>
                </a:cxnLst>
                <a:rect l="0" t="0" r="r" b="b"/>
                <a:pathLst>
                  <a:path w="2" h="2">
                    <a:moveTo>
                      <a:pt x="2" y="1"/>
                    </a:moveTo>
                    <a:cubicBezTo>
                      <a:pt x="2" y="0"/>
                      <a:pt x="0" y="0"/>
                      <a:pt x="0" y="1"/>
                    </a:cubicBezTo>
                    <a:cubicBezTo>
                      <a:pt x="0" y="1"/>
                      <a:pt x="2"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5" name="Freeform 531">
                <a:extLst>
                  <a:ext uri="{FF2B5EF4-FFF2-40B4-BE49-F238E27FC236}">
                    <a16:creationId xmlns:a16="http://schemas.microsoft.com/office/drawing/2014/main" id="{CD3F9914-3F6B-284E-8328-CDF870F45A46}"/>
                  </a:ext>
                </a:extLst>
              </p:cNvPr>
              <p:cNvSpPr>
                <a:spLocks/>
              </p:cNvSpPr>
              <p:nvPr/>
            </p:nvSpPr>
            <p:spPr bwMode="auto">
              <a:xfrm>
                <a:off x="8830764" y="6656657"/>
                <a:ext cx="54139" cy="95566"/>
              </a:xfrm>
              <a:custGeom>
                <a:avLst/>
                <a:gdLst>
                  <a:gd name="T0" fmla="*/ 3 w 6"/>
                  <a:gd name="T1" fmla="*/ 8 h 10"/>
                  <a:gd name="T2" fmla="*/ 0 w 6"/>
                  <a:gd name="T3" fmla="*/ 7 h 10"/>
                  <a:gd name="T4" fmla="*/ 4 w 6"/>
                  <a:gd name="T5" fmla="*/ 2 h 10"/>
                  <a:gd name="T6" fmla="*/ 6 w 6"/>
                  <a:gd name="T7" fmla="*/ 4 h 10"/>
                  <a:gd name="T8" fmla="*/ 3 w 6"/>
                  <a:gd name="T9" fmla="*/ 8 h 10"/>
                  <a:gd name="T10" fmla="*/ 3 w 6"/>
                  <a:gd name="T11" fmla="*/ 8 h 10"/>
                </a:gdLst>
                <a:ahLst/>
                <a:cxnLst>
                  <a:cxn ang="0">
                    <a:pos x="T0" y="T1"/>
                  </a:cxn>
                  <a:cxn ang="0">
                    <a:pos x="T2" y="T3"/>
                  </a:cxn>
                  <a:cxn ang="0">
                    <a:pos x="T4" y="T5"/>
                  </a:cxn>
                  <a:cxn ang="0">
                    <a:pos x="T6" y="T7"/>
                  </a:cxn>
                  <a:cxn ang="0">
                    <a:pos x="T8" y="T9"/>
                  </a:cxn>
                  <a:cxn ang="0">
                    <a:pos x="T10" y="T11"/>
                  </a:cxn>
                </a:cxnLst>
                <a:rect l="0" t="0" r="r" b="b"/>
                <a:pathLst>
                  <a:path w="6" h="10">
                    <a:moveTo>
                      <a:pt x="3" y="8"/>
                    </a:moveTo>
                    <a:cubicBezTo>
                      <a:pt x="2" y="10"/>
                      <a:pt x="0" y="9"/>
                      <a:pt x="0" y="7"/>
                    </a:cubicBezTo>
                    <a:cubicBezTo>
                      <a:pt x="1" y="6"/>
                      <a:pt x="3" y="3"/>
                      <a:pt x="4" y="2"/>
                    </a:cubicBezTo>
                    <a:cubicBezTo>
                      <a:pt x="6" y="0"/>
                      <a:pt x="6" y="3"/>
                      <a:pt x="6" y="4"/>
                    </a:cubicBezTo>
                    <a:cubicBezTo>
                      <a:pt x="6" y="6"/>
                      <a:pt x="3" y="6"/>
                      <a:pt x="3" y="8"/>
                    </a:cubicBezTo>
                    <a:cubicBezTo>
                      <a:pt x="2" y="10"/>
                      <a:pt x="3" y="8"/>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6" name="Freeform 532">
                <a:extLst>
                  <a:ext uri="{FF2B5EF4-FFF2-40B4-BE49-F238E27FC236}">
                    <a16:creationId xmlns:a16="http://schemas.microsoft.com/office/drawing/2014/main" id="{09936061-639F-164C-9889-7E909FDEABB6}"/>
                  </a:ext>
                </a:extLst>
              </p:cNvPr>
              <p:cNvSpPr>
                <a:spLocks/>
              </p:cNvSpPr>
              <p:nvPr/>
            </p:nvSpPr>
            <p:spPr bwMode="auto">
              <a:xfrm>
                <a:off x="8856242" y="6704440"/>
                <a:ext cx="66879" cy="38227"/>
              </a:xfrm>
              <a:custGeom>
                <a:avLst/>
                <a:gdLst>
                  <a:gd name="T0" fmla="*/ 3 w 7"/>
                  <a:gd name="T1" fmla="*/ 4 h 4"/>
                  <a:gd name="T2" fmla="*/ 5 w 7"/>
                  <a:gd name="T3" fmla="*/ 1 h 4"/>
                  <a:gd name="T4" fmla="*/ 3 w 7"/>
                  <a:gd name="T5" fmla="*/ 4 h 4"/>
                  <a:gd name="T6" fmla="*/ 3 w 7"/>
                  <a:gd name="T7" fmla="*/ 4 h 4"/>
                </a:gdLst>
                <a:ahLst/>
                <a:cxnLst>
                  <a:cxn ang="0">
                    <a:pos x="T0" y="T1"/>
                  </a:cxn>
                  <a:cxn ang="0">
                    <a:pos x="T2" y="T3"/>
                  </a:cxn>
                  <a:cxn ang="0">
                    <a:pos x="T4" y="T5"/>
                  </a:cxn>
                  <a:cxn ang="0">
                    <a:pos x="T6" y="T7"/>
                  </a:cxn>
                </a:cxnLst>
                <a:rect l="0" t="0" r="r" b="b"/>
                <a:pathLst>
                  <a:path w="7" h="4">
                    <a:moveTo>
                      <a:pt x="3" y="4"/>
                    </a:moveTo>
                    <a:cubicBezTo>
                      <a:pt x="0" y="4"/>
                      <a:pt x="3" y="0"/>
                      <a:pt x="5" y="1"/>
                    </a:cubicBezTo>
                    <a:cubicBezTo>
                      <a:pt x="7" y="1"/>
                      <a:pt x="4" y="4"/>
                      <a:pt x="3" y="4"/>
                    </a:cubicBezTo>
                    <a:cubicBezTo>
                      <a:pt x="2" y="4"/>
                      <a:pt x="4" y="4"/>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7" name="Freeform 533">
                <a:extLst>
                  <a:ext uri="{FF2B5EF4-FFF2-40B4-BE49-F238E27FC236}">
                    <a16:creationId xmlns:a16="http://schemas.microsoft.com/office/drawing/2014/main" id="{A38B662B-7D9D-7E43-B6BD-C4ED881EB050}"/>
                  </a:ext>
                </a:extLst>
              </p:cNvPr>
              <p:cNvSpPr>
                <a:spLocks/>
              </p:cNvSpPr>
              <p:nvPr/>
            </p:nvSpPr>
            <p:spPr bwMode="auto">
              <a:xfrm>
                <a:off x="8671526" y="6666212"/>
                <a:ext cx="140127" cy="66896"/>
              </a:xfrm>
              <a:custGeom>
                <a:avLst/>
                <a:gdLst>
                  <a:gd name="T0" fmla="*/ 11 w 15"/>
                  <a:gd name="T1" fmla="*/ 6 h 7"/>
                  <a:gd name="T2" fmla="*/ 10 w 15"/>
                  <a:gd name="T3" fmla="*/ 5 h 7"/>
                  <a:gd name="T4" fmla="*/ 7 w 15"/>
                  <a:gd name="T5" fmla="*/ 5 h 7"/>
                  <a:gd name="T6" fmla="*/ 3 w 15"/>
                  <a:gd name="T7" fmla="*/ 0 h 7"/>
                  <a:gd name="T8" fmla="*/ 6 w 15"/>
                  <a:gd name="T9" fmla="*/ 2 h 7"/>
                  <a:gd name="T10" fmla="*/ 8 w 15"/>
                  <a:gd name="T11" fmla="*/ 3 h 7"/>
                  <a:gd name="T12" fmla="*/ 15 w 15"/>
                  <a:gd name="T13" fmla="*/ 3 h 7"/>
                  <a:gd name="T14" fmla="*/ 11 w 15"/>
                  <a:gd name="T15" fmla="*/ 6 h 7"/>
                  <a:gd name="T16" fmla="*/ 11 w 15"/>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11" y="6"/>
                    </a:moveTo>
                    <a:cubicBezTo>
                      <a:pt x="10" y="6"/>
                      <a:pt x="10" y="6"/>
                      <a:pt x="10" y="5"/>
                    </a:cubicBezTo>
                    <a:cubicBezTo>
                      <a:pt x="10" y="5"/>
                      <a:pt x="8" y="6"/>
                      <a:pt x="7" y="5"/>
                    </a:cubicBezTo>
                    <a:cubicBezTo>
                      <a:pt x="7" y="4"/>
                      <a:pt x="0" y="1"/>
                      <a:pt x="3" y="0"/>
                    </a:cubicBezTo>
                    <a:cubicBezTo>
                      <a:pt x="4" y="0"/>
                      <a:pt x="5" y="2"/>
                      <a:pt x="6" y="2"/>
                    </a:cubicBezTo>
                    <a:cubicBezTo>
                      <a:pt x="7" y="3"/>
                      <a:pt x="7" y="2"/>
                      <a:pt x="8" y="3"/>
                    </a:cubicBezTo>
                    <a:cubicBezTo>
                      <a:pt x="9" y="4"/>
                      <a:pt x="13" y="2"/>
                      <a:pt x="15" y="3"/>
                    </a:cubicBezTo>
                    <a:cubicBezTo>
                      <a:pt x="14" y="3"/>
                      <a:pt x="12" y="6"/>
                      <a:pt x="11" y="6"/>
                    </a:cubicBezTo>
                    <a:cubicBezTo>
                      <a:pt x="9" y="7"/>
                      <a:pt x="12" y="6"/>
                      <a:pt x="1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8" name="Freeform 534">
                <a:extLst>
                  <a:ext uri="{FF2B5EF4-FFF2-40B4-BE49-F238E27FC236}">
                    <a16:creationId xmlns:a16="http://schemas.microsoft.com/office/drawing/2014/main" id="{0E2E1AA5-1B66-9A4D-AD3C-87C4359919BA}"/>
                  </a:ext>
                </a:extLst>
              </p:cNvPr>
              <p:cNvSpPr>
                <a:spLocks/>
              </p:cNvSpPr>
              <p:nvPr/>
            </p:nvSpPr>
            <p:spPr bwMode="auto">
              <a:xfrm>
                <a:off x="8700193" y="6481449"/>
                <a:ext cx="146495" cy="73269"/>
              </a:xfrm>
              <a:custGeom>
                <a:avLst/>
                <a:gdLst>
                  <a:gd name="T0" fmla="*/ 13 w 16"/>
                  <a:gd name="T1" fmla="*/ 6 h 8"/>
                  <a:gd name="T2" fmla="*/ 0 w 16"/>
                  <a:gd name="T3" fmla="*/ 2 h 8"/>
                  <a:gd name="T4" fmla="*/ 13 w 16"/>
                  <a:gd name="T5" fmla="*/ 6 h 8"/>
                  <a:gd name="T6" fmla="*/ 13 w 16"/>
                  <a:gd name="T7" fmla="*/ 6 h 8"/>
                </a:gdLst>
                <a:ahLst/>
                <a:cxnLst>
                  <a:cxn ang="0">
                    <a:pos x="T0" y="T1"/>
                  </a:cxn>
                  <a:cxn ang="0">
                    <a:pos x="T2" y="T3"/>
                  </a:cxn>
                  <a:cxn ang="0">
                    <a:pos x="T4" y="T5"/>
                  </a:cxn>
                  <a:cxn ang="0">
                    <a:pos x="T6" y="T7"/>
                  </a:cxn>
                </a:cxnLst>
                <a:rect l="0" t="0" r="r" b="b"/>
                <a:pathLst>
                  <a:path w="16" h="8">
                    <a:moveTo>
                      <a:pt x="13" y="6"/>
                    </a:moveTo>
                    <a:cubicBezTo>
                      <a:pt x="11" y="8"/>
                      <a:pt x="1" y="4"/>
                      <a:pt x="0" y="2"/>
                    </a:cubicBezTo>
                    <a:cubicBezTo>
                      <a:pt x="0" y="0"/>
                      <a:pt x="16" y="4"/>
                      <a:pt x="13" y="6"/>
                    </a:cubicBezTo>
                    <a:cubicBezTo>
                      <a:pt x="12" y="7"/>
                      <a:pt x="14" y="5"/>
                      <a:pt x="13"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59" name="Freeform 535">
                <a:extLst>
                  <a:ext uri="{FF2B5EF4-FFF2-40B4-BE49-F238E27FC236}">
                    <a16:creationId xmlns:a16="http://schemas.microsoft.com/office/drawing/2014/main" id="{E080F111-15FE-F645-AE8C-B72CD10CBEE0}"/>
                  </a:ext>
                </a:extLst>
              </p:cNvPr>
              <p:cNvSpPr>
                <a:spLocks/>
              </p:cNvSpPr>
              <p:nvPr/>
            </p:nvSpPr>
            <p:spPr bwMode="auto">
              <a:xfrm>
                <a:off x="8932676" y="6385884"/>
                <a:ext cx="299364" cy="289884"/>
              </a:xfrm>
              <a:custGeom>
                <a:avLst/>
                <a:gdLst>
                  <a:gd name="T0" fmla="*/ 19 w 32"/>
                  <a:gd name="T1" fmla="*/ 1 h 31"/>
                  <a:gd name="T2" fmla="*/ 17 w 32"/>
                  <a:gd name="T3" fmla="*/ 0 h 31"/>
                  <a:gd name="T4" fmla="*/ 14 w 32"/>
                  <a:gd name="T5" fmla="*/ 2 h 31"/>
                  <a:gd name="T6" fmla="*/ 11 w 32"/>
                  <a:gd name="T7" fmla="*/ 5 h 31"/>
                  <a:gd name="T8" fmla="*/ 9 w 32"/>
                  <a:gd name="T9" fmla="*/ 7 h 31"/>
                  <a:gd name="T10" fmla="*/ 7 w 32"/>
                  <a:gd name="T11" fmla="*/ 13 h 31"/>
                  <a:gd name="T12" fmla="*/ 5 w 32"/>
                  <a:gd name="T13" fmla="*/ 17 h 31"/>
                  <a:gd name="T14" fmla="*/ 2 w 32"/>
                  <a:gd name="T15" fmla="*/ 19 h 31"/>
                  <a:gd name="T16" fmla="*/ 4 w 32"/>
                  <a:gd name="T17" fmla="*/ 21 h 31"/>
                  <a:gd name="T18" fmla="*/ 0 w 32"/>
                  <a:gd name="T19" fmla="*/ 25 h 31"/>
                  <a:gd name="T20" fmla="*/ 4 w 32"/>
                  <a:gd name="T21" fmla="*/ 25 h 31"/>
                  <a:gd name="T22" fmla="*/ 10 w 32"/>
                  <a:gd name="T23" fmla="*/ 26 h 31"/>
                  <a:gd name="T24" fmla="*/ 19 w 32"/>
                  <a:gd name="T25" fmla="*/ 27 h 31"/>
                  <a:gd name="T26" fmla="*/ 22 w 32"/>
                  <a:gd name="T27" fmla="*/ 26 h 31"/>
                  <a:gd name="T28" fmla="*/ 19 w 32"/>
                  <a:gd name="T29" fmla="*/ 30 h 31"/>
                  <a:gd name="T30" fmla="*/ 22 w 32"/>
                  <a:gd name="T31" fmla="*/ 28 h 31"/>
                  <a:gd name="T32" fmla="*/ 27 w 32"/>
                  <a:gd name="T33" fmla="*/ 26 h 31"/>
                  <a:gd name="T34" fmla="*/ 32 w 32"/>
                  <a:gd name="T35" fmla="*/ 20 h 31"/>
                  <a:gd name="T36" fmla="*/ 29 w 32"/>
                  <a:gd name="T37" fmla="*/ 20 h 31"/>
                  <a:gd name="T38" fmla="*/ 26 w 32"/>
                  <a:gd name="T39" fmla="*/ 18 h 31"/>
                  <a:gd name="T40" fmla="*/ 29 w 32"/>
                  <a:gd name="T41" fmla="*/ 15 h 31"/>
                  <a:gd name="T42" fmla="*/ 26 w 32"/>
                  <a:gd name="T43" fmla="*/ 15 h 31"/>
                  <a:gd name="T44" fmla="*/ 24 w 32"/>
                  <a:gd name="T45" fmla="*/ 13 h 31"/>
                  <a:gd name="T46" fmla="*/ 21 w 32"/>
                  <a:gd name="T47" fmla="*/ 16 h 31"/>
                  <a:gd name="T48" fmla="*/ 18 w 32"/>
                  <a:gd name="T49" fmla="*/ 13 h 31"/>
                  <a:gd name="T50" fmla="*/ 19 w 32"/>
                  <a:gd name="T51" fmla="*/ 11 h 31"/>
                  <a:gd name="T52" fmla="*/ 16 w 32"/>
                  <a:gd name="T53" fmla="*/ 9 h 31"/>
                  <a:gd name="T54" fmla="*/ 14 w 32"/>
                  <a:gd name="T55" fmla="*/ 12 h 31"/>
                  <a:gd name="T56" fmla="*/ 16 w 32"/>
                  <a:gd name="T57" fmla="*/ 7 h 31"/>
                  <a:gd name="T58" fmla="*/ 18 w 32"/>
                  <a:gd name="T59" fmla="*/ 4 h 31"/>
                  <a:gd name="T60" fmla="*/ 18 w 32"/>
                  <a:gd name="T61" fmla="*/ 2 h 31"/>
                  <a:gd name="T62" fmla="*/ 19 w 32"/>
                  <a:gd name="T63" fmla="*/ 1 h 31"/>
                  <a:gd name="T64" fmla="*/ 19 w 32"/>
                  <a:gd name="T65" fmla="*/ 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1">
                    <a:moveTo>
                      <a:pt x="19" y="1"/>
                    </a:moveTo>
                    <a:cubicBezTo>
                      <a:pt x="20" y="0"/>
                      <a:pt x="17" y="0"/>
                      <a:pt x="17" y="0"/>
                    </a:cubicBezTo>
                    <a:cubicBezTo>
                      <a:pt x="16" y="0"/>
                      <a:pt x="15" y="1"/>
                      <a:pt x="14" y="2"/>
                    </a:cubicBezTo>
                    <a:cubicBezTo>
                      <a:pt x="13" y="3"/>
                      <a:pt x="12" y="4"/>
                      <a:pt x="11" y="5"/>
                    </a:cubicBezTo>
                    <a:cubicBezTo>
                      <a:pt x="11" y="6"/>
                      <a:pt x="10" y="7"/>
                      <a:pt x="9" y="7"/>
                    </a:cubicBezTo>
                    <a:cubicBezTo>
                      <a:pt x="9" y="9"/>
                      <a:pt x="8" y="11"/>
                      <a:pt x="7" y="13"/>
                    </a:cubicBezTo>
                    <a:cubicBezTo>
                      <a:pt x="7" y="15"/>
                      <a:pt x="6" y="16"/>
                      <a:pt x="5" y="17"/>
                    </a:cubicBezTo>
                    <a:cubicBezTo>
                      <a:pt x="4" y="18"/>
                      <a:pt x="2" y="19"/>
                      <a:pt x="2" y="19"/>
                    </a:cubicBezTo>
                    <a:cubicBezTo>
                      <a:pt x="2" y="20"/>
                      <a:pt x="4" y="20"/>
                      <a:pt x="4" y="21"/>
                    </a:cubicBezTo>
                    <a:cubicBezTo>
                      <a:pt x="4" y="22"/>
                      <a:pt x="0" y="24"/>
                      <a:pt x="0" y="25"/>
                    </a:cubicBezTo>
                    <a:cubicBezTo>
                      <a:pt x="0" y="27"/>
                      <a:pt x="3" y="26"/>
                      <a:pt x="4" y="25"/>
                    </a:cubicBezTo>
                    <a:cubicBezTo>
                      <a:pt x="6" y="25"/>
                      <a:pt x="8" y="26"/>
                      <a:pt x="10" y="26"/>
                    </a:cubicBezTo>
                    <a:cubicBezTo>
                      <a:pt x="13" y="27"/>
                      <a:pt x="16" y="26"/>
                      <a:pt x="19" y="27"/>
                    </a:cubicBezTo>
                    <a:cubicBezTo>
                      <a:pt x="19" y="27"/>
                      <a:pt x="22" y="25"/>
                      <a:pt x="22" y="26"/>
                    </a:cubicBezTo>
                    <a:cubicBezTo>
                      <a:pt x="22" y="27"/>
                      <a:pt x="19" y="30"/>
                      <a:pt x="19" y="30"/>
                    </a:cubicBezTo>
                    <a:cubicBezTo>
                      <a:pt x="20" y="31"/>
                      <a:pt x="22" y="28"/>
                      <a:pt x="22" y="28"/>
                    </a:cubicBezTo>
                    <a:cubicBezTo>
                      <a:pt x="24" y="27"/>
                      <a:pt x="26" y="27"/>
                      <a:pt x="27" y="26"/>
                    </a:cubicBezTo>
                    <a:cubicBezTo>
                      <a:pt x="27" y="25"/>
                      <a:pt x="32" y="20"/>
                      <a:pt x="32" y="20"/>
                    </a:cubicBezTo>
                    <a:cubicBezTo>
                      <a:pt x="31" y="19"/>
                      <a:pt x="30" y="20"/>
                      <a:pt x="29" y="20"/>
                    </a:cubicBezTo>
                    <a:cubicBezTo>
                      <a:pt x="29" y="20"/>
                      <a:pt x="26" y="18"/>
                      <a:pt x="26" y="18"/>
                    </a:cubicBezTo>
                    <a:cubicBezTo>
                      <a:pt x="26" y="17"/>
                      <a:pt x="30" y="16"/>
                      <a:pt x="29" y="15"/>
                    </a:cubicBezTo>
                    <a:cubicBezTo>
                      <a:pt x="29" y="14"/>
                      <a:pt x="27" y="15"/>
                      <a:pt x="26" y="15"/>
                    </a:cubicBezTo>
                    <a:cubicBezTo>
                      <a:pt x="25" y="15"/>
                      <a:pt x="25" y="13"/>
                      <a:pt x="24" y="13"/>
                    </a:cubicBezTo>
                    <a:cubicBezTo>
                      <a:pt x="24" y="13"/>
                      <a:pt x="21" y="16"/>
                      <a:pt x="21" y="16"/>
                    </a:cubicBezTo>
                    <a:cubicBezTo>
                      <a:pt x="20" y="14"/>
                      <a:pt x="20" y="14"/>
                      <a:pt x="18" y="13"/>
                    </a:cubicBezTo>
                    <a:cubicBezTo>
                      <a:pt x="16" y="12"/>
                      <a:pt x="19" y="12"/>
                      <a:pt x="19" y="11"/>
                    </a:cubicBezTo>
                    <a:cubicBezTo>
                      <a:pt x="19" y="11"/>
                      <a:pt x="17" y="9"/>
                      <a:pt x="16" y="9"/>
                    </a:cubicBezTo>
                    <a:cubicBezTo>
                      <a:pt x="16" y="10"/>
                      <a:pt x="14" y="13"/>
                      <a:pt x="14" y="12"/>
                    </a:cubicBezTo>
                    <a:cubicBezTo>
                      <a:pt x="12" y="11"/>
                      <a:pt x="15" y="7"/>
                      <a:pt x="16" y="7"/>
                    </a:cubicBezTo>
                    <a:cubicBezTo>
                      <a:pt x="17" y="6"/>
                      <a:pt x="17" y="5"/>
                      <a:pt x="18" y="4"/>
                    </a:cubicBezTo>
                    <a:cubicBezTo>
                      <a:pt x="18" y="3"/>
                      <a:pt x="18" y="2"/>
                      <a:pt x="18" y="2"/>
                    </a:cubicBezTo>
                    <a:cubicBezTo>
                      <a:pt x="18" y="2"/>
                      <a:pt x="19" y="1"/>
                      <a:pt x="19" y="1"/>
                    </a:cubicBezTo>
                    <a:cubicBezTo>
                      <a:pt x="20" y="0"/>
                      <a:pt x="19" y="1"/>
                      <a:pt x="1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0" name="Freeform 536">
                <a:extLst>
                  <a:ext uri="{FF2B5EF4-FFF2-40B4-BE49-F238E27FC236}">
                    <a16:creationId xmlns:a16="http://schemas.microsoft.com/office/drawing/2014/main" id="{7143EE67-3F32-524B-9D39-54F18F79E1A7}"/>
                  </a:ext>
                </a:extLst>
              </p:cNvPr>
              <p:cNvSpPr>
                <a:spLocks/>
              </p:cNvSpPr>
              <p:nvPr/>
            </p:nvSpPr>
            <p:spPr bwMode="auto">
              <a:xfrm>
                <a:off x="9174715" y="6592943"/>
                <a:ext cx="76432" cy="92380"/>
              </a:xfrm>
              <a:custGeom>
                <a:avLst/>
                <a:gdLst>
                  <a:gd name="T0" fmla="*/ 6 w 8"/>
                  <a:gd name="T1" fmla="*/ 1 h 10"/>
                  <a:gd name="T2" fmla="*/ 1 w 8"/>
                  <a:gd name="T3" fmla="*/ 9 h 10"/>
                  <a:gd name="T4" fmla="*/ 4 w 8"/>
                  <a:gd name="T5" fmla="*/ 7 h 10"/>
                  <a:gd name="T6" fmla="*/ 3 w 8"/>
                  <a:gd name="T7" fmla="*/ 10 h 10"/>
                  <a:gd name="T8" fmla="*/ 6 w 8"/>
                  <a:gd name="T9" fmla="*/ 8 h 10"/>
                  <a:gd name="T10" fmla="*/ 8 w 8"/>
                  <a:gd name="T11" fmla="*/ 4 h 10"/>
                  <a:gd name="T12" fmla="*/ 5 w 8"/>
                  <a:gd name="T13" fmla="*/ 4 h 10"/>
                  <a:gd name="T14" fmla="*/ 6 w 8"/>
                  <a:gd name="T15" fmla="*/ 1 h 10"/>
                  <a:gd name="T16" fmla="*/ 6 w 8"/>
                  <a:gd name="T17"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0">
                    <a:moveTo>
                      <a:pt x="6" y="1"/>
                    </a:moveTo>
                    <a:cubicBezTo>
                      <a:pt x="5" y="2"/>
                      <a:pt x="0" y="6"/>
                      <a:pt x="1" y="9"/>
                    </a:cubicBezTo>
                    <a:cubicBezTo>
                      <a:pt x="1" y="9"/>
                      <a:pt x="3" y="6"/>
                      <a:pt x="4" y="7"/>
                    </a:cubicBezTo>
                    <a:cubicBezTo>
                      <a:pt x="4" y="7"/>
                      <a:pt x="3" y="10"/>
                      <a:pt x="3" y="10"/>
                    </a:cubicBezTo>
                    <a:cubicBezTo>
                      <a:pt x="4" y="10"/>
                      <a:pt x="6" y="9"/>
                      <a:pt x="6" y="8"/>
                    </a:cubicBezTo>
                    <a:cubicBezTo>
                      <a:pt x="6" y="7"/>
                      <a:pt x="7" y="6"/>
                      <a:pt x="8" y="4"/>
                    </a:cubicBezTo>
                    <a:cubicBezTo>
                      <a:pt x="8" y="2"/>
                      <a:pt x="6" y="4"/>
                      <a:pt x="5" y="4"/>
                    </a:cubicBezTo>
                    <a:cubicBezTo>
                      <a:pt x="6" y="4"/>
                      <a:pt x="6" y="0"/>
                      <a:pt x="6" y="1"/>
                    </a:cubicBezTo>
                    <a:cubicBezTo>
                      <a:pt x="5" y="1"/>
                      <a:pt x="7" y="0"/>
                      <a:pt x="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1" name="Freeform 537">
                <a:extLst>
                  <a:ext uri="{FF2B5EF4-FFF2-40B4-BE49-F238E27FC236}">
                    <a16:creationId xmlns:a16="http://schemas.microsoft.com/office/drawing/2014/main" id="{126D4BD0-43A8-8847-8CE4-FF36D63E4223}"/>
                  </a:ext>
                </a:extLst>
              </p:cNvPr>
              <p:cNvSpPr>
                <a:spLocks/>
              </p:cNvSpPr>
              <p:nvPr/>
            </p:nvSpPr>
            <p:spPr bwMode="auto">
              <a:xfrm>
                <a:off x="8652423" y="5694619"/>
                <a:ext cx="28662" cy="54153"/>
              </a:xfrm>
              <a:custGeom>
                <a:avLst/>
                <a:gdLst>
                  <a:gd name="T0" fmla="*/ 3 w 3"/>
                  <a:gd name="T1" fmla="*/ 4 h 6"/>
                  <a:gd name="T2" fmla="*/ 1 w 3"/>
                  <a:gd name="T3" fmla="*/ 1 h 6"/>
                  <a:gd name="T4" fmla="*/ 1 w 3"/>
                  <a:gd name="T5" fmla="*/ 2 h 6"/>
                  <a:gd name="T6" fmla="*/ 0 w 3"/>
                  <a:gd name="T7" fmla="*/ 2 h 6"/>
                  <a:gd name="T8" fmla="*/ 3 w 3"/>
                  <a:gd name="T9" fmla="*/ 4 h 6"/>
                  <a:gd name="T10" fmla="*/ 3 w 3"/>
                  <a:gd name="T11" fmla="*/ 4 h 6"/>
                </a:gdLst>
                <a:ahLst/>
                <a:cxnLst>
                  <a:cxn ang="0">
                    <a:pos x="T0" y="T1"/>
                  </a:cxn>
                  <a:cxn ang="0">
                    <a:pos x="T2" y="T3"/>
                  </a:cxn>
                  <a:cxn ang="0">
                    <a:pos x="T4" y="T5"/>
                  </a:cxn>
                  <a:cxn ang="0">
                    <a:pos x="T6" y="T7"/>
                  </a:cxn>
                  <a:cxn ang="0">
                    <a:pos x="T8" y="T9"/>
                  </a:cxn>
                  <a:cxn ang="0">
                    <a:pos x="T10" y="T11"/>
                  </a:cxn>
                </a:cxnLst>
                <a:rect l="0" t="0" r="r" b="b"/>
                <a:pathLst>
                  <a:path w="3" h="6">
                    <a:moveTo>
                      <a:pt x="3" y="4"/>
                    </a:moveTo>
                    <a:cubicBezTo>
                      <a:pt x="3" y="3"/>
                      <a:pt x="1" y="0"/>
                      <a:pt x="1" y="1"/>
                    </a:cubicBezTo>
                    <a:cubicBezTo>
                      <a:pt x="1" y="1"/>
                      <a:pt x="1" y="1"/>
                      <a:pt x="1" y="2"/>
                    </a:cubicBezTo>
                    <a:cubicBezTo>
                      <a:pt x="1" y="2"/>
                      <a:pt x="0" y="2"/>
                      <a:pt x="0" y="2"/>
                    </a:cubicBezTo>
                    <a:cubicBezTo>
                      <a:pt x="0" y="2"/>
                      <a:pt x="3" y="6"/>
                      <a:pt x="3" y="4"/>
                    </a:cubicBezTo>
                    <a:cubicBezTo>
                      <a:pt x="3" y="3"/>
                      <a:pt x="3" y="6"/>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2" name="Freeform 538">
                <a:extLst>
                  <a:ext uri="{FF2B5EF4-FFF2-40B4-BE49-F238E27FC236}">
                    <a16:creationId xmlns:a16="http://schemas.microsoft.com/office/drawing/2014/main" id="{C529BD20-2646-4541-B065-BA0A3020B946}"/>
                  </a:ext>
                </a:extLst>
              </p:cNvPr>
              <p:cNvSpPr>
                <a:spLocks/>
              </p:cNvSpPr>
              <p:nvPr/>
            </p:nvSpPr>
            <p:spPr bwMode="auto">
              <a:xfrm>
                <a:off x="8512296" y="5787002"/>
                <a:ext cx="28662" cy="28669"/>
              </a:xfrm>
              <a:custGeom>
                <a:avLst/>
                <a:gdLst>
                  <a:gd name="T0" fmla="*/ 2 w 3"/>
                  <a:gd name="T1" fmla="*/ 1 h 3"/>
                  <a:gd name="T2" fmla="*/ 0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2"/>
                      <a:pt x="0" y="2"/>
                    </a:cubicBezTo>
                    <a:cubicBezTo>
                      <a:pt x="1" y="3"/>
                      <a:pt x="3"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3" name="Freeform 539">
                <a:extLst>
                  <a:ext uri="{FF2B5EF4-FFF2-40B4-BE49-F238E27FC236}">
                    <a16:creationId xmlns:a16="http://schemas.microsoft.com/office/drawing/2014/main" id="{0CFE4B14-E43B-0641-8D7B-FF302E1F6943}"/>
                  </a:ext>
                </a:extLst>
              </p:cNvPr>
              <p:cNvSpPr>
                <a:spLocks/>
              </p:cNvSpPr>
              <p:nvPr/>
            </p:nvSpPr>
            <p:spPr bwMode="auto">
              <a:xfrm>
                <a:off x="7868981" y="6283948"/>
                <a:ext cx="63695" cy="38227"/>
              </a:xfrm>
              <a:custGeom>
                <a:avLst/>
                <a:gdLst>
                  <a:gd name="T0" fmla="*/ 7 w 7"/>
                  <a:gd name="T1" fmla="*/ 3 h 4"/>
                  <a:gd name="T2" fmla="*/ 1 w 7"/>
                  <a:gd name="T3" fmla="*/ 1 h 4"/>
                  <a:gd name="T4" fmla="*/ 7 w 7"/>
                  <a:gd name="T5" fmla="*/ 3 h 4"/>
                  <a:gd name="T6" fmla="*/ 7 w 7"/>
                  <a:gd name="T7" fmla="*/ 3 h 4"/>
                </a:gdLst>
                <a:ahLst/>
                <a:cxnLst>
                  <a:cxn ang="0">
                    <a:pos x="T0" y="T1"/>
                  </a:cxn>
                  <a:cxn ang="0">
                    <a:pos x="T2" y="T3"/>
                  </a:cxn>
                  <a:cxn ang="0">
                    <a:pos x="T4" y="T5"/>
                  </a:cxn>
                  <a:cxn ang="0">
                    <a:pos x="T6" y="T7"/>
                  </a:cxn>
                </a:cxnLst>
                <a:rect l="0" t="0" r="r" b="b"/>
                <a:pathLst>
                  <a:path w="7" h="4">
                    <a:moveTo>
                      <a:pt x="7" y="3"/>
                    </a:moveTo>
                    <a:cubicBezTo>
                      <a:pt x="7" y="0"/>
                      <a:pt x="3" y="0"/>
                      <a:pt x="1" y="1"/>
                    </a:cubicBezTo>
                    <a:cubicBezTo>
                      <a:pt x="0" y="1"/>
                      <a:pt x="7" y="4"/>
                      <a:pt x="7" y="3"/>
                    </a:cubicBezTo>
                    <a:cubicBezTo>
                      <a:pt x="7" y="0"/>
                      <a:pt x="7" y="4"/>
                      <a:pt x="7"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4" name="Freeform 540">
                <a:extLst>
                  <a:ext uri="{FF2B5EF4-FFF2-40B4-BE49-F238E27FC236}">
                    <a16:creationId xmlns:a16="http://schemas.microsoft.com/office/drawing/2014/main" id="{C4CD5AE3-A0F6-904D-BEC3-CA8FF81F8EE1}"/>
                  </a:ext>
                </a:extLst>
              </p:cNvPr>
              <p:cNvSpPr>
                <a:spLocks/>
              </p:cNvSpPr>
              <p:nvPr/>
            </p:nvSpPr>
            <p:spPr bwMode="auto">
              <a:xfrm>
                <a:off x="7970890" y="6057775"/>
                <a:ext cx="57323" cy="57338"/>
              </a:xfrm>
              <a:custGeom>
                <a:avLst/>
                <a:gdLst>
                  <a:gd name="T0" fmla="*/ 3 w 6"/>
                  <a:gd name="T1" fmla="*/ 5 h 6"/>
                  <a:gd name="T2" fmla="*/ 0 w 6"/>
                  <a:gd name="T3" fmla="*/ 3 h 6"/>
                  <a:gd name="T4" fmla="*/ 4 w 6"/>
                  <a:gd name="T5" fmla="*/ 2 h 6"/>
                  <a:gd name="T6" fmla="*/ 3 w 6"/>
                  <a:gd name="T7" fmla="*/ 5 h 6"/>
                  <a:gd name="T8" fmla="*/ 3 w 6"/>
                  <a:gd name="T9" fmla="*/ 5 h 6"/>
                </a:gdLst>
                <a:ahLst/>
                <a:cxnLst>
                  <a:cxn ang="0">
                    <a:pos x="T0" y="T1"/>
                  </a:cxn>
                  <a:cxn ang="0">
                    <a:pos x="T2" y="T3"/>
                  </a:cxn>
                  <a:cxn ang="0">
                    <a:pos x="T4" y="T5"/>
                  </a:cxn>
                  <a:cxn ang="0">
                    <a:pos x="T6" y="T7"/>
                  </a:cxn>
                  <a:cxn ang="0">
                    <a:pos x="T8" y="T9"/>
                  </a:cxn>
                </a:cxnLst>
                <a:rect l="0" t="0" r="r" b="b"/>
                <a:pathLst>
                  <a:path w="6" h="6">
                    <a:moveTo>
                      <a:pt x="3" y="5"/>
                    </a:moveTo>
                    <a:cubicBezTo>
                      <a:pt x="2" y="4"/>
                      <a:pt x="1" y="4"/>
                      <a:pt x="0" y="3"/>
                    </a:cubicBezTo>
                    <a:cubicBezTo>
                      <a:pt x="1" y="3"/>
                      <a:pt x="3" y="0"/>
                      <a:pt x="4" y="2"/>
                    </a:cubicBezTo>
                    <a:cubicBezTo>
                      <a:pt x="6" y="3"/>
                      <a:pt x="5" y="6"/>
                      <a:pt x="3" y="5"/>
                    </a:cubicBezTo>
                    <a:cubicBezTo>
                      <a:pt x="2" y="4"/>
                      <a:pt x="4" y="6"/>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5" name="Freeform 541">
                <a:extLst>
                  <a:ext uri="{FF2B5EF4-FFF2-40B4-BE49-F238E27FC236}">
                    <a16:creationId xmlns:a16="http://schemas.microsoft.com/office/drawing/2014/main" id="{6CB650F1-D4EC-4A4B-A8A2-D734EE29F99B}"/>
                  </a:ext>
                </a:extLst>
              </p:cNvPr>
              <p:cNvSpPr>
                <a:spLocks/>
              </p:cNvSpPr>
              <p:nvPr/>
            </p:nvSpPr>
            <p:spPr bwMode="auto">
              <a:xfrm>
                <a:off x="7942229" y="5656392"/>
                <a:ext cx="57323" cy="66896"/>
              </a:xfrm>
              <a:custGeom>
                <a:avLst/>
                <a:gdLst>
                  <a:gd name="T0" fmla="*/ 3 w 6"/>
                  <a:gd name="T1" fmla="*/ 6 h 7"/>
                  <a:gd name="T2" fmla="*/ 4 w 6"/>
                  <a:gd name="T3" fmla="*/ 1 h 7"/>
                  <a:gd name="T4" fmla="*/ 3 w 6"/>
                  <a:gd name="T5" fmla="*/ 6 h 7"/>
                  <a:gd name="T6" fmla="*/ 3 w 6"/>
                  <a:gd name="T7" fmla="*/ 6 h 7"/>
                </a:gdLst>
                <a:ahLst/>
                <a:cxnLst>
                  <a:cxn ang="0">
                    <a:pos x="T0" y="T1"/>
                  </a:cxn>
                  <a:cxn ang="0">
                    <a:pos x="T2" y="T3"/>
                  </a:cxn>
                  <a:cxn ang="0">
                    <a:pos x="T4" y="T5"/>
                  </a:cxn>
                  <a:cxn ang="0">
                    <a:pos x="T6" y="T7"/>
                  </a:cxn>
                </a:cxnLst>
                <a:rect l="0" t="0" r="r" b="b"/>
                <a:pathLst>
                  <a:path w="6" h="7">
                    <a:moveTo>
                      <a:pt x="3" y="6"/>
                    </a:moveTo>
                    <a:cubicBezTo>
                      <a:pt x="0" y="7"/>
                      <a:pt x="1" y="0"/>
                      <a:pt x="4" y="1"/>
                    </a:cubicBezTo>
                    <a:cubicBezTo>
                      <a:pt x="6" y="1"/>
                      <a:pt x="5" y="6"/>
                      <a:pt x="3" y="6"/>
                    </a:cubicBezTo>
                    <a:cubicBezTo>
                      <a:pt x="2" y="6"/>
                      <a:pt x="6" y="6"/>
                      <a:pt x="3"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6" name="Freeform 542">
                <a:extLst>
                  <a:ext uri="{FF2B5EF4-FFF2-40B4-BE49-F238E27FC236}">
                    <a16:creationId xmlns:a16="http://schemas.microsoft.com/office/drawing/2014/main" id="{DA1EEC03-3445-254F-A5CD-E4B88955F327}"/>
                  </a:ext>
                </a:extLst>
              </p:cNvPr>
              <p:cNvSpPr>
                <a:spLocks/>
              </p:cNvSpPr>
              <p:nvPr/>
            </p:nvSpPr>
            <p:spPr bwMode="auto">
              <a:xfrm>
                <a:off x="7782993" y="5618167"/>
                <a:ext cx="111465" cy="57338"/>
              </a:xfrm>
              <a:custGeom>
                <a:avLst/>
                <a:gdLst>
                  <a:gd name="T0" fmla="*/ 4 w 12"/>
                  <a:gd name="T1" fmla="*/ 6 h 6"/>
                  <a:gd name="T2" fmla="*/ 1 w 12"/>
                  <a:gd name="T3" fmla="*/ 3 h 6"/>
                  <a:gd name="T4" fmla="*/ 8 w 12"/>
                  <a:gd name="T5" fmla="*/ 0 h 6"/>
                  <a:gd name="T6" fmla="*/ 4 w 12"/>
                  <a:gd name="T7" fmla="*/ 6 h 6"/>
                </a:gdLst>
                <a:ahLst/>
                <a:cxnLst>
                  <a:cxn ang="0">
                    <a:pos x="T0" y="T1"/>
                  </a:cxn>
                  <a:cxn ang="0">
                    <a:pos x="T2" y="T3"/>
                  </a:cxn>
                  <a:cxn ang="0">
                    <a:pos x="T4" y="T5"/>
                  </a:cxn>
                  <a:cxn ang="0">
                    <a:pos x="T6" y="T7"/>
                  </a:cxn>
                </a:cxnLst>
                <a:rect l="0" t="0" r="r" b="b"/>
                <a:pathLst>
                  <a:path w="12" h="6">
                    <a:moveTo>
                      <a:pt x="4" y="6"/>
                    </a:moveTo>
                    <a:cubicBezTo>
                      <a:pt x="2" y="6"/>
                      <a:pt x="0" y="5"/>
                      <a:pt x="1" y="3"/>
                    </a:cubicBezTo>
                    <a:cubicBezTo>
                      <a:pt x="2" y="1"/>
                      <a:pt x="5" y="1"/>
                      <a:pt x="8" y="0"/>
                    </a:cubicBezTo>
                    <a:cubicBezTo>
                      <a:pt x="12" y="0"/>
                      <a:pt x="6" y="6"/>
                      <a:pt x="4"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7" name="Freeform 543">
                <a:extLst>
                  <a:ext uri="{FF2B5EF4-FFF2-40B4-BE49-F238E27FC236}">
                    <a16:creationId xmlns:a16="http://schemas.microsoft.com/office/drawing/2014/main" id="{8BF2874C-9699-2B40-9356-907507900D37}"/>
                  </a:ext>
                </a:extLst>
              </p:cNvPr>
              <p:cNvSpPr>
                <a:spLocks/>
              </p:cNvSpPr>
              <p:nvPr/>
            </p:nvSpPr>
            <p:spPr bwMode="auto">
              <a:xfrm>
                <a:off x="8018661" y="5583125"/>
                <a:ext cx="63695" cy="25484"/>
              </a:xfrm>
              <a:custGeom>
                <a:avLst/>
                <a:gdLst>
                  <a:gd name="T0" fmla="*/ 5 w 7"/>
                  <a:gd name="T1" fmla="*/ 3 h 3"/>
                  <a:gd name="T2" fmla="*/ 3 w 7"/>
                  <a:gd name="T3" fmla="*/ 0 h 3"/>
                  <a:gd name="T4" fmla="*/ 7 w 7"/>
                  <a:gd name="T5" fmla="*/ 1 h 3"/>
                  <a:gd name="T6" fmla="*/ 5 w 7"/>
                  <a:gd name="T7" fmla="*/ 3 h 3"/>
                  <a:gd name="T8" fmla="*/ 5 w 7"/>
                  <a:gd name="T9" fmla="*/ 3 h 3"/>
                </a:gdLst>
                <a:ahLst/>
                <a:cxnLst>
                  <a:cxn ang="0">
                    <a:pos x="T0" y="T1"/>
                  </a:cxn>
                  <a:cxn ang="0">
                    <a:pos x="T2" y="T3"/>
                  </a:cxn>
                  <a:cxn ang="0">
                    <a:pos x="T4" y="T5"/>
                  </a:cxn>
                  <a:cxn ang="0">
                    <a:pos x="T6" y="T7"/>
                  </a:cxn>
                  <a:cxn ang="0">
                    <a:pos x="T8" y="T9"/>
                  </a:cxn>
                </a:cxnLst>
                <a:rect l="0" t="0" r="r" b="b"/>
                <a:pathLst>
                  <a:path w="7" h="3">
                    <a:moveTo>
                      <a:pt x="5" y="3"/>
                    </a:moveTo>
                    <a:cubicBezTo>
                      <a:pt x="4" y="3"/>
                      <a:pt x="0" y="0"/>
                      <a:pt x="3" y="0"/>
                    </a:cubicBezTo>
                    <a:cubicBezTo>
                      <a:pt x="4" y="0"/>
                      <a:pt x="6" y="0"/>
                      <a:pt x="7" y="1"/>
                    </a:cubicBezTo>
                    <a:cubicBezTo>
                      <a:pt x="7" y="1"/>
                      <a:pt x="6" y="3"/>
                      <a:pt x="5" y="3"/>
                    </a:cubicBezTo>
                    <a:cubicBezTo>
                      <a:pt x="4" y="3"/>
                      <a:pt x="7" y="3"/>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8" name="Freeform 544">
                <a:extLst>
                  <a:ext uri="{FF2B5EF4-FFF2-40B4-BE49-F238E27FC236}">
                    <a16:creationId xmlns:a16="http://schemas.microsoft.com/office/drawing/2014/main" id="{9DA64A8E-2969-5C42-8631-045E0C96B71C}"/>
                  </a:ext>
                </a:extLst>
              </p:cNvPr>
              <p:cNvSpPr>
                <a:spLocks/>
              </p:cNvSpPr>
              <p:nvPr/>
            </p:nvSpPr>
            <p:spPr bwMode="auto">
              <a:xfrm>
                <a:off x="7623756" y="5395179"/>
                <a:ext cx="318473" cy="222990"/>
              </a:xfrm>
              <a:custGeom>
                <a:avLst/>
                <a:gdLst>
                  <a:gd name="T0" fmla="*/ 31 w 34"/>
                  <a:gd name="T1" fmla="*/ 21 h 24"/>
                  <a:gd name="T2" fmla="*/ 25 w 34"/>
                  <a:gd name="T3" fmla="*/ 18 h 24"/>
                  <a:gd name="T4" fmla="*/ 24 w 34"/>
                  <a:gd name="T5" fmla="*/ 16 h 24"/>
                  <a:gd name="T6" fmla="*/ 22 w 34"/>
                  <a:gd name="T7" fmla="*/ 17 h 24"/>
                  <a:gd name="T8" fmla="*/ 18 w 34"/>
                  <a:gd name="T9" fmla="*/ 16 h 24"/>
                  <a:gd name="T10" fmla="*/ 16 w 34"/>
                  <a:gd name="T11" fmla="*/ 19 h 24"/>
                  <a:gd name="T12" fmla="*/ 11 w 34"/>
                  <a:gd name="T13" fmla="*/ 23 h 24"/>
                  <a:gd name="T14" fmla="*/ 8 w 34"/>
                  <a:gd name="T15" fmla="*/ 19 h 24"/>
                  <a:gd name="T16" fmla="*/ 2 w 34"/>
                  <a:gd name="T17" fmla="*/ 19 h 24"/>
                  <a:gd name="T18" fmla="*/ 4 w 34"/>
                  <a:gd name="T19" fmla="*/ 16 h 24"/>
                  <a:gd name="T20" fmla="*/ 5 w 34"/>
                  <a:gd name="T21" fmla="*/ 10 h 24"/>
                  <a:gd name="T22" fmla="*/ 6 w 34"/>
                  <a:gd name="T23" fmla="*/ 3 h 24"/>
                  <a:gd name="T24" fmla="*/ 11 w 34"/>
                  <a:gd name="T25" fmla="*/ 3 h 24"/>
                  <a:gd name="T26" fmla="*/ 12 w 34"/>
                  <a:gd name="T27" fmla="*/ 5 h 24"/>
                  <a:gd name="T28" fmla="*/ 14 w 34"/>
                  <a:gd name="T29" fmla="*/ 4 h 24"/>
                  <a:gd name="T30" fmla="*/ 17 w 34"/>
                  <a:gd name="T31" fmla="*/ 6 h 24"/>
                  <a:gd name="T32" fmla="*/ 20 w 34"/>
                  <a:gd name="T33" fmla="*/ 7 h 24"/>
                  <a:gd name="T34" fmla="*/ 25 w 34"/>
                  <a:gd name="T35" fmla="*/ 10 h 24"/>
                  <a:gd name="T36" fmla="*/ 28 w 34"/>
                  <a:gd name="T37" fmla="*/ 15 h 24"/>
                  <a:gd name="T38" fmla="*/ 30 w 34"/>
                  <a:gd name="T39" fmla="*/ 15 h 24"/>
                  <a:gd name="T40" fmla="*/ 33 w 34"/>
                  <a:gd name="T41" fmla="*/ 17 h 24"/>
                  <a:gd name="T42" fmla="*/ 34 w 34"/>
                  <a:gd name="T43" fmla="*/ 18 h 24"/>
                  <a:gd name="T44" fmla="*/ 31 w 34"/>
                  <a:gd name="T45" fmla="*/ 21 h 24"/>
                  <a:gd name="T46" fmla="*/ 31 w 34"/>
                  <a:gd name="T47"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 h="24">
                    <a:moveTo>
                      <a:pt x="31" y="21"/>
                    </a:moveTo>
                    <a:cubicBezTo>
                      <a:pt x="30" y="20"/>
                      <a:pt x="27" y="19"/>
                      <a:pt x="25" y="18"/>
                    </a:cubicBezTo>
                    <a:cubicBezTo>
                      <a:pt x="24" y="18"/>
                      <a:pt x="25" y="17"/>
                      <a:pt x="24" y="16"/>
                    </a:cubicBezTo>
                    <a:cubicBezTo>
                      <a:pt x="24" y="16"/>
                      <a:pt x="22" y="17"/>
                      <a:pt x="22" y="17"/>
                    </a:cubicBezTo>
                    <a:cubicBezTo>
                      <a:pt x="20" y="17"/>
                      <a:pt x="20" y="15"/>
                      <a:pt x="18" y="16"/>
                    </a:cubicBezTo>
                    <a:cubicBezTo>
                      <a:pt x="18" y="17"/>
                      <a:pt x="17" y="18"/>
                      <a:pt x="16" y="19"/>
                    </a:cubicBezTo>
                    <a:cubicBezTo>
                      <a:pt x="14" y="20"/>
                      <a:pt x="13" y="22"/>
                      <a:pt x="11" y="23"/>
                    </a:cubicBezTo>
                    <a:cubicBezTo>
                      <a:pt x="8" y="24"/>
                      <a:pt x="10" y="20"/>
                      <a:pt x="8" y="19"/>
                    </a:cubicBezTo>
                    <a:cubicBezTo>
                      <a:pt x="8" y="18"/>
                      <a:pt x="3" y="19"/>
                      <a:pt x="2" y="19"/>
                    </a:cubicBezTo>
                    <a:cubicBezTo>
                      <a:pt x="0" y="19"/>
                      <a:pt x="4" y="16"/>
                      <a:pt x="4" y="16"/>
                    </a:cubicBezTo>
                    <a:cubicBezTo>
                      <a:pt x="6" y="14"/>
                      <a:pt x="5" y="12"/>
                      <a:pt x="5" y="10"/>
                    </a:cubicBezTo>
                    <a:cubicBezTo>
                      <a:pt x="5" y="8"/>
                      <a:pt x="5" y="5"/>
                      <a:pt x="6" y="3"/>
                    </a:cubicBezTo>
                    <a:cubicBezTo>
                      <a:pt x="7" y="0"/>
                      <a:pt x="10" y="0"/>
                      <a:pt x="11" y="3"/>
                    </a:cubicBezTo>
                    <a:cubicBezTo>
                      <a:pt x="11" y="4"/>
                      <a:pt x="11" y="6"/>
                      <a:pt x="12" y="5"/>
                    </a:cubicBezTo>
                    <a:cubicBezTo>
                      <a:pt x="13" y="5"/>
                      <a:pt x="13" y="4"/>
                      <a:pt x="14" y="4"/>
                    </a:cubicBezTo>
                    <a:cubicBezTo>
                      <a:pt x="15" y="5"/>
                      <a:pt x="16" y="6"/>
                      <a:pt x="17" y="6"/>
                    </a:cubicBezTo>
                    <a:cubicBezTo>
                      <a:pt x="18" y="7"/>
                      <a:pt x="19" y="7"/>
                      <a:pt x="20" y="7"/>
                    </a:cubicBezTo>
                    <a:cubicBezTo>
                      <a:pt x="21" y="8"/>
                      <a:pt x="23" y="9"/>
                      <a:pt x="25" y="10"/>
                    </a:cubicBezTo>
                    <a:cubicBezTo>
                      <a:pt x="28" y="11"/>
                      <a:pt x="28" y="12"/>
                      <a:pt x="28" y="15"/>
                    </a:cubicBezTo>
                    <a:cubicBezTo>
                      <a:pt x="28" y="16"/>
                      <a:pt x="30" y="16"/>
                      <a:pt x="30" y="15"/>
                    </a:cubicBezTo>
                    <a:cubicBezTo>
                      <a:pt x="32" y="15"/>
                      <a:pt x="32" y="16"/>
                      <a:pt x="33" y="17"/>
                    </a:cubicBezTo>
                    <a:cubicBezTo>
                      <a:pt x="34" y="17"/>
                      <a:pt x="34" y="17"/>
                      <a:pt x="34" y="18"/>
                    </a:cubicBezTo>
                    <a:cubicBezTo>
                      <a:pt x="33" y="19"/>
                      <a:pt x="33" y="21"/>
                      <a:pt x="31" y="21"/>
                    </a:cubicBezTo>
                    <a:cubicBezTo>
                      <a:pt x="30" y="20"/>
                      <a:pt x="33" y="21"/>
                      <a:pt x="31"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69" name="Freeform 545">
                <a:extLst>
                  <a:ext uri="{FF2B5EF4-FFF2-40B4-BE49-F238E27FC236}">
                    <a16:creationId xmlns:a16="http://schemas.microsoft.com/office/drawing/2014/main" id="{E757A698-3098-8D41-BDF4-1FC9B6F8A9A6}"/>
                  </a:ext>
                </a:extLst>
              </p:cNvPr>
              <p:cNvSpPr>
                <a:spLocks/>
              </p:cNvSpPr>
              <p:nvPr/>
            </p:nvSpPr>
            <p:spPr bwMode="auto">
              <a:xfrm>
                <a:off x="7747963" y="5376063"/>
                <a:ext cx="63695" cy="47785"/>
              </a:xfrm>
              <a:custGeom>
                <a:avLst/>
                <a:gdLst>
                  <a:gd name="T0" fmla="*/ 5 w 7"/>
                  <a:gd name="T1" fmla="*/ 4 h 5"/>
                  <a:gd name="T2" fmla="*/ 1 w 7"/>
                  <a:gd name="T3" fmla="*/ 0 h 5"/>
                  <a:gd name="T4" fmla="*/ 5 w 7"/>
                  <a:gd name="T5" fmla="*/ 4 h 5"/>
                </a:gdLst>
                <a:ahLst/>
                <a:cxnLst>
                  <a:cxn ang="0">
                    <a:pos x="T0" y="T1"/>
                  </a:cxn>
                  <a:cxn ang="0">
                    <a:pos x="T2" y="T3"/>
                  </a:cxn>
                  <a:cxn ang="0">
                    <a:pos x="T4" y="T5"/>
                  </a:cxn>
                </a:cxnLst>
                <a:rect l="0" t="0" r="r" b="b"/>
                <a:pathLst>
                  <a:path w="7" h="5">
                    <a:moveTo>
                      <a:pt x="5" y="4"/>
                    </a:moveTo>
                    <a:cubicBezTo>
                      <a:pt x="3" y="5"/>
                      <a:pt x="0" y="0"/>
                      <a:pt x="1" y="0"/>
                    </a:cubicBezTo>
                    <a:cubicBezTo>
                      <a:pt x="2" y="1"/>
                      <a:pt x="7" y="3"/>
                      <a:pt x="5"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0" name="Freeform 546">
                <a:extLst>
                  <a:ext uri="{FF2B5EF4-FFF2-40B4-BE49-F238E27FC236}">
                    <a16:creationId xmlns:a16="http://schemas.microsoft.com/office/drawing/2014/main" id="{6D9D932D-AA38-CD4A-836F-D1579A2BDBBB}"/>
                  </a:ext>
                </a:extLst>
              </p:cNvPr>
              <p:cNvSpPr>
                <a:spLocks/>
              </p:cNvSpPr>
              <p:nvPr/>
            </p:nvSpPr>
            <p:spPr bwMode="auto">
              <a:xfrm>
                <a:off x="7728852" y="5385621"/>
                <a:ext cx="35033" cy="47785"/>
              </a:xfrm>
              <a:custGeom>
                <a:avLst/>
                <a:gdLst>
                  <a:gd name="T0" fmla="*/ 3 w 4"/>
                  <a:gd name="T1" fmla="*/ 4 h 5"/>
                  <a:gd name="T2" fmla="*/ 0 w 4"/>
                  <a:gd name="T3" fmla="*/ 1 h 5"/>
                  <a:gd name="T4" fmla="*/ 3 w 4"/>
                  <a:gd name="T5" fmla="*/ 4 h 5"/>
                </a:gdLst>
                <a:ahLst/>
                <a:cxnLst>
                  <a:cxn ang="0">
                    <a:pos x="T0" y="T1"/>
                  </a:cxn>
                  <a:cxn ang="0">
                    <a:pos x="T2" y="T3"/>
                  </a:cxn>
                  <a:cxn ang="0">
                    <a:pos x="T4" y="T5"/>
                  </a:cxn>
                </a:cxnLst>
                <a:rect l="0" t="0" r="r" b="b"/>
                <a:pathLst>
                  <a:path w="4" h="5">
                    <a:moveTo>
                      <a:pt x="3" y="4"/>
                    </a:moveTo>
                    <a:cubicBezTo>
                      <a:pt x="1" y="5"/>
                      <a:pt x="0" y="2"/>
                      <a:pt x="0" y="1"/>
                    </a:cubicBezTo>
                    <a:cubicBezTo>
                      <a:pt x="1" y="0"/>
                      <a:pt x="4" y="3"/>
                      <a:pt x="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1" name="Freeform 547">
                <a:extLst>
                  <a:ext uri="{FF2B5EF4-FFF2-40B4-BE49-F238E27FC236}">
                    <a16:creationId xmlns:a16="http://schemas.microsoft.com/office/drawing/2014/main" id="{7B60C973-26EF-B04F-960F-8A3D479AA8B1}"/>
                  </a:ext>
                </a:extLst>
              </p:cNvPr>
              <p:cNvSpPr>
                <a:spLocks/>
              </p:cNvSpPr>
              <p:nvPr/>
            </p:nvSpPr>
            <p:spPr bwMode="auto">
              <a:xfrm>
                <a:off x="7642864" y="5207233"/>
                <a:ext cx="28662" cy="57338"/>
              </a:xfrm>
              <a:custGeom>
                <a:avLst/>
                <a:gdLst>
                  <a:gd name="T0" fmla="*/ 3 w 3"/>
                  <a:gd name="T1" fmla="*/ 5 h 6"/>
                  <a:gd name="T2" fmla="*/ 3 w 3"/>
                  <a:gd name="T3" fmla="*/ 2 h 6"/>
                  <a:gd name="T4" fmla="*/ 1 w 3"/>
                  <a:gd name="T5" fmla="*/ 1 h 6"/>
                  <a:gd name="T6" fmla="*/ 1 w 3"/>
                  <a:gd name="T7" fmla="*/ 4 h 6"/>
                  <a:gd name="T8" fmla="*/ 3 w 3"/>
                  <a:gd name="T9" fmla="*/ 5 h 6"/>
                  <a:gd name="T10" fmla="*/ 3 w 3"/>
                  <a:gd name="T11" fmla="*/ 5 h 6"/>
                </a:gdLst>
                <a:ahLst/>
                <a:cxnLst>
                  <a:cxn ang="0">
                    <a:pos x="T0" y="T1"/>
                  </a:cxn>
                  <a:cxn ang="0">
                    <a:pos x="T2" y="T3"/>
                  </a:cxn>
                  <a:cxn ang="0">
                    <a:pos x="T4" y="T5"/>
                  </a:cxn>
                  <a:cxn ang="0">
                    <a:pos x="T6" y="T7"/>
                  </a:cxn>
                  <a:cxn ang="0">
                    <a:pos x="T8" y="T9"/>
                  </a:cxn>
                  <a:cxn ang="0">
                    <a:pos x="T10" y="T11"/>
                  </a:cxn>
                </a:cxnLst>
                <a:rect l="0" t="0" r="r" b="b"/>
                <a:pathLst>
                  <a:path w="3" h="6">
                    <a:moveTo>
                      <a:pt x="3" y="5"/>
                    </a:moveTo>
                    <a:cubicBezTo>
                      <a:pt x="3" y="4"/>
                      <a:pt x="3" y="3"/>
                      <a:pt x="3" y="2"/>
                    </a:cubicBezTo>
                    <a:cubicBezTo>
                      <a:pt x="3" y="2"/>
                      <a:pt x="1" y="0"/>
                      <a:pt x="1" y="1"/>
                    </a:cubicBezTo>
                    <a:cubicBezTo>
                      <a:pt x="1" y="2"/>
                      <a:pt x="0" y="4"/>
                      <a:pt x="1" y="4"/>
                    </a:cubicBezTo>
                    <a:cubicBezTo>
                      <a:pt x="1" y="5"/>
                      <a:pt x="2" y="6"/>
                      <a:pt x="3" y="5"/>
                    </a:cubicBezTo>
                    <a:cubicBezTo>
                      <a:pt x="3" y="4"/>
                      <a:pt x="2" y="6"/>
                      <a:pt x="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2" name="Freeform 548">
                <a:extLst>
                  <a:ext uri="{FF2B5EF4-FFF2-40B4-BE49-F238E27FC236}">
                    <a16:creationId xmlns:a16="http://schemas.microsoft.com/office/drawing/2014/main" id="{9228C744-8072-2740-B693-E5D22A88EC58}"/>
                  </a:ext>
                </a:extLst>
              </p:cNvPr>
              <p:cNvSpPr>
                <a:spLocks/>
              </p:cNvSpPr>
              <p:nvPr/>
            </p:nvSpPr>
            <p:spPr bwMode="auto">
              <a:xfrm>
                <a:off x="7502737" y="4719845"/>
                <a:ext cx="1343951" cy="984332"/>
              </a:xfrm>
              <a:custGeom>
                <a:avLst/>
                <a:gdLst>
                  <a:gd name="T0" fmla="*/ 63 w 144"/>
                  <a:gd name="T1" fmla="*/ 86 h 105"/>
                  <a:gd name="T2" fmla="*/ 81 w 144"/>
                  <a:gd name="T3" fmla="*/ 76 h 105"/>
                  <a:gd name="T4" fmla="*/ 91 w 144"/>
                  <a:gd name="T5" fmla="*/ 67 h 105"/>
                  <a:gd name="T6" fmla="*/ 103 w 144"/>
                  <a:gd name="T7" fmla="*/ 68 h 105"/>
                  <a:gd name="T8" fmla="*/ 87 w 144"/>
                  <a:gd name="T9" fmla="*/ 66 h 105"/>
                  <a:gd name="T10" fmla="*/ 80 w 144"/>
                  <a:gd name="T11" fmla="*/ 48 h 105"/>
                  <a:gd name="T12" fmla="*/ 67 w 144"/>
                  <a:gd name="T13" fmla="*/ 49 h 105"/>
                  <a:gd name="T14" fmla="*/ 64 w 144"/>
                  <a:gd name="T15" fmla="*/ 40 h 105"/>
                  <a:gd name="T16" fmla="*/ 54 w 144"/>
                  <a:gd name="T17" fmla="*/ 32 h 105"/>
                  <a:gd name="T18" fmla="*/ 53 w 144"/>
                  <a:gd name="T19" fmla="*/ 38 h 105"/>
                  <a:gd name="T20" fmla="*/ 52 w 144"/>
                  <a:gd name="T21" fmla="*/ 39 h 105"/>
                  <a:gd name="T22" fmla="*/ 37 w 144"/>
                  <a:gd name="T23" fmla="*/ 38 h 105"/>
                  <a:gd name="T24" fmla="*/ 5 w 144"/>
                  <a:gd name="T25" fmla="*/ 32 h 105"/>
                  <a:gd name="T26" fmla="*/ 8 w 144"/>
                  <a:gd name="T27" fmla="*/ 26 h 105"/>
                  <a:gd name="T28" fmla="*/ 16 w 144"/>
                  <a:gd name="T29" fmla="*/ 2 h 105"/>
                  <a:gd name="T30" fmla="*/ 18 w 144"/>
                  <a:gd name="T31" fmla="*/ 18 h 105"/>
                  <a:gd name="T32" fmla="*/ 26 w 144"/>
                  <a:gd name="T33" fmla="*/ 29 h 105"/>
                  <a:gd name="T34" fmla="*/ 20 w 144"/>
                  <a:gd name="T35" fmla="*/ 19 h 105"/>
                  <a:gd name="T36" fmla="*/ 22 w 144"/>
                  <a:gd name="T37" fmla="*/ 13 h 105"/>
                  <a:gd name="T38" fmla="*/ 25 w 144"/>
                  <a:gd name="T39" fmla="*/ 7 h 105"/>
                  <a:gd name="T40" fmla="*/ 34 w 144"/>
                  <a:gd name="T41" fmla="*/ 3 h 105"/>
                  <a:gd name="T42" fmla="*/ 43 w 144"/>
                  <a:gd name="T43" fmla="*/ 16 h 105"/>
                  <a:gd name="T44" fmla="*/ 52 w 144"/>
                  <a:gd name="T45" fmla="*/ 16 h 105"/>
                  <a:gd name="T46" fmla="*/ 54 w 144"/>
                  <a:gd name="T47" fmla="*/ 15 h 105"/>
                  <a:gd name="T48" fmla="*/ 66 w 144"/>
                  <a:gd name="T49" fmla="*/ 13 h 105"/>
                  <a:gd name="T50" fmla="*/ 70 w 144"/>
                  <a:gd name="T51" fmla="*/ 21 h 105"/>
                  <a:gd name="T52" fmla="*/ 76 w 144"/>
                  <a:gd name="T53" fmla="*/ 22 h 105"/>
                  <a:gd name="T54" fmla="*/ 81 w 144"/>
                  <a:gd name="T55" fmla="*/ 23 h 105"/>
                  <a:gd name="T56" fmla="*/ 86 w 144"/>
                  <a:gd name="T57" fmla="*/ 23 h 105"/>
                  <a:gd name="T58" fmla="*/ 92 w 144"/>
                  <a:gd name="T59" fmla="*/ 28 h 105"/>
                  <a:gd name="T60" fmla="*/ 94 w 144"/>
                  <a:gd name="T61" fmla="*/ 31 h 105"/>
                  <a:gd name="T62" fmla="*/ 100 w 144"/>
                  <a:gd name="T63" fmla="*/ 29 h 105"/>
                  <a:gd name="T64" fmla="*/ 99 w 144"/>
                  <a:gd name="T65" fmla="*/ 38 h 105"/>
                  <a:gd name="T66" fmla="*/ 104 w 144"/>
                  <a:gd name="T67" fmla="*/ 38 h 105"/>
                  <a:gd name="T68" fmla="*/ 109 w 144"/>
                  <a:gd name="T69" fmla="*/ 40 h 105"/>
                  <a:gd name="T70" fmla="*/ 106 w 144"/>
                  <a:gd name="T71" fmla="*/ 45 h 105"/>
                  <a:gd name="T72" fmla="*/ 118 w 144"/>
                  <a:gd name="T73" fmla="*/ 54 h 105"/>
                  <a:gd name="T74" fmla="*/ 124 w 144"/>
                  <a:gd name="T75" fmla="*/ 55 h 105"/>
                  <a:gd name="T76" fmla="*/ 128 w 144"/>
                  <a:gd name="T77" fmla="*/ 60 h 105"/>
                  <a:gd name="T78" fmla="*/ 141 w 144"/>
                  <a:gd name="T79" fmla="*/ 64 h 105"/>
                  <a:gd name="T80" fmla="*/ 139 w 144"/>
                  <a:gd name="T81" fmla="*/ 69 h 105"/>
                  <a:gd name="T82" fmla="*/ 133 w 144"/>
                  <a:gd name="T83" fmla="*/ 73 h 105"/>
                  <a:gd name="T84" fmla="*/ 128 w 144"/>
                  <a:gd name="T85" fmla="*/ 77 h 105"/>
                  <a:gd name="T86" fmla="*/ 125 w 144"/>
                  <a:gd name="T87" fmla="*/ 74 h 105"/>
                  <a:gd name="T88" fmla="*/ 120 w 144"/>
                  <a:gd name="T89" fmla="*/ 72 h 105"/>
                  <a:gd name="T90" fmla="*/ 113 w 144"/>
                  <a:gd name="T91" fmla="*/ 67 h 105"/>
                  <a:gd name="T92" fmla="*/ 108 w 144"/>
                  <a:gd name="T93" fmla="*/ 70 h 105"/>
                  <a:gd name="T94" fmla="*/ 118 w 144"/>
                  <a:gd name="T95" fmla="*/ 80 h 105"/>
                  <a:gd name="T96" fmla="*/ 123 w 144"/>
                  <a:gd name="T97" fmla="*/ 82 h 105"/>
                  <a:gd name="T98" fmla="*/ 128 w 144"/>
                  <a:gd name="T99" fmla="*/ 93 h 105"/>
                  <a:gd name="T100" fmla="*/ 126 w 144"/>
                  <a:gd name="T101" fmla="*/ 95 h 105"/>
                  <a:gd name="T102" fmla="*/ 118 w 144"/>
                  <a:gd name="T103" fmla="*/ 96 h 105"/>
                  <a:gd name="T104" fmla="*/ 110 w 144"/>
                  <a:gd name="T105" fmla="*/ 93 h 105"/>
                  <a:gd name="T106" fmla="*/ 109 w 144"/>
                  <a:gd name="T107" fmla="*/ 94 h 105"/>
                  <a:gd name="T108" fmla="*/ 103 w 144"/>
                  <a:gd name="T109" fmla="*/ 99 h 105"/>
                  <a:gd name="T110" fmla="*/ 91 w 144"/>
                  <a:gd name="T111" fmla="*/ 90 h 105"/>
                  <a:gd name="T112" fmla="*/ 77 w 144"/>
                  <a:gd name="T113" fmla="*/ 8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 h="105">
                    <a:moveTo>
                      <a:pt x="77" y="83"/>
                    </a:moveTo>
                    <a:cubicBezTo>
                      <a:pt x="76" y="86"/>
                      <a:pt x="74" y="83"/>
                      <a:pt x="71" y="84"/>
                    </a:cubicBezTo>
                    <a:cubicBezTo>
                      <a:pt x="70" y="84"/>
                      <a:pt x="69" y="85"/>
                      <a:pt x="68" y="86"/>
                    </a:cubicBezTo>
                    <a:cubicBezTo>
                      <a:pt x="66" y="87"/>
                      <a:pt x="65" y="86"/>
                      <a:pt x="63" y="86"/>
                    </a:cubicBezTo>
                    <a:cubicBezTo>
                      <a:pt x="60" y="85"/>
                      <a:pt x="56" y="83"/>
                      <a:pt x="60" y="80"/>
                    </a:cubicBezTo>
                    <a:cubicBezTo>
                      <a:pt x="62" y="78"/>
                      <a:pt x="62" y="76"/>
                      <a:pt x="65" y="76"/>
                    </a:cubicBezTo>
                    <a:cubicBezTo>
                      <a:pt x="68" y="77"/>
                      <a:pt x="71" y="78"/>
                      <a:pt x="75" y="77"/>
                    </a:cubicBezTo>
                    <a:cubicBezTo>
                      <a:pt x="77" y="77"/>
                      <a:pt x="79" y="76"/>
                      <a:pt x="81" y="76"/>
                    </a:cubicBezTo>
                    <a:cubicBezTo>
                      <a:pt x="82" y="76"/>
                      <a:pt x="81" y="75"/>
                      <a:pt x="81" y="74"/>
                    </a:cubicBezTo>
                    <a:cubicBezTo>
                      <a:pt x="78" y="72"/>
                      <a:pt x="77" y="71"/>
                      <a:pt x="80" y="69"/>
                    </a:cubicBezTo>
                    <a:cubicBezTo>
                      <a:pt x="82" y="66"/>
                      <a:pt x="84" y="66"/>
                      <a:pt x="87" y="66"/>
                    </a:cubicBezTo>
                    <a:cubicBezTo>
                      <a:pt x="88" y="66"/>
                      <a:pt x="90" y="66"/>
                      <a:pt x="91" y="67"/>
                    </a:cubicBezTo>
                    <a:cubicBezTo>
                      <a:pt x="93" y="68"/>
                      <a:pt x="93" y="69"/>
                      <a:pt x="93" y="71"/>
                    </a:cubicBezTo>
                    <a:cubicBezTo>
                      <a:pt x="94" y="73"/>
                      <a:pt x="95" y="70"/>
                      <a:pt x="96" y="70"/>
                    </a:cubicBezTo>
                    <a:cubicBezTo>
                      <a:pt x="96" y="69"/>
                      <a:pt x="99" y="70"/>
                      <a:pt x="99" y="70"/>
                    </a:cubicBezTo>
                    <a:cubicBezTo>
                      <a:pt x="100" y="70"/>
                      <a:pt x="103" y="70"/>
                      <a:pt x="103" y="68"/>
                    </a:cubicBezTo>
                    <a:cubicBezTo>
                      <a:pt x="103" y="67"/>
                      <a:pt x="100" y="66"/>
                      <a:pt x="99" y="66"/>
                    </a:cubicBezTo>
                    <a:cubicBezTo>
                      <a:pt x="97" y="65"/>
                      <a:pt x="96" y="64"/>
                      <a:pt x="95" y="63"/>
                    </a:cubicBezTo>
                    <a:cubicBezTo>
                      <a:pt x="94" y="63"/>
                      <a:pt x="93" y="65"/>
                      <a:pt x="93" y="66"/>
                    </a:cubicBezTo>
                    <a:cubicBezTo>
                      <a:pt x="92" y="67"/>
                      <a:pt x="88" y="66"/>
                      <a:pt x="87" y="66"/>
                    </a:cubicBezTo>
                    <a:cubicBezTo>
                      <a:pt x="81" y="65"/>
                      <a:pt x="89" y="63"/>
                      <a:pt x="88" y="61"/>
                    </a:cubicBezTo>
                    <a:cubicBezTo>
                      <a:pt x="87" y="58"/>
                      <a:pt x="86" y="54"/>
                      <a:pt x="84" y="52"/>
                    </a:cubicBezTo>
                    <a:cubicBezTo>
                      <a:pt x="83" y="52"/>
                      <a:pt x="81" y="53"/>
                      <a:pt x="81" y="52"/>
                    </a:cubicBezTo>
                    <a:cubicBezTo>
                      <a:pt x="81" y="51"/>
                      <a:pt x="81" y="49"/>
                      <a:pt x="80" y="48"/>
                    </a:cubicBezTo>
                    <a:cubicBezTo>
                      <a:pt x="79" y="47"/>
                      <a:pt x="78" y="53"/>
                      <a:pt x="79" y="53"/>
                    </a:cubicBezTo>
                    <a:cubicBezTo>
                      <a:pt x="78" y="53"/>
                      <a:pt x="75" y="46"/>
                      <a:pt x="75" y="46"/>
                    </a:cubicBezTo>
                    <a:cubicBezTo>
                      <a:pt x="73" y="46"/>
                      <a:pt x="72" y="47"/>
                      <a:pt x="71" y="48"/>
                    </a:cubicBezTo>
                    <a:cubicBezTo>
                      <a:pt x="70" y="48"/>
                      <a:pt x="67" y="50"/>
                      <a:pt x="67" y="49"/>
                    </a:cubicBezTo>
                    <a:cubicBezTo>
                      <a:pt x="67" y="46"/>
                      <a:pt x="66" y="46"/>
                      <a:pt x="69" y="46"/>
                    </a:cubicBezTo>
                    <a:cubicBezTo>
                      <a:pt x="70" y="46"/>
                      <a:pt x="71" y="45"/>
                      <a:pt x="71" y="44"/>
                    </a:cubicBezTo>
                    <a:cubicBezTo>
                      <a:pt x="72" y="43"/>
                      <a:pt x="69" y="43"/>
                      <a:pt x="69" y="43"/>
                    </a:cubicBezTo>
                    <a:cubicBezTo>
                      <a:pt x="68" y="42"/>
                      <a:pt x="64" y="40"/>
                      <a:pt x="64" y="40"/>
                    </a:cubicBezTo>
                    <a:cubicBezTo>
                      <a:pt x="64" y="37"/>
                      <a:pt x="63" y="39"/>
                      <a:pt x="62" y="39"/>
                    </a:cubicBezTo>
                    <a:cubicBezTo>
                      <a:pt x="61" y="39"/>
                      <a:pt x="62" y="34"/>
                      <a:pt x="60" y="35"/>
                    </a:cubicBezTo>
                    <a:cubicBezTo>
                      <a:pt x="59" y="35"/>
                      <a:pt x="59" y="36"/>
                      <a:pt x="57" y="34"/>
                    </a:cubicBezTo>
                    <a:cubicBezTo>
                      <a:pt x="56" y="34"/>
                      <a:pt x="55" y="32"/>
                      <a:pt x="54" y="32"/>
                    </a:cubicBezTo>
                    <a:cubicBezTo>
                      <a:pt x="54" y="32"/>
                      <a:pt x="55" y="33"/>
                      <a:pt x="55" y="33"/>
                    </a:cubicBezTo>
                    <a:cubicBezTo>
                      <a:pt x="55" y="33"/>
                      <a:pt x="52" y="33"/>
                      <a:pt x="52" y="34"/>
                    </a:cubicBezTo>
                    <a:cubicBezTo>
                      <a:pt x="53" y="35"/>
                      <a:pt x="55" y="34"/>
                      <a:pt x="56" y="36"/>
                    </a:cubicBezTo>
                    <a:cubicBezTo>
                      <a:pt x="56" y="38"/>
                      <a:pt x="54" y="38"/>
                      <a:pt x="53" y="38"/>
                    </a:cubicBezTo>
                    <a:cubicBezTo>
                      <a:pt x="51" y="39"/>
                      <a:pt x="46" y="35"/>
                      <a:pt x="44" y="37"/>
                    </a:cubicBezTo>
                    <a:cubicBezTo>
                      <a:pt x="43" y="37"/>
                      <a:pt x="45" y="38"/>
                      <a:pt x="46" y="39"/>
                    </a:cubicBezTo>
                    <a:cubicBezTo>
                      <a:pt x="46" y="40"/>
                      <a:pt x="47" y="39"/>
                      <a:pt x="48" y="39"/>
                    </a:cubicBezTo>
                    <a:cubicBezTo>
                      <a:pt x="49" y="39"/>
                      <a:pt x="52" y="38"/>
                      <a:pt x="52" y="39"/>
                    </a:cubicBezTo>
                    <a:cubicBezTo>
                      <a:pt x="52" y="40"/>
                      <a:pt x="51" y="41"/>
                      <a:pt x="50" y="42"/>
                    </a:cubicBezTo>
                    <a:cubicBezTo>
                      <a:pt x="50" y="42"/>
                      <a:pt x="39" y="35"/>
                      <a:pt x="37" y="36"/>
                    </a:cubicBezTo>
                    <a:cubicBezTo>
                      <a:pt x="38" y="36"/>
                      <a:pt x="39" y="37"/>
                      <a:pt x="40" y="37"/>
                    </a:cubicBezTo>
                    <a:cubicBezTo>
                      <a:pt x="42" y="39"/>
                      <a:pt x="37" y="38"/>
                      <a:pt x="37" y="38"/>
                    </a:cubicBezTo>
                    <a:cubicBezTo>
                      <a:pt x="34" y="36"/>
                      <a:pt x="30" y="38"/>
                      <a:pt x="27" y="37"/>
                    </a:cubicBezTo>
                    <a:cubicBezTo>
                      <a:pt x="23" y="36"/>
                      <a:pt x="20" y="37"/>
                      <a:pt x="17" y="34"/>
                    </a:cubicBezTo>
                    <a:cubicBezTo>
                      <a:pt x="14" y="32"/>
                      <a:pt x="12" y="35"/>
                      <a:pt x="9" y="34"/>
                    </a:cubicBezTo>
                    <a:cubicBezTo>
                      <a:pt x="8" y="33"/>
                      <a:pt x="6" y="33"/>
                      <a:pt x="5" y="32"/>
                    </a:cubicBezTo>
                    <a:cubicBezTo>
                      <a:pt x="5" y="31"/>
                      <a:pt x="2" y="28"/>
                      <a:pt x="4" y="28"/>
                    </a:cubicBezTo>
                    <a:cubicBezTo>
                      <a:pt x="7" y="28"/>
                      <a:pt x="11" y="31"/>
                      <a:pt x="14" y="29"/>
                    </a:cubicBezTo>
                    <a:cubicBezTo>
                      <a:pt x="15" y="28"/>
                      <a:pt x="13" y="27"/>
                      <a:pt x="13" y="27"/>
                    </a:cubicBezTo>
                    <a:cubicBezTo>
                      <a:pt x="11" y="26"/>
                      <a:pt x="9" y="26"/>
                      <a:pt x="8" y="26"/>
                    </a:cubicBezTo>
                    <a:cubicBezTo>
                      <a:pt x="5" y="26"/>
                      <a:pt x="0" y="26"/>
                      <a:pt x="0" y="23"/>
                    </a:cubicBezTo>
                    <a:cubicBezTo>
                      <a:pt x="0" y="19"/>
                      <a:pt x="0" y="16"/>
                      <a:pt x="2" y="12"/>
                    </a:cubicBezTo>
                    <a:cubicBezTo>
                      <a:pt x="3" y="9"/>
                      <a:pt x="6" y="7"/>
                      <a:pt x="9" y="5"/>
                    </a:cubicBezTo>
                    <a:cubicBezTo>
                      <a:pt x="11" y="3"/>
                      <a:pt x="13" y="3"/>
                      <a:pt x="16" y="2"/>
                    </a:cubicBezTo>
                    <a:cubicBezTo>
                      <a:pt x="18" y="2"/>
                      <a:pt x="24" y="0"/>
                      <a:pt x="25" y="3"/>
                    </a:cubicBezTo>
                    <a:cubicBezTo>
                      <a:pt x="25" y="2"/>
                      <a:pt x="20" y="7"/>
                      <a:pt x="19" y="7"/>
                    </a:cubicBezTo>
                    <a:cubicBezTo>
                      <a:pt x="17" y="9"/>
                      <a:pt x="15" y="11"/>
                      <a:pt x="17" y="13"/>
                    </a:cubicBezTo>
                    <a:cubicBezTo>
                      <a:pt x="19" y="15"/>
                      <a:pt x="17" y="16"/>
                      <a:pt x="18" y="18"/>
                    </a:cubicBezTo>
                    <a:cubicBezTo>
                      <a:pt x="18" y="20"/>
                      <a:pt x="20" y="21"/>
                      <a:pt x="21" y="22"/>
                    </a:cubicBezTo>
                    <a:cubicBezTo>
                      <a:pt x="22" y="23"/>
                      <a:pt x="24" y="24"/>
                      <a:pt x="25" y="25"/>
                    </a:cubicBezTo>
                    <a:cubicBezTo>
                      <a:pt x="26" y="26"/>
                      <a:pt x="22" y="26"/>
                      <a:pt x="22" y="27"/>
                    </a:cubicBezTo>
                    <a:cubicBezTo>
                      <a:pt x="22" y="26"/>
                      <a:pt x="26" y="29"/>
                      <a:pt x="26" y="29"/>
                    </a:cubicBezTo>
                    <a:cubicBezTo>
                      <a:pt x="27" y="28"/>
                      <a:pt x="26" y="26"/>
                      <a:pt x="26" y="25"/>
                    </a:cubicBezTo>
                    <a:cubicBezTo>
                      <a:pt x="26" y="25"/>
                      <a:pt x="28" y="24"/>
                      <a:pt x="27" y="23"/>
                    </a:cubicBezTo>
                    <a:cubicBezTo>
                      <a:pt x="26" y="22"/>
                      <a:pt x="22" y="21"/>
                      <a:pt x="21" y="20"/>
                    </a:cubicBezTo>
                    <a:cubicBezTo>
                      <a:pt x="20" y="20"/>
                      <a:pt x="19" y="19"/>
                      <a:pt x="20" y="19"/>
                    </a:cubicBezTo>
                    <a:cubicBezTo>
                      <a:pt x="22" y="19"/>
                      <a:pt x="22" y="18"/>
                      <a:pt x="23" y="17"/>
                    </a:cubicBezTo>
                    <a:cubicBezTo>
                      <a:pt x="25" y="16"/>
                      <a:pt x="28" y="18"/>
                      <a:pt x="29" y="19"/>
                    </a:cubicBezTo>
                    <a:cubicBezTo>
                      <a:pt x="28" y="18"/>
                      <a:pt x="27" y="17"/>
                      <a:pt x="27" y="16"/>
                    </a:cubicBezTo>
                    <a:cubicBezTo>
                      <a:pt x="27" y="14"/>
                      <a:pt x="22" y="15"/>
                      <a:pt x="22" y="13"/>
                    </a:cubicBezTo>
                    <a:cubicBezTo>
                      <a:pt x="20" y="7"/>
                      <a:pt x="29" y="12"/>
                      <a:pt x="29" y="12"/>
                    </a:cubicBezTo>
                    <a:cubicBezTo>
                      <a:pt x="29" y="11"/>
                      <a:pt x="23" y="9"/>
                      <a:pt x="23" y="9"/>
                    </a:cubicBezTo>
                    <a:cubicBezTo>
                      <a:pt x="23" y="8"/>
                      <a:pt x="28" y="9"/>
                      <a:pt x="28" y="9"/>
                    </a:cubicBezTo>
                    <a:cubicBezTo>
                      <a:pt x="28" y="8"/>
                      <a:pt x="25" y="7"/>
                      <a:pt x="25" y="7"/>
                    </a:cubicBezTo>
                    <a:cubicBezTo>
                      <a:pt x="24" y="6"/>
                      <a:pt x="25" y="6"/>
                      <a:pt x="26" y="6"/>
                    </a:cubicBezTo>
                    <a:cubicBezTo>
                      <a:pt x="27" y="7"/>
                      <a:pt x="27" y="6"/>
                      <a:pt x="28" y="6"/>
                    </a:cubicBezTo>
                    <a:cubicBezTo>
                      <a:pt x="30" y="5"/>
                      <a:pt x="30" y="6"/>
                      <a:pt x="32" y="6"/>
                    </a:cubicBezTo>
                    <a:cubicBezTo>
                      <a:pt x="29" y="5"/>
                      <a:pt x="33" y="3"/>
                      <a:pt x="34" y="3"/>
                    </a:cubicBezTo>
                    <a:cubicBezTo>
                      <a:pt x="36" y="2"/>
                      <a:pt x="42" y="2"/>
                      <a:pt x="43" y="4"/>
                    </a:cubicBezTo>
                    <a:cubicBezTo>
                      <a:pt x="44" y="5"/>
                      <a:pt x="44" y="6"/>
                      <a:pt x="44" y="7"/>
                    </a:cubicBezTo>
                    <a:cubicBezTo>
                      <a:pt x="45" y="8"/>
                      <a:pt x="46" y="9"/>
                      <a:pt x="47" y="10"/>
                    </a:cubicBezTo>
                    <a:cubicBezTo>
                      <a:pt x="48" y="12"/>
                      <a:pt x="43" y="16"/>
                      <a:pt x="43" y="16"/>
                    </a:cubicBezTo>
                    <a:cubicBezTo>
                      <a:pt x="44" y="17"/>
                      <a:pt x="46" y="14"/>
                      <a:pt x="47" y="14"/>
                    </a:cubicBezTo>
                    <a:cubicBezTo>
                      <a:pt x="47" y="14"/>
                      <a:pt x="45" y="20"/>
                      <a:pt x="46" y="19"/>
                    </a:cubicBezTo>
                    <a:cubicBezTo>
                      <a:pt x="47" y="19"/>
                      <a:pt x="47" y="17"/>
                      <a:pt x="48" y="17"/>
                    </a:cubicBezTo>
                    <a:cubicBezTo>
                      <a:pt x="50" y="17"/>
                      <a:pt x="50" y="18"/>
                      <a:pt x="52" y="16"/>
                    </a:cubicBezTo>
                    <a:cubicBezTo>
                      <a:pt x="53" y="15"/>
                      <a:pt x="53" y="16"/>
                      <a:pt x="54" y="17"/>
                    </a:cubicBezTo>
                    <a:cubicBezTo>
                      <a:pt x="55" y="18"/>
                      <a:pt x="54" y="18"/>
                      <a:pt x="54" y="19"/>
                    </a:cubicBezTo>
                    <a:cubicBezTo>
                      <a:pt x="54" y="20"/>
                      <a:pt x="59" y="21"/>
                      <a:pt x="60" y="21"/>
                    </a:cubicBezTo>
                    <a:cubicBezTo>
                      <a:pt x="60" y="21"/>
                      <a:pt x="55" y="16"/>
                      <a:pt x="54" y="15"/>
                    </a:cubicBezTo>
                    <a:cubicBezTo>
                      <a:pt x="54" y="15"/>
                      <a:pt x="63" y="18"/>
                      <a:pt x="63" y="17"/>
                    </a:cubicBezTo>
                    <a:cubicBezTo>
                      <a:pt x="63" y="17"/>
                      <a:pt x="57" y="16"/>
                      <a:pt x="57" y="14"/>
                    </a:cubicBezTo>
                    <a:cubicBezTo>
                      <a:pt x="57" y="13"/>
                      <a:pt x="60" y="12"/>
                      <a:pt x="61" y="12"/>
                    </a:cubicBezTo>
                    <a:cubicBezTo>
                      <a:pt x="63" y="11"/>
                      <a:pt x="64" y="12"/>
                      <a:pt x="66" y="13"/>
                    </a:cubicBezTo>
                    <a:cubicBezTo>
                      <a:pt x="69" y="14"/>
                      <a:pt x="73" y="13"/>
                      <a:pt x="74" y="17"/>
                    </a:cubicBezTo>
                    <a:cubicBezTo>
                      <a:pt x="74" y="17"/>
                      <a:pt x="67" y="17"/>
                      <a:pt x="68" y="20"/>
                    </a:cubicBezTo>
                    <a:cubicBezTo>
                      <a:pt x="68" y="19"/>
                      <a:pt x="71" y="18"/>
                      <a:pt x="71" y="18"/>
                    </a:cubicBezTo>
                    <a:cubicBezTo>
                      <a:pt x="73" y="18"/>
                      <a:pt x="70" y="20"/>
                      <a:pt x="70" y="21"/>
                    </a:cubicBezTo>
                    <a:cubicBezTo>
                      <a:pt x="70" y="21"/>
                      <a:pt x="73" y="19"/>
                      <a:pt x="73" y="19"/>
                    </a:cubicBezTo>
                    <a:cubicBezTo>
                      <a:pt x="73" y="18"/>
                      <a:pt x="77" y="18"/>
                      <a:pt x="78" y="19"/>
                    </a:cubicBezTo>
                    <a:cubicBezTo>
                      <a:pt x="82" y="19"/>
                      <a:pt x="73" y="22"/>
                      <a:pt x="74" y="23"/>
                    </a:cubicBezTo>
                    <a:cubicBezTo>
                      <a:pt x="74" y="23"/>
                      <a:pt x="76" y="21"/>
                      <a:pt x="76" y="22"/>
                    </a:cubicBezTo>
                    <a:cubicBezTo>
                      <a:pt x="76" y="23"/>
                      <a:pt x="74" y="25"/>
                      <a:pt x="75" y="26"/>
                    </a:cubicBezTo>
                    <a:cubicBezTo>
                      <a:pt x="74" y="25"/>
                      <a:pt x="78" y="21"/>
                      <a:pt x="79" y="22"/>
                    </a:cubicBezTo>
                    <a:cubicBezTo>
                      <a:pt x="79" y="24"/>
                      <a:pt x="78" y="26"/>
                      <a:pt x="79" y="27"/>
                    </a:cubicBezTo>
                    <a:cubicBezTo>
                      <a:pt x="79" y="27"/>
                      <a:pt x="79" y="23"/>
                      <a:pt x="81" y="23"/>
                    </a:cubicBezTo>
                    <a:cubicBezTo>
                      <a:pt x="83" y="24"/>
                      <a:pt x="80" y="27"/>
                      <a:pt x="81" y="28"/>
                    </a:cubicBezTo>
                    <a:cubicBezTo>
                      <a:pt x="81" y="28"/>
                      <a:pt x="82" y="25"/>
                      <a:pt x="83" y="25"/>
                    </a:cubicBezTo>
                    <a:cubicBezTo>
                      <a:pt x="83" y="25"/>
                      <a:pt x="82" y="28"/>
                      <a:pt x="83" y="28"/>
                    </a:cubicBezTo>
                    <a:cubicBezTo>
                      <a:pt x="82" y="28"/>
                      <a:pt x="85" y="24"/>
                      <a:pt x="86" y="23"/>
                    </a:cubicBezTo>
                    <a:cubicBezTo>
                      <a:pt x="87" y="22"/>
                      <a:pt x="90" y="23"/>
                      <a:pt x="91" y="24"/>
                    </a:cubicBezTo>
                    <a:cubicBezTo>
                      <a:pt x="93" y="25"/>
                      <a:pt x="94" y="27"/>
                      <a:pt x="91" y="27"/>
                    </a:cubicBezTo>
                    <a:cubicBezTo>
                      <a:pt x="90" y="27"/>
                      <a:pt x="86" y="27"/>
                      <a:pt x="86" y="30"/>
                    </a:cubicBezTo>
                    <a:cubicBezTo>
                      <a:pt x="86" y="29"/>
                      <a:pt x="92" y="27"/>
                      <a:pt x="92" y="28"/>
                    </a:cubicBezTo>
                    <a:cubicBezTo>
                      <a:pt x="92" y="28"/>
                      <a:pt x="88" y="30"/>
                      <a:pt x="88" y="31"/>
                    </a:cubicBezTo>
                    <a:cubicBezTo>
                      <a:pt x="88" y="30"/>
                      <a:pt x="92" y="30"/>
                      <a:pt x="92" y="30"/>
                    </a:cubicBezTo>
                    <a:cubicBezTo>
                      <a:pt x="93" y="29"/>
                      <a:pt x="95" y="26"/>
                      <a:pt x="96" y="27"/>
                    </a:cubicBezTo>
                    <a:cubicBezTo>
                      <a:pt x="97" y="29"/>
                      <a:pt x="96" y="31"/>
                      <a:pt x="94" y="31"/>
                    </a:cubicBezTo>
                    <a:cubicBezTo>
                      <a:pt x="93" y="32"/>
                      <a:pt x="92" y="33"/>
                      <a:pt x="91" y="34"/>
                    </a:cubicBezTo>
                    <a:cubicBezTo>
                      <a:pt x="91" y="34"/>
                      <a:pt x="93" y="32"/>
                      <a:pt x="94" y="32"/>
                    </a:cubicBezTo>
                    <a:cubicBezTo>
                      <a:pt x="94" y="32"/>
                      <a:pt x="93" y="36"/>
                      <a:pt x="93" y="36"/>
                    </a:cubicBezTo>
                    <a:cubicBezTo>
                      <a:pt x="92" y="34"/>
                      <a:pt x="99" y="27"/>
                      <a:pt x="100" y="29"/>
                    </a:cubicBezTo>
                    <a:cubicBezTo>
                      <a:pt x="101" y="30"/>
                      <a:pt x="99" y="31"/>
                      <a:pt x="98" y="31"/>
                    </a:cubicBezTo>
                    <a:cubicBezTo>
                      <a:pt x="99" y="31"/>
                      <a:pt x="102" y="31"/>
                      <a:pt x="103" y="31"/>
                    </a:cubicBezTo>
                    <a:cubicBezTo>
                      <a:pt x="104" y="31"/>
                      <a:pt x="106" y="31"/>
                      <a:pt x="107" y="32"/>
                    </a:cubicBezTo>
                    <a:cubicBezTo>
                      <a:pt x="108" y="35"/>
                      <a:pt x="98" y="35"/>
                      <a:pt x="99" y="38"/>
                    </a:cubicBezTo>
                    <a:cubicBezTo>
                      <a:pt x="99" y="38"/>
                      <a:pt x="102" y="35"/>
                      <a:pt x="103" y="35"/>
                    </a:cubicBezTo>
                    <a:cubicBezTo>
                      <a:pt x="104" y="35"/>
                      <a:pt x="106" y="35"/>
                      <a:pt x="106" y="36"/>
                    </a:cubicBezTo>
                    <a:cubicBezTo>
                      <a:pt x="107" y="37"/>
                      <a:pt x="101" y="39"/>
                      <a:pt x="101" y="39"/>
                    </a:cubicBezTo>
                    <a:cubicBezTo>
                      <a:pt x="101" y="39"/>
                      <a:pt x="104" y="38"/>
                      <a:pt x="104" y="38"/>
                    </a:cubicBezTo>
                    <a:cubicBezTo>
                      <a:pt x="105" y="38"/>
                      <a:pt x="107" y="37"/>
                      <a:pt x="108" y="36"/>
                    </a:cubicBezTo>
                    <a:cubicBezTo>
                      <a:pt x="109" y="36"/>
                      <a:pt x="108" y="35"/>
                      <a:pt x="109" y="34"/>
                    </a:cubicBezTo>
                    <a:cubicBezTo>
                      <a:pt x="110" y="34"/>
                      <a:pt x="112" y="36"/>
                      <a:pt x="112" y="37"/>
                    </a:cubicBezTo>
                    <a:cubicBezTo>
                      <a:pt x="116" y="40"/>
                      <a:pt x="112" y="39"/>
                      <a:pt x="109" y="40"/>
                    </a:cubicBezTo>
                    <a:cubicBezTo>
                      <a:pt x="109" y="40"/>
                      <a:pt x="102" y="42"/>
                      <a:pt x="102" y="41"/>
                    </a:cubicBezTo>
                    <a:cubicBezTo>
                      <a:pt x="102" y="42"/>
                      <a:pt x="118" y="42"/>
                      <a:pt x="117" y="44"/>
                    </a:cubicBezTo>
                    <a:cubicBezTo>
                      <a:pt x="116" y="45"/>
                      <a:pt x="111" y="45"/>
                      <a:pt x="110" y="44"/>
                    </a:cubicBezTo>
                    <a:cubicBezTo>
                      <a:pt x="110" y="44"/>
                      <a:pt x="106" y="45"/>
                      <a:pt x="106" y="45"/>
                    </a:cubicBezTo>
                    <a:cubicBezTo>
                      <a:pt x="107" y="46"/>
                      <a:pt x="110" y="45"/>
                      <a:pt x="110" y="46"/>
                    </a:cubicBezTo>
                    <a:cubicBezTo>
                      <a:pt x="111" y="46"/>
                      <a:pt x="107" y="47"/>
                      <a:pt x="107" y="48"/>
                    </a:cubicBezTo>
                    <a:cubicBezTo>
                      <a:pt x="107" y="50"/>
                      <a:pt x="111" y="51"/>
                      <a:pt x="112" y="51"/>
                    </a:cubicBezTo>
                    <a:cubicBezTo>
                      <a:pt x="114" y="52"/>
                      <a:pt x="117" y="52"/>
                      <a:pt x="118" y="54"/>
                    </a:cubicBezTo>
                    <a:cubicBezTo>
                      <a:pt x="119" y="55"/>
                      <a:pt x="119" y="56"/>
                      <a:pt x="120" y="56"/>
                    </a:cubicBezTo>
                    <a:cubicBezTo>
                      <a:pt x="120" y="56"/>
                      <a:pt x="122" y="55"/>
                      <a:pt x="122" y="55"/>
                    </a:cubicBezTo>
                    <a:cubicBezTo>
                      <a:pt x="122" y="55"/>
                      <a:pt x="122" y="57"/>
                      <a:pt x="123" y="57"/>
                    </a:cubicBezTo>
                    <a:cubicBezTo>
                      <a:pt x="123" y="57"/>
                      <a:pt x="123" y="55"/>
                      <a:pt x="124" y="55"/>
                    </a:cubicBezTo>
                    <a:cubicBezTo>
                      <a:pt x="124" y="55"/>
                      <a:pt x="124" y="57"/>
                      <a:pt x="124" y="57"/>
                    </a:cubicBezTo>
                    <a:cubicBezTo>
                      <a:pt x="124" y="58"/>
                      <a:pt x="126" y="57"/>
                      <a:pt x="127" y="57"/>
                    </a:cubicBezTo>
                    <a:cubicBezTo>
                      <a:pt x="127" y="57"/>
                      <a:pt x="129" y="58"/>
                      <a:pt x="129" y="59"/>
                    </a:cubicBezTo>
                    <a:cubicBezTo>
                      <a:pt x="129" y="60"/>
                      <a:pt x="128" y="59"/>
                      <a:pt x="128" y="60"/>
                    </a:cubicBezTo>
                    <a:cubicBezTo>
                      <a:pt x="129" y="59"/>
                      <a:pt x="138" y="62"/>
                      <a:pt x="138" y="62"/>
                    </a:cubicBezTo>
                    <a:cubicBezTo>
                      <a:pt x="137" y="63"/>
                      <a:pt x="137" y="63"/>
                      <a:pt x="137" y="63"/>
                    </a:cubicBezTo>
                    <a:cubicBezTo>
                      <a:pt x="137" y="64"/>
                      <a:pt x="139" y="63"/>
                      <a:pt x="139" y="63"/>
                    </a:cubicBezTo>
                    <a:cubicBezTo>
                      <a:pt x="140" y="62"/>
                      <a:pt x="140" y="63"/>
                      <a:pt x="141" y="64"/>
                    </a:cubicBezTo>
                    <a:cubicBezTo>
                      <a:pt x="142" y="64"/>
                      <a:pt x="144" y="66"/>
                      <a:pt x="143" y="67"/>
                    </a:cubicBezTo>
                    <a:cubicBezTo>
                      <a:pt x="143" y="67"/>
                      <a:pt x="141" y="67"/>
                      <a:pt x="141" y="67"/>
                    </a:cubicBezTo>
                    <a:cubicBezTo>
                      <a:pt x="141" y="68"/>
                      <a:pt x="143" y="68"/>
                      <a:pt x="142" y="69"/>
                    </a:cubicBezTo>
                    <a:cubicBezTo>
                      <a:pt x="142" y="69"/>
                      <a:pt x="139" y="69"/>
                      <a:pt x="139" y="69"/>
                    </a:cubicBezTo>
                    <a:cubicBezTo>
                      <a:pt x="137" y="70"/>
                      <a:pt x="139" y="70"/>
                      <a:pt x="139" y="71"/>
                    </a:cubicBezTo>
                    <a:cubicBezTo>
                      <a:pt x="140" y="73"/>
                      <a:pt x="136" y="71"/>
                      <a:pt x="135" y="71"/>
                    </a:cubicBezTo>
                    <a:cubicBezTo>
                      <a:pt x="136" y="72"/>
                      <a:pt x="138" y="73"/>
                      <a:pt x="137" y="74"/>
                    </a:cubicBezTo>
                    <a:cubicBezTo>
                      <a:pt x="136" y="74"/>
                      <a:pt x="132" y="74"/>
                      <a:pt x="133" y="73"/>
                    </a:cubicBezTo>
                    <a:cubicBezTo>
                      <a:pt x="132" y="74"/>
                      <a:pt x="135" y="76"/>
                      <a:pt x="134" y="77"/>
                    </a:cubicBezTo>
                    <a:cubicBezTo>
                      <a:pt x="133" y="77"/>
                      <a:pt x="133" y="75"/>
                      <a:pt x="132" y="76"/>
                    </a:cubicBezTo>
                    <a:cubicBezTo>
                      <a:pt x="131" y="77"/>
                      <a:pt x="135" y="82"/>
                      <a:pt x="131" y="79"/>
                    </a:cubicBezTo>
                    <a:cubicBezTo>
                      <a:pt x="131" y="79"/>
                      <a:pt x="128" y="77"/>
                      <a:pt x="128" y="77"/>
                    </a:cubicBezTo>
                    <a:cubicBezTo>
                      <a:pt x="127" y="78"/>
                      <a:pt x="127" y="79"/>
                      <a:pt x="126" y="79"/>
                    </a:cubicBezTo>
                    <a:cubicBezTo>
                      <a:pt x="126" y="78"/>
                      <a:pt x="127" y="77"/>
                      <a:pt x="127" y="76"/>
                    </a:cubicBezTo>
                    <a:cubicBezTo>
                      <a:pt x="127" y="77"/>
                      <a:pt x="125" y="77"/>
                      <a:pt x="125" y="77"/>
                    </a:cubicBezTo>
                    <a:cubicBezTo>
                      <a:pt x="124" y="76"/>
                      <a:pt x="126" y="75"/>
                      <a:pt x="125" y="74"/>
                    </a:cubicBezTo>
                    <a:cubicBezTo>
                      <a:pt x="125" y="74"/>
                      <a:pt x="123" y="75"/>
                      <a:pt x="123" y="75"/>
                    </a:cubicBezTo>
                    <a:cubicBezTo>
                      <a:pt x="122" y="74"/>
                      <a:pt x="123" y="72"/>
                      <a:pt x="123" y="72"/>
                    </a:cubicBezTo>
                    <a:cubicBezTo>
                      <a:pt x="124" y="72"/>
                      <a:pt x="128" y="70"/>
                      <a:pt x="127" y="70"/>
                    </a:cubicBezTo>
                    <a:cubicBezTo>
                      <a:pt x="126" y="69"/>
                      <a:pt x="122" y="73"/>
                      <a:pt x="120" y="72"/>
                    </a:cubicBezTo>
                    <a:cubicBezTo>
                      <a:pt x="120" y="72"/>
                      <a:pt x="123" y="69"/>
                      <a:pt x="122" y="69"/>
                    </a:cubicBezTo>
                    <a:cubicBezTo>
                      <a:pt x="121" y="69"/>
                      <a:pt x="120" y="71"/>
                      <a:pt x="119" y="70"/>
                    </a:cubicBezTo>
                    <a:cubicBezTo>
                      <a:pt x="118" y="69"/>
                      <a:pt x="117" y="69"/>
                      <a:pt x="116" y="68"/>
                    </a:cubicBezTo>
                    <a:cubicBezTo>
                      <a:pt x="115" y="67"/>
                      <a:pt x="114" y="66"/>
                      <a:pt x="113" y="67"/>
                    </a:cubicBezTo>
                    <a:cubicBezTo>
                      <a:pt x="113" y="68"/>
                      <a:pt x="113" y="68"/>
                      <a:pt x="113" y="69"/>
                    </a:cubicBezTo>
                    <a:cubicBezTo>
                      <a:pt x="113" y="69"/>
                      <a:pt x="112" y="69"/>
                      <a:pt x="112" y="69"/>
                    </a:cubicBezTo>
                    <a:cubicBezTo>
                      <a:pt x="112" y="70"/>
                      <a:pt x="116" y="72"/>
                      <a:pt x="112" y="72"/>
                    </a:cubicBezTo>
                    <a:cubicBezTo>
                      <a:pt x="111" y="72"/>
                      <a:pt x="107" y="71"/>
                      <a:pt x="108" y="70"/>
                    </a:cubicBezTo>
                    <a:cubicBezTo>
                      <a:pt x="107" y="72"/>
                      <a:pt x="111" y="74"/>
                      <a:pt x="112" y="75"/>
                    </a:cubicBezTo>
                    <a:cubicBezTo>
                      <a:pt x="114" y="75"/>
                      <a:pt x="114" y="78"/>
                      <a:pt x="115" y="79"/>
                    </a:cubicBezTo>
                    <a:cubicBezTo>
                      <a:pt x="116" y="80"/>
                      <a:pt x="116" y="81"/>
                      <a:pt x="117" y="81"/>
                    </a:cubicBezTo>
                    <a:cubicBezTo>
                      <a:pt x="118" y="81"/>
                      <a:pt x="117" y="80"/>
                      <a:pt x="118" y="80"/>
                    </a:cubicBezTo>
                    <a:cubicBezTo>
                      <a:pt x="118" y="80"/>
                      <a:pt x="119" y="81"/>
                      <a:pt x="119" y="82"/>
                    </a:cubicBezTo>
                    <a:cubicBezTo>
                      <a:pt x="120" y="83"/>
                      <a:pt x="120" y="82"/>
                      <a:pt x="121" y="81"/>
                    </a:cubicBezTo>
                    <a:cubicBezTo>
                      <a:pt x="122" y="81"/>
                      <a:pt x="121" y="85"/>
                      <a:pt x="122" y="84"/>
                    </a:cubicBezTo>
                    <a:cubicBezTo>
                      <a:pt x="123" y="84"/>
                      <a:pt x="122" y="83"/>
                      <a:pt x="123" y="82"/>
                    </a:cubicBezTo>
                    <a:cubicBezTo>
                      <a:pt x="123" y="82"/>
                      <a:pt x="123" y="84"/>
                      <a:pt x="123" y="85"/>
                    </a:cubicBezTo>
                    <a:cubicBezTo>
                      <a:pt x="123" y="86"/>
                      <a:pt x="123" y="86"/>
                      <a:pt x="124" y="87"/>
                    </a:cubicBezTo>
                    <a:cubicBezTo>
                      <a:pt x="125" y="87"/>
                      <a:pt x="126" y="88"/>
                      <a:pt x="126" y="89"/>
                    </a:cubicBezTo>
                    <a:cubicBezTo>
                      <a:pt x="127" y="89"/>
                      <a:pt x="128" y="93"/>
                      <a:pt x="128" y="93"/>
                    </a:cubicBezTo>
                    <a:cubicBezTo>
                      <a:pt x="127" y="92"/>
                      <a:pt x="127" y="91"/>
                      <a:pt x="127" y="91"/>
                    </a:cubicBezTo>
                    <a:cubicBezTo>
                      <a:pt x="126" y="91"/>
                      <a:pt x="127" y="95"/>
                      <a:pt x="127" y="95"/>
                    </a:cubicBezTo>
                    <a:cubicBezTo>
                      <a:pt x="127" y="95"/>
                      <a:pt x="125" y="91"/>
                      <a:pt x="124" y="90"/>
                    </a:cubicBezTo>
                    <a:cubicBezTo>
                      <a:pt x="124" y="90"/>
                      <a:pt x="125" y="94"/>
                      <a:pt x="126" y="95"/>
                    </a:cubicBezTo>
                    <a:cubicBezTo>
                      <a:pt x="126" y="98"/>
                      <a:pt x="124" y="95"/>
                      <a:pt x="124" y="96"/>
                    </a:cubicBezTo>
                    <a:cubicBezTo>
                      <a:pt x="123" y="97"/>
                      <a:pt x="128" y="99"/>
                      <a:pt x="128" y="100"/>
                    </a:cubicBezTo>
                    <a:cubicBezTo>
                      <a:pt x="128" y="101"/>
                      <a:pt x="119" y="95"/>
                      <a:pt x="118" y="95"/>
                    </a:cubicBezTo>
                    <a:cubicBezTo>
                      <a:pt x="118" y="95"/>
                      <a:pt x="118" y="96"/>
                      <a:pt x="118" y="96"/>
                    </a:cubicBezTo>
                    <a:cubicBezTo>
                      <a:pt x="118" y="97"/>
                      <a:pt x="116" y="93"/>
                      <a:pt x="115" y="93"/>
                    </a:cubicBezTo>
                    <a:cubicBezTo>
                      <a:pt x="115" y="93"/>
                      <a:pt x="116" y="95"/>
                      <a:pt x="116" y="95"/>
                    </a:cubicBezTo>
                    <a:cubicBezTo>
                      <a:pt x="115" y="96"/>
                      <a:pt x="113" y="92"/>
                      <a:pt x="112" y="91"/>
                    </a:cubicBezTo>
                    <a:cubicBezTo>
                      <a:pt x="111" y="90"/>
                      <a:pt x="111" y="92"/>
                      <a:pt x="110" y="93"/>
                    </a:cubicBezTo>
                    <a:cubicBezTo>
                      <a:pt x="110" y="94"/>
                      <a:pt x="108" y="90"/>
                      <a:pt x="108" y="90"/>
                    </a:cubicBezTo>
                    <a:cubicBezTo>
                      <a:pt x="108" y="90"/>
                      <a:pt x="105" y="90"/>
                      <a:pt x="105" y="90"/>
                    </a:cubicBezTo>
                    <a:cubicBezTo>
                      <a:pt x="105" y="91"/>
                      <a:pt x="106" y="92"/>
                      <a:pt x="107" y="92"/>
                    </a:cubicBezTo>
                    <a:cubicBezTo>
                      <a:pt x="108" y="93"/>
                      <a:pt x="108" y="93"/>
                      <a:pt x="109" y="94"/>
                    </a:cubicBezTo>
                    <a:cubicBezTo>
                      <a:pt x="110" y="95"/>
                      <a:pt x="112" y="96"/>
                      <a:pt x="114" y="97"/>
                    </a:cubicBezTo>
                    <a:cubicBezTo>
                      <a:pt x="116" y="99"/>
                      <a:pt x="117" y="100"/>
                      <a:pt x="118" y="102"/>
                    </a:cubicBezTo>
                    <a:cubicBezTo>
                      <a:pt x="120" y="105"/>
                      <a:pt x="120" y="105"/>
                      <a:pt x="117" y="104"/>
                    </a:cubicBezTo>
                    <a:cubicBezTo>
                      <a:pt x="113" y="102"/>
                      <a:pt x="106" y="103"/>
                      <a:pt x="103" y="99"/>
                    </a:cubicBezTo>
                    <a:cubicBezTo>
                      <a:pt x="102" y="97"/>
                      <a:pt x="99" y="99"/>
                      <a:pt x="97" y="97"/>
                    </a:cubicBezTo>
                    <a:cubicBezTo>
                      <a:pt x="96" y="96"/>
                      <a:pt x="90" y="94"/>
                      <a:pt x="90" y="93"/>
                    </a:cubicBezTo>
                    <a:cubicBezTo>
                      <a:pt x="90" y="92"/>
                      <a:pt x="93" y="93"/>
                      <a:pt x="93" y="92"/>
                    </a:cubicBezTo>
                    <a:cubicBezTo>
                      <a:pt x="94" y="91"/>
                      <a:pt x="91" y="90"/>
                      <a:pt x="91" y="90"/>
                    </a:cubicBezTo>
                    <a:cubicBezTo>
                      <a:pt x="88" y="89"/>
                      <a:pt x="86" y="87"/>
                      <a:pt x="84" y="86"/>
                    </a:cubicBezTo>
                    <a:cubicBezTo>
                      <a:pt x="83" y="85"/>
                      <a:pt x="84" y="84"/>
                      <a:pt x="82" y="84"/>
                    </a:cubicBezTo>
                    <a:cubicBezTo>
                      <a:pt x="82" y="83"/>
                      <a:pt x="77" y="83"/>
                      <a:pt x="77" y="83"/>
                    </a:cubicBezTo>
                    <a:cubicBezTo>
                      <a:pt x="77" y="84"/>
                      <a:pt x="78" y="82"/>
                      <a:pt x="77" y="8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3" name="Freeform 549">
                <a:extLst>
                  <a:ext uri="{FF2B5EF4-FFF2-40B4-BE49-F238E27FC236}">
                    <a16:creationId xmlns:a16="http://schemas.microsoft.com/office/drawing/2014/main" id="{90668128-1AA2-6744-A26B-08E97DE8D531}"/>
                  </a:ext>
                </a:extLst>
              </p:cNvPr>
              <p:cNvSpPr>
                <a:spLocks/>
              </p:cNvSpPr>
              <p:nvPr/>
            </p:nvSpPr>
            <p:spPr bwMode="auto">
              <a:xfrm>
                <a:off x="8372164" y="5637283"/>
                <a:ext cx="57323" cy="19114"/>
              </a:xfrm>
              <a:custGeom>
                <a:avLst/>
                <a:gdLst>
                  <a:gd name="T0" fmla="*/ 5 w 6"/>
                  <a:gd name="T1" fmla="*/ 1 h 2"/>
                  <a:gd name="T2" fmla="*/ 1 w 6"/>
                  <a:gd name="T3" fmla="*/ 0 h 2"/>
                  <a:gd name="T4" fmla="*/ 5 w 6"/>
                  <a:gd name="T5" fmla="*/ 1 h 2"/>
                </a:gdLst>
                <a:ahLst/>
                <a:cxnLst>
                  <a:cxn ang="0">
                    <a:pos x="T0" y="T1"/>
                  </a:cxn>
                  <a:cxn ang="0">
                    <a:pos x="T2" y="T3"/>
                  </a:cxn>
                  <a:cxn ang="0">
                    <a:pos x="T4" y="T5"/>
                  </a:cxn>
                </a:cxnLst>
                <a:rect l="0" t="0" r="r" b="b"/>
                <a:pathLst>
                  <a:path w="6" h="2">
                    <a:moveTo>
                      <a:pt x="5" y="1"/>
                    </a:moveTo>
                    <a:cubicBezTo>
                      <a:pt x="5" y="2"/>
                      <a:pt x="0" y="0"/>
                      <a:pt x="1" y="0"/>
                    </a:cubicBezTo>
                    <a:cubicBezTo>
                      <a:pt x="3" y="0"/>
                      <a:pt x="6" y="0"/>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4" name="Freeform 550">
                <a:extLst>
                  <a:ext uri="{FF2B5EF4-FFF2-40B4-BE49-F238E27FC236}">
                    <a16:creationId xmlns:a16="http://schemas.microsoft.com/office/drawing/2014/main" id="{7BEA9EF7-83C9-E643-A5AA-FD1B5568C7B7}"/>
                  </a:ext>
                </a:extLst>
              </p:cNvPr>
              <p:cNvSpPr>
                <a:spLocks/>
              </p:cNvSpPr>
              <p:nvPr/>
            </p:nvSpPr>
            <p:spPr bwMode="auto">
              <a:xfrm>
                <a:off x="8203376" y="5226347"/>
                <a:ext cx="76432" cy="19114"/>
              </a:xfrm>
              <a:custGeom>
                <a:avLst/>
                <a:gdLst>
                  <a:gd name="T0" fmla="*/ 7 w 8"/>
                  <a:gd name="T1" fmla="*/ 1 h 2"/>
                  <a:gd name="T2" fmla="*/ 2 w 8"/>
                  <a:gd name="T3" fmla="*/ 2 h 2"/>
                  <a:gd name="T4" fmla="*/ 3 w 8"/>
                  <a:gd name="T5" fmla="*/ 0 h 2"/>
                  <a:gd name="T6" fmla="*/ 7 w 8"/>
                  <a:gd name="T7" fmla="*/ 1 h 2"/>
                  <a:gd name="T8" fmla="*/ 7 w 8"/>
                  <a:gd name="T9" fmla="*/ 1 h 2"/>
                </a:gdLst>
                <a:ahLst/>
                <a:cxnLst>
                  <a:cxn ang="0">
                    <a:pos x="T0" y="T1"/>
                  </a:cxn>
                  <a:cxn ang="0">
                    <a:pos x="T2" y="T3"/>
                  </a:cxn>
                  <a:cxn ang="0">
                    <a:pos x="T4" y="T5"/>
                  </a:cxn>
                  <a:cxn ang="0">
                    <a:pos x="T6" y="T7"/>
                  </a:cxn>
                  <a:cxn ang="0">
                    <a:pos x="T8" y="T9"/>
                  </a:cxn>
                </a:cxnLst>
                <a:rect l="0" t="0" r="r" b="b"/>
                <a:pathLst>
                  <a:path w="8" h="2">
                    <a:moveTo>
                      <a:pt x="7" y="1"/>
                    </a:moveTo>
                    <a:cubicBezTo>
                      <a:pt x="8" y="2"/>
                      <a:pt x="3" y="2"/>
                      <a:pt x="2" y="2"/>
                    </a:cubicBezTo>
                    <a:cubicBezTo>
                      <a:pt x="0" y="1"/>
                      <a:pt x="2" y="0"/>
                      <a:pt x="3" y="0"/>
                    </a:cubicBezTo>
                    <a:cubicBezTo>
                      <a:pt x="5" y="0"/>
                      <a:pt x="7" y="0"/>
                      <a:pt x="7" y="1"/>
                    </a:cubicBezTo>
                    <a:cubicBezTo>
                      <a:pt x="8" y="2"/>
                      <a:pt x="7" y="0"/>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5" name="Freeform 551">
                <a:extLst>
                  <a:ext uri="{FF2B5EF4-FFF2-40B4-BE49-F238E27FC236}">
                    <a16:creationId xmlns:a16="http://schemas.microsoft.com/office/drawing/2014/main" id="{3F08C62A-25CC-F34C-BFDB-89B9F75DD4F5}"/>
                  </a:ext>
                </a:extLst>
              </p:cNvPr>
              <p:cNvSpPr>
                <a:spLocks/>
              </p:cNvSpPr>
              <p:nvPr/>
            </p:nvSpPr>
            <p:spPr bwMode="auto">
              <a:xfrm>
                <a:off x="8091911" y="5207233"/>
                <a:ext cx="111465" cy="92380"/>
              </a:xfrm>
              <a:custGeom>
                <a:avLst/>
                <a:gdLst>
                  <a:gd name="T0" fmla="*/ 10 w 12"/>
                  <a:gd name="T1" fmla="*/ 7 h 10"/>
                  <a:gd name="T2" fmla="*/ 3 w 12"/>
                  <a:gd name="T3" fmla="*/ 9 h 10"/>
                  <a:gd name="T4" fmla="*/ 2 w 12"/>
                  <a:gd name="T5" fmla="*/ 2 h 10"/>
                  <a:gd name="T6" fmla="*/ 9 w 12"/>
                  <a:gd name="T7" fmla="*/ 0 h 10"/>
                  <a:gd name="T8" fmla="*/ 10 w 12"/>
                  <a:gd name="T9" fmla="*/ 7 h 10"/>
                  <a:gd name="T10" fmla="*/ 10 w 12"/>
                  <a:gd name="T11" fmla="*/ 7 h 10"/>
                </a:gdLst>
                <a:ahLst/>
                <a:cxnLst>
                  <a:cxn ang="0">
                    <a:pos x="T0" y="T1"/>
                  </a:cxn>
                  <a:cxn ang="0">
                    <a:pos x="T2" y="T3"/>
                  </a:cxn>
                  <a:cxn ang="0">
                    <a:pos x="T4" y="T5"/>
                  </a:cxn>
                  <a:cxn ang="0">
                    <a:pos x="T6" y="T7"/>
                  </a:cxn>
                  <a:cxn ang="0">
                    <a:pos x="T8" y="T9"/>
                  </a:cxn>
                  <a:cxn ang="0">
                    <a:pos x="T10" y="T11"/>
                  </a:cxn>
                </a:cxnLst>
                <a:rect l="0" t="0" r="r" b="b"/>
                <a:pathLst>
                  <a:path w="12" h="10">
                    <a:moveTo>
                      <a:pt x="10" y="7"/>
                    </a:moveTo>
                    <a:cubicBezTo>
                      <a:pt x="8" y="8"/>
                      <a:pt x="6" y="10"/>
                      <a:pt x="3" y="9"/>
                    </a:cubicBezTo>
                    <a:cubicBezTo>
                      <a:pt x="0" y="7"/>
                      <a:pt x="0" y="4"/>
                      <a:pt x="2" y="2"/>
                    </a:cubicBezTo>
                    <a:cubicBezTo>
                      <a:pt x="3" y="0"/>
                      <a:pt x="7" y="0"/>
                      <a:pt x="9" y="0"/>
                    </a:cubicBezTo>
                    <a:cubicBezTo>
                      <a:pt x="11" y="0"/>
                      <a:pt x="12" y="5"/>
                      <a:pt x="10" y="7"/>
                    </a:cubicBezTo>
                    <a:cubicBezTo>
                      <a:pt x="9" y="8"/>
                      <a:pt x="12" y="6"/>
                      <a:pt x="10"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6" name="Freeform 552">
                <a:extLst>
                  <a:ext uri="{FF2B5EF4-FFF2-40B4-BE49-F238E27FC236}">
                    <a16:creationId xmlns:a16="http://schemas.microsoft.com/office/drawing/2014/main" id="{34427D78-07A0-6B46-9EAD-582DF4304A54}"/>
                  </a:ext>
                </a:extLst>
              </p:cNvPr>
              <p:cNvSpPr>
                <a:spLocks/>
              </p:cNvSpPr>
              <p:nvPr/>
            </p:nvSpPr>
            <p:spPr bwMode="auto">
              <a:xfrm>
                <a:off x="7989999" y="5124408"/>
                <a:ext cx="63695" cy="35042"/>
              </a:xfrm>
              <a:custGeom>
                <a:avLst/>
                <a:gdLst>
                  <a:gd name="T0" fmla="*/ 1 w 7"/>
                  <a:gd name="T1" fmla="*/ 4 h 4"/>
                  <a:gd name="T2" fmla="*/ 5 w 7"/>
                  <a:gd name="T3" fmla="*/ 0 h 4"/>
                  <a:gd name="T4" fmla="*/ 1 w 7"/>
                  <a:gd name="T5" fmla="*/ 4 h 4"/>
                </a:gdLst>
                <a:ahLst/>
                <a:cxnLst>
                  <a:cxn ang="0">
                    <a:pos x="T0" y="T1"/>
                  </a:cxn>
                  <a:cxn ang="0">
                    <a:pos x="T2" y="T3"/>
                  </a:cxn>
                  <a:cxn ang="0">
                    <a:pos x="T4" y="T5"/>
                  </a:cxn>
                </a:cxnLst>
                <a:rect l="0" t="0" r="r" b="b"/>
                <a:pathLst>
                  <a:path w="7" h="4">
                    <a:moveTo>
                      <a:pt x="1" y="4"/>
                    </a:moveTo>
                    <a:cubicBezTo>
                      <a:pt x="0" y="4"/>
                      <a:pt x="4" y="0"/>
                      <a:pt x="5" y="0"/>
                    </a:cubicBezTo>
                    <a:cubicBezTo>
                      <a:pt x="7" y="1"/>
                      <a:pt x="3" y="4"/>
                      <a:pt x="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7" name="Freeform 553">
                <a:extLst>
                  <a:ext uri="{FF2B5EF4-FFF2-40B4-BE49-F238E27FC236}">
                    <a16:creationId xmlns:a16="http://schemas.microsoft.com/office/drawing/2014/main" id="{E512F8F4-D661-4A44-B79C-15C51F88E9A9}"/>
                  </a:ext>
                </a:extLst>
              </p:cNvPr>
              <p:cNvSpPr>
                <a:spLocks/>
              </p:cNvSpPr>
              <p:nvPr/>
            </p:nvSpPr>
            <p:spPr bwMode="auto">
              <a:xfrm>
                <a:off x="8082358" y="5114850"/>
                <a:ext cx="57323" cy="28669"/>
              </a:xfrm>
              <a:custGeom>
                <a:avLst/>
                <a:gdLst>
                  <a:gd name="T0" fmla="*/ 2 w 6"/>
                  <a:gd name="T1" fmla="*/ 3 h 3"/>
                  <a:gd name="T2" fmla="*/ 2 w 6"/>
                  <a:gd name="T3" fmla="*/ 1 h 3"/>
                  <a:gd name="T4" fmla="*/ 2 w 6"/>
                  <a:gd name="T5" fmla="*/ 3 h 3"/>
                </a:gdLst>
                <a:ahLst/>
                <a:cxnLst>
                  <a:cxn ang="0">
                    <a:pos x="T0" y="T1"/>
                  </a:cxn>
                  <a:cxn ang="0">
                    <a:pos x="T2" y="T3"/>
                  </a:cxn>
                  <a:cxn ang="0">
                    <a:pos x="T4" y="T5"/>
                  </a:cxn>
                </a:cxnLst>
                <a:rect l="0" t="0" r="r" b="b"/>
                <a:pathLst>
                  <a:path w="6" h="3">
                    <a:moveTo>
                      <a:pt x="2" y="3"/>
                    </a:moveTo>
                    <a:cubicBezTo>
                      <a:pt x="2" y="3"/>
                      <a:pt x="0" y="1"/>
                      <a:pt x="2" y="1"/>
                    </a:cubicBezTo>
                    <a:cubicBezTo>
                      <a:pt x="3" y="0"/>
                      <a:pt x="6" y="3"/>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8" name="Freeform 554">
                <a:extLst>
                  <a:ext uri="{FF2B5EF4-FFF2-40B4-BE49-F238E27FC236}">
                    <a16:creationId xmlns:a16="http://schemas.microsoft.com/office/drawing/2014/main" id="{DB5D89A1-89AE-7240-B62B-F67854DC59D5}"/>
                  </a:ext>
                </a:extLst>
              </p:cNvPr>
              <p:cNvSpPr>
                <a:spLocks/>
              </p:cNvSpPr>
              <p:nvPr/>
            </p:nvSpPr>
            <p:spPr bwMode="auto">
              <a:xfrm>
                <a:off x="8028216" y="5095739"/>
                <a:ext cx="44586" cy="19114"/>
              </a:xfrm>
              <a:custGeom>
                <a:avLst/>
                <a:gdLst>
                  <a:gd name="T0" fmla="*/ 0 w 5"/>
                  <a:gd name="T1" fmla="*/ 1 h 2"/>
                  <a:gd name="T2" fmla="*/ 4 w 5"/>
                  <a:gd name="T3" fmla="*/ 0 h 2"/>
                  <a:gd name="T4" fmla="*/ 0 w 5"/>
                  <a:gd name="T5" fmla="*/ 1 h 2"/>
                </a:gdLst>
                <a:ahLst/>
                <a:cxnLst>
                  <a:cxn ang="0">
                    <a:pos x="T0" y="T1"/>
                  </a:cxn>
                  <a:cxn ang="0">
                    <a:pos x="T2" y="T3"/>
                  </a:cxn>
                  <a:cxn ang="0">
                    <a:pos x="T4" y="T5"/>
                  </a:cxn>
                </a:cxnLst>
                <a:rect l="0" t="0" r="r" b="b"/>
                <a:pathLst>
                  <a:path w="5" h="2">
                    <a:moveTo>
                      <a:pt x="0" y="1"/>
                    </a:moveTo>
                    <a:cubicBezTo>
                      <a:pt x="2" y="2"/>
                      <a:pt x="5" y="1"/>
                      <a:pt x="4" y="0"/>
                    </a:cubicBezTo>
                    <a:cubicBezTo>
                      <a:pt x="2" y="0"/>
                      <a:pt x="0" y="1"/>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79" name="Freeform 555">
                <a:extLst>
                  <a:ext uri="{FF2B5EF4-FFF2-40B4-BE49-F238E27FC236}">
                    <a16:creationId xmlns:a16="http://schemas.microsoft.com/office/drawing/2014/main" id="{A51BE021-B51A-CE49-94D5-291C19ECF096}"/>
                  </a:ext>
                </a:extLst>
              </p:cNvPr>
              <p:cNvSpPr>
                <a:spLocks/>
              </p:cNvSpPr>
              <p:nvPr/>
            </p:nvSpPr>
            <p:spPr bwMode="auto">
              <a:xfrm>
                <a:off x="7913567" y="4738956"/>
                <a:ext cx="245223" cy="105124"/>
              </a:xfrm>
              <a:custGeom>
                <a:avLst/>
                <a:gdLst>
                  <a:gd name="T0" fmla="*/ 25 w 26"/>
                  <a:gd name="T1" fmla="*/ 9 h 11"/>
                  <a:gd name="T2" fmla="*/ 18 w 26"/>
                  <a:gd name="T3" fmla="*/ 8 h 11"/>
                  <a:gd name="T4" fmla="*/ 10 w 26"/>
                  <a:gd name="T5" fmla="*/ 10 h 11"/>
                  <a:gd name="T6" fmla="*/ 3 w 26"/>
                  <a:gd name="T7" fmla="*/ 6 h 11"/>
                  <a:gd name="T8" fmla="*/ 2 w 26"/>
                  <a:gd name="T9" fmla="*/ 1 h 11"/>
                  <a:gd name="T10" fmla="*/ 8 w 26"/>
                  <a:gd name="T11" fmla="*/ 2 h 11"/>
                  <a:gd name="T12" fmla="*/ 17 w 26"/>
                  <a:gd name="T13" fmla="*/ 2 h 11"/>
                  <a:gd name="T14" fmla="*/ 22 w 26"/>
                  <a:gd name="T15" fmla="*/ 5 h 11"/>
                  <a:gd name="T16" fmla="*/ 25 w 26"/>
                  <a:gd name="T17" fmla="*/ 9 h 11"/>
                  <a:gd name="T18" fmla="*/ 25 w 26"/>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11">
                    <a:moveTo>
                      <a:pt x="25" y="9"/>
                    </a:moveTo>
                    <a:cubicBezTo>
                      <a:pt x="22" y="9"/>
                      <a:pt x="20" y="8"/>
                      <a:pt x="18" y="8"/>
                    </a:cubicBezTo>
                    <a:cubicBezTo>
                      <a:pt x="15" y="8"/>
                      <a:pt x="13" y="10"/>
                      <a:pt x="10" y="10"/>
                    </a:cubicBezTo>
                    <a:cubicBezTo>
                      <a:pt x="7" y="11"/>
                      <a:pt x="6" y="7"/>
                      <a:pt x="3" y="6"/>
                    </a:cubicBezTo>
                    <a:cubicBezTo>
                      <a:pt x="2" y="5"/>
                      <a:pt x="0" y="3"/>
                      <a:pt x="2" y="1"/>
                    </a:cubicBezTo>
                    <a:cubicBezTo>
                      <a:pt x="3" y="0"/>
                      <a:pt x="7" y="2"/>
                      <a:pt x="8" y="2"/>
                    </a:cubicBezTo>
                    <a:cubicBezTo>
                      <a:pt x="11" y="3"/>
                      <a:pt x="14" y="1"/>
                      <a:pt x="17" y="2"/>
                    </a:cubicBezTo>
                    <a:cubicBezTo>
                      <a:pt x="19" y="2"/>
                      <a:pt x="20" y="4"/>
                      <a:pt x="22" y="5"/>
                    </a:cubicBezTo>
                    <a:cubicBezTo>
                      <a:pt x="22" y="6"/>
                      <a:pt x="25" y="9"/>
                      <a:pt x="25" y="9"/>
                    </a:cubicBezTo>
                    <a:cubicBezTo>
                      <a:pt x="23" y="9"/>
                      <a:pt x="26" y="9"/>
                      <a:pt x="25"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0" name="Freeform 556">
                <a:extLst>
                  <a:ext uri="{FF2B5EF4-FFF2-40B4-BE49-F238E27FC236}">
                    <a16:creationId xmlns:a16="http://schemas.microsoft.com/office/drawing/2014/main" id="{832DFBB6-D843-3D46-890F-7E1B5A7CAA7B}"/>
                  </a:ext>
                </a:extLst>
              </p:cNvPr>
              <p:cNvSpPr>
                <a:spLocks/>
              </p:cNvSpPr>
              <p:nvPr/>
            </p:nvSpPr>
            <p:spPr bwMode="auto">
              <a:xfrm>
                <a:off x="5709742" y="6433669"/>
                <a:ext cx="270700" cy="178393"/>
              </a:xfrm>
              <a:custGeom>
                <a:avLst/>
                <a:gdLst>
                  <a:gd name="T0" fmla="*/ 27 w 29"/>
                  <a:gd name="T1" fmla="*/ 16 h 19"/>
                  <a:gd name="T2" fmla="*/ 24 w 29"/>
                  <a:gd name="T3" fmla="*/ 12 h 19"/>
                  <a:gd name="T4" fmla="*/ 19 w 29"/>
                  <a:gd name="T5" fmla="*/ 10 h 19"/>
                  <a:gd name="T6" fmla="*/ 14 w 29"/>
                  <a:gd name="T7" fmla="*/ 3 h 19"/>
                  <a:gd name="T8" fmla="*/ 8 w 29"/>
                  <a:gd name="T9" fmla="*/ 2 h 19"/>
                  <a:gd name="T10" fmla="*/ 2 w 29"/>
                  <a:gd name="T11" fmla="*/ 0 h 19"/>
                  <a:gd name="T12" fmla="*/ 3 w 29"/>
                  <a:gd name="T13" fmla="*/ 2 h 19"/>
                  <a:gd name="T14" fmla="*/ 5 w 29"/>
                  <a:gd name="T15" fmla="*/ 3 h 19"/>
                  <a:gd name="T16" fmla="*/ 6 w 29"/>
                  <a:gd name="T17" fmla="*/ 4 h 19"/>
                  <a:gd name="T18" fmla="*/ 4 w 29"/>
                  <a:gd name="T19" fmla="*/ 2 h 19"/>
                  <a:gd name="T20" fmla="*/ 4 w 29"/>
                  <a:gd name="T21" fmla="*/ 4 h 19"/>
                  <a:gd name="T22" fmla="*/ 7 w 29"/>
                  <a:gd name="T23" fmla="*/ 6 h 19"/>
                  <a:gd name="T24" fmla="*/ 12 w 29"/>
                  <a:gd name="T25" fmla="*/ 9 h 19"/>
                  <a:gd name="T26" fmla="*/ 10 w 29"/>
                  <a:gd name="T27" fmla="*/ 10 h 19"/>
                  <a:gd name="T28" fmla="*/ 14 w 29"/>
                  <a:gd name="T29" fmla="*/ 10 h 19"/>
                  <a:gd name="T30" fmla="*/ 14 w 29"/>
                  <a:gd name="T31" fmla="*/ 12 h 19"/>
                  <a:gd name="T32" fmla="*/ 19 w 29"/>
                  <a:gd name="T33" fmla="*/ 12 h 19"/>
                  <a:gd name="T34" fmla="*/ 27 w 29"/>
                  <a:gd name="T35" fmla="*/ 16 h 19"/>
                  <a:gd name="T36" fmla="*/ 27 w 29"/>
                  <a:gd name="T3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9">
                    <a:moveTo>
                      <a:pt x="27" y="16"/>
                    </a:moveTo>
                    <a:cubicBezTo>
                      <a:pt x="26" y="15"/>
                      <a:pt x="25" y="13"/>
                      <a:pt x="24" y="12"/>
                    </a:cubicBezTo>
                    <a:cubicBezTo>
                      <a:pt x="23" y="10"/>
                      <a:pt x="21" y="10"/>
                      <a:pt x="19" y="10"/>
                    </a:cubicBezTo>
                    <a:cubicBezTo>
                      <a:pt x="17" y="8"/>
                      <a:pt x="17" y="4"/>
                      <a:pt x="14" y="3"/>
                    </a:cubicBezTo>
                    <a:cubicBezTo>
                      <a:pt x="13" y="3"/>
                      <a:pt x="10" y="3"/>
                      <a:pt x="8" y="2"/>
                    </a:cubicBezTo>
                    <a:cubicBezTo>
                      <a:pt x="7" y="1"/>
                      <a:pt x="5" y="0"/>
                      <a:pt x="2" y="0"/>
                    </a:cubicBezTo>
                    <a:cubicBezTo>
                      <a:pt x="0" y="0"/>
                      <a:pt x="1" y="2"/>
                      <a:pt x="3" y="2"/>
                    </a:cubicBezTo>
                    <a:cubicBezTo>
                      <a:pt x="4" y="2"/>
                      <a:pt x="4" y="2"/>
                      <a:pt x="5" y="3"/>
                    </a:cubicBezTo>
                    <a:cubicBezTo>
                      <a:pt x="5" y="3"/>
                      <a:pt x="6" y="4"/>
                      <a:pt x="6" y="4"/>
                    </a:cubicBezTo>
                    <a:cubicBezTo>
                      <a:pt x="5" y="4"/>
                      <a:pt x="4" y="3"/>
                      <a:pt x="4" y="2"/>
                    </a:cubicBezTo>
                    <a:cubicBezTo>
                      <a:pt x="4" y="2"/>
                      <a:pt x="4" y="4"/>
                      <a:pt x="4" y="4"/>
                    </a:cubicBezTo>
                    <a:cubicBezTo>
                      <a:pt x="4" y="6"/>
                      <a:pt x="6" y="6"/>
                      <a:pt x="7" y="6"/>
                    </a:cubicBezTo>
                    <a:cubicBezTo>
                      <a:pt x="7" y="6"/>
                      <a:pt x="12" y="9"/>
                      <a:pt x="12" y="9"/>
                    </a:cubicBezTo>
                    <a:cubicBezTo>
                      <a:pt x="12" y="9"/>
                      <a:pt x="11" y="9"/>
                      <a:pt x="10" y="10"/>
                    </a:cubicBezTo>
                    <a:cubicBezTo>
                      <a:pt x="10" y="10"/>
                      <a:pt x="14" y="10"/>
                      <a:pt x="14" y="10"/>
                    </a:cubicBezTo>
                    <a:cubicBezTo>
                      <a:pt x="16" y="11"/>
                      <a:pt x="14" y="12"/>
                      <a:pt x="14" y="12"/>
                    </a:cubicBezTo>
                    <a:cubicBezTo>
                      <a:pt x="15" y="13"/>
                      <a:pt x="18" y="12"/>
                      <a:pt x="19" y="12"/>
                    </a:cubicBezTo>
                    <a:cubicBezTo>
                      <a:pt x="14" y="13"/>
                      <a:pt x="29" y="19"/>
                      <a:pt x="27" y="16"/>
                    </a:cubicBezTo>
                    <a:cubicBezTo>
                      <a:pt x="26" y="15"/>
                      <a:pt x="28" y="18"/>
                      <a:pt x="27"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1" name="Freeform 557">
                <a:extLst>
                  <a:ext uri="{FF2B5EF4-FFF2-40B4-BE49-F238E27FC236}">
                    <a16:creationId xmlns:a16="http://schemas.microsoft.com/office/drawing/2014/main" id="{282E7B3A-0595-4F42-BFFB-EF78D052247B}"/>
                  </a:ext>
                </a:extLst>
              </p:cNvPr>
              <p:cNvSpPr>
                <a:spLocks/>
              </p:cNvSpPr>
              <p:nvPr/>
            </p:nvSpPr>
            <p:spPr bwMode="auto">
              <a:xfrm>
                <a:off x="5496368" y="6226607"/>
                <a:ext cx="121018" cy="130608"/>
              </a:xfrm>
              <a:custGeom>
                <a:avLst/>
                <a:gdLst>
                  <a:gd name="T0" fmla="*/ 11 w 13"/>
                  <a:gd name="T1" fmla="*/ 14 h 14"/>
                  <a:gd name="T2" fmla="*/ 11 w 13"/>
                  <a:gd name="T3" fmla="*/ 14 h 14"/>
                  <a:gd name="T4" fmla="*/ 8 w 13"/>
                  <a:gd name="T5" fmla="*/ 11 h 14"/>
                  <a:gd name="T6" fmla="*/ 7 w 13"/>
                  <a:gd name="T7" fmla="*/ 7 h 14"/>
                  <a:gd name="T8" fmla="*/ 6 w 13"/>
                  <a:gd name="T9" fmla="*/ 5 h 14"/>
                  <a:gd name="T10" fmla="*/ 7 w 13"/>
                  <a:gd name="T11" fmla="*/ 2 h 14"/>
                  <a:gd name="T12" fmla="*/ 4 w 13"/>
                  <a:gd name="T13" fmla="*/ 4 h 14"/>
                  <a:gd name="T14" fmla="*/ 6 w 13"/>
                  <a:gd name="T15" fmla="*/ 1 h 14"/>
                  <a:gd name="T16" fmla="*/ 1 w 13"/>
                  <a:gd name="T17" fmla="*/ 0 h 14"/>
                  <a:gd name="T18" fmla="*/ 3 w 13"/>
                  <a:gd name="T19" fmla="*/ 6 h 14"/>
                  <a:gd name="T20" fmla="*/ 11 w 13"/>
                  <a:gd name="T21" fmla="*/ 14 h 14"/>
                  <a:gd name="T22" fmla="*/ 11 w 13"/>
                  <a:gd name="T2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4">
                    <a:moveTo>
                      <a:pt x="11" y="14"/>
                    </a:moveTo>
                    <a:cubicBezTo>
                      <a:pt x="11" y="14"/>
                      <a:pt x="11" y="14"/>
                      <a:pt x="11" y="14"/>
                    </a:cubicBezTo>
                    <a:cubicBezTo>
                      <a:pt x="11" y="13"/>
                      <a:pt x="9" y="11"/>
                      <a:pt x="8" y="11"/>
                    </a:cubicBezTo>
                    <a:cubicBezTo>
                      <a:pt x="7" y="9"/>
                      <a:pt x="8" y="8"/>
                      <a:pt x="7" y="7"/>
                    </a:cubicBezTo>
                    <a:cubicBezTo>
                      <a:pt x="6" y="6"/>
                      <a:pt x="6" y="6"/>
                      <a:pt x="6" y="5"/>
                    </a:cubicBezTo>
                    <a:cubicBezTo>
                      <a:pt x="5" y="3"/>
                      <a:pt x="6" y="3"/>
                      <a:pt x="7" y="2"/>
                    </a:cubicBezTo>
                    <a:cubicBezTo>
                      <a:pt x="9" y="0"/>
                      <a:pt x="3" y="3"/>
                      <a:pt x="4" y="4"/>
                    </a:cubicBezTo>
                    <a:cubicBezTo>
                      <a:pt x="3" y="3"/>
                      <a:pt x="6" y="1"/>
                      <a:pt x="6" y="1"/>
                    </a:cubicBezTo>
                    <a:cubicBezTo>
                      <a:pt x="5" y="0"/>
                      <a:pt x="1" y="0"/>
                      <a:pt x="1" y="0"/>
                    </a:cubicBezTo>
                    <a:cubicBezTo>
                      <a:pt x="0" y="1"/>
                      <a:pt x="2" y="5"/>
                      <a:pt x="3" y="6"/>
                    </a:cubicBezTo>
                    <a:cubicBezTo>
                      <a:pt x="5" y="8"/>
                      <a:pt x="8" y="13"/>
                      <a:pt x="11" y="14"/>
                    </a:cubicBezTo>
                    <a:cubicBezTo>
                      <a:pt x="13" y="14"/>
                      <a:pt x="8" y="13"/>
                      <a:pt x="11"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2" name="Freeform 558">
                <a:extLst>
                  <a:ext uri="{FF2B5EF4-FFF2-40B4-BE49-F238E27FC236}">
                    <a16:creationId xmlns:a16="http://schemas.microsoft.com/office/drawing/2014/main" id="{59DD89EE-48FE-6844-A367-DCB2F3EF9249}"/>
                  </a:ext>
                </a:extLst>
              </p:cNvPr>
              <p:cNvSpPr>
                <a:spLocks/>
              </p:cNvSpPr>
              <p:nvPr/>
            </p:nvSpPr>
            <p:spPr bwMode="auto">
              <a:xfrm>
                <a:off x="5505923" y="6076886"/>
                <a:ext cx="38217" cy="38227"/>
              </a:xfrm>
              <a:custGeom>
                <a:avLst/>
                <a:gdLst>
                  <a:gd name="T0" fmla="*/ 3 w 4"/>
                  <a:gd name="T1" fmla="*/ 3 h 4"/>
                  <a:gd name="T2" fmla="*/ 2 w 4"/>
                  <a:gd name="T3" fmla="*/ 1 h 4"/>
                  <a:gd name="T4" fmla="*/ 3 w 4"/>
                  <a:gd name="T5" fmla="*/ 3 h 4"/>
                  <a:gd name="T6" fmla="*/ 3 w 4"/>
                  <a:gd name="T7" fmla="*/ 3 h 4"/>
                  <a:gd name="T8" fmla="*/ 3 w 4"/>
                  <a:gd name="T9" fmla="*/ 3 h 4"/>
                </a:gdLst>
                <a:ahLst/>
                <a:cxnLst>
                  <a:cxn ang="0">
                    <a:pos x="T0" y="T1"/>
                  </a:cxn>
                  <a:cxn ang="0">
                    <a:pos x="T2" y="T3"/>
                  </a:cxn>
                  <a:cxn ang="0">
                    <a:pos x="T4" y="T5"/>
                  </a:cxn>
                  <a:cxn ang="0">
                    <a:pos x="T6" y="T7"/>
                  </a:cxn>
                  <a:cxn ang="0">
                    <a:pos x="T8" y="T9"/>
                  </a:cxn>
                </a:cxnLst>
                <a:rect l="0" t="0" r="r" b="b"/>
                <a:pathLst>
                  <a:path w="4" h="4">
                    <a:moveTo>
                      <a:pt x="3" y="3"/>
                    </a:moveTo>
                    <a:cubicBezTo>
                      <a:pt x="2" y="2"/>
                      <a:pt x="0" y="2"/>
                      <a:pt x="2" y="1"/>
                    </a:cubicBezTo>
                    <a:cubicBezTo>
                      <a:pt x="3" y="0"/>
                      <a:pt x="4" y="3"/>
                      <a:pt x="3" y="3"/>
                    </a:cubicBezTo>
                    <a:cubicBezTo>
                      <a:pt x="3" y="3"/>
                      <a:pt x="3" y="3"/>
                      <a:pt x="3" y="3"/>
                    </a:cubicBezTo>
                    <a:cubicBezTo>
                      <a:pt x="2" y="2"/>
                      <a:pt x="4" y="4"/>
                      <a:pt x="3"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3" name="Freeform 559">
                <a:extLst>
                  <a:ext uri="{FF2B5EF4-FFF2-40B4-BE49-F238E27FC236}">
                    <a16:creationId xmlns:a16="http://schemas.microsoft.com/office/drawing/2014/main" id="{5264C71A-075B-E542-AC06-8BFA939CFAE1}"/>
                  </a:ext>
                </a:extLst>
              </p:cNvPr>
              <p:cNvSpPr>
                <a:spLocks/>
              </p:cNvSpPr>
              <p:nvPr/>
            </p:nvSpPr>
            <p:spPr bwMode="auto">
              <a:xfrm>
                <a:off x="5458150" y="6032291"/>
                <a:ext cx="57323" cy="54153"/>
              </a:xfrm>
              <a:custGeom>
                <a:avLst/>
                <a:gdLst>
                  <a:gd name="T0" fmla="*/ 5 w 6"/>
                  <a:gd name="T1" fmla="*/ 2 h 6"/>
                  <a:gd name="T2" fmla="*/ 0 w 6"/>
                  <a:gd name="T3" fmla="*/ 1 h 6"/>
                  <a:gd name="T4" fmla="*/ 1 w 6"/>
                  <a:gd name="T5" fmla="*/ 3 h 6"/>
                  <a:gd name="T6" fmla="*/ 1 w 6"/>
                  <a:gd name="T7" fmla="*/ 6 h 6"/>
                  <a:gd name="T8" fmla="*/ 5 w 6"/>
                  <a:gd name="T9" fmla="*/ 5 h 6"/>
                  <a:gd name="T10" fmla="*/ 3 w 6"/>
                  <a:gd name="T11" fmla="*/ 3 h 6"/>
                  <a:gd name="T12" fmla="*/ 5 w 6"/>
                  <a:gd name="T13" fmla="*/ 2 h 6"/>
                  <a:gd name="T14" fmla="*/ 5 w 6"/>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6">
                    <a:moveTo>
                      <a:pt x="5" y="2"/>
                    </a:moveTo>
                    <a:cubicBezTo>
                      <a:pt x="4" y="2"/>
                      <a:pt x="1" y="0"/>
                      <a:pt x="0" y="1"/>
                    </a:cubicBezTo>
                    <a:cubicBezTo>
                      <a:pt x="1" y="0"/>
                      <a:pt x="2" y="4"/>
                      <a:pt x="1" y="3"/>
                    </a:cubicBezTo>
                    <a:cubicBezTo>
                      <a:pt x="1" y="4"/>
                      <a:pt x="1" y="5"/>
                      <a:pt x="1" y="6"/>
                    </a:cubicBezTo>
                    <a:cubicBezTo>
                      <a:pt x="1" y="5"/>
                      <a:pt x="5" y="4"/>
                      <a:pt x="5" y="5"/>
                    </a:cubicBezTo>
                    <a:cubicBezTo>
                      <a:pt x="5" y="4"/>
                      <a:pt x="4" y="4"/>
                      <a:pt x="3" y="3"/>
                    </a:cubicBezTo>
                    <a:cubicBezTo>
                      <a:pt x="4" y="4"/>
                      <a:pt x="6" y="2"/>
                      <a:pt x="5" y="2"/>
                    </a:cubicBezTo>
                    <a:cubicBezTo>
                      <a:pt x="4" y="2"/>
                      <a:pt x="6" y="2"/>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4" name="Freeform 560">
                <a:extLst>
                  <a:ext uri="{FF2B5EF4-FFF2-40B4-BE49-F238E27FC236}">
                    <a16:creationId xmlns:a16="http://schemas.microsoft.com/office/drawing/2014/main" id="{A08614F1-6F36-F047-B423-DE9BEC0AA50B}"/>
                  </a:ext>
                </a:extLst>
              </p:cNvPr>
              <p:cNvSpPr>
                <a:spLocks/>
              </p:cNvSpPr>
              <p:nvPr/>
            </p:nvSpPr>
            <p:spPr bwMode="auto">
              <a:xfrm>
                <a:off x="5432673" y="6048217"/>
                <a:ext cx="35033" cy="57338"/>
              </a:xfrm>
              <a:custGeom>
                <a:avLst/>
                <a:gdLst>
                  <a:gd name="T0" fmla="*/ 2 w 4"/>
                  <a:gd name="T1" fmla="*/ 0 h 6"/>
                  <a:gd name="T2" fmla="*/ 2 w 4"/>
                  <a:gd name="T3" fmla="*/ 2 h 6"/>
                  <a:gd name="T4" fmla="*/ 2 w 4"/>
                  <a:gd name="T5" fmla="*/ 5 h 6"/>
                  <a:gd name="T6" fmla="*/ 3 w 4"/>
                  <a:gd name="T7" fmla="*/ 3 h 6"/>
                  <a:gd name="T8" fmla="*/ 2 w 4"/>
                  <a:gd name="T9" fmla="*/ 0 h 6"/>
                </a:gdLst>
                <a:ahLst/>
                <a:cxnLst>
                  <a:cxn ang="0">
                    <a:pos x="T0" y="T1"/>
                  </a:cxn>
                  <a:cxn ang="0">
                    <a:pos x="T2" y="T3"/>
                  </a:cxn>
                  <a:cxn ang="0">
                    <a:pos x="T4" y="T5"/>
                  </a:cxn>
                  <a:cxn ang="0">
                    <a:pos x="T6" y="T7"/>
                  </a:cxn>
                  <a:cxn ang="0">
                    <a:pos x="T8" y="T9"/>
                  </a:cxn>
                </a:cxnLst>
                <a:rect l="0" t="0" r="r" b="b"/>
                <a:pathLst>
                  <a:path w="4" h="6">
                    <a:moveTo>
                      <a:pt x="2" y="0"/>
                    </a:moveTo>
                    <a:cubicBezTo>
                      <a:pt x="0" y="0"/>
                      <a:pt x="2" y="1"/>
                      <a:pt x="2" y="2"/>
                    </a:cubicBezTo>
                    <a:cubicBezTo>
                      <a:pt x="2" y="3"/>
                      <a:pt x="1" y="5"/>
                      <a:pt x="2" y="5"/>
                    </a:cubicBezTo>
                    <a:cubicBezTo>
                      <a:pt x="3" y="6"/>
                      <a:pt x="3" y="3"/>
                      <a:pt x="3" y="3"/>
                    </a:cubicBezTo>
                    <a:cubicBezTo>
                      <a:pt x="3" y="2"/>
                      <a:pt x="4"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5" name="Freeform 561">
                <a:extLst>
                  <a:ext uri="{FF2B5EF4-FFF2-40B4-BE49-F238E27FC236}">
                    <a16:creationId xmlns:a16="http://schemas.microsoft.com/office/drawing/2014/main" id="{933E42C9-4597-4A4A-AC02-4C3F659C22A7}"/>
                  </a:ext>
                </a:extLst>
              </p:cNvPr>
              <p:cNvSpPr>
                <a:spLocks/>
              </p:cNvSpPr>
              <p:nvPr/>
            </p:nvSpPr>
            <p:spPr bwMode="auto">
              <a:xfrm>
                <a:off x="5375347" y="5994061"/>
                <a:ext cx="47770" cy="101936"/>
              </a:xfrm>
              <a:custGeom>
                <a:avLst/>
                <a:gdLst>
                  <a:gd name="T0" fmla="*/ 4 w 5"/>
                  <a:gd name="T1" fmla="*/ 10 h 11"/>
                  <a:gd name="T2" fmla="*/ 2 w 5"/>
                  <a:gd name="T3" fmla="*/ 6 h 11"/>
                  <a:gd name="T4" fmla="*/ 1 w 5"/>
                  <a:gd name="T5" fmla="*/ 3 h 11"/>
                  <a:gd name="T6" fmla="*/ 5 w 5"/>
                  <a:gd name="T7" fmla="*/ 5 h 11"/>
                  <a:gd name="T8" fmla="*/ 4 w 5"/>
                  <a:gd name="T9" fmla="*/ 10 h 11"/>
                  <a:gd name="T10" fmla="*/ 4 w 5"/>
                  <a:gd name="T11" fmla="*/ 10 h 11"/>
                </a:gdLst>
                <a:ahLst/>
                <a:cxnLst>
                  <a:cxn ang="0">
                    <a:pos x="T0" y="T1"/>
                  </a:cxn>
                  <a:cxn ang="0">
                    <a:pos x="T2" y="T3"/>
                  </a:cxn>
                  <a:cxn ang="0">
                    <a:pos x="T4" y="T5"/>
                  </a:cxn>
                  <a:cxn ang="0">
                    <a:pos x="T6" y="T7"/>
                  </a:cxn>
                  <a:cxn ang="0">
                    <a:pos x="T8" y="T9"/>
                  </a:cxn>
                  <a:cxn ang="0">
                    <a:pos x="T10" y="T11"/>
                  </a:cxn>
                </a:cxnLst>
                <a:rect l="0" t="0" r="r" b="b"/>
                <a:pathLst>
                  <a:path w="5" h="11">
                    <a:moveTo>
                      <a:pt x="4" y="10"/>
                    </a:moveTo>
                    <a:cubicBezTo>
                      <a:pt x="4" y="9"/>
                      <a:pt x="2" y="6"/>
                      <a:pt x="2" y="6"/>
                    </a:cubicBezTo>
                    <a:cubicBezTo>
                      <a:pt x="4" y="4"/>
                      <a:pt x="0" y="4"/>
                      <a:pt x="1" y="3"/>
                    </a:cubicBezTo>
                    <a:cubicBezTo>
                      <a:pt x="2" y="0"/>
                      <a:pt x="5" y="5"/>
                      <a:pt x="5" y="5"/>
                    </a:cubicBezTo>
                    <a:cubicBezTo>
                      <a:pt x="5" y="6"/>
                      <a:pt x="5" y="11"/>
                      <a:pt x="4" y="10"/>
                    </a:cubicBezTo>
                    <a:cubicBezTo>
                      <a:pt x="4" y="9"/>
                      <a:pt x="5" y="11"/>
                      <a:pt x="4"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6" name="Freeform 562">
                <a:extLst>
                  <a:ext uri="{FF2B5EF4-FFF2-40B4-BE49-F238E27FC236}">
                    <a16:creationId xmlns:a16="http://schemas.microsoft.com/office/drawing/2014/main" id="{685A6F32-67BD-9549-9F6B-C128EBCEFC04}"/>
                  </a:ext>
                </a:extLst>
              </p:cNvPr>
              <p:cNvSpPr>
                <a:spLocks/>
              </p:cNvSpPr>
              <p:nvPr/>
            </p:nvSpPr>
            <p:spPr bwMode="auto">
              <a:xfrm>
                <a:off x="5337130" y="5955834"/>
                <a:ext cx="66879" cy="66896"/>
              </a:xfrm>
              <a:custGeom>
                <a:avLst/>
                <a:gdLst>
                  <a:gd name="T0" fmla="*/ 4 w 7"/>
                  <a:gd name="T1" fmla="*/ 6 h 7"/>
                  <a:gd name="T2" fmla="*/ 2 w 7"/>
                  <a:gd name="T3" fmla="*/ 3 h 7"/>
                  <a:gd name="T4" fmla="*/ 0 w 7"/>
                  <a:gd name="T5" fmla="*/ 2 h 7"/>
                  <a:gd name="T6" fmla="*/ 5 w 7"/>
                  <a:gd name="T7" fmla="*/ 1 h 7"/>
                  <a:gd name="T8" fmla="*/ 4 w 7"/>
                  <a:gd name="T9" fmla="*/ 3 h 7"/>
                  <a:gd name="T10" fmla="*/ 7 w 7"/>
                  <a:gd name="T11" fmla="*/ 4 h 7"/>
                  <a:gd name="T12" fmla="*/ 5 w 7"/>
                  <a:gd name="T13" fmla="*/ 5 h 7"/>
                  <a:gd name="T14" fmla="*/ 4 w 7"/>
                  <a:gd name="T15" fmla="*/ 6 h 7"/>
                  <a:gd name="T16" fmla="*/ 4 w 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6"/>
                    </a:moveTo>
                    <a:cubicBezTo>
                      <a:pt x="2" y="4"/>
                      <a:pt x="1" y="4"/>
                      <a:pt x="2" y="3"/>
                    </a:cubicBezTo>
                    <a:cubicBezTo>
                      <a:pt x="2" y="2"/>
                      <a:pt x="0" y="2"/>
                      <a:pt x="0" y="2"/>
                    </a:cubicBezTo>
                    <a:cubicBezTo>
                      <a:pt x="0" y="1"/>
                      <a:pt x="4" y="0"/>
                      <a:pt x="5" y="1"/>
                    </a:cubicBezTo>
                    <a:cubicBezTo>
                      <a:pt x="5" y="1"/>
                      <a:pt x="3" y="2"/>
                      <a:pt x="4" y="3"/>
                    </a:cubicBezTo>
                    <a:cubicBezTo>
                      <a:pt x="5" y="3"/>
                      <a:pt x="7" y="4"/>
                      <a:pt x="7" y="4"/>
                    </a:cubicBezTo>
                    <a:cubicBezTo>
                      <a:pt x="7" y="5"/>
                      <a:pt x="5" y="5"/>
                      <a:pt x="5" y="5"/>
                    </a:cubicBezTo>
                    <a:cubicBezTo>
                      <a:pt x="4" y="5"/>
                      <a:pt x="5" y="7"/>
                      <a:pt x="4" y="6"/>
                    </a:cubicBezTo>
                    <a:cubicBezTo>
                      <a:pt x="2" y="5"/>
                      <a:pt x="4" y="6"/>
                      <a:pt x="4"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7" name="Freeform 563">
                <a:extLst>
                  <a:ext uri="{FF2B5EF4-FFF2-40B4-BE49-F238E27FC236}">
                    <a16:creationId xmlns:a16="http://schemas.microsoft.com/office/drawing/2014/main" id="{C93AF010-A7E8-C94F-8DD6-C5F64BDBCC69}"/>
                  </a:ext>
                </a:extLst>
              </p:cNvPr>
              <p:cNvSpPr>
                <a:spLocks/>
              </p:cNvSpPr>
              <p:nvPr/>
            </p:nvSpPr>
            <p:spPr bwMode="auto">
              <a:xfrm>
                <a:off x="5404009" y="5955834"/>
                <a:ext cx="63695" cy="86010"/>
              </a:xfrm>
              <a:custGeom>
                <a:avLst/>
                <a:gdLst>
                  <a:gd name="T0" fmla="*/ 3 w 7"/>
                  <a:gd name="T1" fmla="*/ 8 h 9"/>
                  <a:gd name="T2" fmla="*/ 4 w 7"/>
                  <a:gd name="T3" fmla="*/ 6 h 9"/>
                  <a:gd name="T4" fmla="*/ 2 w 7"/>
                  <a:gd name="T5" fmla="*/ 4 h 9"/>
                  <a:gd name="T6" fmla="*/ 3 w 7"/>
                  <a:gd name="T7" fmla="*/ 1 h 9"/>
                  <a:gd name="T8" fmla="*/ 6 w 7"/>
                  <a:gd name="T9" fmla="*/ 5 h 9"/>
                  <a:gd name="T10" fmla="*/ 3 w 7"/>
                  <a:gd name="T11" fmla="*/ 8 h 9"/>
                  <a:gd name="T12" fmla="*/ 3 w 7"/>
                  <a:gd name="T13" fmla="*/ 8 h 9"/>
                  <a:gd name="T14" fmla="*/ 3 w 7"/>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3" y="8"/>
                    </a:moveTo>
                    <a:cubicBezTo>
                      <a:pt x="4" y="7"/>
                      <a:pt x="5" y="7"/>
                      <a:pt x="4" y="6"/>
                    </a:cubicBezTo>
                    <a:cubicBezTo>
                      <a:pt x="4" y="5"/>
                      <a:pt x="2" y="5"/>
                      <a:pt x="2" y="4"/>
                    </a:cubicBezTo>
                    <a:cubicBezTo>
                      <a:pt x="3" y="3"/>
                      <a:pt x="0" y="0"/>
                      <a:pt x="3" y="1"/>
                    </a:cubicBezTo>
                    <a:cubicBezTo>
                      <a:pt x="6" y="2"/>
                      <a:pt x="6" y="3"/>
                      <a:pt x="6" y="5"/>
                    </a:cubicBezTo>
                    <a:cubicBezTo>
                      <a:pt x="7" y="7"/>
                      <a:pt x="3" y="8"/>
                      <a:pt x="3" y="8"/>
                    </a:cubicBezTo>
                    <a:cubicBezTo>
                      <a:pt x="3" y="8"/>
                      <a:pt x="3" y="8"/>
                      <a:pt x="3" y="8"/>
                    </a:cubicBezTo>
                    <a:cubicBezTo>
                      <a:pt x="4" y="7"/>
                      <a:pt x="2" y="9"/>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8" name="Freeform 564">
                <a:extLst>
                  <a:ext uri="{FF2B5EF4-FFF2-40B4-BE49-F238E27FC236}">
                    <a16:creationId xmlns:a16="http://schemas.microsoft.com/office/drawing/2014/main" id="{EFFCD170-EEAC-2B4A-8436-C27ED38D155D}"/>
                  </a:ext>
                </a:extLst>
              </p:cNvPr>
              <p:cNvSpPr>
                <a:spLocks/>
              </p:cNvSpPr>
              <p:nvPr/>
            </p:nvSpPr>
            <p:spPr bwMode="auto">
              <a:xfrm>
                <a:off x="5384900" y="5974948"/>
                <a:ext cx="28662" cy="9556"/>
              </a:xfrm>
              <a:custGeom>
                <a:avLst/>
                <a:gdLst>
                  <a:gd name="T0" fmla="*/ 2 w 3"/>
                  <a:gd name="T1" fmla="*/ 1 h 1"/>
                  <a:gd name="T2" fmla="*/ 0 w 3"/>
                  <a:gd name="T3" fmla="*/ 0 h 1"/>
                  <a:gd name="T4" fmla="*/ 3 w 3"/>
                  <a:gd name="T5" fmla="*/ 0 h 1"/>
                  <a:gd name="T6" fmla="*/ 2 w 3"/>
                  <a:gd name="T7" fmla="*/ 1 h 1"/>
                </a:gdLst>
                <a:ahLst/>
                <a:cxnLst>
                  <a:cxn ang="0">
                    <a:pos x="T0" y="T1"/>
                  </a:cxn>
                  <a:cxn ang="0">
                    <a:pos x="T2" y="T3"/>
                  </a:cxn>
                  <a:cxn ang="0">
                    <a:pos x="T4" y="T5"/>
                  </a:cxn>
                  <a:cxn ang="0">
                    <a:pos x="T6" y="T7"/>
                  </a:cxn>
                </a:cxnLst>
                <a:rect l="0" t="0" r="r" b="b"/>
                <a:pathLst>
                  <a:path w="3" h="1">
                    <a:moveTo>
                      <a:pt x="2" y="1"/>
                    </a:moveTo>
                    <a:cubicBezTo>
                      <a:pt x="1" y="1"/>
                      <a:pt x="0" y="1"/>
                      <a:pt x="0" y="0"/>
                    </a:cubicBezTo>
                    <a:cubicBezTo>
                      <a:pt x="0" y="0"/>
                      <a:pt x="2" y="0"/>
                      <a:pt x="3" y="0"/>
                    </a:cubicBezTo>
                    <a:cubicBezTo>
                      <a:pt x="3" y="0"/>
                      <a:pt x="2" y="1"/>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89" name="Freeform 565">
                <a:extLst>
                  <a:ext uri="{FF2B5EF4-FFF2-40B4-BE49-F238E27FC236}">
                    <a16:creationId xmlns:a16="http://schemas.microsoft.com/office/drawing/2014/main" id="{8878D84E-8132-574E-8398-2A42E11834B3}"/>
                  </a:ext>
                </a:extLst>
              </p:cNvPr>
              <p:cNvSpPr>
                <a:spLocks/>
              </p:cNvSpPr>
              <p:nvPr/>
            </p:nvSpPr>
            <p:spPr bwMode="auto">
              <a:xfrm>
                <a:off x="4486812" y="5984506"/>
                <a:ext cx="124202" cy="63711"/>
              </a:xfrm>
              <a:custGeom>
                <a:avLst/>
                <a:gdLst>
                  <a:gd name="T0" fmla="*/ 10 w 13"/>
                  <a:gd name="T1" fmla="*/ 1 h 7"/>
                  <a:gd name="T2" fmla="*/ 7 w 13"/>
                  <a:gd name="T3" fmla="*/ 1 h 7"/>
                  <a:gd name="T4" fmla="*/ 5 w 13"/>
                  <a:gd name="T5" fmla="*/ 1 h 7"/>
                  <a:gd name="T6" fmla="*/ 5 w 13"/>
                  <a:gd name="T7" fmla="*/ 4 h 7"/>
                  <a:gd name="T8" fmla="*/ 1 w 13"/>
                  <a:gd name="T9" fmla="*/ 3 h 7"/>
                  <a:gd name="T10" fmla="*/ 1 w 13"/>
                  <a:gd name="T11" fmla="*/ 6 h 7"/>
                  <a:gd name="T12" fmla="*/ 11 w 13"/>
                  <a:gd name="T13" fmla="*/ 4 h 7"/>
                  <a:gd name="T14" fmla="*/ 9 w 13"/>
                  <a:gd name="T15" fmla="*/ 3 h 7"/>
                  <a:gd name="T16" fmla="*/ 12 w 13"/>
                  <a:gd name="T17" fmla="*/ 3 h 7"/>
                  <a:gd name="T18" fmla="*/ 10 w 13"/>
                  <a:gd name="T19" fmla="*/ 1 h 7"/>
                  <a:gd name="T20" fmla="*/ 10 w 13"/>
                  <a:gd name="T21"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7">
                    <a:moveTo>
                      <a:pt x="10" y="1"/>
                    </a:moveTo>
                    <a:cubicBezTo>
                      <a:pt x="9" y="1"/>
                      <a:pt x="8" y="1"/>
                      <a:pt x="7" y="1"/>
                    </a:cubicBezTo>
                    <a:cubicBezTo>
                      <a:pt x="6" y="1"/>
                      <a:pt x="6" y="1"/>
                      <a:pt x="5" y="1"/>
                    </a:cubicBezTo>
                    <a:cubicBezTo>
                      <a:pt x="3" y="2"/>
                      <a:pt x="4" y="4"/>
                      <a:pt x="5" y="4"/>
                    </a:cubicBezTo>
                    <a:cubicBezTo>
                      <a:pt x="4" y="4"/>
                      <a:pt x="2" y="1"/>
                      <a:pt x="1" y="3"/>
                    </a:cubicBezTo>
                    <a:cubicBezTo>
                      <a:pt x="0" y="4"/>
                      <a:pt x="0" y="5"/>
                      <a:pt x="1" y="6"/>
                    </a:cubicBezTo>
                    <a:cubicBezTo>
                      <a:pt x="2" y="7"/>
                      <a:pt x="10" y="5"/>
                      <a:pt x="11" y="4"/>
                    </a:cubicBezTo>
                    <a:cubicBezTo>
                      <a:pt x="11" y="4"/>
                      <a:pt x="10" y="3"/>
                      <a:pt x="9" y="3"/>
                    </a:cubicBezTo>
                    <a:cubicBezTo>
                      <a:pt x="10" y="3"/>
                      <a:pt x="12" y="3"/>
                      <a:pt x="12" y="3"/>
                    </a:cubicBezTo>
                    <a:cubicBezTo>
                      <a:pt x="13" y="2"/>
                      <a:pt x="11" y="0"/>
                      <a:pt x="10" y="1"/>
                    </a:cubicBezTo>
                    <a:cubicBezTo>
                      <a:pt x="9" y="1"/>
                      <a:pt x="11" y="0"/>
                      <a:pt x="1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0" name="Freeform 566">
                <a:extLst>
                  <a:ext uri="{FF2B5EF4-FFF2-40B4-BE49-F238E27FC236}">
                    <a16:creationId xmlns:a16="http://schemas.microsoft.com/office/drawing/2014/main" id="{273F090E-D482-1245-BC3E-EF22993DE293}"/>
                  </a:ext>
                </a:extLst>
              </p:cNvPr>
              <p:cNvSpPr>
                <a:spLocks/>
              </p:cNvSpPr>
              <p:nvPr/>
            </p:nvSpPr>
            <p:spPr bwMode="auto">
              <a:xfrm>
                <a:off x="4534582" y="5927165"/>
                <a:ext cx="76432" cy="66896"/>
              </a:xfrm>
              <a:custGeom>
                <a:avLst/>
                <a:gdLst>
                  <a:gd name="T0" fmla="*/ 2 w 8"/>
                  <a:gd name="T1" fmla="*/ 6 h 7"/>
                  <a:gd name="T2" fmla="*/ 5 w 8"/>
                  <a:gd name="T3" fmla="*/ 4 h 7"/>
                  <a:gd name="T4" fmla="*/ 8 w 8"/>
                  <a:gd name="T5" fmla="*/ 4 h 7"/>
                  <a:gd name="T6" fmla="*/ 5 w 8"/>
                  <a:gd name="T7" fmla="*/ 2 h 7"/>
                  <a:gd name="T8" fmla="*/ 2 w 8"/>
                  <a:gd name="T9" fmla="*/ 6 h 7"/>
                  <a:gd name="T10" fmla="*/ 2 w 8"/>
                  <a:gd name="T11" fmla="*/ 6 h 7"/>
                  <a:gd name="T12" fmla="*/ 2 w 8"/>
                  <a:gd name="T13" fmla="*/ 6 h 7"/>
                </a:gdLst>
                <a:ahLst/>
                <a:cxnLst>
                  <a:cxn ang="0">
                    <a:pos x="T0" y="T1"/>
                  </a:cxn>
                  <a:cxn ang="0">
                    <a:pos x="T2" y="T3"/>
                  </a:cxn>
                  <a:cxn ang="0">
                    <a:pos x="T4" y="T5"/>
                  </a:cxn>
                  <a:cxn ang="0">
                    <a:pos x="T6" y="T7"/>
                  </a:cxn>
                  <a:cxn ang="0">
                    <a:pos x="T8" y="T9"/>
                  </a:cxn>
                  <a:cxn ang="0">
                    <a:pos x="T10" y="T11"/>
                  </a:cxn>
                  <a:cxn ang="0">
                    <a:pos x="T12" y="T13"/>
                  </a:cxn>
                </a:cxnLst>
                <a:rect l="0" t="0" r="r" b="b"/>
                <a:pathLst>
                  <a:path w="8" h="7">
                    <a:moveTo>
                      <a:pt x="2" y="6"/>
                    </a:moveTo>
                    <a:cubicBezTo>
                      <a:pt x="3" y="5"/>
                      <a:pt x="4" y="5"/>
                      <a:pt x="5" y="4"/>
                    </a:cubicBezTo>
                    <a:cubicBezTo>
                      <a:pt x="6" y="4"/>
                      <a:pt x="8" y="4"/>
                      <a:pt x="8" y="4"/>
                    </a:cubicBezTo>
                    <a:cubicBezTo>
                      <a:pt x="8" y="4"/>
                      <a:pt x="7" y="0"/>
                      <a:pt x="5" y="2"/>
                    </a:cubicBezTo>
                    <a:cubicBezTo>
                      <a:pt x="5" y="2"/>
                      <a:pt x="1" y="5"/>
                      <a:pt x="2" y="6"/>
                    </a:cubicBezTo>
                    <a:cubicBezTo>
                      <a:pt x="2" y="6"/>
                      <a:pt x="2" y="6"/>
                      <a:pt x="2" y="6"/>
                    </a:cubicBezTo>
                    <a:cubicBezTo>
                      <a:pt x="4" y="5"/>
                      <a:pt x="0" y="7"/>
                      <a:pt x="2"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1" name="Freeform 567">
                <a:extLst>
                  <a:ext uri="{FF2B5EF4-FFF2-40B4-BE49-F238E27FC236}">
                    <a16:creationId xmlns:a16="http://schemas.microsoft.com/office/drawing/2014/main" id="{49F86A92-567B-234A-B63E-4623FE89ED7A}"/>
                  </a:ext>
                </a:extLst>
              </p:cNvPr>
              <p:cNvSpPr>
                <a:spLocks/>
              </p:cNvSpPr>
              <p:nvPr/>
            </p:nvSpPr>
            <p:spPr bwMode="auto">
              <a:xfrm>
                <a:off x="4002734" y="6182007"/>
                <a:ext cx="92356" cy="35042"/>
              </a:xfrm>
              <a:custGeom>
                <a:avLst/>
                <a:gdLst>
                  <a:gd name="T0" fmla="*/ 9 w 10"/>
                  <a:gd name="T1" fmla="*/ 2 h 4"/>
                  <a:gd name="T2" fmla="*/ 9 w 10"/>
                  <a:gd name="T3" fmla="*/ 1 h 4"/>
                  <a:gd name="T4" fmla="*/ 6 w 10"/>
                  <a:gd name="T5" fmla="*/ 0 h 4"/>
                  <a:gd name="T6" fmla="*/ 2 w 10"/>
                  <a:gd name="T7" fmla="*/ 2 h 4"/>
                  <a:gd name="T8" fmla="*/ 3 w 10"/>
                  <a:gd name="T9" fmla="*/ 4 h 4"/>
                  <a:gd name="T10" fmla="*/ 9 w 10"/>
                  <a:gd name="T11" fmla="*/ 2 h 4"/>
                  <a:gd name="T12" fmla="*/ 9 w 10"/>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9" y="2"/>
                    </a:moveTo>
                    <a:cubicBezTo>
                      <a:pt x="10" y="2"/>
                      <a:pt x="8" y="1"/>
                      <a:pt x="9" y="1"/>
                    </a:cubicBezTo>
                    <a:cubicBezTo>
                      <a:pt x="8" y="0"/>
                      <a:pt x="7" y="0"/>
                      <a:pt x="6" y="0"/>
                    </a:cubicBezTo>
                    <a:cubicBezTo>
                      <a:pt x="5" y="1"/>
                      <a:pt x="3" y="1"/>
                      <a:pt x="2" y="2"/>
                    </a:cubicBezTo>
                    <a:cubicBezTo>
                      <a:pt x="0" y="3"/>
                      <a:pt x="2" y="4"/>
                      <a:pt x="3" y="4"/>
                    </a:cubicBezTo>
                    <a:cubicBezTo>
                      <a:pt x="5" y="4"/>
                      <a:pt x="7" y="1"/>
                      <a:pt x="9" y="2"/>
                    </a:cubicBezTo>
                    <a:cubicBezTo>
                      <a:pt x="10" y="2"/>
                      <a:pt x="7" y="1"/>
                      <a:pt x="9"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2" name="Freeform 568">
                <a:extLst>
                  <a:ext uri="{FF2B5EF4-FFF2-40B4-BE49-F238E27FC236}">
                    <a16:creationId xmlns:a16="http://schemas.microsoft.com/office/drawing/2014/main" id="{095A195A-2025-9940-A6F7-3458635F902C}"/>
                  </a:ext>
                </a:extLst>
              </p:cNvPr>
              <p:cNvSpPr>
                <a:spLocks/>
              </p:cNvSpPr>
              <p:nvPr/>
            </p:nvSpPr>
            <p:spPr bwMode="auto">
              <a:xfrm>
                <a:off x="3891269" y="6236163"/>
                <a:ext cx="54139" cy="47785"/>
              </a:xfrm>
              <a:custGeom>
                <a:avLst/>
                <a:gdLst>
                  <a:gd name="T0" fmla="*/ 6 w 6"/>
                  <a:gd name="T1" fmla="*/ 2 h 5"/>
                  <a:gd name="T2" fmla="*/ 3 w 6"/>
                  <a:gd name="T3" fmla="*/ 2 h 5"/>
                  <a:gd name="T4" fmla="*/ 3 w 6"/>
                  <a:gd name="T5" fmla="*/ 4 h 5"/>
                  <a:gd name="T6" fmla="*/ 0 w 6"/>
                  <a:gd name="T7" fmla="*/ 5 h 5"/>
                  <a:gd name="T8" fmla="*/ 6 w 6"/>
                  <a:gd name="T9" fmla="*/ 2 h 5"/>
                </a:gdLst>
                <a:ahLst/>
                <a:cxnLst>
                  <a:cxn ang="0">
                    <a:pos x="T0" y="T1"/>
                  </a:cxn>
                  <a:cxn ang="0">
                    <a:pos x="T2" y="T3"/>
                  </a:cxn>
                  <a:cxn ang="0">
                    <a:pos x="T4" y="T5"/>
                  </a:cxn>
                  <a:cxn ang="0">
                    <a:pos x="T6" y="T7"/>
                  </a:cxn>
                  <a:cxn ang="0">
                    <a:pos x="T8" y="T9"/>
                  </a:cxn>
                </a:cxnLst>
                <a:rect l="0" t="0" r="r" b="b"/>
                <a:pathLst>
                  <a:path w="6" h="5">
                    <a:moveTo>
                      <a:pt x="6" y="2"/>
                    </a:moveTo>
                    <a:cubicBezTo>
                      <a:pt x="6" y="0"/>
                      <a:pt x="4" y="1"/>
                      <a:pt x="3" y="2"/>
                    </a:cubicBezTo>
                    <a:cubicBezTo>
                      <a:pt x="3" y="2"/>
                      <a:pt x="3" y="3"/>
                      <a:pt x="3" y="4"/>
                    </a:cubicBezTo>
                    <a:cubicBezTo>
                      <a:pt x="2" y="4"/>
                      <a:pt x="0" y="5"/>
                      <a:pt x="0" y="5"/>
                    </a:cubicBezTo>
                    <a:cubicBezTo>
                      <a:pt x="0" y="5"/>
                      <a:pt x="6" y="5"/>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3" name="Freeform 569">
                <a:extLst>
                  <a:ext uri="{FF2B5EF4-FFF2-40B4-BE49-F238E27FC236}">
                    <a16:creationId xmlns:a16="http://schemas.microsoft.com/office/drawing/2014/main" id="{9640749A-D282-8D41-8D06-271D5F7B855D}"/>
                  </a:ext>
                </a:extLst>
              </p:cNvPr>
              <p:cNvSpPr>
                <a:spLocks/>
              </p:cNvSpPr>
              <p:nvPr/>
            </p:nvSpPr>
            <p:spPr bwMode="auto">
              <a:xfrm>
                <a:off x="7066431" y="5076623"/>
                <a:ext cx="194268" cy="121050"/>
              </a:xfrm>
              <a:custGeom>
                <a:avLst/>
                <a:gdLst>
                  <a:gd name="T0" fmla="*/ 19 w 21"/>
                  <a:gd name="T1" fmla="*/ 9 h 13"/>
                  <a:gd name="T2" fmla="*/ 18 w 21"/>
                  <a:gd name="T3" fmla="*/ 7 h 13"/>
                  <a:gd name="T4" fmla="*/ 14 w 21"/>
                  <a:gd name="T5" fmla="*/ 4 h 13"/>
                  <a:gd name="T6" fmla="*/ 8 w 21"/>
                  <a:gd name="T7" fmla="*/ 1 h 13"/>
                  <a:gd name="T8" fmla="*/ 5 w 21"/>
                  <a:gd name="T9" fmla="*/ 6 h 13"/>
                  <a:gd name="T10" fmla="*/ 0 w 21"/>
                  <a:gd name="T11" fmla="*/ 8 h 13"/>
                  <a:gd name="T12" fmla="*/ 7 w 21"/>
                  <a:gd name="T13" fmla="*/ 11 h 13"/>
                  <a:gd name="T14" fmla="*/ 15 w 21"/>
                  <a:gd name="T15" fmla="*/ 12 h 13"/>
                  <a:gd name="T16" fmla="*/ 20 w 21"/>
                  <a:gd name="T17" fmla="*/ 9 h 13"/>
                  <a:gd name="T18" fmla="*/ 19 w 21"/>
                  <a:gd name="T19" fmla="*/ 9 h 13"/>
                  <a:gd name="T20" fmla="*/ 19 w 21"/>
                  <a:gd name="T21"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19" y="9"/>
                    </a:moveTo>
                    <a:cubicBezTo>
                      <a:pt x="15" y="10"/>
                      <a:pt x="19" y="8"/>
                      <a:pt x="18" y="7"/>
                    </a:cubicBezTo>
                    <a:cubicBezTo>
                      <a:pt x="17" y="7"/>
                      <a:pt x="15" y="4"/>
                      <a:pt x="14" y="4"/>
                    </a:cubicBezTo>
                    <a:cubicBezTo>
                      <a:pt x="12" y="4"/>
                      <a:pt x="10" y="1"/>
                      <a:pt x="8" y="1"/>
                    </a:cubicBezTo>
                    <a:cubicBezTo>
                      <a:pt x="6" y="0"/>
                      <a:pt x="6" y="5"/>
                      <a:pt x="5" y="6"/>
                    </a:cubicBezTo>
                    <a:cubicBezTo>
                      <a:pt x="4" y="6"/>
                      <a:pt x="0" y="6"/>
                      <a:pt x="0" y="8"/>
                    </a:cubicBezTo>
                    <a:cubicBezTo>
                      <a:pt x="1" y="10"/>
                      <a:pt x="6" y="11"/>
                      <a:pt x="7" y="11"/>
                    </a:cubicBezTo>
                    <a:cubicBezTo>
                      <a:pt x="9" y="12"/>
                      <a:pt x="13" y="13"/>
                      <a:pt x="15" y="12"/>
                    </a:cubicBezTo>
                    <a:cubicBezTo>
                      <a:pt x="15" y="12"/>
                      <a:pt x="20" y="10"/>
                      <a:pt x="20" y="9"/>
                    </a:cubicBezTo>
                    <a:cubicBezTo>
                      <a:pt x="20" y="9"/>
                      <a:pt x="19" y="9"/>
                      <a:pt x="19" y="9"/>
                    </a:cubicBezTo>
                    <a:cubicBezTo>
                      <a:pt x="18" y="10"/>
                      <a:pt x="21" y="9"/>
                      <a:pt x="19"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4" name="Freeform 570">
                <a:extLst>
                  <a:ext uri="{FF2B5EF4-FFF2-40B4-BE49-F238E27FC236}">
                    <a16:creationId xmlns:a16="http://schemas.microsoft.com/office/drawing/2014/main" id="{0F138684-285A-484F-BCD0-F8CA34FB4CC9}"/>
                  </a:ext>
                </a:extLst>
              </p:cNvPr>
              <p:cNvSpPr>
                <a:spLocks/>
              </p:cNvSpPr>
              <p:nvPr/>
            </p:nvSpPr>
            <p:spPr bwMode="auto">
              <a:xfrm>
                <a:off x="6999554" y="5133964"/>
                <a:ext cx="47770" cy="35042"/>
              </a:xfrm>
              <a:custGeom>
                <a:avLst/>
                <a:gdLst>
                  <a:gd name="T0" fmla="*/ 2 w 5"/>
                  <a:gd name="T1" fmla="*/ 4 h 4"/>
                  <a:gd name="T2" fmla="*/ 4 w 5"/>
                  <a:gd name="T3" fmla="*/ 1 h 4"/>
                  <a:gd name="T4" fmla="*/ 2 w 5"/>
                  <a:gd name="T5" fmla="*/ 4 h 4"/>
                  <a:gd name="T6" fmla="*/ 2 w 5"/>
                  <a:gd name="T7" fmla="*/ 4 h 4"/>
                </a:gdLst>
                <a:ahLst/>
                <a:cxnLst>
                  <a:cxn ang="0">
                    <a:pos x="T0" y="T1"/>
                  </a:cxn>
                  <a:cxn ang="0">
                    <a:pos x="T2" y="T3"/>
                  </a:cxn>
                  <a:cxn ang="0">
                    <a:pos x="T4" y="T5"/>
                  </a:cxn>
                  <a:cxn ang="0">
                    <a:pos x="T6" y="T7"/>
                  </a:cxn>
                </a:cxnLst>
                <a:rect l="0" t="0" r="r" b="b"/>
                <a:pathLst>
                  <a:path w="5" h="4">
                    <a:moveTo>
                      <a:pt x="2" y="4"/>
                    </a:moveTo>
                    <a:cubicBezTo>
                      <a:pt x="0" y="4"/>
                      <a:pt x="4" y="0"/>
                      <a:pt x="4" y="1"/>
                    </a:cubicBezTo>
                    <a:cubicBezTo>
                      <a:pt x="5" y="1"/>
                      <a:pt x="3" y="4"/>
                      <a:pt x="2" y="4"/>
                    </a:cubicBezTo>
                    <a:cubicBezTo>
                      <a:pt x="1" y="4"/>
                      <a:pt x="4" y="4"/>
                      <a:pt x="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5" name="Freeform 571">
                <a:extLst>
                  <a:ext uri="{FF2B5EF4-FFF2-40B4-BE49-F238E27FC236}">
                    <a16:creationId xmlns:a16="http://schemas.microsoft.com/office/drawing/2014/main" id="{CB9B77A3-0453-2746-B876-719F494B3879}"/>
                  </a:ext>
                </a:extLst>
              </p:cNvPr>
              <p:cNvSpPr>
                <a:spLocks/>
              </p:cNvSpPr>
              <p:nvPr/>
            </p:nvSpPr>
            <p:spPr bwMode="auto">
              <a:xfrm>
                <a:off x="6942228" y="5169003"/>
                <a:ext cx="19109" cy="19114"/>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0" y="2"/>
                      <a:pt x="0" y="1"/>
                      <a:pt x="1" y="0"/>
                    </a:cubicBezTo>
                    <a:cubicBezTo>
                      <a:pt x="2" y="0"/>
                      <a:pt x="2"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6" name="Freeform 572">
                <a:extLst>
                  <a:ext uri="{FF2B5EF4-FFF2-40B4-BE49-F238E27FC236}">
                    <a16:creationId xmlns:a16="http://schemas.microsoft.com/office/drawing/2014/main" id="{4CAB5A38-07CC-BD4E-B8FC-27963050A724}"/>
                  </a:ext>
                </a:extLst>
              </p:cNvPr>
              <p:cNvSpPr>
                <a:spLocks/>
              </p:cNvSpPr>
              <p:nvPr/>
            </p:nvSpPr>
            <p:spPr bwMode="auto">
              <a:xfrm>
                <a:off x="6139678" y="4777183"/>
                <a:ext cx="859874" cy="420492"/>
              </a:xfrm>
              <a:custGeom>
                <a:avLst/>
                <a:gdLst>
                  <a:gd name="T0" fmla="*/ 76 w 92"/>
                  <a:gd name="T1" fmla="*/ 41 h 45"/>
                  <a:gd name="T2" fmla="*/ 71 w 92"/>
                  <a:gd name="T3" fmla="*/ 39 h 45"/>
                  <a:gd name="T4" fmla="*/ 61 w 92"/>
                  <a:gd name="T5" fmla="*/ 38 h 45"/>
                  <a:gd name="T6" fmla="*/ 45 w 92"/>
                  <a:gd name="T7" fmla="*/ 43 h 45"/>
                  <a:gd name="T8" fmla="*/ 29 w 92"/>
                  <a:gd name="T9" fmla="*/ 41 h 45"/>
                  <a:gd name="T10" fmla="*/ 21 w 92"/>
                  <a:gd name="T11" fmla="*/ 38 h 45"/>
                  <a:gd name="T12" fmla="*/ 10 w 92"/>
                  <a:gd name="T13" fmla="*/ 31 h 45"/>
                  <a:gd name="T14" fmla="*/ 40 w 92"/>
                  <a:gd name="T15" fmla="*/ 29 h 45"/>
                  <a:gd name="T16" fmla="*/ 9 w 92"/>
                  <a:gd name="T17" fmla="*/ 26 h 45"/>
                  <a:gd name="T18" fmla="*/ 16 w 92"/>
                  <a:gd name="T19" fmla="*/ 19 h 45"/>
                  <a:gd name="T20" fmla="*/ 14 w 92"/>
                  <a:gd name="T21" fmla="*/ 18 h 45"/>
                  <a:gd name="T22" fmla="*/ 7 w 92"/>
                  <a:gd name="T23" fmla="*/ 17 h 45"/>
                  <a:gd name="T24" fmla="*/ 4 w 92"/>
                  <a:gd name="T25" fmla="*/ 11 h 45"/>
                  <a:gd name="T26" fmla="*/ 8 w 92"/>
                  <a:gd name="T27" fmla="*/ 7 h 45"/>
                  <a:gd name="T28" fmla="*/ 24 w 92"/>
                  <a:gd name="T29" fmla="*/ 1 h 45"/>
                  <a:gd name="T30" fmla="*/ 29 w 92"/>
                  <a:gd name="T31" fmla="*/ 7 h 45"/>
                  <a:gd name="T32" fmla="*/ 39 w 92"/>
                  <a:gd name="T33" fmla="*/ 6 h 45"/>
                  <a:gd name="T34" fmla="*/ 43 w 92"/>
                  <a:gd name="T35" fmla="*/ 8 h 45"/>
                  <a:gd name="T36" fmla="*/ 47 w 92"/>
                  <a:gd name="T37" fmla="*/ 9 h 45"/>
                  <a:gd name="T38" fmla="*/ 43 w 92"/>
                  <a:gd name="T39" fmla="*/ 4 h 45"/>
                  <a:gd name="T40" fmla="*/ 54 w 92"/>
                  <a:gd name="T41" fmla="*/ 10 h 45"/>
                  <a:gd name="T42" fmla="*/ 60 w 92"/>
                  <a:gd name="T43" fmla="*/ 14 h 45"/>
                  <a:gd name="T44" fmla="*/ 59 w 92"/>
                  <a:gd name="T45" fmla="*/ 1 h 45"/>
                  <a:gd name="T46" fmla="*/ 69 w 92"/>
                  <a:gd name="T47" fmla="*/ 6 h 45"/>
                  <a:gd name="T48" fmla="*/ 74 w 92"/>
                  <a:gd name="T49" fmla="*/ 19 h 45"/>
                  <a:gd name="T50" fmla="*/ 82 w 92"/>
                  <a:gd name="T51" fmla="*/ 26 h 45"/>
                  <a:gd name="T52" fmla="*/ 92 w 92"/>
                  <a:gd name="T53" fmla="*/ 33 h 45"/>
                  <a:gd name="T54" fmla="*/ 83 w 92"/>
                  <a:gd name="T55" fmla="*/ 35 h 45"/>
                  <a:gd name="T56" fmla="*/ 81 w 92"/>
                  <a:gd name="T57" fmla="*/ 36 h 45"/>
                  <a:gd name="T58" fmla="*/ 85 w 92"/>
                  <a:gd name="T59" fmla="*/ 36 h 45"/>
                  <a:gd name="T60" fmla="*/ 89 w 92"/>
                  <a:gd name="T61" fmla="*/ 39 h 45"/>
                  <a:gd name="T62" fmla="*/ 83 w 92"/>
                  <a:gd name="T63" fmla="*/ 41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45">
                    <a:moveTo>
                      <a:pt x="83" y="41"/>
                    </a:moveTo>
                    <a:cubicBezTo>
                      <a:pt x="81" y="41"/>
                      <a:pt x="79" y="41"/>
                      <a:pt x="76" y="41"/>
                    </a:cubicBezTo>
                    <a:cubicBezTo>
                      <a:pt x="75" y="41"/>
                      <a:pt x="74" y="41"/>
                      <a:pt x="73" y="41"/>
                    </a:cubicBezTo>
                    <a:cubicBezTo>
                      <a:pt x="72" y="41"/>
                      <a:pt x="72" y="40"/>
                      <a:pt x="71" y="39"/>
                    </a:cubicBezTo>
                    <a:cubicBezTo>
                      <a:pt x="70" y="39"/>
                      <a:pt x="66" y="40"/>
                      <a:pt x="65" y="38"/>
                    </a:cubicBezTo>
                    <a:cubicBezTo>
                      <a:pt x="65" y="35"/>
                      <a:pt x="63" y="37"/>
                      <a:pt x="61" y="38"/>
                    </a:cubicBezTo>
                    <a:cubicBezTo>
                      <a:pt x="58" y="40"/>
                      <a:pt x="56" y="39"/>
                      <a:pt x="54" y="40"/>
                    </a:cubicBezTo>
                    <a:cubicBezTo>
                      <a:pt x="51" y="41"/>
                      <a:pt x="48" y="42"/>
                      <a:pt x="45" y="43"/>
                    </a:cubicBezTo>
                    <a:cubicBezTo>
                      <a:pt x="41" y="43"/>
                      <a:pt x="35" y="45"/>
                      <a:pt x="31" y="43"/>
                    </a:cubicBezTo>
                    <a:cubicBezTo>
                      <a:pt x="31" y="43"/>
                      <a:pt x="29" y="42"/>
                      <a:pt x="29" y="41"/>
                    </a:cubicBezTo>
                    <a:cubicBezTo>
                      <a:pt x="29" y="40"/>
                      <a:pt x="29" y="38"/>
                      <a:pt x="27" y="38"/>
                    </a:cubicBezTo>
                    <a:cubicBezTo>
                      <a:pt x="25" y="38"/>
                      <a:pt x="23" y="38"/>
                      <a:pt x="21" y="38"/>
                    </a:cubicBezTo>
                    <a:cubicBezTo>
                      <a:pt x="19" y="38"/>
                      <a:pt x="17" y="38"/>
                      <a:pt x="15" y="36"/>
                    </a:cubicBezTo>
                    <a:cubicBezTo>
                      <a:pt x="14" y="36"/>
                      <a:pt x="9" y="32"/>
                      <a:pt x="10" y="31"/>
                    </a:cubicBezTo>
                    <a:cubicBezTo>
                      <a:pt x="16" y="28"/>
                      <a:pt x="23" y="29"/>
                      <a:pt x="28" y="29"/>
                    </a:cubicBezTo>
                    <a:cubicBezTo>
                      <a:pt x="29" y="29"/>
                      <a:pt x="40" y="29"/>
                      <a:pt x="40" y="29"/>
                    </a:cubicBezTo>
                    <a:cubicBezTo>
                      <a:pt x="40" y="27"/>
                      <a:pt x="26" y="25"/>
                      <a:pt x="25" y="25"/>
                    </a:cubicBezTo>
                    <a:cubicBezTo>
                      <a:pt x="20" y="25"/>
                      <a:pt x="14" y="28"/>
                      <a:pt x="9" y="26"/>
                    </a:cubicBezTo>
                    <a:cubicBezTo>
                      <a:pt x="7" y="25"/>
                      <a:pt x="3" y="23"/>
                      <a:pt x="7" y="21"/>
                    </a:cubicBezTo>
                    <a:cubicBezTo>
                      <a:pt x="10" y="20"/>
                      <a:pt x="13" y="19"/>
                      <a:pt x="16" y="19"/>
                    </a:cubicBezTo>
                    <a:cubicBezTo>
                      <a:pt x="18" y="18"/>
                      <a:pt x="20" y="18"/>
                      <a:pt x="21" y="18"/>
                    </a:cubicBezTo>
                    <a:cubicBezTo>
                      <a:pt x="19" y="19"/>
                      <a:pt x="16" y="18"/>
                      <a:pt x="14" y="18"/>
                    </a:cubicBezTo>
                    <a:cubicBezTo>
                      <a:pt x="13" y="18"/>
                      <a:pt x="7" y="19"/>
                      <a:pt x="6" y="18"/>
                    </a:cubicBezTo>
                    <a:cubicBezTo>
                      <a:pt x="6" y="18"/>
                      <a:pt x="7" y="17"/>
                      <a:pt x="7" y="17"/>
                    </a:cubicBezTo>
                    <a:cubicBezTo>
                      <a:pt x="7" y="16"/>
                      <a:pt x="0" y="17"/>
                      <a:pt x="1" y="15"/>
                    </a:cubicBezTo>
                    <a:cubicBezTo>
                      <a:pt x="2" y="14"/>
                      <a:pt x="3" y="12"/>
                      <a:pt x="4" y="11"/>
                    </a:cubicBezTo>
                    <a:cubicBezTo>
                      <a:pt x="8" y="10"/>
                      <a:pt x="4" y="10"/>
                      <a:pt x="4" y="9"/>
                    </a:cubicBezTo>
                    <a:cubicBezTo>
                      <a:pt x="4" y="9"/>
                      <a:pt x="7" y="7"/>
                      <a:pt x="8" y="7"/>
                    </a:cubicBezTo>
                    <a:cubicBezTo>
                      <a:pt x="10" y="6"/>
                      <a:pt x="11" y="5"/>
                      <a:pt x="13" y="4"/>
                    </a:cubicBezTo>
                    <a:cubicBezTo>
                      <a:pt x="17" y="2"/>
                      <a:pt x="20" y="1"/>
                      <a:pt x="24" y="1"/>
                    </a:cubicBezTo>
                    <a:cubicBezTo>
                      <a:pt x="29" y="1"/>
                      <a:pt x="24" y="7"/>
                      <a:pt x="24" y="7"/>
                    </a:cubicBezTo>
                    <a:cubicBezTo>
                      <a:pt x="26" y="8"/>
                      <a:pt x="28" y="8"/>
                      <a:pt x="29" y="7"/>
                    </a:cubicBezTo>
                    <a:cubicBezTo>
                      <a:pt x="30" y="7"/>
                      <a:pt x="30" y="4"/>
                      <a:pt x="31" y="4"/>
                    </a:cubicBezTo>
                    <a:cubicBezTo>
                      <a:pt x="33" y="4"/>
                      <a:pt x="37" y="4"/>
                      <a:pt x="39" y="6"/>
                    </a:cubicBezTo>
                    <a:cubicBezTo>
                      <a:pt x="42" y="8"/>
                      <a:pt x="35" y="11"/>
                      <a:pt x="40" y="10"/>
                    </a:cubicBezTo>
                    <a:cubicBezTo>
                      <a:pt x="41" y="10"/>
                      <a:pt x="42" y="9"/>
                      <a:pt x="43" y="8"/>
                    </a:cubicBezTo>
                    <a:cubicBezTo>
                      <a:pt x="44" y="8"/>
                      <a:pt x="44" y="8"/>
                      <a:pt x="45" y="8"/>
                    </a:cubicBezTo>
                    <a:cubicBezTo>
                      <a:pt x="46" y="8"/>
                      <a:pt x="46" y="8"/>
                      <a:pt x="47" y="9"/>
                    </a:cubicBezTo>
                    <a:cubicBezTo>
                      <a:pt x="48" y="9"/>
                      <a:pt x="48" y="7"/>
                      <a:pt x="48" y="6"/>
                    </a:cubicBezTo>
                    <a:cubicBezTo>
                      <a:pt x="47" y="6"/>
                      <a:pt x="44" y="4"/>
                      <a:pt x="43" y="4"/>
                    </a:cubicBezTo>
                    <a:cubicBezTo>
                      <a:pt x="45" y="3"/>
                      <a:pt x="49" y="5"/>
                      <a:pt x="50" y="6"/>
                    </a:cubicBezTo>
                    <a:cubicBezTo>
                      <a:pt x="53" y="7"/>
                      <a:pt x="53" y="8"/>
                      <a:pt x="54" y="10"/>
                    </a:cubicBezTo>
                    <a:cubicBezTo>
                      <a:pt x="54" y="11"/>
                      <a:pt x="54" y="16"/>
                      <a:pt x="56" y="16"/>
                    </a:cubicBezTo>
                    <a:cubicBezTo>
                      <a:pt x="57" y="16"/>
                      <a:pt x="61" y="16"/>
                      <a:pt x="60" y="14"/>
                    </a:cubicBezTo>
                    <a:cubicBezTo>
                      <a:pt x="59" y="10"/>
                      <a:pt x="57" y="7"/>
                      <a:pt x="56" y="3"/>
                    </a:cubicBezTo>
                    <a:cubicBezTo>
                      <a:pt x="55" y="0"/>
                      <a:pt x="58" y="1"/>
                      <a:pt x="59" y="1"/>
                    </a:cubicBezTo>
                    <a:cubicBezTo>
                      <a:pt x="62" y="2"/>
                      <a:pt x="62" y="0"/>
                      <a:pt x="64" y="1"/>
                    </a:cubicBezTo>
                    <a:cubicBezTo>
                      <a:pt x="66" y="3"/>
                      <a:pt x="69" y="4"/>
                      <a:pt x="69" y="6"/>
                    </a:cubicBezTo>
                    <a:cubicBezTo>
                      <a:pt x="70" y="9"/>
                      <a:pt x="71" y="11"/>
                      <a:pt x="73" y="13"/>
                    </a:cubicBezTo>
                    <a:cubicBezTo>
                      <a:pt x="74" y="16"/>
                      <a:pt x="75" y="17"/>
                      <a:pt x="74" y="19"/>
                    </a:cubicBezTo>
                    <a:cubicBezTo>
                      <a:pt x="73" y="22"/>
                      <a:pt x="76" y="25"/>
                      <a:pt x="78" y="26"/>
                    </a:cubicBezTo>
                    <a:cubicBezTo>
                      <a:pt x="79" y="26"/>
                      <a:pt x="81" y="26"/>
                      <a:pt x="82" y="26"/>
                    </a:cubicBezTo>
                    <a:cubicBezTo>
                      <a:pt x="83" y="27"/>
                      <a:pt x="84" y="28"/>
                      <a:pt x="85" y="28"/>
                    </a:cubicBezTo>
                    <a:cubicBezTo>
                      <a:pt x="88" y="29"/>
                      <a:pt x="92" y="29"/>
                      <a:pt x="92" y="33"/>
                    </a:cubicBezTo>
                    <a:cubicBezTo>
                      <a:pt x="92" y="35"/>
                      <a:pt x="83" y="32"/>
                      <a:pt x="83" y="32"/>
                    </a:cubicBezTo>
                    <a:cubicBezTo>
                      <a:pt x="83" y="33"/>
                      <a:pt x="83" y="34"/>
                      <a:pt x="83" y="35"/>
                    </a:cubicBezTo>
                    <a:cubicBezTo>
                      <a:pt x="83" y="35"/>
                      <a:pt x="80" y="35"/>
                      <a:pt x="80" y="35"/>
                    </a:cubicBezTo>
                    <a:cubicBezTo>
                      <a:pt x="81" y="35"/>
                      <a:pt x="81" y="36"/>
                      <a:pt x="81" y="36"/>
                    </a:cubicBezTo>
                    <a:cubicBezTo>
                      <a:pt x="81" y="37"/>
                      <a:pt x="81" y="38"/>
                      <a:pt x="81" y="38"/>
                    </a:cubicBezTo>
                    <a:cubicBezTo>
                      <a:pt x="81" y="38"/>
                      <a:pt x="85" y="36"/>
                      <a:pt x="85" y="36"/>
                    </a:cubicBezTo>
                    <a:cubicBezTo>
                      <a:pt x="87" y="36"/>
                      <a:pt x="86" y="37"/>
                      <a:pt x="86" y="38"/>
                    </a:cubicBezTo>
                    <a:cubicBezTo>
                      <a:pt x="86" y="38"/>
                      <a:pt x="88" y="38"/>
                      <a:pt x="89" y="39"/>
                    </a:cubicBezTo>
                    <a:cubicBezTo>
                      <a:pt x="89" y="39"/>
                      <a:pt x="83" y="41"/>
                      <a:pt x="83" y="41"/>
                    </a:cubicBezTo>
                    <a:cubicBezTo>
                      <a:pt x="81" y="41"/>
                      <a:pt x="86" y="41"/>
                      <a:pt x="83" y="4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7" name="Freeform 573">
                <a:extLst>
                  <a:ext uri="{FF2B5EF4-FFF2-40B4-BE49-F238E27FC236}">
                    <a16:creationId xmlns:a16="http://schemas.microsoft.com/office/drawing/2014/main" id="{7896AB7F-9CC8-6149-AD1C-23AAFA0DACF4}"/>
                  </a:ext>
                </a:extLst>
              </p:cNvPr>
              <p:cNvSpPr>
                <a:spLocks/>
              </p:cNvSpPr>
              <p:nvPr/>
            </p:nvSpPr>
            <p:spPr bwMode="auto">
              <a:xfrm>
                <a:off x="6709745" y="4738956"/>
                <a:ext cx="130574" cy="86010"/>
              </a:xfrm>
              <a:custGeom>
                <a:avLst/>
                <a:gdLst>
                  <a:gd name="T0" fmla="*/ 9 w 14"/>
                  <a:gd name="T1" fmla="*/ 8 h 9"/>
                  <a:gd name="T2" fmla="*/ 5 w 14"/>
                  <a:gd name="T3" fmla="*/ 5 h 9"/>
                  <a:gd name="T4" fmla="*/ 0 w 14"/>
                  <a:gd name="T5" fmla="*/ 3 h 9"/>
                  <a:gd name="T6" fmla="*/ 4 w 14"/>
                  <a:gd name="T7" fmla="*/ 0 h 9"/>
                  <a:gd name="T8" fmla="*/ 10 w 14"/>
                  <a:gd name="T9" fmla="*/ 1 h 9"/>
                  <a:gd name="T10" fmla="*/ 12 w 14"/>
                  <a:gd name="T11" fmla="*/ 4 h 9"/>
                  <a:gd name="T12" fmla="*/ 9 w 14"/>
                  <a:gd name="T13" fmla="*/ 8 h 9"/>
                  <a:gd name="T14" fmla="*/ 9 w 14"/>
                  <a:gd name="T15" fmla="*/ 8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9">
                    <a:moveTo>
                      <a:pt x="9" y="8"/>
                    </a:moveTo>
                    <a:cubicBezTo>
                      <a:pt x="7" y="8"/>
                      <a:pt x="6" y="5"/>
                      <a:pt x="5" y="5"/>
                    </a:cubicBezTo>
                    <a:cubicBezTo>
                      <a:pt x="4" y="4"/>
                      <a:pt x="0" y="3"/>
                      <a:pt x="0" y="3"/>
                    </a:cubicBezTo>
                    <a:cubicBezTo>
                      <a:pt x="1" y="2"/>
                      <a:pt x="3" y="1"/>
                      <a:pt x="4" y="0"/>
                    </a:cubicBezTo>
                    <a:cubicBezTo>
                      <a:pt x="6" y="0"/>
                      <a:pt x="8" y="0"/>
                      <a:pt x="10" y="1"/>
                    </a:cubicBezTo>
                    <a:cubicBezTo>
                      <a:pt x="12" y="2"/>
                      <a:pt x="14" y="2"/>
                      <a:pt x="12" y="4"/>
                    </a:cubicBezTo>
                    <a:cubicBezTo>
                      <a:pt x="11" y="5"/>
                      <a:pt x="10" y="9"/>
                      <a:pt x="9" y="8"/>
                    </a:cubicBezTo>
                    <a:cubicBezTo>
                      <a:pt x="8" y="8"/>
                      <a:pt x="9" y="8"/>
                      <a:pt x="9"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8" name="Freeform 574">
                <a:extLst>
                  <a:ext uri="{FF2B5EF4-FFF2-40B4-BE49-F238E27FC236}">
                    <a16:creationId xmlns:a16="http://schemas.microsoft.com/office/drawing/2014/main" id="{491A9C5E-AA8E-3C45-9A2F-9644977FDEC6}"/>
                  </a:ext>
                </a:extLst>
              </p:cNvPr>
              <p:cNvSpPr>
                <a:spLocks/>
              </p:cNvSpPr>
              <p:nvPr/>
            </p:nvSpPr>
            <p:spPr bwMode="auto">
              <a:xfrm>
                <a:off x="6916751" y="4700729"/>
                <a:ext cx="296178" cy="273958"/>
              </a:xfrm>
              <a:custGeom>
                <a:avLst/>
                <a:gdLst>
                  <a:gd name="T0" fmla="*/ 18 w 32"/>
                  <a:gd name="T1" fmla="*/ 27 h 29"/>
                  <a:gd name="T2" fmla="*/ 10 w 32"/>
                  <a:gd name="T3" fmla="*/ 19 h 29"/>
                  <a:gd name="T4" fmla="*/ 1 w 32"/>
                  <a:gd name="T5" fmla="*/ 15 h 29"/>
                  <a:gd name="T6" fmla="*/ 0 w 32"/>
                  <a:gd name="T7" fmla="*/ 13 h 29"/>
                  <a:gd name="T8" fmla="*/ 4 w 32"/>
                  <a:gd name="T9" fmla="*/ 12 h 29"/>
                  <a:gd name="T10" fmla="*/ 11 w 32"/>
                  <a:gd name="T11" fmla="*/ 14 h 29"/>
                  <a:gd name="T12" fmla="*/ 11 w 32"/>
                  <a:gd name="T13" fmla="*/ 12 h 29"/>
                  <a:gd name="T14" fmla="*/ 13 w 32"/>
                  <a:gd name="T15" fmla="*/ 11 h 29"/>
                  <a:gd name="T16" fmla="*/ 7 w 32"/>
                  <a:gd name="T17" fmla="*/ 8 h 29"/>
                  <a:gd name="T18" fmla="*/ 7 w 32"/>
                  <a:gd name="T19" fmla="*/ 6 h 29"/>
                  <a:gd name="T20" fmla="*/ 10 w 32"/>
                  <a:gd name="T21" fmla="*/ 7 h 29"/>
                  <a:gd name="T22" fmla="*/ 11 w 32"/>
                  <a:gd name="T23" fmla="*/ 5 h 29"/>
                  <a:gd name="T24" fmla="*/ 8 w 32"/>
                  <a:gd name="T25" fmla="*/ 4 h 29"/>
                  <a:gd name="T26" fmla="*/ 10 w 32"/>
                  <a:gd name="T27" fmla="*/ 3 h 29"/>
                  <a:gd name="T28" fmla="*/ 14 w 32"/>
                  <a:gd name="T29" fmla="*/ 4 h 29"/>
                  <a:gd name="T30" fmla="*/ 13 w 32"/>
                  <a:gd name="T31" fmla="*/ 3 h 29"/>
                  <a:gd name="T32" fmla="*/ 19 w 32"/>
                  <a:gd name="T33" fmla="*/ 5 h 29"/>
                  <a:gd name="T34" fmla="*/ 18 w 32"/>
                  <a:gd name="T35" fmla="*/ 3 h 29"/>
                  <a:gd name="T36" fmla="*/ 19 w 32"/>
                  <a:gd name="T37" fmla="*/ 3 h 29"/>
                  <a:gd name="T38" fmla="*/ 17 w 32"/>
                  <a:gd name="T39" fmla="*/ 2 h 29"/>
                  <a:gd name="T40" fmla="*/ 25 w 32"/>
                  <a:gd name="T41" fmla="*/ 1 h 29"/>
                  <a:gd name="T42" fmla="*/ 23 w 32"/>
                  <a:gd name="T43" fmla="*/ 3 h 29"/>
                  <a:gd name="T44" fmla="*/ 28 w 32"/>
                  <a:gd name="T45" fmla="*/ 4 h 29"/>
                  <a:gd name="T46" fmla="*/ 27 w 32"/>
                  <a:gd name="T47" fmla="*/ 7 h 29"/>
                  <a:gd name="T48" fmla="*/ 26 w 32"/>
                  <a:gd name="T49" fmla="*/ 8 h 29"/>
                  <a:gd name="T50" fmla="*/ 23 w 32"/>
                  <a:gd name="T51" fmla="*/ 10 h 29"/>
                  <a:gd name="T52" fmla="*/ 21 w 32"/>
                  <a:gd name="T53" fmla="*/ 13 h 29"/>
                  <a:gd name="T54" fmla="*/ 24 w 32"/>
                  <a:gd name="T55" fmla="*/ 11 h 29"/>
                  <a:gd name="T56" fmla="*/ 26 w 32"/>
                  <a:gd name="T57" fmla="*/ 13 h 29"/>
                  <a:gd name="T58" fmla="*/ 29 w 32"/>
                  <a:gd name="T59" fmla="*/ 13 h 29"/>
                  <a:gd name="T60" fmla="*/ 28 w 32"/>
                  <a:gd name="T61" fmla="*/ 10 h 29"/>
                  <a:gd name="T62" fmla="*/ 30 w 32"/>
                  <a:gd name="T63" fmla="*/ 11 h 29"/>
                  <a:gd name="T64" fmla="*/ 30 w 32"/>
                  <a:gd name="T65" fmla="*/ 14 h 29"/>
                  <a:gd name="T66" fmla="*/ 31 w 32"/>
                  <a:gd name="T67" fmla="*/ 17 h 29"/>
                  <a:gd name="T68" fmla="*/ 28 w 32"/>
                  <a:gd name="T69" fmla="*/ 23 h 29"/>
                  <a:gd name="T70" fmla="*/ 22 w 32"/>
                  <a:gd name="T71" fmla="*/ 23 h 29"/>
                  <a:gd name="T72" fmla="*/ 21 w 32"/>
                  <a:gd name="T73" fmla="*/ 23 h 29"/>
                  <a:gd name="T74" fmla="*/ 23 w 32"/>
                  <a:gd name="T75" fmla="*/ 26 h 29"/>
                  <a:gd name="T76" fmla="*/ 18 w 32"/>
                  <a:gd name="T77" fmla="*/ 27 h 29"/>
                  <a:gd name="T78" fmla="*/ 18 w 32"/>
                  <a:gd name="T79"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29">
                    <a:moveTo>
                      <a:pt x="18" y="27"/>
                    </a:moveTo>
                    <a:cubicBezTo>
                      <a:pt x="15" y="25"/>
                      <a:pt x="13" y="21"/>
                      <a:pt x="10" y="19"/>
                    </a:cubicBezTo>
                    <a:cubicBezTo>
                      <a:pt x="7" y="18"/>
                      <a:pt x="4" y="16"/>
                      <a:pt x="1" y="15"/>
                    </a:cubicBezTo>
                    <a:cubicBezTo>
                      <a:pt x="0" y="14"/>
                      <a:pt x="0" y="14"/>
                      <a:pt x="0" y="13"/>
                    </a:cubicBezTo>
                    <a:cubicBezTo>
                      <a:pt x="0" y="10"/>
                      <a:pt x="2" y="11"/>
                      <a:pt x="4" y="12"/>
                    </a:cubicBezTo>
                    <a:cubicBezTo>
                      <a:pt x="6" y="13"/>
                      <a:pt x="8" y="15"/>
                      <a:pt x="11" y="14"/>
                    </a:cubicBezTo>
                    <a:cubicBezTo>
                      <a:pt x="12" y="14"/>
                      <a:pt x="11" y="12"/>
                      <a:pt x="11" y="12"/>
                    </a:cubicBezTo>
                    <a:cubicBezTo>
                      <a:pt x="11" y="11"/>
                      <a:pt x="13" y="12"/>
                      <a:pt x="13" y="11"/>
                    </a:cubicBezTo>
                    <a:cubicBezTo>
                      <a:pt x="14" y="10"/>
                      <a:pt x="7" y="8"/>
                      <a:pt x="7" y="8"/>
                    </a:cubicBezTo>
                    <a:cubicBezTo>
                      <a:pt x="5" y="7"/>
                      <a:pt x="6" y="6"/>
                      <a:pt x="7" y="6"/>
                    </a:cubicBezTo>
                    <a:cubicBezTo>
                      <a:pt x="9" y="5"/>
                      <a:pt x="9" y="6"/>
                      <a:pt x="10" y="7"/>
                    </a:cubicBezTo>
                    <a:cubicBezTo>
                      <a:pt x="10" y="7"/>
                      <a:pt x="11" y="5"/>
                      <a:pt x="11" y="5"/>
                    </a:cubicBezTo>
                    <a:cubicBezTo>
                      <a:pt x="12" y="5"/>
                      <a:pt x="8" y="4"/>
                      <a:pt x="8" y="4"/>
                    </a:cubicBezTo>
                    <a:cubicBezTo>
                      <a:pt x="8" y="4"/>
                      <a:pt x="10" y="3"/>
                      <a:pt x="10" y="3"/>
                    </a:cubicBezTo>
                    <a:cubicBezTo>
                      <a:pt x="11" y="3"/>
                      <a:pt x="13" y="4"/>
                      <a:pt x="14" y="4"/>
                    </a:cubicBezTo>
                    <a:cubicBezTo>
                      <a:pt x="14" y="4"/>
                      <a:pt x="13" y="3"/>
                      <a:pt x="13" y="3"/>
                    </a:cubicBezTo>
                    <a:cubicBezTo>
                      <a:pt x="14" y="2"/>
                      <a:pt x="18" y="5"/>
                      <a:pt x="19" y="5"/>
                    </a:cubicBezTo>
                    <a:cubicBezTo>
                      <a:pt x="20" y="4"/>
                      <a:pt x="18" y="4"/>
                      <a:pt x="18" y="3"/>
                    </a:cubicBezTo>
                    <a:cubicBezTo>
                      <a:pt x="18" y="3"/>
                      <a:pt x="19" y="3"/>
                      <a:pt x="19" y="3"/>
                    </a:cubicBezTo>
                    <a:cubicBezTo>
                      <a:pt x="19" y="3"/>
                      <a:pt x="17" y="3"/>
                      <a:pt x="17" y="2"/>
                    </a:cubicBezTo>
                    <a:cubicBezTo>
                      <a:pt x="17" y="2"/>
                      <a:pt x="24" y="0"/>
                      <a:pt x="25" y="1"/>
                    </a:cubicBezTo>
                    <a:cubicBezTo>
                      <a:pt x="26" y="1"/>
                      <a:pt x="23" y="2"/>
                      <a:pt x="23" y="3"/>
                    </a:cubicBezTo>
                    <a:cubicBezTo>
                      <a:pt x="24" y="4"/>
                      <a:pt x="27" y="3"/>
                      <a:pt x="28" y="4"/>
                    </a:cubicBezTo>
                    <a:cubicBezTo>
                      <a:pt x="28" y="5"/>
                      <a:pt x="24" y="7"/>
                      <a:pt x="27" y="7"/>
                    </a:cubicBezTo>
                    <a:cubicBezTo>
                      <a:pt x="28" y="7"/>
                      <a:pt x="27" y="8"/>
                      <a:pt x="26" y="8"/>
                    </a:cubicBezTo>
                    <a:cubicBezTo>
                      <a:pt x="25" y="8"/>
                      <a:pt x="24" y="8"/>
                      <a:pt x="23" y="10"/>
                    </a:cubicBezTo>
                    <a:cubicBezTo>
                      <a:pt x="23" y="10"/>
                      <a:pt x="21" y="13"/>
                      <a:pt x="21" y="13"/>
                    </a:cubicBezTo>
                    <a:cubicBezTo>
                      <a:pt x="22" y="13"/>
                      <a:pt x="23" y="11"/>
                      <a:pt x="24" y="11"/>
                    </a:cubicBezTo>
                    <a:cubicBezTo>
                      <a:pt x="25" y="11"/>
                      <a:pt x="25" y="12"/>
                      <a:pt x="26" y="13"/>
                    </a:cubicBezTo>
                    <a:cubicBezTo>
                      <a:pt x="27" y="13"/>
                      <a:pt x="30" y="17"/>
                      <a:pt x="29" y="13"/>
                    </a:cubicBezTo>
                    <a:cubicBezTo>
                      <a:pt x="29" y="12"/>
                      <a:pt x="27" y="11"/>
                      <a:pt x="28" y="10"/>
                    </a:cubicBezTo>
                    <a:cubicBezTo>
                      <a:pt x="29" y="10"/>
                      <a:pt x="30" y="10"/>
                      <a:pt x="30" y="11"/>
                    </a:cubicBezTo>
                    <a:cubicBezTo>
                      <a:pt x="30" y="12"/>
                      <a:pt x="29" y="13"/>
                      <a:pt x="30" y="14"/>
                    </a:cubicBezTo>
                    <a:cubicBezTo>
                      <a:pt x="31" y="15"/>
                      <a:pt x="32" y="16"/>
                      <a:pt x="31" y="17"/>
                    </a:cubicBezTo>
                    <a:cubicBezTo>
                      <a:pt x="29" y="19"/>
                      <a:pt x="32" y="22"/>
                      <a:pt x="28" y="23"/>
                    </a:cubicBezTo>
                    <a:cubicBezTo>
                      <a:pt x="28" y="23"/>
                      <a:pt x="21" y="25"/>
                      <a:pt x="22" y="23"/>
                    </a:cubicBezTo>
                    <a:cubicBezTo>
                      <a:pt x="22" y="22"/>
                      <a:pt x="21" y="22"/>
                      <a:pt x="21" y="23"/>
                    </a:cubicBezTo>
                    <a:cubicBezTo>
                      <a:pt x="22" y="24"/>
                      <a:pt x="22" y="25"/>
                      <a:pt x="23" y="26"/>
                    </a:cubicBezTo>
                    <a:cubicBezTo>
                      <a:pt x="23" y="28"/>
                      <a:pt x="19" y="27"/>
                      <a:pt x="18" y="27"/>
                    </a:cubicBezTo>
                    <a:cubicBezTo>
                      <a:pt x="17" y="26"/>
                      <a:pt x="22" y="29"/>
                      <a:pt x="18"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299" name="Freeform 575">
                <a:extLst>
                  <a:ext uri="{FF2B5EF4-FFF2-40B4-BE49-F238E27FC236}">
                    <a16:creationId xmlns:a16="http://schemas.microsoft.com/office/drawing/2014/main" id="{D55E8DD4-446F-FD45-8AE9-329D8DC6242E}"/>
                  </a:ext>
                </a:extLst>
              </p:cNvPr>
              <p:cNvSpPr>
                <a:spLocks/>
              </p:cNvSpPr>
              <p:nvPr/>
            </p:nvSpPr>
            <p:spPr bwMode="auto">
              <a:xfrm>
                <a:off x="7232037" y="4700729"/>
                <a:ext cx="261145" cy="207060"/>
              </a:xfrm>
              <a:custGeom>
                <a:avLst/>
                <a:gdLst>
                  <a:gd name="T0" fmla="*/ 7 w 28"/>
                  <a:gd name="T1" fmla="*/ 22 h 22"/>
                  <a:gd name="T2" fmla="*/ 3 w 28"/>
                  <a:gd name="T3" fmla="*/ 19 h 22"/>
                  <a:gd name="T4" fmla="*/ 1 w 28"/>
                  <a:gd name="T5" fmla="*/ 11 h 22"/>
                  <a:gd name="T6" fmla="*/ 1 w 28"/>
                  <a:gd name="T7" fmla="*/ 4 h 22"/>
                  <a:gd name="T8" fmla="*/ 6 w 28"/>
                  <a:gd name="T9" fmla="*/ 4 h 22"/>
                  <a:gd name="T10" fmla="*/ 5 w 28"/>
                  <a:gd name="T11" fmla="*/ 1 h 22"/>
                  <a:gd name="T12" fmla="*/ 16 w 28"/>
                  <a:gd name="T13" fmla="*/ 2 h 22"/>
                  <a:gd name="T14" fmla="*/ 25 w 28"/>
                  <a:gd name="T15" fmla="*/ 3 h 22"/>
                  <a:gd name="T16" fmla="*/ 23 w 28"/>
                  <a:gd name="T17" fmla="*/ 8 h 22"/>
                  <a:gd name="T18" fmla="*/ 19 w 28"/>
                  <a:gd name="T19" fmla="*/ 13 h 22"/>
                  <a:gd name="T20" fmla="*/ 12 w 28"/>
                  <a:gd name="T21" fmla="*/ 13 h 22"/>
                  <a:gd name="T22" fmla="*/ 10 w 28"/>
                  <a:gd name="T23" fmla="*/ 14 h 22"/>
                  <a:gd name="T24" fmla="*/ 11 w 28"/>
                  <a:gd name="T25" fmla="*/ 17 h 22"/>
                  <a:gd name="T26" fmla="*/ 7 w 28"/>
                  <a:gd name="T27" fmla="*/ 22 h 22"/>
                  <a:gd name="T28" fmla="*/ 7 w 28"/>
                  <a:gd name="T2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22">
                    <a:moveTo>
                      <a:pt x="7" y="22"/>
                    </a:moveTo>
                    <a:cubicBezTo>
                      <a:pt x="5" y="21"/>
                      <a:pt x="3" y="21"/>
                      <a:pt x="3" y="19"/>
                    </a:cubicBezTo>
                    <a:cubicBezTo>
                      <a:pt x="3" y="16"/>
                      <a:pt x="0" y="14"/>
                      <a:pt x="1" y="11"/>
                    </a:cubicBezTo>
                    <a:cubicBezTo>
                      <a:pt x="1" y="9"/>
                      <a:pt x="0" y="6"/>
                      <a:pt x="1" y="4"/>
                    </a:cubicBezTo>
                    <a:cubicBezTo>
                      <a:pt x="2" y="4"/>
                      <a:pt x="6" y="5"/>
                      <a:pt x="6" y="4"/>
                    </a:cubicBezTo>
                    <a:cubicBezTo>
                      <a:pt x="6" y="3"/>
                      <a:pt x="0" y="3"/>
                      <a:pt x="5" y="1"/>
                    </a:cubicBezTo>
                    <a:cubicBezTo>
                      <a:pt x="9" y="0"/>
                      <a:pt x="12" y="1"/>
                      <a:pt x="16" y="2"/>
                    </a:cubicBezTo>
                    <a:cubicBezTo>
                      <a:pt x="19" y="2"/>
                      <a:pt x="22" y="2"/>
                      <a:pt x="25" y="3"/>
                    </a:cubicBezTo>
                    <a:cubicBezTo>
                      <a:pt x="28" y="4"/>
                      <a:pt x="25" y="6"/>
                      <a:pt x="23" y="8"/>
                    </a:cubicBezTo>
                    <a:cubicBezTo>
                      <a:pt x="22" y="10"/>
                      <a:pt x="21" y="12"/>
                      <a:pt x="19" y="13"/>
                    </a:cubicBezTo>
                    <a:cubicBezTo>
                      <a:pt x="18" y="15"/>
                      <a:pt x="14" y="13"/>
                      <a:pt x="12" y="13"/>
                    </a:cubicBezTo>
                    <a:cubicBezTo>
                      <a:pt x="12" y="13"/>
                      <a:pt x="9" y="13"/>
                      <a:pt x="10" y="14"/>
                    </a:cubicBezTo>
                    <a:cubicBezTo>
                      <a:pt x="10" y="15"/>
                      <a:pt x="12" y="15"/>
                      <a:pt x="11" y="17"/>
                    </a:cubicBezTo>
                    <a:cubicBezTo>
                      <a:pt x="10" y="17"/>
                      <a:pt x="8" y="22"/>
                      <a:pt x="7" y="22"/>
                    </a:cubicBezTo>
                    <a:cubicBezTo>
                      <a:pt x="5" y="21"/>
                      <a:pt x="8" y="22"/>
                      <a:pt x="7"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0" name="Freeform 576">
                <a:extLst>
                  <a:ext uri="{FF2B5EF4-FFF2-40B4-BE49-F238E27FC236}">
                    <a16:creationId xmlns:a16="http://schemas.microsoft.com/office/drawing/2014/main" id="{B245066D-BCAC-1D4D-A81F-129F6F20CC24}"/>
                  </a:ext>
                </a:extLst>
              </p:cNvPr>
              <p:cNvSpPr>
                <a:spLocks/>
              </p:cNvSpPr>
              <p:nvPr/>
            </p:nvSpPr>
            <p:spPr bwMode="auto">
              <a:xfrm>
                <a:off x="5833947" y="4675245"/>
                <a:ext cx="503186" cy="308998"/>
              </a:xfrm>
              <a:custGeom>
                <a:avLst/>
                <a:gdLst>
                  <a:gd name="T0" fmla="*/ 52 w 54"/>
                  <a:gd name="T1" fmla="*/ 10 h 33"/>
                  <a:gd name="T2" fmla="*/ 45 w 54"/>
                  <a:gd name="T3" fmla="*/ 4 h 33"/>
                  <a:gd name="T4" fmla="*/ 41 w 54"/>
                  <a:gd name="T5" fmla="*/ 3 h 33"/>
                  <a:gd name="T6" fmla="*/ 35 w 54"/>
                  <a:gd name="T7" fmla="*/ 4 h 33"/>
                  <a:gd name="T8" fmla="*/ 32 w 54"/>
                  <a:gd name="T9" fmla="*/ 3 h 33"/>
                  <a:gd name="T10" fmla="*/ 27 w 54"/>
                  <a:gd name="T11" fmla="*/ 1 h 33"/>
                  <a:gd name="T12" fmla="*/ 20 w 54"/>
                  <a:gd name="T13" fmla="*/ 0 h 33"/>
                  <a:gd name="T14" fmla="*/ 11 w 54"/>
                  <a:gd name="T15" fmla="*/ 1 h 33"/>
                  <a:gd name="T16" fmla="*/ 8 w 54"/>
                  <a:gd name="T17" fmla="*/ 3 h 33"/>
                  <a:gd name="T18" fmla="*/ 7 w 54"/>
                  <a:gd name="T19" fmla="*/ 11 h 33"/>
                  <a:gd name="T20" fmla="*/ 7 w 54"/>
                  <a:gd name="T21" fmla="*/ 15 h 33"/>
                  <a:gd name="T22" fmla="*/ 4 w 54"/>
                  <a:gd name="T23" fmla="*/ 18 h 33"/>
                  <a:gd name="T24" fmla="*/ 0 w 54"/>
                  <a:gd name="T25" fmla="*/ 24 h 33"/>
                  <a:gd name="T26" fmla="*/ 7 w 54"/>
                  <a:gd name="T27" fmla="*/ 26 h 33"/>
                  <a:gd name="T28" fmla="*/ 15 w 54"/>
                  <a:gd name="T29" fmla="*/ 32 h 33"/>
                  <a:gd name="T30" fmla="*/ 19 w 54"/>
                  <a:gd name="T31" fmla="*/ 30 h 33"/>
                  <a:gd name="T32" fmla="*/ 25 w 54"/>
                  <a:gd name="T33" fmla="*/ 29 h 33"/>
                  <a:gd name="T34" fmla="*/ 28 w 54"/>
                  <a:gd name="T35" fmla="*/ 26 h 33"/>
                  <a:gd name="T36" fmla="*/ 31 w 54"/>
                  <a:gd name="T37" fmla="*/ 21 h 33"/>
                  <a:gd name="T38" fmla="*/ 37 w 54"/>
                  <a:gd name="T39" fmla="*/ 17 h 33"/>
                  <a:gd name="T40" fmla="*/ 46 w 54"/>
                  <a:gd name="T41" fmla="*/ 13 h 33"/>
                  <a:gd name="T42" fmla="*/ 52 w 54"/>
                  <a:gd name="T43" fmla="*/ 10 h 33"/>
                  <a:gd name="T44" fmla="*/ 52 w 54"/>
                  <a:gd name="T45" fmla="*/ 1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33">
                    <a:moveTo>
                      <a:pt x="52" y="10"/>
                    </a:moveTo>
                    <a:cubicBezTo>
                      <a:pt x="50" y="8"/>
                      <a:pt x="48" y="6"/>
                      <a:pt x="45" y="4"/>
                    </a:cubicBezTo>
                    <a:cubicBezTo>
                      <a:pt x="44" y="4"/>
                      <a:pt x="42" y="3"/>
                      <a:pt x="41" y="3"/>
                    </a:cubicBezTo>
                    <a:cubicBezTo>
                      <a:pt x="38" y="2"/>
                      <a:pt x="37" y="3"/>
                      <a:pt x="35" y="4"/>
                    </a:cubicBezTo>
                    <a:cubicBezTo>
                      <a:pt x="34" y="4"/>
                      <a:pt x="33" y="3"/>
                      <a:pt x="32" y="3"/>
                    </a:cubicBezTo>
                    <a:cubicBezTo>
                      <a:pt x="31" y="2"/>
                      <a:pt x="29" y="2"/>
                      <a:pt x="27" y="1"/>
                    </a:cubicBezTo>
                    <a:cubicBezTo>
                      <a:pt x="25" y="1"/>
                      <a:pt x="22" y="0"/>
                      <a:pt x="20" y="0"/>
                    </a:cubicBezTo>
                    <a:cubicBezTo>
                      <a:pt x="17" y="0"/>
                      <a:pt x="14" y="1"/>
                      <a:pt x="11" y="1"/>
                    </a:cubicBezTo>
                    <a:cubicBezTo>
                      <a:pt x="9" y="2"/>
                      <a:pt x="6" y="1"/>
                      <a:pt x="8" y="3"/>
                    </a:cubicBezTo>
                    <a:cubicBezTo>
                      <a:pt x="10" y="7"/>
                      <a:pt x="10" y="8"/>
                      <a:pt x="7" y="11"/>
                    </a:cubicBezTo>
                    <a:cubicBezTo>
                      <a:pt x="5" y="13"/>
                      <a:pt x="7" y="14"/>
                      <a:pt x="7" y="15"/>
                    </a:cubicBezTo>
                    <a:cubicBezTo>
                      <a:pt x="6" y="16"/>
                      <a:pt x="4" y="16"/>
                      <a:pt x="4" y="18"/>
                    </a:cubicBezTo>
                    <a:cubicBezTo>
                      <a:pt x="3" y="20"/>
                      <a:pt x="1" y="22"/>
                      <a:pt x="0" y="24"/>
                    </a:cubicBezTo>
                    <a:cubicBezTo>
                      <a:pt x="0" y="25"/>
                      <a:pt x="6" y="26"/>
                      <a:pt x="7" y="26"/>
                    </a:cubicBezTo>
                    <a:cubicBezTo>
                      <a:pt x="10" y="28"/>
                      <a:pt x="12" y="32"/>
                      <a:pt x="15" y="32"/>
                    </a:cubicBezTo>
                    <a:cubicBezTo>
                      <a:pt x="16" y="33"/>
                      <a:pt x="18" y="31"/>
                      <a:pt x="19" y="30"/>
                    </a:cubicBezTo>
                    <a:cubicBezTo>
                      <a:pt x="21" y="29"/>
                      <a:pt x="23" y="30"/>
                      <a:pt x="25" y="29"/>
                    </a:cubicBezTo>
                    <a:cubicBezTo>
                      <a:pt x="27" y="29"/>
                      <a:pt x="27" y="28"/>
                      <a:pt x="28" y="26"/>
                    </a:cubicBezTo>
                    <a:cubicBezTo>
                      <a:pt x="28" y="24"/>
                      <a:pt x="28" y="23"/>
                      <a:pt x="31" y="21"/>
                    </a:cubicBezTo>
                    <a:cubicBezTo>
                      <a:pt x="33" y="20"/>
                      <a:pt x="34" y="18"/>
                      <a:pt x="37" y="17"/>
                    </a:cubicBezTo>
                    <a:cubicBezTo>
                      <a:pt x="40" y="15"/>
                      <a:pt x="43" y="14"/>
                      <a:pt x="46" y="13"/>
                    </a:cubicBezTo>
                    <a:cubicBezTo>
                      <a:pt x="46" y="13"/>
                      <a:pt x="53" y="10"/>
                      <a:pt x="52" y="10"/>
                    </a:cubicBezTo>
                    <a:cubicBezTo>
                      <a:pt x="51" y="9"/>
                      <a:pt x="54" y="11"/>
                      <a:pt x="52"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1" name="Freeform 577">
                <a:extLst>
                  <a:ext uri="{FF2B5EF4-FFF2-40B4-BE49-F238E27FC236}">
                    <a16:creationId xmlns:a16="http://schemas.microsoft.com/office/drawing/2014/main" id="{9889C509-73EC-4A41-845B-97263137E050}"/>
                  </a:ext>
                </a:extLst>
              </p:cNvPr>
              <p:cNvSpPr>
                <a:spLocks/>
              </p:cNvSpPr>
              <p:nvPr/>
            </p:nvSpPr>
            <p:spPr bwMode="auto">
              <a:xfrm>
                <a:off x="6811655" y="4589235"/>
                <a:ext cx="66879" cy="38227"/>
              </a:xfrm>
              <a:custGeom>
                <a:avLst/>
                <a:gdLst>
                  <a:gd name="T0" fmla="*/ 4 w 7"/>
                  <a:gd name="T1" fmla="*/ 4 h 4"/>
                  <a:gd name="T2" fmla="*/ 1 w 7"/>
                  <a:gd name="T3" fmla="*/ 3 h 4"/>
                  <a:gd name="T4" fmla="*/ 3 w 7"/>
                  <a:gd name="T5" fmla="*/ 0 h 4"/>
                  <a:gd name="T6" fmla="*/ 4 w 7"/>
                  <a:gd name="T7" fmla="*/ 4 h 4"/>
                  <a:gd name="T8" fmla="*/ 4 w 7"/>
                  <a:gd name="T9" fmla="*/ 4 h 4"/>
                </a:gdLst>
                <a:ahLst/>
                <a:cxnLst>
                  <a:cxn ang="0">
                    <a:pos x="T0" y="T1"/>
                  </a:cxn>
                  <a:cxn ang="0">
                    <a:pos x="T2" y="T3"/>
                  </a:cxn>
                  <a:cxn ang="0">
                    <a:pos x="T4" y="T5"/>
                  </a:cxn>
                  <a:cxn ang="0">
                    <a:pos x="T6" y="T7"/>
                  </a:cxn>
                  <a:cxn ang="0">
                    <a:pos x="T8" y="T9"/>
                  </a:cxn>
                </a:cxnLst>
                <a:rect l="0" t="0" r="r" b="b"/>
                <a:pathLst>
                  <a:path w="7" h="4">
                    <a:moveTo>
                      <a:pt x="4" y="4"/>
                    </a:moveTo>
                    <a:cubicBezTo>
                      <a:pt x="3" y="4"/>
                      <a:pt x="1" y="4"/>
                      <a:pt x="1" y="3"/>
                    </a:cubicBezTo>
                    <a:cubicBezTo>
                      <a:pt x="0" y="2"/>
                      <a:pt x="3" y="0"/>
                      <a:pt x="3" y="0"/>
                    </a:cubicBezTo>
                    <a:cubicBezTo>
                      <a:pt x="6" y="0"/>
                      <a:pt x="7" y="4"/>
                      <a:pt x="4" y="4"/>
                    </a:cubicBezTo>
                    <a:cubicBezTo>
                      <a:pt x="1" y="3"/>
                      <a:pt x="6" y="4"/>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2" name="Freeform 578">
                <a:extLst>
                  <a:ext uri="{FF2B5EF4-FFF2-40B4-BE49-F238E27FC236}">
                    <a16:creationId xmlns:a16="http://schemas.microsoft.com/office/drawing/2014/main" id="{D270908E-288B-2D4D-AD0E-49092AF82A12}"/>
                  </a:ext>
                </a:extLst>
              </p:cNvPr>
              <p:cNvSpPr>
                <a:spLocks/>
              </p:cNvSpPr>
              <p:nvPr/>
            </p:nvSpPr>
            <p:spPr bwMode="auto">
              <a:xfrm>
                <a:off x="6235221" y="4420403"/>
                <a:ext cx="560509" cy="264400"/>
              </a:xfrm>
              <a:custGeom>
                <a:avLst/>
                <a:gdLst>
                  <a:gd name="T0" fmla="*/ 50 w 60"/>
                  <a:gd name="T1" fmla="*/ 22 h 28"/>
                  <a:gd name="T2" fmla="*/ 48 w 60"/>
                  <a:gd name="T3" fmla="*/ 21 h 28"/>
                  <a:gd name="T4" fmla="*/ 46 w 60"/>
                  <a:gd name="T5" fmla="*/ 23 h 28"/>
                  <a:gd name="T6" fmla="*/ 43 w 60"/>
                  <a:gd name="T7" fmla="*/ 22 h 28"/>
                  <a:gd name="T8" fmla="*/ 40 w 60"/>
                  <a:gd name="T9" fmla="*/ 23 h 28"/>
                  <a:gd name="T10" fmla="*/ 24 w 60"/>
                  <a:gd name="T11" fmla="*/ 27 h 28"/>
                  <a:gd name="T12" fmla="*/ 19 w 60"/>
                  <a:gd name="T13" fmla="*/ 28 h 28"/>
                  <a:gd name="T14" fmla="*/ 17 w 60"/>
                  <a:gd name="T15" fmla="*/ 24 h 28"/>
                  <a:gd name="T16" fmla="*/ 24 w 60"/>
                  <a:gd name="T17" fmla="*/ 22 h 28"/>
                  <a:gd name="T18" fmla="*/ 29 w 60"/>
                  <a:gd name="T19" fmla="*/ 22 h 28"/>
                  <a:gd name="T20" fmla="*/ 31 w 60"/>
                  <a:gd name="T21" fmla="*/ 20 h 28"/>
                  <a:gd name="T22" fmla="*/ 24 w 60"/>
                  <a:gd name="T23" fmla="*/ 20 h 28"/>
                  <a:gd name="T24" fmla="*/ 19 w 60"/>
                  <a:gd name="T25" fmla="*/ 21 h 28"/>
                  <a:gd name="T26" fmla="*/ 19 w 60"/>
                  <a:gd name="T27" fmla="*/ 19 h 28"/>
                  <a:gd name="T28" fmla="*/ 12 w 60"/>
                  <a:gd name="T29" fmla="*/ 21 h 28"/>
                  <a:gd name="T30" fmla="*/ 11 w 60"/>
                  <a:gd name="T31" fmla="*/ 22 h 28"/>
                  <a:gd name="T32" fmla="*/ 9 w 60"/>
                  <a:gd name="T33" fmla="*/ 23 h 28"/>
                  <a:gd name="T34" fmla="*/ 5 w 60"/>
                  <a:gd name="T35" fmla="*/ 21 h 28"/>
                  <a:gd name="T36" fmla="*/ 0 w 60"/>
                  <a:gd name="T37" fmla="*/ 20 h 28"/>
                  <a:gd name="T38" fmla="*/ 4 w 60"/>
                  <a:gd name="T39" fmla="*/ 18 h 28"/>
                  <a:gd name="T40" fmla="*/ 9 w 60"/>
                  <a:gd name="T41" fmla="*/ 17 h 28"/>
                  <a:gd name="T42" fmla="*/ 11 w 60"/>
                  <a:gd name="T43" fmla="*/ 16 h 28"/>
                  <a:gd name="T44" fmla="*/ 5 w 60"/>
                  <a:gd name="T45" fmla="*/ 16 h 28"/>
                  <a:gd name="T46" fmla="*/ 4 w 60"/>
                  <a:gd name="T47" fmla="*/ 14 h 28"/>
                  <a:gd name="T48" fmla="*/ 12 w 60"/>
                  <a:gd name="T49" fmla="*/ 13 h 28"/>
                  <a:gd name="T50" fmla="*/ 4 w 60"/>
                  <a:gd name="T51" fmla="*/ 12 h 28"/>
                  <a:gd name="T52" fmla="*/ 13 w 60"/>
                  <a:gd name="T53" fmla="*/ 10 h 28"/>
                  <a:gd name="T54" fmla="*/ 9 w 60"/>
                  <a:gd name="T55" fmla="*/ 8 h 28"/>
                  <a:gd name="T56" fmla="*/ 14 w 60"/>
                  <a:gd name="T57" fmla="*/ 6 h 28"/>
                  <a:gd name="T58" fmla="*/ 17 w 60"/>
                  <a:gd name="T59" fmla="*/ 10 h 28"/>
                  <a:gd name="T60" fmla="*/ 25 w 60"/>
                  <a:gd name="T61" fmla="*/ 11 h 28"/>
                  <a:gd name="T62" fmla="*/ 29 w 60"/>
                  <a:gd name="T63" fmla="*/ 14 h 28"/>
                  <a:gd name="T64" fmla="*/ 32 w 60"/>
                  <a:gd name="T65" fmla="*/ 17 h 28"/>
                  <a:gd name="T66" fmla="*/ 39 w 60"/>
                  <a:gd name="T67" fmla="*/ 16 h 28"/>
                  <a:gd name="T68" fmla="*/ 37 w 60"/>
                  <a:gd name="T69" fmla="*/ 13 h 28"/>
                  <a:gd name="T70" fmla="*/ 38 w 60"/>
                  <a:gd name="T71" fmla="*/ 9 h 28"/>
                  <a:gd name="T72" fmla="*/ 36 w 60"/>
                  <a:gd name="T73" fmla="*/ 8 h 28"/>
                  <a:gd name="T74" fmla="*/ 38 w 60"/>
                  <a:gd name="T75" fmla="*/ 5 h 28"/>
                  <a:gd name="T76" fmla="*/ 43 w 60"/>
                  <a:gd name="T77" fmla="*/ 3 h 28"/>
                  <a:gd name="T78" fmla="*/ 44 w 60"/>
                  <a:gd name="T79" fmla="*/ 7 h 28"/>
                  <a:gd name="T80" fmla="*/ 45 w 60"/>
                  <a:gd name="T81" fmla="*/ 9 h 28"/>
                  <a:gd name="T82" fmla="*/ 44 w 60"/>
                  <a:gd name="T83" fmla="*/ 10 h 28"/>
                  <a:gd name="T84" fmla="*/ 47 w 60"/>
                  <a:gd name="T85" fmla="*/ 11 h 28"/>
                  <a:gd name="T86" fmla="*/ 51 w 60"/>
                  <a:gd name="T87" fmla="*/ 14 h 28"/>
                  <a:gd name="T88" fmla="*/ 53 w 60"/>
                  <a:gd name="T89" fmla="*/ 13 h 28"/>
                  <a:gd name="T90" fmla="*/ 57 w 60"/>
                  <a:gd name="T91" fmla="*/ 12 h 28"/>
                  <a:gd name="T92" fmla="*/ 59 w 60"/>
                  <a:gd name="T93" fmla="*/ 15 h 28"/>
                  <a:gd name="T94" fmla="*/ 58 w 60"/>
                  <a:gd name="T95" fmla="*/ 20 h 28"/>
                  <a:gd name="T96" fmla="*/ 50 w 60"/>
                  <a:gd name="T97" fmla="*/ 22 h 28"/>
                  <a:gd name="T98" fmla="*/ 50 w 60"/>
                  <a:gd name="T99" fmla="*/ 2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 h="28">
                    <a:moveTo>
                      <a:pt x="50" y="22"/>
                    </a:moveTo>
                    <a:cubicBezTo>
                      <a:pt x="49" y="22"/>
                      <a:pt x="49" y="21"/>
                      <a:pt x="48" y="21"/>
                    </a:cubicBezTo>
                    <a:cubicBezTo>
                      <a:pt x="48" y="21"/>
                      <a:pt x="46" y="22"/>
                      <a:pt x="46" y="23"/>
                    </a:cubicBezTo>
                    <a:cubicBezTo>
                      <a:pt x="45" y="23"/>
                      <a:pt x="44" y="23"/>
                      <a:pt x="43" y="22"/>
                    </a:cubicBezTo>
                    <a:cubicBezTo>
                      <a:pt x="42" y="22"/>
                      <a:pt x="41" y="22"/>
                      <a:pt x="40" y="23"/>
                    </a:cubicBezTo>
                    <a:cubicBezTo>
                      <a:pt x="35" y="25"/>
                      <a:pt x="30" y="26"/>
                      <a:pt x="24" y="27"/>
                    </a:cubicBezTo>
                    <a:cubicBezTo>
                      <a:pt x="23" y="27"/>
                      <a:pt x="20" y="28"/>
                      <a:pt x="19" y="28"/>
                    </a:cubicBezTo>
                    <a:cubicBezTo>
                      <a:pt x="17" y="27"/>
                      <a:pt x="13" y="26"/>
                      <a:pt x="17" y="24"/>
                    </a:cubicBezTo>
                    <a:cubicBezTo>
                      <a:pt x="19" y="24"/>
                      <a:pt x="22" y="22"/>
                      <a:pt x="24" y="22"/>
                    </a:cubicBezTo>
                    <a:cubicBezTo>
                      <a:pt x="26" y="22"/>
                      <a:pt x="28" y="22"/>
                      <a:pt x="29" y="22"/>
                    </a:cubicBezTo>
                    <a:cubicBezTo>
                      <a:pt x="29" y="22"/>
                      <a:pt x="32" y="20"/>
                      <a:pt x="31" y="20"/>
                    </a:cubicBezTo>
                    <a:cubicBezTo>
                      <a:pt x="30" y="19"/>
                      <a:pt x="25" y="20"/>
                      <a:pt x="24" y="20"/>
                    </a:cubicBezTo>
                    <a:cubicBezTo>
                      <a:pt x="22" y="21"/>
                      <a:pt x="21" y="21"/>
                      <a:pt x="19" y="21"/>
                    </a:cubicBezTo>
                    <a:cubicBezTo>
                      <a:pt x="17" y="21"/>
                      <a:pt x="19" y="20"/>
                      <a:pt x="19" y="19"/>
                    </a:cubicBezTo>
                    <a:cubicBezTo>
                      <a:pt x="19" y="16"/>
                      <a:pt x="13" y="21"/>
                      <a:pt x="12" y="21"/>
                    </a:cubicBezTo>
                    <a:cubicBezTo>
                      <a:pt x="12" y="21"/>
                      <a:pt x="11" y="22"/>
                      <a:pt x="11" y="22"/>
                    </a:cubicBezTo>
                    <a:cubicBezTo>
                      <a:pt x="9" y="20"/>
                      <a:pt x="9" y="22"/>
                      <a:pt x="9" y="23"/>
                    </a:cubicBezTo>
                    <a:cubicBezTo>
                      <a:pt x="9" y="23"/>
                      <a:pt x="6" y="21"/>
                      <a:pt x="5" y="21"/>
                    </a:cubicBezTo>
                    <a:cubicBezTo>
                      <a:pt x="4" y="21"/>
                      <a:pt x="0" y="22"/>
                      <a:pt x="0" y="20"/>
                    </a:cubicBezTo>
                    <a:cubicBezTo>
                      <a:pt x="0" y="18"/>
                      <a:pt x="2" y="19"/>
                      <a:pt x="4" y="18"/>
                    </a:cubicBezTo>
                    <a:cubicBezTo>
                      <a:pt x="6" y="18"/>
                      <a:pt x="8" y="18"/>
                      <a:pt x="9" y="17"/>
                    </a:cubicBezTo>
                    <a:cubicBezTo>
                      <a:pt x="9" y="17"/>
                      <a:pt x="12" y="16"/>
                      <a:pt x="11" y="16"/>
                    </a:cubicBezTo>
                    <a:cubicBezTo>
                      <a:pt x="9" y="15"/>
                      <a:pt x="6" y="16"/>
                      <a:pt x="5" y="16"/>
                    </a:cubicBezTo>
                    <a:cubicBezTo>
                      <a:pt x="2" y="16"/>
                      <a:pt x="0" y="14"/>
                      <a:pt x="4" y="14"/>
                    </a:cubicBezTo>
                    <a:cubicBezTo>
                      <a:pt x="6" y="14"/>
                      <a:pt x="10" y="13"/>
                      <a:pt x="12" y="13"/>
                    </a:cubicBezTo>
                    <a:cubicBezTo>
                      <a:pt x="11" y="13"/>
                      <a:pt x="4" y="14"/>
                      <a:pt x="4" y="12"/>
                    </a:cubicBezTo>
                    <a:cubicBezTo>
                      <a:pt x="3" y="10"/>
                      <a:pt x="12" y="11"/>
                      <a:pt x="13" y="10"/>
                    </a:cubicBezTo>
                    <a:cubicBezTo>
                      <a:pt x="13" y="10"/>
                      <a:pt x="9" y="9"/>
                      <a:pt x="9" y="8"/>
                    </a:cubicBezTo>
                    <a:cubicBezTo>
                      <a:pt x="8" y="7"/>
                      <a:pt x="14" y="6"/>
                      <a:pt x="14" y="6"/>
                    </a:cubicBezTo>
                    <a:cubicBezTo>
                      <a:pt x="17" y="6"/>
                      <a:pt x="15" y="10"/>
                      <a:pt x="17" y="10"/>
                    </a:cubicBezTo>
                    <a:cubicBezTo>
                      <a:pt x="20" y="10"/>
                      <a:pt x="22" y="10"/>
                      <a:pt x="25" y="11"/>
                    </a:cubicBezTo>
                    <a:cubicBezTo>
                      <a:pt x="26" y="12"/>
                      <a:pt x="28" y="13"/>
                      <a:pt x="29" y="14"/>
                    </a:cubicBezTo>
                    <a:cubicBezTo>
                      <a:pt x="31" y="16"/>
                      <a:pt x="30" y="17"/>
                      <a:pt x="32" y="17"/>
                    </a:cubicBezTo>
                    <a:cubicBezTo>
                      <a:pt x="35" y="17"/>
                      <a:pt x="37" y="17"/>
                      <a:pt x="39" y="16"/>
                    </a:cubicBezTo>
                    <a:cubicBezTo>
                      <a:pt x="43" y="15"/>
                      <a:pt x="37" y="14"/>
                      <a:pt x="37" y="13"/>
                    </a:cubicBezTo>
                    <a:cubicBezTo>
                      <a:pt x="37" y="13"/>
                      <a:pt x="45" y="12"/>
                      <a:pt x="38" y="9"/>
                    </a:cubicBezTo>
                    <a:cubicBezTo>
                      <a:pt x="37" y="9"/>
                      <a:pt x="35" y="9"/>
                      <a:pt x="36" y="8"/>
                    </a:cubicBezTo>
                    <a:cubicBezTo>
                      <a:pt x="37" y="7"/>
                      <a:pt x="38" y="6"/>
                      <a:pt x="38" y="5"/>
                    </a:cubicBezTo>
                    <a:cubicBezTo>
                      <a:pt x="39" y="4"/>
                      <a:pt x="43" y="0"/>
                      <a:pt x="43" y="3"/>
                    </a:cubicBezTo>
                    <a:cubicBezTo>
                      <a:pt x="43" y="4"/>
                      <a:pt x="44" y="5"/>
                      <a:pt x="44" y="7"/>
                    </a:cubicBezTo>
                    <a:cubicBezTo>
                      <a:pt x="45" y="7"/>
                      <a:pt x="45" y="8"/>
                      <a:pt x="45" y="9"/>
                    </a:cubicBezTo>
                    <a:cubicBezTo>
                      <a:pt x="46" y="10"/>
                      <a:pt x="44" y="9"/>
                      <a:pt x="44" y="10"/>
                    </a:cubicBezTo>
                    <a:cubicBezTo>
                      <a:pt x="44" y="12"/>
                      <a:pt x="47" y="10"/>
                      <a:pt x="47" y="11"/>
                    </a:cubicBezTo>
                    <a:cubicBezTo>
                      <a:pt x="47" y="13"/>
                      <a:pt x="50" y="14"/>
                      <a:pt x="51" y="14"/>
                    </a:cubicBezTo>
                    <a:cubicBezTo>
                      <a:pt x="53" y="14"/>
                      <a:pt x="53" y="15"/>
                      <a:pt x="53" y="13"/>
                    </a:cubicBezTo>
                    <a:cubicBezTo>
                      <a:pt x="53" y="11"/>
                      <a:pt x="55" y="11"/>
                      <a:pt x="57" y="12"/>
                    </a:cubicBezTo>
                    <a:cubicBezTo>
                      <a:pt x="58" y="12"/>
                      <a:pt x="60" y="14"/>
                      <a:pt x="59" y="15"/>
                    </a:cubicBezTo>
                    <a:cubicBezTo>
                      <a:pt x="59" y="16"/>
                      <a:pt x="58" y="19"/>
                      <a:pt x="58" y="20"/>
                    </a:cubicBezTo>
                    <a:cubicBezTo>
                      <a:pt x="57" y="21"/>
                      <a:pt x="51" y="22"/>
                      <a:pt x="50" y="22"/>
                    </a:cubicBezTo>
                    <a:cubicBezTo>
                      <a:pt x="48" y="21"/>
                      <a:pt x="51" y="22"/>
                      <a:pt x="50"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3" name="Freeform 579">
                <a:extLst>
                  <a:ext uri="{FF2B5EF4-FFF2-40B4-BE49-F238E27FC236}">
                    <a16:creationId xmlns:a16="http://schemas.microsoft.com/office/drawing/2014/main" id="{9A454C6C-48F8-CF4D-AEE6-D33D33BD0FCC}"/>
                  </a:ext>
                </a:extLst>
              </p:cNvPr>
              <p:cNvSpPr>
                <a:spLocks/>
              </p:cNvSpPr>
              <p:nvPr/>
            </p:nvSpPr>
            <p:spPr bwMode="auto">
              <a:xfrm>
                <a:off x="6139678" y="4525526"/>
                <a:ext cx="95541" cy="63711"/>
              </a:xfrm>
              <a:custGeom>
                <a:avLst/>
                <a:gdLst>
                  <a:gd name="T0" fmla="*/ 9 w 10"/>
                  <a:gd name="T1" fmla="*/ 1 h 7"/>
                  <a:gd name="T2" fmla="*/ 0 w 10"/>
                  <a:gd name="T3" fmla="*/ 5 h 7"/>
                  <a:gd name="T4" fmla="*/ 6 w 10"/>
                  <a:gd name="T5" fmla="*/ 5 h 7"/>
                  <a:gd name="T6" fmla="*/ 9 w 10"/>
                  <a:gd name="T7" fmla="*/ 1 h 7"/>
                  <a:gd name="T8" fmla="*/ 9 w 10"/>
                  <a:gd name="T9" fmla="*/ 1 h 7"/>
                </a:gdLst>
                <a:ahLst/>
                <a:cxnLst>
                  <a:cxn ang="0">
                    <a:pos x="T0" y="T1"/>
                  </a:cxn>
                  <a:cxn ang="0">
                    <a:pos x="T2" y="T3"/>
                  </a:cxn>
                  <a:cxn ang="0">
                    <a:pos x="T4" y="T5"/>
                  </a:cxn>
                  <a:cxn ang="0">
                    <a:pos x="T6" y="T7"/>
                  </a:cxn>
                  <a:cxn ang="0">
                    <a:pos x="T8" y="T9"/>
                  </a:cxn>
                </a:cxnLst>
                <a:rect l="0" t="0" r="r" b="b"/>
                <a:pathLst>
                  <a:path w="10" h="7">
                    <a:moveTo>
                      <a:pt x="9" y="1"/>
                    </a:moveTo>
                    <a:cubicBezTo>
                      <a:pt x="8" y="1"/>
                      <a:pt x="0" y="5"/>
                      <a:pt x="0" y="5"/>
                    </a:cubicBezTo>
                    <a:cubicBezTo>
                      <a:pt x="2" y="6"/>
                      <a:pt x="5" y="7"/>
                      <a:pt x="6" y="5"/>
                    </a:cubicBezTo>
                    <a:cubicBezTo>
                      <a:pt x="7" y="4"/>
                      <a:pt x="9" y="0"/>
                      <a:pt x="9" y="1"/>
                    </a:cubicBezTo>
                    <a:cubicBezTo>
                      <a:pt x="7" y="1"/>
                      <a:pt x="10" y="0"/>
                      <a:pt x="9"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4" name="Freeform 580">
                <a:extLst>
                  <a:ext uri="{FF2B5EF4-FFF2-40B4-BE49-F238E27FC236}">
                    <a16:creationId xmlns:a16="http://schemas.microsoft.com/office/drawing/2014/main" id="{F59E2D32-762F-D14F-8161-967DBE0412A8}"/>
                  </a:ext>
                </a:extLst>
              </p:cNvPr>
              <p:cNvSpPr>
                <a:spLocks/>
              </p:cNvSpPr>
              <p:nvPr/>
            </p:nvSpPr>
            <p:spPr bwMode="auto">
              <a:xfrm>
                <a:off x="5974074" y="4385363"/>
                <a:ext cx="343950" cy="159279"/>
              </a:xfrm>
              <a:custGeom>
                <a:avLst/>
                <a:gdLst>
                  <a:gd name="T0" fmla="*/ 30 w 37"/>
                  <a:gd name="T1" fmla="*/ 12 h 17"/>
                  <a:gd name="T2" fmla="*/ 27 w 37"/>
                  <a:gd name="T3" fmla="*/ 13 h 17"/>
                  <a:gd name="T4" fmla="*/ 26 w 37"/>
                  <a:gd name="T5" fmla="*/ 10 h 17"/>
                  <a:gd name="T6" fmla="*/ 23 w 37"/>
                  <a:gd name="T7" fmla="*/ 8 h 17"/>
                  <a:gd name="T8" fmla="*/ 22 w 37"/>
                  <a:gd name="T9" fmla="*/ 10 h 17"/>
                  <a:gd name="T10" fmla="*/ 21 w 37"/>
                  <a:gd name="T11" fmla="*/ 9 h 17"/>
                  <a:gd name="T12" fmla="*/ 20 w 37"/>
                  <a:gd name="T13" fmla="*/ 13 h 17"/>
                  <a:gd name="T14" fmla="*/ 17 w 37"/>
                  <a:gd name="T15" fmla="*/ 14 h 17"/>
                  <a:gd name="T16" fmla="*/ 16 w 37"/>
                  <a:gd name="T17" fmla="*/ 16 h 17"/>
                  <a:gd name="T18" fmla="*/ 12 w 37"/>
                  <a:gd name="T19" fmla="*/ 17 h 17"/>
                  <a:gd name="T20" fmla="*/ 10 w 37"/>
                  <a:gd name="T21" fmla="*/ 15 h 17"/>
                  <a:gd name="T22" fmla="*/ 5 w 37"/>
                  <a:gd name="T23" fmla="*/ 16 h 17"/>
                  <a:gd name="T24" fmla="*/ 1 w 37"/>
                  <a:gd name="T25" fmla="*/ 17 h 17"/>
                  <a:gd name="T26" fmla="*/ 2 w 37"/>
                  <a:gd name="T27" fmla="*/ 13 h 17"/>
                  <a:gd name="T28" fmla="*/ 0 w 37"/>
                  <a:gd name="T29" fmla="*/ 14 h 17"/>
                  <a:gd name="T30" fmla="*/ 6 w 37"/>
                  <a:gd name="T31" fmla="*/ 12 h 17"/>
                  <a:gd name="T32" fmla="*/ 9 w 37"/>
                  <a:gd name="T33" fmla="*/ 10 h 17"/>
                  <a:gd name="T34" fmla="*/ 13 w 37"/>
                  <a:gd name="T35" fmla="*/ 7 h 17"/>
                  <a:gd name="T36" fmla="*/ 18 w 37"/>
                  <a:gd name="T37" fmla="*/ 3 h 17"/>
                  <a:gd name="T38" fmla="*/ 24 w 37"/>
                  <a:gd name="T39" fmla="*/ 3 h 17"/>
                  <a:gd name="T40" fmla="*/ 30 w 37"/>
                  <a:gd name="T41" fmla="*/ 3 h 17"/>
                  <a:gd name="T42" fmla="*/ 32 w 37"/>
                  <a:gd name="T43" fmla="*/ 0 h 17"/>
                  <a:gd name="T44" fmla="*/ 36 w 37"/>
                  <a:gd name="T45" fmla="*/ 2 h 17"/>
                  <a:gd name="T46" fmla="*/ 34 w 37"/>
                  <a:gd name="T47" fmla="*/ 4 h 17"/>
                  <a:gd name="T48" fmla="*/ 34 w 37"/>
                  <a:gd name="T49" fmla="*/ 7 h 17"/>
                  <a:gd name="T50" fmla="*/ 35 w 37"/>
                  <a:gd name="T51" fmla="*/ 9 h 17"/>
                  <a:gd name="T52" fmla="*/ 31 w 37"/>
                  <a:gd name="T53" fmla="*/ 10 h 17"/>
                  <a:gd name="T54" fmla="*/ 30 w 37"/>
                  <a:gd name="T55" fmla="*/ 12 h 17"/>
                  <a:gd name="T56" fmla="*/ 30 w 37"/>
                  <a:gd name="T57" fmla="*/ 1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17">
                    <a:moveTo>
                      <a:pt x="30" y="12"/>
                    </a:moveTo>
                    <a:cubicBezTo>
                      <a:pt x="29" y="13"/>
                      <a:pt x="27" y="13"/>
                      <a:pt x="27" y="13"/>
                    </a:cubicBezTo>
                    <a:cubicBezTo>
                      <a:pt x="24" y="13"/>
                      <a:pt x="25" y="11"/>
                      <a:pt x="26" y="10"/>
                    </a:cubicBezTo>
                    <a:cubicBezTo>
                      <a:pt x="27" y="8"/>
                      <a:pt x="24" y="7"/>
                      <a:pt x="23" y="8"/>
                    </a:cubicBezTo>
                    <a:cubicBezTo>
                      <a:pt x="23" y="9"/>
                      <a:pt x="23" y="10"/>
                      <a:pt x="22" y="10"/>
                    </a:cubicBezTo>
                    <a:cubicBezTo>
                      <a:pt x="22" y="10"/>
                      <a:pt x="21" y="10"/>
                      <a:pt x="21" y="9"/>
                    </a:cubicBezTo>
                    <a:cubicBezTo>
                      <a:pt x="20" y="10"/>
                      <a:pt x="21" y="12"/>
                      <a:pt x="20" y="13"/>
                    </a:cubicBezTo>
                    <a:cubicBezTo>
                      <a:pt x="19" y="15"/>
                      <a:pt x="18" y="13"/>
                      <a:pt x="17" y="14"/>
                    </a:cubicBezTo>
                    <a:cubicBezTo>
                      <a:pt x="16" y="14"/>
                      <a:pt x="17" y="16"/>
                      <a:pt x="16" y="16"/>
                    </a:cubicBezTo>
                    <a:cubicBezTo>
                      <a:pt x="16" y="17"/>
                      <a:pt x="13" y="17"/>
                      <a:pt x="12" y="17"/>
                    </a:cubicBezTo>
                    <a:cubicBezTo>
                      <a:pt x="11" y="16"/>
                      <a:pt x="11" y="14"/>
                      <a:pt x="10" y="15"/>
                    </a:cubicBezTo>
                    <a:cubicBezTo>
                      <a:pt x="8" y="16"/>
                      <a:pt x="7" y="16"/>
                      <a:pt x="5" y="16"/>
                    </a:cubicBezTo>
                    <a:cubicBezTo>
                      <a:pt x="4" y="16"/>
                      <a:pt x="2" y="17"/>
                      <a:pt x="1" y="17"/>
                    </a:cubicBezTo>
                    <a:cubicBezTo>
                      <a:pt x="0" y="17"/>
                      <a:pt x="3" y="14"/>
                      <a:pt x="2" y="13"/>
                    </a:cubicBezTo>
                    <a:cubicBezTo>
                      <a:pt x="2" y="13"/>
                      <a:pt x="1" y="14"/>
                      <a:pt x="0" y="14"/>
                    </a:cubicBezTo>
                    <a:cubicBezTo>
                      <a:pt x="0" y="13"/>
                      <a:pt x="5" y="12"/>
                      <a:pt x="6" y="12"/>
                    </a:cubicBezTo>
                    <a:cubicBezTo>
                      <a:pt x="8" y="12"/>
                      <a:pt x="8" y="11"/>
                      <a:pt x="9" y="10"/>
                    </a:cubicBezTo>
                    <a:cubicBezTo>
                      <a:pt x="11" y="8"/>
                      <a:pt x="12" y="8"/>
                      <a:pt x="13" y="7"/>
                    </a:cubicBezTo>
                    <a:cubicBezTo>
                      <a:pt x="15" y="5"/>
                      <a:pt x="16" y="3"/>
                      <a:pt x="18" y="3"/>
                    </a:cubicBezTo>
                    <a:cubicBezTo>
                      <a:pt x="20" y="2"/>
                      <a:pt x="22" y="2"/>
                      <a:pt x="24" y="3"/>
                    </a:cubicBezTo>
                    <a:cubicBezTo>
                      <a:pt x="26" y="3"/>
                      <a:pt x="29" y="4"/>
                      <a:pt x="30" y="3"/>
                    </a:cubicBezTo>
                    <a:cubicBezTo>
                      <a:pt x="31" y="2"/>
                      <a:pt x="30" y="0"/>
                      <a:pt x="32" y="0"/>
                    </a:cubicBezTo>
                    <a:cubicBezTo>
                      <a:pt x="32" y="0"/>
                      <a:pt x="36" y="1"/>
                      <a:pt x="36" y="2"/>
                    </a:cubicBezTo>
                    <a:cubicBezTo>
                      <a:pt x="37" y="2"/>
                      <a:pt x="34" y="3"/>
                      <a:pt x="34" y="4"/>
                    </a:cubicBezTo>
                    <a:cubicBezTo>
                      <a:pt x="34" y="5"/>
                      <a:pt x="37" y="6"/>
                      <a:pt x="34" y="7"/>
                    </a:cubicBezTo>
                    <a:cubicBezTo>
                      <a:pt x="33" y="8"/>
                      <a:pt x="36" y="9"/>
                      <a:pt x="35" y="9"/>
                    </a:cubicBezTo>
                    <a:cubicBezTo>
                      <a:pt x="33" y="10"/>
                      <a:pt x="32" y="10"/>
                      <a:pt x="31" y="10"/>
                    </a:cubicBezTo>
                    <a:cubicBezTo>
                      <a:pt x="31" y="11"/>
                      <a:pt x="31" y="11"/>
                      <a:pt x="30" y="12"/>
                    </a:cubicBezTo>
                    <a:cubicBezTo>
                      <a:pt x="29" y="13"/>
                      <a:pt x="31" y="11"/>
                      <a:pt x="30" y="1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5" name="Freeform 581">
                <a:extLst>
                  <a:ext uri="{FF2B5EF4-FFF2-40B4-BE49-F238E27FC236}">
                    <a16:creationId xmlns:a16="http://schemas.microsoft.com/office/drawing/2014/main" id="{B147C00B-A235-B443-86F3-9E559A15222B}"/>
                  </a:ext>
                </a:extLst>
              </p:cNvPr>
              <p:cNvSpPr>
                <a:spLocks/>
              </p:cNvSpPr>
              <p:nvPr/>
            </p:nvSpPr>
            <p:spPr bwMode="auto">
              <a:xfrm>
                <a:off x="6346686" y="4449069"/>
                <a:ext cx="73248" cy="19114"/>
              </a:xfrm>
              <a:custGeom>
                <a:avLst/>
                <a:gdLst>
                  <a:gd name="T0" fmla="*/ 6 w 8"/>
                  <a:gd name="T1" fmla="*/ 2 h 2"/>
                  <a:gd name="T2" fmla="*/ 3 w 8"/>
                  <a:gd name="T3" fmla="*/ 0 h 2"/>
                  <a:gd name="T4" fmla="*/ 6 w 8"/>
                  <a:gd name="T5" fmla="*/ 2 h 2"/>
                </a:gdLst>
                <a:ahLst/>
                <a:cxnLst>
                  <a:cxn ang="0">
                    <a:pos x="T0" y="T1"/>
                  </a:cxn>
                  <a:cxn ang="0">
                    <a:pos x="T2" y="T3"/>
                  </a:cxn>
                  <a:cxn ang="0">
                    <a:pos x="T4" y="T5"/>
                  </a:cxn>
                </a:cxnLst>
                <a:rect l="0" t="0" r="r" b="b"/>
                <a:pathLst>
                  <a:path w="8" h="2">
                    <a:moveTo>
                      <a:pt x="6" y="2"/>
                    </a:moveTo>
                    <a:cubicBezTo>
                      <a:pt x="4" y="2"/>
                      <a:pt x="0" y="1"/>
                      <a:pt x="3" y="0"/>
                    </a:cubicBezTo>
                    <a:cubicBezTo>
                      <a:pt x="5" y="0"/>
                      <a:pt x="8" y="2"/>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6" name="Freeform 582">
                <a:extLst>
                  <a:ext uri="{FF2B5EF4-FFF2-40B4-BE49-F238E27FC236}">
                    <a16:creationId xmlns:a16="http://schemas.microsoft.com/office/drawing/2014/main" id="{AC9F2F1E-6DF9-DB44-8B59-5D5E1E6306C5}"/>
                  </a:ext>
                </a:extLst>
              </p:cNvPr>
              <p:cNvSpPr>
                <a:spLocks/>
              </p:cNvSpPr>
              <p:nvPr/>
            </p:nvSpPr>
            <p:spPr bwMode="auto">
              <a:xfrm>
                <a:off x="6410381" y="4318467"/>
                <a:ext cx="197453" cy="92380"/>
              </a:xfrm>
              <a:custGeom>
                <a:avLst/>
                <a:gdLst>
                  <a:gd name="T0" fmla="*/ 7 w 21"/>
                  <a:gd name="T1" fmla="*/ 9 h 10"/>
                  <a:gd name="T2" fmla="*/ 2 w 21"/>
                  <a:gd name="T3" fmla="*/ 4 h 10"/>
                  <a:gd name="T4" fmla="*/ 9 w 21"/>
                  <a:gd name="T5" fmla="*/ 2 h 10"/>
                  <a:gd name="T6" fmla="*/ 17 w 21"/>
                  <a:gd name="T7" fmla="*/ 0 h 10"/>
                  <a:gd name="T8" fmla="*/ 19 w 21"/>
                  <a:gd name="T9" fmla="*/ 2 h 10"/>
                  <a:gd name="T10" fmla="*/ 14 w 21"/>
                  <a:gd name="T11" fmla="*/ 4 h 10"/>
                  <a:gd name="T12" fmla="*/ 15 w 21"/>
                  <a:gd name="T13" fmla="*/ 7 h 10"/>
                  <a:gd name="T14" fmla="*/ 7 w 21"/>
                  <a:gd name="T15" fmla="*/ 9 h 10"/>
                  <a:gd name="T16" fmla="*/ 7 w 21"/>
                  <a:gd name="T1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0">
                    <a:moveTo>
                      <a:pt x="7" y="9"/>
                    </a:moveTo>
                    <a:cubicBezTo>
                      <a:pt x="6" y="9"/>
                      <a:pt x="0" y="6"/>
                      <a:pt x="2" y="4"/>
                    </a:cubicBezTo>
                    <a:cubicBezTo>
                      <a:pt x="4" y="2"/>
                      <a:pt x="7" y="2"/>
                      <a:pt x="9" y="2"/>
                    </a:cubicBezTo>
                    <a:cubicBezTo>
                      <a:pt x="12" y="1"/>
                      <a:pt x="15" y="0"/>
                      <a:pt x="17" y="0"/>
                    </a:cubicBezTo>
                    <a:cubicBezTo>
                      <a:pt x="18" y="0"/>
                      <a:pt x="21" y="1"/>
                      <a:pt x="19" y="2"/>
                    </a:cubicBezTo>
                    <a:cubicBezTo>
                      <a:pt x="18" y="3"/>
                      <a:pt x="15" y="2"/>
                      <a:pt x="14" y="4"/>
                    </a:cubicBezTo>
                    <a:cubicBezTo>
                      <a:pt x="14" y="4"/>
                      <a:pt x="19" y="6"/>
                      <a:pt x="15" y="7"/>
                    </a:cubicBezTo>
                    <a:cubicBezTo>
                      <a:pt x="13" y="8"/>
                      <a:pt x="10" y="10"/>
                      <a:pt x="7" y="9"/>
                    </a:cubicBezTo>
                    <a:cubicBezTo>
                      <a:pt x="5" y="9"/>
                      <a:pt x="9" y="10"/>
                      <a:pt x="7"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7" name="Freeform 583">
                <a:extLst>
                  <a:ext uri="{FF2B5EF4-FFF2-40B4-BE49-F238E27FC236}">
                    <a16:creationId xmlns:a16="http://schemas.microsoft.com/office/drawing/2014/main" id="{9C6E1E6F-B79E-304C-A71E-5F4B7021F971}"/>
                  </a:ext>
                </a:extLst>
              </p:cNvPr>
              <p:cNvSpPr>
                <a:spLocks/>
              </p:cNvSpPr>
              <p:nvPr/>
            </p:nvSpPr>
            <p:spPr bwMode="auto">
              <a:xfrm>
                <a:off x="6327577" y="4337578"/>
                <a:ext cx="73248" cy="38227"/>
              </a:xfrm>
              <a:custGeom>
                <a:avLst/>
                <a:gdLst>
                  <a:gd name="T0" fmla="*/ 6 w 8"/>
                  <a:gd name="T1" fmla="*/ 4 h 4"/>
                  <a:gd name="T2" fmla="*/ 3 w 8"/>
                  <a:gd name="T3" fmla="*/ 0 h 4"/>
                  <a:gd name="T4" fmla="*/ 6 w 8"/>
                  <a:gd name="T5" fmla="*/ 4 h 4"/>
                </a:gdLst>
                <a:ahLst/>
                <a:cxnLst>
                  <a:cxn ang="0">
                    <a:pos x="T0" y="T1"/>
                  </a:cxn>
                  <a:cxn ang="0">
                    <a:pos x="T2" y="T3"/>
                  </a:cxn>
                  <a:cxn ang="0">
                    <a:pos x="T4" y="T5"/>
                  </a:cxn>
                </a:cxnLst>
                <a:rect l="0" t="0" r="r" b="b"/>
                <a:pathLst>
                  <a:path w="8" h="4">
                    <a:moveTo>
                      <a:pt x="6" y="4"/>
                    </a:moveTo>
                    <a:cubicBezTo>
                      <a:pt x="4" y="4"/>
                      <a:pt x="0" y="0"/>
                      <a:pt x="3" y="0"/>
                    </a:cubicBezTo>
                    <a:cubicBezTo>
                      <a:pt x="6" y="0"/>
                      <a:pt x="8" y="3"/>
                      <a:pt x="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8" name="Freeform 584">
                <a:extLst>
                  <a:ext uri="{FF2B5EF4-FFF2-40B4-BE49-F238E27FC236}">
                    <a16:creationId xmlns:a16="http://schemas.microsoft.com/office/drawing/2014/main" id="{A6A64AFF-5675-A344-8B31-DF337ECE331D}"/>
                  </a:ext>
                </a:extLst>
              </p:cNvPr>
              <p:cNvSpPr>
                <a:spLocks/>
              </p:cNvSpPr>
              <p:nvPr/>
            </p:nvSpPr>
            <p:spPr bwMode="auto">
              <a:xfrm>
                <a:off x="6429489" y="4251568"/>
                <a:ext cx="197453" cy="66896"/>
              </a:xfrm>
              <a:custGeom>
                <a:avLst/>
                <a:gdLst>
                  <a:gd name="T0" fmla="*/ 1 w 21"/>
                  <a:gd name="T1" fmla="*/ 5 h 7"/>
                  <a:gd name="T2" fmla="*/ 4 w 21"/>
                  <a:gd name="T3" fmla="*/ 4 h 7"/>
                  <a:gd name="T4" fmla="*/ 9 w 21"/>
                  <a:gd name="T5" fmla="*/ 1 h 7"/>
                  <a:gd name="T6" fmla="*/ 18 w 21"/>
                  <a:gd name="T7" fmla="*/ 3 h 7"/>
                  <a:gd name="T8" fmla="*/ 11 w 21"/>
                  <a:gd name="T9" fmla="*/ 6 h 7"/>
                  <a:gd name="T10" fmla="*/ 6 w 21"/>
                  <a:gd name="T11" fmla="*/ 6 h 7"/>
                  <a:gd name="T12" fmla="*/ 1 w 21"/>
                  <a:gd name="T13" fmla="*/ 5 h 7"/>
                  <a:gd name="T14" fmla="*/ 1 w 2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5"/>
                    </a:moveTo>
                    <a:cubicBezTo>
                      <a:pt x="0" y="5"/>
                      <a:pt x="3" y="4"/>
                      <a:pt x="4" y="4"/>
                    </a:cubicBezTo>
                    <a:cubicBezTo>
                      <a:pt x="6" y="3"/>
                      <a:pt x="7" y="2"/>
                      <a:pt x="9" y="1"/>
                    </a:cubicBezTo>
                    <a:cubicBezTo>
                      <a:pt x="12" y="0"/>
                      <a:pt x="15" y="1"/>
                      <a:pt x="18" y="3"/>
                    </a:cubicBezTo>
                    <a:cubicBezTo>
                      <a:pt x="21" y="6"/>
                      <a:pt x="12" y="6"/>
                      <a:pt x="11" y="6"/>
                    </a:cubicBezTo>
                    <a:cubicBezTo>
                      <a:pt x="9" y="6"/>
                      <a:pt x="8" y="7"/>
                      <a:pt x="6" y="6"/>
                    </a:cubicBezTo>
                    <a:cubicBezTo>
                      <a:pt x="4" y="5"/>
                      <a:pt x="2"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09" name="Freeform 585">
                <a:extLst>
                  <a:ext uri="{FF2B5EF4-FFF2-40B4-BE49-F238E27FC236}">
                    <a16:creationId xmlns:a16="http://schemas.microsoft.com/office/drawing/2014/main" id="{18D8080B-8DFC-284F-97DF-1F074050EBC4}"/>
                  </a:ext>
                </a:extLst>
              </p:cNvPr>
              <p:cNvSpPr>
                <a:spLocks/>
              </p:cNvSpPr>
              <p:nvPr/>
            </p:nvSpPr>
            <p:spPr bwMode="auto">
              <a:xfrm>
                <a:off x="6907195" y="4449069"/>
                <a:ext cx="261145" cy="178393"/>
              </a:xfrm>
              <a:custGeom>
                <a:avLst/>
                <a:gdLst>
                  <a:gd name="T0" fmla="*/ 22 w 28"/>
                  <a:gd name="T1" fmla="*/ 19 h 19"/>
                  <a:gd name="T2" fmla="*/ 15 w 28"/>
                  <a:gd name="T3" fmla="*/ 19 h 19"/>
                  <a:gd name="T4" fmla="*/ 15 w 28"/>
                  <a:gd name="T5" fmla="*/ 17 h 19"/>
                  <a:gd name="T6" fmla="*/ 12 w 28"/>
                  <a:gd name="T7" fmla="*/ 15 h 19"/>
                  <a:gd name="T8" fmla="*/ 17 w 28"/>
                  <a:gd name="T9" fmla="*/ 13 h 19"/>
                  <a:gd name="T10" fmla="*/ 16 w 28"/>
                  <a:gd name="T11" fmla="*/ 12 h 19"/>
                  <a:gd name="T12" fmla="*/ 9 w 28"/>
                  <a:gd name="T13" fmla="*/ 13 h 19"/>
                  <a:gd name="T14" fmla="*/ 2 w 28"/>
                  <a:gd name="T15" fmla="*/ 13 h 19"/>
                  <a:gd name="T16" fmla="*/ 1 w 28"/>
                  <a:gd name="T17" fmla="*/ 12 h 19"/>
                  <a:gd name="T18" fmla="*/ 7 w 28"/>
                  <a:gd name="T19" fmla="*/ 10 h 19"/>
                  <a:gd name="T20" fmla="*/ 4 w 28"/>
                  <a:gd name="T21" fmla="*/ 8 h 19"/>
                  <a:gd name="T22" fmla="*/ 7 w 28"/>
                  <a:gd name="T23" fmla="*/ 6 h 19"/>
                  <a:gd name="T24" fmla="*/ 3 w 28"/>
                  <a:gd name="T25" fmla="*/ 6 h 19"/>
                  <a:gd name="T26" fmla="*/ 7 w 28"/>
                  <a:gd name="T27" fmla="*/ 4 h 19"/>
                  <a:gd name="T28" fmla="*/ 13 w 28"/>
                  <a:gd name="T29" fmla="*/ 8 h 19"/>
                  <a:gd name="T30" fmla="*/ 16 w 28"/>
                  <a:gd name="T31" fmla="*/ 9 h 19"/>
                  <a:gd name="T32" fmla="*/ 13 w 28"/>
                  <a:gd name="T33" fmla="*/ 7 h 19"/>
                  <a:gd name="T34" fmla="*/ 14 w 28"/>
                  <a:gd name="T35" fmla="*/ 5 h 19"/>
                  <a:gd name="T36" fmla="*/ 11 w 28"/>
                  <a:gd name="T37" fmla="*/ 4 h 19"/>
                  <a:gd name="T38" fmla="*/ 11 w 28"/>
                  <a:gd name="T39" fmla="*/ 2 h 19"/>
                  <a:gd name="T40" fmla="*/ 7 w 28"/>
                  <a:gd name="T41" fmla="*/ 3 h 19"/>
                  <a:gd name="T42" fmla="*/ 13 w 28"/>
                  <a:gd name="T43" fmla="*/ 1 h 19"/>
                  <a:gd name="T44" fmla="*/ 12 w 28"/>
                  <a:gd name="T45" fmla="*/ 2 h 19"/>
                  <a:gd name="T46" fmla="*/ 15 w 28"/>
                  <a:gd name="T47" fmla="*/ 3 h 19"/>
                  <a:gd name="T48" fmla="*/ 21 w 28"/>
                  <a:gd name="T49" fmla="*/ 2 h 19"/>
                  <a:gd name="T50" fmla="*/ 26 w 28"/>
                  <a:gd name="T51" fmla="*/ 8 h 19"/>
                  <a:gd name="T52" fmla="*/ 27 w 28"/>
                  <a:gd name="T53" fmla="*/ 12 h 19"/>
                  <a:gd name="T54" fmla="*/ 26 w 28"/>
                  <a:gd name="T55" fmla="*/ 14 h 19"/>
                  <a:gd name="T56" fmla="*/ 26 w 28"/>
                  <a:gd name="T57" fmla="*/ 17 h 19"/>
                  <a:gd name="T58" fmla="*/ 22 w 28"/>
                  <a:gd name="T5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9">
                    <a:moveTo>
                      <a:pt x="22" y="19"/>
                    </a:moveTo>
                    <a:cubicBezTo>
                      <a:pt x="20" y="19"/>
                      <a:pt x="17" y="19"/>
                      <a:pt x="15" y="19"/>
                    </a:cubicBezTo>
                    <a:cubicBezTo>
                      <a:pt x="12" y="19"/>
                      <a:pt x="15" y="18"/>
                      <a:pt x="15" y="17"/>
                    </a:cubicBezTo>
                    <a:cubicBezTo>
                      <a:pt x="16" y="16"/>
                      <a:pt x="11" y="16"/>
                      <a:pt x="12" y="15"/>
                    </a:cubicBezTo>
                    <a:cubicBezTo>
                      <a:pt x="13" y="14"/>
                      <a:pt x="15" y="13"/>
                      <a:pt x="17" y="13"/>
                    </a:cubicBezTo>
                    <a:cubicBezTo>
                      <a:pt x="18" y="12"/>
                      <a:pt x="17" y="12"/>
                      <a:pt x="16" y="12"/>
                    </a:cubicBezTo>
                    <a:cubicBezTo>
                      <a:pt x="14" y="11"/>
                      <a:pt x="12" y="12"/>
                      <a:pt x="9" y="13"/>
                    </a:cubicBezTo>
                    <a:cubicBezTo>
                      <a:pt x="7" y="13"/>
                      <a:pt x="5" y="13"/>
                      <a:pt x="2" y="13"/>
                    </a:cubicBezTo>
                    <a:cubicBezTo>
                      <a:pt x="2" y="14"/>
                      <a:pt x="0" y="14"/>
                      <a:pt x="1" y="12"/>
                    </a:cubicBezTo>
                    <a:cubicBezTo>
                      <a:pt x="3" y="10"/>
                      <a:pt x="5" y="11"/>
                      <a:pt x="7" y="10"/>
                    </a:cubicBezTo>
                    <a:cubicBezTo>
                      <a:pt x="11" y="9"/>
                      <a:pt x="4" y="9"/>
                      <a:pt x="4" y="8"/>
                    </a:cubicBezTo>
                    <a:cubicBezTo>
                      <a:pt x="3" y="8"/>
                      <a:pt x="7" y="6"/>
                      <a:pt x="7" y="6"/>
                    </a:cubicBezTo>
                    <a:cubicBezTo>
                      <a:pt x="7" y="6"/>
                      <a:pt x="4" y="6"/>
                      <a:pt x="3" y="6"/>
                    </a:cubicBezTo>
                    <a:cubicBezTo>
                      <a:pt x="3" y="5"/>
                      <a:pt x="6" y="4"/>
                      <a:pt x="7" y="4"/>
                    </a:cubicBezTo>
                    <a:cubicBezTo>
                      <a:pt x="9" y="4"/>
                      <a:pt x="11" y="7"/>
                      <a:pt x="13" y="8"/>
                    </a:cubicBezTo>
                    <a:cubicBezTo>
                      <a:pt x="14" y="8"/>
                      <a:pt x="15" y="10"/>
                      <a:pt x="16" y="9"/>
                    </a:cubicBezTo>
                    <a:cubicBezTo>
                      <a:pt x="19" y="7"/>
                      <a:pt x="13" y="7"/>
                      <a:pt x="13" y="7"/>
                    </a:cubicBezTo>
                    <a:cubicBezTo>
                      <a:pt x="14" y="7"/>
                      <a:pt x="18" y="6"/>
                      <a:pt x="14" y="5"/>
                    </a:cubicBezTo>
                    <a:cubicBezTo>
                      <a:pt x="13" y="5"/>
                      <a:pt x="12" y="5"/>
                      <a:pt x="11" y="4"/>
                    </a:cubicBezTo>
                    <a:cubicBezTo>
                      <a:pt x="9" y="3"/>
                      <a:pt x="11" y="3"/>
                      <a:pt x="11" y="2"/>
                    </a:cubicBezTo>
                    <a:cubicBezTo>
                      <a:pt x="10" y="2"/>
                      <a:pt x="7" y="3"/>
                      <a:pt x="7" y="3"/>
                    </a:cubicBezTo>
                    <a:cubicBezTo>
                      <a:pt x="6" y="2"/>
                      <a:pt x="13" y="1"/>
                      <a:pt x="13" y="1"/>
                    </a:cubicBezTo>
                    <a:cubicBezTo>
                      <a:pt x="13" y="1"/>
                      <a:pt x="12" y="2"/>
                      <a:pt x="12" y="2"/>
                    </a:cubicBezTo>
                    <a:cubicBezTo>
                      <a:pt x="11" y="3"/>
                      <a:pt x="14" y="3"/>
                      <a:pt x="15" y="3"/>
                    </a:cubicBezTo>
                    <a:cubicBezTo>
                      <a:pt x="18" y="4"/>
                      <a:pt x="19" y="4"/>
                      <a:pt x="21" y="2"/>
                    </a:cubicBezTo>
                    <a:cubicBezTo>
                      <a:pt x="24" y="0"/>
                      <a:pt x="27" y="6"/>
                      <a:pt x="26" y="8"/>
                    </a:cubicBezTo>
                    <a:cubicBezTo>
                      <a:pt x="26" y="10"/>
                      <a:pt x="26" y="11"/>
                      <a:pt x="27" y="12"/>
                    </a:cubicBezTo>
                    <a:cubicBezTo>
                      <a:pt x="28" y="14"/>
                      <a:pt x="28" y="15"/>
                      <a:pt x="26" y="14"/>
                    </a:cubicBezTo>
                    <a:cubicBezTo>
                      <a:pt x="24" y="12"/>
                      <a:pt x="25" y="16"/>
                      <a:pt x="26" y="17"/>
                    </a:cubicBezTo>
                    <a:cubicBezTo>
                      <a:pt x="27" y="18"/>
                      <a:pt x="23" y="19"/>
                      <a:pt x="22"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0" name="Freeform 586">
                <a:extLst>
                  <a:ext uri="{FF2B5EF4-FFF2-40B4-BE49-F238E27FC236}">
                    <a16:creationId xmlns:a16="http://schemas.microsoft.com/office/drawing/2014/main" id="{F7B5393D-518E-3040-B9AB-3D115F02321A}"/>
                  </a:ext>
                </a:extLst>
              </p:cNvPr>
              <p:cNvSpPr>
                <a:spLocks/>
              </p:cNvSpPr>
              <p:nvPr/>
            </p:nvSpPr>
            <p:spPr bwMode="auto">
              <a:xfrm>
                <a:off x="6878534" y="4535082"/>
                <a:ext cx="82803" cy="25484"/>
              </a:xfrm>
              <a:custGeom>
                <a:avLst/>
                <a:gdLst>
                  <a:gd name="T0" fmla="*/ 1 w 9"/>
                  <a:gd name="T1" fmla="*/ 3 h 3"/>
                  <a:gd name="T2" fmla="*/ 7 w 9"/>
                  <a:gd name="T3" fmla="*/ 0 h 3"/>
                  <a:gd name="T4" fmla="*/ 1 w 9"/>
                  <a:gd name="T5" fmla="*/ 3 h 3"/>
                </a:gdLst>
                <a:ahLst/>
                <a:cxnLst>
                  <a:cxn ang="0">
                    <a:pos x="T0" y="T1"/>
                  </a:cxn>
                  <a:cxn ang="0">
                    <a:pos x="T2" y="T3"/>
                  </a:cxn>
                  <a:cxn ang="0">
                    <a:pos x="T4" y="T5"/>
                  </a:cxn>
                </a:cxnLst>
                <a:rect l="0" t="0" r="r" b="b"/>
                <a:pathLst>
                  <a:path w="9" h="3">
                    <a:moveTo>
                      <a:pt x="1" y="3"/>
                    </a:moveTo>
                    <a:cubicBezTo>
                      <a:pt x="4" y="2"/>
                      <a:pt x="9" y="0"/>
                      <a:pt x="7" y="0"/>
                    </a:cubicBezTo>
                    <a:cubicBezTo>
                      <a:pt x="4" y="0"/>
                      <a:pt x="0"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1" name="Freeform 587">
                <a:extLst>
                  <a:ext uri="{FF2B5EF4-FFF2-40B4-BE49-F238E27FC236}">
                    <a16:creationId xmlns:a16="http://schemas.microsoft.com/office/drawing/2014/main" id="{51D3A40C-CC34-4A40-86B7-62488BDD9697}"/>
                  </a:ext>
                </a:extLst>
              </p:cNvPr>
              <p:cNvSpPr>
                <a:spLocks/>
              </p:cNvSpPr>
              <p:nvPr/>
            </p:nvSpPr>
            <p:spPr bwMode="auto">
              <a:xfrm>
                <a:off x="6859425" y="4525526"/>
                <a:ext cx="76432" cy="19114"/>
              </a:xfrm>
              <a:custGeom>
                <a:avLst/>
                <a:gdLst>
                  <a:gd name="T0" fmla="*/ 1 w 8"/>
                  <a:gd name="T1" fmla="*/ 2 h 2"/>
                  <a:gd name="T2" fmla="*/ 6 w 8"/>
                  <a:gd name="T3" fmla="*/ 0 h 2"/>
                  <a:gd name="T4" fmla="*/ 1 w 8"/>
                  <a:gd name="T5" fmla="*/ 2 h 2"/>
                </a:gdLst>
                <a:ahLst/>
                <a:cxnLst>
                  <a:cxn ang="0">
                    <a:pos x="T0" y="T1"/>
                  </a:cxn>
                  <a:cxn ang="0">
                    <a:pos x="T2" y="T3"/>
                  </a:cxn>
                  <a:cxn ang="0">
                    <a:pos x="T4" y="T5"/>
                  </a:cxn>
                </a:cxnLst>
                <a:rect l="0" t="0" r="r" b="b"/>
                <a:pathLst>
                  <a:path w="8" h="2">
                    <a:moveTo>
                      <a:pt x="1" y="2"/>
                    </a:moveTo>
                    <a:cubicBezTo>
                      <a:pt x="0" y="2"/>
                      <a:pt x="4" y="0"/>
                      <a:pt x="6" y="0"/>
                    </a:cubicBezTo>
                    <a:cubicBezTo>
                      <a:pt x="8" y="0"/>
                      <a:pt x="4" y="2"/>
                      <a:pt x="1"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2" name="Freeform 588">
                <a:extLst>
                  <a:ext uri="{FF2B5EF4-FFF2-40B4-BE49-F238E27FC236}">
                    <a16:creationId xmlns:a16="http://schemas.microsoft.com/office/drawing/2014/main" id="{6C25FA5F-2DE2-6E48-897A-6C06EFC512D8}"/>
                  </a:ext>
                </a:extLst>
              </p:cNvPr>
              <p:cNvSpPr>
                <a:spLocks/>
              </p:cNvSpPr>
              <p:nvPr/>
            </p:nvSpPr>
            <p:spPr bwMode="auto">
              <a:xfrm>
                <a:off x="6821208" y="4496854"/>
                <a:ext cx="95541" cy="47785"/>
              </a:xfrm>
              <a:custGeom>
                <a:avLst/>
                <a:gdLst>
                  <a:gd name="T0" fmla="*/ 2 w 10"/>
                  <a:gd name="T1" fmla="*/ 3 h 5"/>
                  <a:gd name="T2" fmla="*/ 10 w 10"/>
                  <a:gd name="T3" fmla="*/ 1 h 5"/>
                  <a:gd name="T4" fmla="*/ 2 w 10"/>
                  <a:gd name="T5" fmla="*/ 3 h 5"/>
                </a:gdLst>
                <a:ahLst/>
                <a:cxnLst>
                  <a:cxn ang="0">
                    <a:pos x="T0" y="T1"/>
                  </a:cxn>
                  <a:cxn ang="0">
                    <a:pos x="T2" y="T3"/>
                  </a:cxn>
                  <a:cxn ang="0">
                    <a:pos x="T4" y="T5"/>
                  </a:cxn>
                </a:cxnLst>
                <a:rect l="0" t="0" r="r" b="b"/>
                <a:pathLst>
                  <a:path w="10" h="5">
                    <a:moveTo>
                      <a:pt x="2" y="3"/>
                    </a:moveTo>
                    <a:cubicBezTo>
                      <a:pt x="0" y="2"/>
                      <a:pt x="10" y="0"/>
                      <a:pt x="10" y="1"/>
                    </a:cubicBezTo>
                    <a:cubicBezTo>
                      <a:pt x="10" y="2"/>
                      <a:pt x="6" y="5"/>
                      <a:pt x="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3" name="Freeform 589">
                <a:extLst>
                  <a:ext uri="{FF2B5EF4-FFF2-40B4-BE49-F238E27FC236}">
                    <a16:creationId xmlns:a16="http://schemas.microsoft.com/office/drawing/2014/main" id="{DFC2653F-460A-0A4F-924F-041B84600947}"/>
                  </a:ext>
                </a:extLst>
              </p:cNvPr>
              <p:cNvSpPr>
                <a:spLocks/>
              </p:cNvSpPr>
              <p:nvPr/>
            </p:nvSpPr>
            <p:spPr bwMode="auto">
              <a:xfrm>
                <a:off x="6830763" y="4458630"/>
                <a:ext cx="66879" cy="47785"/>
              </a:xfrm>
              <a:custGeom>
                <a:avLst/>
                <a:gdLst>
                  <a:gd name="T0" fmla="*/ 1 w 7"/>
                  <a:gd name="T1" fmla="*/ 5 h 5"/>
                  <a:gd name="T2" fmla="*/ 0 w 7"/>
                  <a:gd name="T3" fmla="*/ 1 h 5"/>
                  <a:gd name="T4" fmla="*/ 4 w 7"/>
                  <a:gd name="T5" fmla="*/ 2 h 5"/>
                  <a:gd name="T6" fmla="*/ 7 w 7"/>
                  <a:gd name="T7" fmla="*/ 4 h 5"/>
                  <a:gd name="T8" fmla="*/ 1 w 7"/>
                  <a:gd name="T9" fmla="*/ 5 h 5"/>
                  <a:gd name="T10" fmla="*/ 1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1" y="5"/>
                    </a:moveTo>
                    <a:cubicBezTo>
                      <a:pt x="0" y="4"/>
                      <a:pt x="0" y="2"/>
                      <a:pt x="0" y="1"/>
                    </a:cubicBezTo>
                    <a:cubicBezTo>
                      <a:pt x="1" y="0"/>
                      <a:pt x="3" y="1"/>
                      <a:pt x="4" y="2"/>
                    </a:cubicBezTo>
                    <a:cubicBezTo>
                      <a:pt x="4" y="2"/>
                      <a:pt x="7" y="3"/>
                      <a:pt x="7" y="4"/>
                    </a:cubicBezTo>
                    <a:cubicBezTo>
                      <a:pt x="7" y="4"/>
                      <a:pt x="2" y="5"/>
                      <a:pt x="1" y="5"/>
                    </a:cubicBezTo>
                    <a:cubicBezTo>
                      <a:pt x="0" y="4"/>
                      <a:pt x="4" y="5"/>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4" name="Freeform 590">
                <a:extLst>
                  <a:ext uri="{FF2B5EF4-FFF2-40B4-BE49-F238E27FC236}">
                    <a16:creationId xmlns:a16="http://schemas.microsoft.com/office/drawing/2014/main" id="{C8E96277-91FB-B14C-BBAC-23C1F325A3BD}"/>
                  </a:ext>
                </a:extLst>
              </p:cNvPr>
              <p:cNvSpPr>
                <a:spLocks/>
              </p:cNvSpPr>
              <p:nvPr/>
            </p:nvSpPr>
            <p:spPr bwMode="auto">
              <a:xfrm>
                <a:off x="6738407" y="4347133"/>
                <a:ext cx="111465" cy="82827"/>
              </a:xfrm>
              <a:custGeom>
                <a:avLst/>
                <a:gdLst>
                  <a:gd name="T0" fmla="*/ 8 w 12"/>
                  <a:gd name="T1" fmla="*/ 8 h 9"/>
                  <a:gd name="T2" fmla="*/ 3 w 12"/>
                  <a:gd name="T3" fmla="*/ 1 h 9"/>
                  <a:gd name="T4" fmla="*/ 8 w 12"/>
                  <a:gd name="T5" fmla="*/ 8 h 9"/>
                </a:gdLst>
                <a:ahLst/>
                <a:cxnLst>
                  <a:cxn ang="0">
                    <a:pos x="T0" y="T1"/>
                  </a:cxn>
                  <a:cxn ang="0">
                    <a:pos x="T2" y="T3"/>
                  </a:cxn>
                  <a:cxn ang="0">
                    <a:pos x="T4" y="T5"/>
                  </a:cxn>
                </a:cxnLst>
                <a:rect l="0" t="0" r="r" b="b"/>
                <a:pathLst>
                  <a:path w="12" h="9">
                    <a:moveTo>
                      <a:pt x="8" y="8"/>
                    </a:moveTo>
                    <a:cubicBezTo>
                      <a:pt x="6" y="9"/>
                      <a:pt x="0" y="0"/>
                      <a:pt x="3" y="1"/>
                    </a:cubicBezTo>
                    <a:cubicBezTo>
                      <a:pt x="6" y="3"/>
                      <a:pt x="12" y="8"/>
                      <a:pt x="8"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5" name="Freeform 591">
                <a:extLst>
                  <a:ext uri="{FF2B5EF4-FFF2-40B4-BE49-F238E27FC236}">
                    <a16:creationId xmlns:a16="http://schemas.microsoft.com/office/drawing/2014/main" id="{A19868B3-8717-A044-B3E1-32BF7D7F0AB2}"/>
                  </a:ext>
                </a:extLst>
              </p:cNvPr>
              <p:cNvSpPr>
                <a:spLocks/>
              </p:cNvSpPr>
              <p:nvPr/>
            </p:nvSpPr>
            <p:spPr bwMode="auto">
              <a:xfrm>
                <a:off x="6916751" y="4337578"/>
                <a:ext cx="82803" cy="28669"/>
              </a:xfrm>
              <a:custGeom>
                <a:avLst/>
                <a:gdLst>
                  <a:gd name="T0" fmla="*/ 2 w 9"/>
                  <a:gd name="T1" fmla="*/ 1 h 3"/>
                  <a:gd name="T2" fmla="*/ 8 w 9"/>
                  <a:gd name="T3" fmla="*/ 2 h 3"/>
                  <a:gd name="T4" fmla="*/ 2 w 9"/>
                  <a:gd name="T5" fmla="*/ 1 h 3"/>
                </a:gdLst>
                <a:ahLst/>
                <a:cxnLst>
                  <a:cxn ang="0">
                    <a:pos x="T0" y="T1"/>
                  </a:cxn>
                  <a:cxn ang="0">
                    <a:pos x="T2" y="T3"/>
                  </a:cxn>
                  <a:cxn ang="0">
                    <a:pos x="T4" y="T5"/>
                  </a:cxn>
                </a:cxnLst>
                <a:rect l="0" t="0" r="r" b="b"/>
                <a:pathLst>
                  <a:path w="9" h="3">
                    <a:moveTo>
                      <a:pt x="2" y="1"/>
                    </a:moveTo>
                    <a:cubicBezTo>
                      <a:pt x="5" y="0"/>
                      <a:pt x="9" y="2"/>
                      <a:pt x="8" y="2"/>
                    </a:cubicBezTo>
                    <a:cubicBezTo>
                      <a:pt x="3" y="3"/>
                      <a:pt x="0"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6" name="Freeform 592">
                <a:extLst>
                  <a:ext uri="{FF2B5EF4-FFF2-40B4-BE49-F238E27FC236}">
                    <a16:creationId xmlns:a16="http://schemas.microsoft.com/office/drawing/2014/main" id="{8171CEBB-5DB5-9440-B540-FC03023C7B10}"/>
                  </a:ext>
                </a:extLst>
              </p:cNvPr>
              <p:cNvSpPr>
                <a:spLocks/>
              </p:cNvSpPr>
              <p:nvPr/>
            </p:nvSpPr>
            <p:spPr bwMode="auto">
              <a:xfrm>
                <a:off x="6757513" y="4187857"/>
                <a:ext cx="334395" cy="178393"/>
              </a:xfrm>
              <a:custGeom>
                <a:avLst/>
                <a:gdLst>
                  <a:gd name="T0" fmla="*/ 28 w 36"/>
                  <a:gd name="T1" fmla="*/ 17 h 19"/>
                  <a:gd name="T2" fmla="*/ 27 w 36"/>
                  <a:gd name="T3" fmla="*/ 15 h 19"/>
                  <a:gd name="T4" fmla="*/ 22 w 36"/>
                  <a:gd name="T5" fmla="*/ 13 h 19"/>
                  <a:gd name="T6" fmla="*/ 14 w 36"/>
                  <a:gd name="T7" fmla="*/ 14 h 19"/>
                  <a:gd name="T8" fmla="*/ 18 w 36"/>
                  <a:gd name="T9" fmla="*/ 12 h 19"/>
                  <a:gd name="T10" fmla="*/ 8 w 36"/>
                  <a:gd name="T11" fmla="*/ 12 h 19"/>
                  <a:gd name="T12" fmla="*/ 13 w 36"/>
                  <a:gd name="T13" fmla="*/ 10 h 19"/>
                  <a:gd name="T14" fmla="*/ 12 w 36"/>
                  <a:gd name="T15" fmla="*/ 9 h 19"/>
                  <a:gd name="T16" fmla="*/ 13 w 36"/>
                  <a:gd name="T17" fmla="*/ 8 h 19"/>
                  <a:gd name="T18" fmla="*/ 11 w 36"/>
                  <a:gd name="T19" fmla="*/ 8 h 19"/>
                  <a:gd name="T20" fmla="*/ 10 w 36"/>
                  <a:gd name="T21" fmla="*/ 6 h 19"/>
                  <a:gd name="T22" fmla="*/ 6 w 36"/>
                  <a:gd name="T23" fmla="*/ 6 h 19"/>
                  <a:gd name="T24" fmla="*/ 3 w 36"/>
                  <a:gd name="T25" fmla="*/ 5 h 19"/>
                  <a:gd name="T26" fmla="*/ 9 w 36"/>
                  <a:gd name="T27" fmla="*/ 2 h 19"/>
                  <a:gd name="T28" fmla="*/ 16 w 36"/>
                  <a:gd name="T29" fmla="*/ 1 h 19"/>
                  <a:gd name="T30" fmla="*/ 18 w 36"/>
                  <a:gd name="T31" fmla="*/ 5 h 19"/>
                  <a:gd name="T32" fmla="*/ 22 w 36"/>
                  <a:gd name="T33" fmla="*/ 4 h 19"/>
                  <a:gd name="T34" fmla="*/ 25 w 36"/>
                  <a:gd name="T35" fmla="*/ 7 h 19"/>
                  <a:gd name="T36" fmla="*/ 30 w 36"/>
                  <a:gd name="T37" fmla="*/ 7 h 19"/>
                  <a:gd name="T38" fmla="*/ 33 w 36"/>
                  <a:gd name="T39" fmla="*/ 12 h 19"/>
                  <a:gd name="T40" fmla="*/ 34 w 36"/>
                  <a:gd name="T41" fmla="*/ 16 h 19"/>
                  <a:gd name="T42" fmla="*/ 28 w 36"/>
                  <a:gd name="T43" fmla="*/ 17 h 19"/>
                  <a:gd name="T44" fmla="*/ 28 w 36"/>
                  <a:gd name="T45" fmla="*/ 1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19">
                    <a:moveTo>
                      <a:pt x="28" y="17"/>
                    </a:moveTo>
                    <a:cubicBezTo>
                      <a:pt x="27" y="17"/>
                      <a:pt x="27" y="16"/>
                      <a:pt x="27" y="15"/>
                    </a:cubicBezTo>
                    <a:cubicBezTo>
                      <a:pt x="26" y="14"/>
                      <a:pt x="23" y="13"/>
                      <a:pt x="22" y="13"/>
                    </a:cubicBezTo>
                    <a:cubicBezTo>
                      <a:pt x="21" y="13"/>
                      <a:pt x="14" y="15"/>
                      <a:pt x="14" y="14"/>
                    </a:cubicBezTo>
                    <a:cubicBezTo>
                      <a:pt x="14" y="14"/>
                      <a:pt x="18" y="12"/>
                      <a:pt x="18" y="12"/>
                    </a:cubicBezTo>
                    <a:cubicBezTo>
                      <a:pt x="15" y="11"/>
                      <a:pt x="11" y="14"/>
                      <a:pt x="8" y="12"/>
                    </a:cubicBezTo>
                    <a:cubicBezTo>
                      <a:pt x="2" y="9"/>
                      <a:pt x="13" y="10"/>
                      <a:pt x="13" y="10"/>
                    </a:cubicBezTo>
                    <a:cubicBezTo>
                      <a:pt x="13" y="10"/>
                      <a:pt x="12" y="9"/>
                      <a:pt x="12" y="9"/>
                    </a:cubicBezTo>
                    <a:cubicBezTo>
                      <a:pt x="12" y="9"/>
                      <a:pt x="13" y="8"/>
                      <a:pt x="13" y="8"/>
                    </a:cubicBezTo>
                    <a:cubicBezTo>
                      <a:pt x="14" y="7"/>
                      <a:pt x="11" y="8"/>
                      <a:pt x="11" y="8"/>
                    </a:cubicBezTo>
                    <a:cubicBezTo>
                      <a:pt x="10" y="7"/>
                      <a:pt x="12" y="6"/>
                      <a:pt x="10" y="6"/>
                    </a:cubicBezTo>
                    <a:cubicBezTo>
                      <a:pt x="9" y="6"/>
                      <a:pt x="7" y="7"/>
                      <a:pt x="6" y="6"/>
                    </a:cubicBezTo>
                    <a:cubicBezTo>
                      <a:pt x="6" y="5"/>
                      <a:pt x="4" y="6"/>
                      <a:pt x="3" y="5"/>
                    </a:cubicBezTo>
                    <a:cubicBezTo>
                      <a:pt x="0" y="0"/>
                      <a:pt x="7" y="2"/>
                      <a:pt x="9" y="2"/>
                    </a:cubicBezTo>
                    <a:cubicBezTo>
                      <a:pt x="11" y="1"/>
                      <a:pt x="14" y="0"/>
                      <a:pt x="16" y="1"/>
                    </a:cubicBezTo>
                    <a:cubicBezTo>
                      <a:pt x="19" y="2"/>
                      <a:pt x="14" y="7"/>
                      <a:pt x="18" y="5"/>
                    </a:cubicBezTo>
                    <a:cubicBezTo>
                      <a:pt x="19" y="5"/>
                      <a:pt x="21" y="3"/>
                      <a:pt x="22" y="4"/>
                    </a:cubicBezTo>
                    <a:cubicBezTo>
                      <a:pt x="23" y="5"/>
                      <a:pt x="24" y="7"/>
                      <a:pt x="25" y="7"/>
                    </a:cubicBezTo>
                    <a:cubicBezTo>
                      <a:pt x="26" y="7"/>
                      <a:pt x="29" y="6"/>
                      <a:pt x="30" y="7"/>
                    </a:cubicBezTo>
                    <a:cubicBezTo>
                      <a:pt x="32" y="8"/>
                      <a:pt x="32" y="11"/>
                      <a:pt x="33" y="12"/>
                    </a:cubicBezTo>
                    <a:cubicBezTo>
                      <a:pt x="34" y="14"/>
                      <a:pt x="36" y="15"/>
                      <a:pt x="34" y="16"/>
                    </a:cubicBezTo>
                    <a:cubicBezTo>
                      <a:pt x="33" y="18"/>
                      <a:pt x="30" y="18"/>
                      <a:pt x="28" y="17"/>
                    </a:cubicBezTo>
                    <a:cubicBezTo>
                      <a:pt x="27" y="16"/>
                      <a:pt x="31" y="19"/>
                      <a:pt x="28"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7" name="Freeform 593">
                <a:extLst>
                  <a:ext uri="{FF2B5EF4-FFF2-40B4-BE49-F238E27FC236}">
                    <a16:creationId xmlns:a16="http://schemas.microsoft.com/office/drawing/2014/main" id="{8F6FD7BA-6AAF-1E4E-AD82-6C63A2740135}"/>
                  </a:ext>
                </a:extLst>
              </p:cNvPr>
              <p:cNvSpPr>
                <a:spLocks/>
              </p:cNvSpPr>
              <p:nvPr/>
            </p:nvSpPr>
            <p:spPr bwMode="auto">
              <a:xfrm>
                <a:off x="7018660" y="4101847"/>
                <a:ext cx="101909" cy="47785"/>
              </a:xfrm>
              <a:custGeom>
                <a:avLst/>
                <a:gdLst>
                  <a:gd name="T0" fmla="*/ 8 w 11"/>
                  <a:gd name="T1" fmla="*/ 5 h 5"/>
                  <a:gd name="T2" fmla="*/ 4 w 11"/>
                  <a:gd name="T3" fmla="*/ 4 h 5"/>
                  <a:gd name="T4" fmla="*/ 2 w 11"/>
                  <a:gd name="T5" fmla="*/ 3 h 5"/>
                  <a:gd name="T6" fmla="*/ 7 w 11"/>
                  <a:gd name="T7" fmla="*/ 2 h 5"/>
                  <a:gd name="T8" fmla="*/ 8 w 11"/>
                  <a:gd name="T9" fmla="*/ 5 h 5"/>
                </a:gdLst>
                <a:ahLst/>
                <a:cxnLst>
                  <a:cxn ang="0">
                    <a:pos x="T0" y="T1"/>
                  </a:cxn>
                  <a:cxn ang="0">
                    <a:pos x="T2" y="T3"/>
                  </a:cxn>
                  <a:cxn ang="0">
                    <a:pos x="T4" y="T5"/>
                  </a:cxn>
                  <a:cxn ang="0">
                    <a:pos x="T6" y="T7"/>
                  </a:cxn>
                  <a:cxn ang="0">
                    <a:pos x="T8" y="T9"/>
                  </a:cxn>
                </a:cxnLst>
                <a:rect l="0" t="0" r="r" b="b"/>
                <a:pathLst>
                  <a:path w="11" h="5">
                    <a:moveTo>
                      <a:pt x="8" y="5"/>
                    </a:moveTo>
                    <a:cubicBezTo>
                      <a:pt x="6" y="5"/>
                      <a:pt x="6" y="4"/>
                      <a:pt x="4" y="4"/>
                    </a:cubicBezTo>
                    <a:cubicBezTo>
                      <a:pt x="4" y="4"/>
                      <a:pt x="0" y="4"/>
                      <a:pt x="2" y="3"/>
                    </a:cubicBezTo>
                    <a:cubicBezTo>
                      <a:pt x="3" y="1"/>
                      <a:pt x="6" y="0"/>
                      <a:pt x="7" y="2"/>
                    </a:cubicBezTo>
                    <a:cubicBezTo>
                      <a:pt x="9" y="3"/>
                      <a:pt x="11" y="5"/>
                      <a:pt x="8"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8" name="Freeform 594">
                <a:extLst>
                  <a:ext uri="{FF2B5EF4-FFF2-40B4-BE49-F238E27FC236}">
                    <a16:creationId xmlns:a16="http://schemas.microsoft.com/office/drawing/2014/main" id="{FFD904A4-BFFF-9648-A634-3367BCA81246}"/>
                  </a:ext>
                </a:extLst>
              </p:cNvPr>
              <p:cNvSpPr>
                <a:spLocks/>
              </p:cNvSpPr>
              <p:nvPr/>
            </p:nvSpPr>
            <p:spPr bwMode="auto">
              <a:xfrm>
                <a:off x="7101463" y="4251568"/>
                <a:ext cx="187897" cy="105124"/>
              </a:xfrm>
              <a:custGeom>
                <a:avLst/>
                <a:gdLst>
                  <a:gd name="T0" fmla="*/ 8 w 20"/>
                  <a:gd name="T1" fmla="*/ 7 h 11"/>
                  <a:gd name="T2" fmla="*/ 3 w 20"/>
                  <a:gd name="T3" fmla="*/ 5 h 11"/>
                  <a:gd name="T4" fmla="*/ 4 w 20"/>
                  <a:gd name="T5" fmla="*/ 3 h 11"/>
                  <a:gd name="T6" fmla="*/ 1 w 20"/>
                  <a:gd name="T7" fmla="*/ 1 h 11"/>
                  <a:gd name="T8" fmla="*/ 6 w 20"/>
                  <a:gd name="T9" fmla="*/ 1 h 11"/>
                  <a:gd name="T10" fmla="*/ 12 w 20"/>
                  <a:gd name="T11" fmla="*/ 3 h 11"/>
                  <a:gd name="T12" fmla="*/ 16 w 20"/>
                  <a:gd name="T13" fmla="*/ 3 h 11"/>
                  <a:gd name="T14" fmla="*/ 19 w 20"/>
                  <a:gd name="T15" fmla="*/ 4 h 11"/>
                  <a:gd name="T16" fmla="*/ 18 w 20"/>
                  <a:gd name="T17" fmla="*/ 8 h 11"/>
                  <a:gd name="T18" fmla="*/ 15 w 20"/>
                  <a:gd name="T19" fmla="*/ 10 h 11"/>
                  <a:gd name="T20" fmla="*/ 9 w 20"/>
                  <a:gd name="T21" fmla="*/ 11 h 11"/>
                  <a:gd name="T22" fmla="*/ 4 w 20"/>
                  <a:gd name="T23" fmla="*/ 8 h 11"/>
                  <a:gd name="T24" fmla="*/ 8 w 20"/>
                  <a:gd name="T25" fmla="*/ 7 h 11"/>
                  <a:gd name="T26" fmla="*/ 8 w 20"/>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
                    <a:moveTo>
                      <a:pt x="8" y="7"/>
                    </a:moveTo>
                    <a:cubicBezTo>
                      <a:pt x="6" y="7"/>
                      <a:pt x="4" y="6"/>
                      <a:pt x="3" y="5"/>
                    </a:cubicBezTo>
                    <a:cubicBezTo>
                      <a:pt x="0" y="4"/>
                      <a:pt x="4" y="3"/>
                      <a:pt x="4" y="3"/>
                    </a:cubicBezTo>
                    <a:cubicBezTo>
                      <a:pt x="4" y="2"/>
                      <a:pt x="2" y="1"/>
                      <a:pt x="1" y="1"/>
                    </a:cubicBezTo>
                    <a:cubicBezTo>
                      <a:pt x="1" y="0"/>
                      <a:pt x="6" y="1"/>
                      <a:pt x="6" y="1"/>
                    </a:cubicBezTo>
                    <a:cubicBezTo>
                      <a:pt x="8" y="1"/>
                      <a:pt x="10" y="2"/>
                      <a:pt x="12" y="3"/>
                    </a:cubicBezTo>
                    <a:cubicBezTo>
                      <a:pt x="14" y="3"/>
                      <a:pt x="15" y="3"/>
                      <a:pt x="16" y="3"/>
                    </a:cubicBezTo>
                    <a:cubicBezTo>
                      <a:pt x="17" y="3"/>
                      <a:pt x="20" y="4"/>
                      <a:pt x="19" y="4"/>
                    </a:cubicBezTo>
                    <a:cubicBezTo>
                      <a:pt x="17" y="6"/>
                      <a:pt x="16" y="5"/>
                      <a:pt x="18" y="8"/>
                    </a:cubicBezTo>
                    <a:cubicBezTo>
                      <a:pt x="19" y="9"/>
                      <a:pt x="16" y="9"/>
                      <a:pt x="15" y="10"/>
                    </a:cubicBezTo>
                    <a:cubicBezTo>
                      <a:pt x="13" y="10"/>
                      <a:pt x="11" y="11"/>
                      <a:pt x="9" y="11"/>
                    </a:cubicBezTo>
                    <a:cubicBezTo>
                      <a:pt x="8" y="10"/>
                      <a:pt x="4" y="9"/>
                      <a:pt x="4" y="8"/>
                    </a:cubicBezTo>
                    <a:cubicBezTo>
                      <a:pt x="4" y="8"/>
                      <a:pt x="10" y="7"/>
                      <a:pt x="8" y="7"/>
                    </a:cubicBezTo>
                    <a:cubicBezTo>
                      <a:pt x="5" y="6"/>
                      <a:pt x="10" y="7"/>
                      <a:pt x="8"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19" name="Freeform 595">
                <a:extLst>
                  <a:ext uri="{FF2B5EF4-FFF2-40B4-BE49-F238E27FC236}">
                    <a16:creationId xmlns:a16="http://schemas.microsoft.com/office/drawing/2014/main" id="{616CC8CA-EA41-A34D-9EED-70CC43857E44}"/>
                  </a:ext>
                </a:extLst>
              </p:cNvPr>
              <p:cNvSpPr>
                <a:spLocks/>
              </p:cNvSpPr>
              <p:nvPr/>
            </p:nvSpPr>
            <p:spPr bwMode="auto">
              <a:xfrm>
                <a:off x="7206560" y="4347133"/>
                <a:ext cx="165604" cy="47785"/>
              </a:xfrm>
              <a:custGeom>
                <a:avLst/>
                <a:gdLst>
                  <a:gd name="T0" fmla="*/ 14 w 18"/>
                  <a:gd name="T1" fmla="*/ 5 h 5"/>
                  <a:gd name="T2" fmla="*/ 16 w 18"/>
                  <a:gd name="T3" fmla="*/ 2 h 5"/>
                  <a:gd name="T4" fmla="*/ 13 w 18"/>
                  <a:gd name="T5" fmla="*/ 1 h 5"/>
                  <a:gd name="T6" fmla="*/ 3 w 18"/>
                  <a:gd name="T7" fmla="*/ 1 h 5"/>
                  <a:gd name="T8" fmla="*/ 4 w 18"/>
                  <a:gd name="T9" fmla="*/ 4 h 5"/>
                  <a:gd name="T10" fmla="*/ 14 w 18"/>
                  <a:gd name="T11" fmla="*/ 5 h 5"/>
                  <a:gd name="T12" fmla="*/ 14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4" y="5"/>
                    </a:moveTo>
                    <a:cubicBezTo>
                      <a:pt x="14" y="4"/>
                      <a:pt x="18" y="2"/>
                      <a:pt x="16" y="2"/>
                    </a:cubicBezTo>
                    <a:cubicBezTo>
                      <a:pt x="15" y="1"/>
                      <a:pt x="14" y="1"/>
                      <a:pt x="13" y="1"/>
                    </a:cubicBezTo>
                    <a:cubicBezTo>
                      <a:pt x="10" y="1"/>
                      <a:pt x="6" y="0"/>
                      <a:pt x="3" y="1"/>
                    </a:cubicBezTo>
                    <a:cubicBezTo>
                      <a:pt x="0" y="1"/>
                      <a:pt x="1" y="4"/>
                      <a:pt x="4" y="4"/>
                    </a:cubicBezTo>
                    <a:cubicBezTo>
                      <a:pt x="7" y="4"/>
                      <a:pt x="11" y="5"/>
                      <a:pt x="14" y="5"/>
                    </a:cubicBezTo>
                    <a:cubicBezTo>
                      <a:pt x="16" y="4"/>
                      <a:pt x="12" y="5"/>
                      <a:pt x="14"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0" name="Freeform 596">
                <a:extLst>
                  <a:ext uri="{FF2B5EF4-FFF2-40B4-BE49-F238E27FC236}">
                    <a16:creationId xmlns:a16="http://schemas.microsoft.com/office/drawing/2014/main" id="{262B5446-D2E2-5F47-A90F-356CEC8F28C0}"/>
                  </a:ext>
                </a:extLst>
              </p:cNvPr>
              <p:cNvSpPr>
                <a:spLocks/>
              </p:cNvSpPr>
              <p:nvPr/>
            </p:nvSpPr>
            <p:spPr bwMode="auto">
              <a:xfrm>
                <a:off x="7197007" y="4560566"/>
                <a:ext cx="156051" cy="105124"/>
              </a:xfrm>
              <a:custGeom>
                <a:avLst/>
                <a:gdLst>
                  <a:gd name="T0" fmla="*/ 7 w 17"/>
                  <a:gd name="T1" fmla="*/ 1 h 11"/>
                  <a:gd name="T2" fmla="*/ 1 w 17"/>
                  <a:gd name="T3" fmla="*/ 6 h 11"/>
                  <a:gd name="T4" fmla="*/ 10 w 17"/>
                  <a:gd name="T5" fmla="*/ 10 h 11"/>
                  <a:gd name="T6" fmla="*/ 15 w 17"/>
                  <a:gd name="T7" fmla="*/ 10 h 11"/>
                  <a:gd name="T8" fmla="*/ 15 w 17"/>
                  <a:gd name="T9" fmla="*/ 8 h 11"/>
                  <a:gd name="T10" fmla="*/ 16 w 17"/>
                  <a:gd name="T11" fmla="*/ 6 h 11"/>
                  <a:gd name="T12" fmla="*/ 7 w 17"/>
                  <a:gd name="T13" fmla="*/ 1 h 11"/>
                  <a:gd name="T14" fmla="*/ 7 w 17"/>
                  <a:gd name="T15" fmla="*/ 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1">
                    <a:moveTo>
                      <a:pt x="7" y="1"/>
                    </a:moveTo>
                    <a:cubicBezTo>
                      <a:pt x="5" y="0"/>
                      <a:pt x="2" y="4"/>
                      <a:pt x="1" y="6"/>
                    </a:cubicBezTo>
                    <a:cubicBezTo>
                      <a:pt x="0" y="8"/>
                      <a:pt x="8" y="10"/>
                      <a:pt x="10" y="10"/>
                    </a:cubicBezTo>
                    <a:cubicBezTo>
                      <a:pt x="11" y="11"/>
                      <a:pt x="14" y="11"/>
                      <a:pt x="15" y="10"/>
                    </a:cubicBezTo>
                    <a:cubicBezTo>
                      <a:pt x="16" y="10"/>
                      <a:pt x="15" y="9"/>
                      <a:pt x="15" y="8"/>
                    </a:cubicBezTo>
                    <a:cubicBezTo>
                      <a:pt x="15" y="7"/>
                      <a:pt x="15" y="6"/>
                      <a:pt x="16" y="6"/>
                    </a:cubicBezTo>
                    <a:cubicBezTo>
                      <a:pt x="17" y="4"/>
                      <a:pt x="9" y="1"/>
                      <a:pt x="7" y="1"/>
                    </a:cubicBezTo>
                    <a:cubicBezTo>
                      <a:pt x="5" y="0"/>
                      <a:pt x="8" y="1"/>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1" name="Freeform 597">
                <a:extLst>
                  <a:ext uri="{FF2B5EF4-FFF2-40B4-BE49-F238E27FC236}">
                    <a16:creationId xmlns:a16="http://schemas.microsoft.com/office/drawing/2014/main" id="{1E2250C1-5312-BF42-A210-D52FBB728F10}"/>
                  </a:ext>
                </a:extLst>
              </p:cNvPr>
              <p:cNvSpPr>
                <a:spLocks/>
              </p:cNvSpPr>
              <p:nvPr/>
            </p:nvSpPr>
            <p:spPr bwMode="auto">
              <a:xfrm>
                <a:off x="7270254" y="4535082"/>
                <a:ext cx="38217" cy="25484"/>
              </a:xfrm>
              <a:custGeom>
                <a:avLst/>
                <a:gdLst>
                  <a:gd name="T0" fmla="*/ 3 w 4"/>
                  <a:gd name="T1" fmla="*/ 2 h 3"/>
                  <a:gd name="T2" fmla="*/ 1 w 4"/>
                  <a:gd name="T3" fmla="*/ 1 h 3"/>
                  <a:gd name="T4" fmla="*/ 3 w 4"/>
                  <a:gd name="T5" fmla="*/ 2 h 3"/>
                </a:gdLst>
                <a:ahLst/>
                <a:cxnLst>
                  <a:cxn ang="0">
                    <a:pos x="T0" y="T1"/>
                  </a:cxn>
                  <a:cxn ang="0">
                    <a:pos x="T2" y="T3"/>
                  </a:cxn>
                  <a:cxn ang="0">
                    <a:pos x="T4" y="T5"/>
                  </a:cxn>
                </a:cxnLst>
                <a:rect l="0" t="0" r="r" b="b"/>
                <a:pathLst>
                  <a:path w="4" h="3">
                    <a:moveTo>
                      <a:pt x="3" y="2"/>
                    </a:moveTo>
                    <a:cubicBezTo>
                      <a:pt x="1" y="3"/>
                      <a:pt x="0" y="1"/>
                      <a:pt x="1" y="1"/>
                    </a:cubicBezTo>
                    <a:cubicBezTo>
                      <a:pt x="2"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2" name="Freeform 598">
                <a:extLst>
                  <a:ext uri="{FF2B5EF4-FFF2-40B4-BE49-F238E27FC236}">
                    <a16:creationId xmlns:a16="http://schemas.microsoft.com/office/drawing/2014/main" id="{1CDE95ED-E3F5-594D-8835-D228AFA16B81}"/>
                  </a:ext>
                </a:extLst>
              </p:cNvPr>
              <p:cNvSpPr>
                <a:spLocks/>
              </p:cNvSpPr>
              <p:nvPr/>
            </p:nvSpPr>
            <p:spPr bwMode="auto">
              <a:xfrm>
                <a:off x="7439043" y="4366247"/>
                <a:ext cx="82803" cy="54153"/>
              </a:xfrm>
              <a:custGeom>
                <a:avLst/>
                <a:gdLst>
                  <a:gd name="T0" fmla="*/ 1 w 9"/>
                  <a:gd name="T1" fmla="*/ 5 h 6"/>
                  <a:gd name="T2" fmla="*/ 1 w 9"/>
                  <a:gd name="T3" fmla="*/ 1 h 6"/>
                  <a:gd name="T4" fmla="*/ 5 w 9"/>
                  <a:gd name="T5" fmla="*/ 1 h 6"/>
                  <a:gd name="T6" fmla="*/ 9 w 9"/>
                  <a:gd name="T7" fmla="*/ 3 h 6"/>
                  <a:gd name="T8" fmla="*/ 5 w 9"/>
                  <a:gd name="T9" fmla="*/ 5 h 6"/>
                  <a:gd name="T10" fmla="*/ 1 w 9"/>
                  <a:gd name="T11" fmla="*/ 5 h 6"/>
                  <a:gd name="T12" fmla="*/ 1 w 9"/>
                  <a:gd name="T13" fmla="*/ 5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1" y="5"/>
                    </a:moveTo>
                    <a:cubicBezTo>
                      <a:pt x="1" y="5"/>
                      <a:pt x="2" y="2"/>
                      <a:pt x="1" y="1"/>
                    </a:cubicBezTo>
                    <a:cubicBezTo>
                      <a:pt x="1" y="0"/>
                      <a:pt x="4" y="1"/>
                      <a:pt x="5" y="1"/>
                    </a:cubicBezTo>
                    <a:cubicBezTo>
                      <a:pt x="6" y="1"/>
                      <a:pt x="9" y="2"/>
                      <a:pt x="9" y="3"/>
                    </a:cubicBezTo>
                    <a:cubicBezTo>
                      <a:pt x="8" y="4"/>
                      <a:pt x="6" y="5"/>
                      <a:pt x="5" y="5"/>
                    </a:cubicBezTo>
                    <a:cubicBezTo>
                      <a:pt x="3" y="6"/>
                      <a:pt x="3" y="6"/>
                      <a:pt x="1" y="5"/>
                    </a:cubicBezTo>
                    <a:cubicBezTo>
                      <a:pt x="0" y="4"/>
                      <a:pt x="2" y="6"/>
                      <a:pt x="1"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3" name="Freeform 599">
                <a:extLst>
                  <a:ext uri="{FF2B5EF4-FFF2-40B4-BE49-F238E27FC236}">
                    <a16:creationId xmlns:a16="http://schemas.microsoft.com/office/drawing/2014/main" id="{594CE1AD-150E-3340-A9A9-C72B16300377}"/>
                  </a:ext>
                </a:extLst>
              </p:cNvPr>
              <p:cNvSpPr>
                <a:spLocks/>
              </p:cNvSpPr>
              <p:nvPr/>
            </p:nvSpPr>
            <p:spPr bwMode="auto">
              <a:xfrm>
                <a:off x="7483629" y="4449069"/>
                <a:ext cx="28662" cy="38227"/>
              </a:xfrm>
              <a:custGeom>
                <a:avLst/>
                <a:gdLst>
                  <a:gd name="T0" fmla="*/ 2 w 3"/>
                  <a:gd name="T1" fmla="*/ 1 h 4"/>
                  <a:gd name="T2" fmla="*/ 1 w 3"/>
                  <a:gd name="T3" fmla="*/ 3 h 4"/>
                  <a:gd name="T4" fmla="*/ 2 w 3"/>
                  <a:gd name="T5" fmla="*/ 1 h 4"/>
                </a:gdLst>
                <a:ahLst/>
                <a:cxnLst>
                  <a:cxn ang="0">
                    <a:pos x="T0" y="T1"/>
                  </a:cxn>
                  <a:cxn ang="0">
                    <a:pos x="T2" y="T3"/>
                  </a:cxn>
                  <a:cxn ang="0">
                    <a:pos x="T4" y="T5"/>
                  </a:cxn>
                </a:cxnLst>
                <a:rect l="0" t="0" r="r" b="b"/>
                <a:pathLst>
                  <a:path w="3" h="4">
                    <a:moveTo>
                      <a:pt x="2" y="1"/>
                    </a:moveTo>
                    <a:cubicBezTo>
                      <a:pt x="0" y="0"/>
                      <a:pt x="0" y="3"/>
                      <a:pt x="1" y="3"/>
                    </a:cubicBezTo>
                    <a:cubicBezTo>
                      <a:pt x="2" y="4"/>
                      <a:pt x="3"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4" name="Freeform 600">
                <a:extLst>
                  <a:ext uri="{FF2B5EF4-FFF2-40B4-BE49-F238E27FC236}">
                    <a16:creationId xmlns:a16="http://schemas.microsoft.com/office/drawing/2014/main" id="{E5353346-68C6-C44D-8A87-71D96CBA0BD2}"/>
                  </a:ext>
                </a:extLst>
              </p:cNvPr>
              <p:cNvSpPr>
                <a:spLocks/>
              </p:cNvSpPr>
              <p:nvPr/>
            </p:nvSpPr>
            <p:spPr bwMode="auto">
              <a:xfrm>
                <a:off x="7177896" y="4420403"/>
                <a:ext cx="831212" cy="254845"/>
              </a:xfrm>
              <a:custGeom>
                <a:avLst/>
                <a:gdLst>
                  <a:gd name="T0" fmla="*/ 17 w 89"/>
                  <a:gd name="T1" fmla="*/ 7 h 27"/>
                  <a:gd name="T2" fmla="*/ 19 w 89"/>
                  <a:gd name="T3" fmla="*/ 4 h 27"/>
                  <a:gd name="T4" fmla="*/ 15 w 89"/>
                  <a:gd name="T5" fmla="*/ 2 h 27"/>
                  <a:gd name="T6" fmla="*/ 12 w 89"/>
                  <a:gd name="T7" fmla="*/ 2 h 27"/>
                  <a:gd name="T8" fmla="*/ 4 w 89"/>
                  <a:gd name="T9" fmla="*/ 1 h 27"/>
                  <a:gd name="T10" fmla="*/ 4 w 89"/>
                  <a:gd name="T11" fmla="*/ 3 h 27"/>
                  <a:gd name="T12" fmla="*/ 0 w 89"/>
                  <a:gd name="T13" fmla="*/ 4 h 27"/>
                  <a:gd name="T14" fmla="*/ 5 w 89"/>
                  <a:gd name="T15" fmla="*/ 5 h 27"/>
                  <a:gd name="T16" fmla="*/ 7 w 89"/>
                  <a:gd name="T17" fmla="*/ 6 h 27"/>
                  <a:gd name="T18" fmla="*/ 6 w 89"/>
                  <a:gd name="T19" fmla="*/ 7 h 27"/>
                  <a:gd name="T20" fmla="*/ 24 w 89"/>
                  <a:gd name="T21" fmla="*/ 13 h 27"/>
                  <a:gd name="T22" fmla="*/ 25 w 89"/>
                  <a:gd name="T23" fmla="*/ 16 h 27"/>
                  <a:gd name="T24" fmla="*/ 24 w 89"/>
                  <a:gd name="T25" fmla="*/ 21 h 27"/>
                  <a:gd name="T26" fmla="*/ 27 w 89"/>
                  <a:gd name="T27" fmla="*/ 25 h 27"/>
                  <a:gd name="T28" fmla="*/ 30 w 89"/>
                  <a:gd name="T29" fmla="*/ 24 h 27"/>
                  <a:gd name="T30" fmla="*/ 33 w 89"/>
                  <a:gd name="T31" fmla="*/ 26 h 27"/>
                  <a:gd name="T32" fmla="*/ 38 w 89"/>
                  <a:gd name="T33" fmla="*/ 26 h 27"/>
                  <a:gd name="T34" fmla="*/ 42 w 89"/>
                  <a:gd name="T35" fmla="*/ 23 h 27"/>
                  <a:gd name="T36" fmla="*/ 45 w 89"/>
                  <a:gd name="T37" fmla="*/ 26 h 27"/>
                  <a:gd name="T38" fmla="*/ 52 w 89"/>
                  <a:gd name="T39" fmla="*/ 27 h 27"/>
                  <a:gd name="T40" fmla="*/ 62 w 89"/>
                  <a:gd name="T41" fmla="*/ 27 h 27"/>
                  <a:gd name="T42" fmla="*/ 65 w 89"/>
                  <a:gd name="T43" fmla="*/ 27 h 27"/>
                  <a:gd name="T44" fmla="*/ 67 w 89"/>
                  <a:gd name="T45" fmla="*/ 24 h 27"/>
                  <a:gd name="T46" fmla="*/ 70 w 89"/>
                  <a:gd name="T47" fmla="*/ 25 h 27"/>
                  <a:gd name="T48" fmla="*/ 76 w 89"/>
                  <a:gd name="T49" fmla="*/ 27 h 27"/>
                  <a:gd name="T50" fmla="*/ 82 w 89"/>
                  <a:gd name="T51" fmla="*/ 26 h 27"/>
                  <a:gd name="T52" fmla="*/ 85 w 89"/>
                  <a:gd name="T53" fmla="*/ 24 h 27"/>
                  <a:gd name="T54" fmla="*/ 85 w 89"/>
                  <a:gd name="T55" fmla="*/ 22 h 27"/>
                  <a:gd name="T56" fmla="*/ 82 w 89"/>
                  <a:gd name="T57" fmla="*/ 22 h 27"/>
                  <a:gd name="T58" fmla="*/ 85 w 89"/>
                  <a:gd name="T59" fmla="*/ 17 h 27"/>
                  <a:gd name="T60" fmla="*/ 80 w 89"/>
                  <a:gd name="T61" fmla="*/ 16 h 27"/>
                  <a:gd name="T62" fmla="*/ 78 w 89"/>
                  <a:gd name="T63" fmla="*/ 14 h 27"/>
                  <a:gd name="T64" fmla="*/ 70 w 89"/>
                  <a:gd name="T65" fmla="*/ 14 h 27"/>
                  <a:gd name="T66" fmla="*/ 65 w 89"/>
                  <a:gd name="T67" fmla="*/ 14 h 27"/>
                  <a:gd name="T68" fmla="*/ 55 w 89"/>
                  <a:gd name="T69" fmla="*/ 17 h 27"/>
                  <a:gd name="T70" fmla="*/ 56 w 89"/>
                  <a:gd name="T71" fmla="*/ 18 h 27"/>
                  <a:gd name="T72" fmla="*/ 52 w 89"/>
                  <a:gd name="T73" fmla="*/ 18 h 27"/>
                  <a:gd name="T74" fmla="*/ 49 w 89"/>
                  <a:gd name="T75" fmla="*/ 16 h 27"/>
                  <a:gd name="T76" fmla="*/ 46 w 89"/>
                  <a:gd name="T77" fmla="*/ 17 h 27"/>
                  <a:gd name="T78" fmla="*/ 42 w 89"/>
                  <a:gd name="T79" fmla="*/ 16 h 27"/>
                  <a:gd name="T80" fmla="*/ 41 w 89"/>
                  <a:gd name="T81" fmla="*/ 18 h 27"/>
                  <a:gd name="T82" fmla="*/ 38 w 89"/>
                  <a:gd name="T83" fmla="*/ 16 h 27"/>
                  <a:gd name="T84" fmla="*/ 39 w 89"/>
                  <a:gd name="T85" fmla="*/ 14 h 27"/>
                  <a:gd name="T86" fmla="*/ 34 w 89"/>
                  <a:gd name="T87" fmla="*/ 12 h 27"/>
                  <a:gd name="T88" fmla="*/ 30 w 89"/>
                  <a:gd name="T89" fmla="*/ 13 h 27"/>
                  <a:gd name="T90" fmla="*/ 32 w 89"/>
                  <a:gd name="T91" fmla="*/ 12 h 27"/>
                  <a:gd name="T92" fmla="*/ 28 w 89"/>
                  <a:gd name="T93" fmla="*/ 9 h 27"/>
                  <a:gd name="T94" fmla="*/ 38 w 89"/>
                  <a:gd name="T95" fmla="*/ 10 h 27"/>
                  <a:gd name="T96" fmla="*/ 33 w 89"/>
                  <a:gd name="T97" fmla="*/ 7 h 27"/>
                  <a:gd name="T98" fmla="*/ 28 w 89"/>
                  <a:gd name="T99" fmla="*/ 7 h 27"/>
                  <a:gd name="T100" fmla="*/ 32 w 89"/>
                  <a:gd name="T101" fmla="*/ 6 h 27"/>
                  <a:gd name="T102" fmla="*/ 27 w 89"/>
                  <a:gd name="T103" fmla="*/ 5 h 27"/>
                  <a:gd name="T104" fmla="*/ 17 w 89"/>
                  <a:gd name="T105" fmla="*/ 7 h 27"/>
                  <a:gd name="T106" fmla="*/ 17 w 89"/>
                  <a:gd name="T10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9" h="27">
                    <a:moveTo>
                      <a:pt x="17" y="7"/>
                    </a:moveTo>
                    <a:cubicBezTo>
                      <a:pt x="18" y="7"/>
                      <a:pt x="20" y="5"/>
                      <a:pt x="19" y="4"/>
                    </a:cubicBezTo>
                    <a:cubicBezTo>
                      <a:pt x="18" y="3"/>
                      <a:pt x="16" y="2"/>
                      <a:pt x="15" y="2"/>
                    </a:cubicBezTo>
                    <a:cubicBezTo>
                      <a:pt x="14" y="2"/>
                      <a:pt x="13" y="2"/>
                      <a:pt x="12" y="2"/>
                    </a:cubicBezTo>
                    <a:cubicBezTo>
                      <a:pt x="9" y="1"/>
                      <a:pt x="7" y="0"/>
                      <a:pt x="4" y="1"/>
                    </a:cubicBezTo>
                    <a:cubicBezTo>
                      <a:pt x="0" y="2"/>
                      <a:pt x="3" y="2"/>
                      <a:pt x="4" y="3"/>
                    </a:cubicBezTo>
                    <a:cubicBezTo>
                      <a:pt x="4" y="3"/>
                      <a:pt x="0" y="3"/>
                      <a:pt x="0" y="4"/>
                    </a:cubicBezTo>
                    <a:cubicBezTo>
                      <a:pt x="0" y="5"/>
                      <a:pt x="4" y="5"/>
                      <a:pt x="5" y="5"/>
                    </a:cubicBezTo>
                    <a:cubicBezTo>
                      <a:pt x="5" y="6"/>
                      <a:pt x="7" y="6"/>
                      <a:pt x="7" y="6"/>
                    </a:cubicBezTo>
                    <a:cubicBezTo>
                      <a:pt x="7" y="7"/>
                      <a:pt x="6" y="7"/>
                      <a:pt x="6" y="7"/>
                    </a:cubicBezTo>
                    <a:cubicBezTo>
                      <a:pt x="12" y="11"/>
                      <a:pt x="21" y="5"/>
                      <a:pt x="24" y="13"/>
                    </a:cubicBezTo>
                    <a:cubicBezTo>
                      <a:pt x="24" y="14"/>
                      <a:pt x="26" y="15"/>
                      <a:pt x="25" y="16"/>
                    </a:cubicBezTo>
                    <a:cubicBezTo>
                      <a:pt x="24" y="18"/>
                      <a:pt x="23" y="19"/>
                      <a:pt x="24" y="21"/>
                    </a:cubicBezTo>
                    <a:cubicBezTo>
                      <a:pt x="24" y="21"/>
                      <a:pt x="26" y="25"/>
                      <a:pt x="27" y="25"/>
                    </a:cubicBezTo>
                    <a:cubicBezTo>
                      <a:pt x="28" y="26"/>
                      <a:pt x="30" y="23"/>
                      <a:pt x="30" y="24"/>
                    </a:cubicBezTo>
                    <a:cubicBezTo>
                      <a:pt x="31" y="24"/>
                      <a:pt x="32" y="26"/>
                      <a:pt x="33" y="26"/>
                    </a:cubicBezTo>
                    <a:cubicBezTo>
                      <a:pt x="35" y="27"/>
                      <a:pt x="37" y="26"/>
                      <a:pt x="38" y="26"/>
                    </a:cubicBezTo>
                    <a:cubicBezTo>
                      <a:pt x="39" y="25"/>
                      <a:pt x="41" y="23"/>
                      <a:pt x="42" y="23"/>
                    </a:cubicBezTo>
                    <a:cubicBezTo>
                      <a:pt x="42" y="23"/>
                      <a:pt x="44" y="26"/>
                      <a:pt x="45" y="26"/>
                    </a:cubicBezTo>
                    <a:cubicBezTo>
                      <a:pt x="47" y="27"/>
                      <a:pt x="50" y="27"/>
                      <a:pt x="52" y="27"/>
                    </a:cubicBezTo>
                    <a:cubicBezTo>
                      <a:pt x="56" y="27"/>
                      <a:pt x="59" y="27"/>
                      <a:pt x="62" y="27"/>
                    </a:cubicBezTo>
                    <a:cubicBezTo>
                      <a:pt x="63" y="27"/>
                      <a:pt x="64" y="27"/>
                      <a:pt x="65" y="27"/>
                    </a:cubicBezTo>
                    <a:cubicBezTo>
                      <a:pt x="67" y="26"/>
                      <a:pt x="66" y="24"/>
                      <a:pt x="67" y="24"/>
                    </a:cubicBezTo>
                    <a:cubicBezTo>
                      <a:pt x="68" y="23"/>
                      <a:pt x="69" y="24"/>
                      <a:pt x="70" y="25"/>
                    </a:cubicBezTo>
                    <a:cubicBezTo>
                      <a:pt x="71" y="26"/>
                      <a:pt x="74" y="27"/>
                      <a:pt x="76" y="27"/>
                    </a:cubicBezTo>
                    <a:cubicBezTo>
                      <a:pt x="78" y="27"/>
                      <a:pt x="80" y="27"/>
                      <a:pt x="82" y="26"/>
                    </a:cubicBezTo>
                    <a:cubicBezTo>
                      <a:pt x="84" y="26"/>
                      <a:pt x="83" y="24"/>
                      <a:pt x="85" y="24"/>
                    </a:cubicBezTo>
                    <a:cubicBezTo>
                      <a:pt x="86" y="24"/>
                      <a:pt x="87" y="21"/>
                      <a:pt x="85" y="22"/>
                    </a:cubicBezTo>
                    <a:cubicBezTo>
                      <a:pt x="85" y="22"/>
                      <a:pt x="83" y="22"/>
                      <a:pt x="82" y="22"/>
                    </a:cubicBezTo>
                    <a:cubicBezTo>
                      <a:pt x="82" y="22"/>
                      <a:pt x="89" y="18"/>
                      <a:pt x="85" y="17"/>
                    </a:cubicBezTo>
                    <a:cubicBezTo>
                      <a:pt x="84" y="17"/>
                      <a:pt x="82" y="16"/>
                      <a:pt x="80" y="16"/>
                    </a:cubicBezTo>
                    <a:cubicBezTo>
                      <a:pt x="78" y="16"/>
                      <a:pt x="80" y="14"/>
                      <a:pt x="78" y="14"/>
                    </a:cubicBezTo>
                    <a:cubicBezTo>
                      <a:pt x="75" y="14"/>
                      <a:pt x="73" y="14"/>
                      <a:pt x="70" y="14"/>
                    </a:cubicBezTo>
                    <a:cubicBezTo>
                      <a:pt x="68" y="14"/>
                      <a:pt x="67" y="13"/>
                      <a:pt x="65" y="14"/>
                    </a:cubicBezTo>
                    <a:cubicBezTo>
                      <a:pt x="64" y="14"/>
                      <a:pt x="55" y="16"/>
                      <a:pt x="55" y="17"/>
                    </a:cubicBezTo>
                    <a:cubicBezTo>
                      <a:pt x="55" y="17"/>
                      <a:pt x="56" y="17"/>
                      <a:pt x="56" y="18"/>
                    </a:cubicBezTo>
                    <a:cubicBezTo>
                      <a:pt x="56" y="18"/>
                      <a:pt x="53" y="18"/>
                      <a:pt x="52" y="18"/>
                    </a:cubicBezTo>
                    <a:cubicBezTo>
                      <a:pt x="51" y="18"/>
                      <a:pt x="50" y="17"/>
                      <a:pt x="49" y="16"/>
                    </a:cubicBezTo>
                    <a:cubicBezTo>
                      <a:pt x="48" y="16"/>
                      <a:pt x="47" y="17"/>
                      <a:pt x="46" y="17"/>
                    </a:cubicBezTo>
                    <a:cubicBezTo>
                      <a:pt x="45" y="17"/>
                      <a:pt x="43" y="16"/>
                      <a:pt x="42" y="16"/>
                    </a:cubicBezTo>
                    <a:cubicBezTo>
                      <a:pt x="41" y="16"/>
                      <a:pt x="42" y="18"/>
                      <a:pt x="41" y="18"/>
                    </a:cubicBezTo>
                    <a:cubicBezTo>
                      <a:pt x="40" y="18"/>
                      <a:pt x="39" y="16"/>
                      <a:pt x="38" y="16"/>
                    </a:cubicBezTo>
                    <a:cubicBezTo>
                      <a:pt x="35" y="16"/>
                      <a:pt x="39" y="15"/>
                      <a:pt x="39" y="14"/>
                    </a:cubicBezTo>
                    <a:cubicBezTo>
                      <a:pt x="39" y="13"/>
                      <a:pt x="35" y="12"/>
                      <a:pt x="34" y="12"/>
                    </a:cubicBezTo>
                    <a:cubicBezTo>
                      <a:pt x="34" y="12"/>
                      <a:pt x="30" y="13"/>
                      <a:pt x="30" y="13"/>
                    </a:cubicBezTo>
                    <a:cubicBezTo>
                      <a:pt x="30" y="12"/>
                      <a:pt x="32" y="12"/>
                      <a:pt x="32" y="12"/>
                    </a:cubicBezTo>
                    <a:cubicBezTo>
                      <a:pt x="32" y="11"/>
                      <a:pt x="27" y="10"/>
                      <a:pt x="28" y="9"/>
                    </a:cubicBezTo>
                    <a:cubicBezTo>
                      <a:pt x="28" y="9"/>
                      <a:pt x="38" y="10"/>
                      <a:pt x="38" y="10"/>
                    </a:cubicBezTo>
                    <a:cubicBezTo>
                      <a:pt x="38" y="9"/>
                      <a:pt x="34" y="8"/>
                      <a:pt x="33" y="7"/>
                    </a:cubicBezTo>
                    <a:cubicBezTo>
                      <a:pt x="32" y="7"/>
                      <a:pt x="30" y="7"/>
                      <a:pt x="28" y="7"/>
                    </a:cubicBezTo>
                    <a:cubicBezTo>
                      <a:pt x="29" y="7"/>
                      <a:pt x="31" y="7"/>
                      <a:pt x="32" y="6"/>
                    </a:cubicBezTo>
                    <a:cubicBezTo>
                      <a:pt x="32" y="5"/>
                      <a:pt x="27" y="5"/>
                      <a:pt x="27" y="5"/>
                    </a:cubicBezTo>
                    <a:cubicBezTo>
                      <a:pt x="23" y="5"/>
                      <a:pt x="21" y="6"/>
                      <a:pt x="17" y="7"/>
                    </a:cubicBezTo>
                    <a:cubicBezTo>
                      <a:pt x="17" y="7"/>
                      <a:pt x="18" y="7"/>
                      <a:pt x="17"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5" name="Freeform 601">
                <a:extLst>
                  <a:ext uri="{FF2B5EF4-FFF2-40B4-BE49-F238E27FC236}">
                    <a16:creationId xmlns:a16="http://schemas.microsoft.com/office/drawing/2014/main" id="{07B57458-F2F8-F840-AEA1-F72267FC5010}"/>
                  </a:ext>
                </a:extLst>
              </p:cNvPr>
              <p:cNvSpPr>
                <a:spLocks/>
              </p:cNvSpPr>
              <p:nvPr/>
            </p:nvSpPr>
            <p:spPr bwMode="auto">
              <a:xfrm>
                <a:off x="7197007" y="3980797"/>
                <a:ext cx="550956" cy="347225"/>
              </a:xfrm>
              <a:custGeom>
                <a:avLst/>
                <a:gdLst>
                  <a:gd name="T0" fmla="*/ 55 w 59"/>
                  <a:gd name="T1" fmla="*/ 21 h 37"/>
                  <a:gd name="T2" fmla="*/ 46 w 59"/>
                  <a:gd name="T3" fmla="*/ 20 h 37"/>
                  <a:gd name="T4" fmla="*/ 46 w 59"/>
                  <a:gd name="T5" fmla="*/ 18 h 37"/>
                  <a:gd name="T6" fmla="*/ 44 w 59"/>
                  <a:gd name="T7" fmla="*/ 15 h 37"/>
                  <a:gd name="T8" fmla="*/ 44 w 59"/>
                  <a:gd name="T9" fmla="*/ 11 h 37"/>
                  <a:gd name="T10" fmla="*/ 43 w 59"/>
                  <a:gd name="T11" fmla="*/ 15 h 37"/>
                  <a:gd name="T12" fmla="*/ 35 w 59"/>
                  <a:gd name="T13" fmla="*/ 10 h 37"/>
                  <a:gd name="T14" fmla="*/ 24 w 59"/>
                  <a:gd name="T15" fmla="*/ 2 h 37"/>
                  <a:gd name="T16" fmla="*/ 12 w 59"/>
                  <a:gd name="T17" fmla="*/ 1 h 37"/>
                  <a:gd name="T18" fmla="*/ 12 w 59"/>
                  <a:gd name="T19" fmla="*/ 3 h 37"/>
                  <a:gd name="T20" fmla="*/ 6 w 59"/>
                  <a:gd name="T21" fmla="*/ 5 h 37"/>
                  <a:gd name="T22" fmla="*/ 11 w 59"/>
                  <a:gd name="T23" fmla="*/ 9 h 37"/>
                  <a:gd name="T24" fmla="*/ 6 w 59"/>
                  <a:gd name="T25" fmla="*/ 9 h 37"/>
                  <a:gd name="T26" fmla="*/ 5 w 59"/>
                  <a:gd name="T27" fmla="*/ 11 h 37"/>
                  <a:gd name="T28" fmla="*/ 6 w 59"/>
                  <a:gd name="T29" fmla="*/ 14 h 37"/>
                  <a:gd name="T30" fmla="*/ 10 w 59"/>
                  <a:gd name="T31" fmla="*/ 14 h 37"/>
                  <a:gd name="T32" fmla="*/ 0 w 59"/>
                  <a:gd name="T33" fmla="*/ 15 h 37"/>
                  <a:gd name="T34" fmla="*/ 7 w 59"/>
                  <a:gd name="T35" fmla="*/ 20 h 37"/>
                  <a:gd name="T36" fmla="*/ 8 w 59"/>
                  <a:gd name="T37" fmla="*/ 23 h 37"/>
                  <a:gd name="T38" fmla="*/ 14 w 59"/>
                  <a:gd name="T39" fmla="*/ 23 h 37"/>
                  <a:gd name="T40" fmla="*/ 26 w 59"/>
                  <a:gd name="T41" fmla="*/ 23 h 37"/>
                  <a:gd name="T42" fmla="*/ 28 w 59"/>
                  <a:gd name="T43" fmla="*/ 24 h 37"/>
                  <a:gd name="T44" fmla="*/ 16 w 59"/>
                  <a:gd name="T45" fmla="*/ 25 h 37"/>
                  <a:gd name="T46" fmla="*/ 16 w 59"/>
                  <a:gd name="T47" fmla="*/ 30 h 37"/>
                  <a:gd name="T48" fmla="*/ 19 w 59"/>
                  <a:gd name="T49" fmla="*/ 33 h 37"/>
                  <a:gd name="T50" fmla="*/ 32 w 59"/>
                  <a:gd name="T51" fmla="*/ 35 h 37"/>
                  <a:gd name="T52" fmla="*/ 34 w 59"/>
                  <a:gd name="T53" fmla="*/ 36 h 37"/>
                  <a:gd name="T54" fmla="*/ 40 w 59"/>
                  <a:gd name="T55" fmla="*/ 35 h 37"/>
                  <a:gd name="T56" fmla="*/ 41 w 59"/>
                  <a:gd name="T57" fmla="*/ 35 h 37"/>
                  <a:gd name="T58" fmla="*/ 41 w 59"/>
                  <a:gd name="T59" fmla="*/ 29 h 37"/>
                  <a:gd name="T60" fmla="*/ 46 w 59"/>
                  <a:gd name="T61" fmla="*/ 30 h 37"/>
                  <a:gd name="T62" fmla="*/ 51 w 59"/>
                  <a:gd name="T63" fmla="*/ 28 h 37"/>
                  <a:gd name="T64" fmla="*/ 54 w 59"/>
                  <a:gd name="T65" fmla="*/ 26 h 37"/>
                  <a:gd name="T66" fmla="*/ 58 w 59"/>
                  <a:gd name="T67" fmla="*/ 2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9" h="37">
                    <a:moveTo>
                      <a:pt x="58" y="24"/>
                    </a:moveTo>
                    <a:cubicBezTo>
                      <a:pt x="58" y="22"/>
                      <a:pt x="56" y="22"/>
                      <a:pt x="55" y="21"/>
                    </a:cubicBezTo>
                    <a:cubicBezTo>
                      <a:pt x="54" y="20"/>
                      <a:pt x="53" y="22"/>
                      <a:pt x="52" y="21"/>
                    </a:cubicBezTo>
                    <a:cubicBezTo>
                      <a:pt x="50" y="19"/>
                      <a:pt x="48" y="21"/>
                      <a:pt x="46" y="20"/>
                    </a:cubicBezTo>
                    <a:cubicBezTo>
                      <a:pt x="46" y="20"/>
                      <a:pt x="48" y="19"/>
                      <a:pt x="48" y="18"/>
                    </a:cubicBezTo>
                    <a:cubicBezTo>
                      <a:pt x="48" y="18"/>
                      <a:pt x="46" y="18"/>
                      <a:pt x="46" y="18"/>
                    </a:cubicBezTo>
                    <a:cubicBezTo>
                      <a:pt x="46" y="17"/>
                      <a:pt x="47" y="17"/>
                      <a:pt x="47" y="16"/>
                    </a:cubicBezTo>
                    <a:cubicBezTo>
                      <a:pt x="47" y="15"/>
                      <a:pt x="44" y="16"/>
                      <a:pt x="44" y="15"/>
                    </a:cubicBezTo>
                    <a:cubicBezTo>
                      <a:pt x="43" y="15"/>
                      <a:pt x="45" y="14"/>
                      <a:pt x="45" y="14"/>
                    </a:cubicBezTo>
                    <a:cubicBezTo>
                      <a:pt x="46" y="13"/>
                      <a:pt x="44" y="12"/>
                      <a:pt x="44" y="11"/>
                    </a:cubicBezTo>
                    <a:cubicBezTo>
                      <a:pt x="43" y="10"/>
                      <a:pt x="38" y="11"/>
                      <a:pt x="38" y="11"/>
                    </a:cubicBezTo>
                    <a:cubicBezTo>
                      <a:pt x="38" y="12"/>
                      <a:pt x="43" y="14"/>
                      <a:pt x="43" y="15"/>
                    </a:cubicBezTo>
                    <a:cubicBezTo>
                      <a:pt x="42" y="16"/>
                      <a:pt x="39" y="14"/>
                      <a:pt x="38" y="13"/>
                    </a:cubicBezTo>
                    <a:cubicBezTo>
                      <a:pt x="36" y="12"/>
                      <a:pt x="39" y="10"/>
                      <a:pt x="35" y="10"/>
                    </a:cubicBezTo>
                    <a:cubicBezTo>
                      <a:pt x="33" y="10"/>
                      <a:pt x="30" y="10"/>
                      <a:pt x="29" y="8"/>
                    </a:cubicBezTo>
                    <a:cubicBezTo>
                      <a:pt x="28" y="6"/>
                      <a:pt x="26" y="3"/>
                      <a:pt x="24" y="2"/>
                    </a:cubicBezTo>
                    <a:cubicBezTo>
                      <a:pt x="21" y="1"/>
                      <a:pt x="18" y="0"/>
                      <a:pt x="16" y="0"/>
                    </a:cubicBezTo>
                    <a:cubicBezTo>
                      <a:pt x="15" y="0"/>
                      <a:pt x="10" y="0"/>
                      <a:pt x="12" y="1"/>
                    </a:cubicBezTo>
                    <a:cubicBezTo>
                      <a:pt x="13" y="1"/>
                      <a:pt x="17" y="2"/>
                      <a:pt x="17" y="2"/>
                    </a:cubicBezTo>
                    <a:cubicBezTo>
                      <a:pt x="17" y="4"/>
                      <a:pt x="13" y="3"/>
                      <a:pt x="12" y="3"/>
                    </a:cubicBezTo>
                    <a:cubicBezTo>
                      <a:pt x="12" y="3"/>
                      <a:pt x="13" y="4"/>
                      <a:pt x="13" y="4"/>
                    </a:cubicBezTo>
                    <a:cubicBezTo>
                      <a:pt x="13" y="5"/>
                      <a:pt x="7" y="2"/>
                      <a:pt x="6" y="5"/>
                    </a:cubicBezTo>
                    <a:cubicBezTo>
                      <a:pt x="6" y="5"/>
                      <a:pt x="11" y="7"/>
                      <a:pt x="12" y="7"/>
                    </a:cubicBezTo>
                    <a:cubicBezTo>
                      <a:pt x="10" y="6"/>
                      <a:pt x="11" y="9"/>
                      <a:pt x="11" y="9"/>
                    </a:cubicBezTo>
                    <a:cubicBezTo>
                      <a:pt x="11" y="10"/>
                      <a:pt x="4" y="7"/>
                      <a:pt x="3" y="8"/>
                    </a:cubicBezTo>
                    <a:cubicBezTo>
                      <a:pt x="3" y="7"/>
                      <a:pt x="6" y="8"/>
                      <a:pt x="6" y="9"/>
                    </a:cubicBezTo>
                    <a:cubicBezTo>
                      <a:pt x="6" y="8"/>
                      <a:pt x="4" y="9"/>
                      <a:pt x="4" y="9"/>
                    </a:cubicBezTo>
                    <a:cubicBezTo>
                      <a:pt x="3" y="10"/>
                      <a:pt x="5" y="11"/>
                      <a:pt x="5" y="11"/>
                    </a:cubicBezTo>
                    <a:cubicBezTo>
                      <a:pt x="6" y="12"/>
                      <a:pt x="2" y="12"/>
                      <a:pt x="1" y="12"/>
                    </a:cubicBezTo>
                    <a:cubicBezTo>
                      <a:pt x="2" y="12"/>
                      <a:pt x="4" y="13"/>
                      <a:pt x="6" y="14"/>
                    </a:cubicBezTo>
                    <a:cubicBezTo>
                      <a:pt x="8" y="14"/>
                      <a:pt x="10" y="13"/>
                      <a:pt x="12" y="13"/>
                    </a:cubicBezTo>
                    <a:cubicBezTo>
                      <a:pt x="12" y="13"/>
                      <a:pt x="10" y="14"/>
                      <a:pt x="10" y="14"/>
                    </a:cubicBezTo>
                    <a:cubicBezTo>
                      <a:pt x="10" y="15"/>
                      <a:pt x="11" y="15"/>
                      <a:pt x="11" y="15"/>
                    </a:cubicBezTo>
                    <a:cubicBezTo>
                      <a:pt x="11" y="16"/>
                      <a:pt x="0" y="15"/>
                      <a:pt x="0" y="15"/>
                    </a:cubicBezTo>
                    <a:cubicBezTo>
                      <a:pt x="0" y="15"/>
                      <a:pt x="2" y="18"/>
                      <a:pt x="2" y="18"/>
                    </a:cubicBezTo>
                    <a:cubicBezTo>
                      <a:pt x="3" y="19"/>
                      <a:pt x="7" y="21"/>
                      <a:pt x="7" y="20"/>
                    </a:cubicBezTo>
                    <a:cubicBezTo>
                      <a:pt x="7" y="21"/>
                      <a:pt x="5" y="20"/>
                      <a:pt x="6" y="22"/>
                    </a:cubicBezTo>
                    <a:cubicBezTo>
                      <a:pt x="6" y="22"/>
                      <a:pt x="7" y="23"/>
                      <a:pt x="8" y="23"/>
                    </a:cubicBezTo>
                    <a:cubicBezTo>
                      <a:pt x="9" y="24"/>
                      <a:pt x="10" y="23"/>
                      <a:pt x="11" y="23"/>
                    </a:cubicBezTo>
                    <a:cubicBezTo>
                      <a:pt x="12" y="22"/>
                      <a:pt x="13" y="24"/>
                      <a:pt x="14" y="23"/>
                    </a:cubicBezTo>
                    <a:cubicBezTo>
                      <a:pt x="17" y="22"/>
                      <a:pt x="19" y="21"/>
                      <a:pt x="21" y="22"/>
                    </a:cubicBezTo>
                    <a:cubicBezTo>
                      <a:pt x="23" y="23"/>
                      <a:pt x="24" y="23"/>
                      <a:pt x="26" y="23"/>
                    </a:cubicBezTo>
                    <a:cubicBezTo>
                      <a:pt x="25" y="23"/>
                      <a:pt x="23" y="23"/>
                      <a:pt x="21" y="23"/>
                    </a:cubicBezTo>
                    <a:cubicBezTo>
                      <a:pt x="23" y="23"/>
                      <a:pt x="27" y="23"/>
                      <a:pt x="28" y="24"/>
                    </a:cubicBezTo>
                    <a:cubicBezTo>
                      <a:pt x="28" y="24"/>
                      <a:pt x="23" y="25"/>
                      <a:pt x="23" y="25"/>
                    </a:cubicBezTo>
                    <a:cubicBezTo>
                      <a:pt x="21" y="25"/>
                      <a:pt x="18" y="25"/>
                      <a:pt x="16" y="25"/>
                    </a:cubicBezTo>
                    <a:cubicBezTo>
                      <a:pt x="16" y="26"/>
                      <a:pt x="12" y="27"/>
                      <a:pt x="13" y="27"/>
                    </a:cubicBezTo>
                    <a:cubicBezTo>
                      <a:pt x="14" y="28"/>
                      <a:pt x="15" y="28"/>
                      <a:pt x="16" y="30"/>
                    </a:cubicBezTo>
                    <a:cubicBezTo>
                      <a:pt x="16" y="32"/>
                      <a:pt x="22" y="30"/>
                      <a:pt x="23" y="32"/>
                    </a:cubicBezTo>
                    <a:cubicBezTo>
                      <a:pt x="23" y="32"/>
                      <a:pt x="19" y="32"/>
                      <a:pt x="19" y="33"/>
                    </a:cubicBezTo>
                    <a:cubicBezTo>
                      <a:pt x="20" y="34"/>
                      <a:pt x="25" y="36"/>
                      <a:pt x="26" y="36"/>
                    </a:cubicBezTo>
                    <a:cubicBezTo>
                      <a:pt x="26" y="36"/>
                      <a:pt x="32" y="36"/>
                      <a:pt x="32" y="35"/>
                    </a:cubicBezTo>
                    <a:cubicBezTo>
                      <a:pt x="32" y="35"/>
                      <a:pt x="31" y="35"/>
                      <a:pt x="31" y="35"/>
                    </a:cubicBezTo>
                    <a:cubicBezTo>
                      <a:pt x="31" y="33"/>
                      <a:pt x="35" y="36"/>
                      <a:pt x="34" y="36"/>
                    </a:cubicBezTo>
                    <a:cubicBezTo>
                      <a:pt x="35" y="36"/>
                      <a:pt x="33" y="33"/>
                      <a:pt x="33" y="32"/>
                    </a:cubicBezTo>
                    <a:cubicBezTo>
                      <a:pt x="35" y="31"/>
                      <a:pt x="37" y="37"/>
                      <a:pt x="40" y="35"/>
                    </a:cubicBezTo>
                    <a:cubicBezTo>
                      <a:pt x="41" y="34"/>
                      <a:pt x="39" y="32"/>
                      <a:pt x="40" y="32"/>
                    </a:cubicBezTo>
                    <a:cubicBezTo>
                      <a:pt x="41" y="32"/>
                      <a:pt x="41" y="34"/>
                      <a:pt x="41" y="35"/>
                    </a:cubicBezTo>
                    <a:cubicBezTo>
                      <a:pt x="42" y="35"/>
                      <a:pt x="43" y="31"/>
                      <a:pt x="42" y="31"/>
                    </a:cubicBezTo>
                    <a:cubicBezTo>
                      <a:pt x="42" y="30"/>
                      <a:pt x="42" y="29"/>
                      <a:pt x="41" y="29"/>
                    </a:cubicBezTo>
                    <a:cubicBezTo>
                      <a:pt x="41" y="28"/>
                      <a:pt x="42" y="26"/>
                      <a:pt x="43" y="27"/>
                    </a:cubicBezTo>
                    <a:cubicBezTo>
                      <a:pt x="44" y="28"/>
                      <a:pt x="43" y="32"/>
                      <a:pt x="46" y="30"/>
                    </a:cubicBezTo>
                    <a:cubicBezTo>
                      <a:pt x="47" y="29"/>
                      <a:pt x="50" y="25"/>
                      <a:pt x="52" y="27"/>
                    </a:cubicBezTo>
                    <a:cubicBezTo>
                      <a:pt x="53" y="27"/>
                      <a:pt x="51" y="28"/>
                      <a:pt x="51" y="28"/>
                    </a:cubicBezTo>
                    <a:cubicBezTo>
                      <a:pt x="51" y="28"/>
                      <a:pt x="56" y="27"/>
                      <a:pt x="56" y="27"/>
                    </a:cubicBezTo>
                    <a:cubicBezTo>
                      <a:pt x="56" y="27"/>
                      <a:pt x="54" y="27"/>
                      <a:pt x="54" y="26"/>
                    </a:cubicBezTo>
                    <a:cubicBezTo>
                      <a:pt x="54" y="25"/>
                      <a:pt x="59" y="25"/>
                      <a:pt x="58" y="24"/>
                    </a:cubicBezTo>
                    <a:cubicBezTo>
                      <a:pt x="58" y="22"/>
                      <a:pt x="58" y="25"/>
                      <a:pt x="58"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6" name="Freeform 602">
                <a:extLst>
                  <a:ext uri="{FF2B5EF4-FFF2-40B4-BE49-F238E27FC236}">
                    <a16:creationId xmlns:a16="http://schemas.microsoft.com/office/drawing/2014/main" id="{92C73698-B40B-444B-8D30-5F4F5E457ECE}"/>
                  </a:ext>
                </a:extLst>
              </p:cNvPr>
              <p:cNvSpPr>
                <a:spLocks/>
              </p:cNvSpPr>
              <p:nvPr/>
            </p:nvSpPr>
            <p:spPr bwMode="auto">
              <a:xfrm>
                <a:off x="7419934" y="3767367"/>
                <a:ext cx="1455416" cy="758159"/>
              </a:xfrm>
              <a:custGeom>
                <a:avLst/>
                <a:gdLst>
                  <a:gd name="T0" fmla="*/ 15 w 156"/>
                  <a:gd name="T1" fmla="*/ 77 h 81"/>
                  <a:gd name="T2" fmla="*/ 27 w 156"/>
                  <a:gd name="T3" fmla="*/ 76 h 81"/>
                  <a:gd name="T4" fmla="*/ 37 w 156"/>
                  <a:gd name="T5" fmla="*/ 78 h 81"/>
                  <a:gd name="T6" fmla="*/ 48 w 156"/>
                  <a:gd name="T7" fmla="*/ 77 h 81"/>
                  <a:gd name="T8" fmla="*/ 65 w 156"/>
                  <a:gd name="T9" fmla="*/ 76 h 81"/>
                  <a:gd name="T10" fmla="*/ 59 w 156"/>
                  <a:gd name="T11" fmla="*/ 70 h 81"/>
                  <a:gd name="T12" fmla="*/ 50 w 156"/>
                  <a:gd name="T13" fmla="*/ 65 h 81"/>
                  <a:gd name="T14" fmla="*/ 73 w 156"/>
                  <a:gd name="T15" fmla="*/ 61 h 81"/>
                  <a:gd name="T16" fmla="*/ 76 w 156"/>
                  <a:gd name="T17" fmla="*/ 55 h 81"/>
                  <a:gd name="T18" fmla="*/ 71 w 156"/>
                  <a:gd name="T19" fmla="*/ 50 h 81"/>
                  <a:gd name="T20" fmla="*/ 72 w 156"/>
                  <a:gd name="T21" fmla="*/ 48 h 81"/>
                  <a:gd name="T22" fmla="*/ 78 w 156"/>
                  <a:gd name="T23" fmla="*/ 45 h 81"/>
                  <a:gd name="T24" fmla="*/ 90 w 156"/>
                  <a:gd name="T25" fmla="*/ 44 h 81"/>
                  <a:gd name="T26" fmla="*/ 105 w 156"/>
                  <a:gd name="T27" fmla="*/ 37 h 81"/>
                  <a:gd name="T28" fmla="*/ 105 w 156"/>
                  <a:gd name="T29" fmla="*/ 32 h 81"/>
                  <a:gd name="T30" fmla="*/ 136 w 156"/>
                  <a:gd name="T31" fmla="*/ 21 h 81"/>
                  <a:gd name="T32" fmla="*/ 115 w 156"/>
                  <a:gd name="T33" fmla="*/ 23 h 81"/>
                  <a:gd name="T34" fmla="*/ 134 w 156"/>
                  <a:gd name="T35" fmla="*/ 18 h 81"/>
                  <a:gd name="T36" fmla="*/ 146 w 156"/>
                  <a:gd name="T37" fmla="*/ 10 h 81"/>
                  <a:gd name="T38" fmla="*/ 133 w 156"/>
                  <a:gd name="T39" fmla="*/ 5 h 81"/>
                  <a:gd name="T40" fmla="*/ 121 w 156"/>
                  <a:gd name="T41" fmla="*/ 5 h 81"/>
                  <a:gd name="T42" fmla="*/ 100 w 156"/>
                  <a:gd name="T43" fmla="*/ 2 h 81"/>
                  <a:gd name="T44" fmla="*/ 91 w 156"/>
                  <a:gd name="T45" fmla="*/ 5 h 81"/>
                  <a:gd name="T46" fmla="*/ 80 w 156"/>
                  <a:gd name="T47" fmla="*/ 8 h 81"/>
                  <a:gd name="T48" fmla="*/ 58 w 156"/>
                  <a:gd name="T49" fmla="*/ 4 h 81"/>
                  <a:gd name="T50" fmla="*/ 52 w 156"/>
                  <a:gd name="T51" fmla="*/ 5 h 81"/>
                  <a:gd name="T52" fmla="*/ 46 w 156"/>
                  <a:gd name="T53" fmla="*/ 10 h 81"/>
                  <a:gd name="T54" fmla="*/ 45 w 156"/>
                  <a:gd name="T55" fmla="*/ 12 h 81"/>
                  <a:gd name="T56" fmla="*/ 31 w 156"/>
                  <a:gd name="T57" fmla="*/ 10 h 81"/>
                  <a:gd name="T58" fmla="*/ 34 w 156"/>
                  <a:gd name="T59" fmla="*/ 16 h 81"/>
                  <a:gd name="T60" fmla="*/ 23 w 156"/>
                  <a:gd name="T61" fmla="*/ 16 h 81"/>
                  <a:gd name="T62" fmla="*/ 5 w 156"/>
                  <a:gd name="T63" fmla="*/ 17 h 81"/>
                  <a:gd name="T64" fmla="*/ 11 w 156"/>
                  <a:gd name="T65" fmla="*/ 21 h 81"/>
                  <a:gd name="T66" fmla="*/ 13 w 156"/>
                  <a:gd name="T67" fmla="*/ 26 h 81"/>
                  <a:gd name="T68" fmla="*/ 23 w 156"/>
                  <a:gd name="T69" fmla="*/ 27 h 81"/>
                  <a:gd name="T70" fmla="*/ 20 w 156"/>
                  <a:gd name="T71" fmla="*/ 31 h 81"/>
                  <a:gd name="T72" fmla="*/ 26 w 156"/>
                  <a:gd name="T73" fmla="*/ 30 h 81"/>
                  <a:gd name="T74" fmla="*/ 42 w 156"/>
                  <a:gd name="T75" fmla="*/ 30 h 81"/>
                  <a:gd name="T76" fmla="*/ 52 w 156"/>
                  <a:gd name="T77" fmla="*/ 31 h 81"/>
                  <a:gd name="T78" fmla="*/ 73 w 156"/>
                  <a:gd name="T79" fmla="*/ 21 h 81"/>
                  <a:gd name="T80" fmla="*/ 60 w 156"/>
                  <a:gd name="T81" fmla="*/ 31 h 81"/>
                  <a:gd name="T82" fmla="*/ 44 w 156"/>
                  <a:gd name="T83" fmla="*/ 35 h 81"/>
                  <a:gd name="T84" fmla="*/ 58 w 156"/>
                  <a:gd name="T85" fmla="*/ 42 h 81"/>
                  <a:gd name="T86" fmla="*/ 32 w 156"/>
                  <a:gd name="T87" fmla="*/ 39 h 81"/>
                  <a:gd name="T88" fmla="*/ 42 w 156"/>
                  <a:gd name="T89" fmla="*/ 50 h 81"/>
                  <a:gd name="T90" fmla="*/ 44 w 156"/>
                  <a:gd name="T91" fmla="*/ 52 h 81"/>
                  <a:gd name="T92" fmla="*/ 30 w 156"/>
                  <a:gd name="T93" fmla="*/ 52 h 81"/>
                  <a:gd name="T94" fmla="*/ 27 w 156"/>
                  <a:gd name="T95" fmla="*/ 59 h 81"/>
                  <a:gd name="T96" fmla="*/ 36 w 156"/>
                  <a:gd name="T97" fmla="*/ 57 h 81"/>
                  <a:gd name="T98" fmla="*/ 34 w 156"/>
                  <a:gd name="T99" fmla="*/ 60 h 81"/>
                  <a:gd name="T100" fmla="*/ 37 w 156"/>
                  <a:gd name="T101" fmla="*/ 65 h 81"/>
                  <a:gd name="T102" fmla="*/ 38 w 156"/>
                  <a:gd name="T103" fmla="*/ 68 h 81"/>
                  <a:gd name="T104" fmla="*/ 19 w 156"/>
                  <a:gd name="T10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 h="81">
                    <a:moveTo>
                      <a:pt x="26" y="70"/>
                    </a:moveTo>
                    <a:cubicBezTo>
                      <a:pt x="22" y="70"/>
                      <a:pt x="17" y="70"/>
                      <a:pt x="13" y="71"/>
                    </a:cubicBezTo>
                    <a:cubicBezTo>
                      <a:pt x="11" y="72"/>
                      <a:pt x="11" y="75"/>
                      <a:pt x="12" y="76"/>
                    </a:cubicBezTo>
                    <a:cubicBezTo>
                      <a:pt x="13" y="77"/>
                      <a:pt x="15" y="78"/>
                      <a:pt x="15" y="77"/>
                    </a:cubicBezTo>
                    <a:cubicBezTo>
                      <a:pt x="17" y="77"/>
                      <a:pt x="16" y="76"/>
                      <a:pt x="17" y="75"/>
                    </a:cubicBezTo>
                    <a:cubicBezTo>
                      <a:pt x="17" y="75"/>
                      <a:pt x="17" y="78"/>
                      <a:pt x="17" y="78"/>
                    </a:cubicBezTo>
                    <a:cubicBezTo>
                      <a:pt x="19" y="78"/>
                      <a:pt x="22" y="78"/>
                      <a:pt x="24" y="78"/>
                    </a:cubicBezTo>
                    <a:cubicBezTo>
                      <a:pt x="26" y="78"/>
                      <a:pt x="26" y="76"/>
                      <a:pt x="27" y="76"/>
                    </a:cubicBezTo>
                    <a:cubicBezTo>
                      <a:pt x="29" y="76"/>
                      <a:pt x="27" y="78"/>
                      <a:pt x="27" y="78"/>
                    </a:cubicBezTo>
                    <a:cubicBezTo>
                      <a:pt x="27" y="78"/>
                      <a:pt x="37" y="79"/>
                      <a:pt x="37" y="78"/>
                    </a:cubicBezTo>
                    <a:cubicBezTo>
                      <a:pt x="37" y="78"/>
                      <a:pt x="35" y="77"/>
                      <a:pt x="34" y="76"/>
                    </a:cubicBezTo>
                    <a:cubicBezTo>
                      <a:pt x="34" y="76"/>
                      <a:pt x="38" y="77"/>
                      <a:pt x="37" y="78"/>
                    </a:cubicBezTo>
                    <a:cubicBezTo>
                      <a:pt x="38" y="77"/>
                      <a:pt x="37" y="76"/>
                      <a:pt x="38" y="76"/>
                    </a:cubicBezTo>
                    <a:cubicBezTo>
                      <a:pt x="38" y="76"/>
                      <a:pt x="40" y="77"/>
                      <a:pt x="41" y="77"/>
                    </a:cubicBezTo>
                    <a:cubicBezTo>
                      <a:pt x="43" y="79"/>
                      <a:pt x="41" y="76"/>
                      <a:pt x="42" y="75"/>
                    </a:cubicBezTo>
                    <a:cubicBezTo>
                      <a:pt x="42" y="75"/>
                      <a:pt x="48" y="78"/>
                      <a:pt x="48" y="77"/>
                    </a:cubicBezTo>
                    <a:cubicBezTo>
                      <a:pt x="48" y="76"/>
                      <a:pt x="46" y="76"/>
                      <a:pt x="46" y="75"/>
                    </a:cubicBezTo>
                    <a:cubicBezTo>
                      <a:pt x="46" y="75"/>
                      <a:pt x="53" y="76"/>
                      <a:pt x="53" y="76"/>
                    </a:cubicBezTo>
                    <a:cubicBezTo>
                      <a:pt x="57" y="76"/>
                      <a:pt x="52" y="79"/>
                      <a:pt x="52" y="80"/>
                    </a:cubicBezTo>
                    <a:cubicBezTo>
                      <a:pt x="52" y="81"/>
                      <a:pt x="64" y="76"/>
                      <a:pt x="65" y="76"/>
                    </a:cubicBezTo>
                    <a:cubicBezTo>
                      <a:pt x="67" y="76"/>
                      <a:pt x="72" y="73"/>
                      <a:pt x="68" y="72"/>
                    </a:cubicBezTo>
                    <a:cubicBezTo>
                      <a:pt x="66" y="71"/>
                      <a:pt x="63" y="73"/>
                      <a:pt x="61" y="72"/>
                    </a:cubicBezTo>
                    <a:cubicBezTo>
                      <a:pt x="61" y="72"/>
                      <a:pt x="63" y="70"/>
                      <a:pt x="63" y="70"/>
                    </a:cubicBezTo>
                    <a:cubicBezTo>
                      <a:pt x="63" y="69"/>
                      <a:pt x="60" y="70"/>
                      <a:pt x="59" y="70"/>
                    </a:cubicBezTo>
                    <a:cubicBezTo>
                      <a:pt x="57" y="70"/>
                      <a:pt x="56" y="68"/>
                      <a:pt x="54" y="68"/>
                    </a:cubicBezTo>
                    <a:cubicBezTo>
                      <a:pt x="53" y="69"/>
                      <a:pt x="50" y="70"/>
                      <a:pt x="48" y="69"/>
                    </a:cubicBezTo>
                    <a:cubicBezTo>
                      <a:pt x="49" y="69"/>
                      <a:pt x="50" y="69"/>
                      <a:pt x="51" y="69"/>
                    </a:cubicBezTo>
                    <a:cubicBezTo>
                      <a:pt x="52" y="68"/>
                      <a:pt x="50" y="66"/>
                      <a:pt x="50" y="65"/>
                    </a:cubicBezTo>
                    <a:cubicBezTo>
                      <a:pt x="50" y="67"/>
                      <a:pt x="59" y="68"/>
                      <a:pt x="60" y="68"/>
                    </a:cubicBezTo>
                    <a:cubicBezTo>
                      <a:pt x="61" y="68"/>
                      <a:pt x="63" y="68"/>
                      <a:pt x="65" y="68"/>
                    </a:cubicBezTo>
                    <a:cubicBezTo>
                      <a:pt x="67" y="68"/>
                      <a:pt x="69" y="65"/>
                      <a:pt x="68" y="64"/>
                    </a:cubicBezTo>
                    <a:cubicBezTo>
                      <a:pt x="65" y="61"/>
                      <a:pt x="71" y="61"/>
                      <a:pt x="73" y="61"/>
                    </a:cubicBezTo>
                    <a:cubicBezTo>
                      <a:pt x="74" y="61"/>
                      <a:pt x="79" y="61"/>
                      <a:pt x="80" y="60"/>
                    </a:cubicBezTo>
                    <a:cubicBezTo>
                      <a:pt x="80" y="60"/>
                      <a:pt x="75" y="58"/>
                      <a:pt x="75" y="58"/>
                    </a:cubicBezTo>
                    <a:cubicBezTo>
                      <a:pt x="77" y="57"/>
                      <a:pt x="81" y="59"/>
                      <a:pt x="82" y="57"/>
                    </a:cubicBezTo>
                    <a:cubicBezTo>
                      <a:pt x="83" y="56"/>
                      <a:pt x="77" y="55"/>
                      <a:pt x="76" y="55"/>
                    </a:cubicBezTo>
                    <a:cubicBezTo>
                      <a:pt x="77" y="55"/>
                      <a:pt x="84" y="54"/>
                      <a:pt x="85" y="53"/>
                    </a:cubicBezTo>
                    <a:cubicBezTo>
                      <a:pt x="87" y="52"/>
                      <a:pt x="77" y="50"/>
                      <a:pt x="77" y="51"/>
                    </a:cubicBezTo>
                    <a:cubicBezTo>
                      <a:pt x="77" y="50"/>
                      <a:pt x="79" y="50"/>
                      <a:pt x="79" y="50"/>
                    </a:cubicBezTo>
                    <a:cubicBezTo>
                      <a:pt x="79" y="49"/>
                      <a:pt x="72" y="50"/>
                      <a:pt x="71" y="50"/>
                    </a:cubicBezTo>
                    <a:cubicBezTo>
                      <a:pt x="69" y="50"/>
                      <a:pt x="68" y="51"/>
                      <a:pt x="66" y="52"/>
                    </a:cubicBezTo>
                    <a:cubicBezTo>
                      <a:pt x="67" y="52"/>
                      <a:pt x="70" y="49"/>
                      <a:pt x="68" y="49"/>
                    </a:cubicBezTo>
                    <a:cubicBezTo>
                      <a:pt x="68" y="49"/>
                      <a:pt x="64" y="49"/>
                      <a:pt x="64" y="48"/>
                    </a:cubicBezTo>
                    <a:cubicBezTo>
                      <a:pt x="64" y="48"/>
                      <a:pt x="71" y="48"/>
                      <a:pt x="72" y="48"/>
                    </a:cubicBezTo>
                    <a:cubicBezTo>
                      <a:pt x="71" y="48"/>
                      <a:pt x="68" y="47"/>
                      <a:pt x="68" y="47"/>
                    </a:cubicBezTo>
                    <a:cubicBezTo>
                      <a:pt x="69" y="46"/>
                      <a:pt x="72" y="48"/>
                      <a:pt x="74" y="47"/>
                    </a:cubicBezTo>
                    <a:cubicBezTo>
                      <a:pt x="73" y="47"/>
                      <a:pt x="69" y="46"/>
                      <a:pt x="69" y="46"/>
                    </a:cubicBezTo>
                    <a:cubicBezTo>
                      <a:pt x="69" y="45"/>
                      <a:pt x="77" y="46"/>
                      <a:pt x="78" y="45"/>
                    </a:cubicBezTo>
                    <a:cubicBezTo>
                      <a:pt x="78" y="45"/>
                      <a:pt x="75" y="44"/>
                      <a:pt x="75" y="44"/>
                    </a:cubicBezTo>
                    <a:cubicBezTo>
                      <a:pt x="74" y="44"/>
                      <a:pt x="77" y="44"/>
                      <a:pt x="77" y="44"/>
                    </a:cubicBezTo>
                    <a:cubicBezTo>
                      <a:pt x="79" y="45"/>
                      <a:pt x="80" y="46"/>
                      <a:pt x="82" y="46"/>
                    </a:cubicBezTo>
                    <a:cubicBezTo>
                      <a:pt x="84" y="46"/>
                      <a:pt x="87" y="45"/>
                      <a:pt x="90" y="44"/>
                    </a:cubicBezTo>
                    <a:cubicBezTo>
                      <a:pt x="98" y="43"/>
                      <a:pt x="85" y="42"/>
                      <a:pt x="84" y="40"/>
                    </a:cubicBezTo>
                    <a:cubicBezTo>
                      <a:pt x="84" y="39"/>
                      <a:pt x="93" y="40"/>
                      <a:pt x="94" y="41"/>
                    </a:cubicBezTo>
                    <a:cubicBezTo>
                      <a:pt x="96" y="42"/>
                      <a:pt x="97" y="42"/>
                      <a:pt x="100" y="41"/>
                    </a:cubicBezTo>
                    <a:cubicBezTo>
                      <a:pt x="101" y="41"/>
                      <a:pt x="106" y="39"/>
                      <a:pt x="105" y="37"/>
                    </a:cubicBezTo>
                    <a:cubicBezTo>
                      <a:pt x="105" y="36"/>
                      <a:pt x="94" y="41"/>
                      <a:pt x="97" y="36"/>
                    </a:cubicBezTo>
                    <a:cubicBezTo>
                      <a:pt x="96" y="37"/>
                      <a:pt x="101" y="37"/>
                      <a:pt x="101" y="37"/>
                    </a:cubicBezTo>
                    <a:cubicBezTo>
                      <a:pt x="104" y="37"/>
                      <a:pt x="106" y="36"/>
                      <a:pt x="108" y="36"/>
                    </a:cubicBezTo>
                    <a:cubicBezTo>
                      <a:pt x="108" y="35"/>
                      <a:pt x="105" y="32"/>
                      <a:pt x="105" y="32"/>
                    </a:cubicBezTo>
                    <a:cubicBezTo>
                      <a:pt x="106" y="32"/>
                      <a:pt x="107" y="33"/>
                      <a:pt x="107" y="34"/>
                    </a:cubicBezTo>
                    <a:cubicBezTo>
                      <a:pt x="108" y="35"/>
                      <a:pt x="110" y="34"/>
                      <a:pt x="111" y="34"/>
                    </a:cubicBezTo>
                    <a:cubicBezTo>
                      <a:pt x="114" y="32"/>
                      <a:pt x="116" y="30"/>
                      <a:pt x="119" y="29"/>
                    </a:cubicBezTo>
                    <a:cubicBezTo>
                      <a:pt x="121" y="28"/>
                      <a:pt x="136" y="22"/>
                      <a:pt x="136" y="21"/>
                    </a:cubicBezTo>
                    <a:cubicBezTo>
                      <a:pt x="136" y="20"/>
                      <a:pt x="123" y="23"/>
                      <a:pt x="122" y="23"/>
                    </a:cubicBezTo>
                    <a:cubicBezTo>
                      <a:pt x="119" y="24"/>
                      <a:pt x="116" y="24"/>
                      <a:pt x="112" y="25"/>
                    </a:cubicBezTo>
                    <a:cubicBezTo>
                      <a:pt x="112" y="25"/>
                      <a:pt x="108" y="25"/>
                      <a:pt x="108" y="25"/>
                    </a:cubicBezTo>
                    <a:cubicBezTo>
                      <a:pt x="108" y="24"/>
                      <a:pt x="114" y="24"/>
                      <a:pt x="115" y="23"/>
                    </a:cubicBezTo>
                    <a:cubicBezTo>
                      <a:pt x="116" y="23"/>
                      <a:pt x="123" y="22"/>
                      <a:pt x="123" y="21"/>
                    </a:cubicBezTo>
                    <a:cubicBezTo>
                      <a:pt x="123" y="22"/>
                      <a:pt x="113" y="20"/>
                      <a:pt x="114" y="19"/>
                    </a:cubicBezTo>
                    <a:cubicBezTo>
                      <a:pt x="114" y="19"/>
                      <a:pt x="126" y="20"/>
                      <a:pt x="127" y="19"/>
                    </a:cubicBezTo>
                    <a:cubicBezTo>
                      <a:pt x="129" y="19"/>
                      <a:pt x="132" y="18"/>
                      <a:pt x="134" y="18"/>
                    </a:cubicBezTo>
                    <a:cubicBezTo>
                      <a:pt x="135" y="18"/>
                      <a:pt x="137" y="18"/>
                      <a:pt x="138" y="18"/>
                    </a:cubicBezTo>
                    <a:cubicBezTo>
                      <a:pt x="142" y="17"/>
                      <a:pt x="146" y="16"/>
                      <a:pt x="149" y="15"/>
                    </a:cubicBezTo>
                    <a:cubicBezTo>
                      <a:pt x="149" y="15"/>
                      <a:pt x="156" y="11"/>
                      <a:pt x="153" y="10"/>
                    </a:cubicBezTo>
                    <a:cubicBezTo>
                      <a:pt x="151" y="10"/>
                      <a:pt x="148" y="10"/>
                      <a:pt x="146" y="10"/>
                    </a:cubicBezTo>
                    <a:cubicBezTo>
                      <a:pt x="145" y="9"/>
                      <a:pt x="143" y="10"/>
                      <a:pt x="143" y="9"/>
                    </a:cubicBezTo>
                    <a:cubicBezTo>
                      <a:pt x="143" y="7"/>
                      <a:pt x="141" y="7"/>
                      <a:pt x="141" y="5"/>
                    </a:cubicBezTo>
                    <a:cubicBezTo>
                      <a:pt x="141" y="5"/>
                      <a:pt x="137" y="6"/>
                      <a:pt x="136" y="6"/>
                    </a:cubicBezTo>
                    <a:cubicBezTo>
                      <a:pt x="135" y="5"/>
                      <a:pt x="134" y="3"/>
                      <a:pt x="133" y="5"/>
                    </a:cubicBezTo>
                    <a:cubicBezTo>
                      <a:pt x="133" y="5"/>
                      <a:pt x="127" y="6"/>
                      <a:pt x="126" y="6"/>
                    </a:cubicBezTo>
                    <a:cubicBezTo>
                      <a:pt x="124" y="7"/>
                      <a:pt x="122" y="7"/>
                      <a:pt x="120" y="7"/>
                    </a:cubicBezTo>
                    <a:cubicBezTo>
                      <a:pt x="120" y="7"/>
                      <a:pt x="116" y="7"/>
                      <a:pt x="116" y="7"/>
                    </a:cubicBezTo>
                    <a:cubicBezTo>
                      <a:pt x="116" y="6"/>
                      <a:pt x="120" y="6"/>
                      <a:pt x="121" y="5"/>
                    </a:cubicBezTo>
                    <a:cubicBezTo>
                      <a:pt x="123" y="5"/>
                      <a:pt x="125" y="4"/>
                      <a:pt x="126" y="3"/>
                    </a:cubicBezTo>
                    <a:cubicBezTo>
                      <a:pt x="124" y="6"/>
                      <a:pt x="103" y="0"/>
                      <a:pt x="102" y="2"/>
                    </a:cubicBezTo>
                    <a:cubicBezTo>
                      <a:pt x="102" y="3"/>
                      <a:pt x="104" y="3"/>
                      <a:pt x="105" y="4"/>
                    </a:cubicBezTo>
                    <a:cubicBezTo>
                      <a:pt x="105" y="5"/>
                      <a:pt x="100" y="2"/>
                      <a:pt x="100" y="2"/>
                    </a:cubicBezTo>
                    <a:cubicBezTo>
                      <a:pt x="98" y="1"/>
                      <a:pt x="95" y="2"/>
                      <a:pt x="94" y="2"/>
                    </a:cubicBezTo>
                    <a:cubicBezTo>
                      <a:pt x="93" y="2"/>
                      <a:pt x="90" y="2"/>
                      <a:pt x="91" y="3"/>
                    </a:cubicBezTo>
                    <a:cubicBezTo>
                      <a:pt x="92" y="4"/>
                      <a:pt x="94" y="7"/>
                      <a:pt x="95" y="6"/>
                    </a:cubicBezTo>
                    <a:cubicBezTo>
                      <a:pt x="95" y="7"/>
                      <a:pt x="91" y="6"/>
                      <a:pt x="91" y="5"/>
                    </a:cubicBezTo>
                    <a:cubicBezTo>
                      <a:pt x="88" y="5"/>
                      <a:pt x="87" y="2"/>
                      <a:pt x="85" y="2"/>
                    </a:cubicBezTo>
                    <a:cubicBezTo>
                      <a:pt x="81" y="2"/>
                      <a:pt x="78" y="2"/>
                      <a:pt x="75" y="2"/>
                    </a:cubicBezTo>
                    <a:cubicBezTo>
                      <a:pt x="70" y="3"/>
                      <a:pt x="73" y="4"/>
                      <a:pt x="76" y="5"/>
                    </a:cubicBezTo>
                    <a:cubicBezTo>
                      <a:pt x="77" y="6"/>
                      <a:pt x="79" y="7"/>
                      <a:pt x="80" y="8"/>
                    </a:cubicBezTo>
                    <a:cubicBezTo>
                      <a:pt x="80" y="8"/>
                      <a:pt x="77" y="10"/>
                      <a:pt x="77" y="10"/>
                    </a:cubicBezTo>
                    <a:cubicBezTo>
                      <a:pt x="76" y="10"/>
                      <a:pt x="78" y="9"/>
                      <a:pt x="78" y="9"/>
                    </a:cubicBezTo>
                    <a:cubicBezTo>
                      <a:pt x="78" y="8"/>
                      <a:pt x="71" y="4"/>
                      <a:pt x="70" y="4"/>
                    </a:cubicBezTo>
                    <a:cubicBezTo>
                      <a:pt x="66" y="4"/>
                      <a:pt x="62" y="3"/>
                      <a:pt x="58" y="4"/>
                    </a:cubicBezTo>
                    <a:cubicBezTo>
                      <a:pt x="58" y="4"/>
                      <a:pt x="60" y="6"/>
                      <a:pt x="61" y="6"/>
                    </a:cubicBezTo>
                    <a:cubicBezTo>
                      <a:pt x="62" y="6"/>
                      <a:pt x="64" y="7"/>
                      <a:pt x="66" y="6"/>
                    </a:cubicBezTo>
                    <a:cubicBezTo>
                      <a:pt x="64" y="7"/>
                      <a:pt x="61" y="8"/>
                      <a:pt x="59" y="7"/>
                    </a:cubicBezTo>
                    <a:cubicBezTo>
                      <a:pt x="58" y="7"/>
                      <a:pt x="51" y="4"/>
                      <a:pt x="52" y="5"/>
                    </a:cubicBezTo>
                    <a:cubicBezTo>
                      <a:pt x="52" y="4"/>
                      <a:pt x="57" y="10"/>
                      <a:pt x="53" y="9"/>
                    </a:cubicBezTo>
                    <a:cubicBezTo>
                      <a:pt x="52" y="8"/>
                      <a:pt x="49" y="7"/>
                      <a:pt x="47" y="8"/>
                    </a:cubicBezTo>
                    <a:cubicBezTo>
                      <a:pt x="48" y="8"/>
                      <a:pt x="51" y="9"/>
                      <a:pt x="51" y="9"/>
                    </a:cubicBezTo>
                    <a:cubicBezTo>
                      <a:pt x="50" y="10"/>
                      <a:pt x="46" y="8"/>
                      <a:pt x="46" y="10"/>
                    </a:cubicBezTo>
                    <a:cubicBezTo>
                      <a:pt x="46" y="11"/>
                      <a:pt x="50" y="12"/>
                      <a:pt x="51" y="13"/>
                    </a:cubicBezTo>
                    <a:cubicBezTo>
                      <a:pt x="54" y="13"/>
                      <a:pt x="61" y="14"/>
                      <a:pt x="61" y="17"/>
                    </a:cubicBezTo>
                    <a:cubicBezTo>
                      <a:pt x="61" y="16"/>
                      <a:pt x="54" y="15"/>
                      <a:pt x="52" y="14"/>
                    </a:cubicBezTo>
                    <a:cubicBezTo>
                      <a:pt x="50" y="14"/>
                      <a:pt x="47" y="11"/>
                      <a:pt x="45" y="12"/>
                    </a:cubicBezTo>
                    <a:cubicBezTo>
                      <a:pt x="45" y="12"/>
                      <a:pt x="48" y="14"/>
                      <a:pt x="48" y="14"/>
                    </a:cubicBezTo>
                    <a:cubicBezTo>
                      <a:pt x="48" y="14"/>
                      <a:pt x="45" y="15"/>
                      <a:pt x="45" y="14"/>
                    </a:cubicBezTo>
                    <a:cubicBezTo>
                      <a:pt x="43" y="13"/>
                      <a:pt x="42" y="12"/>
                      <a:pt x="40" y="11"/>
                    </a:cubicBezTo>
                    <a:cubicBezTo>
                      <a:pt x="39" y="10"/>
                      <a:pt x="31" y="10"/>
                      <a:pt x="31" y="10"/>
                    </a:cubicBezTo>
                    <a:cubicBezTo>
                      <a:pt x="31" y="11"/>
                      <a:pt x="34" y="11"/>
                      <a:pt x="31" y="12"/>
                    </a:cubicBezTo>
                    <a:cubicBezTo>
                      <a:pt x="30" y="12"/>
                      <a:pt x="25" y="14"/>
                      <a:pt x="25" y="14"/>
                    </a:cubicBezTo>
                    <a:cubicBezTo>
                      <a:pt x="26" y="14"/>
                      <a:pt x="29" y="13"/>
                      <a:pt x="29" y="13"/>
                    </a:cubicBezTo>
                    <a:cubicBezTo>
                      <a:pt x="30" y="14"/>
                      <a:pt x="34" y="16"/>
                      <a:pt x="34" y="16"/>
                    </a:cubicBezTo>
                    <a:cubicBezTo>
                      <a:pt x="34" y="16"/>
                      <a:pt x="31" y="15"/>
                      <a:pt x="31" y="16"/>
                    </a:cubicBezTo>
                    <a:cubicBezTo>
                      <a:pt x="31" y="16"/>
                      <a:pt x="32" y="19"/>
                      <a:pt x="30" y="17"/>
                    </a:cubicBezTo>
                    <a:cubicBezTo>
                      <a:pt x="29" y="16"/>
                      <a:pt x="28" y="14"/>
                      <a:pt x="26" y="15"/>
                    </a:cubicBezTo>
                    <a:cubicBezTo>
                      <a:pt x="25" y="15"/>
                      <a:pt x="24" y="17"/>
                      <a:pt x="23" y="16"/>
                    </a:cubicBezTo>
                    <a:cubicBezTo>
                      <a:pt x="22" y="15"/>
                      <a:pt x="21" y="14"/>
                      <a:pt x="19" y="14"/>
                    </a:cubicBezTo>
                    <a:cubicBezTo>
                      <a:pt x="18" y="14"/>
                      <a:pt x="15" y="15"/>
                      <a:pt x="14" y="16"/>
                    </a:cubicBezTo>
                    <a:cubicBezTo>
                      <a:pt x="12" y="17"/>
                      <a:pt x="13" y="18"/>
                      <a:pt x="10" y="17"/>
                    </a:cubicBezTo>
                    <a:cubicBezTo>
                      <a:pt x="8" y="16"/>
                      <a:pt x="7" y="17"/>
                      <a:pt x="5" y="17"/>
                    </a:cubicBezTo>
                    <a:cubicBezTo>
                      <a:pt x="4" y="18"/>
                      <a:pt x="0" y="18"/>
                      <a:pt x="0" y="19"/>
                    </a:cubicBezTo>
                    <a:cubicBezTo>
                      <a:pt x="0" y="21"/>
                      <a:pt x="9" y="19"/>
                      <a:pt x="9" y="20"/>
                    </a:cubicBezTo>
                    <a:cubicBezTo>
                      <a:pt x="9" y="21"/>
                      <a:pt x="6" y="21"/>
                      <a:pt x="5" y="22"/>
                    </a:cubicBezTo>
                    <a:cubicBezTo>
                      <a:pt x="5" y="21"/>
                      <a:pt x="10" y="21"/>
                      <a:pt x="11" y="21"/>
                    </a:cubicBezTo>
                    <a:cubicBezTo>
                      <a:pt x="12" y="21"/>
                      <a:pt x="17" y="21"/>
                      <a:pt x="17" y="21"/>
                    </a:cubicBezTo>
                    <a:cubicBezTo>
                      <a:pt x="17" y="21"/>
                      <a:pt x="15" y="22"/>
                      <a:pt x="14" y="22"/>
                    </a:cubicBezTo>
                    <a:cubicBezTo>
                      <a:pt x="12" y="22"/>
                      <a:pt x="11" y="22"/>
                      <a:pt x="9" y="24"/>
                    </a:cubicBezTo>
                    <a:cubicBezTo>
                      <a:pt x="5" y="26"/>
                      <a:pt x="12" y="26"/>
                      <a:pt x="13" y="26"/>
                    </a:cubicBezTo>
                    <a:cubicBezTo>
                      <a:pt x="17" y="27"/>
                      <a:pt x="20" y="27"/>
                      <a:pt x="24" y="26"/>
                    </a:cubicBezTo>
                    <a:cubicBezTo>
                      <a:pt x="26" y="25"/>
                      <a:pt x="31" y="22"/>
                      <a:pt x="34" y="24"/>
                    </a:cubicBezTo>
                    <a:cubicBezTo>
                      <a:pt x="34" y="24"/>
                      <a:pt x="29" y="26"/>
                      <a:pt x="29" y="26"/>
                    </a:cubicBezTo>
                    <a:cubicBezTo>
                      <a:pt x="27" y="26"/>
                      <a:pt x="25" y="26"/>
                      <a:pt x="23" y="27"/>
                    </a:cubicBezTo>
                    <a:cubicBezTo>
                      <a:pt x="22" y="27"/>
                      <a:pt x="20" y="27"/>
                      <a:pt x="18" y="27"/>
                    </a:cubicBezTo>
                    <a:cubicBezTo>
                      <a:pt x="16" y="28"/>
                      <a:pt x="14" y="27"/>
                      <a:pt x="12" y="28"/>
                    </a:cubicBezTo>
                    <a:cubicBezTo>
                      <a:pt x="13" y="28"/>
                      <a:pt x="16" y="29"/>
                      <a:pt x="16" y="29"/>
                    </a:cubicBezTo>
                    <a:cubicBezTo>
                      <a:pt x="17" y="30"/>
                      <a:pt x="18" y="31"/>
                      <a:pt x="20" y="31"/>
                    </a:cubicBezTo>
                    <a:cubicBezTo>
                      <a:pt x="24" y="31"/>
                      <a:pt x="26" y="28"/>
                      <a:pt x="30" y="27"/>
                    </a:cubicBezTo>
                    <a:cubicBezTo>
                      <a:pt x="31" y="27"/>
                      <a:pt x="44" y="26"/>
                      <a:pt x="44" y="25"/>
                    </a:cubicBezTo>
                    <a:cubicBezTo>
                      <a:pt x="44" y="26"/>
                      <a:pt x="38" y="26"/>
                      <a:pt x="37" y="26"/>
                    </a:cubicBezTo>
                    <a:cubicBezTo>
                      <a:pt x="34" y="27"/>
                      <a:pt x="29" y="28"/>
                      <a:pt x="26" y="30"/>
                    </a:cubicBezTo>
                    <a:cubicBezTo>
                      <a:pt x="23" y="33"/>
                      <a:pt x="32" y="32"/>
                      <a:pt x="33" y="32"/>
                    </a:cubicBezTo>
                    <a:cubicBezTo>
                      <a:pt x="35" y="32"/>
                      <a:pt x="37" y="33"/>
                      <a:pt x="39" y="31"/>
                    </a:cubicBezTo>
                    <a:cubicBezTo>
                      <a:pt x="40" y="31"/>
                      <a:pt x="40" y="30"/>
                      <a:pt x="40" y="29"/>
                    </a:cubicBezTo>
                    <a:cubicBezTo>
                      <a:pt x="41" y="29"/>
                      <a:pt x="42" y="29"/>
                      <a:pt x="42" y="30"/>
                    </a:cubicBezTo>
                    <a:cubicBezTo>
                      <a:pt x="42" y="30"/>
                      <a:pt x="42" y="30"/>
                      <a:pt x="41" y="30"/>
                    </a:cubicBezTo>
                    <a:cubicBezTo>
                      <a:pt x="43" y="30"/>
                      <a:pt x="48" y="28"/>
                      <a:pt x="50" y="29"/>
                    </a:cubicBezTo>
                    <a:cubicBezTo>
                      <a:pt x="49" y="28"/>
                      <a:pt x="44" y="32"/>
                      <a:pt x="43" y="32"/>
                    </a:cubicBezTo>
                    <a:cubicBezTo>
                      <a:pt x="44" y="33"/>
                      <a:pt x="50" y="31"/>
                      <a:pt x="52" y="31"/>
                    </a:cubicBezTo>
                    <a:cubicBezTo>
                      <a:pt x="55" y="31"/>
                      <a:pt x="58" y="30"/>
                      <a:pt x="61" y="28"/>
                    </a:cubicBezTo>
                    <a:cubicBezTo>
                      <a:pt x="62" y="27"/>
                      <a:pt x="62" y="25"/>
                      <a:pt x="62" y="25"/>
                    </a:cubicBezTo>
                    <a:cubicBezTo>
                      <a:pt x="64" y="25"/>
                      <a:pt x="64" y="25"/>
                      <a:pt x="65" y="24"/>
                    </a:cubicBezTo>
                    <a:cubicBezTo>
                      <a:pt x="66" y="24"/>
                      <a:pt x="73" y="20"/>
                      <a:pt x="73" y="21"/>
                    </a:cubicBezTo>
                    <a:cubicBezTo>
                      <a:pt x="73" y="21"/>
                      <a:pt x="69" y="24"/>
                      <a:pt x="69" y="24"/>
                    </a:cubicBezTo>
                    <a:cubicBezTo>
                      <a:pt x="68" y="25"/>
                      <a:pt x="64" y="27"/>
                      <a:pt x="64" y="28"/>
                    </a:cubicBezTo>
                    <a:cubicBezTo>
                      <a:pt x="64" y="29"/>
                      <a:pt x="75" y="28"/>
                      <a:pt x="75" y="29"/>
                    </a:cubicBezTo>
                    <a:cubicBezTo>
                      <a:pt x="75" y="28"/>
                      <a:pt x="60" y="32"/>
                      <a:pt x="60" y="31"/>
                    </a:cubicBezTo>
                    <a:cubicBezTo>
                      <a:pt x="60" y="31"/>
                      <a:pt x="69" y="32"/>
                      <a:pt x="68" y="32"/>
                    </a:cubicBezTo>
                    <a:cubicBezTo>
                      <a:pt x="68" y="33"/>
                      <a:pt x="64" y="33"/>
                      <a:pt x="63" y="33"/>
                    </a:cubicBezTo>
                    <a:cubicBezTo>
                      <a:pt x="61" y="33"/>
                      <a:pt x="58" y="33"/>
                      <a:pt x="56" y="34"/>
                    </a:cubicBezTo>
                    <a:cubicBezTo>
                      <a:pt x="52" y="34"/>
                      <a:pt x="48" y="34"/>
                      <a:pt x="44" y="35"/>
                    </a:cubicBezTo>
                    <a:cubicBezTo>
                      <a:pt x="43" y="35"/>
                      <a:pt x="43" y="36"/>
                      <a:pt x="45" y="36"/>
                    </a:cubicBezTo>
                    <a:cubicBezTo>
                      <a:pt x="46" y="37"/>
                      <a:pt x="49" y="38"/>
                      <a:pt x="50" y="39"/>
                    </a:cubicBezTo>
                    <a:cubicBezTo>
                      <a:pt x="52" y="41"/>
                      <a:pt x="50" y="43"/>
                      <a:pt x="53" y="43"/>
                    </a:cubicBezTo>
                    <a:cubicBezTo>
                      <a:pt x="54" y="42"/>
                      <a:pt x="57" y="43"/>
                      <a:pt x="58" y="42"/>
                    </a:cubicBezTo>
                    <a:cubicBezTo>
                      <a:pt x="49" y="47"/>
                      <a:pt x="44" y="36"/>
                      <a:pt x="37" y="36"/>
                    </a:cubicBezTo>
                    <a:cubicBezTo>
                      <a:pt x="35" y="36"/>
                      <a:pt x="26" y="34"/>
                      <a:pt x="26" y="36"/>
                    </a:cubicBezTo>
                    <a:cubicBezTo>
                      <a:pt x="26" y="36"/>
                      <a:pt x="25" y="38"/>
                      <a:pt x="25" y="38"/>
                    </a:cubicBezTo>
                    <a:cubicBezTo>
                      <a:pt x="26" y="38"/>
                      <a:pt x="32" y="38"/>
                      <a:pt x="32" y="39"/>
                    </a:cubicBezTo>
                    <a:cubicBezTo>
                      <a:pt x="32" y="39"/>
                      <a:pt x="26" y="39"/>
                      <a:pt x="26" y="41"/>
                    </a:cubicBezTo>
                    <a:cubicBezTo>
                      <a:pt x="26" y="42"/>
                      <a:pt x="32" y="42"/>
                      <a:pt x="34" y="43"/>
                    </a:cubicBezTo>
                    <a:cubicBezTo>
                      <a:pt x="35" y="44"/>
                      <a:pt x="36" y="45"/>
                      <a:pt x="37" y="46"/>
                    </a:cubicBezTo>
                    <a:cubicBezTo>
                      <a:pt x="38" y="48"/>
                      <a:pt x="40" y="49"/>
                      <a:pt x="42" y="50"/>
                    </a:cubicBezTo>
                    <a:cubicBezTo>
                      <a:pt x="44" y="51"/>
                      <a:pt x="45" y="51"/>
                      <a:pt x="47" y="50"/>
                    </a:cubicBezTo>
                    <a:cubicBezTo>
                      <a:pt x="48" y="50"/>
                      <a:pt x="50" y="49"/>
                      <a:pt x="51" y="50"/>
                    </a:cubicBezTo>
                    <a:cubicBezTo>
                      <a:pt x="51" y="50"/>
                      <a:pt x="50" y="52"/>
                      <a:pt x="50" y="52"/>
                    </a:cubicBezTo>
                    <a:cubicBezTo>
                      <a:pt x="48" y="52"/>
                      <a:pt x="45" y="51"/>
                      <a:pt x="44" y="52"/>
                    </a:cubicBezTo>
                    <a:cubicBezTo>
                      <a:pt x="44" y="51"/>
                      <a:pt x="48" y="54"/>
                      <a:pt x="48" y="54"/>
                    </a:cubicBezTo>
                    <a:cubicBezTo>
                      <a:pt x="48" y="55"/>
                      <a:pt x="43" y="53"/>
                      <a:pt x="43" y="53"/>
                    </a:cubicBezTo>
                    <a:cubicBezTo>
                      <a:pt x="40" y="51"/>
                      <a:pt x="38" y="51"/>
                      <a:pt x="35" y="51"/>
                    </a:cubicBezTo>
                    <a:cubicBezTo>
                      <a:pt x="33" y="51"/>
                      <a:pt x="32" y="51"/>
                      <a:pt x="30" y="52"/>
                    </a:cubicBezTo>
                    <a:cubicBezTo>
                      <a:pt x="28" y="53"/>
                      <a:pt x="27" y="52"/>
                      <a:pt x="26" y="53"/>
                    </a:cubicBezTo>
                    <a:cubicBezTo>
                      <a:pt x="25" y="54"/>
                      <a:pt x="25" y="55"/>
                      <a:pt x="23" y="55"/>
                    </a:cubicBezTo>
                    <a:cubicBezTo>
                      <a:pt x="22" y="56"/>
                      <a:pt x="21" y="59"/>
                      <a:pt x="23" y="59"/>
                    </a:cubicBezTo>
                    <a:cubicBezTo>
                      <a:pt x="25" y="59"/>
                      <a:pt x="27" y="58"/>
                      <a:pt x="27" y="59"/>
                    </a:cubicBezTo>
                    <a:cubicBezTo>
                      <a:pt x="28" y="61"/>
                      <a:pt x="32" y="60"/>
                      <a:pt x="32" y="59"/>
                    </a:cubicBezTo>
                    <a:cubicBezTo>
                      <a:pt x="33" y="59"/>
                      <a:pt x="35" y="56"/>
                      <a:pt x="35" y="55"/>
                    </a:cubicBezTo>
                    <a:cubicBezTo>
                      <a:pt x="35" y="56"/>
                      <a:pt x="35" y="56"/>
                      <a:pt x="35" y="57"/>
                    </a:cubicBezTo>
                    <a:cubicBezTo>
                      <a:pt x="35" y="57"/>
                      <a:pt x="36" y="57"/>
                      <a:pt x="36" y="57"/>
                    </a:cubicBezTo>
                    <a:cubicBezTo>
                      <a:pt x="36" y="57"/>
                      <a:pt x="35" y="58"/>
                      <a:pt x="35" y="59"/>
                    </a:cubicBezTo>
                    <a:cubicBezTo>
                      <a:pt x="35" y="59"/>
                      <a:pt x="35" y="59"/>
                      <a:pt x="36" y="59"/>
                    </a:cubicBezTo>
                    <a:cubicBezTo>
                      <a:pt x="36" y="59"/>
                      <a:pt x="33" y="60"/>
                      <a:pt x="34" y="60"/>
                    </a:cubicBezTo>
                    <a:cubicBezTo>
                      <a:pt x="34" y="60"/>
                      <a:pt x="34" y="60"/>
                      <a:pt x="34" y="60"/>
                    </a:cubicBezTo>
                    <a:cubicBezTo>
                      <a:pt x="34" y="61"/>
                      <a:pt x="31" y="60"/>
                      <a:pt x="30" y="61"/>
                    </a:cubicBezTo>
                    <a:cubicBezTo>
                      <a:pt x="31" y="61"/>
                      <a:pt x="35" y="61"/>
                      <a:pt x="36" y="62"/>
                    </a:cubicBezTo>
                    <a:cubicBezTo>
                      <a:pt x="36" y="62"/>
                      <a:pt x="31" y="65"/>
                      <a:pt x="32" y="65"/>
                    </a:cubicBezTo>
                    <a:cubicBezTo>
                      <a:pt x="32" y="66"/>
                      <a:pt x="37" y="65"/>
                      <a:pt x="37" y="65"/>
                    </a:cubicBezTo>
                    <a:cubicBezTo>
                      <a:pt x="37" y="65"/>
                      <a:pt x="36" y="65"/>
                      <a:pt x="36" y="65"/>
                    </a:cubicBezTo>
                    <a:cubicBezTo>
                      <a:pt x="36" y="66"/>
                      <a:pt x="41" y="65"/>
                      <a:pt x="42" y="64"/>
                    </a:cubicBezTo>
                    <a:cubicBezTo>
                      <a:pt x="42" y="64"/>
                      <a:pt x="46" y="59"/>
                      <a:pt x="47" y="60"/>
                    </a:cubicBezTo>
                    <a:cubicBezTo>
                      <a:pt x="48" y="61"/>
                      <a:pt x="40" y="67"/>
                      <a:pt x="38" y="68"/>
                    </a:cubicBezTo>
                    <a:cubicBezTo>
                      <a:pt x="35" y="68"/>
                      <a:pt x="33" y="68"/>
                      <a:pt x="30" y="66"/>
                    </a:cubicBezTo>
                    <a:cubicBezTo>
                      <a:pt x="28" y="65"/>
                      <a:pt x="28" y="63"/>
                      <a:pt x="26" y="63"/>
                    </a:cubicBezTo>
                    <a:cubicBezTo>
                      <a:pt x="24" y="62"/>
                      <a:pt x="22" y="62"/>
                      <a:pt x="20" y="62"/>
                    </a:cubicBezTo>
                    <a:cubicBezTo>
                      <a:pt x="17" y="62"/>
                      <a:pt x="17" y="63"/>
                      <a:pt x="19" y="65"/>
                    </a:cubicBezTo>
                    <a:cubicBezTo>
                      <a:pt x="20" y="66"/>
                      <a:pt x="20" y="67"/>
                      <a:pt x="22" y="67"/>
                    </a:cubicBezTo>
                    <a:cubicBezTo>
                      <a:pt x="25" y="67"/>
                      <a:pt x="22" y="67"/>
                      <a:pt x="22" y="68"/>
                    </a:cubicBezTo>
                    <a:cubicBezTo>
                      <a:pt x="22" y="68"/>
                      <a:pt x="26" y="70"/>
                      <a:pt x="26" y="7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7" name="Freeform 604">
                <a:extLst>
                  <a:ext uri="{FF2B5EF4-FFF2-40B4-BE49-F238E27FC236}">
                    <a16:creationId xmlns:a16="http://schemas.microsoft.com/office/drawing/2014/main" id="{857C1313-94AE-1643-A46D-264787C2F9CB}"/>
                  </a:ext>
                </a:extLst>
              </p:cNvPr>
              <p:cNvSpPr>
                <a:spLocks/>
              </p:cNvSpPr>
              <p:nvPr/>
            </p:nvSpPr>
            <p:spPr bwMode="auto">
              <a:xfrm>
                <a:off x="8101466" y="4187857"/>
                <a:ext cx="130574" cy="47785"/>
              </a:xfrm>
              <a:custGeom>
                <a:avLst/>
                <a:gdLst>
                  <a:gd name="T0" fmla="*/ 13 w 14"/>
                  <a:gd name="T1" fmla="*/ 4 h 5"/>
                  <a:gd name="T2" fmla="*/ 11 w 14"/>
                  <a:gd name="T3" fmla="*/ 2 h 5"/>
                  <a:gd name="T4" fmla="*/ 8 w 14"/>
                  <a:gd name="T5" fmla="*/ 2 h 5"/>
                  <a:gd name="T6" fmla="*/ 1 w 14"/>
                  <a:gd name="T7" fmla="*/ 1 h 5"/>
                  <a:gd name="T8" fmla="*/ 2 w 14"/>
                  <a:gd name="T9" fmla="*/ 2 h 5"/>
                  <a:gd name="T10" fmla="*/ 0 w 14"/>
                  <a:gd name="T11" fmla="*/ 3 h 5"/>
                  <a:gd name="T12" fmla="*/ 3 w 14"/>
                  <a:gd name="T13" fmla="*/ 3 h 5"/>
                  <a:gd name="T14" fmla="*/ 8 w 14"/>
                  <a:gd name="T15" fmla="*/ 4 h 5"/>
                  <a:gd name="T16" fmla="*/ 13 w 14"/>
                  <a:gd name="T17" fmla="*/ 4 h 5"/>
                  <a:gd name="T18" fmla="*/ 13 w 14"/>
                  <a:gd name="T1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5">
                    <a:moveTo>
                      <a:pt x="13" y="4"/>
                    </a:moveTo>
                    <a:cubicBezTo>
                      <a:pt x="12" y="3"/>
                      <a:pt x="13" y="3"/>
                      <a:pt x="11" y="2"/>
                    </a:cubicBezTo>
                    <a:cubicBezTo>
                      <a:pt x="10" y="2"/>
                      <a:pt x="9" y="2"/>
                      <a:pt x="8" y="2"/>
                    </a:cubicBezTo>
                    <a:cubicBezTo>
                      <a:pt x="7" y="2"/>
                      <a:pt x="2" y="0"/>
                      <a:pt x="1" y="1"/>
                    </a:cubicBezTo>
                    <a:cubicBezTo>
                      <a:pt x="1" y="1"/>
                      <a:pt x="3" y="2"/>
                      <a:pt x="2" y="2"/>
                    </a:cubicBezTo>
                    <a:cubicBezTo>
                      <a:pt x="2" y="3"/>
                      <a:pt x="0" y="4"/>
                      <a:pt x="0" y="3"/>
                    </a:cubicBezTo>
                    <a:cubicBezTo>
                      <a:pt x="0" y="4"/>
                      <a:pt x="2" y="3"/>
                      <a:pt x="3" y="3"/>
                    </a:cubicBezTo>
                    <a:cubicBezTo>
                      <a:pt x="4" y="3"/>
                      <a:pt x="6" y="4"/>
                      <a:pt x="8" y="4"/>
                    </a:cubicBezTo>
                    <a:cubicBezTo>
                      <a:pt x="9" y="4"/>
                      <a:pt x="13" y="4"/>
                      <a:pt x="13" y="4"/>
                    </a:cubicBezTo>
                    <a:cubicBezTo>
                      <a:pt x="12" y="3"/>
                      <a:pt x="14" y="5"/>
                      <a:pt x="13"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8" name="Freeform 605">
                <a:extLst>
                  <a:ext uri="{FF2B5EF4-FFF2-40B4-BE49-F238E27FC236}">
                    <a16:creationId xmlns:a16="http://schemas.microsoft.com/office/drawing/2014/main" id="{9D157FE7-AD70-D245-BBAB-D44482F5CC4C}"/>
                  </a:ext>
                </a:extLst>
              </p:cNvPr>
              <p:cNvSpPr>
                <a:spLocks/>
              </p:cNvSpPr>
              <p:nvPr/>
            </p:nvSpPr>
            <p:spPr bwMode="auto">
              <a:xfrm>
                <a:off x="7738407" y="4226081"/>
                <a:ext cx="54142" cy="19114"/>
              </a:xfrm>
              <a:custGeom>
                <a:avLst/>
                <a:gdLst>
                  <a:gd name="T0" fmla="*/ 5 w 6"/>
                  <a:gd name="T1" fmla="*/ 1 h 2"/>
                  <a:gd name="T2" fmla="*/ 2 w 6"/>
                  <a:gd name="T3" fmla="*/ 0 h 2"/>
                  <a:gd name="T4" fmla="*/ 5 w 6"/>
                  <a:gd name="T5" fmla="*/ 1 h 2"/>
                </a:gdLst>
                <a:ahLst/>
                <a:cxnLst>
                  <a:cxn ang="0">
                    <a:pos x="T0" y="T1"/>
                  </a:cxn>
                  <a:cxn ang="0">
                    <a:pos x="T2" y="T3"/>
                  </a:cxn>
                  <a:cxn ang="0">
                    <a:pos x="T4" y="T5"/>
                  </a:cxn>
                </a:cxnLst>
                <a:rect l="0" t="0" r="r" b="b"/>
                <a:pathLst>
                  <a:path w="6" h="2">
                    <a:moveTo>
                      <a:pt x="5" y="1"/>
                    </a:moveTo>
                    <a:cubicBezTo>
                      <a:pt x="4" y="2"/>
                      <a:pt x="0" y="0"/>
                      <a:pt x="2" y="0"/>
                    </a:cubicBezTo>
                    <a:cubicBezTo>
                      <a:pt x="3"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29" name="Freeform 606">
                <a:extLst>
                  <a:ext uri="{FF2B5EF4-FFF2-40B4-BE49-F238E27FC236}">
                    <a16:creationId xmlns:a16="http://schemas.microsoft.com/office/drawing/2014/main" id="{D69151CA-0CDB-A440-935E-C65652B48338}"/>
                  </a:ext>
                </a:extLst>
              </p:cNvPr>
              <p:cNvSpPr>
                <a:spLocks/>
              </p:cNvSpPr>
              <p:nvPr/>
            </p:nvSpPr>
            <p:spPr bwMode="auto">
              <a:xfrm>
                <a:off x="7980446" y="4515968"/>
                <a:ext cx="54142" cy="28672"/>
              </a:xfrm>
              <a:custGeom>
                <a:avLst/>
                <a:gdLst>
                  <a:gd name="T0" fmla="*/ 4 w 6"/>
                  <a:gd name="T1" fmla="*/ 1 h 3"/>
                  <a:gd name="T2" fmla="*/ 1 w 6"/>
                  <a:gd name="T3" fmla="*/ 2 h 3"/>
                  <a:gd name="T4" fmla="*/ 4 w 6"/>
                  <a:gd name="T5" fmla="*/ 1 h 3"/>
                </a:gdLst>
                <a:ahLst/>
                <a:cxnLst>
                  <a:cxn ang="0">
                    <a:pos x="T0" y="T1"/>
                  </a:cxn>
                  <a:cxn ang="0">
                    <a:pos x="T2" y="T3"/>
                  </a:cxn>
                  <a:cxn ang="0">
                    <a:pos x="T4" y="T5"/>
                  </a:cxn>
                </a:cxnLst>
                <a:rect l="0" t="0" r="r" b="b"/>
                <a:pathLst>
                  <a:path w="6" h="3">
                    <a:moveTo>
                      <a:pt x="4" y="1"/>
                    </a:moveTo>
                    <a:cubicBezTo>
                      <a:pt x="3" y="0"/>
                      <a:pt x="0" y="2"/>
                      <a:pt x="1" y="2"/>
                    </a:cubicBezTo>
                    <a:cubicBezTo>
                      <a:pt x="2" y="3"/>
                      <a:pt x="6"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0" name="Freeform 607">
                <a:extLst>
                  <a:ext uri="{FF2B5EF4-FFF2-40B4-BE49-F238E27FC236}">
                    <a16:creationId xmlns:a16="http://schemas.microsoft.com/office/drawing/2014/main" id="{5B77CAB5-8B79-A44B-A7DC-1FB23EBABF05}"/>
                  </a:ext>
                </a:extLst>
              </p:cNvPr>
              <p:cNvSpPr>
                <a:spLocks/>
              </p:cNvSpPr>
              <p:nvPr/>
            </p:nvSpPr>
            <p:spPr bwMode="auto">
              <a:xfrm>
                <a:off x="4805282" y="5815671"/>
                <a:ext cx="47770" cy="38227"/>
              </a:xfrm>
              <a:custGeom>
                <a:avLst/>
                <a:gdLst>
                  <a:gd name="T0" fmla="*/ 4 w 5"/>
                  <a:gd name="T1" fmla="*/ 1 h 4"/>
                  <a:gd name="T2" fmla="*/ 1 w 5"/>
                  <a:gd name="T3" fmla="*/ 4 h 4"/>
                  <a:gd name="T4" fmla="*/ 4 w 5"/>
                  <a:gd name="T5" fmla="*/ 1 h 4"/>
                </a:gdLst>
                <a:ahLst/>
                <a:cxnLst>
                  <a:cxn ang="0">
                    <a:pos x="T0" y="T1"/>
                  </a:cxn>
                  <a:cxn ang="0">
                    <a:pos x="T2" y="T3"/>
                  </a:cxn>
                  <a:cxn ang="0">
                    <a:pos x="T4" y="T5"/>
                  </a:cxn>
                </a:cxnLst>
                <a:rect l="0" t="0" r="r" b="b"/>
                <a:pathLst>
                  <a:path w="5" h="4">
                    <a:moveTo>
                      <a:pt x="4" y="1"/>
                    </a:moveTo>
                    <a:cubicBezTo>
                      <a:pt x="3" y="0"/>
                      <a:pt x="0" y="4"/>
                      <a:pt x="1" y="4"/>
                    </a:cubicBezTo>
                    <a:cubicBezTo>
                      <a:pt x="1" y="4"/>
                      <a:pt x="5"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1" name="Freeform 608">
                <a:extLst>
                  <a:ext uri="{FF2B5EF4-FFF2-40B4-BE49-F238E27FC236}">
                    <a16:creationId xmlns:a16="http://schemas.microsoft.com/office/drawing/2014/main" id="{4F9BF6EB-094B-7049-AF0E-F01E081671D8}"/>
                  </a:ext>
                </a:extLst>
              </p:cNvPr>
              <p:cNvSpPr>
                <a:spLocks/>
              </p:cNvSpPr>
              <p:nvPr/>
            </p:nvSpPr>
            <p:spPr bwMode="auto">
              <a:xfrm>
                <a:off x="4872164" y="5806113"/>
                <a:ext cx="9556" cy="955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1"/>
                      <a:pt x="1" y="1"/>
                      <a:pt x="1" y="1"/>
                    </a:cubicBezTo>
                    <a:cubicBezTo>
                      <a:pt x="1" y="0"/>
                      <a:pt x="0" y="0"/>
                      <a:pt x="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2" name="Freeform 609">
                <a:extLst>
                  <a:ext uri="{FF2B5EF4-FFF2-40B4-BE49-F238E27FC236}">
                    <a16:creationId xmlns:a16="http://schemas.microsoft.com/office/drawing/2014/main" id="{726F5D26-F3BD-0B47-AC1B-0CC9482A1918}"/>
                  </a:ext>
                </a:extLst>
              </p:cNvPr>
              <p:cNvSpPr>
                <a:spLocks/>
              </p:cNvSpPr>
              <p:nvPr/>
            </p:nvSpPr>
            <p:spPr bwMode="auto">
              <a:xfrm>
                <a:off x="3919931" y="5815671"/>
                <a:ext cx="63695" cy="57338"/>
              </a:xfrm>
              <a:custGeom>
                <a:avLst/>
                <a:gdLst>
                  <a:gd name="T0" fmla="*/ 5 w 7"/>
                  <a:gd name="T1" fmla="*/ 2 h 6"/>
                  <a:gd name="T2" fmla="*/ 1 w 7"/>
                  <a:gd name="T3" fmla="*/ 2 h 6"/>
                  <a:gd name="T4" fmla="*/ 5 w 7"/>
                  <a:gd name="T5" fmla="*/ 2 h 6"/>
                  <a:gd name="T6" fmla="*/ 5 w 7"/>
                  <a:gd name="T7" fmla="*/ 2 h 6"/>
                </a:gdLst>
                <a:ahLst/>
                <a:cxnLst>
                  <a:cxn ang="0">
                    <a:pos x="T0" y="T1"/>
                  </a:cxn>
                  <a:cxn ang="0">
                    <a:pos x="T2" y="T3"/>
                  </a:cxn>
                  <a:cxn ang="0">
                    <a:pos x="T4" y="T5"/>
                  </a:cxn>
                  <a:cxn ang="0">
                    <a:pos x="T6" y="T7"/>
                  </a:cxn>
                </a:cxnLst>
                <a:rect l="0" t="0" r="r" b="b"/>
                <a:pathLst>
                  <a:path w="7" h="6">
                    <a:moveTo>
                      <a:pt x="5" y="2"/>
                    </a:moveTo>
                    <a:cubicBezTo>
                      <a:pt x="7" y="0"/>
                      <a:pt x="2" y="0"/>
                      <a:pt x="1" y="2"/>
                    </a:cubicBezTo>
                    <a:cubicBezTo>
                      <a:pt x="0" y="3"/>
                      <a:pt x="4" y="5"/>
                      <a:pt x="5" y="2"/>
                    </a:cubicBezTo>
                    <a:cubicBezTo>
                      <a:pt x="6" y="1"/>
                      <a:pt x="3" y="6"/>
                      <a:pt x="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3" name="Freeform 610">
                <a:extLst>
                  <a:ext uri="{FF2B5EF4-FFF2-40B4-BE49-F238E27FC236}">
                    <a16:creationId xmlns:a16="http://schemas.microsoft.com/office/drawing/2014/main" id="{7DCA656D-7181-B34D-8B49-9DAA88B9184E}"/>
                  </a:ext>
                </a:extLst>
              </p:cNvPr>
              <p:cNvSpPr>
                <a:spLocks/>
              </p:cNvSpPr>
              <p:nvPr/>
            </p:nvSpPr>
            <p:spPr bwMode="auto">
              <a:xfrm>
                <a:off x="17661981" y="9138193"/>
                <a:ext cx="19109" cy="9558"/>
              </a:xfrm>
              <a:custGeom>
                <a:avLst/>
                <a:gdLst>
                  <a:gd name="T0" fmla="*/ 2 w 2"/>
                  <a:gd name="T1" fmla="*/ 0 h 1"/>
                  <a:gd name="T2" fmla="*/ 0 w 2"/>
                  <a:gd name="T3" fmla="*/ 0 h 1"/>
                  <a:gd name="T4" fmla="*/ 2 w 2"/>
                  <a:gd name="T5" fmla="*/ 0 h 1"/>
                </a:gdLst>
                <a:ahLst/>
                <a:cxnLst>
                  <a:cxn ang="0">
                    <a:pos x="T0" y="T1"/>
                  </a:cxn>
                  <a:cxn ang="0">
                    <a:pos x="T2" y="T3"/>
                  </a:cxn>
                  <a:cxn ang="0">
                    <a:pos x="T4" y="T5"/>
                  </a:cxn>
                </a:cxnLst>
                <a:rect l="0" t="0" r="r" b="b"/>
                <a:pathLst>
                  <a:path w="2" h="1">
                    <a:moveTo>
                      <a:pt x="2" y="0"/>
                    </a:moveTo>
                    <a:cubicBezTo>
                      <a:pt x="2" y="1"/>
                      <a:pt x="0" y="0"/>
                      <a:pt x="0" y="0"/>
                    </a:cubicBezTo>
                    <a:cubicBezTo>
                      <a:pt x="1"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4" name="Freeform 611">
                <a:extLst>
                  <a:ext uri="{FF2B5EF4-FFF2-40B4-BE49-F238E27FC236}">
                    <a16:creationId xmlns:a16="http://schemas.microsoft.com/office/drawing/2014/main" id="{7A774192-1556-CF4C-B43D-C821F260EF1B}"/>
                  </a:ext>
                </a:extLst>
              </p:cNvPr>
              <p:cNvSpPr>
                <a:spLocks/>
              </p:cNvSpPr>
              <p:nvPr/>
            </p:nvSpPr>
            <p:spPr bwMode="auto">
              <a:xfrm>
                <a:off x="17540962" y="9119079"/>
                <a:ext cx="19109" cy="19114"/>
              </a:xfrm>
              <a:custGeom>
                <a:avLst/>
                <a:gdLst>
                  <a:gd name="T0" fmla="*/ 2 w 2"/>
                  <a:gd name="T1" fmla="*/ 0 h 2"/>
                  <a:gd name="T2" fmla="*/ 0 w 2"/>
                  <a:gd name="T3" fmla="*/ 1 h 2"/>
                  <a:gd name="T4" fmla="*/ 2 w 2"/>
                  <a:gd name="T5" fmla="*/ 0 h 2"/>
                </a:gdLst>
                <a:ahLst/>
                <a:cxnLst>
                  <a:cxn ang="0">
                    <a:pos x="T0" y="T1"/>
                  </a:cxn>
                  <a:cxn ang="0">
                    <a:pos x="T2" y="T3"/>
                  </a:cxn>
                  <a:cxn ang="0">
                    <a:pos x="T4" y="T5"/>
                  </a:cxn>
                </a:cxnLst>
                <a:rect l="0" t="0" r="r" b="b"/>
                <a:pathLst>
                  <a:path w="2" h="2">
                    <a:moveTo>
                      <a:pt x="2" y="0"/>
                    </a:moveTo>
                    <a:cubicBezTo>
                      <a:pt x="2" y="1"/>
                      <a:pt x="0" y="2"/>
                      <a:pt x="0" y="1"/>
                    </a:cubicBezTo>
                    <a:cubicBezTo>
                      <a:pt x="0" y="0"/>
                      <a:pt x="2"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5" name="Freeform 612">
                <a:extLst>
                  <a:ext uri="{FF2B5EF4-FFF2-40B4-BE49-F238E27FC236}">
                    <a16:creationId xmlns:a16="http://schemas.microsoft.com/office/drawing/2014/main" id="{F6BEAFAA-575E-E846-AFFC-EA7E3BEF7F21}"/>
                  </a:ext>
                </a:extLst>
              </p:cNvPr>
              <p:cNvSpPr>
                <a:spLocks/>
              </p:cNvSpPr>
              <p:nvPr/>
            </p:nvSpPr>
            <p:spPr bwMode="auto">
              <a:xfrm>
                <a:off x="17961345" y="10785121"/>
                <a:ext cx="63695" cy="47785"/>
              </a:xfrm>
              <a:custGeom>
                <a:avLst/>
                <a:gdLst>
                  <a:gd name="T0" fmla="*/ 6 w 7"/>
                  <a:gd name="T1" fmla="*/ 2 h 5"/>
                  <a:gd name="T2" fmla="*/ 1 w 7"/>
                  <a:gd name="T3" fmla="*/ 2 h 5"/>
                  <a:gd name="T4" fmla="*/ 6 w 7"/>
                  <a:gd name="T5" fmla="*/ 2 h 5"/>
                </a:gdLst>
                <a:ahLst/>
                <a:cxnLst>
                  <a:cxn ang="0">
                    <a:pos x="T0" y="T1"/>
                  </a:cxn>
                  <a:cxn ang="0">
                    <a:pos x="T2" y="T3"/>
                  </a:cxn>
                  <a:cxn ang="0">
                    <a:pos x="T4" y="T5"/>
                  </a:cxn>
                </a:cxnLst>
                <a:rect l="0" t="0" r="r" b="b"/>
                <a:pathLst>
                  <a:path w="7" h="5">
                    <a:moveTo>
                      <a:pt x="6" y="2"/>
                    </a:moveTo>
                    <a:cubicBezTo>
                      <a:pt x="7" y="0"/>
                      <a:pt x="0" y="1"/>
                      <a:pt x="1" y="2"/>
                    </a:cubicBezTo>
                    <a:cubicBezTo>
                      <a:pt x="1" y="3"/>
                      <a:pt x="5" y="5"/>
                      <a:pt x="6"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6" name="Rectangle 613">
                <a:extLst>
                  <a:ext uri="{FF2B5EF4-FFF2-40B4-BE49-F238E27FC236}">
                    <a16:creationId xmlns:a16="http://schemas.microsoft.com/office/drawing/2014/main" id="{570F7D0E-B615-0D4B-B7D8-3FD2C7643E6F}"/>
                  </a:ext>
                </a:extLst>
              </p:cNvPr>
              <p:cNvSpPr>
                <a:spLocks noChangeArrowheads="1"/>
              </p:cNvSpPr>
              <p:nvPr/>
            </p:nvSpPr>
            <p:spPr bwMode="auto">
              <a:xfrm>
                <a:off x="12451788" y="5197675"/>
                <a:ext cx="3187" cy="3188"/>
              </a:xfrm>
              <a:prstGeom prst="rect">
                <a:avLst/>
              </a:pr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7" name="Freeform 614">
                <a:extLst>
                  <a:ext uri="{FF2B5EF4-FFF2-40B4-BE49-F238E27FC236}">
                    <a16:creationId xmlns:a16="http://schemas.microsoft.com/office/drawing/2014/main" id="{06730383-E34B-9B42-A028-DEFBCDAC14FD}"/>
                  </a:ext>
                </a:extLst>
              </p:cNvPr>
              <p:cNvSpPr>
                <a:spLocks/>
              </p:cNvSpPr>
              <p:nvPr/>
            </p:nvSpPr>
            <p:spPr bwMode="auto">
              <a:xfrm>
                <a:off x="9257516" y="10504795"/>
                <a:ext cx="95541" cy="82827"/>
              </a:xfrm>
              <a:custGeom>
                <a:avLst/>
                <a:gdLst>
                  <a:gd name="T0" fmla="*/ 4 w 10"/>
                  <a:gd name="T1" fmla="*/ 4 h 9"/>
                  <a:gd name="T2" fmla="*/ 0 w 10"/>
                  <a:gd name="T3" fmla="*/ 8 h 9"/>
                  <a:gd name="T4" fmla="*/ 2 w 10"/>
                  <a:gd name="T5" fmla="*/ 8 h 9"/>
                  <a:gd name="T6" fmla="*/ 5 w 10"/>
                  <a:gd name="T7" fmla="*/ 5 h 9"/>
                  <a:gd name="T8" fmla="*/ 8 w 10"/>
                  <a:gd name="T9" fmla="*/ 0 h 9"/>
                  <a:gd name="T10" fmla="*/ 4 w 10"/>
                  <a:gd name="T11" fmla="*/ 4 h 9"/>
                  <a:gd name="T12" fmla="*/ 4 w 10"/>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4" y="4"/>
                    </a:moveTo>
                    <a:cubicBezTo>
                      <a:pt x="4" y="5"/>
                      <a:pt x="1" y="7"/>
                      <a:pt x="0" y="8"/>
                    </a:cubicBezTo>
                    <a:cubicBezTo>
                      <a:pt x="0" y="9"/>
                      <a:pt x="2" y="8"/>
                      <a:pt x="2" y="8"/>
                    </a:cubicBezTo>
                    <a:cubicBezTo>
                      <a:pt x="3" y="7"/>
                      <a:pt x="4" y="6"/>
                      <a:pt x="5" y="5"/>
                    </a:cubicBezTo>
                    <a:cubicBezTo>
                      <a:pt x="6" y="4"/>
                      <a:pt x="10" y="0"/>
                      <a:pt x="8" y="0"/>
                    </a:cubicBezTo>
                    <a:cubicBezTo>
                      <a:pt x="7" y="0"/>
                      <a:pt x="4" y="3"/>
                      <a:pt x="4" y="4"/>
                    </a:cubicBezTo>
                    <a:cubicBezTo>
                      <a:pt x="4" y="5"/>
                      <a:pt x="4" y="3"/>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8" name="Freeform 615">
                <a:extLst>
                  <a:ext uri="{FF2B5EF4-FFF2-40B4-BE49-F238E27FC236}">
                    <a16:creationId xmlns:a16="http://schemas.microsoft.com/office/drawing/2014/main" id="{1A7048B1-C3F7-9F4B-8D88-2EB0BAFC2D03}"/>
                  </a:ext>
                </a:extLst>
              </p:cNvPr>
              <p:cNvSpPr>
                <a:spLocks/>
              </p:cNvSpPr>
              <p:nvPr/>
            </p:nvSpPr>
            <p:spPr bwMode="auto">
              <a:xfrm>
                <a:off x="7821211" y="6733109"/>
                <a:ext cx="66879" cy="28672"/>
              </a:xfrm>
              <a:custGeom>
                <a:avLst/>
                <a:gdLst>
                  <a:gd name="T0" fmla="*/ 7 w 7"/>
                  <a:gd name="T1" fmla="*/ 1 h 3"/>
                  <a:gd name="T2" fmla="*/ 1 w 7"/>
                  <a:gd name="T3" fmla="*/ 0 h 3"/>
                  <a:gd name="T4" fmla="*/ 7 w 7"/>
                  <a:gd name="T5" fmla="*/ 1 h 3"/>
                </a:gdLst>
                <a:ahLst/>
                <a:cxnLst>
                  <a:cxn ang="0">
                    <a:pos x="T0" y="T1"/>
                  </a:cxn>
                  <a:cxn ang="0">
                    <a:pos x="T2" y="T3"/>
                  </a:cxn>
                  <a:cxn ang="0">
                    <a:pos x="T4" y="T5"/>
                  </a:cxn>
                </a:cxnLst>
                <a:rect l="0" t="0" r="r" b="b"/>
                <a:pathLst>
                  <a:path w="7" h="3">
                    <a:moveTo>
                      <a:pt x="7" y="1"/>
                    </a:moveTo>
                    <a:cubicBezTo>
                      <a:pt x="7" y="0"/>
                      <a:pt x="0" y="0"/>
                      <a:pt x="1" y="0"/>
                    </a:cubicBezTo>
                    <a:cubicBezTo>
                      <a:pt x="2" y="0"/>
                      <a:pt x="6" y="3"/>
                      <a:pt x="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39" name="Freeform 616">
                <a:extLst>
                  <a:ext uri="{FF2B5EF4-FFF2-40B4-BE49-F238E27FC236}">
                    <a16:creationId xmlns:a16="http://schemas.microsoft.com/office/drawing/2014/main" id="{F80E96BC-6452-404C-AECA-8A128BFEEE1E}"/>
                  </a:ext>
                </a:extLst>
              </p:cNvPr>
              <p:cNvSpPr>
                <a:spLocks/>
              </p:cNvSpPr>
              <p:nvPr/>
            </p:nvSpPr>
            <p:spPr bwMode="auto">
              <a:xfrm>
                <a:off x="8483629" y="11766268"/>
                <a:ext cx="168791" cy="149721"/>
              </a:xfrm>
              <a:custGeom>
                <a:avLst/>
                <a:gdLst>
                  <a:gd name="T0" fmla="*/ 17 w 18"/>
                  <a:gd name="T1" fmla="*/ 14 h 16"/>
                  <a:gd name="T2" fmla="*/ 8 w 18"/>
                  <a:gd name="T3" fmla="*/ 9 h 16"/>
                  <a:gd name="T4" fmla="*/ 4 w 18"/>
                  <a:gd name="T5" fmla="*/ 5 h 16"/>
                  <a:gd name="T6" fmla="*/ 1 w 18"/>
                  <a:gd name="T7" fmla="*/ 3 h 16"/>
                  <a:gd name="T8" fmla="*/ 2 w 18"/>
                  <a:gd name="T9" fmla="*/ 2 h 16"/>
                  <a:gd name="T10" fmla="*/ 0 w 18"/>
                  <a:gd name="T11" fmla="*/ 0 h 16"/>
                  <a:gd name="T12" fmla="*/ 0 w 18"/>
                  <a:gd name="T13" fmla="*/ 14 h 16"/>
                  <a:gd name="T14" fmla="*/ 7 w 18"/>
                  <a:gd name="T15" fmla="*/ 15 h 16"/>
                  <a:gd name="T16" fmla="*/ 10 w 18"/>
                  <a:gd name="T17" fmla="*/ 16 h 16"/>
                  <a:gd name="T18" fmla="*/ 13 w 18"/>
                  <a:gd name="T19" fmla="*/ 15 h 16"/>
                  <a:gd name="T20" fmla="*/ 18 w 18"/>
                  <a:gd name="T21" fmla="*/ 14 h 16"/>
                  <a:gd name="T22" fmla="*/ 17 w 18"/>
                  <a:gd name="T2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7" y="14"/>
                    </a:moveTo>
                    <a:cubicBezTo>
                      <a:pt x="13" y="14"/>
                      <a:pt x="11" y="11"/>
                      <a:pt x="8" y="9"/>
                    </a:cubicBezTo>
                    <a:cubicBezTo>
                      <a:pt x="7" y="7"/>
                      <a:pt x="5" y="6"/>
                      <a:pt x="4" y="5"/>
                    </a:cubicBezTo>
                    <a:cubicBezTo>
                      <a:pt x="3" y="5"/>
                      <a:pt x="1" y="4"/>
                      <a:pt x="1" y="3"/>
                    </a:cubicBezTo>
                    <a:cubicBezTo>
                      <a:pt x="1" y="3"/>
                      <a:pt x="2" y="3"/>
                      <a:pt x="2" y="2"/>
                    </a:cubicBezTo>
                    <a:cubicBezTo>
                      <a:pt x="3" y="2"/>
                      <a:pt x="1" y="0"/>
                      <a:pt x="0" y="0"/>
                    </a:cubicBezTo>
                    <a:cubicBezTo>
                      <a:pt x="0" y="5"/>
                      <a:pt x="0" y="10"/>
                      <a:pt x="0" y="14"/>
                    </a:cubicBezTo>
                    <a:cubicBezTo>
                      <a:pt x="0" y="15"/>
                      <a:pt x="6" y="15"/>
                      <a:pt x="7" y="15"/>
                    </a:cubicBezTo>
                    <a:cubicBezTo>
                      <a:pt x="8" y="15"/>
                      <a:pt x="9" y="15"/>
                      <a:pt x="10" y="16"/>
                    </a:cubicBezTo>
                    <a:cubicBezTo>
                      <a:pt x="12" y="16"/>
                      <a:pt x="12" y="16"/>
                      <a:pt x="13" y="15"/>
                    </a:cubicBezTo>
                    <a:cubicBezTo>
                      <a:pt x="14" y="15"/>
                      <a:pt x="18" y="15"/>
                      <a:pt x="18" y="14"/>
                    </a:cubicBezTo>
                    <a:cubicBezTo>
                      <a:pt x="18" y="14"/>
                      <a:pt x="18" y="13"/>
                      <a:pt x="17"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0" name="Freeform 617">
                <a:extLst>
                  <a:ext uri="{FF2B5EF4-FFF2-40B4-BE49-F238E27FC236}">
                    <a16:creationId xmlns:a16="http://schemas.microsoft.com/office/drawing/2014/main" id="{A7682532-4B84-8146-BFAA-58C7EC92811E}"/>
                  </a:ext>
                </a:extLst>
              </p:cNvPr>
              <p:cNvSpPr>
                <a:spLocks/>
              </p:cNvSpPr>
              <p:nvPr/>
            </p:nvSpPr>
            <p:spPr bwMode="auto">
              <a:xfrm>
                <a:off x="8305288" y="11747159"/>
                <a:ext cx="280256" cy="216615"/>
              </a:xfrm>
              <a:custGeom>
                <a:avLst/>
                <a:gdLst>
                  <a:gd name="T0" fmla="*/ 19 w 30"/>
                  <a:gd name="T1" fmla="*/ 17 h 23"/>
                  <a:gd name="T2" fmla="*/ 19 w 30"/>
                  <a:gd name="T3" fmla="*/ 7 h 23"/>
                  <a:gd name="T4" fmla="*/ 19 w 30"/>
                  <a:gd name="T5" fmla="*/ 3 h 23"/>
                  <a:gd name="T6" fmla="*/ 15 w 30"/>
                  <a:gd name="T7" fmla="*/ 1 h 23"/>
                  <a:gd name="T8" fmla="*/ 12 w 30"/>
                  <a:gd name="T9" fmla="*/ 3 h 23"/>
                  <a:gd name="T10" fmla="*/ 13 w 30"/>
                  <a:gd name="T11" fmla="*/ 6 h 23"/>
                  <a:gd name="T12" fmla="*/ 15 w 30"/>
                  <a:gd name="T13" fmla="*/ 6 h 23"/>
                  <a:gd name="T14" fmla="*/ 14 w 30"/>
                  <a:gd name="T15" fmla="*/ 8 h 23"/>
                  <a:gd name="T16" fmla="*/ 13 w 30"/>
                  <a:gd name="T17" fmla="*/ 11 h 23"/>
                  <a:gd name="T18" fmla="*/ 16 w 30"/>
                  <a:gd name="T19" fmla="*/ 13 h 23"/>
                  <a:gd name="T20" fmla="*/ 12 w 30"/>
                  <a:gd name="T21" fmla="*/ 13 h 23"/>
                  <a:gd name="T22" fmla="*/ 9 w 30"/>
                  <a:gd name="T23" fmla="*/ 12 h 23"/>
                  <a:gd name="T24" fmla="*/ 10 w 30"/>
                  <a:gd name="T25" fmla="*/ 12 h 23"/>
                  <a:gd name="T26" fmla="*/ 10 w 30"/>
                  <a:gd name="T27" fmla="*/ 9 h 23"/>
                  <a:gd name="T28" fmla="*/ 8 w 30"/>
                  <a:gd name="T29" fmla="*/ 11 h 23"/>
                  <a:gd name="T30" fmla="*/ 5 w 30"/>
                  <a:gd name="T31" fmla="*/ 11 h 23"/>
                  <a:gd name="T32" fmla="*/ 0 w 30"/>
                  <a:gd name="T33" fmla="*/ 12 h 23"/>
                  <a:gd name="T34" fmla="*/ 2 w 30"/>
                  <a:gd name="T35" fmla="*/ 12 h 23"/>
                  <a:gd name="T36" fmla="*/ 3 w 30"/>
                  <a:gd name="T37" fmla="*/ 12 h 23"/>
                  <a:gd name="T38" fmla="*/ 5 w 30"/>
                  <a:gd name="T39" fmla="*/ 12 h 23"/>
                  <a:gd name="T40" fmla="*/ 6 w 30"/>
                  <a:gd name="T41" fmla="*/ 13 h 23"/>
                  <a:gd name="T42" fmla="*/ 4 w 30"/>
                  <a:gd name="T43" fmla="*/ 15 h 23"/>
                  <a:gd name="T44" fmla="*/ 6 w 30"/>
                  <a:gd name="T45" fmla="*/ 15 h 23"/>
                  <a:gd name="T46" fmla="*/ 8 w 30"/>
                  <a:gd name="T47" fmla="*/ 16 h 23"/>
                  <a:gd name="T48" fmla="*/ 7 w 30"/>
                  <a:gd name="T49" fmla="*/ 16 h 23"/>
                  <a:gd name="T50" fmla="*/ 10 w 30"/>
                  <a:gd name="T51" fmla="*/ 17 h 23"/>
                  <a:gd name="T52" fmla="*/ 12 w 30"/>
                  <a:gd name="T53" fmla="*/ 17 h 23"/>
                  <a:gd name="T54" fmla="*/ 17 w 30"/>
                  <a:gd name="T55" fmla="*/ 21 h 23"/>
                  <a:gd name="T56" fmla="*/ 16 w 30"/>
                  <a:gd name="T57" fmla="*/ 20 h 23"/>
                  <a:gd name="T58" fmla="*/ 23 w 30"/>
                  <a:gd name="T59" fmla="*/ 23 h 23"/>
                  <a:gd name="T60" fmla="*/ 19 w 30"/>
                  <a:gd name="T61" fmla="*/ 18 h 23"/>
                  <a:gd name="T62" fmla="*/ 24 w 30"/>
                  <a:gd name="T63" fmla="*/ 19 h 23"/>
                  <a:gd name="T64" fmla="*/ 30 w 30"/>
                  <a:gd name="T65" fmla="*/ 18 h 23"/>
                  <a:gd name="T66" fmla="*/ 19 w 30"/>
                  <a:gd name="T67"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23">
                    <a:moveTo>
                      <a:pt x="19" y="17"/>
                    </a:moveTo>
                    <a:cubicBezTo>
                      <a:pt x="19" y="13"/>
                      <a:pt x="19" y="10"/>
                      <a:pt x="19" y="7"/>
                    </a:cubicBezTo>
                    <a:cubicBezTo>
                      <a:pt x="19" y="6"/>
                      <a:pt x="19" y="4"/>
                      <a:pt x="19" y="3"/>
                    </a:cubicBezTo>
                    <a:cubicBezTo>
                      <a:pt x="19" y="2"/>
                      <a:pt x="16" y="0"/>
                      <a:pt x="15" y="1"/>
                    </a:cubicBezTo>
                    <a:cubicBezTo>
                      <a:pt x="14" y="2"/>
                      <a:pt x="12" y="1"/>
                      <a:pt x="12" y="3"/>
                    </a:cubicBezTo>
                    <a:cubicBezTo>
                      <a:pt x="11" y="5"/>
                      <a:pt x="9" y="7"/>
                      <a:pt x="13" y="6"/>
                    </a:cubicBezTo>
                    <a:cubicBezTo>
                      <a:pt x="13" y="6"/>
                      <a:pt x="15" y="6"/>
                      <a:pt x="15" y="6"/>
                    </a:cubicBezTo>
                    <a:cubicBezTo>
                      <a:pt x="16" y="6"/>
                      <a:pt x="14" y="8"/>
                      <a:pt x="14" y="8"/>
                    </a:cubicBezTo>
                    <a:cubicBezTo>
                      <a:pt x="13" y="8"/>
                      <a:pt x="11" y="10"/>
                      <a:pt x="13" y="11"/>
                    </a:cubicBezTo>
                    <a:cubicBezTo>
                      <a:pt x="13" y="12"/>
                      <a:pt x="16" y="12"/>
                      <a:pt x="16" y="13"/>
                    </a:cubicBezTo>
                    <a:cubicBezTo>
                      <a:pt x="16" y="13"/>
                      <a:pt x="12" y="13"/>
                      <a:pt x="12" y="13"/>
                    </a:cubicBezTo>
                    <a:cubicBezTo>
                      <a:pt x="11" y="13"/>
                      <a:pt x="9" y="12"/>
                      <a:pt x="9" y="12"/>
                    </a:cubicBezTo>
                    <a:cubicBezTo>
                      <a:pt x="9" y="12"/>
                      <a:pt x="10" y="13"/>
                      <a:pt x="10" y="12"/>
                    </a:cubicBezTo>
                    <a:cubicBezTo>
                      <a:pt x="10" y="11"/>
                      <a:pt x="11" y="10"/>
                      <a:pt x="10" y="9"/>
                    </a:cubicBezTo>
                    <a:cubicBezTo>
                      <a:pt x="10" y="9"/>
                      <a:pt x="8" y="11"/>
                      <a:pt x="8" y="11"/>
                    </a:cubicBezTo>
                    <a:cubicBezTo>
                      <a:pt x="7" y="12"/>
                      <a:pt x="6" y="11"/>
                      <a:pt x="5" y="11"/>
                    </a:cubicBezTo>
                    <a:cubicBezTo>
                      <a:pt x="4" y="11"/>
                      <a:pt x="0" y="10"/>
                      <a:pt x="0" y="12"/>
                    </a:cubicBezTo>
                    <a:cubicBezTo>
                      <a:pt x="0" y="13"/>
                      <a:pt x="2" y="12"/>
                      <a:pt x="2" y="12"/>
                    </a:cubicBezTo>
                    <a:cubicBezTo>
                      <a:pt x="3" y="11"/>
                      <a:pt x="2" y="12"/>
                      <a:pt x="3" y="12"/>
                    </a:cubicBezTo>
                    <a:cubicBezTo>
                      <a:pt x="4" y="13"/>
                      <a:pt x="4" y="11"/>
                      <a:pt x="5" y="12"/>
                    </a:cubicBezTo>
                    <a:cubicBezTo>
                      <a:pt x="5" y="12"/>
                      <a:pt x="6" y="13"/>
                      <a:pt x="6" y="13"/>
                    </a:cubicBezTo>
                    <a:cubicBezTo>
                      <a:pt x="6" y="13"/>
                      <a:pt x="2" y="14"/>
                      <a:pt x="4" y="15"/>
                    </a:cubicBezTo>
                    <a:cubicBezTo>
                      <a:pt x="5" y="16"/>
                      <a:pt x="6" y="14"/>
                      <a:pt x="6" y="15"/>
                    </a:cubicBezTo>
                    <a:cubicBezTo>
                      <a:pt x="7" y="15"/>
                      <a:pt x="8" y="16"/>
                      <a:pt x="8" y="16"/>
                    </a:cubicBezTo>
                    <a:cubicBezTo>
                      <a:pt x="8" y="16"/>
                      <a:pt x="8" y="16"/>
                      <a:pt x="7" y="16"/>
                    </a:cubicBezTo>
                    <a:cubicBezTo>
                      <a:pt x="7" y="17"/>
                      <a:pt x="9" y="17"/>
                      <a:pt x="10" y="17"/>
                    </a:cubicBezTo>
                    <a:cubicBezTo>
                      <a:pt x="11" y="17"/>
                      <a:pt x="11" y="15"/>
                      <a:pt x="12" y="17"/>
                    </a:cubicBezTo>
                    <a:cubicBezTo>
                      <a:pt x="12" y="17"/>
                      <a:pt x="16" y="22"/>
                      <a:pt x="17" y="21"/>
                    </a:cubicBezTo>
                    <a:cubicBezTo>
                      <a:pt x="17" y="21"/>
                      <a:pt x="16" y="20"/>
                      <a:pt x="16" y="20"/>
                    </a:cubicBezTo>
                    <a:cubicBezTo>
                      <a:pt x="16" y="19"/>
                      <a:pt x="22" y="23"/>
                      <a:pt x="23" y="23"/>
                    </a:cubicBezTo>
                    <a:cubicBezTo>
                      <a:pt x="23" y="22"/>
                      <a:pt x="19" y="19"/>
                      <a:pt x="19" y="18"/>
                    </a:cubicBezTo>
                    <a:cubicBezTo>
                      <a:pt x="20" y="18"/>
                      <a:pt x="24" y="19"/>
                      <a:pt x="24" y="19"/>
                    </a:cubicBezTo>
                    <a:cubicBezTo>
                      <a:pt x="26" y="19"/>
                      <a:pt x="28" y="19"/>
                      <a:pt x="30" y="18"/>
                    </a:cubicBezTo>
                    <a:cubicBezTo>
                      <a:pt x="27" y="16"/>
                      <a:pt x="23" y="17"/>
                      <a:pt x="19"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1" name="Freeform 618">
                <a:extLst>
                  <a:ext uri="{FF2B5EF4-FFF2-40B4-BE49-F238E27FC236}">
                    <a16:creationId xmlns:a16="http://schemas.microsoft.com/office/drawing/2014/main" id="{B1C7959D-C58D-DA43-8FA0-A3B80C0E6017}"/>
                  </a:ext>
                </a:extLst>
              </p:cNvPr>
              <p:cNvSpPr>
                <a:spLocks/>
              </p:cNvSpPr>
              <p:nvPr/>
            </p:nvSpPr>
            <p:spPr bwMode="auto">
              <a:xfrm>
                <a:off x="8260699" y="8501084"/>
                <a:ext cx="710194" cy="516057"/>
              </a:xfrm>
              <a:custGeom>
                <a:avLst/>
                <a:gdLst>
                  <a:gd name="T0" fmla="*/ 63 w 76"/>
                  <a:gd name="T1" fmla="*/ 28 h 55"/>
                  <a:gd name="T2" fmla="*/ 66 w 76"/>
                  <a:gd name="T3" fmla="*/ 24 h 55"/>
                  <a:gd name="T4" fmla="*/ 67 w 76"/>
                  <a:gd name="T5" fmla="*/ 22 h 55"/>
                  <a:gd name="T6" fmla="*/ 67 w 76"/>
                  <a:gd name="T7" fmla="*/ 18 h 55"/>
                  <a:gd name="T8" fmla="*/ 61 w 76"/>
                  <a:gd name="T9" fmla="*/ 15 h 55"/>
                  <a:gd name="T10" fmla="*/ 63 w 76"/>
                  <a:gd name="T11" fmla="*/ 14 h 55"/>
                  <a:gd name="T12" fmla="*/ 64 w 76"/>
                  <a:gd name="T13" fmla="*/ 11 h 55"/>
                  <a:gd name="T14" fmla="*/ 60 w 76"/>
                  <a:gd name="T15" fmla="*/ 9 h 55"/>
                  <a:gd name="T16" fmla="*/ 59 w 76"/>
                  <a:gd name="T17" fmla="*/ 8 h 55"/>
                  <a:gd name="T18" fmla="*/ 57 w 76"/>
                  <a:gd name="T19" fmla="*/ 9 h 55"/>
                  <a:gd name="T20" fmla="*/ 57 w 76"/>
                  <a:gd name="T21" fmla="*/ 7 h 55"/>
                  <a:gd name="T22" fmla="*/ 54 w 76"/>
                  <a:gd name="T23" fmla="*/ 8 h 55"/>
                  <a:gd name="T24" fmla="*/ 54 w 76"/>
                  <a:gd name="T25" fmla="*/ 6 h 55"/>
                  <a:gd name="T26" fmla="*/ 58 w 76"/>
                  <a:gd name="T27" fmla="*/ 5 h 55"/>
                  <a:gd name="T28" fmla="*/ 55 w 76"/>
                  <a:gd name="T29" fmla="*/ 4 h 55"/>
                  <a:gd name="T30" fmla="*/ 49 w 76"/>
                  <a:gd name="T31" fmla="*/ 4 h 55"/>
                  <a:gd name="T32" fmla="*/ 44 w 76"/>
                  <a:gd name="T33" fmla="*/ 7 h 55"/>
                  <a:gd name="T34" fmla="*/ 38 w 76"/>
                  <a:gd name="T35" fmla="*/ 5 h 55"/>
                  <a:gd name="T36" fmla="*/ 29 w 76"/>
                  <a:gd name="T37" fmla="*/ 5 h 55"/>
                  <a:gd name="T38" fmla="*/ 26 w 76"/>
                  <a:gd name="T39" fmla="*/ 2 h 55"/>
                  <a:gd name="T40" fmla="*/ 20 w 76"/>
                  <a:gd name="T41" fmla="*/ 0 h 55"/>
                  <a:gd name="T42" fmla="*/ 11 w 76"/>
                  <a:gd name="T43" fmla="*/ 4 h 55"/>
                  <a:gd name="T44" fmla="*/ 13 w 76"/>
                  <a:gd name="T45" fmla="*/ 12 h 55"/>
                  <a:gd name="T46" fmla="*/ 8 w 76"/>
                  <a:gd name="T47" fmla="*/ 8 h 55"/>
                  <a:gd name="T48" fmla="*/ 10 w 76"/>
                  <a:gd name="T49" fmla="*/ 5 h 55"/>
                  <a:gd name="T50" fmla="*/ 8 w 76"/>
                  <a:gd name="T51" fmla="*/ 1 h 55"/>
                  <a:gd name="T52" fmla="*/ 4 w 76"/>
                  <a:gd name="T53" fmla="*/ 7 h 55"/>
                  <a:gd name="T54" fmla="*/ 3 w 76"/>
                  <a:gd name="T55" fmla="*/ 12 h 55"/>
                  <a:gd name="T56" fmla="*/ 5 w 76"/>
                  <a:gd name="T57" fmla="*/ 13 h 55"/>
                  <a:gd name="T58" fmla="*/ 7 w 76"/>
                  <a:gd name="T59" fmla="*/ 16 h 55"/>
                  <a:gd name="T60" fmla="*/ 10 w 76"/>
                  <a:gd name="T61" fmla="*/ 23 h 55"/>
                  <a:gd name="T62" fmla="*/ 13 w 76"/>
                  <a:gd name="T63" fmla="*/ 23 h 55"/>
                  <a:gd name="T64" fmla="*/ 15 w 76"/>
                  <a:gd name="T65" fmla="*/ 22 h 55"/>
                  <a:gd name="T66" fmla="*/ 21 w 76"/>
                  <a:gd name="T67" fmla="*/ 27 h 55"/>
                  <a:gd name="T68" fmla="*/ 23 w 76"/>
                  <a:gd name="T69" fmla="*/ 27 h 55"/>
                  <a:gd name="T70" fmla="*/ 26 w 76"/>
                  <a:gd name="T71" fmla="*/ 27 h 55"/>
                  <a:gd name="T72" fmla="*/ 31 w 76"/>
                  <a:gd name="T73" fmla="*/ 29 h 55"/>
                  <a:gd name="T74" fmla="*/ 31 w 76"/>
                  <a:gd name="T75" fmla="*/ 38 h 55"/>
                  <a:gd name="T76" fmla="*/ 32 w 76"/>
                  <a:gd name="T77" fmla="*/ 41 h 55"/>
                  <a:gd name="T78" fmla="*/ 30 w 76"/>
                  <a:gd name="T79" fmla="*/ 44 h 55"/>
                  <a:gd name="T80" fmla="*/ 40 w 76"/>
                  <a:gd name="T81" fmla="*/ 53 h 55"/>
                  <a:gd name="T82" fmla="*/ 42 w 76"/>
                  <a:gd name="T83" fmla="*/ 54 h 55"/>
                  <a:gd name="T84" fmla="*/ 45 w 76"/>
                  <a:gd name="T85" fmla="*/ 52 h 55"/>
                  <a:gd name="T86" fmla="*/ 51 w 76"/>
                  <a:gd name="T87" fmla="*/ 47 h 55"/>
                  <a:gd name="T88" fmla="*/ 49 w 76"/>
                  <a:gd name="T89" fmla="*/ 44 h 55"/>
                  <a:gd name="T90" fmla="*/ 48 w 76"/>
                  <a:gd name="T91" fmla="*/ 41 h 55"/>
                  <a:gd name="T92" fmla="*/ 45 w 76"/>
                  <a:gd name="T93" fmla="*/ 38 h 55"/>
                  <a:gd name="T94" fmla="*/ 52 w 76"/>
                  <a:gd name="T95" fmla="*/ 38 h 55"/>
                  <a:gd name="T96" fmla="*/ 54 w 76"/>
                  <a:gd name="T97" fmla="*/ 40 h 55"/>
                  <a:gd name="T98" fmla="*/ 56 w 76"/>
                  <a:gd name="T99" fmla="*/ 38 h 55"/>
                  <a:gd name="T100" fmla="*/ 62 w 76"/>
                  <a:gd name="T101" fmla="*/ 36 h 55"/>
                  <a:gd name="T102" fmla="*/ 67 w 76"/>
                  <a:gd name="T103" fmla="*/ 33 h 55"/>
                  <a:gd name="T104" fmla="*/ 63 w 76"/>
                  <a:gd name="T105"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55">
                    <a:moveTo>
                      <a:pt x="63" y="28"/>
                    </a:moveTo>
                    <a:cubicBezTo>
                      <a:pt x="63" y="26"/>
                      <a:pt x="63" y="25"/>
                      <a:pt x="66" y="24"/>
                    </a:cubicBezTo>
                    <a:cubicBezTo>
                      <a:pt x="66" y="23"/>
                      <a:pt x="68" y="23"/>
                      <a:pt x="67" y="22"/>
                    </a:cubicBezTo>
                    <a:cubicBezTo>
                      <a:pt x="66" y="21"/>
                      <a:pt x="65" y="19"/>
                      <a:pt x="67" y="18"/>
                    </a:cubicBezTo>
                    <a:cubicBezTo>
                      <a:pt x="76" y="14"/>
                      <a:pt x="61" y="15"/>
                      <a:pt x="61" y="15"/>
                    </a:cubicBezTo>
                    <a:cubicBezTo>
                      <a:pt x="61" y="14"/>
                      <a:pt x="62" y="14"/>
                      <a:pt x="63" y="14"/>
                    </a:cubicBezTo>
                    <a:cubicBezTo>
                      <a:pt x="64" y="14"/>
                      <a:pt x="64" y="12"/>
                      <a:pt x="64" y="11"/>
                    </a:cubicBezTo>
                    <a:cubicBezTo>
                      <a:pt x="64" y="10"/>
                      <a:pt x="60" y="8"/>
                      <a:pt x="60" y="9"/>
                    </a:cubicBezTo>
                    <a:cubicBezTo>
                      <a:pt x="60" y="10"/>
                      <a:pt x="59" y="8"/>
                      <a:pt x="59" y="8"/>
                    </a:cubicBezTo>
                    <a:cubicBezTo>
                      <a:pt x="58" y="8"/>
                      <a:pt x="58" y="10"/>
                      <a:pt x="57" y="9"/>
                    </a:cubicBezTo>
                    <a:cubicBezTo>
                      <a:pt x="57" y="9"/>
                      <a:pt x="57" y="8"/>
                      <a:pt x="57" y="7"/>
                    </a:cubicBezTo>
                    <a:cubicBezTo>
                      <a:pt x="56" y="6"/>
                      <a:pt x="55" y="8"/>
                      <a:pt x="54" y="8"/>
                    </a:cubicBezTo>
                    <a:cubicBezTo>
                      <a:pt x="54" y="8"/>
                      <a:pt x="54" y="6"/>
                      <a:pt x="54" y="6"/>
                    </a:cubicBezTo>
                    <a:cubicBezTo>
                      <a:pt x="54" y="4"/>
                      <a:pt x="57" y="5"/>
                      <a:pt x="58" y="5"/>
                    </a:cubicBezTo>
                    <a:cubicBezTo>
                      <a:pt x="59" y="4"/>
                      <a:pt x="55" y="4"/>
                      <a:pt x="55" y="4"/>
                    </a:cubicBezTo>
                    <a:cubicBezTo>
                      <a:pt x="53" y="4"/>
                      <a:pt x="51" y="3"/>
                      <a:pt x="49" y="4"/>
                    </a:cubicBezTo>
                    <a:cubicBezTo>
                      <a:pt x="47" y="5"/>
                      <a:pt x="46" y="8"/>
                      <a:pt x="44" y="7"/>
                    </a:cubicBezTo>
                    <a:cubicBezTo>
                      <a:pt x="41" y="7"/>
                      <a:pt x="40" y="7"/>
                      <a:pt x="38" y="5"/>
                    </a:cubicBezTo>
                    <a:cubicBezTo>
                      <a:pt x="36" y="3"/>
                      <a:pt x="32" y="5"/>
                      <a:pt x="29" y="5"/>
                    </a:cubicBezTo>
                    <a:cubicBezTo>
                      <a:pt x="27" y="5"/>
                      <a:pt x="27" y="4"/>
                      <a:pt x="26" y="2"/>
                    </a:cubicBezTo>
                    <a:cubicBezTo>
                      <a:pt x="25" y="0"/>
                      <a:pt x="23" y="0"/>
                      <a:pt x="20" y="0"/>
                    </a:cubicBezTo>
                    <a:cubicBezTo>
                      <a:pt x="19" y="0"/>
                      <a:pt x="11" y="1"/>
                      <a:pt x="11" y="4"/>
                    </a:cubicBezTo>
                    <a:cubicBezTo>
                      <a:pt x="11" y="7"/>
                      <a:pt x="15" y="8"/>
                      <a:pt x="13" y="12"/>
                    </a:cubicBezTo>
                    <a:cubicBezTo>
                      <a:pt x="11" y="14"/>
                      <a:pt x="7" y="10"/>
                      <a:pt x="8" y="8"/>
                    </a:cubicBezTo>
                    <a:cubicBezTo>
                      <a:pt x="8" y="7"/>
                      <a:pt x="10" y="6"/>
                      <a:pt x="10" y="5"/>
                    </a:cubicBezTo>
                    <a:cubicBezTo>
                      <a:pt x="11" y="3"/>
                      <a:pt x="8" y="2"/>
                      <a:pt x="8" y="1"/>
                    </a:cubicBezTo>
                    <a:cubicBezTo>
                      <a:pt x="5" y="3"/>
                      <a:pt x="4" y="4"/>
                      <a:pt x="4" y="7"/>
                    </a:cubicBezTo>
                    <a:cubicBezTo>
                      <a:pt x="3" y="8"/>
                      <a:pt x="0" y="12"/>
                      <a:pt x="3" y="12"/>
                    </a:cubicBezTo>
                    <a:cubicBezTo>
                      <a:pt x="3" y="12"/>
                      <a:pt x="4" y="12"/>
                      <a:pt x="5" y="13"/>
                    </a:cubicBezTo>
                    <a:cubicBezTo>
                      <a:pt x="5" y="14"/>
                      <a:pt x="6" y="15"/>
                      <a:pt x="7" y="16"/>
                    </a:cubicBezTo>
                    <a:cubicBezTo>
                      <a:pt x="9" y="18"/>
                      <a:pt x="5" y="22"/>
                      <a:pt x="10" y="23"/>
                    </a:cubicBezTo>
                    <a:cubicBezTo>
                      <a:pt x="10" y="23"/>
                      <a:pt x="12" y="23"/>
                      <a:pt x="13" y="23"/>
                    </a:cubicBezTo>
                    <a:cubicBezTo>
                      <a:pt x="14" y="23"/>
                      <a:pt x="14" y="22"/>
                      <a:pt x="15" y="22"/>
                    </a:cubicBezTo>
                    <a:cubicBezTo>
                      <a:pt x="18" y="22"/>
                      <a:pt x="19" y="25"/>
                      <a:pt x="21" y="27"/>
                    </a:cubicBezTo>
                    <a:cubicBezTo>
                      <a:pt x="21" y="27"/>
                      <a:pt x="22" y="28"/>
                      <a:pt x="23" y="27"/>
                    </a:cubicBezTo>
                    <a:cubicBezTo>
                      <a:pt x="23" y="26"/>
                      <a:pt x="24" y="27"/>
                      <a:pt x="26" y="27"/>
                    </a:cubicBezTo>
                    <a:cubicBezTo>
                      <a:pt x="28" y="28"/>
                      <a:pt x="33" y="25"/>
                      <a:pt x="31" y="29"/>
                    </a:cubicBezTo>
                    <a:cubicBezTo>
                      <a:pt x="29" y="32"/>
                      <a:pt x="29" y="35"/>
                      <a:pt x="31" y="38"/>
                    </a:cubicBezTo>
                    <a:cubicBezTo>
                      <a:pt x="31" y="39"/>
                      <a:pt x="32" y="40"/>
                      <a:pt x="32" y="41"/>
                    </a:cubicBezTo>
                    <a:cubicBezTo>
                      <a:pt x="32" y="42"/>
                      <a:pt x="29" y="43"/>
                      <a:pt x="30" y="44"/>
                    </a:cubicBezTo>
                    <a:cubicBezTo>
                      <a:pt x="33" y="47"/>
                      <a:pt x="34" y="55"/>
                      <a:pt x="40" y="53"/>
                    </a:cubicBezTo>
                    <a:cubicBezTo>
                      <a:pt x="41" y="53"/>
                      <a:pt x="41" y="54"/>
                      <a:pt x="42" y="54"/>
                    </a:cubicBezTo>
                    <a:cubicBezTo>
                      <a:pt x="43" y="54"/>
                      <a:pt x="44" y="53"/>
                      <a:pt x="45" y="52"/>
                    </a:cubicBezTo>
                    <a:cubicBezTo>
                      <a:pt x="47" y="51"/>
                      <a:pt x="48" y="49"/>
                      <a:pt x="51" y="47"/>
                    </a:cubicBezTo>
                    <a:cubicBezTo>
                      <a:pt x="53" y="46"/>
                      <a:pt x="49" y="46"/>
                      <a:pt x="49" y="44"/>
                    </a:cubicBezTo>
                    <a:cubicBezTo>
                      <a:pt x="49" y="43"/>
                      <a:pt x="48" y="42"/>
                      <a:pt x="48" y="41"/>
                    </a:cubicBezTo>
                    <a:cubicBezTo>
                      <a:pt x="48" y="40"/>
                      <a:pt x="45" y="39"/>
                      <a:pt x="45" y="38"/>
                    </a:cubicBezTo>
                    <a:cubicBezTo>
                      <a:pt x="45" y="37"/>
                      <a:pt x="51" y="38"/>
                      <a:pt x="52" y="38"/>
                    </a:cubicBezTo>
                    <a:cubicBezTo>
                      <a:pt x="54" y="38"/>
                      <a:pt x="53" y="39"/>
                      <a:pt x="54" y="40"/>
                    </a:cubicBezTo>
                    <a:cubicBezTo>
                      <a:pt x="55" y="40"/>
                      <a:pt x="55" y="38"/>
                      <a:pt x="56" y="38"/>
                    </a:cubicBezTo>
                    <a:cubicBezTo>
                      <a:pt x="57" y="37"/>
                      <a:pt x="60" y="37"/>
                      <a:pt x="62" y="36"/>
                    </a:cubicBezTo>
                    <a:cubicBezTo>
                      <a:pt x="63" y="35"/>
                      <a:pt x="65" y="34"/>
                      <a:pt x="67" y="33"/>
                    </a:cubicBezTo>
                    <a:cubicBezTo>
                      <a:pt x="66" y="31"/>
                      <a:pt x="63" y="30"/>
                      <a:pt x="63"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2" name="Freeform 619">
                <a:extLst>
                  <a:ext uri="{FF2B5EF4-FFF2-40B4-BE49-F238E27FC236}">
                    <a16:creationId xmlns:a16="http://schemas.microsoft.com/office/drawing/2014/main" id="{B0983EEE-73CF-6C45-8EE8-B1A5668C2DFF}"/>
                  </a:ext>
                </a:extLst>
              </p:cNvPr>
              <p:cNvSpPr>
                <a:spLocks/>
              </p:cNvSpPr>
              <p:nvPr/>
            </p:nvSpPr>
            <p:spPr bwMode="auto">
              <a:xfrm>
                <a:off x="8830764" y="8641249"/>
                <a:ext cx="242036" cy="356781"/>
              </a:xfrm>
              <a:custGeom>
                <a:avLst/>
                <a:gdLst>
                  <a:gd name="T0" fmla="*/ 22 w 26"/>
                  <a:gd name="T1" fmla="*/ 29 h 38"/>
                  <a:gd name="T2" fmla="*/ 18 w 26"/>
                  <a:gd name="T3" fmla="*/ 21 h 38"/>
                  <a:gd name="T4" fmla="*/ 20 w 26"/>
                  <a:gd name="T5" fmla="*/ 18 h 38"/>
                  <a:gd name="T6" fmla="*/ 22 w 26"/>
                  <a:gd name="T7" fmla="*/ 15 h 38"/>
                  <a:gd name="T8" fmla="*/ 22 w 26"/>
                  <a:gd name="T9" fmla="*/ 13 h 38"/>
                  <a:gd name="T10" fmla="*/ 20 w 26"/>
                  <a:gd name="T11" fmla="*/ 11 h 38"/>
                  <a:gd name="T12" fmla="*/ 16 w 26"/>
                  <a:gd name="T13" fmla="*/ 7 h 38"/>
                  <a:gd name="T14" fmla="*/ 9 w 26"/>
                  <a:gd name="T15" fmla="*/ 0 h 38"/>
                  <a:gd name="T16" fmla="*/ 5 w 26"/>
                  <a:gd name="T17" fmla="*/ 5 h 38"/>
                  <a:gd name="T18" fmla="*/ 6 w 26"/>
                  <a:gd name="T19" fmla="*/ 8 h 38"/>
                  <a:gd name="T20" fmla="*/ 3 w 26"/>
                  <a:gd name="T21" fmla="*/ 10 h 38"/>
                  <a:gd name="T22" fmla="*/ 4 w 26"/>
                  <a:gd name="T23" fmla="*/ 16 h 38"/>
                  <a:gd name="T24" fmla="*/ 7 w 26"/>
                  <a:gd name="T25" fmla="*/ 18 h 38"/>
                  <a:gd name="T26" fmla="*/ 8 w 26"/>
                  <a:gd name="T27" fmla="*/ 20 h 38"/>
                  <a:gd name="T28" fmla="*/ 8 w 26"/>
                  <a:gd name="T29" fmla="*/ 27 h 38"/>
                  <a:gd name="T30" fmla="*/ 11 w 26"/>
                  <a:gd name="T31" fmla="*/ 35 h 38"/>
                  <a:gd name="T32" fmla="*/ 17 w 26"/>
                  <a:gd name="T33" fmla="*/ 35 h 38"/>
                  <a:gd name="T34" fmla="*/ 21 w 26"/>
                  <a:gd name="T35" fmla="*/ 34 h 38"/>
                  <a:gd name="T36" fmla="*/ 26 w 26"/>
                  <a:gd name="T37" fmla="*/ 34 h 38"/>
                  <a:gd name="T38" fmla="*/ 22 w 26"/>
                  <a:gd name="T39" fmla="*/ 29 h 38"/>
                  <a:gd name="T40" fmla="*/ 22 w 26"/>
                  <a:gd name="T41"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38">
                    <a:moveTo>
                      <a:pt x="22" y="29"/>
                    </a:moveTo>
                    <a:cubicBezTo>
                      <a:pt x="22" y="28"/>
                      <a:pt x="17" y="22"/>
                      <a:pt x="18" y="21"/>
                    </a:cubicBezTo>
                    <a:cubicBezTo>
                      <a:pt x="19" y="20"/>
                      <a:pt x="18" y="19"/>
                      <a:pt x="20" y="18"/>
                    </a:cubicBezTo>
                    <a:cubicBezTo>
                      <a:pt x="23" y="18"/>
                      <a:pt x="22" y="16"/>
                      <a:pt x="22" y="15"/>
                    </a:cubicBezTo>
                    <a:cubicBezTo>
                      <a:pt x="22" y="14"/>
                      <a:pt x="22" y="13"/>
                      <a:pt x="22" y="13"/>
                    </a:cubicBezTo>
                    <a:cubicBezTo>
                      <a:pt x="22" y="12"/>
                      <a:pt x="21" y="12"/>
                      <a:pt x="20" y="11"/>
                    </a:cubicBezTo>
                    <a:cubicBezTo>
                      <a:pt x="19" y="9"/>
                      <a:pt x="16" y="9"/>
                      <a:pt x="16" y="7"/>
                    </a:cubicBezTo>
                    <a:cubicBezTo>
                      <a:pt x="15" y="4"/>
                      <a:pt x="11" y="1"/>
                      <a:pt x="9" y="0"/>
                    </a:cubicBezTo>
                    <a:cubicBezTo>
                      <a:pt x="9" y="3"/>
                      <a:pt x="4" y="3"/>
                      <a:pt x="5" y="5"/>
                    </a:cubicBezTo>
                    <a:cubicBezTo>
                      <a:pt x="5" y="6"/>
                      <a:pt x="7" y="7"/>
                      <a:pt x="6" y="8"/>
                    </a:cubicBezTo>
                    <a:cubicBezTo>
                      <a:pt x="5" y="8"/>
                      <a:pt x="3" y="9"/>
                      <a:pt x="3" y="10"/>
                    </a:cubicBezTo>
                    <a:cubicBezTo>
                      <a:pt x="0" y="11"/>
                      <a:pt x="2" y="14"/>
                      <a:pt x="4" y="16"/>
                    </a:cubicBezTo>
                    <a:cubicBezTo>
                      <a:pt x="5" y="17"/>
                      <a:pt x="5" y="18"/>
                      <a:pt x="7" y="18"/>
                    </a:cubicBezTo>
                    <a:cubicBezTo>
                      <a:pt x="8" y="18"/>
                      <a:pt x="7" y="19"/>
                      <a:pt x="8" y="20"/>
                    </a:cubicBezTo>
                    <a:cubicBezTo>
                      <a:pt x="10" y="23"/>
                      <a:pt x="9" y="24"/>
                      <a:pt x="8" y="27"/>
                    </a:cubicBezTo>
                    <a:cubicBezTo>
                      <a:pt x="8" y="30"/>
                      <a:pt x="10" y="33"/>
                      <a:pt x="11" y="35"/>
                    </a:cubicBezTo>
                    <a:cubicBezTo>
                      <a:pt x="14" y="38"/>
                      <a:pt x="15" y="35"/>
                      <a:pt x="17" y="35"/>
                    </a:cubicBezTo>
                    <a:cubicBezTo>
                      <a:pt x="19" y="35"/>
                      <a:pt x="20" y="34"/>
                      <a:pt x="21" y="34"/>
                    </a:cubicBezTo>
                    <a:cubicBezTo>
                      <a:pt x="23" y="33"/>
                      <a:pt x="24" y="33"/>
                      <a:pt x="26" y="34"/>
                    </a:cubicBezTo>
                    <a:cubicBezTo>
                      <a:pt x="25" y="32"/>
                      <a:pt x="24" y="30"/>
                      <a:pt x="22" y="29"/>
                    </a:cubicBezTo>
                    <a:cubicBezTo>
                      <a:pt x="21" y="27"/>
                      <a:pt x="23" y="29"/>
                      <a:pt x="22"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3" name="Freeform 620">
                <a:extLst>
                  <a:ext uri="{FF2B5EF4-FFF2-40B4-BE49-F238E27FC236}">
                    <a16:creationId xmlns:a16="http://schemas.microsoft.com/office/drawing/2014/main" id="{104D832D-B8E6-8940-AC93-17465029159E}"/>
                  </a:ext>
                </a:extLst>
              </p:cNvPr>
              <p:cNvSpPr>
                <a:spLocks/>
              </p:cNvSpPr>
              <p:nvPr/>
            </p:nvSpPr>
            <p:spPr bwMode="auto">
              <a:xfrm>
                <a:off x="8986815" y="8752743"/>
                <a:ext cx="207006" cy="216615"/>
              </a:xfrm>
              <a:custGeom>
                <a:avLst/>
                <a:gdLst>
                  <a:gd name="T0" fmla="*/ 19 w 22"/>
                  <a:gd name="T1" fmla="*/ 7 h 23"/>
                  <a:gd name="T2" fmla="*/ 22 w 22"/>
                  <a:gd name="T3" fmla="*/ 2 h 23"/>
                  <a:gd name="T4" fmla="*/ 12 w 22"/>
                  <a:gd name="T5" fmla="*/ 2 h 23"/>
                  <a:gd name="T6" fmla="*/ 9 w 22"/>
                  <a:gd name="T7" fmla="*/ 0 h 23"/>
                  <a:gd name="T8" fmla="*/ 5 w 22"/>
                  <a:gd name="T9" fmla="*/ 1 h 23"/>
                  <a:gd name="T10" fmla="*/ 4 w 22"/>
                  <a:gd name="T11" fmla="*/ 6 h 23"/>
                  <a:gd name="T12" fmla="*/ 1 w 22"/>
                  <a:gd name="T13" fmla="*/ 10 h 23"/>
                  <a:gd name="T14" fmla="*/ 4 w 22"/>
                  <a:gd name="T15" fmla="*/ 15 h 23"/>
                  <a:gd name="T16" fmla="*/ 9 w 22"/>
                  <a:gd name="T17" fmla="*/ 22 h 23"/>
                  <a:gd name="T18" fmla="*/ 12 w 22"/>
                  <a:gd name="T19" fmla="*/ 19 h 23"/>
                  <a:gd name="T20" fmla="*/ 16 w 22"/>
                  <a:gd name="T21" fmla="*/ 18 h 23"/>
                  <a:gd name="T22" fmla="*/ 19 w 22"/>
                  <a:gd name="T23" fmla="*/ 19 h 23"/>
                  <a:gd name="T24" fmla="*/ 20 w 22"/>
                  <a:gd name="T25" fmla="*/ 14 h 23"/>
                  <a:gd name="T26" fmla="*/ 19 w 22"/>
                  <a:gd name="T27"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3">
                    <a:moveTo>
                      <a:pt x="19" y="7"/>
                    </a:moveTo>
                    <a:cubicBezTo>
                      <a:pt x="19" y="5"/>
                      <a:pt x="21" y="3"/>
                      <a:pt x="22" y="2"/>
                    </a:cubicBezTo>
                    <a:cubicBezTo>
                      <a:pt x="19" y="1"/>
                      <a:pt x="14" y="0"/>
                      <a:pt x="12" y="2"/>
                    </a:cubicBezTo>
                    <a:cubicBezTo>
                      <a:pt x="10" y="3"/>
                      <a:pt x="9" y="1"/>
                      <a:pt x="9" y="0"/>
                    </a:cubicBezTo>
                    <a:cubicBezTo>
                      <a:pt x="8" y="0"/>
                      <a:pt x="7" y="2"/>
                      <a:pt x="5" y="1"/>
                    </a:cubicBezTo>
                    <a:cubicBezTo>
                      <a:pt x="5" y="2"/>
                      <a:pt x="7" y="6"/>
                      <a:pt x="4" y="6"/>
                    </a:cubicBezTo>
                    <a:cubicBezTo>
                      <a:pt x="2" y="7"/>
                      <a:pt x="0" y="8"/>
                      <a:pt x="1" y="10"/>
                    </a:cubicBezTo>
                    <a:cubicBezTo>
                      <a:pt x="2" y="12"/>
                      <a:pt x="3" y="13"/>
                      <a:pt x="4" y="15"/>
                    </a:cubicBezTo>
                    <a:cubicBezTo>
                      <a:pt x="5" y="17"/>
                      <a:pt x="7" y="19"/>
                      <a:pt x="9" y="22"/>
                    </a:cubicBezTo>
                    <a:cubicBezTo>
                      <a:pt x="12" y="23"/>
                      <a:pt x="10" y="19"/>
                      <a:pt x="12" y="19"/>
                    </a:cubicBezTo>
                    <a:cubicBezTo>
                      <a:pt x="14" y="19"/>
                      <a:pt x="15" y="19"/>
                      <a:pt x="16" y="18"/>
                    </a:cubicBezTo>
                    <a:cubicBezTo>
                      <a:pt x="17" y="18"/>
                      <a:pt x="17" y="20"/>
                      <a:pt x="19" y="19"/>
                    </a:cubicBezTo>
                    <a:cubicBezTo>
                      <a:pt x="20" y="17"/>
                      <a:pt x="21" y="16"/>
                      <a:pt x="20" y="14"/>
                    </a:cubicBezTo>
                    <a:cubicBezTo>
                      <a:pt x="20" y="12"/>
                      <a:pt x="19" y="9"/>
                      <a:pt x="19"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4" name="Freeform 621">
                <a:extLst>
                  <a:ext uri="{FF2B5EF4-FFF2-40B4-BE49-F238E27FC236}">
                    <a16:creationId xmlns:a16="http://schemas.microsoft.com/office/drawing/2014/main" id="{8266007A-31AC-354C-819C-CC1DB38BB8B6}"/>
                  </a:ext>
                </a:extLst>
              </p:cNvPr>
              <p:cNvSpPr>
                <a:spLocks/>
              </p:cNvSpPr>
              <p:nvPr/>
            </p:nvSpPr>
            <p:spPr bwMode="auto">
              <a:xfrm>
                <a:off x="9155606" y="8771859"/>
                <a:ext cx="149682" cy="168837"/>
              </a:xfrm>
              <a:custGeom>
                <a:avLst/>
                <a:gdLst>
                  <a:gd name="T0" fmla="*/ 12 w 16"/>
                  <a:gd name="T1" fmla="*/ 5 h 18"/>
                  <a:gd name="T2" fmla="*/ 5 w 16"/>
                  <a:gd name="T3" fmla="*/ 1 h 18"/>
                  <a:gd name="T4" fmla="*/ 1 w 16"/>
                  <a:gd name="T5" fmla="*/ 6 h 18"/>
                  <a:gd name="T6" fmla="*/ 2 w 16"/>
                  <a:gd name="T7" fmla="*/ 12 h 18"/>
                  <a:gd name="T8" fmla="*/ 0 w 16"/>
                  <a:gd name="T9" fmla="*/ 17 h 18"/>
                  <a:gd name="T10" fmla="*/ 4 w 16"/>
                  <a:gd name="T11" fmla="*/ 17 h 18"/>
                  <a:gd name="T12" fmla="*/ 9 w 16"/>
                  <a:gd name="T13" fmla="*/ 17 h 18"/>
                  <a:gd name="T14" fmla="*/ 16 w 16"/>
                  <a:gd name="T15" fmla="*/ 8 h 18"/>
                  <a:gd name="T16" fmla="*/ 12 w 16"/>
                  <a:gd name="T17" fmla="*/ 5 h 18"/>
                  <a:gd name="T18" fmla="*/ 12 w 16"/>
                  <a:gd name="T19"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8">
                    <a:moveTo>
                      <a:pt x="12" y="5"/>
                    </a:moveTo>
                    <a:cubicBezTo>
                      <a:pt x="10" y="3"/>
                      <a:pt x="8" y="1"/>
                      <a:pt x="5" y="1"/>
                    </a:cubicBezTo>
                    <a:cubicBezTo>
                      <a:pt x="3" y="0"/>
                      <a:pt x="0" y="4"/>
                      <a:pt x="1" y="6"/>
                    </a:cubicBezTo>
                    <a:cubicBezTo>
                      <a:pt x="1" y="8"/>
                      <a:pt x="2" y="10"/>
                      <a:pt x="2" y="12"/>
                    </a:cubicBezTo>
                    <a:cubicBezTo>
                      <a:pt x="3" y="14"/>
                      <a:pt x="1" y="16"/>
                      <a:pt x="0" y="17"/>
                    </a:cubicBezTo>
                    <a:cubicBezTo>
                      <a:pt x="1" y="18"/>
                      <a:pt x="3" y="17"/>
                      <a:pt x="4" y="17"/>
                    </a:cubicBezTo>
                    <a:cubicBezTo>
                      <a:pt x="6" y="17"/>
                      <a:pt x="7" y="18"/>
                      <a:pt x="9" y="17"/>
                    </a:cubicBezTo>
                    <a:cubicBezTo>
                      <a:pt x="12" y="16"/>
                      <a:pt x="13" y="10"/>
                      <a:pt x="16" y="8"/>
                    </a:cubicBezTo>
                    <a:cubicBezTo>
                      <a:pt x="14" y="7"/>
                      <a:pt x="13" y="6"/>
                      <a:pt x="12" y="5"/>
                    </a:cubicBezTo>
                    <a:cubicBezTo>
                      <a:pt x="10" y="4"/>
                      <a:pt x="13" y="6"/>
                      <a:pt x="12"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5" name="Freeform 622">
                <a:extLst>
                  <a:ext uri="{FF2B5EF4-FFF2-40B4-BE49-F238E27FC236}">
                    <a16:creationId xmlns:a16="http://schemas.microsoft.com/office/drawing/2014/main" id="{4A080474-4C8B-494A-8431-0F076134C984}"/>
                  </a:ext>
                </a:extLst>
              </p:cNvPr>
              <p:cNvSpPr>
                <a:spLocks/>
              </p:cNvSpPr>
              <p:nvPr/>
            </p:nvSpPr>
            <p:spPr bwMode="auto">
              <a:xfrm>
                <a:off x="7821211" y="8453303"/>
                <a:ext cx="754780" cy="786831"/>
              </a:xfrm>
              <a:custGeom>
                <a:avLst/>
                <a:gdLst>
                  <a:gd name="T0" fmla="*/ 76 w 81"/>
                  <a:gd name="T1" fmla="*/ 39 h 84"/>
                  <a:gd name="T2" fmla="*/ 74 w 81"/>
                  <a:gd name="T3" fmla="*/ 32 h 84"/>
                  <a:gd name="T4" fmla="*/ 69 w 81"/>
                  <a:gd name="T5" fmla="*/ 33 h 84"/>
                  <a:gd name="T6" fmla="*/ 58 w 81"/>
                  <a:gd name="T7" fmla="*/ 28 h 84"/>
                  <a:gd name="T8" fmla="*/ 53 w 81"/>
                  <a:gd name="T9" fmla="*/ 20 h 84"/>
                  <a:gd name="T10" fmla="*/ 50 w 81"/>
                  <a:gd name="T11" fmla="*/ 15 h 84"/>
                  <a:gd name="T12" fmla="*/ 56 w 81"/>
                  <a:gd name="T13" fmla="*/ 5 h 84"/>
                  <a:gd name="T14" fmla="*/ 56 w 81"/>
                  <a:gd name="T15" fmla="*/ 1 h 84"/>
                  <a:gd name="T16" fmla="*/ 44 w 81"/>
                  <a:gd name="T17" fmla="*/ 8 h 84"/>
                  <a:gd name="T18" fmla="*/ 36 w 81"/>
                  <a:gd name="T19" fmla="*/ 16 h 84"/>
                  <a:gd name="T20" fmla="*/ 31 w 81"/>
                  <a:gd name="T21" fmla="*/ 23 h 84"/>
                  <a:gd name="T22" fmla="*/ 25 w 81"/>
                  <a:gd name="T23" fmla="*/ 17 h 84"/>
                  <a:gd name="T24" fmla="*/ 7 w 81"/>
                  <a:gd name="T25" fmla="*/ 18 h 84"/>
                  <a:gd name="T26" fmla="*/ 1 w 81"/>
                  <a:gd name="T27" fmla="*/ 16 h 84"/>
                  <a:gd name="T28" fmla="*/ 1 w 81"/>
                  <a:gd name="T29" fmla="*/ 21 h 84"/>
                  <a:gd name="T30" fmla="*/ 8 w 81"/>
                  <a:gd name="T31" fmla="*/ 24 h 84"/>
                  <a:gd name="T32" fmla="*/ 11 w 81"/>
                  <a:gd name="T33" fmla="*/ 26 h 84"/>
                  <a:gd name="T34" fmla="*/ 13 w 81"/>
                  <a:gd name="T35" fmla="*/ 23 h 84"/>
                  <a:gd name="T36" fmla="*/ 20 w 81"/>
                  <a:gd name="T37" fmla="*/ 18 h 84"/>
                  <a:gd name="T38" fmla="*/ 24 w 81"/>
                  <a:gd name="T39" fmla="*/ 20 h 84"/>
                  <a:gd name="T40" fmla="*/ 25 w 81"/>
                  <a:gd name="T41" fmla="*/ 26 h 84"/>
                  <a:gd name="T42" fmla="*/ 28 w 81"/>
                  <a:gd name="T43" fmla="*/ 42 h 84"/>
                  <a:gd name="T44" fmla="*/ 28 w 81"/>
                  <a:gd name="T45" fmla="*/ 47 h 84"/>
                  <a:gd name="T46" fmla="*/ 22 w 81"/>
                  <a:gd name="T47" fmla="*/ 53 h 84"/>
                  <a:gd name="T48" fmla="*/ 26 w 81"/>
                  <a:gd name="T49" fmla="*/ 58 h 84"/>
                  <a:gd name="T50" fmla="*/ 34 w 81"/>
                  <a:gd name="T51" fmla="*/ 61 h 84"/>
                  <a:gd name="T52" fmla="*/ 41 w 81"/>
                  <a:gd name="T53" fmla="*/ 64 h 84"/>
                  <a:gd name="T54" fmla="*/ 54 w 81"/>
                  <a:gd name="T55" fmla="*/ 76 h 84"/>
                  <a:gd name="T56" fmla="*/ 60 w 81"/>
                  <a:gd name="T57" fmla="*/ 75 h 84"/>
                  <a:gd name="T58" fmla="*/ 64 w 81"/>
                  <a:gd name="T59" fmla="*/ 80 h 84"/>
                  <a:gd name="T60" fmla="*/ 65 w 81"/>
                  <a:gd name="T61" fmla="*/ 84 h 84"/>
                  <a:gd name="T62" fmla="*/ 65 w 81"/>
                  <a:gd name="T63" fmla="*/ 63 h 84"/>
                  <a:gd name="T64" fmla="*/ 70 w 81"/>
                  <a:gd name="T65" fmla="*/ 58 h 84"/>
                  <a:gd name="T66" fmla="*/ 66 w 81"/>
                  <a:gd name="T67" fmla="*/ 55 h 84"/>
                  <a:gd name="T68" fmla="*/ 79 w 81"/>
                  <a:gd name="T69" fmla="*/ 53 h 84"/>
                  <a:gd name="T70" fmla="*/ 77 w 81"/>
                  <a:gd name="T71"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84">
                    <a:moveTo>
                      <a:pt x="77" y="48"/>
                    </a:moveTo>
                    <a:cubicBezTo>
                      <a:pt x="81" y="45"/>
                      <a:pt x="76" y="42"/>
                      <a:pt x="76" y="39"/>
                    </a:cubicBezTo>
                    <a:cubicBezTo>
                      <a:pt x="76" y="37"/>
                      <a:pt x="78" y="35"/>
                      <a:pt x="78" y="33"/>
                    </a:cubicBezTo>
                    <a:cubicBezTo>
                      <a:pt x="79" y="30"/>
                      <a:pt x="75" y="32"/>
                      <a:pt x="74" y="32"/>
                    </a:cubicBezTo>
                    <a:cubicBezTo>
                      <a:pt x="73" y="32"/>
                      <a:pt x="72" y="32"/>
                      <a:pt x="71" y="32"/>
                    </a:cubicBezTo>
                    <a:cubicBezTo>
                      <a:pt x="70" y="32"/>
                      <a:pt x="70" y="33"/>
                      <a:pt x="69" y="33"/>
                    </a:cubicBezTo>
                    <a:cubicBezTo>
                      <a:pt x="68" y="33"/>
                      <a:pt x="67" y="30"/>
                      <a:pt x="66" y="30"/>
                    </a:cubicBezTo>
                    <a:cubicBezTo>
                      <a:pt x="64" y="26"/>
                      <a:pt x="62" y="28"/>
                      <a:pt x="58" y="28"/>
                    </a:cubicBezTo>
                    <a:cubicBezTo>
                      <a:pt x="56" y="28"/>
                      <a:pt x="55" y="28"/>
                      <a:pt x="54" y="26"/>
                    </a:cubicBezTo>
                    <a:cubicBezTo>
                      <a:pt x="53" y="24"/>
                      <a:pt x="56" y="22"/>
                      <a:pt x="53" y="20"/>
                    </a:cubicBezTo>
                    <a:cubicBezTo>
                      <a:pt x="52" y="19"/>
                      <a:pt x="52" y="17"/>
                      <a:pt x="50" y="17"/>
                    </a:cubicBezTo>
                    <a:cubicBezTo>
                      <a:pt x="48" y="17"/>
                      <a:pt x="49" y="17"/>
                      <a:pt x="50" y="15"/>
                    </a:cubicBezTo>
                    <a:cubicBezTo>
                      <a:pt x="51" y="13"/>
                      <a:pt x="50" y="11"/>
                      <a:pt x="51" y="9"/>
                    </a:cubicBezTo>
                    <a:cubicBezTo>
                      <a:pt x="52" y="7"/>
                      <a:pt x="54" y="6"/>
                      <a:pt x="56" y="5"/>
                    </a:cubicBezTo>
                    <a:cubicBezTo>
                      <a:pt x="57" y="4"/>
                      <a:pt x="59" y="4"/>
                      <a:pt x="60" y="2"/>
                    </a:cubicBezTo>
                    <a:cubicBezTo>
                      <a:pt x="60" y="0"/>
                      <a:pt x="56" y="0"/>
                      <a:pt x="56" y="1"/>
                    </a:cubicBezTo>
                    <a:cubicBezTo>
                      <a:pt x="54" y="3"/>
                      <a:pt x="51" y="6"/>
                      <a:pt x="48" y="6"/>
                    </a:cubicBezTo>
                    <a:cubicBezTo>
                      <a:pt x="45" y="6"/>
                      <a:pt x="45" y="6"/>
                      <a:pt x="44" y="8"/>
                    </a:cubicBezTo>
                    <a:cubicBezTo>
                      <a:pt x="43" y="10"/>
                      <a:pt x="43" y="7"/>
                      <a:pt x="41" y="7"/>
                    </a:cubicBezTo>
                    <a:cubicBezTo>
                      <a:pt x="37" y="8"/>
                      <a:pt x="39" y="14"/>
                      <a:pt x="36" y="16"/>
                    </a:cubicBezTo>
                    <a:cubicBezTo>
                      <a:pt x="35" y="17"/>
                      <a:pt x="33" y="18"/>
                      <a:pt x="32" y="20"/>
                    </a:cubicBezTo>
                    <a:cubicBezTo>
                      <a:pt x="32" y="20"/>
                      <a:pt x="32" y="23"/>
                      <a:pt x="31" y="23"/>
                    </a:cubicBezTo>
                    <a:cubicBezTo>
                      <a:pt x="30" y="21"/>
                      <a:pt x="29" y="20"/>
                      <a:pt x="28" y="19"/>
                    </a:cubicBezTo>
                    <a:cubicBezTo>
                      <a:pt x="27" y="17"/>
                      <a:pt x="26" y="17"/>
                      <a:pt x="25" y="17"/>
                    </a:cubicBezTo>
                    <a:cubicBezTo>
                      <a:pt x="21" y="16"/>
                      <a:pt x="19" y="13"/>
                      <a:pt x="15" y="16"/>
                    </a:cubicBezTo>
                    <a:cubicBezTo>
                      <a:pt x="13" y="17"/>
                      <a:pt x="9" y="20"/>
                      <a:pt x="7" y="18"/>
                    </a:cubicBezTo>
                    <a:cubicBezTo>
                      <a:pt x="6" y="17"/>
                      <a:pt x="5" y="17"/>
                      <a:pt x="4" y="16"/>
                    </a:cubicBezTo>
                    <a:cubicBezTo>
                      <a:pt x="2" y="16"/>
                      <a:pt x="3" y="14"/>
                      <a:pt x="1" y="16"/>
                    </a:cubicBezTo>
                    <a:cubicBezTo>
                      <a:pt x="0" y="17"/>
                      <a:pt x="1" y="17"/>
                      <a:pt x="2" y="18"/>
                    </a:cubicBezTo>
                    <a:cubicBezTo>
                      <a:pt x="2" y="19"/>
                      <a:pt x="1" y="20"/>
                      <a:pt x="1" y="21"/>
                    </a:cubicBezTo>
                    <a:cubicBezTo>
                      <a:pt x="3" y="21"/>
                      <a:pt x="5" y="22"/>
                      <a:pt x="6" y="22"/>
                    </a:cubicBezTo>
                    <a:cubicBezTo>
                      <a:pt x="7" y="23"/>
                      <a:pt x="8" y="23"/>
                      <a:pt x="8" y="24"/>
                    </a:cubicBezTo>
                    <a:cubicBezTo>
                      <a:pt x="9" y="25"/>
                      <a:pt x="9" y="24"/>
                      <a:pt x="10" y="24"/>
                    </a:cubicBezTo>
                    <a:cubicBezTo>
                      <a:pt x="10" y="23"/>
                      <a:pt x="10" y="26"/>
                      <a:pt x="11" y="26"/>
                    </a:cubicBezTo>
                    <a:cubicBezTo>
                      <a:pt x="12" y="27"/>
                      <a:pt x="13" y="26"/>
                      <a:pt x="15" y="25"/>
                    </a:cubicBezTo>
                    <a:cubicBezTo>
                      <a:pt x="16" y="25"/>
                      <a:pt x="13" y="23"/>
                      <a:pt x="13" y="23"/>
                    </a:cubicBezTo>
                    <a:cubicBezTo>
                      <a:pt x="13" y="22"/>
                      <a:pt x="16" y="20"/>
                      <a:pt x="16" y="19"/>
                    </a:cubicBezTo>
                    <a:cubicBezTo>
                      <a:pt x="17" y="18"/>
                      <a:pt x="19" y="17"/>
                      <a:pt x="20" y="18"/>
                    </a:cubicBezTo>
                    <a:cubicBezTo>
                      <a:pt x="21" y="18"/>
                      <a:pt x="23" y="19"/>
                      <a:pt x="23" y="19"/>
                    </a:cubicBezTo>
                    <a:cubicBezTo>
                      <a:pt x="23" y="20"/>
                      <a:pt x="23" y="20"/>
                      <a:pt x="24" y="20"/>
                    </a:cubicBezTo>
                    <a:cubicBezTo>
                      <a:pt x="24" y="21"/>
                      <a:pt x="23" y="22"/>
                      <a:pt x="23" y="22"/>
                    </a:cubicBezTo>
                    <a:cubicBezTo>
                      <a:pt x="23" y="23"/>
                      <a:pt x="25" y="25"/>
                      <a:pt x="25" y="26"/>
                    </a:cubicBezTo>
                    <a:cubicBezTo>
                      <a:pt x="27" y="29"/>
                      <a:pt x="29" y="29"/>
                      <a:pt x="29" y="33"/>
                    </a:cubicBezTo>
                    <a:cubicBezTo>
                      <a:pt x="29" y="36"/>
                      <a:pt x="29" y="39"/>
                      <a:pt x="28" y="42"/>
                    </a:cubicBezTo>
                    <a:cubicBezTo>
                      <a:pt x="28" y="43"/>
                      <a:pt x="30" y="43"/>
                      <a:pt x="30" y="44"/>
                    </a:cubicBezTo>
                    <a:cubicBezTo>
                      <a:pt x="29" y="45"/>
                      <a:pt x="28" y="46"/>
                      <a:pt x="28" y="47"/>
                    </a:cubicBezTo>
                    <a:cubicBezTo>
                      <a:pt x="27" y="48"/>
                      <a:pt x="27" y="50"/>
                      <a:pt x="26" y="50"/>
                    </a:cubicBezTo>
                    <a:cubicBezTo>
                      <a:pt x="24" y="51"/>
                      <a:pt x="22" y="50"/>
                      <a:pt x="22" y="53"/>
                    </a:cubicBezTo>
                    <a:cubicBezTo>
                      <a:pt x="22" y="55"/>
                      <a:pt x="19" y="55"/>
                      <a:pt x="22" y="56"/>
                    </a:cubicBezTo>
                    <a:cubicBezTo>
                      <a:pt x="23" y="57"/>
                      <a:pt x="24" y="57"/>
                      <a:pt x="26" y="58"/>
                    </a:cubicBezTo>
                    <a:cubicBezTo>
                      <a:pt x="27" y="59"/>
                      <a:pt x="28" y="60"/>
                      <a:pt x="29" y="61"/>
                    </a:cubicBezTo>
                    <a:cubicBezTo>
                      <a:pt x="31" y="62"/>
                      <a:pt x="32" y="61"/>
                      <a:pt x="34" y="61"/>
                    </a:cubicBezTo>
                    <a:cubicBezTo>
                      <a:pt x="35" y="61"/>
                      <a:pt x="36" y="62"/>
                      <a:pt x="38" y="63"/>
                    </a:cubicBezTo>
                    <a:cubicBezTo>
                      <a:pt x="39" y="63"/>
                      <a:pt x="40" y="63"/>
                      <a:pt x="41" y="64"/>
                    </a:cubicBezTo>
                    <a:cubicBezTo>
                      <a:pt x="44" y="66"/>
                      <a:pt x="46" y="68"/>
                      <a:pt x="48" y="71"/>
                    </a:cubicBezTo>
                    <a:cubicBezTo>
                      <a:pt x="49" y="74"/>
                      <a:pt x="50" y="75"/>
                      <a:pt x="54" y="76"/>
                    </a:cubicBezTo>
                    <a:cubicBezTo>
                      <a:pt x="55" y="76"/>
                      <a:pt x="56" y="75"/>
                      <a:pt x="57" y="74"/>
                    </a:cubicBezTo>
                    <a:cubicBezTo>
                      <a:pt x="58" y="74"/>
                      <a:pt x="59" y="76"/>
                      <a:pt x="60" y="75"/>
                    </a:cubicBezTo>
                    <a:cubicBezTo>
                      <a:pt x="62" y="74"/>
                      <a:pt x="64" y="75"/>
                      <a:pt x="65" y="76"/>
                    </a:cubicBezTo>
                    <a:cubicBezTo>
                      <a:pt x="65" y="77"/>
                      <a:pt x="64" y="79"/>
                      <a:pt x="64" y="80"/>
                    </a:cubicBezTo>
                    <a:cubicBezTo>
                      <a:pt x="63" y="81"/>
                      <a:pt x="62" y="81"/>
                      <a:pt x="64" y="82"/>
                    </a:cubicBezTo>
                    <a:cubicBezTo>
                      <a:pt x="64" y="82"/>
                      <a:pt x="66" y="84"/>
                      <a:pt x="65" y="84"/>
                    </a:cubicBezTo>
                    <a:cubicBezTo>
                      <a:pt x="67" y="84"/>
                      <a:pt x="68" y="73"/>
                      <a:pt x="69" y="71"/>
                    </a:cubicBezTo>
                    <a:cubicBezTo>
                      <a:pt x="69" y="67"/>
                      <a:pt x="66" y="66"/>
                      <a:pt x="65" y="63"/>
                    </a:cubicBezTo>
                    <a:cubicBezTo>
                      <a:pt x="65" y="61"/>
                      <a:pt x="65" y="60"/>
                      <a:pt x="66" y="60"/>
                    </a:cubicBezTo>
                    <a:cubicBezTo>
                      <a:pt x="67" y="60"/>
                      <a:pt x="70" y="59"/>
                      <a:pt x="70" y="58"/>
                    </a:cubicBezTo>
                    <a:cubicBezTo>
                      <a:pt x="69" y="58"/>
                      <a:pt x="67" y="58"/>
                      <a:pt x="67" y="57"/>
                    </a:cubicBezTo>
                    <a:cubicBezTo>
                      <a:pt x="66" y="57"/>
                      <a:pt x="66" y="55"/>
                      <a:pt x="66" y="55"/>
                    </a:cubicBezTo>
                    <a:cubicBezTo>
                      <a:pt x="68" y="55"/>
                      <a:pt x="70" y="55"/>
                      <a:pt x="72" y="55"/>
                    </a:cubicBezTo>
                    <a:cubicBezTo>
                      <a:pt x="73" y="55"/>
                      <a:pt x="79" y="52"/>
                      <a:pt x="79" y="53"/>
                    </a:cubicBezTo>
                    <a:cubicBezTo>
                      <a:pt x="79" y="51"/>
                      <a:pt x="76" y="48"/>
                      <a:pt x="77" y="48"/>
                    </a:cubicBezTo>
                    <a:cubicBezTo>
                      <a:pt x="78" y="47"/>
                      <a:pt x="76" y="48"/>
                      <a:pt x="77" y="4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6" name="Freeform 623">
                <a:extLst>
                  <a:ext uri="{FF2B5EF4-FFF2-40B4-BE49-F238E27FC236}">
                    <a16:creationId xmlns:a16="http://schemas.microsoft.com/office/drawing/2014/main" id="{B06BD972-E815-3F41-979F-E01BF5B51EFA}"/>
                  </a:ext>
                </a:extLst>
              </p:cNvPr>
              <p:cNvSpPr>
                <a:spLocks/>
              </p:cNvSpPr>
              <p:nvPr/>
            </p:nvSpPr>
            <p:spPr bwMode="auto">
              <a:xfrm>
                <a:off x="7923120" y="8978916"/>
                <a:ext cx="261145" cy="309000"/>
              </a:xfrm>
              <a:custGeom>
                <a:avLst/>
                <a:gdLst>
                  <a:gd name="T0" fmla="*/ 20 w 28"/>
                  <a:gd name="T1" fmla="*/ 6 h 33"/>
                  <a:gd name="T2" fmla="*/ 15 w 28"/>
                  <a:gd name="T3" fmla="*/ 3 h 33"/>
                  <a:gd name="T4" fmla="*/ 10 w 28"/>
                  <a:gd name="T5" fmla="*/ 0 h 33"/>
                  <a:gd name="T6" fmla="*/ 4 w 28"/>
                  <a:gd name="T7" fmla="*/ 4 h 33"/>
                  <a:gd name="T8" fmla="*/ 3 w 28"/>
                  <a:gd name="T9" fmla="*/ 7 h 33"/>
                  <a:gd name="T10" fmla="*/ 2 w 28"/>
                  <a:gd name="T11" fmla="*/ 10 h 33"/>
                  <a:gd name="T12" fmla="*/ 0 w 28"/>
                  <a:gd name="T13" fmla="*/ 13 h 33"/>
                  <a:gd name="T14" fmla="*/ 0 w 28"/>
                  <a:gd name="T15" fmla="*/ 15 h 33"/>
                  <a:gd name="T16" fmla="*/ 0 w 28"/>
                  <a:gd name="T17" fmla="*/ 18 h 33"/>
                  <a:gd name="T18" fmla="*/ 2 w 28"/>
                  <a:gd name="T19" fmla="*/ 20 h 33"/>
                  <a:gd name="T20" fmla="*/ 5 w 28"/>
                  <a:gd name="T21" fmla="*/ 18 h 33"/>
                  <a:gd name="T22" fmla="*/ 5 w 28"/>
                  <a:gd name="T23" fmla="*/ 20 h 33"/>
                  <a:gd name="T24" fmla="*/ 3 w 28"/>
                  <a:gd name="T25" fmla="*/ 24 h 33"/>
                  <a:gd name="T26" fmla="*/ 3 w 28"/>
                  <a:gd name="T27" fmla="*/ 26 h 33"/>
                  <a:gd name="T28" fmla="*/ 3 w 28"/>
                  <a:gd name="T29" fmla="*/ 28 h 33"/>
                  <a:gd name="T30" fmla="*/ 8 w 28"/>
                  <a:gd name="T31" fmla="*/ 32 h 33"/>
                  <a:gd name="T32" fmla="*/ 11 w 28"/>
                  <a:gd name="T33" fmla="*/ 29 h 33"/>
                  <a:gd name="T34" fmla="*/ 16 w 28"/>
                  <a:gd name="T35" fmla="*/ 22 h 33"/>
                  <a:gd name="T36" fmla="*/ 22 w 28"/>
                  <a:gd name="T37" fmla="*/ 19 h 33"/>
                  <a:gd name="T38" fmla="*/ 27 w 28"/>
                  <a:gd name="T39" fmla="*/ 13 h 33"/>
                  <a:gd name="T40" fmla="*/ 27 w 28"/>
                  <a:gd name="T41" fmla="*/ 8 h 33"/>
                  <a:gd name="T42" fmla="*/ 24 w 28"/>
                  <a:gd name="T43" fmla="*/ 5 h 33"/>
                  <a:gd name="T44" fmla="*/ 20 w 28"/>
                  <a:gd name="T45"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20" y="6"/>
                    </a:moveTo>
                    <a:cubicBezTo>
                      <a:pt x="18" y="6"/>
                      <a:pt x="17" y="4"/>
                      <a:pt x="15" y="3"/>
                    </a:cubicBezTo>
                    <a:cubicBezTo>
                      <a:pt x="14" y="2"/>
                      <a:pt x="12" y="0"/>
                      <a:pt x="10" y="0"/>
                    </a:cubicBezTo>
                    <a:cubicBezTo>
                      <a:pt x="10" y="3"/>
                      <a:pt x="4" y="1"/>
                      <a:pt x="4" y="4"/>
                    </a:cubicBezTo>
                    <a:cubicBezTo>
                      <a:pt x="4" y="6"/>
                      <a:pt x="4" y="6"/>
                      <a:pt x="3" y="7"/>
                    </a:cubicBezTo>
                    <a:cubicBezTo>
                      <a:pt x="1" y="8"/>
                      <a:pt x="2" y="9"/>
                      <a:pt x="2" y="10"/>
                    </a:cubicBezTo>
                    <a:cubicBezTo>
                      <a:pt x="2" y="11"/>
                      <a:pt x="1" y="12"/>
                      <a:pt x="0" y="13"/>
                    </a:cubicBezTo>
                    <a:cubicBezTo>
                      <a:pt x="0" y="13"/>
                      <a:pt x="0" y="14"/>
                      <a:pt x="0" y="15"/>
                    </a:cubicBezTo>
                    <a:cubicBezTo>
                      <a:pt x="1" y="16"/>
                      <a:pt x="0" y="17"/>
                      <a:pt x="0" y="18"/>
                    </a:cubicBezTo>
                    <a:cubicBezTo>
                      <a:pt x="0" y="18"/>
                      <a:pt x="1" y="21"/>
                      <a:pt x="2" y="20"/>
                    </a:cubicBezTo>
                    <a:cubicBezTo>
                      <a:pt x="4" y="20"/>
                      <a:pt x="4" y="18"/>
                      <a:pt x="5" y="18"/>
                    </a:cubicBezTo>
                    <a:cubicBezTo>
                      <a:pt x="4" y="18"/>
                      <a:pt x="6" y="20"/>
                      <a:pt x="5" y="20"/>
                    </a:cubicBezTo>
                    <a:cubicBezTo>
                      <a:pt x="5" y="22"/>
                      <a:pt x="5" y="23"/>
                      <a:pt x="3" y="24"/>
                    </a:cubicBezTo>
                    <a:cubicBezTo>
                      <a:pt x="3" y="24"/>
                      <a:pt x="4" y="26"/>
                      <a:pt x="3" y="26"/>
                    </a:cubicBezTo>
                    <a:cubicBezTo>
                      <a:pt x="3" y="27"/>
                      <a:pt x="2" y="27"/>
                      <a:pt x="3" y="28"/>
                    </a:cubicBezTo>
                    <a:cubicBezTo>
                      <a:pt x="5" y="29"/>
                      <a:pt x="6" y="29"/>
                      <a:pt x="8" y="32"/>
                    </a:cubicBezTo>
                    <a:cubicBezTo>
                      <a:pt x="9" y="33"/>
                      <a:pt x="10" y="29"/>
                      <a:pt x="11" y="29"/>
                    </a:cubicBezTo>
                    <a:cubicBezTo>
                      <a:pt x="12" y="26"/>
                      <a:pt x="13" y="23"/>
                      <a:pt x="16" y="22"/>
                    </a:cubicBezTo>
                    <a:cubicBezTo>
                      <a:pt x="18" y="21"/>
                      <a:pt x="20" y="21"/>
                      <a:pt x="22" y="19"/>
                    </a:cubicBezTo>
                    <a:cubicBezTo>
                      <a:pt x="24" y="18"/>
                      <a:pt x="26" y="16"/>
                      <a:pt x="27" y="13"/>
                    </a:cubicBezTo>
                    <a:cubicBezTo>
                      <a:pt x="27" y="11"/>
                      <a:pt x="28" y="10"/>
                      <a:pt x="27" y="8"/>
                    </a:cubicBezTo>
                    <a:cubicBezTo>
                      <a:pt x="26" y="7"/>
                      <a:pt x="25" y="6"/>
                      <a:pt x="24" y="5"/>
                    </a:cubicBezTo>
                    <a:cubicBezTo>
                      <a:pt x="23" y="5"/>
                      <a:pt x="21" y="6"/>
                      <a:pt x="20"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7" name="Freeform 624">
                <a:extLst>
                  <a:ext uri="{FF2B5EF4-FFF2-40B4-BE49-F238E27FC236}">
                    <a16:creationId xmlns:a16="http://schemas.microsoft.com/office/drawing/2014/main" id="{02C29C02-B28B-AD4A-AF80-29147C506D80}"/>
                  </a:ext>
                </a:extLst>
              </p:cNvPr>
              <p:cNvSpPr>
                <a:spLocks/>
              </p:cNvSpPr>
              <p:nvPr/>
            </p:nvSpPr>
            <p:spPr bwMode="auto">
              <a:xfrm>
                <a:off x="7894458" y="9036257"/>
                <a:ext cx="598727" cy="888769"/>
              </a:xfrm>
              <a:custGeom>
                <a:avLst/>
                <a:gdLst>
                  <a:gd name="T0" fmla="*/ 57 w 64"/>
                  <a:gd name="T1" fmla="*/ 21 h 95"/>
                  <a:gd name="T2" fmla="*/ 56 w 64"/>
                  <a:gd name="T3" fmla="*/ 14 h 95"/>
                  <a:gd name="T4" fmla="*/ 50 w 64"/>
                  <a:gd name="T5" fmla="*/ 13 h 95"/>
                  <a:gd name="T6" fmla="*/ 46 w 64"/>
                  <a:gd name="T7" fmla="*/ 14 h 95"/>
                  <a:gd name="T8" fmla="*/ 41 w 64"/>
                  <a:gd name="T9" fmla="*/ 11 h 95"/>
                  <a:gd name="T10" fmla="*/ 38 w 64"/>
                  <a:gd name="T11" fmla="*/ 6 h 95"/>
                  <a:gd name="T12" fmla="*/ 33 w 64"/>
                  <a:gd name="T13" fmla="*/ 2 h 95"/>
                  <a:gd name="T14" fmla="*/ 28 w 64"/>
                  <a:gd name="T15" fmla="*/ 0 h 95"/>
                  <a:gd name="T16" fmla="*/ 31 w 64"/>
                  <a:gd name="T17" fmla="*/ 5 h 95"/>
                  <a:gd name="T18" fmla="*/ 28 w 64"/>
                  <a:gd name="T19" fmla="*/ 10 h 95"/>
                  <a:gd name="T20" fmla="*/ 23 w 64"/>
                  <a:gd name="T21" fmla="*/ 14 h 95"/>
                  <a:gd name="T22" fmla="*/ 17 w 64"/>
                  <a:gd name="T23" fmla="*/ 17 h 95"/>
                  <a:gd name="T24" fmla="*/ 11 w 64"/>
                  <a:gd name="T25" fmla="*/ 26 h 95"/>
                  <a:gd name="T26" fmla="*/ 6 w 64"/>
                  <a:gd name="T27" fmla="*/ 22 h 95"/>
                  <a:gd name="T28" fmla="*/ 6 w 64"/>
                  <a:gd name="T29" fmla="*/ 21 h 95"/>
                  <a:gd name="T30" fmla="*/ 6 w 64"/>
                  <a:gd name="T31" fmla="*/ 18 h 95"/>
                  <a:gd name="T32" fmla="*/ 2 w 64"/>
                  <a:gd name="T33" fmla="*/ 26 h 95"/>
                  <a:gd name="T34" fmla="*/ 3 w 64"/>
                  <a:gd name="T35" fmla="*/ 30 h 95"/>
                  <a:gd name="T36" fmla="*/ 3 w 64"/>
                  <a:gd name="T37" fmla="*/ 32 h 95"/>
                  <a:gd name="T38" fmla="*/ 14 w 64"/>
                  <a:gd name="T39" fmla="*/ 47 h 95"/>
                  <a:gd name="T40" fmla="*/ 23 w 64"/>
                  <a:gd name="T41" fmla="*/ 63 h 95"/>
                  <a:gd name="T42" fmla="*/ 26 w 64"/>
                  <a:gd name="T43" fmla="*/ 70 h 95"/>
                  <a:gd name="T44" fmla="*/ 25 w 64"/>
                  <a:gd name="T45" fmla="*/ 71 h 95"/>
                  <a:gd name="T46" fmla="*/ 28 w 64"/>
                  <a:gd name="T47" fmla="*/ 74 h 95"/>
                  <a:gd name="T48" fmla="*/ 32 w 64"/>
                  <a:gd name="T49" fmla="*/ 79 h 95"/>
                  <a:gd name="T50" fmla="*/ 41 w 64"/>
                  <a:gd name="T51" fmla="*/ 83 h 95"/>
                  <a:gd name="T52" fmla="*/ 48 w 64"/>
                  <a:gd name="T53" fmla="*/ 87 h 95"/>
                  <a:gd name="T54" fmla="*/ 54 w 64"/>
                  <a:gd name="T55" fmla="*/ 93 h 95"/>
                  <a:gd name="T56" fmla="*/ 59 w 64"/>
                  <a:gd name="T57" fmla="*/ 90 h 95"/>
                  <a:gd name="T58" fmla="*/ 61 w 64"/>
                  <a:gd name="T59" fmla="*/ 86 h 95"/>
                  <a:gd name="T60" fmla="*/ 63 w 64"/>
                  <a:gd name="T61" fmla="*/ 82 h 95"/>
                  <a:gd name="T62" fmla="*/ 61 w 64"/>
                  <a:gd name="T63" fmla="*/ 78 h 95"/>
                  <a:gd name="T64" fmla="*/ 61 w 64"/>
                  <a:gd name="T65" fmla="*/ 76 h 95"/>
                  <a:gd name="T66" fmla="*/ 63 w 64"/>
                  <a:gd name="T67" fmla="*/ 74 h 95"/>
                  <a:gd name="T68" fmla="*/ 64 w 64"/>
                  <a:gd name="T69" fmla="*/ 64 h 95"/>
                  <a:gd name="T70" fmla="*/ 62 w 64"/>
                  <a:gd name="T71" fmla="*/ 59 h 95"/>
                  <a:gd name="T72" fmla="*/ 57 w 64"/>
                  <a:gd name="T73" fmla="*/ 57 h 95"/>
                  <a:gd name="T74" fmla="*/ 55 w 64"/>
                  <a:gd name="T75" fmla="*/ 48 h 95"/>
                  <a:gd name="T76" fmla="*/ 50 w 64"/>
                  <a:gd name="T77" fmla="*/ 51 h 95"/>
                  <a:gd name="T78" fmla="*/ 46 w 64"/>
                  <a:gd name="T79" fmla="*/ 51 h 95"/>
                  <a:gd name="T80" fmla="*/ 44 w 64"/>
                  <a:gd name="T81" fmla="*/ 48 h 95"/>
                  <a:gd name="T82" fmla="*/ 40 w 64"/>
                  <a:gd name="T83" fmla="*/ 42 h 95"/>
                  <a:gd name="T84" fmla="*/ 39 w 64"/>
                  <a:gd name="T85" fmla="*/ 35 h 95"/>
                  <a:gd name="T86" fmla="*/ 42 w 64"/>
                  <a:gd name="T87" fmla="*/ 33 h 95"/>
                  <a:gd name="T88" fmla="*/ 42 w 64"/>
                  <a:gd name="T89" fmla="*/ 30 h 95"/>
                  <a:gd name="T90" fmla="*/ 45 w 64"/>
                  <a:gd name="T91" fmla="*/ 25 h 95"/>
                  <a:gd name="T92" fmla="*/ 50 w 64"/>
                  <a:gd name="T93" fmla="*/ 24 h 95"/>
                  <a:gd name="T94" fmla="*/ 53 w 64"/>
                  <a:gd name="T95" fmla="*/ 22 h 95"/>
                  <a:gd name="T96" fmla="*/ 57 w 64"/>
                  <a:gd name="T97" fmla="*/ 21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95">
                    <a:moveTo>
                      <a:pt x="57" y="21"/>
                    </a:moveTo>
                    <a:cubicBezTo>
                      <a:pt x="53" y="19"/>
                      <a:pt x="59" y="15"/>
                      <a:pt x="56" y="14"/>
                    </a:cubicBezTo>
                    <a:cubicBezTo>
                      <a:pt x="54" y="12"/>
                      <a:pt x="52" y="13"/>
                      <a:pt x="50" y="13"/>
                    </a:cubicBezTo>
                    <a:cubicBezTo>
                      <a:pt x="48" y="12"/>
                      <a:pt x="48" y="14"/>
                      <a:pt x="46" y="14"/>
                    </a:cubicBezTo>
                    <a:cubicBezTo>
                      <a:pt x="44" y="13"/>
                      <a:pt x="42" y="13"/>
                      <a:pt x="41" y="11"/>
                    </a:cubicBezTo>
                    <a:cubicBezTo>
                      <a:pt x="40" y="10"/>
                      <a:pt x="39" y="7"/>
                      <a:pt x="38" y="6"/>
                    </a:cubicBezTo>
                    <a:cubicBezTo>
                      <a:pt x="36" y="5"/>
                      <a:pt x="35" y="3"/>
                      <a:pt x="33" y="2"/>
                    </a:cubicBezTo>
                    <a:cubicBezTo>
                      <a:pt x="32" y="0"/>
                      <a:pt x="30" y="1"/>
                      <a:pt x="28" y="0"/>
                    </a:cubicBezTo>
                    <a:cubicBezTo>
                      <a:pt x="30" y="2"/>
                      <a:pt x="31" y="3"/>
                      <a:pt x="31" y="5"/>
                    </a:cubicBezTo>
                    <a:cubicBezTo>
                      <a:pt x="30" y="7"/>
                      <a:pt x="30" y="9"/>
                      <a:pt x="28" y="10"/>
                    </a:cubicBezTo>
                    <a:cubicBezTo>
                      <a:pt x="26" y="12"/>
                      <a:pt x="25" y="14"/>
                      <a:pt x="23" y="14"/>
                    </a:cubicBezTo>
                    <a:cubicBezTo>
                      <a:pt x="21" y="15"/>
                      <a:pt x="19" y="15"/>
                      <a:pt x="17" y="17"/>
                    </a:cubicBezTo>
                    <a:cubicBezTo>
                      <a:pt x="16" y="18"/>
                      <a:pt x="12" y="27"/>
                      <a:pt x="11" y="26"/>
                    </a:cubicBezTo>
                    <a:cubicBezTo>
                      <a:pt x="9" y="23"/>
                      <a:pt x="8" y="23"/>
                      <a:pt x="6" y="22"/>
                    </a:cubicBezTo>
                    <a:cubicBezTo>
                      <a:pt x="5" y="22"/>
                      <a:pt x="5" y="22"/>
                      <a:pt x="6" y="21"/>
                    </a:cubicBezTo>
                    <a:cubicBezTo>
                      <a:pt x="7" y="20"/>
                      <a:pt x="7" y="19"/>
                      <a:pt x="6" y="18"/>
                    </a:cubicBezTo>
                    <a:cubicBezTo>
                      <a:pt x="4" y="19"/>
                      <a:pt x="0" y="23"/>
                      <a:pt x="2" y="26"/>
                    </a:cubicBezTo>
                    <a:cubicBezTo>
                      <a:pt x="2" y="26"/>
                      <a:pt x="4" y="29"/>
                      <a:pt x="3" y="30"/>
                    </a:cubicBezTo>
                    <a:cubicBezTo>
                      <a:pt x="2" y="30"/>
                      <a:pt x="1" y="31"/>
                      <a:pt x="3" y="32"/>
                    </a:cubicBezTo>
                    <a:cubicBezTo>
                      <a:pt x="8" y="35"/>
                      <a:pt x="12" y="41"/>
                      <a:pt x="14" y="47"/>
                    </a:cubicBezTo>
                    <a:cubicBezTo>
                      <a:pt x="17" y="52"/>
                      <a:pt x="19" y="58"/>
                      <a:pt x="23" y="63"/>
                    </a:cubicBezTo>
                    <a:cubicBezTo>
                      <a:pt x="24" y="65"/>
                      <a:pt x="26" y="67"/>
                      <a:pt x="26" y="70"/>
                    </a:cubicBezTo>
                    <a:cubicBezTo>
                      <a:pt x="26" y="71"/>
                      <a:pt x="25" y="70"/>
                      <a:pt x="25" y="71"/>
                    </a:cubicBezTo>
                    <a:cubicBezTo>
                      <a:pt x="26" y="72"/>
                      <a:pt x="27" y="73"/>
                      <a:pt x="28" y="74"/>
                    </a:cubicBezTo>
                    <a:cubicBezTo>
                      <a:pt x="29" y="76"/>
                      <a:pt x="30" y="78"/>
                      <a:pt x="32" y="79"/>
                    </a:cubicBezTo>
                    <a:cubicBezTo>
                      <a:pt x="35" y="80"/>
                      <a:pt x="38" y="82"/>
                      <a:pt x="41" y="83"/>
                    </a:cubicBezTo>
                    <a:cubicBezTo>
                      <a:pt x="43" y="84"/>
                      <a:pt x="45" y="86"/>
                      <a:pt x="48" y="87"/>
                    </a:cubicBezTo>
                    <a:cubicBezTo>
                      <a:pt x="50" y="89"/>
                      <a:pt x="52" y="91"/>
                      <a:pt x="54" y="93"/>
                    </a:cubicBezTo>
                    <a:cubicBezTo>
                      <a:pt x="58" y="95"/>
                      <a:pt x="57" y="91"/>
                      <a:pt x="59" y="90"/>
                    </a:cubicBezTo>
                    <a:cubicBezTo>
                      <a:pt x="60" y="89"/>
                      <a:pt x="60" y="87"/>
                      <a:pt x="61" y="86"/>
                    </a:cubicBezTo>
                    <a:cubicBezTo>
                      <a:pt x="61" y="85"/>
                      <a:pt x="64" y="83"/>
                      <a:pt x="63" y="82"/>
                    </a:cubicBezTo>
                    <a:cubicBezTo>
                      <a:pt x="61" y="81"/>
                      <a:pt x="60" y="81"/>
                      <a:pt x="61" y="78"/>
                    </a:cubicBezTo>
                    <a:cubicBezTo>
                      <a:pt x="61" y="77"/>
                      <a:pt x="61" y="76"/>
                      <a:pt x="61" y="76"/>
                    </a:cubicBezTo>
                    <a:cubicBezTo>
                      <a:pt x="62" y="75"/>
                      <a:pt x="63" y="74"/>
                      <a:pt x="63" y="74"/>
                    </a:cubicBezTo>
                    <a:cubicBezTo>
                      <a:pt x="64" y="71"/>
                      <a:pt x="62" y="66"/>
                      <a:pt x="64" y="64"/>
                    </a:cubicBezTo>
                    <a:cubicBezTo>
                      <a:pt x="64" y="63"/>
                      <a:pt x="63" y="61"/>
                      <a:pt x="62" y="59"/>
                    </a:cubicBezTo>
                    <a:cubicBezTo>
                      <a:pt x="61" y="56"/>
                      <a:pt x="60" y="56"/>
                      <a:pt x="57" y="57"/>
                    </a:cubicBezTo>
                    <a:cubicBezTo>
                      <a:pt x="53" y="57"/>
                      <a:pt x="55" y="50"/>
                      <a:pt x="55" y="48"/>
                    </a:cubicBezTo>
                    <a:cubicBezTo>
                      <a:pt x="53" y="49"/>
                      <a:pt x="52" y="51"/>
                      <a:pt x="50" y="51"/>
                    </a:cubicBezTo>
                    <a:cubicBezTo>
                      <a:pt x="49" y="51"/>
                      <a:pt x="47" y="51"/>
                      <a:pt x="46" y="51"/>
                    </a:cubicBezTo>
                    <a:cubicBezTo>
                      <a:pt x="45" y="50"/>
                      <a:pt x="45" y="48"/>
                      <a:pt x="44" y="48"/>
                    </a:cubicBezTo>
                    <a:cubicBezTo>
                      <a:pt x="41" y="48"/>
                      <a:pt x="41" y="44"/>
                      <a:pt x="40" y="42"/>
                    </a:cubicBezTo>
                    <a:cubicBezTo>
                      <a:pt x="38" y="40"/>
                      <a:pt x="37" y="37"/>
                      <a:pt x="39" y="35"/>
                    </a:cubicBezTo>
                    <a:cubicBezTo>
                      <a:pt x="40" y="34"/>
                      <a:pt x="42" y="34"/>
                      <a:pt x="42" y="33"/>
                    </a:cubicBezTo>
                    <a:cubicBezTo>
                      <a:pt x="42" y="32"/>
                      <a:pt x="42" y="31"/>
                      <a:pt x="42" y="30"/>
                    </a:cubicBezTo>
                    <a:cubicBezTo>
                      <a:pt x="42" y="27"/>
                      <a:pt x="42" y="26"/>
                      <a:pt x="45" y="25"/>
                    </a:cubicBezTo>
                    <a:cubicBezTo>
                      <a:pt x="47" y="24"/>
                      <a:pt x="48" y="24"/>
                      <a:pt x="50" y="24"/>
                    </a:cubicBezTo>
                    <a:cubicBezTo>
                      <a:pt x="51" y="24"/>
                      <a:pt x="52" y="23"/>
                      <a:pt x="53" y="22"/>
                    </a:cubicBezTo>
                    <a:cubicBezTo>
                      <a:pt x="54" y="22"/>
                      <a:pt x="59" y="23"/>
                      <a:pt x="57"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8" name="Freeform 625">
                <a:extLst>
                  <a:ext uri="{FF2B5EF4-FFF2-40B4-BE49-F238E27FC236}">
                    <a16:creationId xmlns:a16="http://schemas.microsoft.com/office/drawing/2014/main" id="{3AE1D0AF-4D3D-2E44-BA0A-0589C717AB3F}"/>
                  </a:ext>
                </a:extLst>
              </p:cNvPr>
              <p:cNvSpPr>
                <a:spLocks/>
              </p:cNvSpPr>
              <p:nvPr/>
            </p:nvSpPr>
            <p:spPr bwMode="auto">
              <a:xfrm>
                <a:off x="8158790" y="9867685"/>
                <a:ext cx="407643" cy="1984597"/>
              </a:xfrm>
              <a:custGeom>
                <a:avLst/>
                <a:gdLst>
                  <a:gd name="T0" fmla="*/ 38 w 44"/>
                  <a:gd name="T1" fmla="*/ 20 h 212"/>
                  <a:gd name="T2" fmla="*/ 36 w 44"/>
                  <a:gd name="T3" fmla="*/ 12 h 212"/>
                  <a:gd name="T4" fmla="*/ 34 w 44"/>
                  <a:gd name="T5" fmla="*/ 5 h 212"/>
                  <a:gd name="T6" fmla="*/ 30 w 44"/>
                  <a:gd name="T7" fmla="*/ 3 h 212"/>
                  <a:gd name="T8" fmla="*/ 28 w 44"/>
                  <a:gd name="T9" fmla="*/ 15 h 212"/>
                  <a:gd name="T10" fmla="*/ 26 w 44"/>
                  <a:gd name="T11" fmla="*/ 31 h 212"/>
                  <a:gd name="T12" fmla="*/ 23 w 44"/>
                  <a:gd name="T13" fmla="*/ 56 h 212"/>
                  <a:gd name="T14" fmla="*/ 21 w 44"/>
                  <a:gd name="T15" fmla="*/ 68 h 212"/>
                  <a:gd name="T16" fmla="*/ 21 w 44"/>
                  <a:gd name="T17" fmla="*/ 80 h 212"/>
                  <a:gd name="T18" fmla="*/ 20 w 44"/>
                  <a:gd name="T19" fmla="*/ 88 h 212"/>
                  <a:gd name="T20" fmla="*/ 11 w 44"/>
                  <a:gd name="T21" fmla="*/ 110 h 212"/>
                  <a:gd name="T22" fmla="*/ 10 w 44"/>
                  <a:gd name="T23" fmla="*/ 132 h 212"/>
                  <a:gd name="T24" fmla="*/ 17 w 44"/>
                  <a:gd name="T25" fmla="*/ 133 h 212"/>
                  <a:gd name="T26" fmla="*/ 16 w 44"/>
                  <a:gd name="T27" fmla="*/ 136 h 212"/>
                  <a:gd name="T28" fmla="*/ 14 w 44"/>
                  <a:gd name="T29" fmla="*/ 145 h 212"/>
                  <a:gd name="T30" fmla="*/ 15 w 44"/>
                  <a:gd name="T31" fmla="*/ 150 h 212"/>
                  <a:gd name="T32" fmla="*/ 13 w 44"/>
                  <a:gd name="T33" fmla="*/ 152 h 212"/>
                  <a:gd name="T34" fmla="*/ 11 w 44"/>
                  <a:gd name="T35" fmla="*/ 158 h 212"/>
                  <a:gd name="T36" fmla="*/ 8 w 44"/>
                  <a:gd name="T37" fmla="*/ 159 h 212"/>
                  <a:gd name="T38" fmla="*/ 4 w 44"/>
                  <a:gd name="T39" fmla="*/ 159 h 212"/>
                  <a:gd name="T40" fmla="*/ 0 w 44"/>
                  <a:gd name="T41" fmla="*/ 164 h 212"/>
                  <a:gd name="T42" fmla="*/ 2 w 44"/>
                  <a:gd name="T43" fmla="*/ 163 h 212"/>
                  <a:gd name="T44" fmla="*/ 7 w 44"/>
                  <a:gd name="T45" fmla="*/ 171 h 212"/>
                  <a:gd name="T46" fmla="*/ 11 w 44"/>
                  <a:gd name="T47" fmla="*/ 173 h 212"/>
                  <a:gd name="T48" fmla="*/ 7 w 44"/>
                  <a:gd name="T49" fmla="*/ 174 h 212"/>
                  <a:gd name="T50" fmla="*/ 7 w 44"/>
                  <a:gd name="T51" fmla="*/ 179 h 212"/>
                  <a:gd name="T52" fmla="*/ 9 w 44"/>
                  <a:gd name="T53" fmla="*/ 182 h 212"/>
                  <a:gd name="T54" fmla="*/ 9 w 44"/>
                  <a:gd name="T55" fmla="*/ 185 h 212"/>
                  <a:gd name="T56" fmla="*/ 7 w 44"/>
                  <a:gd name="T57" fmla="*/ 187 h 212"/>
                  <a:gd name="T58" fmla="*/ 10 w 44"/>
                  <a:gd name="T59" fmla="*/ 190 h 212"/>
                  <a:gd name="T60" fmla="*/ 8 w 44"/>
                  <a:gd name="T61" fmla="*/ 193 h 212"/>
                  <a:gd name="T62" fmla="*/ 11 w 44"/>
                  <a:gd name="T63" fmla="*/ 194 h 212"/>
                  <a:gd name="T64" fmla="*/ 11 w 44"/>
                  <a:gd name="T65" fmla="*/ 198 h 212"/>
                  <a:gd name="T66" fmla="*/ 15 w 44"/>
                  <a:gd name="T67" fmla="*/ 197 h 212"/>
                  <a:gd name="T68" fmla="*/ 15 w 44"/>
                  <a:gd name="T69" fmla="*/ 197 h 212"/>
                  <a:gd name="T70" fmla="*/ 16 w 44"/>
                  <a:gd name="T71" fmla="*/ 198 h 212"/>
                  <a:gd name="T72" fmla="*/ 18 w 44"/>
                  <a:gd name="T73" fmla="*/ 202 h 212"/>
                  <a:gd name="T74" fmla="*/ 16 w 44"/>
                  <a:gd name="T75" fmla="*/ 207 h 212"/>
                  <a:gd name="T76" fmla="*/ 18 w 44"/>
                  <a:gd name="T77" fmla="*/ 209 h 212"/>
                  <a:gd name="T78" fmla="*/ 25 w 44"/>
                  <a:gd name="T79" fmla="*/ 204 h 212"/>
                  <a:gd name="T80" fmla="*/ 26 w 44"/>
                  <a:gd name="T81" fmla="*/ 199 h 212"/>
                  <a:gd name="T82" fmla="*/ 17 w 44"/>
                  <a:gd name="T83" fmla="*/ 192 h 212"/>
                  <a:gd name="T84" fmla="*/ 12 w 44"/>
                  <a:gd name="T85" fmla="*/ 185 h 212"/>
                  <a:gd name="T86" fmla="*/ 15 w 44"/>
                  <a:gd name="T87" fmla="*/ 177 h 212"/>
                  <a:gd name="T88" fmla="*/ 17 w 44"/>
                  <a:gd name="T89" fmla="*/ 169 h 212"/>
                  <a:gd name="T90" fmla="*/ 21 w 44"/>
                  <a:gd name="T91" fmla="*/ 158 h 212"/>
                  <a:gd name="T92" fmla="*/ 21 w 44"/>
                  <a:gd name="T93" fmla="*/ 152 h 212"/>
                  <a:gd name="T94" fmla="*/ 19 w 44"/>
                  <a:gd name="T95" fmla="*/ 140 h 212"/>
                  <a:gd name="T96" fmla="*/ 23 w 44"/>
                  <a:gd name="T97" fmla="*/ 117 h 212"/>
                  <a:gd name="T98" fmla="*/ 26 w 44"/>
                  <a:gd name="T99" fmla="*/ 102 h 212"/>
                  <a:gd name="T100" fmla="*/ 29 w 44"/>
                  <a:gd name="T101" fmla="*/ 85 h 212"/>
                  <a:gd name="T102" fmla="*/ 27 w 44"/>
                  <a:gd name="T103" fmla="*/ 73 h 212"/>
                  <a:gd name="T104" fmla="*/ 30 w 44"/>
                  <a:gd name="T105" fmla="*/ 62 h 212"/>
                  <a:gd name="T106" fmla="*/ 34 w 44"/>
                  <a:gd name="T107" fmla="*/ 54 h 212"/>
                  <a:gd name="T108" fmla="*/ 36 w 44"/>
                  <a:gd name="T109" fmla="*/ 44 h 212"/>
                  <a:gd name="T110" fmla="*/ 40 w 44"/>
                  <a:gd name="T111" fmla="*/ 35 h 212"/>
                  <a:gd name="T112" fmla="*/ 40 w 44"/>
                  <a:gd name="T113" fmla="*/ 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4" h="212">
                    <a:moveTo>
                      <a:pt x="40" y="28"/>
                    </a:moveTo>
                    <a:cubicBezTo>
                      <a:pt x="38" y="27"/>
                      <a:pt x="40" y="22"/>
                      <a:pt x="38" y="20"/>
                    </a:cubicBezTo>
                    <a:cubicBezTo>
                      <a:pt x="37" y="19"/>
                      <a:pt x="35" y="16"/>
                      <a:pt x="36" y="14"/>
                    </a:cubicBezTo>
                    <a:cubicBezTo>
                      <a:pt x="38" y="13"/>
                      <a:pt x="35" y="13"/>
                      <a:pt x="36" y="12"/>
                    </a:cubicBezTo>
                    <a:cubicBezTo>
                      <a:pt x="37" y="11"/>
                      <a:pt x="36" y="10"/>
                      <a:pt x="35" y="9"/>
                    </a:cubicBezTo>
                    <a:cubicBezTo>
                      <a:pt x="34" y="8"/>
                      <a:pt x="34" y="7"/>
                      <a:pt x="34" y="5"/>
                    </a:cubicBezTo>
                    <a:cubicBezTo>
                      <a:pt x="34" y="3"/>
                      <a:pt x="33" y="2"/>
                      <a:pt x="32" y="0"/>
                    </a:cubicBezTo>
                    <a:cubicBezTo>
                      <a:pt x="31" y="1"/>
                      <a:pt x="30" y="2"/>
                      <a:pt x="30" y="3"/>
                    </a:cubicBezTo>
                    <a:cubicBezTo>
                      <a:pt x="29" y="5"/>
                      <a:pt x="27" y="4"/>
                      <a:pt x="28" y="6"/>
                    </a:cubicBezTo>
                    <a:cubicBezTo>
                      <a:pt x="28" y="9"/>
                      <a:pt x="28" y="12"/>
                      <a:pt x="28" y="15"/>
                    </a:cubicBezTo>
                    <a:cubicBezTo>
                      <a:pt x="28" y="19"/>
                      <a:pt x="29" y="24"/>
                      <a:pt x="28" y="28"/>
                    </a:cubicBezTo>
                    <a:cubicBezTo>
                      <a:pt x="27" y="29"/>
                      <a:pt x="26" y="30"/>
                      <a:pt x="26" y="31"/>
                    </a:cubicBezTo>
                    <a:cubicBezTo>
                      <a:pt x="26" y="33"/>
                      <a:pt x="27" y="35"/>
                      <a:pt x="27" y="37"/>
                    </a:cubicBezTo>
                    <a:cubicBezTo>
                      <a:pt x="27" y="43"/>
                      <a:pt x="25" y="50"/>
                      <a:pt x="23" y="56"/>
                    </a:cubicBezTo>
                    <a:cubicBezTo>
                      <a:pt x="22" y="59"/>
                      <a:pt x="22" y="61"/>
                      <a:pt x="23" y="64"/>
                    </a:cubicBezTo>
                    <a:cubicBezTo>
                      <a:pt x="23" y="66"/>
                      <a:pt x="23" y="67"/>
                      <a:pt x="21" y="68"/>
                    </a:cubicBezTo>
                    <a:cubicBezTo>
                      <a:pt x="20" y="69"/>
                      <a:pt x="21" y="70"/>
                      <a:pt x="21" y="71"/>
                    </a:cubicBezTo>
                    <a:cubicBezTo>
                      <a:pt x="21" y="74"/>
                      <a:pt x="21" y="77"/>
                      <a:pt x="21" y="80"/>
                    </a:cubicBezTo>
                    <a:cubicBezTo>
                      <a:pt x="21" y="81"/>
                      <a:pt x="21" y="83"/>
                      <a:pt x="21" y="84"/>
                    </a:cubicBezTo>
                    <a:cubicBezTo>
                      <a:pt x="20" y="85"/>
                      <a:pt x="21" y="87"/>
                      <a:pt x="20" y="88"/>
                    </a:cubicBezTo>
                    <a:cubicBezTo>
                      <a:pt x="18" y="93"/>
                      <a:pt x="16" y="98"/>
                      <a:pt x="14" y="103"/>
                    </a:cubicBezTo>
                    <a:cubicBezTo>
                      <a:pt x="13" y="106"/>
                      <a:pt x="10" y="107"/>
                      <a:pt x="11" y="110"/>
                    </a:cubicBezTo>
                    <a:cubicBezTo>
                      <a:pt x="12" y="113"/>
                      <a:pt x="14" y="118"/>
                      <a:pt x="12" y="122"/>
                    </a:cubicBezTo>
                    <a:cubicBezTo>
                      <a:pt x="10" y="124"/>
                      <a:pt x="8" y="129"/>
                      <a:pt x="10" y="132"/>
                    </a:cubicBezTo>
                    <a:cubicBezTo>
                      <a:pt x="11" y="134"/>
                      <a:pt x="12" y="134"/>
                      <a:pt x="13" y="133"/>
                    </a:cubicBezTo>
                    <a:cubicBezTo>
                      <a:pt x="14" y="132"/>
                      <a:pt x="18" y="132"/>
                      <a:pt x="17" y="133"/>
                    </a:cubicBezTo>
                    <a:cubicBezTo>
                      <a:pt x="17" y="133"/>
                      <a:pt x="16" y="133"/>
                      <a:pt x="15" y="134"/>
                    </a:cubicBezTo>
                    <a:cubicBezTo>
                      <a:pt x="15" y="135"/>
                      <a:pt x="15" y="135"/>
                      <a:pt x="16" y="136"/>
                    </a:cubicBezTo>
                    <a:cubicBezTo>
                      <a:pt x="16" y="136"/>
                      <a:pt x="15" y="137"/>
                      <a:pt x="15" y="137"/>
                    </a:cubicBezTo>
                    <a:cubicBezTo>
                      <a:pt x="14" y="139"/>
                      <a:pt x="13" y="143"/>
                      <a:pt x="14" y="145"/>
                    </a:cubicBezTo>
                    <a:cubicBezTo>
                      <a:pt x="14" y="146"/>
                      <a:pt x="14" y="146"/>
                      <a:pt x="13" y="148"/>
                    </a:cubicBezTo>
                    <a:cubicBezTo>
                      <a:pt x="12" y="149"/>
                      <a:pt x="14" y="149"/>
                      <a:pt x="15" y="150"/>
                    </a:cubicBezTo>
                    <a:cubicBezTo>
                      <a:pt x="15" y="150"/>
                      <a:pt x="15" y="150"/>
                      <a:pt x="14" y="151"/>
                    </a:cubicBezTo>
                    <a:cubicBezTo>
                      <a:pt x="13" y="151"/>
                      <a:pt x="11" y="152"/>
                      <a:pt x="13" y="152"/>
                    </a:cubicBezTo>
                    <a:cubicBezTo>
                      <a:pt x="12" y="153"/>
                      <a:pt x="13" y="156"/>
                      <a:pt x="14" y="156"/>
                    </a:cubicBezTo>
                    <a:cubicBezTo>
                      <a:pt x="13" y="156"/>
                      <a:pt x="10" y="155"/>
                      <a:pt x="11" y="158"/>
                    </a:cubicBezTo>
                    <a:cubicBezTo>
                      <a:pt x="11" y="158"/>
                      <a:pt x="12" y="163"/>
                      <a:pt x="10" y="162"/>
                    </a:cubicBezTo>
                    <a:cubicBezTo>
                      <a:pt x="10" y="162"/>
                      <a:pt x="8" y="160"/>
                      <a:pt x="8" y="159"/>
                    </a:cubicBezTo>
                    <a:cubicBezTo>
                      <a:pt x="6" y="158"/>
                      <a:pt x="7" y="157"/>
                      <a:pt x="5" y="158"/>
                    </a:cubicBezTo>
                    <a:cubicBezTo>
                      <a:pt x="5" y="158"/>
                      <a:pt x="4" y="159"/>
                      <a:pt x="4" y="159"/>
                    </a:cubicBezTo>
                    <a:cubicBezTo>
                      <a:pt x="4" y="160"/>
                      <a:pt x="5" y="160"/>
                      <a:pt x="4" y="161"/>
                    </a:cubicBezTo>
                    <a:cubicBezTo>
                      <a:pt x="4" y="162"/>
                      <a:pt x="0" y="162"/>
                      <a:pt x="0" y="164"/>
                    </a:cubicBezTo>
                    <a:cubicBezTo>
                      <a:pt x="0" y="164"/>
                      <a:pt x="1" y="165"/>
                      <a:pt x="2" y="165"/>
                    </a:cubicBezTo>
                    <a:cubicBezTo>
                      <a:pt x="2" y="165"/>
                      <a:pt x="1" y="164"/>
                      <a:pt x="2" y="163"/>
                    </a:cubicBezTo>
                    <a:cubicBezTo>
                      <a:pt x="2" y="163"/>
                      <a:pt x="5" y="165"/>
                      <a:pt x="7" y="164"/>
                    </a:cubicBezTo>
                    <a:cubicBezTo>
                      <a:pt x="11" y="163"/>
                      <a:pt x="5" y="170"/>
                      <a:pt x="7" y="171"/>
                    </a:cubicBezTo>
                    <a:cubicBezTo>
                      <a:pt x="8" y="171"/>
                      <a:pt x="10" y="170"/>
                      <a:pt x="11" y="171"/>
                    </a:cubicBezTo>
                    <a:cubicBezTo>
                      <a:pt x="12" y="171"/>
                      <a:pt x="12" y="174"/>
                      <a:pt x="11" y="173"/>
                    </a:cubicBezTo>
                    <a:cubicBezTo>
                      <a:pt x="11" y="173"/>
                      <a:pt x="8" y="171"/>
                      <a:pt x="8" y="172"/>
                    </a:cubicBezTo>
                    <a:cubicBezTo>
                      <a:pt x="7" y="173"/>
                      <a:pt x="6" y="173"/>
                      <a:pt x="7" y="174"/>
                    </a:cubicBezTo>
                    <a:cubicBezTo>
                      <a:pt x="7" y="174"/>
                      <a:pt x="9" y="176"/>
                      <a:pt x="8" y="176"/>
                    </a:cubicBezTo>
                    <a:cubicBezTo>
                      <a:pt x="7" y="176"/>
                      <a:pt x="7" y="179"/>
                      <a:pt x="7" y="179"/>
                    </a:cubicBezTo>
                    <a:cubicBezTo>
                      <a:pt x="6" y="182"/>
                      <a:pt x="9" y="178"/>
                      <a:pt x="9" y="178"/>
                    </a:cubicBezTo>
                    <a:cubicBezTo>
                      <a:pt x="9" y="178"/>
                      <a:pt x="8" y="183"/>
                      <a:pt x="9" y="182"/>
                    </a:cubicBezTo>
                    <a:cubicBezTo>
                      <a:pt x="9" y="182"/>
                      <a:pt x="8" y="182"/>
                      <a:pt x="8" y="183"/>
                    </a:cubicBezTo>
                    <a:cubicBezTo>
                      <a:pt x="7" y="184"/>
                      <a:pt x="8" y="184"/>
                      <a:pt x="9" y="185"/>
                    </a:cubicBezTo>
                    <a:cubicBezTo>
                      <a:pt x="9" y="185"/>
                      <a:pt x="7" y="186"/>
                      <a:pt x="7" y="186"/>
                    </a:cubicBezTo>
                    <a:cubicBezTo>
                      <a:pt x="6" y="186"/>
                      <a:pt x="7" y="186"/>
                      <a:pt x="7" y="187"/>
                    </a:cubicBezTo>
                    <a:cubicBezTo>
                      <a:pt x="6" y="189"/>
                      <a:pt x="10" y="189"/>
                      <a:pt x="10" y="188"/>
                    </a:cubicBezTo>
                    <a:cubicBezTo>
                      <a:pt x="10" y="189"/>
                      <a:pt x="9" y="189"/>
                      <a:pt x="10" y="190"/>
                    </a:cubicBezTo>
                    <a:cubicBezTo>
                      <a:pt x="10" y="190"/>
                      <a:pt x="10" y="190"/>
                      <a:pt x="10" y="190"/>
                    </a:cubicBezTo>
                    <a:cubicBezTo>
                      <a:pt x="10" y="191"/>
                      <a:pt x="8" y="192"/>
                      <a:pt x="8" y="193"/>
                    </a:cubicBezTo>
                    <a:cubicBezTo>
                      <a:pt x="7" y="195"/>
                      <a:pt x="10" y="192"/>
                      <a:pt x="11" y="192"/>
                    </a:cubicBezTo>
                    <a:cubicBezTo>
                      <a:pt x="10" y="193"/>
                      <a:pt x="11" y="194"/>
                      <a:pt x="11" y="194"/>
                    </a:cubicBezTo>
                    <a:cubicBezTo>
                      <a:pt x="11" y="195"/>
                      <a:pt x="8" y="196"/>
                      <a:pt x="8" y="196"/>
                    </a:cubicBezTo>
                    <a:cubicBezTo>
                      <a:pt x="10" y="197"/>
                      <a:pt x="10" y="196"/>
                      <a:pt x="11" y="198"/>
                    </a:cubicBezTo>
                    <a:cubicBezTo>
                      <a:pt x="12" y="200"/>
                      <a:pt x="14" y="195"/>
                      <a:pt x="13" y="195"/>
                    </a:cubicBezTo>
                    <a:cubicBezTo>
                      <a:pt x="14" y="195"/>
                      <a:pt x="14" y="196"/>
                      <a:pt x="15" y="197"/>
                    </a:cubicBezTo>
                    <a:cubicBezTo>
                      <a:pt x="15" y="197"/>
                      <a:pt x="15" y="195"/>
                      <a:pt x="15" y="195"/>
                    </a:cubicBezTo>
                    <a:cubicBezTo>
                      <a:pt x="15" y="195"/>
                      <a:pt x="15" y="197"/>
                      <a:pt x="15" y="197"/>
                    </a:cubicBezTo>
                    <a:cubicBezTo>
                      <a:pt x="16" y="196"/>
                      <a:pt x="16" y="195"/>
                      <a:pt x="16" y="196"/>
                    </a:cubicBezTo>
                    <a:cubicBezTo>
                      <a:pt x="17" y="196"/>
                      <a:pt x="16" y="198"/>
                      <a:pt x="16" y="198"/>
                    </a:cubicBezTo>
                    <a:cubicBezTo>
                      <a:pt x="15" y="199"/>
                      <a:pt x="17" y="199"/>
                      <a:pt x="16" y="200"/>
                    </a:cubicBezTo>
                    <a:cubicBezTo>
                      <a:pt x="15" y="202"/>
                      <a:pt x="17" y="201"/>
                      <a:pt x="18" y="202"/>
                    </a:cubicBezTo>
                    <a:cubicBezTo>
                      <a:pt x="21" y="202"/>
                      <a:pt x="24" y="204"/>
                      <a:pt x="21" y="206"/>
                    </a:cubicBezTo>
                    <a:cubicBezTo>
                      <a:pt x="20" y="207"/>
                      <a:pt x="17" y="206"/>
                      <a:pt x="16" y="207"/>
                    </a:cubicBezTo>
                    <a:cubicBezTo>
                      <a:pt x="15" y="209"/>
                      <a:pt x="18" y="208"/>
                      <a:pt x="19" y="209"/>
                    </a:cubicBezTo>
                    <a:cubicBezTo>
                      <a:pt x="18" y="209"/>
                      <a:pt x="18" y="209"/>
                      <a:pt x="18" y="209"/>
                    </a:cubicBezTo>
                    <a:cubicBezTo>
                      <a:pt x="18" y="209"/>
                      <a:pt x="22" y="212"/>
                      <a:pt x="24" y="210"/>
                    </a:cubicBezTo>
                    <a:cubicBezTo>
                      <a:pt x="25" y="208"/>
                      <a:pt x="23" y="206"/>
                      <a:pt x="25" y="204"/>
                    </a:cubicBezTo>
                    <a:cubicBezTo>
                      <a:pt x="26" y="202"/>
                      <a:pt x="29" y="202"/>
                      <a:pt x="30" y="202"/>
                    </a:cubicBezTo>
                    <a:cubicBezTo>
                      <a:pt x="35" y="199"/>
                      <a:pt x="28" y="199"/>
                      <a:pt x="26" y="199"/>
                    </a:cubicBezTo>
                    <a:cubicBezTo>
                      <a:pt x="24" y="199"/>
                      <a:pt x="21" y="199"/>
                      <a:pt x="19" y="198"/>
                    </a:cubicBezTo>
                    <a:cubicBezTo>
                      <a:pt x="17" y="196"/>
                      <a:pt x="17" y="196"/>
                      <a:pt x="17" y="192"/>
                    </a:cubicBezTo>
                    <a:cubicBezTo>
                      <a:pt x="17" y="188"/>
                      <a:pt x="16" y="191"/>
                      <a:pt x="13" y="189"/>
                    </a:cubicBezTo>
                    <a:cubicBezTo>
                      <a:pt x="12" y="189"/>
                      <a:pt x="12" y="186"/>
                      <a:pt x="12" y="185"/>
                    </a:cubicBezTo>
                    <a:cubicBezTo>
                      <a:pt x="11" y="183"/>
                      <a:pt x="11" y="180"/>
                      <a:pt x="13" y="179"/>
                    </a:cubicBezTo>
                    <a:cubicBezTo>
                      <a:pt x="14" y="178"/>
                      <a:pt x="14" y="178"/>
                      <a:pt x="15" y="177"/>
                    </a:cubicBezTo>
                    <a:cubicBezTo>
                      <a:pt x="15" y="176"/>
                      <a:pt x="16" y="175"/>
                      <a:pt x="17" y="175"/>
                    </a:cubicBezTo>
                    <a:cubicBezTo>
                      <a:pt x="18" y="174"/>
                      <a:pt x="16" y="171"/>
                      <a:pt x="17" y="169"/>
                    </a:cubicBezTo>
                    <a:cubicBezTo>
                      <a:pt x="17" y="168"/>
                      <a:pt x="19" y="167"/>
                      <a:pt x="20" y="165"/>
                    </a:cubicBezTo>
                    <a:cubicBezTo>
                      <a:pt x="20" y="163"/>
                      <a:pt x="20" y="160"/>
                      <a:pt x="21" y="158"/>
                    </a:cubicBezTo>
                    <a:cubicBezTo>
                      <a:pt x="21" y="156"/>
                      <a:pt x="23" y="156"/>
                      <a:pt x="21" y="154"/>
                    </a:cubicBezTo>
                    <a:cubicBezTo>
                      <a:pt x="20" y="153"/>
                      <a:pt x="17" y="153"/>
                      <a:pt x="21" y="152"/>
                    </a:cubicBezTo>
                    <a:cubicBezTo>
                      <a:pt x="26" y="151"/>
                      <a:pt x="20" y="151"/>
                      <a:pt x="19" y="149"/>
                    </a:cubicBezTo>
                    <a:cubicBezTo>
                      <a:pt x="19" y="146"/>
                      <a:pt x="19" y="142"/>
                      <a:pt x="19" y="140"/>
                    </a:cubicBezTo>
                    <a:cubicBezTo>
                      <a:pt x="19" y="136"/>
                      <a:pt x="19" y="131"/>
                      <a:pt x="19" y="127"/>
                    </a:cubicBezTo>
                    <a:cubicBezTo>
                      <a:pt x="20" y="124"/>
                      <a:pt x="21" y="119"/>
                      <a:pt x="23" y="117"/>
                    </a:cubicBezTo>
                    <a:cubicBezTo>
                      <a:pt x="26" y="114"/>
                      <a:pt x="23" y="109"/>
                      <a:pt x="23" y="106"/>
                    </a:cubicBezTo>
                    <a:cubicBezTo>
                      <a:pt x="23" y="104"/>
                      <a:pt x="24" y="103"/>
                      <a:pt x="26" y="102"/>
                    </a:cubicBezTo>
                    <a:cubicBezTo>
                      <a:pt x="28" y="100"/>
                      <a:pt x="27" y="99"/>
                      <a:pt x="27" y="96"/>
                    </a:cubicBezTo>
                    <a:cubicBezTo>
                      <a:pt x="27" y="92"/>
                      <a:pt x="30" y="89"/>
                      <a:pt x="29" y="85"/>
                    </a:cubicBezTo>
                    <a:cubicBezTo>
                      <a:pt x="29" y="82"/>
                      <a:pt x="28" y="79"/>
                      <a:pt x="27" y="76"/>
                    </a:cubicBezTo>
                    <a:cubicBezTo>
                      <a:pt x="27" y="75"/>
                      <a:pt x="26" y="74"/>
                      <a:pt x="27" y="73"/>
                    </a:cubicBezTo>
                    <a:cubicBezTo>
                      <a:pt x="28" y="72"/>
                      <a:pt x="29" y="68"/>
                      <a:pt x="29" y="67"/>
                    </a:cubicBezTo>
                    <a:cubicBezTo>
                      <a:pt x="29" y="66"/>
                      <a:pt x="28" y="64"/>
                      <a:pt x="30" y="62"/>
                    </a:cubicBezTo>
                    <a:cubicBezTo>
                      <a:pt x="31" y="61"/>
                      <a:pt x="30" y="59"/>
                      <a:pt x="31" y="58"/>
                    </a:cubicBezTo>
                    <a:cubicBezTo>
                      <a:pt x="31" y="56"/>
                      <a:pt x="33" y="55"/>
                      <a:pt x="34" y="54"/>
                    </a:cubicBezTo>
                    <a:cubicBezTo>
                      <a:pt x="34" y="53"/>
                      <a:pt x="37" y="50"/>
                      <a:pt x="37" y="49"/>
                    </a:cubicBezTo>
                    <a:cubicBezTo>
                      <a:pt x="37" y="48"/>
                      <a:pt x="36" y="46"/>
                      <a:pt x="36" y="44"/>
                    </a:cubicBezTo>
                    <a:cubicBezTo>
                      <a:pt x="36" y="42"/>
                      <a:pt x="36" y="41"/>
                      <a:pt x="36" y="39"/>
                    </a:cubicBezTo>
                    <a:cubicBezTo>
                      <a:pt x="36" y="36"/>
                      <a:pt x="37" y="36"/>
                      <a:pt x="40" y="35"/>
                    </a:cubicBezTo>
                    <a:cubicBezTo>
                      <a:pt x="44" y="34"/>
                      <a:pt x="44" y="32"/>
                      <a:pt x="44" y="28"/>
                    </a:cubicBezTo>
                    <a:cubicBezTo>
                      <a:pt x="43" y="29"/>
                      <a:pt x="41" y="29"/>
                      <a:pt x="40" y="28"/>
                    </a:cubicBezTo>
                    <a:cubicBezTo>
                      <a:pt x="40" y="28"/>
                      <a:pt x="40" y="29"/>
                      <a:pt x="40"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49" name="Freeform 626">
                <a:extLst>
                  <a:ext uri="{FF2B5EF4-FFF2-40B4-BE49-F238E27FC236}">
                    <a16:creationId xmlns:a16="http://schemas.microsoft.com/office/drawing/2014/main" id="{589BC082-EB6B-BC41-A201-D4F495353F73}"/>
                  </a:ext>
                </a:extLst>
              </p:cNvPr>
              <p:cNvSpPr>
                <a:spLocks/>
              </p:cNvSpPr>
              <p:nvPr/>
            </p:nvSpPr>
            <p:spPr bwMode="auto">
              <a:xfrm>
                <a:off x="8435859" y="9485418"/>
                <a:ext cx="598727" cy="653038"/>
              </a:xfrm>
              <a:custGeom>
                <a:avLst/>
                <a:gdLst>
                  <a:gd name="T0" fmla="*/ 61 w 64"/>
                  <a:gd name="T1" fmla="*/ 42 h 70"/>
                  <a:gd name="T2" fmla="*/ 58 w 64"/>
                  <a:gd name="T3" fmla="*/ 35 h 70"/>
                  <a:gd name="T4" fmla="*/ 50 w 64"/>
                  <a:gd name="T5" fmla="*/ 35 h 70"/>
                  <a:gd name="T6" fmla="*/ 49 w 64"/>
                  <a:gd name="T7" fmla="*/ 33 h 70"/>
                  <a:gd name="T8" fmla="*/ 47 w 64"/>
                  <a:gd name="T9" fmla="*/ 30 h 70"/>
                  <a:gd name="T10" fmla="*/ 48 w 64"/>
                  <a:gd name="T11" fmla="*/ 28 h 70"/>
                  <a:gd name="T12" fmla="*/ 47 w 64"/>
                  <a:gd name="T13" fmla="*/ 26 h 70"/>
                  <a:gd name="T14" fmla="*/ 47 w 64"/>
                  <a:gd name="T15" fmla="*/ 23 h 70"/>
                  <a:gd name="T16" fmla="*/ 41 w 64"/>
                  <a:gd name="T17" fmla="*/ 21 h 70"/>
                  <a:gd name="T18" fmla="*/ 37 w 64"/>
                  <a:gd name="T19" fmla="*/ 18 h 70"/>
                  <a:gd name="T20" fmla="*/ 33 w 64"/>
                  <a:gd name="T21" fmla="*/ 16 h 70"/>
                  <a:gd name="T22" fmla="*/ 29 w 64"/>
                  <a:gd name="T23" fmla="*/ 16 h 70"/>
                  <a:gd name="T24" fmla="*/ 23 w 64"/>
                  <a:gd name="T25" fmla="*/ 9 h 70"/>
                  <a:gd name="T26" fmla="*/ 23 w 64"/>
                  <a:gd name="T27" fmla="*/ 6 h 70"/>
                  <a:gd name="T28" fmla="*/ 23 w 64"/>
                  <a:gd name="T29" fmla="*/ 4 h 70"/>
                  <a:gd name="T30" fmla="*/ 18 w 64"/>
                  <a:gd name="T31" fmla="*/ 3 h 70"/>
                  <a:gd name="T32" fmla="*/ 10 w 64"/>
                  <a:gd name="T33" fmla="*/ 6 h 70"/>
                  <a:gd name="T34" fmla="*/ 7 w 64"/>
                  <a:gd name="T35" fmla="*/ 9 h 70"/>
                  <a:gd name="T36" fmla="*/ 2 w 64"/>
                  <a:gd name="T37" fmla="*/ 8 h 70"/>
                  <a:gd name="T38" fmla="*/ 6 w 64"/>
                  <a:gd name="T39" fmla="*/ 16 h 70"/>
                  <a:gd name="T40" fmla="*/ 5 w 64"/>
                  <a:gd name="T41" fmla="*/ 23 h 70"/>
                  <a:gd name="T42" fmla="*/ 4 w 64"/>
                  <a:gd name="T43" fmla="*/ 27 h 70"/>
                  <a:gd name="T44" fmla="*/ 3 w 64"/>
                  <a:gd name="T45" fmla="*/ 31 h 70"/>
                  <a:gd name="T46" fmla="*/ 5 w 64"/>
                  <a:gd name="T47" fmla="*/ 35 h 70"/>
                  <a:gd name="T48" fmla="*/ 3 w 64"/>
                  <a:gd name="T49" fmla="*/ 38 h 70"/>
                  <a:gd name="T50" fmla="*/ 4 w 64"/>
                  <a:gd name="T51" fmla="*/ 46 h 70"/>
                  <a:gd name="T52" fmla="*/ 4 w 64"/>
                  <a:gd name="T53" fmla="*/ 49 h 70"/>
                  <a:gd name="T54" fmla="*/ 7 w 64"/>
                  <a:gd name="T55" fmla="*/ 52 h 70"/>
                  <a:gd name="T56" fmla="*/ 7 w 64"/>
                  <a:gd name="T57" fmla="*/ 54 h 70"/>
                  <a:gd name="T58" fmla="*/ 6 w 64"/>
                  <a:gd name="T59" fmla="*/ 56 h 70"/>
                  <a:gd name="T60" fmla="*/ 9 w 64"/>
                  <a:gd name="T61" fmla="*/ 63 h 70"/>
                  <a:gd name="T62" fmla="*/ 13 w 64"/>
                  <a:gd name="T63" fmla="*/ 69 h 70"/>
                  <a:gd name="T64" fmla="*/ 14 w 64"/>
                  <a:gd name="T65" fmla="*/ 67 h 70"/>
                  <a:gd name="T66" fmla="*/ 17 w 64"/>
                  <a:gd name="T67" fmla="*/ 65 h 70"/>
                  <a:gd name="T68" fmla="*/ 20 w 64"/>
                  <a:gd name="T69" fmla="*/ 65 h 70"/>
                  <a:gd name="T70" fmla="*/ 25 w 64"/>
                  <a:gd name="T71" fmla="*/ 65 h 70"/>
                  <a:gd name="T72" fmla="*/ 28 w 64"/>
                  <a:gd name="T73" fmla="*/ 68 h 70"/>
                  <a:gd name="T74" fmla="*/ 31 w 64"/>
                  <a:gd name="T75" fmla="*/ 65 h 70"/>
                  <a:gd name="T76" fmla="*/ 37 w 64"/>
                  <a:gd name="T77" fmla="*/ 64 h 70"/>
                  <a:gd name="T78" fmla="*/ 44 w 64"/>
                  <a:gd name="T79" fmla="*/ 52 h 70"/>
                  <a:gd name="T80" fmla="*/ 52 w 64"/>
                  <a:gd name="T81" fmla="*/ 51 h 70"/>
                  <a:gd name="T82" fmla="*/ 59 w 64"/>
                  <a:gd name="T83" fmla="*/ 54 h 70"/>
                  <a:gd name="T84" fmla="*/ 61 w 64"/>
                  <a:gd name="T85" fmla="*/ 42 h 70"/>
                  <a:gd name="T86" fmla="*/ 61 w 64"/>
                  <a:gd name="T87" fmla="*/ 4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70">
                    <a:moveTo>
                      <a:pt x="61" y="42"/>
                    </a:moveTo>
                    <a:cubicBezTo>
                      <a:pt x="57" y="40"/>
                      <a:pt x="58" y="39"/>
                      <a:pt x="58" y="35"/>
                    </a:cubicBezTo>
                    <a:cubicBezTo>
                      <a:pt x="55" y="35"/>
                      <a:pt x="52" y="35"/>
                      <a:pt x="50" y="35"/>
                    </a:cubicBezTo>
                    <a:cubicBezTo>
                      <a:pt x="48" y="35"/>
                      <a:pt x="49" y="34"/>
                      <a:pt x="49" y="33"/>
                    </a:cubicBezTo>
                    <a:cubicBezTo>
                      <a:pt x="49" y="32"/>
                      <a:pt x="48" y="30"/>
                      <a:pt x="47" y="30"/>
                    </a:cubicBezTo>
                    <a:cubicBezTo>
                      <a:pt x="47" y="29"/>
                      <a:pt x="48" y="29"/>
                      <a:pt x="48" y="28"/>
                    </a:cubicBezTo>
                    <a:cubicBezTo>
                      <a:pt x="49" y="27"/>
                      <a:pt x="48" y="26"/>
                      <a:pt x="47" y="26"/>
                    </a:cubicBezTo>
                    <a:cubicBezTo>
                      <a:pt x="47" y="25"/>
                      <a:pt x="48" y="24"/>
                      <a:pt x="47" y="23"/>
                    </a:cubicBezTo>
                    <a:cubicBezTo>
                      <a:pt x="45" y="21"/>
                      <a:pt x="43" y="21"/>
                      <a:pt x="41" y="21"/>
                    </a:cubicBezTo>
                    <a:cubicBezTo>
                      <a:pt x="40" y="21"/>
                      <a:pt x="38" y="19"/>
                      <a:pt x="37" y="18"/>
                    </a:cubicBezTo>
                    <a:cubicBezTo>
                      <a:pt x="35" y="18"/>
                      <a:pt x="34" y="16"/>
                      <a:pt x="33" y="16"/>
                    </a:cubicBezTo>
                    <a:cubicBezTo>
                      <a:pt x="31" y="16"/>
                      <a:pt x="30" y="16"/>
                      <a:pt x="29" y="16"/>
                    </a:cubicBezTo>
                    <a:cubicBezTo>
                      <a:pt x="27" y="16"/>
                      <a:pt x="23" y="11"/>
                      <a:pt x="23" y="9"/>
                    </a:cubicBezTo>
                    <a:cubicBezTo>
                      <a:pt x="23" y="8"/>
                      <a:pt x="23" y="7"/>
                      <a:pt x="23" y="6"/>
                    </a:cubicBezTo>
                    <a:cubicBezTo>
                      <a:pt x="23" y="5"/>
                      <a:pt x="23" y="5"/>
                      <a:pt x="23" y="4"/>
                    </a:cubicBezTo>
                    <a:cubicBezTo>
                      <a:pt x="23" y="0"/>
                      <a:pt x="21" y="2"/>
                      <a:pt x="18" y="3"/>
                    </a:cubicBezTo>
                    <a:cubicBezTo>
                      <a:pt x="15" y="3"/>
                      <a:pt x="13" y="6"/>
                      <a:pt x="10" y="6"/>
                    </a:cubicBezTo>
                    <a:cubicBezTo>
                      <a:pt x="8" y="6"/>
                      <a:pt x="8" y="8"/>
                      <a:pt x="7" y="9"/>
                    </a:cubicBezTo>
                    <a:cubicBezTo>
                      <a:pt x="6" y="9"/>
                      <a:pt x="3" y="8"/>
                      <a:pt x="2" y="8"/>
                    </a:cubicBezTo>
                    <a:cubicBezTo>
                      <a:pt x="4" y="9"/>
                      <a:pt x="5" y="14"/>
                      <a:pt x="6" y="16"/>
                    </a:cubicBezTo>
                    <a:cubicBezTo>
                      <a:pt x="4" y="17"/>
                      <a:pt x="5" y="21"/>
                      <a:pt x="5" y="23"/>
                    </a:cubicBezTo>
                    <a:cubicBezTo>
                      <a:pt x="5" y="25"/>
                      <a:pt x="5" y="26"/>
                      <a:pt x="4" y="27"/>
                    </a:cubicBezTo>
                    <a:cubicBezTo>
                      <a:pt x="3" y="28"/>
                      <a:pt x="3" y="30"/>
                      <a:pt x="3" y="31"/>
                    </a:cubicBezTo>
                    <a:cubicBezTo>
                      <a:pt x="2" y="33"/>
                      <a:pt x="5" y="33"/>
                      <a:pt x="5" y="35"/>
                    </a:cubicBezTo>
                    <a:cubicBezTo>
                      <a:pt x="5" y="36"/>
                      <a:pt x="3" y="37"/>
                      <a:pt x="3" y="38"/>
                    </a:cubicBezTo>
                    <a:cubicBezTo>
                      <a:pt x="0" y="41"/>
                      <a:pt x="4" y="42"/>
                      <a:pt x="4" y="46"/>
                    </a:cubicBezTo>
                    <a:cubicBezTo>
                      <a:pt x="4" y="47"/>
                      <a:pt x="4" y="48"/>
                      <a:pt x="4" y="49"/>
                    </a:cubicBezTo>
                    <a:cubicBezTo>
                      <a:pt x="5" y="50"/>
                      <a:pt x="6" y="51"/>
                      <a:pt x="7" y="52"/>
                    </a:cubicBezTo>
                    <a:cubicBezTo>
                      <a:pt x="7" y="53"/>
                      <a:pt x="5" y="53"/>
                      <a:pt x="7" y="54"/>
                    </a:cubicBezTo>
                    <a:cubicBezTo>
                      <a:pt x="7" y="54"/>
                      <a:pt x="6" y="56"/>
                      <a:pt x="6" y="56"/>
                    </a:cubicBezTo>
                    <a:cubicBezTo>
                      <a:pt x="6" y="59"/>
                      <a:pt x="9" y="61"/>
                      <a:pt x="9" y="63"/>
                    </a:cubicBezTo>
                    <a:cubicBezTo>
                      <a:pt x="10" y="66"/>
                      <a:pt x="8" y="69"/>
                      <a:pt x="13" y="69"/>
                    </a:cubicBezTo>
                    <a:cubicBezTo>
                      <a:pt x="14" y="70"/>
                      <a:pt x="14" y="68"/>
                      <a:pt x="14" y="67"/>
                    </a:cubicBezTo>
                    <a:cubicBezTo>
                      <a:pt x="14" y="66"/>
                      <a:pt x="16" y="65"/>
                      <a:pt x="17" y="65"/>
                    </a:cubicBezTo>
                    <a:cubicBezTo>
                      <a:pt x="18" y="64"/>
                      <a:pt x="19" y="63"/>
                      <a:pt x="20" y="65"/>
                    </a:cubicBezTo>
                    <a:cubicBezTo>
                      <a:pt x="22" y="66"/>
                      <a:pt x="24" y="65"/>
                      <a:pt x="25" y="65"/>
                    </a:cubicBezTo>
                    <a:cubicBezTo>
                      <a:pt x="27" y="65"/>
                      <a:pt x="27" y="68"/>
                      <a:pt x="28" y="68"/>
                    </a:cubicBezTo>
                    <a:cubicBezTo>
                      <a:pt x="29" y="68"/>
                      <a:pt x="30" y="66"/>
                      <a:pt x="31" y="65"/>
                    </a:cubicBezTo>
                    <a:cubicBezTo>
                      <a:pt x="32" y="63"/>
                      <a:pt x="36" y="66"/>
                      <a:pt x="37" y="64"/>
                    </a:cubicBezTo>
                    <a:cubicBezTo>
                      <a:pt x="39" y="59"/>
                      <a:pt x="38" y="54"/>
                      <a:pt x="44" y="52"/>
                    </a:cubicBezTo>
                    <a:cubicBezTo>
                      <a:pt x="46" y="51"/>
                      <a:pt x="49" y="51"/>
                      <a:pt x="52" y="51"/>
                    </a:cubicBezTo>
                    <a:cubicBezTo>
                      <a:pt x="55" y="51"/>
                      <a:pt x="57" y="52"/>
                      <a:pt x="59" y="54"/>
                    </a:cubicBezTo>
                    <a:cubicBezTo>
                      <a:pt x="60" y="51"/>
                      <a:pt x="64" y="43"/>
                      <a:pt x="61" y="42"/>
                    </a:cubicBezTo>
                    <a:cubicBezTo>
                      <a:pt x="60" y="41"/>
                      <a:pt x="62" y="42"/>
                      <a:pt x="61" y="4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0" name="Freeform 627">
                <a:extLst>
                  <a:ext uri="{FF2B5EF4-FFF2-40B4-BE49-F238E27FC236}">
                    <a16:creationId xmlns:a16="http://schemas.microsoft.com/office/drawing/2014/main" id="{72286ADC-B226-9A45-A495-7379DD444ED6}"/>
                  </a:ext>
                </a:extLst>
              </p:cNvPr>
              <p:cNvSpPr>
                <a:spLocks/>
              </p:cNvSpPr>
              <p:nvPr/>
            </p:nvSpPr>
            <p:spPr bwMode="auto">
              <a:xfrm>
                <a:off x="8773441" y="9950508"/>
                <a:ext cx="420383" cy="414121"/>
              </a:xfrm>
              <a:custGeom>
                <a:avLst/>
                <a:gdLst>
                  <a:gd name="T0" fmla="*/ 40 w 45"/>
                  <a:gd name="T1" fmla="*/ 24 h 44"/>
                  <a:gd name="T2" fmla="*/ 36 w 45"/>
                  <a:gd name="T3" fmla="*/ 24 h 44"/>
                  <a:gd name="T4" fmla="*/ 36 w 45"/>
                  <a:gd name="T5" fmla="*/ 20 h 44"/>
                  <a:gd name="T6" fmla="*/ 34 w 45"/>
                  <a:gd name="T7" fmla="*/ 17 h 44"/>
                  <a:gd name="T8" fmla="*/ 29 w 45"/>
                  <a:gd name="T9" fmla="*/ 16 h 44"/>
                  <a:gd name="T10" fmla="*/ 25 w 45"/>
                  <a:gd name="T11" fmla="*/ 15 h 44"/>
                  <a:gd name="T12" fmla="*/ 25 w 45"/>
                  <a:gd name="T13" fmla="*/ 12 h 44"/>
                  <a:gd name="T14" fmla="*/ 24 w 45"/>
                  <a:gd name="T15" fmla="*/ 7 h 44"/>
                  <a:gd name="T16" fmla="*/ 21 w 45"/>
                  <a:gd name="T17" fmla="*/ 3 h 44"/>
                  <a:gd name="T18" fmla="*/ 14 w 45"/>
                  <a:gd name="T19" fmla="*/ 1 h 44"/>
                  <a:gd name="T20" fmla="*/ 5 w 45"/>
                  <a:gd name="T21" fmla="*/ 3 h 44"/>
                  <a:gd name="T22" fmla="*/ 2 w 45"/>
                  <a:gd name="T23" fmla="*/ 11 h 44"/>
                  <a:gd name="T24" fmla="*/ 1 w 45"/>
                  <a:gd name="T25" fmla="*/ 14 h 44"/>
                  <a:gd name="T26" fmla="*/ 2 w 45"/>
                  <a:gd name="T27" fmla="*/ 17 h 44"/>
                  <a:gd name="T28" fmla="*/ 9 w 45"/>
                  <a:gd name="T29" fmla="*/ 24 h 44"/>
                  <a:gd name="T30" fmla="*/ 13 w 45"/>
                  <a:gd name="T31" fmla="*/ 25 h 44"/>
                  <a:gd name="T32" fmla="*/ 17 w 45"/>
                  <a:gd name="T33" fmla="*/ 27 h 44"/>
                  <a:gd name="T34" fmla="*/ 25 w 45"/>
                  <a:gd name="T35" fmla="*/ 35 h 44"/>
                  <a:gd name="T36" fmla="*/ 22 w 45"/>
                  <a:gd name="T37" fmla="*/ 39 h 44"/>
                  <a:gd name="T38" fmla="*/ 20 w 45"/>
                  <a:gd name="T39" fmla="*/ 42 h 44"/>
                  <a:gd name="T40" fmla="*/ 28 w 45"/>
                  <a:gd name="T41" fmla="*/ 44 h 44"/>
                  <a:gd name="T42" fmla="*/ 32 w 45"/>
                  <a:gd name="T43" fmla="*/ 43 h 44"/>
                  <a:gd name="T44" fmla="*/ 37 w 45"/>
                  <a:gd name="T45" fmla="*/ 42 h 44"/>
                  <a:gd name="T46" fmla="*/ 40 w 45"/>
                  <a:gd name="T47" fmla="*/ 39 h 44"/>
                  <a:gd name="T48" fmla="*/ 41 w 45"/>
                  <a:gd name="T49" fmla="*/ 34 h 44"/>
                  <a:gd name="T50" fmla="*/ 40 w 45"/>
                  <a:gd name="T51" fmla="*/ 24 h 44"/>
                  <a:gd name="T52" fmla="*/ 40 w 45"/>
                  <a:gd name="T53" fmla="*/ 2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44">
                    <a:moveTo>
                      <a:pt x="40" y="24"/>
                    </a:moveTo>
                    <a:cubicBezTo>
                      <a:pt x="39" y="25"/>
                      <a:pt x="37" y="26"/>
                      <a:pt x="36" y="24"/>
                    </a:cubicBezTo>
                    <a:cubicBezTo>
                      <a:pt x="35" y="23"/>
                      <a:pt x="37" y="22"/>
                      <a:pt x="36" y="20"/>
                    </a:cubicBezTo>
                    <a:cubicBezTo>
                      <a:pt x="35" y="19"/>
                      <a:pt x="35" y="18"/>
                      <a:pt x="34" y="17"/>
                    </a:cubicBezTo>
                    <a:cubicBezTo>
                      <a:pt x="31" y="15"/>
                      <a:pt x="31" y="17"/>
                      <a:pt x="29" y="16"/>
                    </a:cubicBezTo>
                    <a:cubicBezTo>
                      <a:pt x="28" y="16"/>
                      <a:pt x="27" y="16"/>
                      <a:pt x="25" y="15"/>
                    </a:cubicBezTo>
                    <a:cubicBezTo>
                      <a:pt x="23" y="15"/>
                      <a:pt x="24" y="13"/>
                      <a:pt x="25" y="12"/>
                    </a:cubicBezTo>
                    <a:cubicBezTo>
                      <a:pt x="25" y="10"/>
                      <a:pt x="24" y="8"/>
                      <a:pt x="24" y="7"/>
                    </a:cubicBezTo>
                    <a:cubicBezTo>
                      <a:pt x="23" y="4"/>
                      <a:pt x="24" y="4"/>
                      <a:pt x="21" y="3"/>
                    </a:cubicBezTo>
                    <a:cubicBezTo>
                      <a:pt x="19" y="1"/>
                      <a:pt x="18" y="0"/>
                      <a:pt x="14" y="1"/>
                    </a:cubicBezTo>
                    <a:cubicBezTo>
                      <a:pt x="11" y="1"/>
                      <a:pt x="7" y="2"/>
                      <a:pt x="5" y="3"/>
                    </a:cubicBezTo>
                    <a:cubicBezTo>
                      <a:pt x="2" y="6"/>
                      <a:pt x="3" y="8"/>
                      <a:pt x="2" y="11"/>
                    </a:cubicBezTo>
                    <a:cubicBezTo>
                      <a:pt x="2" y="12"/>
                      <a:pt x="1" y="13"/>
                      <a:pt x="1" y="14"/>
                    </a:cubicBezTo>
                    <a:cubicBezTo>
                      <a:pt x="0" y="15"/>
                      <a:pt x="1" y="15"/>
                      <a:pt x="2" y="17"/>
                    </a:cubicBezTo>
                    <a:cubicBezTo>
                      <a:pt x="4" y="20"/>
                      <a:pt x="6" y="21"/>
                      <a:pt x="9" y="24"/>
                    </a:cubicBezTo>
                    <a:cubicBezTo>
                      <a:pt x="10" y="25"/>
                      <a:pt x="12" y="25"/>
                      <a:pt x="13" y="25"/>
                    </a:cubicBezTo>
                    <a:cubicBezTo>
                      <a:pt x="15" y="25"/>
                      <a:pt x="16" y="26"/>
                      <a:pt x="17" y="27"/>
                    </a:cubicBezTo>
                    <a:cubicBezTo>
                      <a:pt x="19" y="28"/>
                      <a:pt x="27" y="31"/>
                      <a:pt x="25" y="35"/>
                    </a:cubicBezTo>
                    <a:cubicBezTo>
                      <a:pt x="24" y="36"/>
                      <a:pt x="22" y="37"/>
                      <a:pt x="22" y="39"/>
                    </a:cubicBezTo>
                    <a:cubicBezTo>
                      <a:pt x="22" y="41"/>
                      <a:pt x="22" y="41"/>
                      <a:pt x="20" y="42"/>
                    </a:cubicBezTo>
                    <a:cubicBezTo>
                      <a:pt x="19" y="44"/>
                      <a:pt x="27" y="43"/>
                      <a:pt x="28" y="44"/>
                    </a:cubicBezTo>
                    <a:cubicBezTo>
                      <a:pt x="30" y="44"/>
                      <a:pt x="30" y="44"/>
                      <a:pt x="32" y="43"/>
                    </a:cubicBezTo>
                    <a:cubicBezTo>
                      <a:pt x="33" y="41"/>
                      <a:pt x="36" y="43"/>
                      <a:pt x="37" y="42"/>
                    </a:cubicBezTo>
                    <a:cubicBezTo>
                      <a:pt x="38" y="41"/>
                      <a:pt x="39" y="40"/>
                      <a:pt x="40" y="39"/>
                    </a:cubicBezTo>
                    <a:cubicBezTo>
                      <a:pt x="41" y="37"/>
                      <a:pt x="40" y="35"/>
                      <a:pt x="41" y="34"/>
                    </a:cubicBezTo>
                    <a:cubicBezTo>
                      <a:pt x="41" y="32"/>
                      <a:pt x="45" y="24"/>
                      <a:pt x="40" y="24"/>
                    </a:cubicBezTo>
                    <a:cubicBezTo>
                      <a:pt x="40" y="25"/>
                      <a:pt x="41" y="24"/>
                      <a:pt x="40"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1" name="Freeform 628">
                <a:extLst>
                  <a:ext uri="{FF2B5EF4-FFF2-40B4-BE49-F238E27FC236}">
                    <a16:creationId xmlns:a16="http://schemas.microsoft.com/office/drawing/2014/main" id="{8BA2B30C-43F7-9C47-9206-81946C5624CE}"/>
                  </a:ext>
                </a:extLst>
              </p:cNvPr>
              <p:cNvSpPr>
                <a:spLocks noEditPoints="1"/>
              </p:cNvSpPr>
              <p:nvPr/>
            </p:nvSpPr>
            <p:spPr bwMode="auto">
              <a:xfrm>
                <a:off x="8241593" y="8800526"/>
                <a:ext cx="1856688" cy="1882659"/>
              </a:xfrm>
              <a:custGeom>
                <a:avLst/>
                <a:gdLst>
                  <a:gd name="T0" fmla="*/ 188 w 199"/>
                  <a:gd name="T1" fmla="*/ 51 h 201"/>
                  <a:gd name="T2" fmla="*/ 165 w 199"/>
                  <a:gd name="T3" fmla="*/ 41 h 201"/>
                  <a:gd name="T4" fmla="*/ 135 w 199"/>
                  <a:gd name="T5" fmla="*/ 30 h 201"/>
                  <a:gd name="T6" fmla="*/ 122 w 199"/>
                  <a:gd name="T7" fmla="*/ 36 h 201"/>
                  <a:gd name="T8" fmla="*/ 116 w 199"/>
                  <a:gd name="T9" fmla="*/ 29 h 201"/>
                  <a:gd name="T10" fmla="*/ 111 w 199"/>
                  <a:gd name="T11" fmla="*/ 33 h 201"/>
                  <a:gd name="T12" fmla="*/ 120 w 199"/>
                  <a:gd name="T13" fmla="*/ 23 h 201"/>
                  <a:gd name="T14" fmla="*/ 116 w 199"/>
                  <a:gd name="T15" fmla="*/ 8 h 201"/>
                  <a:gd name="T16" fmla="*/ 105 w 199"/>
                  <a:gd name="T17" fmla="*/ 15 h 201"/>
                  <a:gd name="T18" fmla="*/ 93 w 199"/>
                  <a:gd name="T19" fmla="*/ 14 h 201"/>
                  <a:gd name="T20" fmla="*/ 77 w 199"/>
                  <a:gd name="T21" fmla="*/ 19 h 201"/>
                  <a:gd name="T22" fmla="*/ 69 w 199"/>
                  <a:gd name="T23" fmla="*/ 1 h 201"/>
                  <a:gd name="T24" fmla="*/ 56 w 199"/>
                  <a:gd name="T25" fmla="*/ 7 h 201"/>
                  <a:gd name="T26" fmla="*/ 50 w 199"/>
                  <a:gd name="T27" fmla="*/ 11 h 201"/>
                  <a:gd name="T28" fmla="*/ 51 w 199"/>
                  <a:gd name="T29" fmla="*/ 16 h 201"/>
                  <a:gd name="T30" fmla="*/ 41 w 199"/>
                  <a:gd name="T31" fmla="*/ 22 h 201"/>
                  <a:gd name="T32" fmla="*/ 27 w 199"/>
                  <a:gd name="T33" fmla="*/ 18 h 201"/>
                  <a:gd name="T34" fmla="*/ 25 w 199"/>
                  <a:gd name="T35" fmla="*/ 21 h 201"/>
                  <a:gd name="T36" fmla="*/ 22 w 199"/>
                  <a:gd name="T37" fmla="*/ 39 h 201"/>
                  <a:gd name="T38" fmla="*/ 10 w 199"/>
                  <a:gd name="T39" fmla="*/ 49 h 201"/>
                  <a:gd name="T40" fmla="*/ 2 w 199"/>
                  <a:gd name="T41" fmla="*/ 66 h 201"/>
                  <a:gd name="T42" fmla="*/ 9 w 199"/>
                  <a:gd name="T43" fmla="*/ 75 h 201"/>
                  <a:gd name="T44" fmla="*/ 24 w 199"/>
                  <a:gd name="T45" fmla="*/ 81 h 201"/>
                  <a:gd name="T46" fmla="*/ 39 w 199"/>
                  <a:gd name="T47" fmla="*/ 76 h 201"/>
                  <a:gd name="T48" fmla="*/ 49 w 199"/>
                  <a:gd name="T49" fmla="*/ 88 h 201"/>
                  <a:gd name="T50" fmla="*/ 61 w 199"/>
                  <a:gd name="T51" fmla="*/ 94 h 201"/>
                  <a:gd name="T52" fmla="*/ 68 w 199"/>
                  <a:gd name="T53" fmla="*/ 102 h 201"/>
                  <a:gd name="T54" fmla="*/ 80 w 199"/>
                  <a:gd name="T55" fmla="*/ 114 h 201"/>
                  <a:gd name="T56" fmla="*/ 82 w 199"/>
                  <a:gd name="T57" fmla="*/ 135 h 201"/>
                  <a:gd name="T58" fmla="*/ 93 w 199"/>
                  <a:gd name="T59" fmla="*/ 145 h 201"/>
                  <a:gd name="T60" fmla="*/ 98 w 199"/>
                  <a:gd name="T61" fmla="*/ 157 h 201"/>
                  <a:gd name="T62" fmla="*/ 90 w 199"/>
                  <a:gd name="T63" fmla="*/ 173 h 201"/>
                  <a:gd name="T64" fmla="*/ 86 w 199"/>
                  <a:gd name="T65" fmla="*/ 181 h 201"/>
                  <a:gd name="T66" fmla="*/ 94 w 199"/>
                  <a:gd name="T67" fmla="*/ 187 h 201"/>
                  <a:gd name="T68" fmla="*/ 107 w 199"/>
                  <a:gd name="T69" fmla="*/ 197 h 201"/>
                  <a:gd name="T70" fmla="*/ 119 w 199"/>
                  <a:gd name="T71" fmla="*/ 180 h 201"/>
                  <a:gd name="T72" fmla="*/ 128 w 199"/>
                  <a:gd name="T73" fmla="*/ 157 h 201"/>
                  <a:gd name="T74" fmla="*/ 137 w 199"/>
                  <a:gd name="T75" fmla="*/ 149 h 201"/>
                  <a:gd name="T76" fmla="*/ 144 w 199"/>
                  <a:gd name="T77" fmla="*/ 147 h 201"/>
                  <a:gd name="T78" fmla="*/ 155 w 199"/>
                  <a:gd name="T79" fmla="*/ 142 h 201"/>
                  <a:gd name="T80" fmla="*/ 163 w 199"/>
                  <a:gd name="T81" fmla="*/ 139 h 201"/>
                  <a:gd name="T82" fmla="*/ 169 w 199"/>
                  <a:gd name="T83" fmla="*/ 130 h 201"/>
                  <a:gd name="T84" fmla="*/ 175 w 199"/>
                  <a:gd name="T85" fmla="*/ 116 h 201"/>
                  <a:gd name="T86" fmla="*/ 176 w 199"/>
                  <a:gd name="T87" fmla="*/ 98 h 201"/>
                  <a:gd name="T88" fmla="*/ 178 w 199"/>
                  <a:gd name="T89" fmla="*/ 91 h 201"/>
                  <a:gd name="T90" fmla="*/ 182 w 199"/>
                  <a:gd name="T91" fmla="*/ 86 h 201"/>
                  <a:gd name="T92" fmla="*/ 196 w 199"/>
                  <a:gd name="T93" fmla="*/ 57 h 201"/>
                  <a:gd name="T94" fmla="*/ 110 w 199"/>
                  <a:gd name="T95" fmla="*/ 190 h 201"/>
                  <a:gd name="T96" fmla="*/ 115 w 199"/>
                  <a:gd name="T97" fmla="*/ 186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01">
                    <a:moveTo>
                      <a:pt x="196" y="57"/>
                    </a:moveTo>
                    <a:cubicBezTo>
                      <a:pt x="195" y="55"/>
                      <a:pt x="195" y="53"/>
                      <a:pt x="194" y="52"/>
                    </a:cubicBezTo>
                    <a:cubicBezTo>
                      <a:pt x="192" y="51"/>
                      <a:pt x="189" y="52"/>
                      <a:pt x="188" y="51"/>
                    </a:cubicBezTo>
                    <a:cubicBezTo>
                      <a:pt x="183" y="50"/>
                      <a:pt x="180" y="46"/>
                      <a:pt x="177" y="44"/>
                    </a:cubicBezTo>
                    <a:cubicBezTo>
                      <a:pt x="175" y="43"/>
                      <a:pt x="173" y="42"/>
                      <a:pt x="172" y="41"/>
                    </a:cubicBezTo>
                    <a:cubicBezTo>
                      <a:pt x="169" y="40"/>
                      <a:pt x="168" y="41"/>
                      <a:pt x="165" y="41"/>
                    </a:cubicBezTo>
                    <a:cubicBezTo>
                      <a:pt x="161" y="42"/>
                      <a:pt x="157" y="37"/>
                      <a:pt x="153" y="39"/>
                    </a:cubicBezTo>
                    <a:cubicBezTo>
                      <a:pt x="150" y="40"/>
                      <a:pt x="147" y="35"/>
                      <a:pt x="145" y="34"/>
                    </a:cubicBezTo>
                    <a:cubicBezTo>
                      <a:pt x="142" y="32"/>
                      <a:pt x="138" y="30"/>
                      <a:pt x="135" y="30"/>
                    </a:cubicBezTo>
                    <a:cubicBezTo>
                      <a:pt x="133" y="29"/>
                      <a:pt x="131" y="29"/>
                      <a:pt x="130" y="30"/>
                    </a:cubicBezTo>
                    <a:cubicBezTo>
                      <a:pt x="129" y="33"/>
                      <a:pt x="126" y="34"/>
                      <a:pt x="125" y="36"/>
                    </a:cubicBezTo>
                    <a:cubicBezTo>
                      <a:pt x="123" y="39"/>
                      <a:pt x="124" y="38"/>
                      <a:pt x="122" y="36"/>
                    </a:cubicBezTo>
                    <a:cubicBezTo>
                      <a:pt x="122" y="36"/>
                      <a:pt x="121" y="35"/>
                      <a:pt x="121" y="35"/>
                    </a:cubicBezTo>
                    <a:cubicBezTo>
                      <a:pt x="119" y="34"/>
                      <a:pt x="120" y="36"/>
                      <a:pt x="119" y="37"/>
                    </a:cubicBezTo>
                    <a:cubicBezTo>
                      <a:pt x="118" y="38"/>
                      <a:pt x="115" y="29"/>
                      <a:pt x="116" y="29"/>
                    </a:cubicBezTo>
                    <a:cubicBezTo>
                      <a:pt x="116" y="29"/>
                      <a:pt x="113" y="33"/>
                      <a:pt x="112" y="33"/>
                    </a:cubicBezTo>
                    <a:cubicBezTo>
                      <a:pt x="112" y="33"/>
                      <a:pt x="116" y="30"/>
                      <a:pt x="115" y="29"/>
                    </a:cubicBezTo>
                    <a:cubicBezTo>
                      <a:pt x="113" y="28"/>
                      <a:pt x="113" y="33"/>
                      <a:pt x="111" y="33"/>
                    </a:cubicBezTo>
                    <a:cubicBezTo>
                      <a:pt x="111" y="33"/>
                      <a:pt x="115" y="27"/>
                      <a:pt x="115" y="26"/>
                    </a:cubicBezTo>
                    <a:cubicBezTo>
                      <a:pt x="115" y="25"/>
                      <a:pt x="117" y="25"/>
                      <a:pt x="117" y="24"/>
                    </a:cubicBezTo>
                    <a:cubicBezTo>
                      <a:pt x="118" y="23"/>
                      <a:pt x="119" y="25"/>
                      <a:pt x="120" y="23"/>
                    </a:cubicBezTo>
                    <a:cubicBezTo>
                      <a:pt x="121" y="22"/>
                      <a:pt x="120" y="22"/>
                      <a:pt x="120" y="20"/>
                    </a:cubicBezTo>
                    <a:cubicBezTo>
                      <a:pt x="121" y="19"/>
                      <a:pt x="121" y="17"/>
                      <a:pt x="119" y="16"/>
                    </a:cubicBezTo>
                    <a:cubicBezTo>
                      <a:pt x="116" y="15"/>
                      <a:pt x="116" y="11"/>
                      <a:pt x="116" y="8"/>
                    </a:cubicBezTo>
                    <a:cubicBezTo>
                      <a:pt x="116" y="7"/>
                      <a:pt x="115" y="6"/>
                      <a:pt x="114" y="5"/>
                    </a:cubicBezTo>
                    <a:cubicBezTo>
                      <a:pt x="113" y="4"/>
                      <a:pt x="112" y="7"/>
                      <a:pt x="111" y="8"/>
                    </a:cubicBezTo>
                    <a:cubicBezTo>
                      <a:pt x="110" y="11"/>
                      <a:pt x="108" y="15"/>
                      <a:pt x="105" y="15"/>
                    </a:cubicBezTo>
                    <a:cubicBezTo>
                      <a:pt x="104" y="15"/>
                      <a:pt x="103" y="14"/>
                      <a:pt x="101" y="14"/>
                    </a:cubicBezTo>
                    <a:cubicBezTo>
                      <a:pt x="100" y="14"/>
                      <a:pt x="99" y="15"/>
                      <a:pt x="98" y="14"/>
                    </a:cubicBezTo>
                    <a:cubicBezTo>
                      <a:pt x="96" y="13"/>
                      <a:pt x="95" y="14"/>
                      <a:pt x="93" y="14"/>
                    </a:cubicBezTo>
                    <a:cubicBezTo>
                      <a:pt x="91" y="14"/>
                      <a:pt x="92" y="14"/>
                      <a:pt x="91" y="16"/>
                    </a:cubicBezTo>
                    <a:cubicBezTo>
                      <a:pt x="90" y="17"/>
                      <a:pt x="85" y="16"/>
                      <a:pt x="84" y="17"/>
                    </a:cubicBezTo>
                    <a:cubicBezTo>
                      <a:pt x="82" y="17"/>
                      <a:pt x="79" y="19"/>
                      <a:pt x="77" y="19"/>
                    </a:cubicBezTo>
                    <a:cubicBezTo>
                      <a:pt x="74" y="19"/>
                      <a:pt x="72" y="15"/>
                      <a:pt x="72" y="13"/>
                    </a:cubicBezTo>
                    <a:cubicBezTo>
                      <a:pt x="70" y="10"/>
                      <a:pt x="74" y="8"/>
                      <a:pt x="73" y="5"/>
                    </a:cubicBezTo>
                    <a:cubicBezTo>
                      <a:pt x="72" y="3"/>
                      <a:pt x="71" y="0"/>
                      <a:pt x="69" y="1"/>
                    </a:cubicBezTo>
                    <a:cubicBezTo>
                      <a:pt x="69" y="2"/>
                      <a:pt x="62" y="5"/>
                      <a:pt x="61" y="5"/>
                    </a:cubicBezTo>
                    <a:cubicBezTo>
                      <a:pt x="60" y="5"/>
                      <a:pt x="58" y="5"/>
                      <a:pt x="58" y="6"/>
                    </a:cubicBezTo>
                    <a:cubicBezTo>
                      <a:pt x="57" y="6"/>
                      <a:pt x="57" y="9"/>
                      <a:pt x="56" y="7"/>
                    </a:cubicBezTo>
                    <a:cubicBezTo>
                      <a:pt x="55" y="6"/>
                      <a:pt x="47" y="5"/>
                      <a:pt x="47" y="6"/>
                    </a:cubicBezTo>
                    <a:cubicBezTo>
                      <a:pt x="47" y="6"/>
                      <a:pt x="49" y="7"/>
                      <a:pt x="49" y="7"/>
                    </a:cubicBezTo>
                    <a:cubicBezTo>
                      <a:pt x="50" y="8"/>
                      <a:pt x="50" y="9"/>
                      <a:pt x="50" y="11"/>
                    </a:cubicBezTo>
                    <a:cubicBezTo>
                      <a:pt x="51" y="11"/>
                      <a:pt x="51" y="13"/>
                      <a:pt x="52" y="14"/>
                    </a:cubicBezTo>
                    <a:cubicBezTo>
                      <a:pt x="52" y="14"/>
                      <a:pt x="54" y="14"/>
                      <a:pt x="54" y="14"/>
                    </a:cubicBezTo>
                    <a:cubicBezTo>
                      <a:pt x="54" y="15"/>
                      <a:pt x="52" y="16"/>
                      <a:pt x="51" y="16"/>
                    </a:cubicBezTo>
                    <a:cubicBezTo>
                      <a:pt x="50" y="17"/>
                      <a:pt x="50" y="18"/>
                      <a:pt x="49" y="19"/>
                    </a:cubicBezTo>
                    <a:cubicBezTo>
                      <a:pt x="49" y="19"/>
                      <a:pt x="44" y="23"/>
                      <a:pt x="43" y="22"/>
                    </a:cubicBezTo>
                    <a:cubicBezTo>
                      <a:pt x="43" y="21"/>
                      <a:pt x="42" y="21"/>
                      <a:pt x="41" y="22"/>
                    </a:cubicBezTo>
                    <a:cubicBezTo>
                      <a:pt x="40" y="23"/>
                      <a:pt x="38" y="21"/>
                      <a:pt x="38" y="21"/>
                    </a:cubicBezTo>
                    <a:cubicBezTo>
                      <a:pt x="36" y="20"/>
                      <a:pt x="35" y="16"/>
                      <a:pt x="34" y="16"/>
                    </a:cubicBezTo>
                    <a:cubicBezTo>
                      <a:pt x="32" y="15"/>
                      <a:pt x="29" y="18"/>
                      <a:pt x="27" y="18"/>
                    </a:cubicBezTo>
                    <a:cubicBezTo>
                      <a:pt x="25" y="18"/>
                      <a:pt x="23" y="18"/>
                      <a:pt x="21" y="18"/>
                    </a:cubicBezTo>
                    <a:cubicBezTo>
                      <a:pt x="21" y="18"/>
                      <a:pt x="21" y="20"/>
                      <a:pt x="22" y="20"/>
                    </a:cubicBezTo>
                    <a:cubicBezTo>
                      <a:pt x="22" y="21"/>
                      <a:pt x="24" y="21"/>
                      <a:pt x="25" y="21"/>
                    </a:cubicBezTo>
                    <a:cubicBezTo>
                      <a:pt x="25" y="22"/>
                      <a:pt x="21" y="23"/>
                      <a:pt x="20" y="23"/>
                    </a:cubicBezTo>
                    <a:cubicBezTo>
                      <a:pt x="19" y="24"/>
                      <a:pt x="21" y="27"/>
                      <a:pt x="22" y="28"/>
                    </a:cubicBezTo>
                    <a:cubicBezTo>
                      <a:pt x="24" y="32"/>
                      <a:pt x="24" y="35"/>
                      <a:pt x="22" y="39"/>
                    </a:cubicBezTo>
                    <a:cubicBezTo>
                      <a:pt x="22" y="41"/>
                      <a:pt x="22" y="47"/>
                      <a:pt x="20" y="47"/>
                    </a:cubicBezTo>
                    <a:cubicBezTo>
                      <a:pt x="19" y="48"/>
                      <a:pt x="17" y="47"/>
                      <a:pt x="15" y="48"/>
                    </a:cubicBezTo>
                    <a:cubicBezTo>
                      <a:pt x="14" y="49"/>
                      <a:pt x="11" y="49"/>
                      <a:pt x="10" y="49"/>
                    </a:cubicBezTo>
                    <a:cubicBezTo>
                      <a:pt x="5" y="51"/>
                      <a:pt x="5" y="53"/>
                      <a:pt x="5" y="57"/>
                    </a:cubicBezTo>
                    <a:cubicBezTo>
                      <a:pt x="5" y="59"/>
                      <a:pt x="2" y="59"/>
                      <a:pt x="2" y="60"/>
                    </a:cubicBezTo>
                    <a:cubicBezTo>
                      <a:pt x="2" y="63"/>
                      <a:pt x="0" y="64"/>
                      <a:pt x="2" y="66"/>
                    </a:cubicBezTo>
                    <a:cubicBezTo>
                      <a:pt x="4" y="68"/>
                      <a:pt x="4" y="70"/>
                      <a:pt x="5" y="72"/>
                    </a:cubicBezTo>
                    <a:cubicBezTo>
                      <a:pt x="5" y="73"/>
                      <a:pt x="6" y="73"/>
                      <a:pt x="7" y="73"/>
                    </a:cubicBezTo>
                    <a:cubicBezTo>
                      <a:pt x="8" y="73"/>
                      <a:pt x="8" y="74"/>
                      <a:pt x="9" y="75"/>
                    </a:cubicBezTo>
                    <a:cubicBezTo>
                      <a:pt x="11" y="78"/>
                      <a:pt x="16" y="75"/>
                      <a:pt x="18" y="73"/>
                    </a:cubicBezTo>
                    <a:cubicBezTo>
                      <a:pt x="18" y="76"/>
                      <a:pt x="16" y="81"/>
                      <a:pt x="19" y="82"/>
                    </a:cubicBezTo>
                    <a:cubicBezTo>
                      <a:pt x="20" y="82"/>
                      <a:pt x="23" y="81"/>
                      <a:pt x="24" y="81"/>
                    </a:cubicBezTo>
                    <a:cubicBezTo>
                      <a:pt x="27" y="82"/>
                      <a:pt x="28" y="82"/>
                      <a:pt x="30" y="80"/>
                    </a:cubicBezTo>
                    <a:cubicBezTo>
                      <a:pt x="30" y="79"/>
                      <a:pt x="32" y="79"/>
                      <a:pt x="33" y="79"/>
                    </a:cubicBezTo>
                    <a:cubicBezTo>
                      <a:pt x="35" y="77"/>
                      <a:pt x="37" y="76"/>
                      <a:pt x="39" y="76"/>
                    </a:cubicBezTo>
                    <a:cubicBezTo>
                      <a:pt x="41" y="75"/>
                      <a:pt x="46" y="73"/>
                      <a:pt x="44" y="77"/>
                    </a:cubicBezTo>
                    <a:cubicBezTo>
                      <a:pt x="44" y="79"/>
                      <a:pt x="43" y="81"/>
                      <a:pt x="44" y="83"/>
                    </a:cubicBezTo>
                    <a:cubicBezTo>
                      <a:pt x="45" y="85"/>
                      <a:pt x="47" y="87"/>
                      <a:pt x="49" y="88"/>
                    </a:cubicBezTo>
                    <a:cubicBezTo>
                      <a:pt x="51" y="90"/>
                      <a:pt x="54" y="89"/>
                      <a:pt x="56" y="90"/>
                    </a:cubicBezTo>
                    <a:cubicBezTo>
                      <a:pt x="57" y="91"/>
                      <a:pt x="58" y="92"/>
                      <a:pt x="59" y="92"/>
                    </a:cubicBezTo>
                    <a:cubicBezTo>
                      <a:pt x="60" y="92"/>
                      <a:pt x="61" y="93"/>
                      <a:pt x="61" y="94"/>
                    </a:cubicBezTo>
                    <a:cubicBezTo>
                      <a:pt x="63" y="94"/>
                      <a:pt x="68" y="93"/>
                      <a:pt x="68" y="96"/>
                    </a:cubicBezTo>
                    <a:cubicBezTo>
                      <a:pt x="69" y="98"/>
                      <a:pt x="68" y="98"/>
                      <a:pt x="69" y="100"/>
                    </a:cubicBezTo>
                    <a:cubicBezTo>
                      <a:pt x="70" y="101"/>
                      <a:pt x="69" y="101"/>
                      <a:pt x="68" y="102"/>
                    </a:cubicBezTo>
                    <a:cubicBezTo>
                      <a:pt x="68" y="102"/>
                      <a:pt x="70" y="107"/>
                      <a:pt x="70" y="108"/>
                    </a:cubicBezTo>
                    <a:cubicBezTo>
                      <a:pt x="70" y="109"/>
                      <a:pt x="78" y="108"/>
                      <a:pt x="79" y="108"/>
                    </a:cubicBezTo>
                    <a:cubicBezTo>
                      <a:pt x="79" y="110"/>
                      <a:pt x="78" y="113"/>
                      <a:pt x="80" y="114"/>
                    </a:cubicBezTo>
                    <a:cubicBezTo>
                      <a:pt x="83" y="116"/>
                      <a:pt x="83" y="118"/>
                      <a:pt x="82" y="122"/>
                    </a:cubicBezTo>
                    <a:cubicBezTo>
                      <a:pt x="81" y="124"/>
                      <a:pt x="80" y="127"/>
                      <a:pt x="81" y="130"/>
                    </a:cubicBezTo>
                    <a:cubicBezTo>
                      <a:pt x="81" y="131"/>
                      <a:pt x="82" y="133"/>
                      <a:pt x="82" y="135"/>
                    </a:cubicBezTo>
                    <a:cubicBezTo>
                      <a:pt x="82" y="136"/>
                      <a:pt x="80" y="138"/>
                      <a:pt x="82" y="138"/>
                    </a:cubicBezTo>
                    <a:cubicBezTo>
                      <a:pt x="83" y="139"/>
                      <a:pt x="86" y="140"/>
                      <a:pt x="88" y="139"/>
                    </a:cubicBezTo>
                    <a:cubicBezTo>
                      <a:pt x="90" y="137"/>
                      <a:pt x="94" y="144"/>
                      <a:pt x="93" y="145"/>
                    </a:cubicBezTo>
                    <a:cubicBezTo>
                      <a:pt x="93" y="146"/>
                      <a:pt x="93" y="147"/>
                      <a:pt x="94" y="148"/>
                    </a:cubicBezTo>
                    <a:cubicBezTo>
                      <a:pt x="95" y="149"/>
                      <a:pt x="97" y="147"/>
                      <a:pt x="98" y="148"/>
                    </a:cubicBezTo>
                    <a:cubicBezTo>
                      <a:pt x="102" y="150"/>
                      <a:pt x="98" y="154"/>
                      <a:pt x="98" y="157"/>
                    </a:cubicBezTo>
                    <a:cubicBezTo>
                      <a:pt x="100" y="154"/>
                      <a:pt x="102" y="160"/>
                      <a:pt x="102" y="160"/>
                    </a:cubicBezTo>
                    <a:cubicBezTo>
                      <a:pt x="103" y="164"/>
                      <a:pt x="101" y="165"/>
                      <a:pt x="98" y="166"/>
                    </a:cubicBezTo>
                    <a:cubicBezTo>
                      <a:pt x="94" y="168"/>
                      <a:pt x="92" y="170"/>
                      <a:pt x="90" y="173"/>
                    </a:cubicBezTo>
                    <a:cubicBezTo>
                      <a:pt x="89" y="175"/>
                      <a:pt x="88" y="176"/>
                      <a:pt x="86" y="177"/>
                    </a:cubicBezTo>
                    <a:cubicBezTo>
                      <a:pt x="85" y="179"/>
                      <a:pt x="83" y="180"/>
                      <a:pt x="81" y="182"/>
                    </a:cubicBezTo>
                    <a:cubicBezTo>
                      <a:pt x="83" y="182"/>
                      <a:pt x="85" y="181"/>
                      <a:pt x="86" y="181"/>
                    </a:cubicBezTo>
                    <a:cubicBezTo>
                      <a:pt x="87" y="181"/>
                      <a:pt x="88" y="183"/>
                      <a:pt x="89" y="183"/>
                    </a:cubicBezTo>
                    <a:cubicBezTo>
                      <a:pt x="89" y="184"/>
                      <a:pt x="90" y="185"/>
                      <a:pt x="91" y="186"/>
                    </a:cubicBezTo>
                    <a:cubicBezTo>
                      <a:pt x="92" y="187"/>
                      <a:pt x="93" y="186"/>
                      <a:pt x="94" y="187"/>
                    </a:cubicBezTo>
                    <a:cubicBezTo>
                      <a:pt x="96" y="189"/>
                      <a:pt x="100" y="190"/>
                      <a:pt x="101" y="193"/>
                    </a:cubicBezTo>
                    <a:cubicBezTo>
                      <a:pt x="102" y="195"/>
                      <a:pt x="103" y="199"/>
                      <a:pt x="104" y="201"/>
                    </a:cubicBezTo>
                    <a:cubicBezTo>
                      <a:pt x="105" y="200"/>
                      <a:pt x="106" y="199"/>
                      <a:pt x="107" y="197"/>
                    </a:cubicBezTo>
                    <a:cubicBezTo>
                      <a:pt x="107" y="196"/>
                      <a:pt x="108" y="194"/>
                      <a:pt x="109" y="193"/>
                    </a:cubicBezTo>
                    <a:cubicBezTo>
                      <a:pt x="110" y="190"/>
                      <a:pt x="113" y="189"/>
                      <a:pt x="116" y="187"/>
                    </a:cubicBezTo>
                    <a:cubicBezTo>
                      <a:pt x="118" y="185"/>
                      <a:pt x="118" y="183"/>
                      <a:pt x="119" y="180"/>
                    </a:cubicBezTo>
                    <a:cubicBezTo>
                      <a:pt x="121" y="176"/>
                      <a:pt x="124" y="175"/>
                      <a:pt x="126" y="172"/>
                    </a:cubicBezTo>
                    <a:cubicBezTo>
                      <a:pt x="129" y="169"/>
                      <a:pt x="126" y="165"/>
                      <a:pt x="127" y="161"/>
                    </a:cubicBezTo>
                    <a:cubicBezTo>
                      <a:pt x="128" y="160"/>
                      <a:pt x="128" y="159"/>
                      <a:pt x="128" y="157"/>
                    </a:cubicBezTo>
                    <a:cubicBezTo>
                      <a:pt x="128" y="156"/>
                      <a:pt x="128" y="156"/>
                      <a:pt x="129" y="156"/>
                    </a:cubicBezTo>
                    <a:cubicBezTo>
                      <a:pt x="131" y="155"/>
                      <a:pt x="132" y="153"/>
                      <a:pt x="133" y="152"/>
                    </a:cubicBezTo>
                    <a:cubicBezTo>
                      <a:pt x="134" y="151"/>
                      <a:pt x="135" y="150"/>
                      <a:pt x="137" y="149"/>
                    </a:cubicBezTo>
                    <a:cubicBezTo>
                      <a:pt x="138" y="149"/>
                      <a:pt x="139" y="148"/>
                      <a:pt x="141" y="147"/>
                    </a:cubicBezTo>
                    <a:cubicBezTo>
                      <a:pt x="142" y="147"/>
                      <a:pt x="143" y="148"/>
                      <a:pt x="144" y="148"/>
                    </a:cubicBezTo>
                    <a:cubicBezTo>
                      <a:pt x="145" y="148"/>
                      <a:pt x="144" y="147"/>
                      <a:pt x="144" y="147"/>
                    </a:cubicBezTo>
                    <a:cubicBezTo>
                      <a:pt x="143" y="146"/>
                      <a:pt x="147" y="145"/>
                      <a:pt x="147" y="145"/>
                    </a:cubicBezTo>
                    <a:cubicBezTo>
                      <a:pt x="147" y="145"/>
                      <a:pt x="149" y="142"/>
                      <a:pt x="149" y="143"/>
                    </a:cubicBezTo>
                    <a:cubicBezTo>
                      <a:pt x="150" y="144"/>
                      <a:pt x="155" y="142"/>
                      <a:pt x="155" y="142"/>
                    </a:cubicBezTo>
                    <a:cubicBezTo>
                      <a:pt x="156" y="142"/>
                      <a:pt x="155" y="143"/>
                      <a:pt x="156" y="143"/>
                    </a:cubicBezTo>
                    <a:cubicBezTo>
                      <a:pt x="157" y="143"/>
                      <a:pt x="160" y="143"/>
                      <a:pt x="161" y="142"/>
                    </a:cubicBezTo>
                    <a:cubicBezTo>
                      <a:pt x="162" y="141"/>
                      <a:pt x="162" y="140"/>
                      <a:pt x="163" y="139"/>
                    </a:cubicBezTo>
                    <a:cubicBezTo>
                      <a:pt x="164" y="139"/>
                      <a:pt x="165" y="138"/>
                      <a:pt x="165" y="137"/>
                    </a:cubicBezTo>
                    <a:cubicBezTo>
                      <a:pt x="166" y="136"/>
                      <a:pt x="165" y="134"/>
                      <a:pt x="166" y="133"/>
                    </a:cubicBezTo>
                    <a:cubicBezTo>
                      <a:pt x="167" y="132"/>
                      <a:pt x="168" y="131"/>
                      <a:pt x="169" y="130"/>
                    </a:cubicBezTo>
                    <a:cubicBezTo>
                      <a:pt x="171" y="127"/>
                      <a:pt x="172" y="126"/>
                      <a:pt x="172" y="123"/>
                    </a:cubicBezTo>
                    <a:cubicBezTo>
                      <a:pt x="172" y="121"/>
                      <a:pt x="172" y="120"/>
                      <a:pt x="173" y="118"/>
                    </a:cubicBezTo>
                    <a:cubicBezTo>
                      <a:pt x="173" y="117"/>
                      <a:pt x="174" y="117"/>
                      <a:pt x="175" y="116"/>
                    </a:cubicBezTo>
                    <a:cubicBezTo>
                      <a:pt x="176" y="115"/>
                      <a:pt x="175" y="113"/>
                      <a:pt x="175" y="112"/>
                    </a:cubicBezTo>
                    <a:cubicBezTo>
                      <a:pt x="175" y="110"/>
                      <a:pt x="176" y="109"/>
                      <a:pt x="176" y="107"/>
                    </a:cubicBezTo>
                    <a:cubicBezTo>
                      <a:pt x="177" y="104"/>
                      <a:pt x="176" y="101"/>
                      <a:pt x="176" y="98"/>
                    </a:cubicBezTo>
                    <a:cubicBezTo>
                      <a:pt x="176" y="96"/>
                      <a:pt x="175" y="94"/>
                      <a:pt x="176" y="93"/>
                    </a:cubicBezTo>
                    <a:cubicBezTo>
                      <a:pt x="177" y="91"/>
                      <a:pt x="176" y="92"/>
                      <a:pt x="176" y="90"/>
                    </a:cubicBezTo>
                    <a:cubicBezTo>
                      <a:pt x="176" y="90"/>
                      <a:pt x="178" y="91"/>
                      <a:pt x="178" y="91"/>
                    </a:cubicBezTo>
                    <a:cubicBezTo>
                      <a:pt x="178" y="91"/>
                      <a:pt x="178" y="90"/>
                      <a:pt x="178" y="90"/>
                    </a:cubicBezTo>
                    <a:cubicBezTo>
                      <a:pt x="178" y="90"/>
                      <a:pt x="179" y="90"/>
                      <a:pt x="179" y="90"/>
                    </a:cubicBezTo>
                    <a:cubicBezTo>
                      <a:pt x="181" y="90"/>
                      <a:pt x="182" y="87"/>
                      <a:pt x="182" y="86"/>
                    </a:cubicBezTo>
                    <a:cubicBezTo>
                      <a:pt x="183" y="85"/>
                      <a:pt x="184" y="83"/>
                      <a:pt x="185" y="81"/>
                    </a:cubicBezTo>
                    <a:cubicBezTo>
                      <a:pt x="187" y="79"/>
                      <a:pt x="189" y="79"/>
                      <a:pt x="190" y="77"/>
                    </a:cubicBezTo>
                    <a:cubicBezTo>
                      <a:pt x="195" y="71"/>
                      <a:pt x="199" y="64"/>
                      <a:pt x="196" y="57"/>
                    </a:cubicBezTo>
                    <a:cubicBezTo>
                      <a:pt x="194" y="53"/>
                      <a:pt x="198" y="60"/>
                      <a:pt x="196" y="57"/>
                    </a:cubicBezTo>
                    <a:close/>
                    <a:moveTo>
                      <a:pt x="115" y="186"/>
                    </a:moveTo>
                    <a:cubicBezTo>
                      <a:pt x="113" y="187"/>
                      <a:pt x="112" y="189"/>
                      <a:pt x="110" y="190"/>
                    </a:cubicBezTo>
                    <a:cubicBezTo>
                      <a:pt x="107" y="191"/>
                      <a:pt x="112" y="188"/>
                      <a:pt x="112" y="187"/>
                    </a:cubicBezTo>
                    <a:cubicBezTo>
                      <a:pt x="113" y="186"/>
                      <a:pt x="114" y="184"/>
                      <a:pt x="116" y="182"/>
                    </a:cubicBezTo>
                    <a:cubicBezTo>
                      <a:pt x="118" y="180"/>
                      <a:pt x="117" y="184"/>
                      <a:pt x="115" y="186"/>
                    </a:cubicBezTo>
                    <a:cubicBezTo>
                      <a:pt x="115" y="186"/>
                      <a:pt x="116" y="185"/>
                      <a:pt x="115" y="186"/>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2" name="Freeform 629">
                <a:extLst>
                  <a:ext uri="{FF2B5EF4-FFF2-40B4-BE49-F238E27FC236}">
                    <a16:creationId xmlns:a16="http://schemas.microsoft.com/office/drawing/2014/main" id="{20B9FC18-3504-7C48-B83B-58D6B5407952}"/>
                  </a:ext>
                </a:extLst>
              </p:cNvPr>
              <p:cNvSpPr>
                <a:spLocks/>
              </p:cNvSpPr>
              <p:nvPr/>
            </p:nvSpPr>
            <p:spPr bwMode="auto">
              <a:xfrm>
                <a:off x="8961338" y="10485681"/>
                <a:ext cx="251592" cy="261215"/>
              </a:xfrm>
              <a:custGeom>
                <a:avLst/>
                <a:gdLst>
                  <a:gd name="T0" fmla="*/ 21 w 27"/>
                  <a:gd name="T1" fmla="*/ 10 h 28"/>
                  <a:gd name="T2" fmla="*/ 17 w 27"/>
                  <a:gd name="T3" fmla="*/ 7 h 28"/>
                  <a:gd name="T4" fmla="*/ 14 w 27"/>
                  <a:gd name="T5" fmla="*/ 6 h 28"/>
                  <a:gd name="T6" fmla="*/ 11 w 27"/>
                  <a:gd name="T7" fmla="*/ 3 h 28"/>
                  <a:gd name="T8" fmla="*/ 6 w 27"/>
                  <a:gd name="T9" fmla="*/ 2 h 28"/>
                  <a:gd name="T10" fmla="*/ 4 w 27"/>
                  <a:gd name="T11" fmla="*/ 3 h 28"/>
                  <a:gd name="T12" fmla="*/ 3 w 27"/>
                  <a:gd name="T13" fmla="*/ 6 h 28"/>
                  <a:gd name="T14" fmla="*/ 3 w 27"/>
                  <a:gd name="T15" fmla="*/ 12 h 28"/>
                  <a:gd name="T16" fmla="*/ 2 w 27"/>
                  <a:gd name="T17" fmla="*/ 17 h 28"/>
                  <a:gd name="T18" fmla="*/ 1 w 27"/>
                  <a:gd name="T19" fmla="*/ 22 h 28"/>
                  <a:gd name="T20" fmla="*/ 4 w 27"/>
                  <a:gd name="T21" fmla="*/ 25 h 28"/>
                  <a:gd name="T22" fmla="*/ 9 w 27"/>
                  <a:gd name="T23" fmla="*/ 26 h 28"/>
                  <a:gd name="T24" fmla="*/ 13 w 27"/>
                  <a:gd name="T25" fmla="*/ 28 h 28"/>
                  <a:gd name="T26" fmla="*/ 19 w 27"/>
                  <a:gd name="T27" fmla="*/ 28 h 28"/>
                  <a:gd name="T28" fmla="*/ 24 w 27"/>
                  <a:gd name="T29" fmla="*/ 25 h 28"/>
                  <a:gd name="T30" fmla="*/ 26 w 27"/>
                  <a:gd name="T31" fmla="*/ 19 h 28"/>
                  <a:gd name="T32" fmla="*/ 24 w 27"/>
                  <a:gd name="T33" fmla="*/ 14 h 28"/>
                  <a:gd name="T34" fmla="*/ 21 w 27"/>
                  <a:gd name="T35" fmla="*/ 10 h 28"/>
                  <a:gd name="T36" fmla="*/ 21 w 27"/>
                  <a:gd name="T3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8">
                    <a:moveTo>
                      <a:pt x="21" y="10"/>
                    </a:moveTo>
                    <a:cubicBezTo>
                      <a:pt x="20" y="8"/>
                      <a:pt x="18" y="8"/>
                      <a:pt x="17" y="7"/>
                    </a:cubicBezTo>
                    <a:cubicBezTo>
                      <a:pt x="16" y="6"/>
                      <a:pt x="15" y="7"/>
                      <a:pt x="14" y="6"/>
                    </a:cubicBezTo>
                    <a:cubicBezTo>
                      <a:pt x="13" y="5"/>
                      <a:pt x="12" y="4"/>
                      <a:pt x="11" y="3"/>
                    </a:cubicBezTo>
                    <a:cubicBezTo>
                      <a:pt x="10" y="0"/>
                      <a:pt x="9" y="1"/>
                      <a:pt x="6" y="2"/>
                    </a:cubicBezTo>
                    <a:cubicBezTo>
                      <a:pt x="5" y="2"/>
                      <a:pt x="5" y="1"/>
                      <a:pt x="4" y="3"/>
                    </a:cubicBezTo>
                    <a:cubicBezTo>
                      <a:pt x="3" y="4"/>
                      <a:pt x="3" y="5"/>
                      <a:pt x="3" y="6"/>
                    </a:cubicBezTo>
                    <a:cubicBezTo>
                      <a:pt x="3" y="8"/>
                      <a:pt x="3" y="10"/>
                      <a:pt x="3" y="12"/>
                    </a:cubicBezTo>
                    <a:cubicBezTo>
                      <a:pt x="3" y="13"/>
                      <a:pt x="3" y="15"/>
                      <a:pt x="2" y="17"/>
                    </a:cubicBezTo>
                    <a:cubicBezTo>
                      <a:pt x="0" y="19"/>
                      <a:pt x="0" y="19"/>
                      <a:pt x="1" y="22"/>
                    </a:cubicBezTo>
                    <a:cubicBezTo>
                      <a:pt x="2" y="24"/>
                      <a:pt x="2" y="24"/>
                      <a:pt x="4" y="25"/>
                    </a:cubicBezTo>
                    <a:cubicBezTo>
                      <a:pt x="6" y="25"/>
                      <a:pt x="8" y="25"/>
                      <a:pt x="9" y="26"/>
                    </a:cubicBezTo>
                    <a:cubicBezTo>
                      <a:pt x="10" y="26"/>
                      <a:pt x="12" y="28"/>
                      <a:pt x="13" y="28"/>
                    </a:cubicBezTo>
                    <a:cubicBezTo>
                      <a:pt x="15" y="27"/>
                      <a:pt x="17" y="28"/>
                      <a:pt x="19" y="28"/>
                    </a:cubicBezTo>
                    <a:cubicBezTo>
                      <a:pt x="20" y="28"/>
                      <a:pt x="23" y="26"/>
                      <a:pt x="24" y="25"/>
                    </a:cubicBezTo>
                    <a:cubicBezTo>
                      <a:pt x="26" y="23"/>
                      <a:pt x="27" y="21"/>
                      <a:pt x="26" y="19"/>
                    </a:cubicBezTo>
                    <a:cubicBezTo>
                      <a:pt x="25" y="17"/>
                      <a:pt x="25" y="16"/>
                      <a:pt x="24" y="14"/>
                    </a:cubicBezTo>
                    <a:cubicBezTo>
                      <a:pt x="24" y="12"/>
                      <a:pt x="23" y="11"/>
                      <a:pt x="21" y="10"/>
                    </a:cubicBezTo>
                    <a:cubicBezTo>
                      <a:pt x="20" y="9"/>
                      <a:pt x="22" y="10"/>
                      <a:pt x="21"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3" name="Freeform 630">
                <a:extLst>
                  <a:ext uri="{FF2B5EF4-FFF2-40B4-BE49-F238E27FC236}">
                    <a16:creationId xmlns:a16="http://schemas.microsoft.com/office/drawing/2014/main" id="{16830D52-6BDF-464F-95B2-2A39217244B5}"/>
                  </a:ext>
                </a:extLst>
              </p:cNvPr>
              <p:cNvSpPr>
                <a:spLocks/>
              </p:cNvSpPr>
              <p:nvPr/>
            </p:nvSpPr>
            <p:spPr bwMode="auto">
              <a:xfrm>
                <a:off x="8241593" y="10074745"/>
                <a:ext cx="961783" cy="1672412"/>
              </a:xfrm>
              <a:custGeom>
                <a:avLst/>
                <a:gdLst>
                  <a:gd name="T0" fmla="*/ 80 w 103"/>
                  <a:gd name="T1" fmla="*/ 52 h 179"/>
                  <a:gd name="T2" fmla="*/ 85 w 103"/>
                  <a:gd name="T3" fmla="*/ 42 h 179"/>
                  <a:gd name="T4" fmla="*/ 102 w 103"/>
                  <a:gd name="T5" fmla="*/ 29 h 179"/>
                  <a:gd name="T6" fmla="*/ 99 w 103"/>
                  <a:gd name="T7" fmla="*/ 21 h 179"/>
                  <a:gd name="T8" fmla="*/ 94 w 103"/>
                  <a:gd name="T9" fmla="*/ 29 h 179"/>
                  <a:gd name="T10" fmla="*/ 82 w 103"/>
                  <a:gd name="T11" fmla="*/ 30 h 179"/>
                  <a:gd name="T12" fmla="*/ 79 w 103"/>
                  <a:gd name="T13" fmla="*/ 28 h 179"/>
                  <a:gd name="T14" fmla="*/ 81 w 103"/>
                  <a:gd name="T15" fmla="*/ 22 h 179"/>
                  <a:gd name="T16" fmla="*/ 64 w 103"/>
                  <a:gd name="T17" fmla="*/ 9 h 179"/>
                  <a:gd name="T18" fmla="*/ 57 w 103"/>
                  <a:gd name="T19" fmla="*/ 2 h 179"/>
                  <a:gd name="T20" fmla="*/ 48 w 103"/>
                  <a:gd name="T21" fmla="*/ 4 h 179"/>
                  <a:gd name="T22" fmla="*/ 39 w 103"/>
                  <a:gd name="T23" fmla="*/ 1 h 179"/>
                  <a:gd name="T24" fmla="*/ 35 w 103"/>
                  <a:gd name="T25" fmla="*/ 9 h 179"/>
                  <a:gd name="T26" fmla="*/ 27 w 103"/>
                  <a:gd name="T27" fmla="*/ 22 h 179"/>
                  <a:gd name="T28" fmla="*/ 25 w 103"/>
                  <a:gd name="T29" fmla="*/ 32 h 179"/>
                  <a:gd name="T30" fmla="*/ 21 w 103"/>
                  <a:gd name="T31" fmla="*/ 39 h 179"/>
                  <a:gd name="T32" fmla="*/ 19 w 103"/>
                  <a:gd name="T33" fmla="*/ 47 h 179"/>
                  <a:gd name="T34" fmla="*/ 17 w 103"/>
                  <a:gd name="T35" fmla="*/ 52 h 179"/>
                  <a:gd name="T36" fmla="*/ 20 w 103"/>
                  <a:gd name="T37" fmla="*/ 61 h 179"/>
                  <a:gd name="T38" fmla="*/ 18 w 103"/>
                  <a:gd name="T39" fmla="*/ 79 h 179"/>
                  <a:gd name="T40" fmla="*/ 15 w 103"/>
                  <a:gd name="T41" fmla="*/ 94 h 179"/>
                  <a:gd name="T42" fmla="*/ 10 w 103"/>
                  <a:gd name="T43" fmla="*/ 117 h 179"/>
                  <a:gd name="T44" fmla="*/ 13 w 103"/>
                  <a:gd name="T45" fmla="*/ 130 h 179"/>
                  <a:gd name="T46" fmla="*/ 12 w 103"/>
                  <a:gd name="T47" fmla="*/ 135 h 179"/>
                  <a:gd name="T48" fmla="*/ 8 w 103"/>
                  <a:gd name="T49" fmla="*/ 147 h 179"/>
                  <a:gd name="T50" fmla="*/ 5 w 103"/>
                  <a:gd name="T51" fmla="*/ 156 h 179"/>
                  <a:gd name="T52" fmla="*/ 8 w 103"/>
                  <a:gd name="T53" fmla="*/ 170 h 179"/>
                  <a:gd name="T54" fmla="*/ 13 w 103"/>
                  <a:gd name="T55" fmla="*/ 176 h 179"/>
                  <a:gd name="T56" fmla="*/ 23 w 103"/>
                  <a:gd name="T57" fmla="*/ 178 h 179"/>
                  <a:gd name="T58" fmla="*/ 27 w 103"/>
                  <a:gd name="T59" fmla="*/ 179 h 179"/>
                  <a:gd name="T60" fmla="*/ 24 w 103"/>
                  <a:gd name="T61" fmla="*/ 169 h 179"/>
                  <a:gd name="T62" fmla="*/ 25 w 103"/>
                  <a:gd name="T63" fmla="*/ 163 h 179"/>
                  <a:gd name="T64" fmla="*/ 28 w 103"/>
                  <a:gd name="T65" fmla="*/ 163 h 179"/>
                  <a:gd name="T66" fmla="*/ 31 w 103"/>
                  <a:gd name="T67" fmla="*/ 157 h 179"/>
                  <a:gd name="T68" fmla="*/ 40 w 103"/>
                  <a:gd name="T69" fmla="*/ 151 h 179"/>
                  <a:gd name="T70" fmla="*/ 41 w 103"/>
                  <a:gd name="T71" fmla="*/ 145 h 179"/>
                  <a:gd name="T72" fmla="*/ 32 w 103"/>
                  <a:gd name="T73" fmla="*/ 140 h 179"/>
                  <a:gd name="T74" fmla="*/ 39 w 103"/>
                  <a:gd name="T75" fmla="*/ 131 h 179"/>
                  <a:gd name="T76" fmla="*/ 43 w 103"/>
                  <a:gd name="T77" fmla="*/ 124 h 179"/>
                  <a:gd name="T78" fmla="*/ 48 w 103"/>
                  <a:gd name="T79" fmla="*/ 116 h 179"/>
                  <a:gd name="T80" fmla="*/ 51 w 103"/>
                  <a:gd name="T81" fmla="*/ 114 h 179"/>
                  <a:gd name="T82" fmla="*/ 45 w 103"/>
                  <a:gd name="T83" fmla="*/ 113 h 179"/>
                  <a:gd name="T84" fmla="*/ 54 w 103"/>
                  <a:gd name="T85" fmla="*/ 108 h 179"/>
                  <a:gd name="T86" fmla="*/ 58 w 103"/>
                  <a:gd name="T87" fmla="*/ 102 h 179"/>
                  <a:gd name="T88" fmla="*/ 59 w 103"/>
                  <a:gd name="T89" fmla="*/ 97 h 179"/>
                  <a:gd name="T90" fmla="*/ 60 w 103"/>
                  <a:gd name="T91" fmla="*/ 96 h 179"/>
                  <a:gd name="T92" fmla="*/ 76 w 103"/>
                  <a:gd name="T93" fmla="*/ 93 h 179"/>
                  <a:gd name="T94" fmla="*/ 84 w 103"/>
                  <a:gd name="T95" fmla="*/ 87 h 179"/>
                  <a:gd name="T96" fmla="*/ 83 w 103"/>
                  <a:gd name="T97" fmla="*/ 78 h 179"/>
                  <a:gd name="T98" fmla="*/ 78 w 103"/>
                  <a:gd name="T99" fmla="*/ 69 h 179"/>
                  <a:gd name="T100" fmla="*/ 78 w 103"/>
                  <a:gd name="T101" fmla="*/ 66 h 179"/>
                  <a:gd name="T102" fmla="*/ 78 w 103"/>
                  <a:gd name="T103" fmla="*/ 6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3" h="179">
                    <a:moveTo>
                      <a:pt x="78" y="62"/>
                    </a:moveTo>
                    <a:cubicBezTo>
                      <a:pt x="81" y="59"/>
                      <a:pt x="79" y="56"/>
                      <a:pt x="80" y="52"/>
                    </a:cubicBezTo>
                    <a:cubicBezTo>
                      <a:pt x="80" y="51"/>
                      <a:pt x="80" y="49"/>
                      <a:pt x="80" y="48"/>
                    </a:cubicBezTo>
                    <a:cubicBezTo>
                      <a:pt x="81" y="45"/>
                      <a:pt x="83" y="44"/>
                      <a:pt x="85" y="42"/>
                    </a:cubicBezTo>
                    <a:cubicBezTo>
                      <a:pt x="89" y="39"/>
                      <a:pt x="91" y="34"/>
                      <a:pt x="95" y="31"/>
                    </a:cubicBezTo>
                    <a:cubicBezTo>
                      <a:pt x="97" y="30"/>
                      <a:pt x="100" y="30"/>
                      <a:pt x="102" y="29"/>
                    </a:cubicBezTo>
                    <a:cubicBezTo>
                      <a:pt x="103" y="27"/>
                      <a:pt x="102" y="24"/>
                      <a:pt x="101" y="23"/>
                    </a:cubicBezTo>
                    <a:cubicBezTo>
                      <a:pt x="100" y="21"/>
                      <a:pt x="101" y="21"/>
                      <a:pt x="99" y="21"/>
                    </a:cubicBezTo>
                    <a:cubicBezTo>
                      <a:pt x="97" y="20"/>
                      <a:pt x="98" y="24"/>
                      <a:pt x="97" y="25"/>
                    </a:cubicBezTo>
                    <a:cubicBezTo>
                      <a:pt x="96" y="26"/>
                      <a:pt x="95" y="28"/>
                      <a:pt x="94" y="29"/>
                    </a:cubicBezTo>
                    <a:cubicBezTo>
                      <a:pt x="93" y="30"/>
                      <a:pt x="90" y="29"/>
                      <a:pt x="88" y="30"/>
                    </a:cubicBezTo>
                    <a:cubicBezTo>
                      <a:pt x="87" y="32"/>
                      <a:pt x="84" y="30"/>
                      <a:pt x="82" y="30"/>
                    </a:cubicBezTo>
                    <a:cubicBezTo>
                      <a:pt x="81" y="30"/>
                      <a:pt x="79" y="31"/>
                      <a:pt x="78" y="30"/>
                    </a:cubicBezTo>
                    <a:cubicBezTo>
                      <a:pt x="76" y="30"/>
                      <a:pt x="79" y="28"/>
                      <a:pt x="79" y="28"/>
                    </a:cubicBezTo>
                    <a:cubicBezTo>
                      <a:pt x="80" y="27"/>
                      <a:pt x="79" y="26"/>
                      <a:pt x="79" y="26"/>
                    </a:cubicBezTo>
                    <a:cubicBezTo>
                      <a:pt x="79" y="24"/>
                      <a:pt x="80" y="23"/>
                      <a:pt x="81" y="22"/>
                    </a:cubicBezTo>
                    <a:cubicBezTo>
                      <a:pt x="85" y="18"/>
                      <a:pt x="77" y="16"/>
                      <a:pt x="74" y="14"/>
                    </a:cubicBezTo>
                    <a:cubicBezTo>
                      <a:pt x="71" y="12"/>
                      <a:pt x="67" y="12"/>
                      <a:pt x="64" y="9"/>
                    </a:cubicBezTo>
                    <a:cubicBezTo>
                      <a:pt x="63" y="8"/>
                      <a:pt x="61" y="7"/>
                      <a:pt x="60" y="6"/>
                    </a:cubicBezTo>
                    <a:cubicBezTo>
                      <a:pt x="59" y="4"/>
                      <a:pt x="58" y="2"/>
                      <a:pt x="57" y="2"/>
                    </a:cubicBezTo>
                    <a:cubicBezTo>
                      <a:pt x="56" y="1"/>
                      <a:pt x="53" y="1"/>
                      <a:pt x="52" y="2"/>
                    </a:cubicBezTo>
                    <a:cubicBezTo>
                      <a:pt x="51" y="3"/>
                      <a:pt x="50" y="6"/>
                      <a:pt x="48" y="4"/>
                    </a:cubicBezTo>
                    <a:cubicBezTo>
                      <a:pt x="47" y="2"/>
                      <a:pt x="45" y="2"/>
                      <a:pt x="43" y="2"/>
                    </a:cubicBezTo>
                    <a:cubicBezTo>
                      <a:pt x="41" y="2"/>
                      <a:pt x="41" y="0"/>
                      <a:pt x="39" y="1"/>
                    </a:cubicBezTo>
                    <a:cubicBezTo>
                      <a:pt x="38" y="2"/>
                      <a:pt x="35" y="3"/>
                      <a:pt x="35" y="4"/>
                    </a:cubicBezTo>
                    <a:cubicBezTo>
                      <a:pt x="34" y="6"/>
                      <a:pt x="35" y="8"/>
                      <a:pt x="35" y="9"/>
                    </a:cubicBezTo>
                    <a:cubicBezTo>
                      <a:pt x="34" y="13"/>
                      <a:pt x="31" y="13"/>
                      <a:pt x="28" y="14"/>
                    </a:cubicBezTo>
                    <a:cubicBezTo>
                      <a:pt x="26" y="15"/>
                      <a:pt x="27" y="20"/>
                      <a:pt x="27" y="22"/>
                    </a:cubicBezTo>
                    <a:cubicBezTo>
                      <a:pt x="27" y="24"/>
                      <a:pt x="28" y="26"/>
                      <a:pt x="28" y="27"/>
                    </a:cubicBezTo>
                    <a:cubicBezTo>
                      <a:pt x="28" y="28"/>
                      <a:pt x="25" y="31"/>
                      <a:pt x="25" y="32"/>
                    </a:cubicBezTo>
                    <a:cubicBezTo>
                      <a:pt x="24" y="33"/>
                      <a:pt x="21" y="35"/>
                      <a:pt x="21" y="36"/>
                    </a:cubicBezTo>
                    <a:cubicBezTo>
                      <a:pt x="21" y="37"/>
                      <a:pt x="21" y="38"/>
                      <a:pt x="21" y="39"/>
                    </a:cubicBezTo>
                    <a:cubicBezTo>
                      <a:pt x="21" y="40"/>
                      <a:pt x="20" y="41"/>
                      <a:pt x="20" y="42"/>
                    </a:cubicBezTo>
                    <a:cubicBezTo>
                      <a:pt x="20" y="43"/>
                      <a:pt x="21" y="46"/>
                      <a:pt x="19" y="47"/>
                    </a:cubicBezTo>
                    <a:cubicBezTo>
                      <a:pt x="19" y="48"/>
                      <a:pt x="19" y="50"/>
                      <a:pt x="19" y="51"/>
                    </a:cubicBezTo>
                    <a:cubicBezTo>
                      <a:pt x="18" y="51"/>
                      <a:pt x="17" y="51"/>
                      <a:pt x="17" y="52"/>
                    </a:cubicBezTo>
                    <a:cubicBezTo>
                      <a:pt x="17" y="54"/>
                      <a:pt x="19" y="55"/>
                      <a:pt x="19" y="57"/>
                    </a:cubicBezTo>
                    <a:cubicBezTo>
                      <a:pt x="19" y="58"/>
                      <a:pt x="19" y="60"/>
                      <a:pt x="20" y="61"/>
                    </a:cubicBezTo>
                    <a:cubicBezTo>
                      <a:pt x="22" y="65"/>
                      <a:pt x="18" y="69"/>
                      <a:pt x="18" y="73"/>
                    </a:cubicBezTo>
                    <a:cubicBezTo>
                      <a:pt x="17" y="75"/>
                      <a:pt x="19" y="77"/>
                      <a:pt x="18" y="79"/>
                    </a:cubicBezTo>
                    <a:cubicBezTo>
                      <a:pt x="17" y="80"/>
                      <a:pt x="15" y="81"/>
                      <a:pt x="14" y="83"/>
                    </a:cubicBezTo>
                    <a:cubicBezTo>
                      <a:pt x="13" y="85"/>
                      <a:pt x="17" y="93"/>
                      <a:pt x="15" y="94"/>
                    </a:cubicBezTo>
                    <a:cubicBezTo>
                      <a:pt x="11" y="96"/>
                      <a:pt x="12" y="101"/>
                      <a:pt x="11" y="105"/>
                    </a:cubicBezTo>
                    <a:cubicBezTo>
                      <a:pt x="9" y="108"/>
                      <a:pt x="10" y="113"/>
                      <a:pt x="10" y="117"/>
                    </a:cubicBezTo>
                    <a:cubicBezTo>
                      <a:pt x="10" y="120"/>
                      <a:pt x="10" y="123"/>
                      <a:pt x="10" y="126"/>
                    </a:cubicBezTo>
                    <a:cubicBezTo>
                      <a:pt x="10" y="127"/>
                      <a:pt x="15" y="130"/>
                      <a:pt x="13" y="130"/>
                    </a:cubicBezTo>
                    <a:cubicBezTo>
                      <a:pt x="13" y="130"/>
                      <a:pt x="9" y="131"/>
                      <a:pt x="11" y="132"/>
                    </a:cubicBezTo>
                    <a:cubicBezTo>
                      <a:pt x="13" y="132"/>
                      <a:pt x="13" y="133"/>
                      <a:pt x="12" y="135"/>
                    </a:cubicBezTo>
                    <a:cubicBezTo>
                      <a:pt x="11" y="137"/>
                      <a:pt x="11" y="139"/>
                      <a:pt x="11" y="142"/>
                    </a:cubicBezTo>
                    <a:cubicBezTo>
                      <a:pt x="11" y="144"/>
                      <a:pt x="9" y="145"/>
                      <a:pt x="8" y="147"/>
                    </a:cubicBezTo>
                    <a:cubicBezTo>
                      <a:pt x="7" y="148"/>
                      <a:pt x="8" y="150"/>
                      <a:pt x="8" y="152"/>
                    </a:cubicBezTo>
                    <a:cubicBezTo>
                      <a:pt x="8" y="153"/>
                      <a:pt x="6" y="156"/>
                      <a:pt x="5" y="156"/>
                    </a:cubicBezTo>
                    <a:cubicBezTo>
                      <a:pt x="0" y="158"/>
                      <a:pt x="3" y="164"/>
                      <a:pt x="4" y="167"/>
                    </a:cubicBezTo>
                    <a:cubicBezTo>
                      <a:pt x="5" y="169"/>
                      <a:pt x="8" y="166"/>
                      <a:pt x="8" y="170"/>
                    </a:cubicBezTo>
                    <a:cubicBezTo>
                      <a:pt x="8" y="171"/>
                      <a:pt x="7" y="174"/>
                      <a:pt x="9" y="175"/>
                    </a:cubicBezTo>
                    <a:cubicBezTo>
                      <a:pt x="10" y="176"/>
                      <a:pt x="11" y="176"/>
                      <a:pt x="13" y="176"/>
                    </a:cubicBezTo>
                    <a:cubicBezTo>
                      <a:pt x="15" y="177"/>
                      <a:pt x="18" y="177"/>
                      <a:pt x="20" y="177"/>
                    </a:cubicBezTo>
                    <a:cubicBezTo>
                      <a:pt x="21" y="177"/>
                      <a:pt x="22" y="177"/>
                      <a:pt x="23" y="178"/>
                    </a:cubicBezTo>
                    <a:cubicBezTo>
                      <a:pt x="23" y="177"/>
                      <a:pt x="24" y="177"/>
                      <a:pt x="25" y="177"/>
                    </a:cubicBezTo>
                    <a:cubicBezTo>
                      <a:pt x="25" y="178"/>
                      <a:pt x="27" y="179"/>
                      <a:pt x="27" y="179"/>
                    </a:cubicBezTo>
                    <a:cubicBezTo>
                      <a:pt x="28" y="179"/>
                      <a:pt x="26" y="176"/>
                      <a:pt x="26" y="175"/>
                    </a:cubicBezTo>
                    <a:cubicBezTo>
                      <a:pt x="24" y="173"/>
                      <a:pt x="24" y="171"/>
                      <a:pt x="24" y="169"/>
                    </a:cubicBezTo>
                    <a:cubicBezTo>
                      <a:pt x="24" y="167"/>
                      <a:pt x="24" y="166"/>
                      <a:pt x="27" y="164"/>
                    </a:cubicBezTo>
                    <a:cubicBezTo>
                      <a:pt x="29" y="163"/>
                      <a:pt x="25" y="163"/>
                      <a:pt x="25" y="163"/>
                    </a:cubicBezTo>
                    <a:cubicBezTo>
                      <a:pt x="25" y="163"/>
                      <a:pt x="27" y="162"/>
                      <a:pt x="26" y="162"/>
                    </a:cubicBezTo>
                    <a:cubicBezTo>
                      <a:pt x="27" y="162"/>
                      <a:pt x="27" y="163"/>
                      <a:pt x="28" y="163"/>
                    </a:cubicBezTo>
                    <a:cubicBezTo>
                      <a:pt x="29" y="164"/>
                      <a:pt x="30" y="163"/>
                      <a:pt x="31" y="163"/>
                    </a:cubicBezTo>
                    <a:cubicBezTo>
                      <a:pt x="32" y="161"/>
                      <a:pt x="31" y="159"/>
                      <a:pt x="31" y="157"/>
                    </a:cubicBezTo>
                    <a:cubicBezTo>
                      <a:pt x="32" y="155"/>
                      <a:pt x="34" y="154"/>
                      <a:pt x="37" y="153"/>
                    </a:cubicBezTo>
                    <a:cubicBezTo>
                      <a:pt x="38" y="152"/>
                      <a:pt x="39" y="152"/>
                      <a:pt x="40" y="151"/>
                    </a:cubicBezTo>
                    <a:cubicBezTo>
                      <a:pt x="41" y="150"/>
                      <a:pt x="39" y="149"/>
                      <a:pt x="39" y="149"/>
                    </a:cubicBezTo>
                    <a:cubicBezTo>
                      <a:pt x="39" y="148"/>
                      <a:pt x="42" y="147"/>
                      <a:pt x="41" y="145"/>
                    </a:cubicBezTo>
                    <a:cubicBezTo>
                      <a:pt x="40" y="143"/>
                      <a:pt x="36" y="145"/>
                      <a:pt x="35" y="143"/>
                    </a:cubicBezTo>
                    <a:cubicBezTo>
                      <a:pt x="34" y="142"/>
                      <a:pt x="33" y="142"/>
                      <a:pt x="32" y="140"/>
                    </a:cubicBezTo>
                    <a:cubicBezTo>
                      <a:pt x="31" y="138"/>
                      <a:pt x="33" y="135"/>
                      <a:pt x="34" y="134"/>
                    </a:cubicBezTo>
                    <a:cubicBezTo>
                      <a:pt x="36" y="133"/>
                      <a:pt x="37" y="131"/>
                      <a:pt x="39" y="131"/>
                    </a:cubicBezTo>
                    <a:cubicBezTo>
                      <a:pt x="41" y="130"/>
                      <a:pt x="41" y="132"/>
                      <a:pt x="42" y="129"/>
                    </a:cubicBezTo>
                    <a:cubicBezTo>
                      <a:pt x="42" y="127"/>
                      <a:pt x="44" y="126"/>
                      <a:pt x="43" y="124"/>
                    </a:cubicBezTo>
                    <a:cubicBezTo>
                      <a:pt x="42" y="121"/>
                      <a:pt x="47" y="121"/>
                      <a:pt x="48" y="119"/>
                    </a:cubicBezTo>
                    <a:cubicBezTo>
                      <a:pt x="48" y="119"/>
                      <a:pt x="43" y="115"/>
                      <a:pt x="48" y="116"/>
                    </a:cubicBezTo>
                    <a:cubicBezTo>
                      <a:pt x="49" y="117"/>
                      <a:pt x="49" y="118"/>
                      <a:pt x="50" y="118"/>
                    </a:cubicBezTo>
                    <a:cubicBezTo>
                      <a:pt x="52" y="118"/>
                      <a:pt x="52" y="115"/>
                      <a:pt x="51" y="114"/>
                    </a:cubicBezTo>
                    <a:cubicBezTo>
                      <a:pt x="51" y="113"/>
                      <a:pt x="49" y="115"/>
                      <a:pt x="49" y="115"/>
                    </a:cubicBezTo>
                    <a:cubicBezTo>
                      <a:pt x="47" y="115"/>
                      <a:pt x="45" y="114"/>
                      <a:pt x="45" y="113"/>
                    </a:cubicBezTo>
                    <a:cubicBezTo>
                      <a:pt x="45" y="112"/>
                      <a:pt x="43" y="105"/>
                      <a:pt x="45" y="105"/>
                    </a:cubicBezTo>
                    <a:cubicBezTo>
                      <a:pt x="48" y="106"/>
                      <a:pt x="50" y="108"/>
                      <a:pt x="54" y="108"/>
                    </a:cubicBezTo>
                    <a:cubicBezTo>
                      <a:pt x="55" y="108"/>
                      <a:pt x="56" y="107"/>
                      <a:pt x="57" y="107"/>
                    </a:cubicBezTo>
                    <a:cubicBezTo>
                      <a:pt x="59" y="105"/>
                      <a:pt x="57" y="104"/>
                      <a:pt x="58" y="102"/>
                    </a:cubicBezTo>
                    <a:cubicBezTo>
                      <a:pt x="58" y="101"/>
                      <a:pt x="59" y="100"/>
                      <a:pt x="59" y="100"/>
                    </a:cubicBezTo>
                    <a:cubicBezTo>
                      <a:pt x="60" y="98"/>
                      <a:pt x="59" y="98"/>
                      <a:pt x="59" y="97"/>
                    </a:cubicBezTo>
                    <a:cubicBezTo>
                      <a:pt x="58" y="96"/>
                      <a:pt x="58" y="94"/>
                      <a:pt x="59" y="94"/>
                    </a:cubicBezTo>
                    <a:cubicBezTo>
                      <a:pt x="61" y="94"/>
                      <a:pt x="60" y="96"/>
                      <a:pt x="60" y="96"/>
                    </a:cubicBezTo>
                    <a:cubicBezTo>
                      <a:pt x="59" y="95"/>
                      <a:pt x="65" y="95"/>
                      <a:pt x="65" y="95"/>
                    </a:cubicBezTo>
                    <a:cubicBezTo>
                      <a:pt x="69" y="95"/>
                      <a:pt x="72" y="93"/>
                      <a:pt x="76" y="93"/>
                    </a:cubicBezTo>
                    <a:cubicBezTo>
                      <a:pt x="77" y="92"/>
                      <a:pt x="80" y="91"/>
                      <a:pt x="82" y="90"/>
                    </a:cubicBezTo>
                    <a:cubicBezTo>
                      <a:pt x="83" y="89"/>
                      <a:pt x="83" y="88"/>
                      <a:pt x="84" y="87"/>
                    </a:cubicBezTo>
                    <a:cubicBezTo>
                      <a:pt x="85" y="86"/>
                      <a:pt x="86" y="85"/>
                      <a:pt x="87" y="83"/>
                    </a:cubicBezTo>
                    <a:cubicBezTo>
                      <a:pt x="87" y="80"/>
                      <a:pt x="85" y="80"/>
                      <a:pt x="83" y="78"/>
                    </a:cubicBezTo>
                    <a:cubicBezTo>
                      <a:pt x="82" y="76"/>
                      <a:pt x="85" y="75"/>
                      <a:pt x="83" y="73"/>
                    </a:cubicBezTo>
                    <a:cubicBezTo>
                      <a:pt x="82" y="72"/>
                      <a:pt x="78" y="71"/>
                      <a:pt x="78" y="69"/>
                    </a:cubicBezTo>
                    <a:cubicBezTo>
                      <a:pt x="78" y="69"/>
                      <a:pt x="78" y="68"/>
                      <a:pt x="79" y="68"/>
                    </a:cubicBezTo>
                    <a:cubicBezTo>
                      <a:pt x="79" y="67"/>
                      <a:pt x="78" y="67"/>
                      <a:pt x="78" y="66"/>
                    </a:cubicBezTo>
                    <a:cubicBezTo>
                      <a:pt x="78" y="65"/>
                      <a:pt x="77" y="63"/>
                      <a:pt x="78" y="62"/>
                    </a:cubicBezTo>
                    <a:cubicBezTo>
                      <a:pt x="79" y="61"/>
                      <a:pt x="77" y="63"/>
                      <a:pt x="78" y="6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4" name="Freeform 631">
                <a:extLst>
                  <a:ext uri="{FF2B5EF4-FFF2-40B4-BE49-F238E27FC236}">
                    <a16:creationId xmlns:a16="http://schemas.microsoft.com/office/drawing/2014/main" id="{A3BFC7CE-232A-D048-8061-CBE330D4B61C}"/>
                  </a:ext>
                </a:extLst>
              </p:cNvPr>
              <p:cNvSpPr>
                <a:spLocks/>
              </p:cNvSpPr>
              <p:nvPr/>
            </p:nvSpPr>
            <p:spPr bwMode="auto">
              <a:xfrm>
                <a:off x="7617387" y="8313140"/>
                <a:ext cx="203824" cy="226173"/>
              </a:xfrm>
              <a:custGeom>
                <a:avLst/>
                <a:gdLst>
                  <a:gd name="T0" fmla="*/ 15 w 22"/>
                  <a:gd name="T1" fmla="*/ 23 h 24"/>
                  <a:gd name="T2" fmla="*/ 19 w 22"/>
                  <a:gd name="T3" fmla="*/ 24 h 24"/>
                  <a:gd name="T4" fmla="*/ 19 w 22"/>
                  <a:gd name="T5" fmla="*/ 17 h 24"/>
                  <a:gd name="T6" fmla="*/ 20 w 22"/>
                  <a:gd name="T7" fmla="*/ 10 h 24"/>
                  <a:gd name="T8" fmla="*/ 21 w 22"/>
                  <a:gd name="T9" fmla="*/ 7 h 24"/>
                  <a:gd name="T10" fmla="*/ 22 w 22"/>
                  <a:gd name="T11" fmla="*/ 3 h 24"/>
                  <a:gd name="T12" fmla="*/ 17 w 22"/>
                  <a:gd name="T13" fmla="*/ 4 h 24"/>
                  <a:gd name="T14" fmla="*/ 12 w 22"/>
                  <a:gd name="T15" fmla="*/ 5 h 24"/>
                  <a:gd name="T16" fmla="*/ 9 w 22"/>
                  <a:gd name="T17" fmla="*/ 8 h 24"/>
                  <a:gd name="T18" fmla="*/ 4 w 22"/>
                  <a:gd name="T19" fmla="*/ 9 h 24"/>
                  <a:gd name="T20" fmla="*/ 3 w 22"/>
                  <a:gd name="T21" fmla="*/ 12 h 24"/>
                  <a:gd name="T22" fmla="*/ 0 w 22"/>
                  <a:gd name="T23" fmla="*/ 13 h 24"/>
                  <a:gd name="T24" fmla="*/ 6 w 22"/>
                  <a:gd name="T25" fmla="*/ 19 h 24"/>
                  <a:gd name="T26" fmla="*/ 11 w 22"/>
                  <a:gd name="T27" fmla="*/ 22 h 24"/>
                  <a:gd name="T28" fmla="*/ 15 w 22"/>
                  <a:gd name="T29" fmla="*/ 23 h 24"/>
                  <a:gd name="T30" fmla="*/ 15 w 22"/>
                  <a:gd name="T31"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24">
                    <a:moveTo>
                      <a:pt x="15" y="23"/>
                    </a:moveTo>
                    <a:cubicBezTo>
                      <a:pt x="16" y="24"/>
                      <a:pt x="17" y="24"/>
                      <a:pt x="19" y="24"/>
                    </a:cubicBezTo>
                    <a:cubicBezTo>
                      <a:pt x="17" y="21"/>
                      <a:pt x="19" y="20"/>
                      <a:pt x="19" y="17"/>
                    </a:cubicBezTo>
                    <a:cubicBezTo>
                      <a:pt x="19" y="15"/>
                      <a:pt x="20" y="12"/>
                      <a:pt x="20" y="10"/>
                    </a:cubicBezTo>
                    <a:cubicBezTo>
                      <a:pt x="20" y="9"/>
                      <a:pt x="21" y="8"/>
                      <a:pt x="21" y="7"/>
                    </a:cubicBezTo>
                    <a:cubicBezTo>
                      <a:pt x="22" y="6"/>
                      <a:pt x="21" y="5"/>
                      <a:pt x="22" y="3"/>
                    </a:cubicBezTo>
                    <a:cubicBezTo>
                      <a:pt x="22" y="0"/>
                      <a:pt x="18" y="4"/>
                      <a:pt x="17" y="4"/>
                    </a:cubicBezTo>
                    <a:cubicBezTo>
                      <a:pt x="15" y="4"/>
                      <a:pt x="14" y="3"/>
                      <a:pt x="12" y="5"/>
                    </a:cubicBezTo>
                    <a:cubicBezTo>
                      <a:pt x="12" y="5"/>
                      <a:pt x="10" y="9"/>
                      <a:pt x="9" y="8"/>
                    </a:cubicBezTo>
                    <a:cubicBezTo>
                      <a:pt x="7" y="8"/>
                      <a:pt x="6" y="8"/>
                      <a:pt x="4" y="9"/>
                    </a:cubicBezTo>
                    <a:cubicBezTo>
                      <a:pt x="4" y="10"/>
                      <a:pt x="4" y="12"/>
                      <a:pt x="3" y="12"/>
                    </a:cubicBezTo>
                    <a:cubicBezTo>
                      <a:pt x="3" y="13"/>
                      <a:pt x="1" y="13"/>
                      <a:pt x="0" y="13"/>
                    </a:cubicBezTo>
                    <a:cubicBezTo>
                      <a:pt x="2" y="15"/>
                      <a:pt x="4" y="18"/>
                      <a:pt x="6" y="19"/>
                    </a:cubicBezTo>
                    <a:cubicBezTo>
                      <a:pt x="7" y="21"/>
                      <a:pt x="9" y="22"/>
                      <a:pt x="11" y="22"/>
                    </a:cubicBezTo>
                    <a:cubicBezTo>
                      <a:pt x="12" y="22"/>
                      <a:pt x="14" y="22"/>
                      <a:pt x="15" y="23"/>
                    </a:cubicBezTo>
                    <a:cubicBezTo>
                      <a:pt x="16" y="23"/>
                      <a:pt x="15" y="22"/>
                      <a:pt x="15" y="2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5" name="Freeform 632">
                <a:extLst>
                  <a:ext uri="{FF2B5EF4-FFF2-40B4-BE49-F238E27FC236}">
                    <a16:creationId xmlns:a16="http://schemas.microsoft.com/office/drawing/2014/main" id="{109C20B9-1CA0-CE42-9D58-1E6DCDAF3260}"/>
                  </a:ext>
                </a:extLst>
              </p:cNvPr>
              <p:cNvSpPr>
                <a:spLocks/>
              </p:cNvSpPr>
              <p:nvPr/>
            </p:nvSpPr>
            <p:spPr bwMode="auto">
              <a:xfrm>
                <a:off x="7681084" y="8520197"/>
                <a:ext cx="159235" cy="140163"/>
              </a:xfrm>
              <a:custGeom>
                <a:avLst/>
                <a:gdLst>
                  <a:gd name="T0" fmla="*/ 16 w 17"/>
                  <a:gd name="T1" fmla="*/ 10 h 15"/>
                  <a:gd name="T2" fmla="*/ 17 w 17"/>
                  <a:gd name="T3" fmla="*/ 8 h 15"/>
                  <a:gd name="T4" fmla="*/ 15 w 17"/>
                  <a:gd name="T5" fmla="*/ 6 h 15"/>
                  <a:gd name="T6" fmla="*/ 12 w 17"/>
                  <a:gd name="T7" fmla="*/ 2 h 15"/>
                  <a:gd name="T8" fmla="*/ 8 w 17"/>
                  <a:gd name="T9" fmla="*/ 1 h 15"/>
                  <a:gd name="T10" fmla="*/ 3 w 17"/>
                  <a:gd name="T11" fmla="*/ 0 h 15"/>
                  <a:gd name="T12" fmla="*/ 3 w 17"/>
                  <a:gd name="T13" fmla="*/ 6 h 15"/>
                  <a:gd name="T14" fmla="*/ 6 w 17"/>
                  <a:gd name="T15" fmla="*/ 7 h 15"/>
                  <a:gd name="T16" fmla="*/ 4 w 17"/>
                  <a:gd name="T17" fmla="*/ 5 h 15"/>
                  <a:gd name="T18" fmla="*/ 7 w 17"/>
                  <a:gd name="T19" fmla="*/ 7 h 15"/>
                  <a:gd name="T20" fmla="*/ 11 w 17"/>
                  <a:gd name="T21" fmla="*/ 10 h 15"/>
                  <a:gd name="T22" fmla="*/ 14 w 17"/>
                  <a:gd name="T23" fmla="*/ 14 h 15"/>
                  <a:gd name="T24" fmla="*/ 16 w 17"/>
                  <a:gd name="T25" fmla="*/ 10 h 15"/>
                  <a:gd name="T26" fmla="*/ 16 w 17"/>
                  <a:gd name="T27"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5">
                    <a:moveTo>
                      <a:pt x="16" y="10"/>
                    </a:moveTo>
                    <a:cubicBezTo>
                      <a:pt x="16" y="9"/>
                      <a:pt x="16" y="8"/>
                      <a:pt x="17" y="8"/>
                    </a:cubicBezTo>
                    <a:cubicBezTo>
                      <a:pt x="16" y="7"/>
                      <a:pt x="16" y="6"/>
                      <a:pt x="15" y="6"/>
                    </a:cubicBezTo>
                    <a:cubicBezTo>
                      <a:pt x="14" y="5"/>
                      <a:pt x="13" y="2"/>
                      <a:pt x="12" y="2"/>
                    </a:cubicBezTo>
                    <a:cubicBezTo>
                      <a:pt x="10" y="2"/>
                      <a:pt x="9" y="2"/>
                      <a:pt x="8" y="1"/>
                    </a:cubicBezTo>
                    <a:cubicBezTo>
                      <a:pt x="7" y="0"/>
                      <a:pt x="4" y="0"/>
                      <a:pt x="3" y="0"/>
                    </a:cubicBezTo>
                    <a:cubicBezTo>
                      <a:pt x="4" y="1"/>
                      <a:pt x="0" y="6"/>
                      <a:pt x="3" y="6"/>
                    </a:cubicBezTo>
                    <a:cubicBezTo>
                      <a:pt x="4" y="6"/>
                      <a:pt x="4" y="8"/>
                      <a:pt x="6" y="7"/>
                    </a:cubicBezTo>
                    <a:cubicBezTo>
                      <a:pt x="7" y="6"/>
                      <a:pt x="4" y="5"/>
                      <a:pt x="4" y="5"/>
                    </a:cubicBezTo>
                    <a:cubicBezTo>
                      <a:pt x="5" y="5"/>
                      <a:pt x="7" y="6"/>
                      <a:pt x="7" y="7"/>
                    </a:cubicBezTo>
                    <a:cubicBezTo>
                      <a:pt x="8" y="9"/>
                      <a:pt x="10" y="8"/>
                      <a:pt x="11" y="10"/>
                    </a:cubicBezTo>
                    <a:cubicBezTo>
                      <a:pt x="12" y="11"/>
                      <a:pt x="12" y="13"/>
                      <a:pt x="14" y="14"/>
                    </a:cubicBezTo>
                    <a:cubicBezTo>
                      <a:pt x="17" y="15"/>
                      <a:pt x="17" y="12"/>
                      <a:pt x="16" y="10"/>
                    </a:cubicBezTo>
                    <a:cubicBezTo>
                      <a:pt x="16" y="9"/>
                      <a:pt x="16" y="11"/>
                      <a:pt x="16"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6" name="Freeform 633">
                <a:extLst>
                  <a:ext uri="{FF2B5EF4-FFF2-40B4-BE49-F238E27FC236}">
                    <a16:creationId xmlns:a16="http://schemas.microsoft.com/office/drawing/2014/main" id="{634DB45E-F785-994B-BCA0-F3C9C67AFA13}"/>
                  </a:ext>
                </a:extLst>
              </p:cNvPr>
              <p:cNvSpPr>
                <a:spLocks/>
              </p:cNvSpPr>
              <p:nvPr/>
            </p:nvSpPr>
            <p:spPr bwMode="auto">
              <a:xfrm>
                <a:off x="7502737" y="8360921"/>
                <a:ext cx="105096" cy="82827"/>
              </a:xfrm>
              <a:custGeom>
                <a:avLst/>
                <a:gdLst>
                  <a:gd name="T0" fmla="*/ 4 w 11"/>
                  <a:gd name="T1" fmla="*/ 1 h 9"/>
                  <a:gd name="T2" fmla="*/ 4 w 11"/>
                  <a:gd name="T3" fmla="*/ 0 h 9"/>
                  <a:gd name="T4" fmla="*/ 0 w 11"/>
                  <a:gd name="T5" fmla="*/ 4 h 9"/>
                  <a:gd name="T6" fmla="*/ 11 w 11"/>
                  <a:gd name="T7" fmla="*/ 5 h 9"/>
                  <a:gd name="T8" fmla="*/ 4 w 11"/>
                  <a:gd name="T9" fmla="*/ 1 h 9"/>
                </a:gdLst>
                <a:ahLst/>
                <a:cxnLst>
                  <a:cxn ang="0">
                    <a:pos x="T0" y="T1"/>
                  </a:cxn>
                  <a:cxn ang="0">
                    <a:pos x="T2" y="T3"/>
                  </a:cxn>
                  <a:cxn ang="0">
                    <a:pos x="T4" y="T5"/>
                  </a:cxn>
                  <a:cxn ang="0">
                    <a:pos x="T6" y="T7"/>
                  </a:cxn>
                  <a:cxn ang="0">
                    <a:pos x="T8" y="T9"/>
                  </a:cxn>
                </a:cxnLst>
                <a:rect l="0" t="0" r="r" b="b"/>
                <a:pathLst>
                  <a:path w="11" h="9">
                    <a:moveTo>
                      <a:pt x="4" y="1"/>
                    </a:moveTo>
                    <a:cubicBezTo>
                      <a:pt x="4" y="0"/>
                      <a:pt x="4" y="0"/>
                      <a:pt x="4" y="0"/>
                    </a:cubicBezTo>
                    <a:cubicBezTo>
                      <a:pt x="3" y="1"/>
                      <a:pt x="1" y="3"/>
                      <a:pt x="0" y="4"/>
                    </a:cubicBezTo>
                    <a:cubicBezTo>
                      <a:pt x="2" y="5"/>
                      <a:pt x="11" y="9"/>
                      <a:pt x="11" y="5"/>
                    </a:cubicBezTo>
                    <a:cubicBezTo>
                      <a:pt x="11" y="2"/>
                      <a:pt x="6" y="3"/>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7" name="Freeform 634">
                <a:extLst>
                  <a:ext uri="{FF2B5EF4-FFF2-40B4-BE49-F238E27FC236}">
                    <a16:creationId xmlns:a16="http://schemas.microsoft.com/office/drawing/2014/main" id="{247CB344-FD2D-4A47-BF89-4AFC7BE61C9D}"/>
                  </a:ext>
                </a:extLst>
              </p:cNvPr>
              <p:cNvSpPr>
                <a:spLocks/>
              </p:cNvSpPr>
              <p:nvPr/>
            </p:nvSpPr>
            <p:spPr bwMode="auto">
              <a:xfrm>
                <a:off x="7391272" y="8192091"/>
                <a:ext cx="187902" cy="216615"/>
              </a:xfrm>
              <a:custGeom>
                <a:avLst/>
                <a:gdLst>
                  <a:gd name="T0" fmla="*/ 16 w 20"/>
                  <a:gd name="T1" fmla="*/ 16 h 23"/>
                  <a:gd name="T2" fmla="*/ 20 w 20"/>
                  <a:gd name="T3" fmla="*/ 12 h 23"/>
                  <a:gd name="T4" fmla="*/ 16 w 20"/>
                  <a:gd name="T5" fmla="*/ 8 h 23"/>
                  <a:gd name="T6" fmla="*/ 16 w 20"/>
                  <a:gd name="T7" fmla="*/ 1 h 23"/>
                  <a:gd name="T8" fmla="*/ 8 w 20"/>
                  <a:gd name="T9" fmla="*/ 1 h 23"/>
                  <a:gd name="T10" fmla="*/ 7 w 20"/>
                  <a:gd name="T11" fmla="*/ 6 h 23"/>
                  <a:gd name="T12" fmla="*/ 8 w 20"/>
                  <a:gd name="T13" fmla="*/ 10 h 23"/>
                  <a:gd name="T14" fmla="*/ 4 w 20"/>
                  <a:gd name="T15" fmla="*/ 10 h 23"/>
                  <a:gd name="T16" fmla="*/ 2 w 20"/>
                  <a:gd name="T17" fmla="*/ 15 h 23"/>
                  <a:gd name="T18" fmla="*/ 12 w 20"/>
                  <a:gd name="T19" fmla="*/ 21 h 23"/>
                  <a:gd name="T20" fmla="*/ 16 w 20"/>
                  <a:gd name="T21" fmla="*/ 1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3">
                    <a:moveTo>
                      <a:pt x="16" y="16"/>
                    </a:moveTo>
                    <a:cubicBezTo>
                      <a:pt x="16" y="14"/>
                      <a:pt x="19" y="13"/>
                      <a:pt x="20" y="12"/>
                    </a:cubicBezTo>
                    <a:cubicBezTo>
                      <a:pt x="17" y="11"/>
                      <a:pt x="16" y="11"/>
                      <a:pt x="16" y="8"/>
                    </a:cubicBezTo>
                    <a:cubicBezTo>
                      <a:pt x="16" y="7"/>
                      <a:pt x="17" y="2"/>
                      <a:pt x="16" y="1"/>
                    </a:cubicBezTo>
                    <a:cubicBezTo>
                      <a:pt x="15" y="0"/>
                      <a:pt x="10" y="1"/>
                      <a:pt x="8" y="1"/>
                    </a:cubicBezTo>
                    <a:cubicBezTo>
                      <a:pt x="6" y="1"/>
                      <a:pt x="6" y="4"/>
                      <a:pt x="7" y="6"/>
                    </a:cubicBezTo>
                    <a:cubicBezTo>
                      <a:pt x="8" y="7"/>
                      <a:pt x="12" y="10"/>
                      <a:pt x="8" y="10"/>
                    </a:cubicBezTo>
                    <a:cubicBezTo>
                      <a:pt x="7" y="10"/>
                      <a:pt x="5" y="10"/>
                      <a:pt x="4" y="10"/>
                    </a:cubicBezTo>
                    <a:cubicBezTo>
                      <a:pt x="2" y="10"/>
                      <a:pt x="2" y="14"/>
                      <a:pt x="2" y="15"/>
                    </a:cubicBezTo>
                    <a:cubicBezTo>
                      <a:pt x="0" y="21"/>
                      <a:pt x="8" y="20"/>
                      <a:pt x="12" y="21"/>
                    </a:cubicBezTo>
                    <a:cubicBezTo>
                      <a:pt x="13" y="23"/>
                      <a:pt x="16" y="17"/>
                      <a:pt x="16"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8" name="Freeform 635">
                <a:extLst>
                  <a:ext uri="{FF2B5EF4-FFF2-40B4-BE49-F238E27FC236}">
                    <a16:creationId xmlns:a16="http://schemas.microsoft.com/office/drawing/2014/main" id="{26714342-B772-8F44-86E4-FDBDEC2BF4E6}"/>
                  </a:ext>
                </a:extLst>
              </p:cNvPr>
              <p:cNvSpPr>
                <a:spLocks/>
              </p:cNvSpPr>
              <p:nvPr/>
            </p:nvSpPr>
            <p:spPr bwMode="auto">
              <a:xfrm>
                <a:off x="6254330" y="7453043"/>
                <a:ext cx="1398093" cy="898324"/>
              </a:xfrm>
              <a:custGeom>
                <a:avLst/>
                <a:gdLst>
                  <a:gd name="T0" fmla="*/ 132 w 150"/>
                  <a:gd name="T1" fmla="*/ 88 h 96"/>
                  <a:gd name="T2" fmla="*/ 130 w 150"/>
                  <a:gd name="T3" fmla="*/ 80 h 96"/>
                  <a:gd name="T4" fmla="*/ 144 w 150"/>
                  <a:gd name="T5" fmla="*/ 78 h 96"/>
                  <a:gd name="T6" fmla="*/ 146 w 150"/>
                  <a:gd name="T7" fmla="*/ 68 h 96"/>
                  <a:gd name="T8" fmla="*/ 146 w 150"/>
                  <a:gd name="T9" fmla="*/ 61 h 96"/>
                  <a:gd name="T10" fmla="*/ 132 w 150"/>
                  <a:gd name="T11" fmla="*/ 64 h 96"/>
                  <a:gd name="T12" fmla="*/ 126 w 150"/>
                  <a:gd name="T13" fmla="*/ 76 h 96"/>
                  <a:gd name="T14" fmla="*/ 110 w 150"/>
                  <a:gd name="T15" fmla="*/ 76 h 96"/>
                  <a:gd name="T16" fmla="*/ 102 w 150"/>
                  <a:gd name="T17" fmla="*/ 69 h 96"/>
                  <a:gd name="T18" fmla="*/ 96 w 150"/>
                  <a:gd name="T19" fmla="*/ 51 h 96"/>
                  <a:gd name="T20" fmla="*/ 98 w 150"/>
                  <a:gd name="T21" fmla="*/ 38 h 96"/>
                  <a:gd name="T22" fmla="*/ 90 w 150"/>
                  <a:gd name="T23" fmla="*/ 35 h 96"/>
                  <a:gd name="T24" fmla="*/ 82 w 150"/>
                  <a:gd name="T25" fmla="*/ 24 h 96"/>
                  <a:gd name="T26" fmla="*/ 75 w 150"/>
                  <a:gd name="T27" fmla="*/ 17 h 96"/>
                  <a:gd name="T28" fmla="*/ 68 w 150"/>
                  <a:gd name="T29" fmla="*/ 20 h 96"/>
                  <a:gd name="T30" fmla="*/ 59 w 150"/>
                  <a:gd name="T31" fmla="*/ 10 h 96"/>
                  <a:gd name="T32" fmla="*/ 45 w 150"/>
                  <a:gd name="T33" fmla="*/ 6 h 96"/>
                  <a:gd name="T34" fmla="*/ 29 w 150"/>
                  <a:gd name="T35" fmla="*/ 8 h 96"/>
                  <a:gd name="T36" fmla="*/ 13 w 150"/>
                  <a:gd name="T37" fmla="*/ 1 h 96"/>
                  <a:gd name="T38" fmla="*/ 7 w 150"/>
                  <a:gd name="T39" fmla="*/ 16 h 96"/>
                  <a:gd name="T40" fmla="*/ 15 w 150"/>
                  <a:gd name="T41" fmla="*/ 28 h 96"/>
                  <a:gd name="T42" fmla="*/ 15 w 150"/>
                  <a:gd name="T43" fmla="*/ 32 h 96"/>
                  <a:gd name="T44" fmla="*/ 25 w 150"/>
                  <a:gd name="T45" fmla="*/ 38 h 96"/>
                  <a:gd name="T46" fmla="*/ 26 w 150"/>
                  <a:gd name="T47" fmla="*/ 44 h 96"/>
                  <a:gd name="T48" fmla="*/ 36 w 150"/>
                  <a:gd name="T49" fmla="*/ 53 h 96"/>
                  <a:gd name="T50" fmla="*/ 36 w 150"/>
                  <a:gd name="T51" fmla="*/ 47 h 96"/>
                  <a:gd name="T52" fmla="*/ 32 w 150"/>
                  <a:gd name="T53" fmla="*/ 42 h 96"/>
                  <a:gd name="T54" fmla="*/ 26 w 150"/>
                  <a:gd name="T55" fmla="*/ 32 h 96"/>
                  <a:gd name="T56" fmla="*/ 20 w 150"/>
                  <a:gd name="T57" fmla="*/ 23 h 96"/>
                  <a:gd name="T58" fmla="*/ 13 w 150"/>
                  <a:gd name="T59" fmla="*/ 16 h 96"/>
                  <a:gd name="T60" fmla="*/ 11 w 150"/>
                  <a:gd name="T61" fmla="*/ 5 h 96"/>
                  <a:gd name="T62" fmla="*/ 15 w 150"/>
                  <a:gd name="T63" fmla="*/ 7 h 96"/>
                  <a:gd name="T64" fmla="*/ 20 w 150"/>
                  <a:gd name="T65" fmla="*/ 9 h 96"/>
                  <a:gd name="T66" fmla="*/ 23 w 150"/>
                  <a:gd name="T67" fmla="*/ 19 h 96"/>
                  <a:gd name="T68" fmla="*/ 23 w 150"/>
                  <a:gd name="T69" fmla="*/ 20 h 96"/>
                  <a:gd name="T70" fmla="*/ 32 w 150"/>
                  <a:gd name="T71" fmla="*/ 27 h 96"/>
                  <a:gd name="T72" fmla="*/ 36 w 150"/>
                  <a:gd name="T73" fmla="*/ 33 h 96"/>
                  <a:gd name="T74" fmla="*/ 38 w 150"/>
                  <a:gd name="T75" fmla="*/ 38 h 96"/>
                  <a:gd name="T76" fmla="*/ 46 w 150"/>
                  <a:gd name="T77" fmla="*/ 45 h 96"/>
                  <a:gd name="T78" fmla="*/ 54 w 150"/>
                  <a:gd name="T79" fmla="*/ 53 h 96"/>
                  <a:gd name="T80" fmla="*/ 56 w 150"/>
                  <a:gd name="T81" fmla="*/ 59 h 96"/>
                  <a:gd name="T82" fmla="*/ 58 w 150"/>
                  <a:gd name="T83" fmla="*/ 65 h 96"/>
                  <a:gd name="T84" fmla="*/ 60 w 150"/>
                  <a:gd name="T85" fmla="*/ 72 h 96"/>
                  <a:gd name="T86" fmla="*/ 68 w 150"/>
                  <a:gd name="T87" fmla="*/ 77 h 96"/>
                  <a:gd name="T88" fmla="*/ 89 w 150"/>
                  <a:gd name="T89" fmla="*/ 86 h 96"/>
                  <a:gd name="T90" fmla="*/ 113 w 150"/>
                  <a:gd name="T91" fmla="*/ 88 h 96"/>
                  <a:gd name="T92" fmla="*/ 126 w 150"/>
                  <a:gd name="T93" fmla="*/ 8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96">
                    <a:moveTo>
                      <a:pt x="126" y="89"/>
                    </a:moveTo>
                    <a:cubicBezTo>
                      <a:pt x="127" y="89"/>
                      <a:pt x="134" y="90"/>
                      <a:pt x="132" y="88"/>
                    </a:cubicBezTo>
                    <a:cubicBezTo>
                      <a:pt x="131" y="86"/>
                      <a:pt x="129" y="85"/>
                      <a:pt x="128" y="83"/>
                    </a:cubicBezTo>
                    <a:cubicBezTo>
                      <a:pt x="128" y="83"/>
                      <a:pt x="129" y="80"/>
                      <a:pt x="130" y="80"/>
                    </a:cubicBezTo>
                    <a:cubicBezTo>
                      <a:pt x="131" y="79"/>
                      <a:pt x="136" y="80"/>
                      <a:pt x="138" y="80"/>
                    </a:cubicBezTo>
                    <a:cubicBezTo>
                      <a:pt x="141" y="80"/>
                      <a:pt x="140" y="75"/>
                      <a:pt x="144" y="78"/>
                    </a:cubicBezTo>
                    <a:cubicBezTo>
                      <a:pt x="145" y="76"/>
                      <a:pt x="146" y="75"/>
                      <a:pt x="146" y="73"/>
                    </a:cubicBezTo>
                    <a:cubicBezTo>
                      <a:pt x="146" y="71"/>
                      <a:pt x="145" y="69"/>
                      <a:pt x="146" y="68"/>
                    </a:cubicBezTo>
                    <a:cubicBezTo>
                      <a:pt x="147" y="66"/>
                      <a:pt x="150" y="64"/>
                      <a:pt x="150" y="63"/>
                    </a:cubicBezTo>
                    <a:cubicBezTo>
                      <a:pt x="149" y="61"/>
                      <a:pt x="148" y="61"/>
                      <a:pt x="146" y="61"/>
                    </a:cubicBezTo>
                    <a:cubicBezTo>
                      <a:pt x="143" y="61"/>
                      <a:pt x="139" y="61"/>
                      <a:pt x="136" y="62"/>
                    </a:cubicBezTo>
                    <a:cubicBezTo>
                      <a:pt x="134" y="62"/>
                      <a:pt x="133" y="63"/>
                      <a:pt x="132" y="64"/>
                    </a:cubicBezTo>
                    <a:cubicBezTo>
                      <a:pt x="131" y="66"/>
                      <a:pt x="132" y="68"/>
                      <a:pt x="131" y="70"/>
                    </a:cubicBezTo>
                    <a:cubicBezTo>
                      <a:pt x="131" y="71"/>
                      <a:pt x="126" y="76"/>
                      <a:pt x="126" y="76"/>
                    </a:cubicBezTo>
                    <a:cubicBezTo>
                      <a:pt x="122" y="75"/>
                      <a:pt x="118" y="76"/>
                      <a:pt x="114" y="78"/>
                    </a:cubicBezTo>
                    <a:cubicBezTo>
                      <a:pt x="112" y="78"/>
                      <a:pt x="111" y="77"/>
                      <a:pt x="110" y="76"/>
                    </a:cubicBezTo>
                    <a:cubicBezTo>
                      <a:pt x="109" y="75"/>
                      <a:pt x="107" y="75"/>
                      <a:pt x="105" y="74"/>
                    </a:cubicBezTo>
                    <a:cubicBezTo>
                      <a:pt x="103" y="74"/>
                      <a:pt x="103" y="71"/>
                      <a:pt x="102" y="69"/>
                    </a:cubicBezTo>
                    <a:cubicBezTo>
                      <a:pt x="101" y="67"/>
                      <a:pt x="99" y="66"/>
                      <a:pt x="98" y="64"/>
                    </a:cubicBezTo>
                    <a:cubicBezTo>
                      <a:pt x="97" y="60"/>
                      <a:pt x="95" y="55"/>
                      <a:pt x="96" y="51"/>
                    </a:cubicBezTo>
                    <a:cubicBezTo>
                      <a:pt x="96" y="48"/>
                      <a:pt x="95" y="44"/>
                      <a:pt x="97" y="41"/>
                    </a:cubicBezTo>
                    <a:cubicBezTo>
                      <a:pt x="98" y="40"/>
                      <a:pt x="98" y="39"/>
                      <a:pt x="98" y="38"/>
                    </a:cubicBezTo>
                    <a:cubicBezTo>
                      <a:pt x="99" y="36"/>
                      <a:pt x="97" y="37"/>
                      <a:pt x="96" y="36"/>
                    </a:cubicBezTo>
                    <a:cubicBezTo>
                      <a:pt x="94" y="36"/>
                      <a:pt x="92" y="35"/>
                      <a:pt x="90" y="35"/>
                    </a:cubicBezTo>
                    <a:cubicBezTo>
                      <a:pt x="89" y="34"/>
                      <a:pt x="87" y="32"/>
                      <a:pt x="87" y="30"/>
                    </a:cubicBezTo>
                    <a:cubicBezTo>
                      <a:pt x="87" y="27"/>
                      <a:pt x="84" y="26"/>
                      <a:pt x="82" y="24"/>
                    </a:cubicBezTo>
                    <a:cubicBezTo>
                      <a:pt x="81" y="22"/>
                      <a:pt x="81" y="20"/>
                      <a:pt x="80" y="18"/>
                    </a:cubicBezTo>
                    <a:cubicBezTo>
                      <a:pt x="79" y="17"/>
                      <a:pt x="77" y="17"/>
                      <a:pt x="75" y="17"/>
                    </a:cubicBezTo>
                    <a:cubicBezTo>
                      <a:pt x="74" y="16"/>
                      <a:pt x="72" y="16"/>
                      <a:pt x="71" y="17"/>
                    </a:cubicBezTo>
                    <a:cubicBezTo>
                      <a:pt x="71" y="18"/>
                      <a:pt x="70" y="20"/>
                      <a:pt x="68" y="20"/>
                    </a:cubicBezTo>
                    <a:cubicBezTo>
                      <a:pt x="66" y="20"/>
                      <a:pt x="63" y="18"/>
                      <a:pt x="62" y="16"/>
                    </a:cubicBezTo>
                    <a:cubicBezTo>
                      <a:pt x="61" y="13"/>
                      <a:pt x="61" y="12"/>
                      <a:pt x="59" y="10"/>
                    </a:cubicBezTo>
                    <a:cubicBezTo>
                      <a:pt x="57" y="9"/>
                      <a:pt x="54" y="6"/>
                      <a:pt x="52" y="6"/>
                    </a:cubicBezTo>
                    <a:cubicBezTo>
                      <a:pt x="51" y="5"/>
                      <a:pt x="45" y="5"/>
                      <a:pt x="45" y="6"/>
                    </a:cubicBezTo>
                    <a:cubicBezTo>
                      <a:pt x="43" y="9"/>
                      <a:pt x="42" y="8"/>
                      <a:pt x="39" y="8"/>
                    </a:cubicBezTo>
                    <a:cubicBezTo>
                      <a:pt x="35" y="8"/>
                      <a:pt x="32" y="8"/>
                      <a:pt x="29" y="8"/>
                    </a:cubicBezTo>
                    <a:cubicBezTo>
                      <a:pt x="28" y="8"/>
                      <a:pt x="25" y="6"/>
                      <a:pt x="23" y="5"/>
                    </a:cubicBezTo>
                    <a:cubicBezTo>
                      <a:pt x="20" y="4"/>
                      <a:pt x="17" y="3"/>
                      <a:pt x="13" y="1"/>
                    </a:cubicBezTo>
                    <a:cubicBezTo>
                      <a:pt x="9" y="0"/>
                      <a:pt x="4" y="1"/>
                      <a:pt x="0" y="2"/>
                    </a:cubicBezTo>
                    <a:cubicBezTo>
                      <a:pt x="1" y="7"/>
                      <a:pt x="5" y="11"/>
                      <a:pt x="7" y="16"/>
                    </a:cubicBezTo>
                    <a:cubicBezTo>
                      <a:pt x="8" y="18"/>
                      <a:pt x="11" y="20"/>
                      <a:pt x="13" y="21"/>
                    </a:cubicBezTo>
                    <a:cubicBezTo>
                      <a:pt x="14" y="23"/>
                      <a:pt x="16" y="26"/>
                      <a:pt x="15" y="28"/>
                    </a:cubicBezTo>
                    <a:cubicBezTo>
                      <a:pt x="15" y="28"/>
                      <a:pt x="8" y="26"/>
                      <a:pt x="12" y="29"/>
                    </a:cubicBezTo>
                    <a:cubicBezTo>
                      <a:pt x="13" y="30"/>
                      <a:pt x="14" y="31"/>
                      <a:pt x="15" y="32"/>
                    </a:cubicBezTo>
                    <a:cubicBezTo>
                      <a:pt x="17" y="32"/>
                      <a:pt x="18" y="32"/>
                      <a:pt x="19" y="33"/>
                    </a:cubicBezTo>
                    <a:cubicBezTo>
                      <a:pt x="21" y="34"/>
                      <a:pt x="23" y="36"/>
                      <a:pt x="25" y="38"/>
                    </a:cubicBezTo>
                    <a:cubicBezTo>
                      <a:pt x="26" y="39"/>
                      <a:pt x="25" y="41"/>
                      <a:pt x="24" y="42"/>
                    </a:cubicBezTo>
                    <a:cubicBezTo>
                      <a:pt x="23" y="43"/>
                      <a:pt x="25" y="44"/>
                      <a:pt x="26" y="44"/>
                    </a:cubicBezTo>
                    <a:cubicBezTo>
                      <a:pt x="29" y="46"/>
                      <a:pt x="31" y="48"/>
                      <a:pt x="33" y="50"/>
                    </a:cubicBezTo>
                    <a:cubicBezTo>
                      <a:pt x="34" y="51"/>
                      <a:pt x="35" y="53"/>
                      <a:pt x="36" y="53"/>
                    </a:cubicBezTo>
                    <a:cubicBezTo>
                      <a:pt x="37" y="53"/>
                      <a:pt x="38" y="51"/>
                      <a:pt x="37" y="50"/>
                    </a:cubicBezTo>
                    <a:cubicBezTo>
                      <a:pt x="37" y="49"/>
                      <a:pt x="36" y="48"/>
                      <a:pt x="36" y="47"/>
                    </a:cubicBezTo>
                    <a:cubicBezTo>
                      <a:pt x="35" y="46"/>
                      <a:pt x="33" y="47"/>
                      <a:pt x="32" y="46"/>
                    </a:cubicBezTo>
                    <a:cubicBezTo>
                      <a:pt x="30" y="44"/>
                      <a:pt x="32" y="44"/>
                      <a:pt x="32" y="42"/>
                    </a:cubicBezTo>
                    <a:cubicBezTo>
                      <a:pt x="32" y="42"/>
                      <a:pt x="30" y="40"/>
                      <a:pt x="30" y="39"/>
                    </a:cubicBezTo>
                    <a:cubicBezTo>
                      <a:pt x="28" y="37"/>
                      <a:pt x="28" y="34"/>
                      <a:pt x="26" y="32"/>
                    </a:cubicBezTo>
                    <a:cubicBezTo>
                      <a:pt x="24" y="31"/>
                      <a:pt x="22" y="29"/>
                      <a:pt x="21" y="27"/>
                    </a:cubicBezTo>
                    <a:cubicBezTo>
                      <a:pt x="21" y="26"/>
                      <a:pt x="21" y="24"/>
                      <a:pt x="20" y="23"/>
                    </a:cubicBezTo>
                    <a:cubicBezTo>
                      <a:pt x="19" y="22"/>
                      <a:pt x="18" y="21"/>
                      <a:pt x="17" y="20"/>
                    </a:cubicBezTo>
                    <a:cubicBezTo>
                      <a:pt x="16" y="18"/>
                      <a:pt x="15" y="17"/>
                      <a:pt x="13" y="16"/>
                    </a:cubicBezTo>
                    <a:cubicBezTo>
                      <a:pt x="12" y="15"/>
                      <a:pt x="12" y="13"/>
                      <a:pt x="12" y="12"/>
                    </a:cubicBezTo>
                    <a:cubicBezTo>
                      <a:pt x="12" y="11"/>
                      <a:pt x="10" y="6"/>
                      <a:pt x="11" y="5"/>
                    </a:cubicBezTo>
                    <a:cubicBezTo>
                      <a:pt x="12" y="4"/>
                      <a:pt x="13" y="7"/>
                      <a:pt x="14" y="7"/>
                    </a:cubicBezTo>
                    <a:cubicBezTo>
                      <a:pt x="15" y="7"/>
                      <a:pt x="15" y="7"/>
                      <a:pt x="15" y="7"/>
                    </a:cubicBezTo>
                    <a:cubicBezTo>
                      <a:pt x="17" y="6"/>
                      <a:pt x="17" y="7"/>
                      <a:pt x="18" y="8"/>
                    </a:cubicBezTo>
                    <a:cubicBezTo>
                      <a:pt x="19" y="8"/>
                      <a:pt x="20" y="8"/>
                      <a:pt x="20" y="9"/>
                    </a:cubicBezTo>
                    <a:cubicBezTo>
                      <a:pt x="20" y="11"/>
                      <a:pt x="21" y="13"/>
                      <a:pt x="22" y="15"/>
                    </a:cubicBezTo>
                    <a:cubicBezTo>
                      <a:pt x="22" y="16"/>
                      <a:pt x="23" y="18"/>
                      <a:pt x="23" y="19"/>
                    </a:cubicBezTo>
                    <a:cubicBezTo>
                      <a:pt x="23" y="20"/>
                      <a:pt x="22" y="21"/>
                      <a:pt x="22" y="22"/>
                    </a:cubicBezTo>
                    <a:cubicBezTo>
                      <a:pt x="23" y="22"/>
                      <a:pt x="23" y="20"/>
                      <a:pt x="23" y="20"/>
                    </a:cubicBezTo>
                    <a:cubicBezTo>
                      <a:pt x="24" y="19"/>
                      <a:pt x="25" y="22"/>
                      <a:pt x="26" y="22"/>
                    </a:cubicBezTo>
                    <a:cubicBezTo>
                      <a:pt x="27" y="23"/>
                      <a:pt x="32" y="26"/>
                      <a:pt x="32" y="27"/>
                    </a:cubicBezTo>
                    <a:cubicBezTo>
                      <a:pt x="32" y="29"/>
                      <a:pt x="33" y="30"/>
                      <a:pt x="34" y="30"/>
                    </a:cubicBezTo>
                    <a:cubicBezTo>
                      <a:pt x="35" y="31"/>
                      <a:pt x="35" y="32"/>
                      <a:pt x="36" y="33"/>
                    </a:cubicBezTo>
                    <a:cubicBezTo>
                      <a:pt x="37" y="34"/>
                      <a:pt x="38" y="33"/>
                      <a:pt x="38" y="34"/>
                    </a:cubicBezTo>
                    <a:cubicBezTo>
                      <a:pt x="39" y="35"/>
                      <a:pt x="37" y="36"/>
                      <a:pt x="38" y="38"/>
                    </a:cubicBezTo>
                    <a:cubicBezTo>
                      <a:pt x="40" y="39"/>
                      <a:pt x="42" y="40"/>
                      <a:pt x="44" y="42"/>
                    </a:cubicBezTo>
                    <a:cubicBezTo>
                      <a:pt x="45" y="43"/>
                      <a:pt x="45" y="44"/>
                      <a:pt x="46" y="45"/>
                    </a:cubicBezTo>
                    <a:cubicBezTo>
                      <a:pt x="47" y="46"/>
                      <a:pt x="48" y="46"/>
                      <a:pt x="49" y="48"/>
                    </a:cubicBezTo>
                    <a:cubicBezTo>
                      <a:pt x="51" y="49"/>
                      <a:pt x="52" y="51"/>
                      <a:pt x="54" y="53"/>
                    </a:cubicBezTo>
                    <a:cubicBezTo>
                      <a:pt x="55" y="54"/>
                      <a:pt x="56" y="55"/>
                      <a:pt x="57" y="56"/>
                    </a:cubicBezTo>
                    <a:cubicBezTo>
                      <a:pt x="58" y="58"/>
                      <a:pt x="56" y="58"/>
                      <a:pt x="56" y="59"/>
                    </a:cubicBezTo>
                    <a:cubicBezTo>
                      <a:pt x="56" y="60"/>
                      <a:pt x="59" y="59"/>
                      <a:pt x="59" y="61"/>
                    </a:cubicBezTo>
                    <a:cubicBezTo>
                      <a:pt x="58" y="63"/>
                      <a:pt x="57" y="63"/>
                      <a:pt x="58" y="65"/>
                    </a:cubicBezTo>
                    <a:cubicBezTo>
                      <a:pt x="58" y="65"/>
                      <a:pt x="56" y="67"/>
                      <a:pt x="57" y="68"/>
                    </a:cubicBezTo>
                    <a:cubicBezTo>
                      <a:pt x="58" y="69"/>
                      <a:pt x="59" y="71"/>
                      <a:pt x="60" y="72"/>
                    </a:cubicBezTo>
                    <a:cubicBezTo>
                      <a:pt x="61" y="73"/>
                      <a:pt x="62" y="73"/>
                      <a:pt x="63" y="73"/>
                    </a:cubicBezTo>
                    <a:cubicBezTo>
                      <a:pt x="66" y="74"/>
                      <a:pt x="66" y="76"/>
                      <a:pt x="68" y="77"/>
                    </a:cubicBezTo>
                    <a:cubicBezTo>
                      <a:pt x="71" y="79"/>
                      <a:pt x="75" y="79"/>
                      <a:pt x="77" y="81"/>
                    </a:cubicBezTo>
                    <a:cubicBezTo>
                      <a:pt x="81" y="83"/>
                      <a:pt x="85" y="85"/>
                      <a:pt x="89" y="86"/>
                    </a:cubicBezTo>
                    <a:cubicBezTo>
                      <a:pt x="92" y="88"/>
                      <a:pt x="97" y="90"/>
                      <a:pt x="101" y="91"/>
                    </a:cubicBezTo>
                    <a:cubicBezTo>
                      <a:pt x="105" y="91"/>
                      <a:pt x="108" y="87"/>
                      <a:pt x="113" y="88"/>
                    </a:cubicBezTo>
                    <a:cubicBezTo>
                      <a:pt x="117" y="89"/>
                      <a:pt x="120" y="93"/>
                      <a:pt x="123" y="96"/>
                    </a:cubicBezTo>
                    <a:cubicBezTo>
                      <a:pt x="123" y="95"/>
                      <a:pt x="124" y="90"/>
                      <a:pt x="126" y="89"/>
                    </a:cubicBezTo>
                    <a:cubicBezTo>
                      <a:pt x="127" y="89"/>
                      <a:pt x="125" y="89"/>
                      <a:pt x="126" y="8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59" name="Freeform 636">
                <a:extLst>
                  <a:ext uri="{FF2B5EF4-FFF2-40B4-BE49-F238E27FC236}">
                    <a16:creationId xmlns:a16="http://schemas.microsoft.com/office/drawing/2014/main" id="{C5C5936B-CB72-4741-9332-47DB15B5F840}"/>
                  </a:ext>
                </a:extLst>
              </p:cNvPr>
              <p:cNvSpPr>
                <a:spLocks/>
              </p:cNvSpPr>
              <p:nvPr/>
            </p:nvSpPr>
            <p:spPr bwMode="auto">
              <a:xfrm>
                <a:off x="7531402" y="8287656"/>
                <a:ext cx="280256" cy="149721"/>
              </a:xfrm>
              <a:custGeom>
                <a:avLst/>
                <a:gdLst>
                  <a:gd name="T0" fmla="*/ 12 w 30"/>
                  <a:gd name="T1" fmla="*/ 15 h 16"/>
                  <a:gd name="T2" fmla="*/ 13 w 30"/>
                  <a:gd name="T3" fmla="*/ 13 h 16"/>
                  <a:gd name="T4" fmla="*/ 16 w 30"/>
                  <a:gd name="T5" fmla="*/ 11 h 16"/>
                  <a:gd name="T6" fmla="*/ 20 w 30"/>
                  <a:gd name="T7" fmla="*/ 10 h 16"/>
                  <a:gd name="T8" fmla="*/ 24 w 30"/>
                  <a:gd name="T9" fmla="*/ 7 h 16"/>
                  <a:gd name="T10" fmla="*/ 30 w 30"/>
                  <a:gd name="T11" fmla="*/ 5 h 16"/>
                  <a:gd name="T12" fmla="*/ 20 w 30"/>
                  <a:gd name="T13" fmla="*/ 1 h 16"/>
                  <a:gd name="T14" fmla="*/ 14 w 30"/>
                  <a:gd name="T15" fmla="*/ 2 h 16"/>
                  <a:gd name="T16" fmla="*/ 8 w 30"/>
                  <a:gd name="T17" fmla="*/ 1 h 16"/>
                  <a:gd name="T18" fmla="*/ 2 w 30"/>
                  <a:gd name="T19" fmla="*/ 4 h 16"/>
                  <a:gd name="T20" fmla="*/ 1 w 30"/>
                  <a:gd name="T21" fmla="*/ 9 h 16"/>
                  <a:gd name="T22" fmla="*/ 8 w 30"/>
                  <a:gd name="T23" fmla="*/ 14 h 16"/>
                  <a:gd name="T24" fmla="*/ 10 w 30"/>
                  <a:gd name="T25" fmla="*/ 14 h 16"/>
                  <a:gd name="T26" fmla="*/ 9 w 30"/>
                  <a:gd name="T27" fmla="*/ 16 h 16"/>
                  <a:gd name="T28" fmla="*/ 12 w 30"/>
                  <a:gd name="T29"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6">
                    <a:moveTo>
                      <a:pt x="12" y="15"/>
                    </a:moveTo>
                    <a:cubicBezTo>
                      <a:pt x="13" y="15"/>
                      <a:pt x="13" y="14"/>
                      <a:pt x="13" y="13"/>
                    </a:cubicBezTo>
                    <a:cubicBezTo>
                      <a:pt x="13" y="12"/>
                      <a:pt x="15" y="11"/>
                      <a:pt x="16" y="11"/>
                    </a:cubicBezTo>
                    <a:cubicBezTo>
                      <a:pt x="18" y="10"/>
                      <a:pt x="18" y="12"/>
                      <a:pt x="20" y="10"/>
                    </a:cubicBezTo>
                    <a:cubicBezTo>
                      <a:pt x="21" y="9"/>
                      <a:pt x="22" y="6"/>
                      <a:pt x="24" y="7"/>
                    </a:cubicBezTo>
                    <a:cubicBezTo>
                      <a:pt x="27" y="7"/>
                      <a:pt x="27" y="6"/>
                      <a:pt x="30" y="5"/>
                    </a:cubicBezTo>
                    <a:cubicBezTo>
                      <a:pt x="26" y="3"/>
                      <a:pt x="25" y="0"/>
                      <a:pt x="20" y="1"/>
                    </a:cubicBezTo>
                    <a:cubicBezTo>
                      <a:pt x="18" y="1"/>
                      <a:pt x="16" y="2"/>
                      <a:pt x="14" y="2"/>
                    </a:cubicBezTo>
                    <a:cubicBezTo>
                      <a:pt x="12" y="2"/>
                      <a:pt x="10" y="1"/>
                      <a:pt x="8" y="1"/>
                    </a:cubicBezTo>
                    <a:cubicBezTo>
                      <a:pt x="5" y="2"/>
                      <a:pt x="4" y="2"/>
                      <a:pt x="2" y="4"/>
                    </a:cubicBezTo>
                    <a:cubicBezTo>
                      <a:pt x="2" y="5"/>
                      <a:pt x="0" y="7"/>
                      <a:pt x="1" y="9"/>
                    </a:cubicBezTo>
                    <a:cubicBezTo>
                      <a:pt x="4" y="11"/>
                      <a:pt x="8" y="9"/>
                      <a:pt x="8" y="14"/>
                    </a:cubicBezTo>
                    <a:cubicBezTo>
                      <a:pt x="8" y="14"/>
                      <a:pt x="10" y="14"/>
                      <a:pt x="10" y="14"/>
                    </a:cubicBezTo>
                    <a:cubicBezTo>
                      <a:pt x="10" y="14"/>
                      <a:pt x="9" y="16"/>
                      <a:pt x="9" y="16"/>
                    </a:cubicBezTo>
                    <a:cubicBezTo>
                      <a:pt x="10" y="16"/>
                      <a:pt x="12" y="16"/>
                      <a:pt x="12"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0" name="Freeform 637">
                <a:extLst>
                  <a:ext uri="{FF2B5EF4-FFF2-40B4-BE49-F238E27FC236}">
                    <a16:creationId xmlns:a16="http://schemas.microsoft.com/office/drawing/2014/main" id="{ABE5F613-6630-8444-858B-24C58B18E519}"/>
                  </a:ext>
                </a:extLst>
              </p:cNvPr>
              <p:cNvSpPr>
                <a:spLocks/>
              </p:cNvSpPr>
              <p:nvPr/>
            </p:nvSpPr>
            <p:spPr bwMode="auto">
              <a:xfrm>
                <a:off x="7531402" y="8163419"/>
                <a:ext cx="66879" cy="140163"/>
              </a:xfrm>
              <a:custGeom>
                <a:avLst/>
                <a:gdLst>
                  <a:gd name="T0" fmla="*/ 5 w 7"/>
                  <a:gd name="T1" fmla="*/ 1 h 15"/>
                  <a:gd name="T2" fmla="*/ 2 w 7"/>
                  <a:gd name="T3" fmla="*/ 4 h 15"/>
                  <a:gd name="T4" fmla="*/ 1 w 7"/>
                  <a:gd name="T5" fmla="*/ 6 h 15"/>
                  <a:gd name="T6" fmla="*/ 2 w 7"/>
                  <a:gd name="T7" fmla="*/ 14 h 15"/>
                  <a:gd name="T8" fmla="*/ 6 w 7"/>
                  <a:gd name="T9" fmla="*/ 8 h 15"/>
                  <a:gd name="T10" fmla="*/ 7 w 7"/>
                  <a:gd name="T11" fmla="*/ 2 h 15"/>
                  <a:gd name="T12" fmla="*/ 5 w 7"/>
                  <a:gd name="T13" fmla="*/ 1 h 15"/>
                  <a:gd name="T14" fmla="*/ 5 w 7"/>
                  <a:gd name="T15" fmla="*/ 1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5">
                    <a:moveTo>
                      <a:pt x="5" y="1"/>
                    </a:moveTo>
                    <a:cubicBezTo>
                      <a:pt x="4" y="0"/>
                      <a:pt x="2" y="3"/>
                      <a:pt x="2" y="4"/>
                    </a:cubicBezTo>
                    <a:cubicBezTo>
                      <a:pt x="1" y="5"/>
                      <a:pt x="1" y="4"/>
                      <a:pt x="1" y="6"/>
                    </a:cubicBezTo>
                    <a:cubicBezTo>
                      <a:pt x="1" y="7"/>
                      <a:pt x="0" y="15"/>
                      <a:pt x="2" y="14"/>
                    </a:cubicBezTo>
                    <a:cubicBezTo>
                      <a:pt x="2" y="13"/>
                      <a:pt x="5" y="10"/>
                      <a:pt x="6" y="8"/>
                    </a:cubicBezTo>
                    <a:cubicBezTo>
                      <a:pt x="6" y="5"/>
                      <a:pt x="6" y="4"/>
                      <a:pt x="7" y="2"/>
                    </a:cubicBezTo>
                    <a:cubicBezTo>
                      <a:pt x="7" y="1"/>
                      <a:pt x="6" y="1"/>
                      <a:pt x="5" y="1"/>
                    </a:cubicBezTo>
                    <a:cubicBezTo>
                      <a:pt x="4" y="0"/>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1" name="Freeform 638">
                <a:extLst>
                  <a:ext uri="{FF2B5EF4-FFF2-40B4-BE49-F238E27FC236}">
                    <a16:creationId xmlns:a16="http://schemas.microsoft.com/office/drawing/2014/main" id="{0CCC14C2-2A77-C34E-9887-53F392590D78}"/>
                  </a:ext>
                </a:extLst>
              </p:cNvPr>
              <p:cNvSpPr>
                <a:spLocks/>
              </p:cNvSpPr>
              <p:nvPr/>
            </p:nvSpPr>
            <p:spPr bwMode="auto">
              <a:xfrm>
                <a:off x="8232035" y="8080592"/>
                <a:ext cx="121018" cy="101936"/>
              </a:xfrm>
              <a:custGeom>
                <a:avLst/>
                <a:gdLst>
                  <a:gd name="T0" fmla="*/ 12 w 13"/>
                  <a:gd name="T1" fmla="*/ 3 h 11"/>
                  <a:gd name="T2" fmla="*/ 6 w 13"/>
                  <a:gd name="T3" fmla="*/ 1 h 11"/>
                  <a:gd name="T4" fmla="*/ 7 w 13"/>
                  <a:gd name="T5" fmla="*/ 5 h 11"/>
                  <a:gd name="T6" fmla="*/ 9 w 13"/>
                  <a:gd name="T7" fmla="*/ 9 h 11"/>
                  <a:gd name="T8" fmla="*/ 6 w 13"/>
                  <a:gd name="T9" fmla="*/ 10 h 11"/>
                  <a:gd name="T10" fmla="*/ 5 w 13"/>
                  <a:gd name="T11" fmla="*/ 8 h 11"/>
                  <a:gd name="T12" fmla="*/ 0 w 13"/>
                  <a:gd name="T13" fmla="*/ 9 h 11"/>
                  <a:gd name="T14" fmla="*/ 3 w 13"/>
                  <a:gd name="T15" fmla="*/ 11 h 11"/>
                  <a:gd name="T16" fmla="*/ 13 w 13"/>
                  <a:gd name="T17" fmla="*/ 11 h 11"/>
                  <a:gd name="T18" fmla="*/ 12 w 13"/>
                  <a:gd name="T19" fmla="*/ 3 h 11"/>
                  <a:gd name="T20" fmla="*/ 12 w 13"/>
                  <a:gd name="T2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2" y="3"/>
                    </a:moveTo>
                    <a:cubicBezTo>
                      <a:pt x="10" y="3"/>
                      <a:pt x="8" y="0"/>
                      <a:pt x="6" y="1"/>
                    </a:cubicBezTo>
                    <a:cubicBezTo>
                      <a:pt x="3" y="2"/>
                      <a:pt x="7" y="3"/>
                      <a:pt x="7" y="5"/>
                    </a:cubicBezTo>
                    <a:cubicBezTo>
                      <a:pt x="8" y="6"/>
                      <a:pt x="10" y="8"/>
                      <a:pt x="9" y="9"/>
                    </a:cubicBezTo>
                    <a:cubicBezTo>
                      <a:pt x="8" y="10"/>
                      <a:pt x="7" y="10"/>
                      <a:pt x="6" y="10"/>
                    </a:cubicBezTo>
                    <a:cubicBezTo>
                      <a:pt x="4" y="9"/>
                      <a:pt x="6" y="9"/>
                      <a:pt x="5" y="8"/>
                    </a:cubicBezTo>
                    <a:cubicBezTo>
                      <a:pt x="5" y="8"/>
                      <a:pt x="0" y="9"/>
                      <a:pt x="0" y="9"/>
                    </a:cubicBezTo>
                    <a:cubicBezTo>
                      <a:pt x="0" y="11"/>
                      <a:pt x="2" y="11"/>
                      <a:pt x="3" y="11"/>
                    </a:cubicBezTo>
                    <a:cubicBezTo>
                      <a:pt x="6" y="10"/>
                      <a:pt x="9" y="11"/>
                      <a:pt x="13" y="11"/>
                    </a:cubicBezTo>
                    <a:cubicBezTo>
                      <a:pt x="13" y="8"/>
                      <a:pt x="12" y="5"/>
                      <a:pt x="12" y="3"/>
                    </a:cubicBezTo>
                    <a:cubicBezTo>
                      <a:pt x="11" y="3"/>
                      <a:pt x="12" y="5"/>
                      <a:pt x="1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2" name="Freeform 639">
                <a:extLst>
                  <a:ext uri="{FF2B5EF4-FFF2-40B4-BE49-F238E27FC236}">
                    <a16:creationId xmlns:a16="http://schemas.microsoft.com/office/drawing/2014/main" id="{58DC6A8C-91BD-FF4E-9FFC-3423E69432E4}"/>
                  </a:ext>
                </a:extLst>
              </p:cNvPr>
              <p:cNvSpPr>
                <a:spLocks/>
              </p:cNvSpPr>
              <p:nvPr/>
            </p:nvSpPr>
            <p:spPr bwMode="auto">
              <a:xfrm>
                <a:off x="8343503" y="8080592"/>
                <a:ext cx="168791" cy="140163"/>
              </a:xfrm>
              <a:custGeom>
                <a:avLst/>
                <a:gdLst>
                  <a:gd name="T0" fmla="*/ 14 w 18"/>
                  <a:gd name="T1" fmla="*/ 7 h 15"/>
                  <a:gd name="T2" fmla="*/ 8 w 18"/>
                  <a:gd name="T3" fmla="*/ 3 h 15"/>
                  <a:gd name="T4" fmla="*/ 1 w 18"/>
                  <a:gd name="T5" fmla="*/ 1 h 15"/>
                  <a:gd name="T6" fmla="*/ 0 w 18"/>
                  <a:gd name="T7" fmla="*/ 3 h 15"/>
                  <a:gd name="T8" fmla="*/ 1 w 18"/>
                  <a:gd name="T9" fmla="*/ 10 h 15"/>
                  <a:gd name="T10" fmla="*/ 2 w 18"/>
                  <a:gd name="T11" fmla="*/ 12 h 15"/>
                  <a:gd name="T12" fmla="*/ 4 w 18"/>
                  <a:gd name="T13" fmla="*/ 10 h 15"/>
                  <a:gd name="T14" fmla="*/ 13 w 18"/>
                  <a:gd name="T15" fmla="*/ 10 h 15"/>
                  <a:gd name="T16" fmla="*/ 17 w 18"/>
                  <a:gd name="T17" fmla="*/ 10 h 15"/>
                  <a:gd name="T18" fmla="*/ 14 w 18"/>
                  <a:gd name="T19" fmla="*/ 7 h 15"/>
                  <a:gd name="T20" fmla="*/ 14 w 18"/>
                  <a:gd name="T21"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5">
                    <a:moveTo>
                      <a:pt x="14" y="7"/>
                    </a:moveTo>
                    <a:cubicBezTo>
                      <a:pt x="12" y="6"/>
                      <a:pt x="10" y="4"/>
                      <a:pt x="8" y="3"/>
                    </a:cubicBezTo>
                    <a:cubicBezTo>
                      <a:pt x="7" y="2"/>
                      <a:pt x="2" y="0"/>
                      <a:pt x="1" y="1"/>
                    </a:cubicBezTo>
                    <a:cubicBezTo>
                      <a:pt x="1" y="1"/>
                      <a:pt x="3" y="3"/>
                      <a:pt x="0" y="3"/>
                    </a:cubicBezTo>
                    <a:cubicBezTo>
                      <a:pt x="0" y="5"/>
                      <a:pt x="1" y="7"/>
                      <a:pt x="1" y="10"/>
                    </a:cubicBezTo>
                    <a:cubicBezTo>
                      <a:pt x="1" y="11"/>
                      <a:pt x="1" y="11"/>
                      <a:pt x="2" y="12"/>
                    </a:cubicBezTo>
                    <a:cubicBezTo>
                      <a:pt x="3" y="15"/>
                      <a:pt x="3" y="11"/>
                      <a:pt x="4" y="10"/>
                    </a:cubicBezTo>
                    <a:cubicBezTo>
                      <a:pt x="6" y="8"/>
                      <a:pt x="11" y="10"/>
                      <a:pt x="13" y="10"/>
                    </a:cubicBezTo>
                    <a:cubicBezTo>
                      <a:pt x="15" y="10"/>
                      <a:pt x="15" y="11"/>
                      <a:pt x="17" y="10"/>
                    </a:cubicBezTo>
                    <a:cubicBezTo>
                      <a:pt x="18" y="8"/>
                      <a:pt x="17" y="7"/>
                      <a:pt x="14" y="7"/>
                    </a:cubicBezTo>
                    <a:cubicBezTo>
                      <a:pt x="12" y="7"/>
                      <a:pt x="16" y="7"/>
                      <a:pt x="14"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3" name="Freeform 640">
                <a:extLst>
                  <a:ext uri="{FF2B5EF4-FFF2-40B4-BE49-F238E27FC236}">
                    <a16:creationId xmlns:a16="http://schemas.microsoft.com/office/drawing/2014/main" id="{A0A7B52F-5EBC-774C-BC55-A5D4E149106A}"/>
                  </a:ext>
                </a:extLst>
              </p:cNvPr>
              <p:cNvSpPr>
                <a:spLocks/>
              </p:cNvSpPr>
              <p:nvPr/>
            </p:nvSpPr>
            <p:spPr bwMode="auto">
              <a:xfrm>
                <a:off x="3843499" y="4965129"/>
                <a:ext cx="1812106" cy="1216878"/>
              </a:xfrm>
              <a:custGeom>
                <a:avLst/>
                <a:gdLst>
                  <a:gd name="T0" fmla="*/ 184 w 194"/>
                  <a:gd name="T1" fmla="*/ 118 h 130"/>
                  <a:gd name="T2" fmla="*/ 161 w 194"/>
                  <a:gd name="T3" fmla="*/ 97 h 130"/>
                  <a:gd name="T4" fmla="*/ 143 w 194"/>
                  <a:gd name="T5" fmla="*/ 92 h 130"/>
                  <a:gd name="T6" fmla="*/ 138 w 194"/>
                  <a:gd name="T7" fmla="*/ 76 h 130"/>
                  <a:gd name="T8" fmla="*/ 135 w 194"/>
                  <a:gd name="T9" fmla="*/ 14 h 130"/>
                  <a:gd name="T10" fmla="*/ 84 w 194"/>
                  <a:gd name="T11" fmla="*/ 8 h 130"/>
                  <a:gd name="T12" fmla="*/ 71 w 194"/>
                  <a:gd name="T13" fmla="*/ 5 h 130"/>
                  <a:gd name="T14" fmla="*/ 62 w 194"/>
                  <a:gd name="T15" fmla="*/ 1 h 130"/>
                  <a:gd name="T16" fmla="*/ 43 w 194"/>
                  <a:gd name="T17" fmla="*/ 8 h 130"/>
                  <a:gd name="T18" fmla="*/ 32 w 194"/>
                  <a:gd name="T19" fmla="*/ 11 h 130"/>
                  <a:gd name="T20" fmla="*/ 12 w 194"/>
                  <a:gd name="T21" fmla="*/ 23 h 130"/>
                  <a:gd name="T22" fmla="*/ 26 w 194"/>
                  <a:gd name="T23" fmla="*/ 38 h 130"/>
                  <a:gd name="T24" fmla="*/ 33 w 194"/>
                  <a:gd name="T25" fmla="*/ 42 h 130"/>
                  <a:gd name="T26" fmla="*/ 38 w 194"/>
                  <a:gd name="T27" fmla="*/ 45 h 130"/>
                  <a:gd name="T28" fmla="*/ 24 w 194"/>
                  <a:gd name="T29" fmla="*/ 42 h 130"/>
                  <a:gd name="T30" fmla="*/ 9 w 194"/>
                  <a:gd name="T31" fmla="*/ 46 h 130"/>
                  <a:gd name="T32" fmla="*/ 12 w 194"/>
                  <a:gd name="T33" fmla="*/ 58 h 130"/>
                  <a:gd name="T34" fmla="*/ 32 w 194"/>
                  <a:gd name="T35" fmla="*/ 58 h 130"/>
                  <a:gd name="T36" fmla="*/ 38 w 194"/>
                  <a:gd name="T37" fmla="*/ 61 h 130"/>
                  <a:gd name="T38" fmla="*/ 21 w 194"/>
                  <a:gd name="T39" fmla="*/ 71 h 130"/>
                  <a:gd name="T40" fmla="*/ 15 w 194"/>
                  <a:gd name="T41" fmla="*/ 78 h 130"/>
                  <a:gd name="T42" fmla="*/ 17 w 194"/>
                  <a:gd name="T43" fmla="*/ 84 h 130"/>
                  <a:gd name="T44" fmla="*/ 26 w 194"/>
                  <a:gd name="T45" fmla="*/ 89 h 130"/>
                  <a:gd name="T46" fmla="*/ 22 w 194"/>
                  <a:gd name="T47" fmla="*/ 94 h 130"/>
                  <a:gd name="T48" fmla="*/ 31 w 194"/>
                  <a:gd name="T49" fmla="*/ 93 h 130"/>
                  <a:gd name="T50" fmla="*/ 38 w 194"/>
                  <a:gd name="T51" fmla="*/ 102 h 130"/>
                  <a:gd name="T52" fmla="*/ 48 w 194"/>
                  <a:gd name="T53" fmla="*/ 105 h 130"/>
                  <a:gd name="T54" fmla="*/ 54 w 194"/>
                  <a:gd name="T55" fmla="*/ 103 h 130"/>
                  <a:gd name="T56" fmla="*/ 55 w 194"/>
                  <a:gd name="T57" fmla="*/ 106 h 130"/>
                  <a:gd name="T58" fmla="*/ 51 w 194"/>
                  <a:gd name="T59" fmla="*/ 114 h 130"/>
                  <a:gd name="T60" fmla="*/ 41 w 194"/>
                  <a:gd name="T61" fmla="*/ 124 h 130"/>
                  <a:gd name="T62" fmla="*/ 36 w 194"/>
                  <a:gd name="T63" fmla="*/ 126 h 130"/>
                  <a:gd name="T64" fmla="*/ 43 w 194"/>
                  <a:gd name="T65" fmla="*/ 125 h 130"/>
                  <a:gd name="T66" fmla="*/ 54 w 194"/>
                  <a:gd name="T67" fmla="*/ 118 h 130"/>
                  <a:gd name="T68" fmla="*/ 72 w 194"/>
                  <a:gd name="T69" fmla="*/ 107 h 130"/>
                  <a:gd name="T70" fmla="*/ 77 w 194"/>
                  <a:gd name="T71" fmla="*/ 91 h 130"/>
                  <a:gd name="T72" fmla="*/ 94 w 194"/>
                  <a:gd name="T73" fmla="*/ 86 h 130"/>
                  <a:gd name="T74" fmla="*/ 87 w 194"/>
                  <a:gd name="T75" fmla="*/ 97 h 130"/>
                  <a:gd name="T76" fmla="*/ 101 w 194"/>
                  <a:gd name="T77" fmla="*/ 88 h 130"/>
                  <a:gd name="T78" fmla="*/ 119 w 194"/>
                  <a:gd name="T79" fmla="*/ 92 h 130"/>
                  <a:gd name="T80" fmla="*/ 136 w 194"/>
                  <a:gd name="T81" fmla="*/ 95 h 130"/>
                  <a:gd name="T82" fmla="*/ 145 w 194"/>
                  <a:gd name="T83" fmla="*/ 98 h 130"/>
                  <a:gd name="T84" fmla="*/ 160 w 194"/>
                  <a:gd name="T85" fmla="*/ 102 h 130"/>
                  <a:gd name="T86" fmla="*/ 169 w 194"/>
                  <a:gd name="T87" fmla="*/ 104 h 130"/>
                  <a:gd name="T88" fmla="*/ 176 w 194"/>
                  <a:gd name="T89" fmla="*/ 111 h 130"/>
                  <a:gd name="T90" fmla="*/ 184 w 194"/>
                  <a:gd name="T91" fmla="*/ 121 h 130"/>
                  <a:gd name="T92" fmla="*/ 186 w 194"/>
                  <a:gd name="T93" fmla="*/ 125 h 130"/>
                  <a:gd name="T94" fmla="*/ 194 w 194"/>
                  <a:gd name="T95" fmla="*/ 12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4" h="130">
                    <a:moveTo>
                      <a:pt x="194" y="126"/>
                    </a:moveTo>
                    <a:cubicBezTo>
                      <a:pt x="193" y="125"/>
                      <a:pt x="191" y="125"/>
                      <a:pt x="193" y="123"/>
                    </a:cubicBezTo>
                    <a:cubicBezTo>
                      <a:pt x="193" y="122"/>
                      <a:pt x="192" y="122"/>
                      <a:pt x="191" y="122"/>
                    </a:cubicBezTo>
                    <a:cubicBezTo>
                      <a:pt x="189" y="120"/>
                      <a:pt x="185" y="119"/>
                      <a:pt x="184" y="118"/>
                    </a:cubicBezTo>
                    <a:cubicBezTo>
                      <a:pt x="180" y="113"/>
                      <a:pt x="178" y="107"/>
                      <a:pt x="174" y="103"/>
                    </a:cubicBezTo>
                    <a:cubicBezTo>
                      <a:pt x="172" y="102"/>
                      <a:pt x="170" y="100"/>
                      <a:pt x="169" y="99"/>
                    </a:cubicBezTo>
                    <a:cubicBezTo>
                      <a:pt x="167" y="98"/>
                      <a:pt x="167" y="95"/>
                      <a:pt x="165" y="95"/>
                    </a:cubicBezTo>
                    <a:cubicBezTo>
                      <a:pt x="164" y="95"/>
                      <a:pt x="161" y="97"/>
                      <a:pt x="161" y="97"/>
                    </a:cubicBezTo>
                    <a:cubicBezTo>
                      <a:pt x="162" y="99"/>
                      <a:pt x="159" y="100"/>
                      <a:pt x="158" y="100"/>
                    </a:cubicBezTo>
                    <a:cubicBezTo>
                      <a:pt x="155" y="101"/>
                      <a:pt x="152" y="97"/>
                      <a:pt x="150" y="95"/>
                    </a:cubicBezTo>
                    <a:cubicBezTo>
                      <a:pt x="149" y="94"/>
                      <a:pt x="148" y="94"/>
                      <a:pt x="147" y="92"/>
                    </a:cubicBezTo>
                    <a:cubicBezTo>
                      <a:pt x="146" y="90"/>
                      <a:pt x="144" y="91"/>
                      <a:pt x="143" y="92"/>
                    </a:cubicBezTo>
                    <a:cubicBezTo>
                      <a:pt x="141" y="92"/>
                      <a:pt x="141" y="91"/>
                      <a:pt x="139" y="92"/>
                    </a:cubicBezTo>
                    <a:cubicBezTo>
                      <a:pt x="139" y="92"/>
                      <a:pt x="138" y="92"/>
                      <a:pt x="138" y="91"/>
                    </a:cubicBezTo>
                    <a:cubicBezTo>
                      <a:pt x="138" y="90"/>
                      <a:pt x="138" y="90"/>
                      <a:pt x="138" y="89"/>
                    </a:cubicBezTo>
                    <a:cubicBezTo>
                      <a:pt x="138" y="85"/>
                      <a:pt x="138" y="80"/>
                      <a:pt x="138" y="76"/>
                    </a:cubicBezTo>
                    <a:cubicBezTo>
                      <a:pt x="138" y="64"/>
                      <a:pt x="138" y="51"/>
                      <a:pt x="138" y="38"/>
                    </a:cubicBezTo>
                    <a:cubicBezTo>
                      <a:pt x="138" y="33"/>
                      <a:pt x="138" y="27"/>
                      <a:pt x="138" y="21"/>
                    </a:cubicBezTo>
                    <a:cubicBezTo>
                      <a:pt x="138" y="20"/>
                      <a:pt x="138" y="18"/>
                      <a:pt x="138" y="16"/>
                    </a:cubicBezTo>
                    <a:cubicBezTo>
                      <a:pt x="138" y="15"/>
                      <a:pt x="137" y="15"/>
                      <a:pt x="135" y="14"/>
                    </a:cubicBezTo>
                    <a:cubicBezTo>
                      <a:pt x="130" y="12"/>
                      <a:pt x="127" y="12"/>
                      <a:pt x="122" y="12"/>
                    </a:cubicBezTo>
                    <a:cubicBezTo>
                      <a:pt x="117" y="12"/>
                      <a:pt x="113" y="11"/>
                      <a:pt x="108" y="10"/>
                    </a:cubicBezTo>
                    <a:cubicBezTo>
                      <a:pt x="102" y="10"/>
                      <a:pt x="97" y="8"/>
                      <a:pt x="92" y="8"/>
                    </a:cubicBezTo>
                    <a:cubicBezTo>
                      <a:pt x="89" y="8"/>
                      <a:pt x="87" y="9"/>
                      <a:pt x="84" y="8"/>
                    </a:cubicBezTo>
                    <a:cubicBezTo>
                      <a:pt x="84" y="8"/>
                      <a:pt x="80" y="7"/>
                      <a:pt x="80" y="7"/>
                    </a:cubicBezTo>
                    <a:cubicBezTo>
                      <a:pt x="80" y="7"/>
                      <a:pt x="81" y="5"/>
                      <a:pt x="81" y="4"/>
                    </a:cubicBezTo>
                    <a:cubicBezTo>
                      <a:pt x="81" y="4"/>
                      <a:pt x="78" y="4"/>
                      <a:pt x="78" y="4"/>
                    </a:cubicBezTo>
                    <a:cubicBezTo>
                      <a:pt x="76" y="4"/>
                      <a:pt x="73" y="5"/>
                      <a:pt x="71" y="5"/>
                    </a:cubicBezTo>
                    <a:cubicBezTo>
                      <a:pt x="69" y="5"/>
                      <a:pt x="70" y="1"/>
                      <a:pt x="67" y="3"/>
                    </a:cubicBezTo>
                    <a:cubicBezTo>
                      <a:pt x="66" y="3"/>
                      <a:pt x="65" y="5"/>
                      <a:pt x="64" y="4"/>
                    </a:cubicBezTo>
                    <a:cubicBezTo>
                      <a:pt x="62" y="4"/>
                      <a:pt x="62" y="3"/>
                      <a:pt x="64" y="2"/>
                    </a:cubicBezTo>
                    <a:cubicBezTo>
                      <a:pt x="66" y="2"/>
                      <a:pt x="63" y="1"/>
                      <a:pt x="62" y="1"/>
                    </a:cubicBezTo>
                    <a:cubicBezTo>
                      <a:pt x="58" y="0"/>
                      <a:pt x="58" y="1"/>
                      <a:pt x="56" y="3"/>
                    </a:cubicBezTo>
                    <a:cubicBezTo>
                      <a:pt x="53" y="6"/>
                      <a:pt x="49" y="4"/>
                      <a:pt x="45" y="5"/>
                    </a:cubicBezTo>
                    <a:cubicBezTo>
                      <a:pt x="41" y="6"/>
                      <a:pt x="45" y="8"/>
                      <a:pt x="45" y="8"/>
                    </a:cubicBezTo>
                    <a:cubicBezTo>
                      <a:pt x="44" y="8"/>
                      <a:pt x="43" y="8"/>
                      <a:pt x="43" y="8"/>
                    </a:cubicBezTo>
                    <a:cubicBezTo>
                      <a:pt x="43" y="8"/>
                      <a:pt x="44" y="10"/>
                      <a:pt x="43" y="10"/>
                    </a:cubicBezTo>
                    <a:cubicBezTo>
                      <a:pt x="42" y="10"/>
                      <a:pt x="42" y="8"/>
                      <a:pt x="42" y="7"/>
                    </a:cubicBezTo>
                    <a:cubicBezTo>
                      <a:pt x="41" y="7"/>
                      <a:pt x="38" y="10"/>
                      <a:pt x="38" y="10"/>
                    </a:cubicBezTo>
                    <a:cubicBezTo>
                      <a:pt x="36" y="11"/>
                      <a:pt x="34" y="9"/>
                      <a:pt x="32" y="11"/>
                    </a:cubicBezTo>
                    <a:cubicBezTo>
                      <a:pt x="30" y="12"/>
                      <a:pt x="28" y="13"/>
                      <a:pt x="27" y="15"/>
                    </a:cubicBezTo>
                    <a:cubicBezTo>
                      <a:pt x="27" y="17"/>
                      <a:pt x="27" y="19"/>
                      <a:pt x="25" y="20"/>
                    </a:cubicBezTo>
                    <a:cubicBezTo>
                      <a:pt x="23" y="21"/>
                      <a:pt x="22" y="22"/>
                      <a:pt x="20" y="22"/>
                    </a:cubicBezTo>
                    <a:cubicBezTo>
                      <a:pt x="19" y="22"/>
                      <a:pt x="13" y="22"/>
                      <a:pt x="12" y="23"/>
                    </a:cubicBezTo>
                    <a:cubicBezTo>
                      <a:pt x="12" y="24"/>
                      <a:pt x="10" y="27"/>
                      <a:pt x="10" y="27"/>
                    </a:cubicBezTo>
                    <a:cubicBezTo>
                      <a:pt x="11" y="28"/>
                      <a:pt x="14" y="28"/>
                      <a:pt x="15" y="29"/>
                    </a:cubicBezTo>
                    <a:cubicBezTo>
                      <a:pt x="18" y="30"/>
                      <a:pt x="21" y="32"/>
                      <a:pt x="23" y="34"/>
                    </a:cubicBezTo>
                    <a:cubicBezTo>
                      <a:pt x="24" y="35"/>
                      <a:pt x="24" y="37"/>
                      <a:pt x="26" y="38"/>
                    </a:cubicBezTo>
                    <a:cubicBezTo>
                      <a:pt x="28" y="38"/>
                      <a:pt x="29" y="38"/>
                      <a:pt x="31" y="37"/>
                    </a:cubicBezTo>
                    <a:cubicBezTo>
                      <a:pt x="31" y="37"/>
                      <a:pt x="34" y="38"/>
                      <a:pt x="34" y="38"/>
                    </a:cubicBezTo>
                    <a:cubicBezTo>
                      <a:pt x="36" y="41"/>
                      <a:pt x="31" y="39"/>
                      <a:pt x="31" y="39"/>
                    </a:cubicBezTo>
                    <a:cubicBezTo>
                      <a:pt x="29" y="39"/>
                      <a:pt x="32" y="41"/>
                      <a:pt x="33" y="42"/>
                    </a:cubicBezTo>
                    <a:cubicBezTo>
                      <a:pt x="34" y="44"/>
                      <a:pt x="35" y="43"/>
                      <a:pt x="37" y="42"/>
                    </a:cubicBezTo>
                    <a:cubicBezTo>
                      <a:pt x="38" y="41"/>
                      <a:pt x="41" y="41"/>
                      <a:pt x="42" y="42"/>
                    </a:cubicBezTo>
                    <a:cubicBezTo>
                      <a:pt x="43" y="43"/>
                      <a:pt x="38" y="44"/>
                      <a:pt x="38" y="44"/>
                    </a:cubicBezTo>
                    <a:cubicBezTo>
                      <a:pt x="37" y="44"/>
                      <a:pt x="38" y="44"/>
                      <a:pt x="38" y="45"/>
                    </a:cubicBezTo>
                    <a:cubicBezTo>
                      <a:pt x="38" y="46"/>
                      <a:pt x="36" y="45"/>
                      <a:pt x="36" y="45"/>
                    </a:cubicBezTo>
                    <a:cubicBezTo>
                      <a:pt x="35" y="45"/>
                      <a:pt x="34" y="46"/>
                      <a:pt x="32" y="46"/>
                    </a:cubicBezTo>
                    <a:cubicBezTo>
                      <a:pt x="30" y="46"/>
                      <a:pt x="26" y="47"/>
                      <a:pt x="24" y="46"/>
                    </a:cubicBezTo>
                    <a:cubicBezTo>
                      <a:pt x="22" y="45"/>
                      <a:pt x="25" y="43"/>
                      <a:pt x="24" y="42"/>
                    </a:cubicBezTo>
                    <a:cubicBezTo>
                      <a:pt x="23" y="42"/>
                      <a:pt x="21" y="42"/>
                      <a:pt x="20" y="43"/>
                    </a:cubicBezTo>
                    <a:cubicBezTo>
                      <a:pt x="19" y="43"/>
                      <a:pt x="17" y="43"/>
                      <a:pt x="16" y="43"/>
                    </a:cubicBezTo>
                    <a:cubicBezTo>
                      <a:pt x="14" y="44"/>
                      <a:pt x="15" y="46"/>
                      <a:pt x="15" y="46"/>
                    </a:cubicBezTo>
                    <a:cubicBezTo>
                      <a:pt x="13" y="46"/>
                      <a:pt x="11" y="45"/>
                      <a:pt x="9" y="46"/>
                    </a:cubicBezTo>
                    <a:cubicBezTo>
                      <a:pt x="8" y="47"/>
                      <a:pt x="6" y="48"/>
                      <a:pt x="5" y="49"/>
                    </a:cubicBezTo>
                    <a:cubicBezTo>
                      <a:pt x="0" y="52"/>
                      <a:pt x="12" y="52"/>
                      <a:pt x="12" y="53"/>
                    </a:cubicBezTo>
                    <a:cubicBezTo>
                      <a:pt x="11" y="54"/>
                      <a:pt x="8" y="54"/>
                      <a:pt x="10" y="55"/>
                    </a:cubicBezTo>
                    <a:cubicBezTo>
                      <a:pt x="11" y="56"/>
                      <a:pt x="11" y="58"/>
                      <a:pt x="12" y="58"/>
                    </a:cubicBezTo>
                    <a:cubicBezTo>
                      <a:pt x="16" y="59"/>
                      <a:pt x="19" y="58"/>
                      <a:pt x="23" y="58"/>
                    </a:cubicBezTo>
                    <a:cubicBezTo>
                      <a:pt x="24" y="59"/>
                      <a:pt x="25" y="59"/>
                      <a:pt x="26" y="59"/>
                    </a:cubicBezTo>
                    <a:cubicBezTo>
                      <a:pt x="28" y="59"/>
                      <a:pt x="27" y="59"/>
                      <a:pt x="29" y="60"/>
                    </a:cubicBezTo>
                    <a:cubicBezTo>
                      <a:pt x="29" y="60"/>
                      <a:pt x="31" y="58"/>
                      <a:pt x="32" y="58"/>
                    </a:cubicBezTo>
                    <a:cubicBezTo>
                      <a:pt x="33" y="57"/>
                      <a:pt x="34" y="57"/>
                      <a:pt x="35" y="57"/>
                    </a:cubicBezTo>
                    <a:cubicBezTo>
                      <a:pt x="36" y="56"/>
                      <a:pt x="37" y="55"/>
                      <a:pt x="37" y="55"/>
                    </a:cubicBezTo>
                    <a:cubicBezTo>
                      <a:pt x="38" y="56"/>
                      <a:pt x="39" y="57"/>
                      <a:pt x="38" y="58"/>
                    </a:cubicBezTo>
                    <a:cubicBezTo>
                      <a:pt x="37" y="59"/>
                      <a:pt x="36" y="59"/>
                      <a:pt x="38" y="61"/>
                    </a:cubicBezTo>
                    <a:cubicBezTo>
                      <a:pt x="40" y="65"/>
                      <a:pt x="38" y="68"/>
                      <a:pt x="33" y="67"/>
                    </a:cubicBezTo>
                    <a:cubicBezTo>
                      <a:pt x="33" y="67"/>
                      <a:pt x="32" y="66"/>
                      <a:pt x="31" y="67"/>
                    </a:cubicBezTo>
                    <a:cubicBezTo>
                      <a:pt x="30" y="68"/>
                      <a:pt x="29" y="70"/>
                      <a:pt x="28" y="70"/>
                    </a:cubicBezTo>
                    <a:cubicBezTo>
                      <a:pt x="26" y="71"/>
                      <a:pt x="20" y="68"/>
                      <a:pt x="21" y="71"/>
                    </a:cubicBezTo>
                    <a:cubicBezTo>
                      <a:pt x="21" y="71"/>
                      <a:pt x="18" y="73"/>
                      <a:pt x="19" y="73"/>
                    </a:cubicBezTo>
                    <a:cubicBezTo>
                      <a:pt x="19" y="73"/>
                      <a:pt x="20" y="73"/>
                      <a:pt x="20" y="73"/>
                    </a:cubicBezTo>
                    <a:cubicBezTo>
                      <a:pt x="21" y="74"/>
                      <a:pt x="18" y="75"/>
                      <a:pt x="17" y="76"/>
                    </a:cubicBezTo>
                    <a:cubicBezTo>
                      <a:pt x="16" y="76"/>
                      <a:pt x="15" y="77"/>
                      <a:pt x="15" y="78"/>
                    </a:cubicBezTo>
                    <a:cubicBezTo>
                      <a:pt x="14" y="80"/>
                      <a:pt x="16" y="80"/>
                      <a:pt x="14" y="81"/>
                    </a:cubicBezTo>
                    <a:cubicBezTo>
                      <a:pt x="12" y="82"/>
                      <a:pt x="14" y="84"/>
                      <a:pt x="15" y="85"/>
                    </a:cubicBezTo>
                    <a:cubicBezTo>
                      <a:pt x="15" y="86"/>
                      <a:pt x="18" y="81"/>
                      <a:pt x="19" y="81"/>
                    </a:cubicBezTo>
                    <a:cubicBezTo>
                      <a:pt x="19" y="81"/>
                      <a:pt x="17" y="84"/>
                      <a:pt x="17" y="84"/>
                    </a:cubicBezTo>
                    <a:cubicBezTo>
                      <a:pt x="16" y="85"/>
                      <a:pt x="19" y="87"/>
                      <a:pt x="20" y="87"/>
                    </a:cubicBezTo>
                    <a:cubicBezTo>
                      <a:pt x="21" y="88"/>
                      <a:pt x="21" y="89"/>
                      <a:pt x="22" y="88"/>
                    </a:cubicBezTo>
                    <a:cubicBezTo>
                      <a:pt x="23" y="87"/>
                      <a:pt x="24" y="86"/>
                      <a:pt x="24" y="86"/>
                    </a:cubicBezTo>
                    <a:cubicBezTo>
                      <a:pt x="24" y="87"/>
                      <a:pt x="25" y="89"/>
                      <a:pt x="26" y="89"/>
                    </a:cubicBezTo>
                    <a:cubicBezTo>
                      <a:pt x="24" y="90"/>
                      <a:pt x="23" y="89"/>
                      <a:pt x="22" y="89"/>
                    </a:cubicBezTo>
                    <a:cubicBezTo>
                      <a:pt x="21" y="90"/>
                      <a:pt x="20" y="87"/>
                      <a:pt x="19" y="87"/>
                    </a:cubicBezTo>
                    <a:cubicBezTo>
                      <a:pt x="18" y="87"/>
                      <a:pt x="16" y="90"/>
                      <a:pt x="18" y="91"/>
                    </a:cubicBezTo>
                    <a:cubicBezTo>
                      <a:pt x="20" y="92"/>
                      <a:pt x="20" y="93"/>
                      <a:pt x="22" y="94"/>
                    </a:cubicBezTo>
                    <a:cubicBezTo>
                      <a:pt x="23" y="96"/>
                      <a:pt x="25" y="95"/>
                      <a:pt x="27" y="95"/>
                    </a:cubicBezTo>
                    <a:cubicBezTo>
                      <a:pt x="28" y="94"/>
                      <a:pt x="30" y="95"/>
                      <a:pt x="30" y="93"/>
                    </a:cubicBezTo>
                    <a:cubicBezTo>
                      <a:pt x="30" y="91"/>
                      <a:pt x="31" y="88"/>
                      <a:pt x="33" y="89"/>
                    </a:cubicBezTo>
                    <a:cubicBezTo>
                      <a:pt x="33" y="88"/>
                      <a:pt x="31" y="92"/>
                      <a:pt x="31" y="93"/>
                    </a:cubicBezTo>
                    <a:cubicBezTo>
                      <a:pt x="31" y="94"/>
                      <a:pt x="35" y="97"/>
                      <a:pt x="34" y="98"/>
                    </a:cubicBezTo>
                    <a:cubicBezTo>
                      <a:pt x="32" y="100"/>
                      <a:pt x="35" y="101"/>
                      <a:pt x="35" y="101"/>
                    </a:cubicBezTo>
                    <a:cubicBezTo>
                      <a:pt x="34" y="101"/>
                      <a:pt x="32" y="104"/>
                      <a:pt x="32" y="104"/>
                    </a:cubicBezTo>
                    <a:cubicBezTo>
                      <a:pt x="33" y="105"/>
                      <a:pt x="38" y="102"/>
                      <a:pt x="38" y="102"/>
                    </a:cubicBezTo>
                    <a:cubicBezTo>
                      <a:pt x="38" y="103"/>
                      <a:pt x="37" y="103"/>
                      <a:pt x="37" y="104"/>
                    </a:cubicBezTo>
                    <a:cubicBezTo>
                      <a:pt x="37" y="104"/>
                      <a:pt x="39" y="102"/>
                      <a:pt x="40" y="101"/>
                    </a:cubicBezTo>
                    <a:cubicBezTo>
                      <a:pt x="41" y="101"/>
                      <a:pt x="45" y="102"/>
                      <a:pt x="45" y="103"/>
                    </a:cubicBezTo>
                    <a:cubicBezTo>
                      <a:pt x="46" y="104"/>
                      <a:pt x="48" y="107"/>
                      <a:pt x="48" y="105"/>
                    </a:cubicBezTo>
                    <a:cubicBezTo>
                      <a:pt x="48" y="104"/>
                      <a:pt x="50" y="100"/>
                      <a:pt x="50" y="100"/>
                    </a:cubicBezTo>
                    <a:cubicBezTo>
                      <a:pt x="50" y="99"/>
                      <a:pt x="53" y="102"/>
                      <a:pt x="53" y="101"/>
                    </a:cubicBezTo>
                    <a:cubicBezTo>
                      <a:pt x="53" y="101"/>
                      <a:pt x="50" y="101"/>
                      <a:pt x="50" y="102"/>
                    </a:cubicBezTo>
                    <a:cubicBezTo>
                      <a:pt x="50" y="104"/>
                      <a:pt x="53" y="104"/>
                      <a:pt x="54" y="103"/>
                    </a:cubicBezTo>
                    <a:cubicBezTo>
                      <a:pt x="55" y="102"/>
                      <a:pt x="56" y="103"/>
                      <a:pt x="57" y="102"/>
                    </a:cubicBezTo>
                    <a:cubicBezTo>
                      <a:pt x="57" y="102"/>
                      <a:pt x="59" y="100"/>
                      <a:pt x="59" y="100"/>
                    </a:cubicBezTo>
                    <a:cubicBezTo>
                      <a:pt x="59" y="100"/>
                      <a:pt x="57" y="103"/>
                      <a:pt x="56" y="104"/>
                    </a:cubicBezTo>
                    <a:cubicBezTo>
                      <a:pt x="56" y="105"/>
                      <a:pt x="56" y="105"/>
                      <a:pt x="55" y="106"/>
                    </a:cubicBezTo>
                    <a:cubicBezTo>
                      <a:pt x="55" y="107"/>
                      <a:pt x="56" y="106"/>
                      <a:pt x="56" y="107"/>
                    </a:cubicBezTo>
                    <a:cubicBezTo>
                      <a:pt x="56" y="107"/>
                      <a:pt x="55" y="108"/>
                      <a:pt x="54" y="109"/>
                    </a:cubicBezTo>
                    <a:cubicBezTo>
                      <a:pt x="54" y="111"/>
                      <a:pt x="54" y="111"/>
                      <a:pt x="55" y="112"/>
                    </a:cubicBezTo>
                    <a:cubicBezTo>
                      <a:pt x="55" y="112"/>
                      <a:pt x="52" y="114"/>
                      <a:pt x="51" y="114"/>
                    </a:cubicBezTo>
                    <a:cubicBezTo>
                      <a:pt x="50" y="116"/>
                      <a:pt x="49" y="117"/>
                      <a:pt x="47" y="118"/>
                    </a:cubicBezTo>
                    <a:cubicBezTo>
                      <a:pt x="45" y="118"/>
                      <a:pt x="43" y="120"/>
                      <a:pt x="42" y="121"/>
                    </a:cubicBezTo>
                    <a:cubicBezTo>
                      <a:pt x="41" y="121"/>
                      <a:pt x="41" y="122"/>
                      <a:pt x="40" y="122"/>
                    </a:cubicBezTo>
                    <a:cubicBezTo>
                      <a:pt x="40" y="123"/>
                      <a:pt x="41" y="124"/>
                      <a:pt x="41" y="124"/>
                    </a:cubicBezTo>
                    <a:cubicBezTo>
                      <a:pt x="40" y="125"/>
                      <a:pt x="37" y="124"/>
                      <a:pt x="36" y="124"/>
                    </a:cubicBezTo>
                    <a:cubicBezTo>
                      <a:pt x="33" y="124"/>
                      <a:pt x="32" y="125"/>
                      <a:pt x="30" y="127"/>
                    </a:cubicBezTo>
                    <a:cubicBezTo>
                      <a:pt x="29" y="128"/>
                      <a:pt x="30" y="130"/>
                      <a:pt x="31" y="129"/>
                    </a:cubicBezTo>
                    <a:cubicBezTo>
                      <a:pt x="33" y="128"/>
                      <a:pt x="35" y="125"/>
                      <a:pt x="36" y="126"/>
                    </a:cubicBezTo>
                    <a:cubicBezTo>
                      <a:pt x="36" y="125"/>
                      <a:pt x="35" y="129"/>
                      <a:pt x="38" y="126"/>
                    </a:cubicBezTo>
                    <a:cubicBezTo>
                      <a:pt x="38" y="126"/>
                      <a:pt x="40" y="129"/>
                      <a:pt x="41" y="127"/>
                    </a:cubicBezTo>
                    <a:cubicBezTo>
                      <a:pt x="41" y="126"/>
                      <a:pt x="40" y="126"/>
                      <a:pt x="41" y="126"/>
                    </a:cubicBezTo>
                    <a:cubicBezTo>
                      <a:pt x="42" y="125"/>
                      <a:pt x="42" y="125"/>
                      <a:pt x="43" y="125"/>
                    </a:cubicBezTo>
                    <a:cubicBezTo>
                      <a:pt x="44" y="125"/>
                      <a:pt x="44" y="125"/>
                      <a:pt x="45" y="124"/>
                    </a:cubicBezTo>
                    <a:cubicBezTo>
                      <a:pt x="46" y="123"/>
                      <a:pt x="48" y="123"/>
                      <a:pt x="50" y="122"/>
                    </a:cubicBezTo>
                    <a:cubicBezTo>
                      <a:pt x="53" y="121"/>
                      <a:pt x="49" y="121"/>
                      <a:pt x="51" y="120"/>
                    </a:cubicBezTo>
                    <a:cubicBezTo>
                      <a:pt x="52" y="119"/>
                      <a:pt x="53" y="118"/>
                      <a:pt x="54" y="118"/>
                    </a:cubicBezTo>
                    <a:cubicBezTo>
                      <a:pt x="56" y="117"/>
                      <a:pt x="58" y="116"/>
                      <a:pt x="59" y="116"/>
                    </a:cubicBezTo>
                    <a:cubicBezTo>
                      <a:pt x="62" y="114"/>
                      <a:pt x="60" y="115"/>
                      <a:pt x="60" y="113"/>
                    </a:cubicBezTo>
                    <a:cubicBezTo>
                      <a:pt x="60" y="113"/>
                      <a:pt x="68" y="109"/>
                      <a:pt x="69" y="108"/>
                    </a:cubicBezTo>
                    <a:cubicBezTo>
                      <a:pt x="70" y="108"/>
                      <a:pt x="72" y="108"/>
                      <a:pt x="72" y="107"/>
                    </a:cubicBezTo>
                    <a:cubicBezTo>
                      <a:pt x="72" y="104"/>
                      <a:pt x="73" y="105"/>
                      <a:pt x="75" y="104"/>
                    </a:cubicBezTo>
                    <a:cubicBezTo>
                      <a:pt x="78" y="102"/>
                      <a:pt x="69" y="101"/>
                      <a:pt x="73" y="97"/>
                    </a:cubicBezTo>
                    <a:cubicBezTo>
                      <a:pt x="75" y="96"/>
                      <a:pt x="77" y="96"/>
                      <a:pt x="78" y="95"/>
                    </a:cubicBezTo>
                    <a:cubicBezTo>
                      <a:pt x="79" y="94"/>
                      <a:pt x="79" y="91"/>
                      <a:pt x="77" y="91"/>
                    </a:cubicBezTo>
                    <a:cubicBezTo>
                      <a:pt x="79" y="91"/>
                      <a:pt x="79" y="92"/>
                      <a:pt x="81" y="91"/>
                    </a:cubicBezTo>
                    <a:cubicBezTo>
                      <a:pt x="82" y="90"/>
                      <a:pt x="83" y="88"/>
                      <a:pt x="85" y="87"/>
                    </a:cubicBezTo>
                    <a:cubicBezTo>
                      <a:pt x="86" y="86"/>
                      <a:pt x="88" y="84"/>
                      <a:pt x="89" y="84"/>
                    </a:cubicBezTo>
                    <a:cubicBezTo>
                      <a:pt x="90" y="84"/>
                      <a:pt x="95" y="84"/>
                      <a:pt x="94" y="86"/>
                    </a:cubicBezTo>
                    <a:cubicBezTo>
                      <a:pt x="93" y="87"/>
                      <a:pt x="91" y="85"/>
                      <a:pt x="89" y="86"/>
                    </a:cubicBezTo>
                    <a:cubicBezTo>
                      <a:pt x="87" y="87"/>
                      <a:pt x="87" y="88"/>
                      <a:pt x="86" y="90"/>
                    </a:cubicBezTo>
                    <a:cubicBezTo>
                      <a:pt x="86" y="92"/>
                      <a:pt x="84" y="94"/>
                      <a:pt x="84" y="96"/>
                    </a:cubicBezTo>
                    <a:cubicBezTo>
                      <a:pt x="83" y="97"/>
                      <a:pt x="87" y="96"/>
                      <a:pt x="87" y="97"/>
                    </a:cubicBezTo>
                    <a:cubicBezTo>
                      <a:pt x="86" y="97"/>
                      <a:pt x="81" y="99"/>
                      <a:pt x="85" y="99"/>
                    </a:cubicBezTo>
                    <a:cubicBezTo>
                      <a:pt x="88" y="99"/>
                      <a:pt x="90" y="97"/>
                      <a:pt x="93" y="96"/>
                    </a:cubicBezTo>
                    <a:cubicBezTo>
                      <a:pt x="95" y="94"/>
                      <a:pt x="97" y="94"/>
                      <a:pt x="99" y="93"/>
                    </a:cubicBezTo>
                    <a:cubicBezTo>
                      <a:pt x="103" y="92"/>
                      <a:pt x="101" y="90"/>
                      <a:pt x="101" y="88"/>
                    </a:cubicBezTo>
                    <a:cubicBezTo>
                      <a:pt x="100" y="84"/>
                      <a:pt x="109" y="87"/>
                      <a:pt x="111" y="88"/>
                    </a:cubicBezTo>
                    <a:cubicBezTo>
                      <a:pt x="113" y="88"/>
                      <a:pt x="114" y="90"/>
                      <a:pt x="116" y="91"/>
                    </a:cubicBezTo>
                    <a:cubicBezTo>
                      <a:pt x="116" y="91"/>
                      <a:pt x="118" y="88"/>
                      <a:pt x="119" y="89"/>
                    </a:cubicBezTo>
                    <a:cubicBezTo>
                      <a:pt x="119" y="89"/>
                      <a:pt x="119" y="91"/>
                      <a:pt x="119" y="92"/>
                    </a:cubicBezTo>
                    <a:cubicBezTo>
                      <a:pt x="121" y="93"/>
                      <a:pt x="122" y="93"/>
                      <a:pt x="123" y="93"/>
                    </a:cubicBezTo>
                    <a:cubicBezTo>
                      <a:pt x="126" y="93"/>
                      <a:pt x="129" y="92"/>
                      <a:pt x="131" y="93"/>
                    </a:cubicBezTo>
                    <a:cubicBezTo>
                      <a:pt x="132" y="93"/>
                      <a:pt x="133" y="94"/>
                      <a:pt x="134" y="93"/>
                    </a:cubicBezTo>
                    <a:cubicBezTo>
                      <a:pt x="135" y="93"/>
                      <a:pt x="135" y="94"/>
                      <a:pt x="136" y="95"/>
                    </a:cubicBezTo>
                    <a:cubicBezTo>
                      <a:pt x="137" y="95"/>
                      <a:pt x="139" y="96"/>
                      <a:pt x="140" y="96"/>
                    </a:cubicBezTo>
                    <a:cubicBezTo>
                      <a:pt x="142" y="96"/>
                      <a:pt x="143" y="94"/>
                      <a:pt x="144" y="94"/>
                    </a:cubicBezTo>
                    <a:cubicBezTo>
                      <a:pt x="146" y="93"/>
                      <a:pt x="145" y="96"/>
                      <a:pt x="145" y="96"/>
                    </a:cubicBezTo>
                    <a:cubicBezTo>
                      <a:pt x="144" y="97"/>
                      <a:pt x="144" y="97"/>
                      <a:pt x="145" y="98"/>
                    </a:cubicBezTo>
                    <a:cubicBezTo>
                      <a:pt x="148" y="99"/>
                      <a:pt x="150" y="100"/>
                      <a:pt x="152" y="101"/>
                    </a:cubicBezTo>
                    <a:cubicBezTo>
                      <a:pt x="154" y="103"/>
                      <a:pt x="156" y="105"/>
                      <a:pt x="158" y="106"/>
                    </a:cubicBezTo>
                    <a:cubicBezTo>
                      <a:pt x="159" y="106"/>
                      <a:pt x="160" y="105"/>
                      <a:pt x="161" y="105"/>
                    </a:cubicBezTo>
                    <a:cubicBezTo>
                      <a:pt x="162" y="104"/>
                      <a:pt x="160" y="103"/>
                      <a:pt x="160" y="102"/>
                    </a:cubicBezTo>
                    <a:cubicBezTo>
                      <a:pt x="160" y="101"/>
                      <a:pt x="163" y="103"/>
                      <a:pt x="163" y="103"/>
                    </a:cubicBezTo>
                    <a:cubicBezTo>
                      <a:pt x="163" y="104"/>
                      <a:pt x="166" y="106"/>
                      <a:pt x="167" y="105"/>
                    </a:cubicBezTo>
                    <a:cubicBezTo>
                      <a:pt x="167" y="105"/>
                      <a:pt x="165" y="99"/>
                      <a:pt x="165" y="99"/>
                    </a:cubicBezTo>
                    <a:cubicBezTo>
                      <a:pt x="166" y="99"/>
                      <a:pt x="168" y="104"/>
                      <a:pt x="169" y="104"/>
                    </a:cubicBezTo>
                    <a:cubicBezTo>
                      <a:pt x="169" y="105"/>
                      <a:pt x="170" y="107"/>
                      <a:pt x="171" y="107"/>
                    </a:cubicBezTo>
                    <a:cubicBezTo>
                      <a:pt x="172" y="107"/>
                      <a:pt x="173" y="105"/>
                      <a:pt x="173" y="105"/>
                    </a:cubicBezTo>
                    <a:cubicBezTo>
                      <a:pt x="171" y="106"/>
                      <a:pt x="177" y="110"/>
                      <a:pt x="177" y="111"/>
                    </a:cubicBezTo>
                    <a:cubicBezTo>
                      <a:pt x="176" y="111"/>
                      <a:pt x="176" y="111"/>
                      <a:pt x="176" y="111"/>
                    </a:cubicBezTo>
                    <a:cubicBezTo>
                      <a:pt x="175" y="112"/>
                      <a:pt x="177" y="112"/>
                      <a:pt x="177" y="113"/>
                    </a:cubicBezTo>
                    <a:cubicBezTo>
                      <a:pt x="177" y="113"/>
                      <a:pt x="175" y="114"/>
                      <a:pt x="176" y="114"/>
                    </a:cubicBezTo>
                    <a:cubicBezTo>
                      <a:pt x="177" y="115"/>
                      <a:pt x="178" y="116"/>
                      <a:pt x="179" y="117"/>
                    </a:cubicBezTo>
                    <a:cubicBezTo>
                      <a:pt x="181" y="119"/>
                      <a:pt x="182" y="120"/>
                      <a:pt x="184" y="121"/>
                    </a:cubicBezTo>
                    <a:cubicBezTo>
                      <a:pt x="184" y="121"/>
                      <a:pt x="182" y="125"/>
                      <a:pt x="183" y="125"/>
                    </a:cubicBezTo>
                    <a:cubicBezTo>
                      <a:pt x="184" y="126"/>
                      <a:pt x="184" y="124"/>
                      <a:pt x="184" y="124"/>
                    </a:cubicBezTo>
                    <a:cubicBezTo>
                      <a:pt x="185" y="123"/>
                      <a:pt x="185" y="126"/>
                      <a:pt x="186" y="127"/>
                    </a:cubicBezTo>
                    <a:cubicBezTo>
                      <a:pt x="186" y="127"/>
                      <a:pt x="186" y="126"/>
                      <a:pt x="186" y="125"/>
                    </a:cubicBezTo>
                    <a:cubicBezTo>
                      <a:pt x="186" y="127"/>
                      <a:pt x="192" y="130"/>
                      <a:pt x="193" y="127"/>
                    </a:cubicBezTo>
                    <a:cubicBezTo>
                      <a:pt x="193" y="127"/>
                      <a:pt x="193" y="128"/>
                      <a:pt x="193" y="128"/>
                    </a:cubicBezTo>
                    <a:cubicBezTo>
                      <a:pt x="193" y="128"/>
                      <a:pt x="194" y="127"/>
                      <a:pt x="194" y="126"/>
                    </a:cubicBezTo>
                    <a:cubicBezTo>
                      <a:pt x="193" y="126"/>
                      <a:pt x="194" y="127"/>
                      <a:pt x="194" y="1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4" name="Freeform 641">
                <a:extLst>
                  <a:ext uri="{FF2B5EF4-FFF2-40B4-BE49-F238E27FC236}">
                    <a16:creationId xmlns:a16="http://schemas.microsoft.com/office/drawing/2014/main" id="{477A81DB-5DF7-C940-B8CA-FD649898250E}"/>
                  </a:ext>
                </a:extLst>
              </p:cNvPr>
              <p:cNvSpPr>
                <a:spLocks/>
              </p:cNvSpPr>
              <p:nvPr/>
            </p:nvSpPr>
            <p:spPr bwMode="auto">
              <a:xfrm>
                <a:off x="5888086" y="6516489"/>
                <a:ext cx="2697455" cy="1337930"/>
              </a:xfrm>
              <a:custGeom>
                <a:avLst/>
                <a:gdLst>
                  <a:gd name="T0" fmla="*/ 84 w 289"/>
                  <a:gd name="T1" fmla="*/ 106 h 143"/>
                  <a:gd name="T2" fmla="*/ 105 w 289"/>
                  <a:gd name="T3" fmla="*/ 119 h 143"/>
                  <a:gd name="T4" fmla="*/ 125 w 289"/>
                  <a:gd name="T5" fmla="*/ 127 h 143"/>
                  <a:gd name="T6" fmla="*/ 137 w 289"/>
                  <a:gd name="T7" fmla="*/ 127 h 143"/>
                  <a:gd name="T8" fmla="*/ 149 w 289"/>
                  <a:gd name="T9" fmla="*/ 119 h 143"/>
                  <a:gd name="T10" fmla="*/ 162 w 289"/>
                  <a:gd name="T11" fmla="*/ 118 h 143"/>
                  <a:gd name="T12" fmla="*/ 177 w 289"/>
                  <a:gd name="T13" fmla="*/ 119 h 143"/>
                  <a:gd name="T14" fmla="*/ 171 w 289"/>
                  <a:gd name="T15" fmla="*/ 113 h 143"/>
                  <a:gd name="T16" fmla="*/ 186 w 289"/>
                  <a:gd name="T17" fmla="*/ 113 h 143"/>
                  <a:gd name="T18" fmla="*/ 209 w 289"/>
                  <a:gd name="T19" fmla="*/ 122 h 143"/>
                  <a:gd name="T20" fmla="*/ 213 w 289"/>
                  <a:gd name="T21" fmla="*/ 133 h 143"/>
                  <a:gd name="T22" fmla="*/ 220 w 289"/>
                  <a:gd name="T23" fmla="*/ 143 h 143"/>
                  <a:gd name="T24" fmla="*/ 215 w 289"/>
                  <a:gd name="T25" fmla="*/ 108 h 143"/>
                  <a:gd name="T26" fmla="*/ 234 w 289"/>
                  <a:gd name="T27" fmla="*/ 92 h 143"/>
                  <a:gd name="T28" fmla="*/ 239 w 289"/>
                  <a:gd name="T29" fmla="*/ 86 h 143"/>
                  <a:gd name="T30" fmla="*/ 244 w 289"/>
                  <a:gd name="T31" fmla="*/ 82 h 143"/>
                  <a:gd name="T32" fmla="*/ 242 w 289"/>
                  <a:gd name="T33" fmla="*/ 78 h 143"/>
                  <a:gd name="T34" fmla="*/ 238 w 289"/>
                  <a:gd name="T35" fmla="*/ 71 h 143"/>
                  <a:gd name="T36" fmla="*/ 239 w 289"/>
                  <a:gd name="T37" fmla="*/ 69 h 143"/>
                  <a:gd name="T38" fmla="*/ 242 w 289"/>
                  <a:gd name="T39" fmla="*/ 75 h 143"/>
                  <a:gd name="T40" fmla="*/ 246 w 289"/>
                  <a:gd name="T41" fmla="*/ 62 h 143"/>
                  <a:gd name="T42" fmla="*/ 253 w 289"/>
                  <a:gd name="T43" fmla="*/ 52 h 143"/>
                  <a:gd name="T44" fmla="*/ 265 w 289"/>
                  <a:gd name="T45" fmla="*/ 48 h 143"/>
                  <a:gd name="T46" fmla="*/ 271 w 289"/>
                  <a:gd name="T47" fmla="*/ 48 h 143"/>
                  <a:gd name="T48" fmla="*/ 274 w 289"/>
                  <a:gd name="T49" fmla="*/ 35 h 143"/>
                  <a:gd name="T50" fmla="*/ 288 w 289"/>
                  <a:gd name="T51" fmla="*/ 28 h 143"/>
                  <a:gd name="T52" fmla="*/ 276 w 289"/>
                  <a:gd name="T53" fmla="*/ 13 h 143"/>
                  <a:gd name="T54" fmla="*/ 264 w 289"/>
                  <a:gd name="T55" fmla="*/ 28 h 143"/>
                  <a:gd name="T56" fmla="*/ 237 w 289"/>
                  <a:gd name="T57" fmla="*/ 39 h 143"/>
                  <a:gd name="T58" fmla="*/ 224 w 289"/>
                  <a:gd name="T59" fmla="*/ 45 h 143"/>
                  <a:gd name="T60" fmla="*/ 208 w 289"/>
                  <a:gd name="T61" fmla="*/ 44 h 143"/>
                  <a:gd name="T62" fmla="*/ 203 w 289"/>
                  <a:gd name="T63" fmla="*/ 36 h 143"/>
                  <a:gd name="T64" fmla="*/ 196 w 289"/>
                  <a:gd name="T65" fmla="*/ 28 h 143"/>
                  <a:gd name="T66" fmla="*/ 185 w 289"/>
                  <a:gd name="T67" fmla="*/ 48 h 143"/>
                  <a:gd name="T68" fmla="*/ 187 w 289"/>
                  <a:gd name="T69" fmla="*/ 25 h 143"/>
                  <a:gd name="T70" fmla="*/ 196 w 289"/>
                  <a:gd name="T71" fmla="*/ 17 h 143"/>
                  <a:gd name="T72" fmla="*/ 184 w 289"/>
                  <a:gd name="T73" fmla="*/ 13 h 143"/>
                  <a:gd name="T74" fmla="*/ 165 w 289"/>
                  <a:gd name="T75" fmla="*/ 15 h 143"/>
                  <a:gd name="T76" fmla="*/ 158 w 289"/>
                  <a:gd name="T77" fmla="*/ 5 h 143"/>
                  <a:gd name="T78" fmla="*/ 147 w 289"/>
                  <a:gd name="T79" fmla="*/ 4 h 143"/>
                  <a:gd name="T80" fmla="*/ 30 w 289"/>
                  <a:gd name="T81" fmla="*/ 4 h 143"/>
                  <a:gd name="T82" fmla="*/ 7 w 289"/>
                  <a:gd name="T83" fmla="*/ 9 h 143"/>
                  <a:gd name="T84" fmla="*/ 8 w 289"/>
                  <a:gd name="T85" fmla="*/ 21 h 143"/>
                  <a:gd name="T86" fmla="*/ 2 w 289"/>
                  <a:gd name="T87" fmla="*/ 40 h 143"/>
                  <a:gd name="T88" fmla="*/ 5 w 289"/>
                  <a:gd name="T89" fmla="*/ 63 h 143"/>
                  <a:gd name="T90" fmla="*/ 12 w 289"/>
                  <a:gd name="T91" fmla="*/ 73 h 143"/>
                  <a:gd name="T92" fmla="*/ 21 w 289"/>
                  <a:gd name="T93" fmla="*/ 88 h 143"/>
                  <a:gd name="T94" fmla="*/ 39 w 289"/>
                  <a:gd name="T95"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9" h="143">
                    <a:moveTo>
                      <a:pt x="68" y="108"/>
                    </a:moveTo>
                    <a:cubicBezTo>
                      <a:pt x="71" y="108"/>
                      <a:pt x="74" y="108"/>
                      <a:pt x="78" y="108"/>
                    </a:cubicBezTo>
                    <a:cubicBezTo>
                      <a:pt x="79" y="108"/>
                      <a:pt x="81" y="108"/>
                      <a:pt x="82" y="108"/>
                    </a:cubicBezTo>
                    <a:cubicBezTo>
                      <a:pt x="83" y="108"/>
                      <a:pt x="83" y="106"/>
                      <a:pt x="84" y="106"/>
                    </a:cubicBezTo>
                    <a:cubicBezTo>
                      <a:pt x="85" y="105"/>
                      <a:pt x="91" y="105"/>
                      <a:pt x="91" y="106"/>
                    </a:cubicBezTo>
                    <a:cubicBezTo>
                      <a:pt x="94" y="108"/>
                      <a:pt x="97" y="110"/>
                      <a:pt x="100" y="112"/>
                    </a:cubicBezTo>
                    <a:cubicBezTo>
                      <a:pt x="100" y="112"/>
                      <a:pt x="101" y="115"/>
                      <a:pt x="101" y="116"/>
                    </a:cubicBezTo>
                    <a:cubicBezTo>
                      <a:pt x="102" y="118"/>
                      <a:pt x="102" y="118"/>
                      <a:pt x="105" y="119"/>
                    </a:cubicBezTo>
                    <a:cubicBezTo>
                      <a:pt x="107" y="120"/>
                      <a:pt x="108" y="121"/>
                      <a:pt x="109" y="119"/>
                    </a:cubicBezTo>
                    <a:cubicBezTo>
                      <a:pt x="110" y="116"/>
                      <a:pt x="111" y="116"/>
                      <a:pt x="114" y="117"/>
                    </a:cubicBezTo>
                    <a:cubicBezTo>
                      <a:pt x="116" y="117"/>
                      <a:pt x="119" y="118"/>
                      <a:pt x="119" y="120"/>
                    </a:cubicBezTo>
                    <a:cubicBezTo>
                      <a:pt x="121" y="123"/>
                      <a:pt x="123" y="124"/>
                      <a:pt x="125" y="127"/>
                    </a:cubicBezTo>
                    <a:cubicBezTo>
                      <a:pt x="127" y="129"/>
                      <a:pt x="126" y="133"/>
                      <a:pt x="129" y="134"/>
                    </a:cubicBezTo>
                    <a:cubicBezTo>
                      <a:pt x="131" y="136"/>
                      <a:pt x="135" y="136"/>
                      <a:pt x="137" y="137"/>
                    </a:cubicBezTo>
                    <a:cubicBezTo>
                      <a:pt x="137" y="136"/>
                      <a:pt x="135" y="129"/>
                      <a:pt x="135" y="129"/>
                    </a:cubicBezTo>
                    <a:cubicBezTo>
                      <a:pt x="137" y="130"/>
                      <a:pt x="136" y="127"/>
                      <a:pt x="137" y="127"/>
                    </a:cubicBezTo>
                    <a:cubicBezTo>
                      <a:pt x="137" y="126"/>
                      <a:pt x="139" y="126"/>
                      <a:pt x="140" y="125"/>
                    </a:cubicBezTo>
                    <a:cubicBezTo>
                      <a:pt x="141" y="125"/>
                      <a:pt x="142" y="122"/>
                      <a:pt x="142" y="122"/>
                    </a:cubicBezTo>
                    <a:cubicBezTo>
                      <a:pt x="143" y="123"/>
                      <a:pt x="144" y="123"/>
                      <a:pt x="145" y="122"/>
                    </a:cubicBezTo>
                    <a:cubicBezTo>
                      <a:pt x="147" y="121"/>
                      <a:pt x="148" y="121"/>
                      <a:pt x="149" y="119"/>
                    </a:cubicBezTo>
                    <a:cubicBezTo>
                      <a:pt x="151" y="118"/>
                      <a:pt x="148" y="118"/>
                      <a:pt x="148" y="117"/>
                    </a:cubicBezTo>
                    <a:cubicBezTo>
                      <a:pt x="148" y="117"/>
                      <a:pt x="151" y="118"/>
                      <a:pt x="152" y="117"/>
                    </a:cubicBezTo>
                    <a:cubicBezTo>
                      <a:pt x="154" y="116"/>
                      <a:pt x="155" y="116"/>
                      <a:pt x="157" y="116"/>
                    </a:cubicBezTo>
                    <a:cubicBezTo>
                      <a:pt x="159" y="116"/>
                      <a:pt x="160" y="119"/>
                      <a:pt x="162" y="118"/>
                    </a:cubicBezTo>
                    <a:cubicBezTo>
                      <a:pt x="165" y="116"/>
                      <a:pt x="166" y="118"/>
                      <a:pt x="168" y="119"/>
                    </a:cubicBezTo>
                    <a:cubicBezTo>
                      <a:pt x="170" y="120"/>
                      <a:pt x="171" y="118"/>
                      <a:pt x="172" y="118"/>
                    </a:cubicBezTo>
                    <a:cubicBezTo>
                      <a:pt x="173" y="117"/>
                      <a:pt x="176" y="119"/>
                      <a:pt x="176" y="120"/>
                    </a:cubicBezTo>
                    <a:cubicBezTo>
                      <a:pt x="177" y="121"/>
                      <a:pt x="178" y="120"/>
                      <a:pt x="177" y="119"/>
                    </a:cubicBezTo>
                    <a:cubicBezTo>
                      <a:pt x="177" y="119"/>
                      <a:pt x="176" y="118"/>
                      <a:pt x="175" y="118"/>
                    </a:cubicBezTo>
                    <a:cubicBezTo>
                      <a:pt x="174" y="117"/>
                      <a:pt x="176" y="117"/>
                      <a:pt x="176" y="117"/>
                    </a:cubicBezTo>
                    <a:cubicBezTo>
                      <a:pt x="175" y="115"/>
                      <a:pt x="175" y="114"/>
                      <a:pt x="173" y="115"/>
                    </a:cubicBezTo>
                    <a:cubicBezTo>
                      <a:pt x="173" y="115"/>
                      <a:pt x="169" y="115"/>
                      <a:pt x="171" y="113"/>
                    </a:cubicBezTo>
                    <a:cubicBezTo>
                      <a:pt x="173" y="113"/>
                      <a:pt x="174" y="114"/>
                      <a:pt x="175" y="114"/>
                    </a:cubicBezTo>
                    <a:cubicBezTo>
                      <a:pt x="178" y="113"/>
                      <a:pt x="180" y="113"/>
                      <a:pt x="183" y="113"/>
                    </a:cubicBezTo>
                    <a:cubicBezTo>
                      <a:pt x="184" y="113"/>
                      <a:pt x="183" y="113"/>
                      <a:pt x="184" y="114"/>
                    </a:cubicBezTo>
                    <a:cubicBezTo>
                      <a:pt x="184" y="114"/>
                      <a:pt x="185" y="114"/>
                      <a:pt x="186" y="113"/>
                    </a:cubicBezTo>
                    <a:cubicBezTo>
                      <a:pt x="188" y="113"/>
                      <a:pt x="190" y="113"/>
                      <a:pt x="192" y="113"/>
                    </a:cubicBezTo>
                    <a:cubicBezTo>
                      <a:pt x="194" y="113"/>
                      <a:pt x="194" y="115"/>
                      <a:pt x="196" y="116"/>
                    </a:cubicBezTo>
                    <a:cubicBezTo>
                      <a:pt x="198" y="118"/>
                      <a:pt x="200" y="116"/>
                      <a:pt x="202" y="115"/>
                    </a:cubicBezTo>
                    <a:cubicBezTo>
                      <a:pt x="203" y="115"/>
                      <a:pt x="209" y="121"/>
                      <a:pt x="209" y="122"/>
                    </a:cubicBezTo>
                    <a:cubicBezTo>
                      <a:pt x="210" y="123"/>
                      <a:pt x="208" y="125"/>
                      <a:pt x="209" y="126"/>
                    </a:cubicBezTo>
                    <a:cubicBezTo>
                      <a:pt x="210" y="128"/>
                      <a:pt x="209" y="128"/>
                      <a:pt x="210" y="130"/>
                    </a:cubicBezTo>
                    <a:cubicBezTo>
                      <a:pt x="210" y="131"/>
                      <a:pt x="211" y="132"/>
                      <a:pt x="211" y="132"/>
                    </a:cubicBezTo>
                    <a:cubicBezTo>
                      <a:pt x="212" y="132"/>
                      <a:pt x="212" y="133"/>
                      <a:pt x="213" y="133"/>
                    </a:cubicBezTo>
                    <a:cubicBezTo>
                      <a:pt x="214" y="134"/>
                      <a:pt x="213" y="136"/>
                      <a:pt x="214" y="137"/>
                    </a:cubicBezTo>
                    <a:cubicBezTo>
                      <a:pt x="215" y="138"/>
                      <a:pt x="216" y="138"/>
                      <a:pt x="217" y="140"/>
                    </a:cubicBezTo>
                    <a:cubicBezTo>
                      <a:pt x="219" y="143"/>
                      <a:pt x="218" y="140"/>
                      <a:pt x="220" y="141"/>
                    </a:cubicBezTo>
                    <a:cubicBezTo>
                      <a:pt x="220" y="141"/>
                      <a:pt x="220" y="143"/>
                      <a:pt x="220" y="143"/>
                    </a:cubicBezTo>
                    <a:cubicBezTo>
                      <a:pt x="221" y="143"/>
                      <a:pt x="222" y="136"/>
                      <a:pt x="222" y="135"/>
                    </a:cubicBezTo>
                    <a:cubicBezTo>
                      <a:pt x="222" y="132"/>
                      <a:pt x="221" y="130"/>
                      <a:pt x="220" y="126"/>
                    </a:cubicBezTo>
                    <a:cubicBezTo>
                      <a:pt x="218" y="123"/>
                      <a:pt x="218" y="120"/>
                      <a:pt x="217" y="117"/>
                    </a:cubicBezTo>
                    <a:cubicBezTo>
                      <a:pt x="215" y="115"/>
                      <a:pt x="214" y="111"/>
                      <a:pt x="215" y="108"/>
                    </a:cubicBezTo>
                    <a:cubicBezTo>
                      <a:pt x="216" y="105"/>
                      <a:pt x="218" y="103"/>
                      <a:pt x="221" y="101"/>
                    </a:cubicBezTo>
                    <a:cubicBezTo>
                      <a:pt x="222" y="100"/>
                      <a:pt x="223" y="100"/>
                      <a:pt x="224" y="99"/>
                    </a:cubicBezTo>
                    <a:cubicBezTo>
                      <a:pt x="225" y="98"/>
                      <a:pt x="226" y="96"/>
                      <a:pt x="227" y="96"/>
                    </a:cubicBezTo>
                    <a:cubicBezTo>
                      <a:pt x="229" y="94"/>
                      <a:pt x="232" y="94"/>
                      <a:pt x="234" y="92"/>
                    </a:cubicBezTo>
                    <a:cubicBezTo>
                      <a:pt x="235" y="91"/>
                      <a:pt x="236" y="89"/>
                      <a:pt x="238" y="89"/>
                    </a:cubicBezTo>
                    <a:cubicBezTo>
                      <a:pt x="238" y="89"/>
                      <a:pt x="242" y="89"/>
                      <a:pt x="241" y="87"/>
                    </a:cubicBezTo>
                    <a:cubicBezTo>
                      <a:pt x="241" y="87"/>
                      <a:pt x="238" y="88"/>
                      <a:pt x="238" y="88"/>
                    </a:cubicBezTo>
                    <a:cubicBezTo>
                      <a:pt x="238" y="87"/>
                      <a:pt x="240" y="88"/>
                      <a:pt x="239" y="86"/>
                    </a:cubicBezTo>
                    <a:cubicBezTo>
                      <a:pt x="239" y="86"/>
                      <a:pt x="238" y="85"/>
                      <a:pt x="239" y="85"/>
                    </a:cubicBezTo>
                    <a:cubicBezTo>
                      <a:pt x="239" y="84"/>
                      <a:pt x="239" y="85"/>
                      <a:pt x="240" y="84"/>
                    </a:cubicBezTo>
                    <a:cubicBezTo>
                      <a:pt x="239" y="85"/>
                      <a:pt x="241" y="86"/>
                      <a:pt x="241" y="85"/>
                    </a:cubicBezTo>
                    <a:cubicBezTo>
                      <a:pt x="242" y="85"/>
                      <a:pt x="245" y="83"/>
                      <a:pt x="244" y="82"/>
                    </a:cubicBezTo>
                    <a:cubicBezTo>
                      <a:pt x="244" y="83"/>
                      <a:pt x="238" y="82"/>
                      <a:pt x="239" y="81"/>
                    </a:cubicBezTo>
                    <a:cubicBezTo>
                      <a:pt x="239" y="80"/>
                      <a:pt x="240" y="82"/>
                      <a:pt x="241" y="81"/>
                    </a:cubicBezTo>
                    <a:cubicBezTo>
                      <a:pt x="241" y="81"/>
                      <a:pt x="243" y="80"/>
                      <a:pt x="243" y="80"/>
                    </a:cubicBezTo>
                    <a:cubicBezTo>
                      <a:pt x="243" y="80"/>
                      <a:pt x="242" y="79"/>
                      <a:pt x="242" y="78"/>
                    </a:cubicBezTo>
                    <a:cubicBezTo>
                      <a:pt x="243" y="77"/>
                      <a:pt x="243" y="76"/>
                      <a:pt x="241" y="76"/>
                    </a:cubicBezTo>
                    <a:cubicBezTo>
                      <a:pt x="241" y="76"/>
                      <a:pt x="237" y="74"/>
                      <a:pt x="237" y="74"/>
                    </a:cubicBezTo>
                    <a:cubicBezTo>
                      <a:pt x="238" y="73"/>
                      <a:pt x="239" y="74"/>
                      <a:pt x="240" y="74"/>
                    </a:cubicBezTo>
                    <a:cubicBezTo>
                      <a:pt x="241" y="73"/>
                      <a:pt x="239" y="71"/>
                      <a:pt x="238" y="71"/>
                    </a:cubicBezTo>
                    <a:cubicBezTo>
                      <a:pt x="237" y="70"/>
                      <a:pt x="236" y="69"/>
                      <a:pt x="236" y="68"/>
                    </a:cubicBezTo>
                    <a:cubicBezTo>
                      <a:pt x="235" y="67"/>
                      <a:pt x="238" y="65"/>
                      <a:pt x="237" y="64"/>
                    </a:cubicBezTo>
                    <a:cubicBezTo>
                      <a:pt x="238" y="65"/>
                      <a:pt x="237" y="66"/>
                      <a:pt x="237" y="67"/>
                    </a:cubicBezTo>
                    <a:cubicBezTo>
                      <a:pt x="237" y="67"/>
                      <a:pt x="239" y="69"/>
                      <a:pt x="239" y="69"/>
                    </a:cubicBezTo>
                    <a:cubicBezTo>
                      <a:pt x="241" y="67"/>
                      <a:pt x="239" y="62"/>
                      <a:pt x="242" y="61"/>
                    </a:cubicBezTo>
                    <a:cubicBezTo>
                      <a:pt x="241" y="61"/>
                      <a:pt x="241" y="66"/>
                      <a:pt x="242" y="67"/>
                    </a:cubicBezTo>
                    <a:cubicBezTo>
                      <a:pt x="242" y="69"/>
                      <a:pt x="244" y="69"/>
                      <a:pt x="244" y="71"/>
                    </a:cubicBezTo>
                    <a:cubicBezTo>
                      <a:pt x="244" y="72"/>
                      <a:pt x="241" y="74"/>
                      <a:pt x="242" y="75"/>
                    </a:cubicBezTo>
                    <a:cubicBezTo>
                      <a:pt x="242" y="75"/>
                      <a:pt x="248" y="69"/>
                      <a:pt x="247" y="67"/>
                    </a:cubicBezTo>
                    <a:cubicBezTo>
                      <a:pt x="247" y="65"/>
                      <a:pt x="245" y="64"/>
                      <a:pt x="245" y="62"/>
                    </a:cubicBezTo>
                    <a:cubicBezTo>
                      <a:pt x="244" y="61"/>
                      <a:pt x="245" y="58"/>
                      <a:pt x="247" y="59"/>
                    </a:cubicBezTo>
                    <a:cubicBezTo>
                      <a:pt x="246" y="58"/>
                      <a:pt x="245" y="61"/>
                      <a:pt x="246" y="62"/>
                    </a:cubicBezTo>
                    <a:cubicBezTo>
                      <a:pt x="248" y="64"/>
                      <a:pt x="248" y="65"/>
                      <a:pt x="250" y="62"/>
                    </a:cubicBezTo>
                    <a:cubicBezTo>
                      <a:pt x="251" y="61"/>
                      <a:pt x="253" y="58"/>
                      <a:pt x="252" y="56"/>
                    </a:cubicBezTo>
                    <a:cubicBezTo>
                      <a:pt x="252" y="56"/>
                      <a:pt x="251" y="55"/>
                      <a:pt x="252" y="54"/>
                    </a:cubicBezTo>
                    <a:cubicBezTo>
                      <a:pt x="252" y="54"/>
                      <a:pt x="253" y="52"/>
                      <a:pt x="253" y="52"/>
                    </a:cubicBezTo>
                    <a:cubicBezTo>
                      <a:pt x="253" y="52"/>
                      <a:pt x="253" y="54"/>
                      <a:pt x="253" y="54"/>
                    </a:cubicBezTo>
                    <a:cubicBezTo>
                      <a:pt x="253" y="54"/>
                      <a:pt x="258" y="51"/>
                      <a:pt x="260" y="51"/>
                    </a:cubicBezTo>
                    <a:cubicBezTo>
                      <a:pt x="261" y="50"/>
                      <a:pt x="263" y="51"/>
                      <a:pt x="264" y="51"/>
                    </a:cubicBezTo>
                    <a:cubicBezTo>
                      <a:pt x="266" y="50"/>
                      <a:pt x="265" y="49"/>
                      <a:pt x="265" y="48"/>
                    </a:cubicBezTo>
                    <a:cubicBezTo>
                      <a:pt x="266" y="48"/>
                      <a:pt x="266" y="50"/>
                      <a:pt x="267" y="50"/>
                    </a:cubicBezTo>
                    <a:cubicBezTo>
                      <a:pt x="267" y="50"/>
                      <a:pt x="269" y="49"/>
                      <a:pt x="269" y="49"/>
                    </a:cubicBezTo>
                    <a:cubicBezTo>
                      <a:pt x="271" y="51"/>
                      <a:pt x="275" y="46"/>
                      <a:pt x="272" y="46"/>
                    </a:cubicBezTo>
                    <a:cubicBezTo>
                      <a:pt x="272" y="46"/>
                      <a:pt x="272" y="48"/>
                      <a:pt x="271" y="48"/>
                    </a:cubicBezTo>
                    <a:cubicBezTo>
                      <a:pt x="270" y="48"/>
                      <a:pt x="268" y="44"/>
                      <a:pt x="268" y="44"/>
                    </a:cubicBezTo>
                    <a:cubicBezTo>
                      <a:pt x="269" y="43"/>
                      <a:pt x="268" y="42"/>
                      <a:pt x="269" y="41"/>
                    </a:cubicBezTo>
                    <a:cubicBezTo>
                      <a:pt x="270" y="39"/>
                      <a:pt x="271" y="37"/>
                      <a:pt x="272" y="36"/>
                    </a:cubicBezTo>
                    <a:cubicBezTo>
                      <a:pt x="273" y="36"/>
                      <a:pt x="274" y="35"/>
                      <a:pt x="274" y="35"/>
                    </a:cubicBezTo>
                    <a:cubicBezTo>
                      <a:pt x="276" y="36"/>
                      <a:pt x="277" y="33"/>
                      <a:pt x="278" y="32"/>
                    </a:cubicBezTo>
                    <a:cubicBezTo>
                      <a:pt x="278" y="32"/>
                      <a:pt x="280" y="33"/>
                      <a:pt x="281" y="32"/>
                    </a:cubicBezTo>
                    <a:cubicBezTo>
                      <a:pt x="283" y="31"/>
                      <a:pt x="285" y="31"/>
                      <a:pt x="286" y="30"/>
                    </a:cubicBezTo>
                    <a:cubicBezTo>
                      <a:pt x="287" y="30"/>
                      <a:pt x="289" y="29"/>
                      <a:pt x="288" y="28"/>
                    </a:cubicBezTo>
                    <a:cubicBezTo>
                      <a:pt x="286" y="26"/>
                      <a:pt x="286" y="25"/>
                      <a:pt x="285" y="24"/>
                    </a:cubicBezTo>
                    <a:cubicBezTo>
                      <a:pt x="281" y="23"/>
                      <a:pt x="287" y="14"/>
                      <a:pt x="281" y="14"/>
                    </a:cubicBezTo>
                    <a:cubicBezTo>
                      <a:pt x="280" y="13"/>
                      <a:pt x="279" y="15"/>
                      <a:pt x="278" y="14"/>
                    </a:cubicBezTo>
                    <a:cubicBezTo>
                      <a:pt x="277" y="13"/>
                      <a:pt x="277" y="12"/>
                      <a:pt x="276" y="13"/>
                    </a:cubicBezTo>
                    <a:cubicBezTo>
                      <a:pt x="275" y="14"/>
                      <a:pt x="274" y="16"/>
                      <a:pt x="273" y="17"/>
                    </a:cubicBezTo>
                    <a:cubicBezTo>
                      <a:pt x="272" y="18"/>
                      <a:pt x="272" y="20"/>
                      <a:pt x="271" y="21"/>
                    </a:cubicBezTo>
                    <a:cubicBezTo>
                      <a:pt x="271" y="23"/>
                      <a:pt x="270" y="26"/>
                      <a:pt x="268" y="26"/>
                    </a:cubicBezTo>
                    <a:cubicBezTo>
                      <a:pt x="266" y="26"/>
                      <a:pt x="266" y="28"/>
                      <a:pt x="264" y="28"/>
                    </a:cubicBezTo>
                    <a:cubicBezTo>
                      <a:pt x="259" y="28"/>
                      <a:pt x="254" y="28"/>
                      <a:pt x="249" y="28"/>
                    </a:cubicBezTo>
                    <a:cubicBezTo>
                      <a:pt x="247" y="28"/>
                      <a:pt x="247" y="28"/>
                      <a:pt x="246" y="29"/>
                    </a:cubicBezTo>
                    <a:cubicBezTo>
                      <a:pt x="245" y="31"/>
                      <a:pt x="241" y="33"/>
                      <a:pt x="241" y="34"/>
                    </a:cubicBezTo>
                    <a:cubicBezTo>
                      <a:pt x="242" y="37"/>
                      <a:pt x="239" y="39"/>
                      <a:pt x="237" y="39"/>
                    </a:cubicBezTo>
                    <a:cubicBezTo>
                      <a:pt x="235" y="39"/>
                      <a:pt x="234" y="38"/>
                      <a:pt x="232" y="38"/>
                    </a:cubicBezTo>
                    <a:cubicBezTo>
                      <a:pt x="230" y="38"/>
                      <a:pt x="228" y="39"/>
                      <a:pt x="227" y="39"/>
                    </a:cubicBezTo>
                    <a:cubicBezTo>
                      <a:pt x="227" y="39"/>
                      <a:pt x="227" y="42"/>
                      <a:pt x="228" y="42"/>
                    </a:cubicBezTo>
                    <a:cubicBezTo>
                      <a:pt x="227" y="43"/>
                      <a:pt x="226" y="44"/>
                      <a:pt x="224" y="45"/>
                    </a:cubicBezTo>
                    <a:cubicBezTo>
                      <a:pt x="222" y="46"/>
                      <a:pt x="219" y="48"/>
                      <a:pt x="216" y="49"/>
                    </a:cubicBezTo>
                    <a:cubicBezTo>
                      <a:pt x="213" y="50"/>
                      <a:pt x="210" y="50"/>
                      <a:pt x="207" y="49"/>
                    </a:cubicBezTo>
                    <a:cubicBezTo>
                      <a:pt x="206" y="48"/>
                      <a:pt x="205" y="47"/>
                      <a:pt x="206" y="46"/>
                    </a:cubicBezTo>
                    <a:cubicBezTo>
                      <a:pt x="206" y="46"/>
                      <a:pt x="207" y="44"/>
                      <a:pt x="208" y="44"/>
                    </a:cubicBezTo>
                    <a:cubicBezTo>
                      <a:pt x="208" y="44"/>
                      <a:pt x="208" y="45"/>
                      <a:pt x="208" y="46"/>
                    </a:cubicBezTo>
                    <a:cubicBezTo>
                      <a:pt x="210" y="42"/>
                      <a:pt x="211" y="39"/>
                      <a:pt x="209" y="35"/>
                    </a:cubicBezTo>
                    <a:cubicBezTo>
                      <a:pt x="208" y="34"/>
                      <a:pt x="206" y="36"/>
                      <a:pt x="205" y="36"/>
                    </a:cubicBezTo>
                    <a:cubicBezTo>
                      <a:pt x="204" y="37"/>
                      <a:pt x="204" y="36"/>
                      <a:pt x="203" y="36"/>
                    </a:cubicBezTo>
                    <a:cubicBezTo>
                      <a:pt x="202" y="35"/>
                      <a:pt x="204" y="34"/>
                      <a:pt x="204" y="34"/>
                    </a:cubicBezTo>
                    <a:cubicBezTo>
                      <a:pt x="208" y="30"/>
                      <a:pt x="205" y="26"/>
                      <a:pt x="201" y="25"/>
                    </a:cubicBezTo>
                    <a:cubicBezTo>
                      <a:pt x="198" y="24"/>
                      <a:pt x="198" y="25"/>
                      <a:pt x="196" y="26"/>
                    </a:cubicBezTo>
                    <a:cubicBezTo>
                      <a:pt x="196" y="27"/>
                      <a:pt x="196" y="27"/>
                      <a:pt x="196" y="28"/>
                    </a:cubicBezTo>
                    <a:cubicBezTo>
                      <a:pt x="196" y="29"/>
                      <a:pt x="194" y="28"/>
                      <a:pt x="193" y="28"/>
                    </a:cubicBezTo>
                    <a:cubicBezTo>
                      <a:pt x="192" y="28"/>
                      <a:pt x="190" y="36"/>
                      <a:pt x="190" y="37"/>
                    </a:cubicBezTo>
                    <a:cubicBezTo>
                      <a:pt x="191" y="42"/>
                      <a:pt x="192" y="45"/>
                      <a:pt x="188" y="47"/>
                    </a:cubicBezTo>
                    <a:cubicBezTo>
                      <a:pt x="188" y="48"/>
                      <a:pt x="185" y="49"/>
                      <a:pt x="185" y="48"/>
                    </a:cubicBezTo>
                    <a:cubicBezTo>
                      <a:pt x="185" y="46"/>
                      <a:pt x="184" y="44"/>
                      <a:pt x="184" y="42"/>
                    </a:cubicBezTo>
                    <a:cubicBezTo>
                      <a:pt x="184" y="41"/>
                      <a:pt x="186" y="30"/>
                      <a:pt x="186" y="30"/>
                    </a:cubicBezTo>
                    <a:cubicBezTo>
                      <a:pt x="185" y="30"/>
                      <a:pt x="183" y="32"/>
                      <a:pt x="183" y="31"/>
                    </a:cubicBezTo>
                    <a:cubicBezTo>
                      <a:pt x="183" y="30"/>
                      <a:pt x="186" y="26"/>
                      <a:pt x="187" y="25"/>
                    </a:cubicBezTo>
                    <a:cubicBezTo>
                      <a:pt x="188" y="23"/>
                      <a:pt x="191" y="23"/>
                      <a:pt x="193" y="22"/>
                    </a:cubicBezTo>
                    <a:cubicBezTo>
                      <a:pt x="196" y="22"/>
                      <a:pt x="199" y="23"/>
                      <a:pt x="202" y="23"/>
                    </a:cubicBezTo>
                    <a:cubicBezTo>
                      <a:pt x="205" y="23"/>
                      <a:pt x="201" y="20"/>
                      <a:pt x="199" y="20"/>
                    </a:cubicBezTo>
                    <a:cubicBezTo>
                      <a:pt x="197" y="20"/>
                      <a:pt x="199" y="17"/>
                      <a:pt x="196" y="17"/>
                    </a:cubicBezTo>
                    <a:cubicBezTo>
                      <a:pt x="194" y="18"/>
                      <a:pt x="192" y="19"/>
                      <a:pt x="189" y="19"/>
                    </a:cubicBezTo>
                    <a:cubicBezTo>
                      <a:pt x="187" y="19"/>
                      <a:pt x="185" y="17"/>
                      <a:pt x="183" y="16"/>
                    </a:cubicBezTo>
                    <a:cubicBezTo>
                      <a:pt x="183" y="16"/>
                      <a:pt x="180" y="16"/>
                      <a:pt x="181" y="15"/>
                    </a:cubicBezTo>
                    <a:cubicBezTo>
                      <a:pt x="182" y="15"/>
                      <a:pt x="184" y="14"/>
                      <a:pt x="184" y="13"/>
                    </a:cubicBezTo>
                    <a:cubicBezTo>
                      <a:pt x="184" y="13"/>
                      <a:pt x="176" y="16"/>
                      <a:pt x="175" y="16"/>
                    </a:cubicBezTo>
                    <a:cubicBezTo>
                      <a:pt x="174" y="17"/>
                      <a:pt x="173" y="18"/>
                      <a:pt x="172" y="18"/>
                    </a:cubicBezTo>
                    <a:cubicBezTo>
                      <a:pt x="170" y="18"/>
                      <a:pt x="170" y="16"/>
                      <a:pt x="168" y="16"/>
                    </a:cubicBezTo>
                    <a:cubicBezTo>
                      <a:pt x="167" y="16"/>
                      <a:pt x="162" y="18"/>
                      <a:pt x="165" y="15"/>
                    </a:cubicBezTo>
                    <a:cubicBezTo>
                      <a:pt x="168" y="13"/>
                      <a:pt x="171" y="11"/>
                      <a:pt x="174" y="9"/>
                    </a:cubicBezTo>
                    <a:cubicBezTo>
                      <a:pt x="172" y="9"/>
                      <a:pt x="170" y="7"/>
                      <a:pt x="168" y="9"/>
                    </a:cubicBezTo>
                    <a:cubicBezTo>
                      <a:pt x="165" y="10"/>
                      <a:pt x="164" y="8"/>
                      <a:pt x="161" y="7"/>
                    </a:cubicBezTo>
                    <a:cubicBezTo>
                      <a:pt x="160" y="7"/>
                      <a:pt x="159" y="6"/>
                      <a:pt x="158" y="5"/>
                    </a:cubicBezTo>
                    <a:cubicBezTo>
                      <a:pt x="156" y="5"/>
                      <a:pt x="155" y="6"/>
                      <a:pt x="153" y="6"/>
                    </a:cubicBezTo>
                    <a:cubicBezTo>
                      <a:pt x="152" y="5"/>
                      <a:pt x="150" y="5"/>
                      <a:pt x="150" y="3"/>
                    </a:cubicBezTo>
                    <a:cubicBezTo>
                      <a:pt x="150" y="3"/>
                      <a:pt x="148" y="0"/>
                      <a:pt x="148" y="1"/>
                    </a:cubicBezTo>
                    <a:cubicBezTo>
                      <a:pt x="147" y="1"/>
                      <a:pt x="148" y="4"/>
                      <a:pt x="147" y="4"/>
                    </a:cubicBezTo>
                    <a:cubicBezTo>
                      <a:pt x="146" y="4"/>
                      <a:pt x="145" y="4"/>
                      <a:pt x="145" y="4"/>
                    </a:cubicBezTo>
                    <a:cubicBezTo>
                      <a:pt x="142" y="4"/>
                      <a:pt x="139" y="4"/>
                      <a:pt x="136" y="4"/>
                    </a:cubicBezTo>
                    <a:cubicBezTo>
                      <a:pt x="125" y="4"/>
                      <a:pt x="115" y="4"/>
                      <a:pt x="105" y="4"/>
                    </a:cubicBezTo>
                    <a:cubicBezTo>
                      <a:pt x="80" y="4"/>
                      <a:pt x="55" y="4"/>
                      <a:pt x="30" y="4"/>
                    </a:cubicBezTo>
                    <a:cubicBezTo>
                      <a:pt x="24" y="4"/>
                      <a:pt x="17" y="4"/>
                      <a:pt x="11" y="4"/>
                    </a:cubicBezTo>
                    <a:cubicBezTo>
                      <a:pt x="12" y="5"/>
                      <a:pt x="14" y="13"/>
                      <a:pt x="11" y="14"/>
                    </a:cubicBezTo>
                    <a:cubicBezTo>
                      <a:pt x="9" y="14"/>
                      <a:pt x="8" y="14"/>
                      <a:pt x="10" y="12"/>
                    </a:cubicBezTo>
                    <a:cubicBezTo>
                      <a:pt x="12" y="9"/>
                      <a:pt x="9" y="9"/>
                      <a:pt x="7" y="9"/>
                    </a:cubicBezTo>
                    <a:cubicBezTo>
                      <a:pt x="5" y="9"/>
                      <a:pt x="2" y="7"/>
                      <a:pt x="1" y="7"/>
                    </a:cubicBezTo>
                    <a:cubicBezTo>
                      <a:pt x="0" y="8"/>
                      <a:pt x="2" y="12"/>
                      <a:pt x="2" y="12"/>
                    </a:cubicBezTo>
                    <a:cubicBezTo>
                      <a:pt x="3" y="15"/>
                      <a:pt x="4" y="16"/>
                      <a:pt x="4" y="18"/>
                    </a:cubicBezTo>
                    <a:cubicBezTo>
                      <a:pt x="4" y="19"/>
                      <a:pt x="7" y="21"/>
                      <a:pt x="8" y="21"/>
                    </a:cubicBezTo>
                    <a:cubicBezTo>
                      <a:pt x="7" y="21"/>
                      <a:pt x="6" y="21"/>
                      <a:pt x="5" y="22"/>
                    </a:cubicBezTo>
                    <a:cubicBezTo>
                      <a:pt x="4" y="23"/>
                      <a:pt x="5" y="24"/>
                      <a:pt x="5" y="25"/>
                    </a:cubicBezTo>
                    <a:cubicBezTo>
                      <a:pt x="5" y="28"/>
                      <a:pt x="5" y="30"/>
                      <a:pt x="4" y="32"/>
                    </a:cubicBezTo>
                    <a:cubicBezTo>
                      <a:pt x="4" y="35"/>
                      <a:pt x="3" y="37"/>
                      <a:pt x="2" y="40"/>
                    </a:cubicBezTo>
                    <a:cubicBezTo>
                      <a:pt x="1" y="43"/>
                      <a:pt x="3" y="46"/>
                      <a:pt x="4" y="49"/>
                    </a:cubicBezTo>
                    <a:cubicBezTo>
                      <a:pt x="4" y="52"/>
                      <a:pt x="3" y="54"/>
                      <a:pt x="3" y="56"/>
                    </a:cubicBezTo>
                    <a:cubicBezTo>
                      <a:pt x="3" y="57"/>
                      <a:pt x="4" y="58"/>
                      <a:pt x="4" y="59"/>
                    </a:cubicBezTo>
                    <a:cubicBezTo>
                      <a:pt x="5" y="60"/>
                      <a:pt x="5" y="62"/>
                      <a:pt x="5" y="63"/>
                    </a:cubicBezTo>
                    <a:cubicBezTo>
                      <a:pt x="6" y="66"/>
                      <a:pt x="9" y="67"/>
                      <a:pt x="10" y="70"/>
                    </a:cubicBezTo>
                    <a:cubicBezTo>
                      <a:pt x="11" y="72"/>
                      <a:pt x="11" y="71"/>
                      <a:pt x="12" y="70"/>
                    </a:cubicBezTo>
                    <a:cubicBezTo>
                      <a:pt x="12" y="70"/>
                      <a:pt x="13" y="73"/>
                      <a:pt x="13" y="73"/>
                    </a:cubicBezTo>
                    <a:cubicBezTo>
                      <a:pt x="13" y="73"/>
                      <a:pt x="12" y="72"/>
                      <a:pt x="12" y="73"/>
                    </a:cubicBezTo>
                    <a:cubicBezTo>
                      <a:pt x="12" y="74"/>
                      <a:pt x="12" y="75"/>
                      <a:pt x="13" y="76"/>
                    </a:cubicBezTo>
                    <a:cubicBezTo>
                      <a:pt x="14" y="76"/>
                      <a:pt x="14" y="76"/>
                      <a:pt x="15" y="77"/>
                    </a:cubicBezTo>
                    <a:cubicBezTo>
                      <a:pt x="16" y="78"/>
                      <a:pt x="14" y="79"/>
                      <a:pt x="15" y="80"/>
                    </a:cubicBezTo>
                    <a:cubicBezTo>
                      <a:pt x="17" y="83"/>
                      <a:pt x="21" y="85"/>
                      <a:pt x="21" y="88"/>
                    </a:cubicBezTo>
                    <a:cubicBezTo>
                      <a:pt x="22" y="90"/>
                      <a:pt x="23" y="90"/>
                      <a:pt x="25" y="91"/>
                    </a:cubicBezTo>
                    <a:cubicBezTo>
                      <a:pt x="27" y="92"/>
                      <a:pt x="29" y="93"/>
                      <a:pt x="31" y="93"/>
                    </a:cubicBezTo>
                    <a:cubicBezTo>
                      <a:pt x="33" y="93"/>
                      <a:pt x="35" y="95"/>
                      <a:pt x="36" y="96"/>
                    </a:cubicBezTo>
                    <a:cubicBezTo>
                      <a:pt x="36" y="97"/>
                      <a:pt x="40" y="101"/>
                      <a:pt x="39" y="102"/>
                    </a:cubicBezTo>
                    <a:cubicBezTo>
                      <a:pt x="43" y="101"/>
                      <a:pt x="48" y="100"/>
                      <a:pt x="52" y="101"/>
                    </a:cubicBezTo>
                    <a:cubicBezTo>
                      <a:pt x="58" y="103"/>
                      <a:pt x="63" y="106"/>
                      <a:pt x="68" y="108"/>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5" name="Freeform 642">
                <a:extLst>
                  <a:ext uri="{FF2B5EF4-FFF2-40B4-BE49-F238E27FC236}">
                    <a16:creationId xmlns:a16="http://schemas.microsoft.com/office/drawing/2014/main" id="{9A76BB97-3535-DE45-A77B-4D26804E7744}"/>
                  </a:ext>
                </a:extLst>
              </p:cNvPr>
              <p:cNvSpPr>
                <a:spLocks noEditPoints="1"/>
              </p:cNvSpPr>
              <p:nvPr/>
            </p:nvSpPr>
            <p:spPr bwMode="auto">
              <a:xfrm>
                <a:off x="5133309" y="4907791"/>
                <a:ext cx="3984080" cy="2048308"/>
              </a:xfrm>
              <a:custGeom>
                <a:avLst/>
                <a:gdLst>
                  <a:gd name="T0" fmla="*/ 255 w 427"/>
                  <a:gd name="T1" fmla="*/ 181 h 219"/>
                  <a:gd name="T2" fmla="*/ 299 w 427"/>
                  <a:gd name="T3" fmla="*/ 195 h 219"/>
                  <a:gd name="T4" fmla="*/ 296 w 427"/>
                  <a:gd name="T5" fmla="*/ 215 h 219"/>
                  <a:gd name="T6" fmla="*/ 332 w 427"/>
                  <a:gd name="T7" fmla="*/ 200 h 219"/>
                  <a:gd name="T8" fmla="*/ 366 w 427"/>
                  <a:gd name="T9" fmla="*/ 196 h 219"/>
                  <a:gd name="T10" fmla="*/ 383 w 427"/>
                  <a:gd name="T11" fmla="*/ 200 h 219"/>
                  <a:gd name="T12" fmla="*/ 391 w 427"/>
                  <a:gd name="T13" fmla="*/ 201 h 219"/>
                  <a:gd name="T14" fmla="*/ 380 w 427"/>
                  <a:gd name="T15" fmla="*/ 188 h 219"/>
                  <a:gd name="T16" fmla="*/ 382 w 427"/>
                  <a:gd name="T17" fmla="*/ 176 h 219"/>
                  <a:gd name="T18" fmla="*/ 354 w 427"/>
                  <a:gd name="T19" fmla="*/ 180 h 219"/>
                  <a:gd name="T20" fmla="*/ 414 w 427"/>
                  <a:gd name="T21" fmla="*/ 160 h 219"/>
                  <a:gd name="T22" fmla="*/ 417 w 427"/>
                  <a:gd name="T23" fmla="*/ 144 h 219"/>
                  <a:gd name="T24" fmla="*/ 415 w 427"/>
                  <a:gd name="T25" fmla="*/ 139 h 219"/>
                  <a:gd name="T26" fmla="*/ 394 w 427"/>
                  <a:gd name="T27" fmla="*/ 126 h 219"/>
                  <a:gd name="T28" fmla="*/ 390 w 427"/>
                  <a:gd name="T29" fmla="*/ 110 h 219"/>
                  <a:gd name="T30" fmla="*/ 378 w 427"/>
                  <a:gd name="T31" fmla="*/ 104 h 219"/>
                  <a:gd name="T32" fmla="*/ 364 w 427"/>
                  <a:gd name="T33" fmla="*/ 112 h 219"/>
                  <a:gd name="T34" fmla="*/ 356 w 427"/>
                  <a:gd name="T35" fmla="*/ 107 h 219"/>
                  <a:gd name="T36" fmla="*/ 342 w 427"/>
                  <a:gd name="T37" fmla="*/ 85 h 219"/>
                  <a:gd name="T38" fmla="*/ 314 w 427"/>
                  <a:gd name="T39" fmla="*/ 91 h 219"/>
                  <a:gd name="T40" fmla="*/ 320 w 427"/>
                  <a:gd name="T41" fmla="*/ 116 h 219"/>
                  <a:gd name="T42" fmla="*/ 306 w 427"/>
                  <a:gd name="T43" fmla="*/ 159 h 219"/>
                  <a:gd name="T44" fmla="*/ 292 w 427"/>
                  <a:gd name="T45" fmla="*/ 135 h 219"/>
                  <a:gd name="T46" fmla="*/ 250 w 427"/>
                  <a:gd name="T47" fmla="*/ 119 h 219"/>
                  <a:gd name="T48" fmla="*/ 237 w 427"/>
                  <a:gd name="T49" fmla="*/ 86 h 219"/>
                  <a:gd name="T50" fmla="*/ 246 w 427"/>
                  <a:gd name="T51" fmla="*/ 77 h 219"/>
                  <a:gd name="T52" fmla="*/ 246 w 427"/>
                  <a:gd name="T53" fmla="*/ 70 h 219"/>
                  <a:gd name="T54" fmla="*/ 263 w 427"/>
                  <a:gd name="T55" fmla="*/ 58 h 219"/>
                  <a:gd name="T56" fmla="*/ 276 w 427"/>
                  <a:gd name="T57" fmla="*/ 48 h 219"/>
                  <a:gd name="T58" fmla="*/ 293 w 427"/>
                  <a:gd name="T59" fmla="*/ 36 h 219"/>
                  <a:gd name="T60" fmla="*/ 276 w 427"/>
                  <a:gd name="T61" fmla="*/ 23 h 219"/>
                  <a:gd name="T62" fmla="*/ 262 w 427"/>
                  <a:gd name="T63" fmla="*/ 35 h 219"/>
                  <a:gd name="T64" fmla="*/ 252 w 427"/>
                  <a:gd name="T65" fmla="*/ 23 h 219"/>
                  <a:gd name="T66" fmla="*/ 241 w 427"/>
                  <a:gd name="T67" fmla="*/ 10 h 219"/>
                  <a:gd name="T68" fmla="*/ 223 w 427"/>
                  <a:gd name="T69" fmla="*/ 6 h 219"/>
                  <a:gd name="T70" fmla="*/ 232 w 427"/>
                  <a:gd name="T71" fmla="*/ 27 h 219"/>
                  <a:gd name="T72" fmla="*/ 226 w 427"/>
                  <a:gd name="T73" fmla="*/ 40 h 219"/>
                  <a:gd name="T74" fmla="*/ 218 w 427"/>
                  <a:gd name="T75" fmla="*/ 37 h 219"/>
                  <a:gd name="T76" fmla="*/ 164 w 427"/>
                  <a:gd name="T77" fmla="*/ 29 h 219"/>
                  <a:gd name="T78" fmla="*/ 166 w 427"/>
                  <a:gd name="T79" fmla="*/ 41 h 219"/>
                  <a:gd name="T80" fmla="*/ 160 w 427"/>
                  <a:gd name="T81" fmla="*/ 40 h 219"/>
                  <a:gd name="T82" fmla="*/ 133 w 427"/>
                  <a:gd name="T83" fmla="*/ 30 h 219"/>
                  <a:gd name="T84" fmla="*/ 83 w 427"/>
                  <a:gd name="T85" fmla="*/ 23 h 219"/>
                  <a:gd name="T86" fmla="*/ 71 w 427"/>
                  <a:gd name="T87" fmla="*/ 18 h 219"/>
                  <a:gd name="T88" fmla="*/ 50 w 427"/>
                  <a:gd name="T89" fmla="*/ 24 h 219"/>
                  <a:gd name="T90" fmla="*/ 49 w 427"/>
                  <a:gd name="T91" fmla="*/ 22 h 219"/>
                  <a:gd name="T92" fmla="*/ 29 w 427"/>
                  <a:gd name="T93" fmla="*/ 23 h 219"/>
                  <a:gd name="T94" fmla="*/ 21 w 427"/>
                  <a:gd name="T95" fmla="*/ 28 h 219"/>
                  <a:gd name="T96" fmla="*/ 3 w 427"/>
                  <a:gd name="T97" fmla="*/ 97 h 219"/>
                  <a:gd name="T98" fmla="*/ 40 w 427"/>
                  <a:gd name="T99" fmla="*/ 116 h 219"/>
                  <a:gd name="T100" fmla="*/ 53 w 427"/>
                  <a:gd name="T101" fmla="*/ 141 h 219"/>
                  <a:gd name="T102" fmla="*/ 62 w 427"/>
                  <a:gd name="T103" fmla="*/ 150 h 219"/>
                  <a:gd name="T104" fmla="*/ 67 w 427"/>
                  <a:gd name="T105" fmla="*/ 160 h 219"/>
                  <a:gd name="T106" fmla="*/ 80 w 427"/>
                  <a:gd name="T107" fmla="*/ 166 h 219"/>
                  <a:gd name="T108" fmla="*/ 133 w 427"/>
                  <a:gd name="T109" fmla="*/ 176 h 219"/>
                  <a:gd name="T110" fmla="*/ 97 w 427"/>
                  <a:gd name="T111" fmla="*/ 57 h 219"/>
                  <a:gd name="T112" fmla="*/ 87 w 427"/>
                  <a:gd name="T113" fmla="*/ 51 h 219"/>
                  <a:gd name="T114" fmla="*/ 113 w 427"/>
                  <a:gd name="T115" fmla="*/ 49 h 219"/>
                  <a:gd name="T116" fmla="*/ 142 w 427"/>
                  <a:gd name="T117" fmla="*/ 85 h 219"/>
                  <a:gd name="T118" fmla="*/ 131 w 427"/>
                  <a:gd name="T119" fmla="*/ 85 h 219"/>
                  <a:gd name="T120" fmla="*/ 160 w 427"/>
                  <a:gd name="T121" fmla="*/ 78 h 219"/>
                  <a:gd name="T122" fmla="*/ 210 w 427"/>
                  <a:gd name="T123" fmla="*/ 150 h 219"/>
                  <a:gd name="T124" fmla="*/ 222 w 427"/>
                  <a:gd name="T125" fmla="*/ 16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7" h="219">
                    <a:moveTo>
                      <a:pt x="229" y="174"/>
                    </a:moveTo>
                    <a:cubicBezTo>
                      <a:pt x="229" y="174"/>
                      <a:pt x="229" y="173"/>
                      <a:pt x="229" y="173"/>
                    </a:cubicBezTo>
                    <a:cubicBezTo>
                      <a:pt x="229" y="173"/>
                      <a:pt x="232" y="177"/>
                      <a:pt x="232" y="177"/>
                    </a:cubicBezTo>
                    <a:cubicBezTo>
                      <a:pt x="234" y="177"/>
                      <a:pt x="235" y="178"/>
                      <a:pt x="236" y="178"/>
                    </a:cubicBezTo>
                    <a:cubicBezTo>
                      <a:pt x="238" y="178"/>
                      <a:pt x="238" y="177"/>
                      <a:pt x="239" y="178"/>
                    </a:cubicBezTo>
                    <a:cubicBezTo>
                      <a:pt x="242" y="179"/>
                      <a:pt x="244" y="180"/>
                      <a:pt x="246" y="181"/>
                    </a:cubicBezTo>
                    <a:cubicBezTo>
                      <a:pt x="247" y="182"/>
                      <a:pt x="248" y="181"/>
                      <a:pt x="249" y="181"/>
                    </a:cubicBezTo>
                    <a:cubicBezTo>
                      <a:pt x="250" y="180"/>
                      <a:pt x="251" y="180"/>
                      <a:pt x="252" y="180"/>
                    </a:cubicBezTo>
                    <a:cubicBezTo>
                      <a:pt x="253" y="180"/>
                      <a:pt x="254" y="181"/>
                      <a:pt x="255" y="181"/>
                    </a:cubicBezTo>
                    <a:cubicBezTo>
                      <a:pt x="257" y="181"/>
                      <a:pt x="258" y="180"/>
                      <a:pt x="259" y="179"/>
                    </a:cubicBezTo>
                    <a:cubicBezTo>
                      <a:pt x="260" y="178"/>
                      <a:pt x="263" y="175"/>
                      <a:pt x="264" y="175"/>
                    </a:cubicBezTo>
                    <a:cubicBezTo>
                      <a:pt x="264" y="175"/>
                      <a:pt x="265" y="176"/>
                      <a:pt x="265" y="176"/>
                    </a:cubicBezTo>
                    <a:cubicBezTo>
                      <a:pt x="267" y="176"/>
                      <a:pt x="268" y="176"/>
                      <a:pt x="269" y="176"/>
                    </a:cubicBezTo>
                    <a:cubicBezTo>
                      <a:pt x="273" y="176"/>
                      <a:pt x="272" y="179"/>
                      <a:pt x="274" y="181"/>
                    </a:cubicBezTo>
                    <a:cubicBezTo>
                      <a:pt x="275" y="182"/>
                      <a:pt x="279" y="181"/>
                      <a:pt x="279" y="183"/>
                    </a:cubicBezTo>
                    <a:cubicBezTo>
                      <a:pt x="279" y="185"/>
                      <a:pt x="280" y="187"/>
                      <a:pt x="281" y="189"/>
                    </a:cubicBezTo>
                    <a:cubicBezTo>
                      <a:pt x="281" y="194"/>
                      <a:pt x="290" y="193"/>
                      <a:pt x="293" y="194"/>
                    </a:cubicBezTo>
                    <a:cubicBezTo>
                      <a:pt x="295" y="194"/>
                      <a:pt x="298" y="194"/>
                      <a:pt x="299" y="195"/>
                    </a:cubicBezTo>
                    <a:cubicBezTo>
                      <a:pt x="300" y="196"/>
                      <a:pt x="305" y="201"/>
                      <a:pt x="304" y="201"/>
                    </a:cubicBezTo>
                    <a:cubicBezTo>
                      <a:pt x="302" y="203"/>
                      <a:pt x="302" y="203"/>
                      <a:pt x="300" y="202"/>
                    </a:cubicBezTo>
                    <a:cubicBezTo>
                      <a:pt x="299" y="201"/>
                      <a:pt x="295" y="199"/>
                      <a:pt x="295" y="199"/>
                    </a:cubicBezTo>
                    <a:cubicBezTo>
                      <a:pt x="295" y="200"/>
                      <a:pt x="298" y="201"/>
                      <a:pt x="297" y="203"/>
                    </a:cubicBezTo>
                    <a:cubicBezTo>
                      <a:pt x="296" y="204"/>
                      <a:pt x="295" y="206"/>
                      <a:pt x="295" y="207"/>
                    </a:cubicBezTo>
                    <a:cubicBezTo>
                      <a:pt x="295" y="209"/>
                      <a:pt x="295" y="210"/>
                      <a:pt x="294" y="211"/>
                    </a:cubicBezTo>
                    <a:cubicBezTo>
                      <a:pt x="294" y="212"/>
                      <a:pt x="291" y="213"/>
                      <a:pt x="291" y="213"/>
                    </a:cubicBezTo>
                    <a:cubicBezTo>
                      <a:pt x="290" y="214"/>
                      <a:pt x="287" y="219"/>
                      <a:pt x="291" y="219"/>
                    </a:cubicBezTo>
                    <a:cubicBezTo>
                      <a:pt x="292" y="219"/>
                      <a:pt x="294" y="217"/>
                      <a:pt x="296" y="215"/>
                    </a:cubicBezTo>
                    <a:cubicBezTo>
                      <a:pt x="298" y="214"/>
                      <a:pt x="299" y="216"/>
                      <a:pt x="301" y="215"/>
                    </a:cubicBezTo>
                    <a:cubicBezTo>
                      <a:pt x="304" y="215"/>
                      <a:pt x="305" y="213"/>
                      <a:pt x="308" y="213"/>
                    </a:cubicBezTo>
                    <a:cubicBezTo>
                      <a:pt x="308" y="211"/>
                      <a:pt x="308" y="212"/>
                      <a:pt x="306" y="211"/>
                    </a:cubicBezTo>
                    <a:cubicBezTo>
                      <a:pt x="305" y="211"/>
                      <a:pt x="305" y="210"/>
                      <a:pt x="306" y="210"/>
                    </a:cubicBezTo>
                    <a:cubicBezTo>
                      <a:pt x="307" y="208"/>
                      <a:pt x="308" y="207"/>
                      <a:pt x="311" y="207"/>
                    </a:cubicBezTo>
                    <a:cubicBezTo>
                      <a:pt x="312" y="207"/>
                      <a:pt x="315" y="205"/>
                      <a:pt x="317" y="206"/>
                    </a:cubicBezTo>
                    <a:cubicBezTo>
                      <a:pt x="319" y="207"/>
                      <a:pt x="320" y="203"/>
                      <a:pt x="322" y="206"/>
                    </a:cubicBezTo>
                    <a:cubicBezTo>
                      <a:pt x="324" y="204"/>
                      <a:pt x="325" y="203"/>
                      <a:pt x="327" y="201"/>
                    </a:cubicBezTo>
                    <a:cubicBezTo>
                      <a:pt x="329" y="200"/>
                      <a:pt x="330" y="200"/>
                      <a:pt x="332" y="200"/>
                    </a:cubicBezTo>
                    <a:cubicBezTo>
                      <a:pt x="335" y="200"/>
                      <a:pt x="339" y="200"/>
                      <a:pt x="342" y="200"/>
                    </a:cubicBezTo>
                    <a:cubicBezTo>
                      <a:pt x="345" y="200"/>
                      <a:pt x="346" y="201"/>
                      <a:pt x="347" y="199"/>
                    </a:cubicBezTo>
                    <a:cubicBezTo>
                      <a:pt x="348" y="198"/>
                      <a:pt x="349" y="199"/>
                      <a:pt x="350" y="198"/>
                    </a:cubicBezTo>
                    <a:cubicBezTo>
                      <a:pt x="351" y="196"/>
                      <a:pt x="352" y="195"/>
                      <a:pt x="352" y="193"/>
                    </a:cubicBezTo>
                    <a:cubicBezTo>
                      <a:pt x="353" y="191"/>
                      <a:pt x="353" y="190"/>
                      <a:pt x="354" y="188"/>
                    </a:cubicBezTo>
                    <a:cubicBezTo>
                      <a:pt x="355" y="187"/>
                      <a:pt x="356" y="186"/>
                      <a:pt x="357" y="185"/>
                    </a:cubicBezTo>
                    <a:cubicBezTo>
                      <a:pt x="358" y="184"/>
                      <a:pt x="359" y="187"/>
                      <a:pt x="361" y="186"/>
                    </a:cubicBezTo>
                    <a:cubicBezTo>
                      <a:pt x="363" y="184"/>
                      <a:pt x="365" y="187"/>
                      <a:pt x="365" y="189"/>
                    </a:cubicBezTo>
                    <a:cubicBezTo>
                      <a:pt x="365" y="190"/>
                      <a:pt x="364" y="196"/>
                      <a:pt x="366" y="196"/>
                    </a:cubicBezTo>
                    <a:cubicBezTo>
                      <a:pt x="367" y="197"/>
                      <a:pt x="368" y="199"/>
                      <a:pt x="369" y="201"/>
                    </a:cubicBezTo>
                    <a:cubicBezTo>
                      <a:pt x="370" y="199"/>
                      <a:pt x="381" y="196"/>
                      <a:pt x="381" y="196"/>
                    </a:cubicBezTo>
                    <a:cubicBezTo>
                      <a:pt x="381" y="195"/>
                      <a:pt x="380" y="195"/>
                      <a:pt x="380" y="194"/>
                    </a:cubicBezTo>
                    <a:cubicBezTo>
                      <a:pt x="380" y="194"/>
                      <a:pt x="382" y="196"/>
                      <a:pt x="382" y="196"/>
                    </a:cubicBezTo>
                    <a:cubicBezTo>
                      <a:pt x="382" y="197"/>
                      <a:pt x="380" y="197"/>
                      <a:pt x="380" y="197"/>
                    </a:cubicBezTo>
                    <a:cubicBezTo>
                      <a:pt x="380" y="197"/>
                      <a:pt x="386" y="198"/>
                      <a:pt x="386" y="198"/>
                    </a:cubicBezTo>
                    <a:cubicBezTo>
                      <a:pt x="386" y="198"/>
                      <a:pt x="386" y="198"/>
                      <a:pt x="386" y="198"/>
                    </a:cubicBezTo>
                    <a:cubicBezTo>
                      <a:pt x="386" y="198"/>
                      <a:pt x="386" y="199"/>
                      <a:pt x="386" y="199"/>
                    </a:cubicBezTo>
                    <a:cubicBezTo>
                      <a:pt x="385" y="199"/>
                      <a:pt x="384" y="199"/>
                      <a:pt x="383" y="200"/>
                    </a:cubicBezTo>
                    <a:cubicBezTo>
                      <a:pt x="383" y="201"/>
                      <a:pt x="382" y="198"/>
                      <a:pt x="382" y="198"/>
                    </a:cubicBezTo>
                    <a:cubicBezTo>
                      <a:pt x="381" y="198"/>
                      <a:pt x="381" y="199"/>
                      <a:pt x="381" y="199"/>
                    </a:cubicBezTo>
                    <a:cubicBezTo>
                      <a:pt x="381" y="199"/>
                      <a:pt x="381" y="198"/>
                      <a:pt x="380" y="199"/>
                    </a:cubicBezTo>
                    <a:cubicBezTo>
                      <a:pt x="379" y="200"/>
                      <a:pt x="378" y="200"/>
                      <a:pt x="377" y="201"/>
                    </a:cubicBezTo>
                    <a:cubicBezTo>
                      <a:pt x="375" y="202"/>
                      <a:pt x="371" y="205"/>
                      <a:pt x="373" y="208"/>
                    </a:cubicBezTo>
                    <a:cubicBezTo>
                      <a:pt x="376" y="210"/>
                      <a:pt x="378" y="208"/>
                      <a:pt x="379" y="207"/>
                    </a:cubicBezTo>
                    <a:cubicBezTo>
                      <a:pt x="380" y="206"/>
                      <a:pt x="384" y="203"/>
                      <a:pt x="384" y="202"/>
                    </a:cubicBezTo>
                    <a:cubicBezTo>
                      <a:pt x="384" y="203"/>
                      <a:pt x="386" y="204"/>
                      <a:pt x="387" y="203"/>
                    </a:cubicBezTo>
                    <a:cubicBezTo>
                      <a:pt x="387" y="202"/>
                      <a:pt x="390" y="201"/>
                      <a:pt x="391" y="201"/>
                    </a:cubicBezTo>
                    <a:cubicBezTo>
                      <a:pt x="393" y="200"/>
                      <a:pt x="395" y="199"/>
                      <a:pt x="397" y="199"/>
                    </a:cubicBezTo>
                    <a:cubicBezTo>
                      <a:pt x="398" y="199"/>
                      <a:pt x="398" y="199"/>
                      <a:pt x="398" y="198"/>
                    </a:cubicBezTo>
                    <a:cubicBezTo>
                      <a:pt x="397" y="197"/>
                      <a:pt x="398" y="197"/>
                      <a:pt x="398" y="197"/>
                    </a:cubicBezTo>
                    <a:cubicBezTo>
                      <a:pt x="398" y="196"/>
                      <a:pt x="396" y="197"/>
                      <a:pt x="395" y="196"/>
                    </a:cubicBezTo>
                    <a:cubicBezTo>
                      <a:pt x="394" y="196"/>
                      <a:pt x="395" y="194"/>
                      <a:pt x="393" y="196"/>
                    </a:cubicBezTo>
                    <a:cubicBezTo>
                      <a:pt x="391" y="197"/>
                      <a:pt x="387" y="196"/>
                      <a:pt x="385" y="195"/>
                    </a:cubicBezTo>
                    <a:cubicBezTo>
                      <a:pt x="384" y="195"/>
                      <a:pt x="385" y="193"/>
                      <a:pt x="384" y="193"/>
                    </a:cubicBezTo>
                    <a:cubicBezTo>
                      <a:pt x="384" y="193"/>
                      <a:pt x="382" y="193"/>
                      <a:pt x="381" y="192"/>
                    </a:cubicBezTo>
                    <a:cubicBezTo>
                      <a:pt x="380" y="192"/>
                      <a:pt x="380" y="189"/>
                      <a:pt x="380" y="188"/>
                    </a:cubicBezTo>
                    <a:cubicBezTo>
                      <a:pt x="380" y="187"/>
                      <a:pt x="378" y="188"/>
                      <a:pt x="377" y="187"/>
                    </a:cubicBezTo>
                    <a:cubicBezTo>
                      <a:pt x="377" y="187"/>
                      <a:pt x="379" y="185"/>
                      <a:pt x="379" y="185"/>
                    </a:cubicBezTo>
                    <a:cubicBezTo>
                      <a:pt x="380" y="184"/>
                      <a:pt x="380" y="181"/>
                      <a:pt x="378" y="181"/>
                    </a:cubicBezTo>
                    <a:cubicBezTo>
                      <a:pt x="378" y="181"/>
                      <a:pt x="376" y="185"/>
                      <a:pt x="375" y="183"/>
                    </a:cubicBezTo>
                    <a:cubicBezTo>
                      <a:pt x="375" y="181"/>
                      <a:pt x="374" y="182"/>
                      <a:pt x="373" y="181"/>
                    </a:cubicBezTo>
                    <a:cubicBezTo>
                      <a:pt x="373" y="180"/>
                      <a:pt x="376" y="181"/>
                      <a:pt x="376" y="181"/>
                    </a:cubicBezTo>
                    <a:cubicBezTo>
                      <a:pt x="378" y="181"/>
                      <a:pt x="379" y="180"/>
                      <a:pt x="380" y="180"/>
                    </a:cubicBezTo>
                    <a:cubicBezTo>
                      <a:pt x="381" y="179"/>
                      <a:pt x="382" y="179"/>
                      <a:pt x="383" y="179"/>
                    </a:cubicBezTo>
                    <a:cubicBezTo>
                      <a:pt x="384" y="178"/>
                      <a:pt x="382" y="176"/>
                      <a:pt x="382" y="176"/>
                    </a:cubicBezTo>
                    <a:cubicBezTo>
                      <a:pt x="382" y="176"/>
                      <a:pt x="383" y="176"/>
                      <a:pt x="383" y="176"/>
                    </a:cubicBezTo>
                    <a:cubicBezTo>
                      <a:pt x="383" y="176"/>
                      <a:pt x="379" y="174"/>
                      <a:pt x="379" y="174"/>
                    </a:cubicBezTo>
                    <a:cubicBezTo>
                      <a:pt x="377" y="173"/>
                      <a:pt x="375" y="173"/>
                      <a:pt x="373" y="174"/>
                    </a:cubicBezTo>
                    <a:cubicBezTo>
                      <a:pt x="369" y="175"/>
                      <a:pt x="366" y="176"/>
                      <a:pt x="363" y="178"/>
                    </a:cubicBezTo>
                    <a:cubicBezTo>
                      <a:pt x="360" y="179"/>
                      <a:pt x="358" y="181"/>
                      <a:pt x="355" y="183"/>
                    </a:cubicBezTo>
                    <a:cubicBezTo>
                      <a:pt x="354" y="184"/>
                      <a:pt x="353" y="185"/>
                      <a:pt x="352" y="187"/>
                    </a:cubicBezTo>
                    <a:cubicBezTo>
                      <a:pt x="352" y="187"/>
                      <a:pt x="348" y="189"/>
                      <a:pt x="348" y="189"/>
                    </a:cubicBezTo>
                    <a:cubicBezTo>
                      <a:pt x="348" y="188"/>
                      <a:pt x="353" y="184"/>
                      <a:pt x="354" y="183"/>
                    </a:cubicBezTo>
                    <a:cubicBezTo>
                      <a:pt x="354" y="182"/>
                      <a:pt x="355" y="181"/>
                      <a:pt x="354" y="180"/>
                    </a:cubicBezTo>
                    <a:cubicBezTo>
                      <a:pt x="353" y="180"/>
                      <a:pt x="351" y="179"/>
                      <a:pt x="350" y="179"/>
                    </a:cubicBezTo>
                    <a:cubicBezTo>
                      <a:pt x="351" y="179"/>
                      <a:pt x="353" y="180"/>
                      <a:pt x="354" y="180"/>
                    </a:cubicBezTo>
                    <a:cubicBezTo>
                      <a:pt x="356" y="181"/>
                      <a:pt x="358" y="178"/>
                      <a:pt x="359" y="177"/>
                    </a:cubicBezTo>
                    <a:cubicBezTo>
                      <a:pt x="360" y="176"/>
                      <a:pt x="361" y="174"/>
                      <a:pt x="363" y="173"/>
                    </a:cubicBezTo>
                    <a:cubicBezTo>
                      <a:pt x="365" y="173"/>
                      <a:pt x="367" y="174"/>
                      <a:pt x="368" y="172"/>
                    </a:cubicBezTo>
                    <a:cubicBezTo>
                      <a:pt x="369" y="168"/>
                      <a:pt x="371" y="167"/>
                      <a:pt x="375" y="167"/>
                    </a:cubicBezTo>
                    <a:cubicBezTo>
                      <a:pt x="379" y="167"/>
                      <a:pt x="383" y="167"/>
                      <a:pt x="387" y="167"/>
                    </a:cubicBezTo>
                    <a:cubicBezTo>
                      <a:pt x="394" y="167"/>
                      <a:pt x="404" y="169"/>
                      <a:pt x="409" y="163"/>
                    </a:cubicBezTo>
                    <a:cubicBezTo>
                      <a:pt x="411" y="161"/>
                      <a:pt x="412" y="160"/>
                      <a:pt x="414" y="160"/>
                    </a:cubicBezTo>
                    <a:cubicBezTo>
                      <a:pt x="416" y="160"/>
                      <a:pt x="418" y="160"/>
                      <a:pt x="421" y="158"/>
                    </a:cubicBezTo>
                    <a:cubicBezTo>
                      <a:pt x="422" y="158"/>
                      <a:pt x="425" y="156"/>
                      <a:pt x="425" y="155"/>
                    </a:cubicBezTo>
                    <a:cubicBezTo>
                      <a:pt x="427" y="152"/>
                      <a:pt x="422" y="153"/>
                      <a:pt x="422" y="152"/>
                    </a:cubicBezTo>
                    <a:cubicBezTo>
                      <a:pt x="422" y="151"/>
                      <a:pt x="424" y="151"/>
                      <a:pt x="424" y="151"/>
                    </a:cubicBezTo>
                    <a:cubicBezTo>
                      <a:pt x="425" y="150"/>
                      <a:pt x="424" y="149"/>
                      <a:pt x="424" y="148"/>
                    </a:cubicBezTo>
                    <a:cubicBezTo>
                      <a:pt x="424" y="148"/>
                      <a:pt x="425" y="147"/>
                      <a:pt x="425" y="147"/>
                    </a:cubicBezTo>
                    <a:cubicBezTo>
                      <a:pt x="425" y="146"/>
                      <a:pt x="423" y="145"/>
                      <a:pt x="423" y="145"/>
                    </a:cubicBezTo>
                    <a:cubicBezTo>
                      <a:pt x="422" y="144"/>
                      <a:pt x="421" y="144"/>
                      <a:pt x="421" y="143"/>
                    </a:cubicBezTo>
                    <a:cubicBezTo>
                      <a:pt x="420" y="143"/>
                      <a:pt x="418" y="146"/>
                      <a:pt x="417" y="144"/>
                    </a:cubicBezTo>
                    <a:cubicBezTo>
                      <a:pt x="417" y="144"/>
                      <a:pt x="419" y="143"/>
                      <a:pt x="418" y="143"/>
                    </a:cubicBezTo>
                    <a:cubicBezTo>
                      <a:pt x="418" y="142"/>
                      <a:pt x="417" y="141"/>
                      <a:pt x="416" y="141"/>
                    </a:cubicBezTo>
                    <a:cubicBezTo>
                      <a:pt x="415" y="140"/>
                      <a:pt x="411" y="141"/>
                      <a:pt x="410" y="142"/>
                    </a:cubicBezTo>
                    <a:cubicBezTo>
                      <a:pt x="409" y="144"/>
                      <a:pt x="406" y="145"/>
                      <a:pt x="404" y="146"/>
                    </a:cubicBezTo>
                    <a:cubicBezTo>
                      <a:pt x="403" y="146"/>
                      <a:pt x="400" y="144"/>
                      <a:pt x="400" y="143"/>
                    </a:cubicBezTo>
                    <a:cubicBezTo>
                      <a:pt x="400" y="142"/>
                      <a:pt x="403" y="145"/>
                      <a:pt x="403" y="145"/>
                    </a:cubicBezTo>
                    <a:cubicBezTo>
                      <a:pt x="404" y="145"/>
                      <a:pt x="408" y="142"/>
                      <a:pt x="408" y="142"/>
                    </a:cubicBezTo>
                    <a:cubicBezTo>
                      <a:pt x="408" y="142"/>
                      <a:pt x="406" y="141"/>
                      <a:pt x="406" y="141"/>
                    </a:cubicBezTo>
                    <a:cubicBezTo>
                      <a:pt x="409" y="140"/>
                      <a:pt x="412" y="140"/>
                      <a:pt x="415" y="139"/>
                    </a:cubicBezTo>
                    <a:cubicBezTo>
                      <a:pt x="415" y="139"/>
                      <a:pt x="417" y="138"/>
                      <a:pt x="416" y="137"/>
                    </a:cubicBezTo>
                    <a:cubicBezTo>
                      <a:pt x="416" y="137"/>
                      <a:pt x="414" y="135"/>
                      <a:pt x="414" y="135"/>
                    </a:cubicBezTo>
                    <a:cubicBezTo>
                      <a:pt x="412" y="136"/>
                      <a:pt x="410" y="136"/>
                      <a:pt x="409" y="134"/>
                    </a:cubicBezTo>
                    <a:cubicBezTo>
                      <a:pt x="408" y="134"/>
                      <a:pt x="404" y="137"/>
                      <a:pt x="404" y="136"/>
                    </a:cubicBezTo>
                    <a:cubicBezTo>
                      <a:pt x="404" y="136"/>
                      <a:pt x="407" y="133"/>
                      <a:pt x="404" y="134"/>
                    </a:cubicBezTo>
                    <a:cubicBezTo>
                      <a:pt x="404" y="134"/>
                      <a:pt x="400" y="135"/>
                      <a:pt x="400" y="135"/>
                    </a:cubicBezTo>
                    <a:cubicBezTo>
                      <a:pt x="401" y="133"/>
                      <a:pt x="404" y="133"/>
                      <a:pt x="402" y="130"/>
                    </a:cubicBezTo>
                    <a:cubicBezTo>
                      <a:pt x="402" y="130"/>
                      <a:pt x="398" y="128"/>
                      <a:pt x="398" y="128"/>
                    </a:cubicBezTo>
                    <a:cubicBezTo>
                      <a:pt x="396" y="128"/>
                      <a:pt x="396" y="126"/>
                      <a:pt x="394" y="126"/>
                    </a:cubicBezTo>
                    <a:cubicBezTo>
                      <a:pt x="395" y="126"/>
                      <a:pt x="392" y="122"/>
                      <a:pt x="392" y="122"/>
                    </a:cubicBezTo>
                    <a:cubicBezTo>
                      <a:pt x="392" y="122"/>
                      <a:pt x="393" y="123"/>
                      <a:pt x="394" y="123"/>
                    </a:cubicBezTo>
                    <a:cubicBezTo>
                      <a:pt x="395" y="124"/>
                      <a:pt x="395" y="122"/>
                      <a:pt x="396" y="122"/>
                    </a:cubicBezTo>
                    <a:cubicBezTo>
                      <a:pt x="400" y="121"/>
                      <a:pt x="393" y="118"/>
                      <a:pt x="392" y="117"/>
                    </a:cubicBezTo>
                    <a:cubicBezTo>
                      <a:pt x="392" y="118"/>
                      <a:pt x="394" y="116"/>
                      <a:pt x="394" y="116"/>
                    </a:cubicBezTo>
                    <a:cubicBezTo>
                      <a:pt x="395" y="115"/>
                      <a:pt x="393" y="115"/>
                      <a:pt x="392" y="114"/>
                    </a:cubicBezTo>
                    <a:cubicBezTo>
                      <a:pt x="392" y="114"/>
                      <a:pt x="391" y="113"/>
                      <a:pt x="390" y="113"/>
                    </a:cubicBezTo>
                    <a:cubicBezTo>
                      <a:pt x="390" y="113"/>
                      <a:pt x="388" y="113"/>
                      <a:pt x="388" y="113"/>
                    </a:cubicBezTo>
                    <a:cubicBezTo>
                      <a:pt x="389" y="112"/>
                      <a:pt x="391" y="113"/>
                      <a:pt x="390" y="110"/>
                    </a:cubicBezTo>
                    <a:cubicBezTo>
                      <a:pt x="389" y="110"/>
                      <a:pt x="386" y="111"/>
                      <a:pt x="386" y="111"/>
                    </a:cubicBezTo>
                    <a:cubicBezTo>
                      <a:pt x="386" y="110"/>
                      <a:pt x="389" y="110"/>
                      <a:pt x="388" y="108"/>
                    </a:cubicBezTo>
                    <a:cubicBezTo>
                      <a:pt x="388" y="107"/>
                      <a:pt x="388" y="106"/>
                      <a:pt x="387" y="105"/>
                    </a:cubicBezTo>
                    <a:cubicBezTo>
                      <a:pt x="387" y="105"/>
                      <a:pt x="386" y="106"/>
                      <a:pt x="386" y="105"/>
                    </a:cubicBezTo>
                    <a:cubicBezTo>
                      <a:pt x="386" y="106"/>
                      <a:pt x="384" y="102"/>
                      <a:pt x="384" y="102"/>
                    </a:cubicBezTo>
                    <a:cubicBezTo>
                      <a:pt x="383" y="100"/>
                      <a:pt x="382" y="99"/>
                      <a:pt x="382" y="98"/>
                    </a:cubicBezTo>
                    <a:cubicBezTo>
                      <a:pt x="381" y="96"/>
                      <a:pt x="381" y="94"/>
                      <a:pt x="379" y="97"/>
                    </a:cubicBezTo>
                    <a:cubicBezTo>
                      <a:pt x="379" y="97"/>
                      <a:pt x="378" y="101"/>
                      <a:pt x="379" y="100"/>
                    </a:cubicBezTo>
                    <a:cubicBezTo>
                      <a:pt x="375" y="101"/>
                      <a:pt x="377" y="101"/>
                      <a:pt x="378" y="104"/>
                    </a:cubicBezTo>
                    <a:cubicBezTo>
                      <a:pt x="378" y="103"/>
                      <a:pt x="377" y="103"/>
                      <a:pt x="377" y="104"/>
                    </a:cubicBezTo>
                    <a:cubicBezTo>
                      <a:pt x="376" y="104"/>
                      <a:pt x="376" y="104"/>
                      <a:pt x="375" y="105"/>
                    </a:cubicBezTo>
                    <a:cubicBezTo>
                      <a:pt x="375" y="105"/>
                      <a:pt x="377" y="106"/>
                      <a:pt x="377" y="106"/>
                    </a:cubicBezTo>
                    <a:cubicBezTo>
                      <a:pt x="376" y="107"/>
                      <a:pt x="374" y="106"/>
                      <a:pt x="374" y="107"/>
                    </a:cubicBezTo>
                    <a:cubicBezTo>
                      <a:pt x="373" y="108"/>
                      <a:pt x="375" y="110"/>
                      <a:pt x="373" y="111"/>
                    </a:cubicBezTo>
                    <a:cubicBezTo>
                      <a:pt x="374" y="111"/>
                      <a:pt x="372" y="107"/>
                      <a:pt x="370" y="109"/>
                    </a:cubicBezTo>
                    <a:cubicBezTo>
                      <a:pt x="370" y="110"/>
                      <a:pt x="366" y="113"/>
                      <a:pt x="366" y="113"/>
                    </a:cubicBezTo>
                    <a:cubicBezTo>
                      <a:pt x="365" y="113"/>
                      <a:pt x="365" y="112"/>
                      <a:pt x="365" y="111"/>
                    </a:cubicBezTo>
                    <a:cubicBezTo>
                      <a:pt x="364" y="111"/>
                      <a:pt x="364" y="112"/>
                      <a:pt x="364" y="112"/>
                    </a:cubicBezTo>
                    <a:cubicBezTo>
                      <a:pt x="363" y="111"/>
                      <a:pt x="364" y="111"/>
                      <a:pt x="364" y="110"/>
                    </a:cubicBezTo>
                    <a:cubicBezTo>
                      <a:pt x="364" y="111"/>
                      <a:pt x="357" y="116"/>
                      <a:pt x="357" y="115"/>
                    </a:cubicBezTo>
                    <a:cubicBezTo>
                      <a:pt x="356" y="114"/>
                      <a:pt x="360" y="113"/>
                      <a:pt x="361" y="113"/>
                    </a:cubicBezTo>
                    <a:cubicBezTo>
                      <a:pt x="363" y="111"/>
                      <a:pt x="363" y="110"/>
                      <a:pt x="362" y="108"/>
                    </a:cubicBezTo>
                    <a:cubicBezTo>
                      <a:pt x="361" y="107"/>
                      <a:pt x="358" y="107"/>
                      <a:pt x="357" y="107"/>
                    </a:cubicBezTo>
                    <a:cubicBezTo>
                      <a:pt x="356" y="107"/>
                      <a:pt x="356" y="108"/>
                      <a:pt x="356" y="108"/>
                    </a:cubicBezTo>
                    <a:cubicBezTo>
                      <a:pt x="355" y="110"/>
                      <a:pt x="353" y="108"/>
                      <a:pt x="352" y="108"/>
                    </a:cubicBezTo>
                    <a:cubicBezTo>
                      <a:pt x="353" y="108"/>
                      <a:pt x="355" y="106"/>
                      <a:pt x="355" y="106"/>
                    </a:cubicBezTo>
                    <a:cubicBezTo>
                      <a:pt x="355" y="106"/>
                      <a:pt x="356" y="107"/>
                      <a:pt x="356" y="107"/>
                    </a:cubicBezTo>
                    <a:cubicBezTo>
                      <a:pt x="355" y="107"/>
                      <a:pt x="357" y="105"/>
                      <a:pt x="357" y="105"/>
                    </a:cubicBezTo>
                    <a:cubicBezTo>
                      <a:pt x="358" y="103"/>
                      <a:pt x="356" y="104"/>
                      <a:pt x="355" y="103"/>
                    </a:cubicBezTo>
                    <a:cubicBezTo>
                      <a:pt x="355" y="103"/>
                      <a:pt x="356" y="98"/>
                      <a:pt x="354" y="99"/>
                    </a:cubicBezTo>
                    <a:cubicBezTo>
                      <a:pt x="355" y="98"/>
                      <a:pt x="356" y="98"/>
                      <a:pt x="355" y="96"/>
                    </a:cubicBezTo>
                    <a:cubicBezTo>
                      <a:pt x="353" y="95"/>
                      <a:pt x="357" y="94"/>
                      <a:pt x="356" y="92"/>
                    </a:cubicBezTo>
                    <a:cubicBezTo>
                      <a:pt x="356" y="91"/>
                      <a:pt x="354" y="93"/>
                      <a:pt x="353" y="92"/>
                    </a:cubicBezTo>
                    <a:cubicBezTo>
                      <a:pt x="352" y="91"/>
                      <a:pt x="350" y="91"/>
                      <a:pt x="349" y="91"/>
                    </a:cubicBezTo>
                    <a:cubicBezTo>
                      <a:pt x="347" y="90"/>
                      <a:pt x="346" y="90"/>
                      <a:pt x="345" y="88"/>
                    </a:cubicBezTo>
                    <a:cubicBezTo>
                      <a:pt x="345" y="86"/>
                      <a:pt x="342" y="87"/>
                      <a:pt x="342" y="85"/>
                    </a:cubicBezTo>
                    <a:cubicBezTo>
                      <a:pt x="342" y="84"/>
                      <a:pt x="340" y="85"/>
                      <a:pt x="340" y="85"/>
                    </a:cubicBezTo>
                    <a:cubicBezTo>
                      <a:pt x="341" y="83"/>
                      <a:pt x="339" y="83"/>
                      <a:pt x="338" y="82"/>
                    </a:cubicBezTo>
                    <a:cubicBezTo>
                      <a:pt x="336" y="81"/>
                      <a:pt x="336" y="80"/>
                      <a:pt x="334" y="81"/>
                    </a:cubicBezTo>
                    <a:cubicBezTo>
                      <a:pt x="332" y="82"/>
                      <a:pt x="331" y="83"/>
                      <a:pt x="329" y="82"/>
                    </a:cubicBezTo>
                    <a:cubicBezTo>
                      <a:pt x="327" y="81"/>
                      <a:pt x="326" y="83"/>
                      <a:pt x="324" y="82"/>
                    </a:cubicBezTo>
                    <a:cubicBezTo>
                      <a:pt x="322" y="80"/>
                      <a:pt x="320" y="80"/>
                      <a:pt x="318" y="80"/>
                    </a:cubicBezTo>
                    <a:cubicBezTo>
                      <a:pt x="316" y="80"/>
                      <a:pt x="314" y="80"/>
                      <a:pt x="313" y="82"/>
                    </a:cubicBezTo>
                    <a:cubicBezTo>
                      <a:pt x="312" y="84"/>
                      <a:pt x="315" y="85"/>
                      <a:pt x="315" y="86"/>
                    </a:cubicBezTo>
                    <a:cubicBezTo>
                      <a:pt x="316" y="87"/>
                      <a:pt x="315" y="90"/>
                      <a:pt x="314" y="91"/>
                    </a:cubicBezTo>
                    <a:cubicBezTo>
                      <a:pt x="314" y="92"/>
                      <a:pt x="314" y="91"/>
                      <a:pt x="313" y="92"/>
                    </a:cubicBezTo>
                    <a:cubicBezTo>
                      <a:pt x="313" y="92"/>
                      <a:pt x="315" y="94"/>
                      <a:pt x="315" y="94"/>
                    </a:cubicBezTo>
                    <a:cubicBezTo>
                      <a:pt x="315" y="96"/>
                      <a:pt x="316" y="98"/>
                      <a:pt x="316" y="99"/>
                    </a:cubicBezTo>
                    <a:cubicBezTo>
                      <a:pt x="316" y="100"/>
                      <a:pt x="316" y="100"/>
                      <a:pt x="316" y="101"/>
                    </a:cubicBezTo>
                    <a:cubicBezTo>
                      <a:pt x="316" y="102"/>
                      <a:pt x="315" y="101"/>
                      <a:pt x="315" y="101"/>
                    </a:cubicBezTo>
                    <a:cubicBezTo>
                      <a:pt x="314" y="102"/>
                      <a:pt x="314" y="104"/>
                      <a:pt x="314" y="104"/>
                    </a:cubicBezTo>
                    <a:cubicBezTo>
                      <a:pt x="313" y="105"/>
                      <a:pt x="312" y="106"/>
                      <a:pt x="312" y="107"/>
                    </a:cubicBezTo>
                    <a:cubicBezTo>
                      <a:pt x="311" y="109"/>
                      <a:pt x="311" y="109"/>
                      <a:pt x="312" y="110"/>
                    </a:cubicBezTo>
                    <a:cubicBezTo>
                      <a:pt x="315" y="112"/>
                      <a:pt x="318" y="114"/>
                      <a:pt x="320" y="116"/>
                    </a:cubicBezTo>
                    <a:cubicBezTo>
                      <a:pt x="321" y="119"/>
                      <a:pt x="322" y="124"/>
                      <a:pt x="321" y="127"/>
                    </a:cubicBezTo>
                    <a:cubicBezTo>
                      <a:pt x="319" y="131"/>
                      <a:pt x="313" y="133"/>
                      <a:pt x="310" y="135"/>
                    </a:cubicBezTo>
                    <a:cubicBezTo>
                      <a:pt x="309" y="136"/>
                      <a:pt x="308" y="136"/>
                      <a:pt x="307" y="137"/>
                    </a:cubicBezTo>
                    <a:cubicBezTo>
                      <a:pt x="304" y="138"/>
                      <a:pt x="308" y="141"/>
                      <a:pt x="308" y="143"/>
                    </a:cubicBezTo>
                    <a:cubicBezTo>
                      <a:pt x="308" y="143"/>
                      <a:pt x="309" y="145"/>
                      <a:pt x="309" y="146"/>
                    </a:cubicBezTo>
                    <a:cubicBezTo>
                      <a:pt x="309" y="148"/>
                      <a:pt x="309" y="149"/>
                      <a:pt x="310" y="151"/>
                    </a:cubicBezTo>
                    <a:cubicBezTo>
                      <a:pt x="311" y="153"/>
                      <a:pt x="311" y="154"/>
                      <a:pt x="309" y="156"/>
                    </a:cubicBezTo>
                    <a:cubicBezTo>
                      <a:pt x="309" y="156"/>
                      <a:pt x="310" y="160"/>
                      <a:pt x="309" y="161"/>
                    </a:cubicBezTo>
                    <a:cubicBezTo>
                      <a:pt x="308" y="161"/>
                      <a:pt x="307" y="157"/>
                      <a:pt x="306" y="159"/>
                    </a:cubicBezTo>
                    <a:cubicBezTo>
                      <a:pt x="305" y="161"/>
                      <a:pt x="307" y="164"/>
                      <a:pt x="307" y="164"/>
                    </a:cubicBezTo>
                    <a:cubicBezTo>
                      <a:pt x="307" y="163"/>
                      <a:pt x="301" y="158"/>
                      <a:pt x="298" y="161"/>
                    </a:cubicBezTo>
                    <a:cubicBezTo>
                      <a:pt x="299" y="160"/>
                      <a:pt x="302" y="159"/>
                      <a:pt x="300" y="157"/>
                    </a:cubicBezTo>
                    <a:cubicBezTo>
                      <a:pt x="299" y="156"/>
                      <a:pt x="298" y="155"/>
                      <a:pt x="297" y="155"/>
                    </a:cubicBezTo>
                    <a:cubicBezTo>
                      <a:pt x="297" y="154"/>
                      <a:pt x="295" y="154"/>
                      <a:pt x="294" y="154"/>
                    </a:cubicBezTo>
                    <a:cubicBezTo>
                      <a:pt x="294" y="153"/>
                      <a:pt x="295" y="153"/>
                      <a:pt x="294" y="151"/>
                    </a:cubicBezTo>
                    <a:cubicBezTo>
                      <a:pt x="293" y="150"/>
                      <a:pt x="292" y="148"/>
                      <a:pt x="293" y="146"/>
                    </a:cubicBezTo>
                    <a:cubicBezTo>
                      <a:pt x="294" y="143"/>
                      <a:pt x="291" y="142"/>
                      <a:pt x="291" y="140"/>
                    </a:cubicBezTo>
                    <a:cubicBezTo>
                      <a:pt x="291" y="138"/>
                      <a:pt x="293" y="137"/>
                      <a:pt x="292" y="135"/>
                    </a:cubicBezTo>
                    <a:cubicBezTo>
                      <a:pt x="290" y="133"/>
                      <a:pt x="286" y="133"/>
                      <a:pt x="283" y="133"/>
                    </a:cubicBezTo>
                    <a:cubicBezTo>
                      <a:pt x="282" y="133"/>
                      <a:pt x="281" y="133"/>
                      <a:pt x="279" y="133"/>
                    </a:cubicBezTo>
                    <a:cubicBezTo>
                      <a:pt x="279" y="133"/>
                      <a:pt x="277" y="135"/>
                      <a:pt x="277" y="135"/>
                    </a:cubicBezTo>
                    <a:cubicBezTo>
                      <a:pt x="277" y="134"/>
                      <a:pt x="278" y="134"/>
                      <a:pt x="277" y="133"/>
                    </a:cubicBezTo>
                    <a:cubicBezTo>
                      <a:pt x="277" y="132"/>
                      <a:pt x="276" y="131"/>
                      <a:pt x="275" y="131"/>
                    </a:cubicBezTo>
                    <a:cubicBezTo>
                      <a:pt x="273" y="130"/>
                      <a:pt x="271" y="130"/>
                      <a:pt x="269" y="129"/>
                    </a:cubicBezTo>
                    <a:cubicBezTo>
                      <a:pt x="266" y="128"/>
                      <a:pt x="264" y="125"/>
                      <a:pt x="261" y="123"/>
                    </a:cubicBezTo>
                    <a:cubicBezTo>
                      <a:pt x="259" y="122"/>
                      <a:pt x="257" y="121"/>
                      <a:pt x="256" y="121"/>
                    </a:cubicBezTo>
                    <a:cubicBezTo>
                      <a:pt x="254" y="121"/>
                      <a:pt x="252" y="119"/>
                      <a:pt x="250" y="119"/>
                    </a:cubicBezTo>
                    <a:cubicBezTo>
                      <a:pt x="249" y="119"/>
                      <a:pt x="240" y="121"/>
                      <a:pt x="240" y="121"/>
                    </a:cubicBezTo>
                    <a:cubicBezTo>
                      <a:pt x="240" y="120"/>
                      <a:pt x="241" y="120"/>
                      <a:pt x="242" y="119"/>
                    </a:cubicBezTo>
                    <a:cubicBezTo>
                      <a:pt x="242" y="118"/>
                      <a:pt x="241" y="117"/>
                      <a:pt x="241" y="117"/>
                    </a:cubicBezTo>
                    <a:cubicBezTo>
                      <a:pt x="240" y="114"/>
                      <a:pt x="239" y="112"/>
                      <a:pt x="238" y="110"/>
                    </a:cubicBezTo>
                    <a:cubicBezTo>
                      <a:pt x="237" y="108"/>
                      <a:pt x="236" y="108"/>
                      <a:pt x="234" y="108"/>
                    </a:cubicBezTo>
                    <a:cubicBezTo>
                      <a:pt x="231" y="108"/>
                      <a:pt x="230" y="108"/>
                      <a:pt x="230" y="105"/>
                    </a:cubicBezTo>
                    <a:cubicBezTo>
                      <a:pt x="231" y="103"/>
                      <a:pt x="230" y="100"/>
                      <a:pt x="230" y="98"/>
                    </a:cubicBezTo>
                    <a:cubicBezTo>
                      <a:pt x="231" y="95"/>
                      <a:pt x="233" y="93"/>
                      <a:pt x="234" y="90"/>
                    </a:cubicBezTo>
                    <a:cubicBezTo>
                      <a:pt x="235" y="88"/>
                      <a:pt x="235" y="87"/>
                      <a:pt x="237" y="86"/>
                    </a:cubicBezTo>
                    <a:cubicBezTo>
                      <a:pt x="238" y="86"/>
                      <a:pt x="237" y="85"/>
                      <a:pt x="237" y="84"/>
                    </a:cubicBezTo>
                    <a:cubicBezTo>
                      <a:pt x="238" y="84"/>
                      <a:pt x="240" y="82"/>
                      <a:pt x="240" y="82"/>
                    </a:cubicBezTo>
                    <a:cubicBezTo>
                      <a:pt x="240" y="82"/>
                      <a:pt x="240" y="82"/>
                      <a:pt x="239" y="81"/>
                    </a:cubicBezTo>
                    <a:cubicBezTo>
                      <a:pt x="239" y="81"/>
                      <a:pt x="240" y="81"/>
                      <a:pt x="240" y="81"/>
                    </a:cubicBezTo>
                    <a:cubicBezTo>
                      <a:pt x="240" y="79"/>
                      <a:pt x="242" y="80"/>
                      <a:pt x="243" y="80"/>
                    </a:cubicBezTo>
                    <a:cubicBezTo>
                      <a:pt x="244" y="80"/>
                      <a:pt x="244" y="79"/>
                      <a:pt x="244" y="79"/>
                    </a:cubicBezTo>
                    <a:cubicBezTo>
                      <a:pt x="245" y="77"/>
                      <a:pt x="243" y="78"/>
                      <a:pt x="242" y="77"/>
                    </a:cubicBezTo>
                    <a:cubicBezTo>
                      <a:pt x="242" y="77"/>
                      <a:pt x="244" y="77"/>
                      <a:pt x="244" y="77"/>
                    </a:cubicBezTo>
                    <a:cubicBezTo>
                      <a:pt x="245" y="76"/>
                      <a:pt x="246" y="77"/>
                      <a:pt x="246" y="77"/>
                    </a:cubicBezTo>
                    <a:cubicBezTo>
                      <a:pt x="248" y="79"/>
                      <a:pt x="248" y="77"/>
                      <a:pt x="250" y="76"/>
                    </a:cubicBezTo>
                    <a:cubicBezTo>
                      <a:pt x="252" y="74"/>
                      <a:pt x="248" y="72"/>
                      <a:pt x="246" y="71"/>
                    </a:cubicBezTo>
                    <a:cubicBezTo>
                      <a:pt x="245" y="71"/>
                      <a:pt x="241" y="72"/>
                      <a:pt x="241" y="72"/>
                    </a:cubicBezTo>
                    <a:cubicBezTo>
                      <a:pt x="240" y="70"/>
                      <a:pt x="243" y="70"/>
                      <a:pt x="240" y="69"/>
                    </a:cubicBezTo>
                    <a:cubicBezTo>
                      <a:pt x="239" y="69"/>
                      <a:pt x="234" y="69"/>
                      <a:pt x="234" y="68"/>
                    </a:cubicBezTo>
                    <a:cubicBezTo>
                      <a:pt x="234" y="67"/>
                      <a:pt x="236" y="67"/>
                      <a:pt x="236" y="67"/>
                    </a:cubicBezTo>
                    <a:cubicBezTo>
                      <a:pt x="237" y="66"/>
                      <a:pt x="237" y="67"/>
                      <a:pt x="238" y="67"/>
                    </a:cubicBezTo>
                    <a:cubicBezTo>
                      <a:pt x="237" y="68"/>
                      <a:pt x="240" y="68"/>
                      <a:pt x="240" y="68"/>
                    </a:cubicBezTo>
                    <a:cubicBezTo>
                      <a:pt x="242" y="68"/>
                      <a:pt x="245" y="70"/>
                      <a:pt x="246" y="70"/>
                    </a:cubicBezTo>
                    <a:cubicBezTo>
                      <a:pt x="247" y="70"/>
                      <a:pt x="248" y="71"/>
                      <a:pt x="249" y="71"/>
                    </a:cubicBezTo>
                    <a:cubicBezTo>
                      <a:pt x="251" y="72"/>
                      <a:pt x="250" y="71"/>
                      <a:pt x="251" y="71"/>
                    </a:cubicBezTo>
                    <a:cubicBezTo>
                      <a:pt x="252" y="71"/>
                      <a:pt x="255" y="71"/>
                      <a:pt x="254" y="70"/>
                    </a:cubicBezTo>
                    <a:cubicBezTo>
                      <a:pt x="253" y="69"/>
                      <a:pt x="254" y="67"/>
                      <a:pt x="255" y="66"/>
                    </a:cubicBezTo>
                    <a:cubicBezTo>
                      <a:pt x="255" y="67"/>
                      <a:pt x="258" y="68"/>
                      <a:pt x="258" y="68"/>
                    </a:cubicBezTo>
                    <a:cubicBezTo>
                      <a:pt x="260" y="68"/>
                      <a:pt x="261" y="68"/>
                      <a:pt x="263" y="67"/>
                    </a:cubicBezTo>
                    <a:cubicBezTo>
                      <a:pt x="264" y="66"/>
                      <a:pt x="265" y="64"/>
                      <a:pt x="266" y="63"/>
                    </a:cubicBezTo>
                    <a:cubicBezTo>
                      <a:pt x="267" y="62"/>
                      <a:pt x="269" y="61"/>
                      <a:pt x="268" y="59"/>
                    </a:cubicBezTo>
                    <a:cubicBezTo>
                      <a:pt x="267" y="57"/>
                      <a:pt x="264" y="58"/>
                      <a:pt x="263" y="58"/>
                    </a:cubicBezTo>
                    <a:cubicBezTo>
                      <a:pt x="260" y="58"/>
                      <a:pt x="258" y="57"/>
                      <a:pt x="256" y="56"/>
                    </a:cubicBezTo>
                    <a:cubicBezTo>
                      <a:pt x="255" y="55"/>
                      <a:pt x="254" y="54"/>
                      <a:pt x="252" y="53"/>
                    </a:cubicBezTo>
                    <a:cubicBezTo>
                      <a:pt x="252" y="53"/>
                      <a:pt x="247" y="53"/>
                      <a:pt x="247" y="53"/>
                    </a:cubicBezTo>
                    <a:cubicBezTo>
                      <a:pt x="247" y="52"/>
                      <a:pt x="252" y="53"/>
                      <a:pt x="253" y="53"/>
                    </a:cubicBezTo>
                    <a:cubicBezTo>
                      <a:pt x="255" y="53"/>
                      <a:pt x="255" y="52"/>
                      <a:pt x="257" y="53"/>
                    </a:cubicBezTo>
                    <a:cubicBezTo>
                      <a:pt x="261" y="55"/>
                      <a:pt x="265" y="59"/>
                      <a:pt x="269" y="56"/>
                    </a:cubicBezTo>
                    <a:cubicBezTo>
                      <a:pt x="271" y="54"/>
                      <a:pt x="272" y="53"/>
                      <a:pt x="273" y="51"/>
                    </a:cubicBezTo>
                    <a:cubicBezTo>
                      <a:pt x="274" y="50"/>
                      <a:pt x="268" y="49"/>
                      <a:pt x="271" y="47"/>
                    </a:cubicBezTo>
                    <a:cubicBezTo>
                      <a:pt x="272" y="47"/>
                      <a:pt x="275" y="47"/>
                      <a:pt x="276" y="48"/>
                    </a:cubicBezTo>
                    <a:cubicBezTo>
                      <a:pt x="279" y="48"/>
                      <a:pt x="279" y="50"/>
                      <a:pt x="282" y="48"/>
                    </a:cubicBezTo>
                    <a:cubicBezTo>
                      <a:pt x="282" y="48"/>
                      <a:pt x="285" y="49"/>
                      <a:pt x="284" y="47"/>
                    </a:cubicBezTo>
                    <a:cubicBezTo>
                      <a:pt x="283" y="46"/>
                      <a:pt x="279" y="44"/>
                      <a:pt x="278" y="44"/>
                    </a:cubicBezTo>
                    <a:cubicBezTo>
                      <a:pt x="280" y="43"/>
                      <a:pt x="282" y="45"/>
                      <a:pt x="284" y="45"/>
                    </a:cubicBezTo>
                    <a:cubicBezTo>
                      <a:pt x="285" y="45"/>
                      <a:pt x="287" y="50"/>
                      <a:pt x="289" y="49"/>
                    </a:cubicBezTo>
                    <a:cubicBezTo>
                      <a:pt x="289" y="49"/>
                      <a:pt x="288" y="48"/>
                      <a:pt x="288" y="48"/>
                    </a:cubicBezTo>
                    <a:cubicBezTo>
                      <a:pt x="289" y="47"/>
                      <a:pt x="290" y="47"/>
                      <a:pt x="292" y="46"/>
                    </a:cubicBezTo>
                    <a:cubicBezTo>
                      <a:pt x="293" y="45"/>
                      <a:pt x="296" y="42"/>
                      <a:pt x="297" y="41"/>
                    </a:cubicBezTo>
                    <a:cubicBezTo>
                      <a:pt x="297" y="38"/>
                      <a:pt x="295" y="38"/>
                      <a:pt x="293" y="36"/>
                    </a:cubicBezTo>
                    <a:cubicBezTo>
                      <a:pt x="293" y="36"/>
                      <a:pt x="290" y="30"/>
                      <a:pt x="290" y="31"/>
                    </a:cubicBezTo>
                    <a:cubicBezTo>
                      <a:pt x="291" y="30"/>
                      <a:pt x="295" y="30"/>
                      <a:pt x="296" y="30"/>
                    </a:cubicBezTo>
                    <a:cubicBezTo>
                      <a:pt x="299" y="29"/>
                      <a:pt x="294" y="28"/>
                      <a:pt x="294" y="27"/>
                    </a:cubicBezTo>
                    <a:cubicBezTo>
                      <a:pt x="293" y="26"/>
                      <a:pt x="297" y="26"/>
                      <a:pt x="297" y="25"/>
                    </a:cubicBezTo>
                    <a:cubicBezTo>
                      <a:pt x="297" y="25"/>
                      <a:pt x="287" y="21"/>
                      <a:pt x="287" y="21"/>
                    </a:cubicBezTo>
                    <a:cubicBezTo>
                      <a:pt x="288" y="21"/>
                      <a:pt x="290" y="20"/>
                      <a:pt x="291" y="20"/>
                    </a:cubicBezTo>
                    <a:cubicBezTo>
                      <a:pt x="288" y="20"/>
                      <a:pt x="285" y="19"/>
                      <a:pt x="282" y="19"/>
                    </a:cubicBezTo>
                    <a:cubicBezTo>
                      <a:pt x="280" y="19"/>
                      <a:pt x="277" y="20"/>
                      <a:pt x="276" y="19"/>
                    </a:cubicBezTo>
                    <a:cubicBezTo>
                      <a:pt x="278" y="20"/>
                      <a:pt x="275" y="21"/>
                      <a:pt x="276" y="23"/>
                    </a:cubicBezTo>
                    <a:cubicBezTo>
                      <a:pt x="277" y="24"/>
                      <a:pt x="280" y="25"/>
                      <a:pt x="280" y="26"/>
                    </a:cubicBezTo>
                    <a:cubicBezTo>
                      <a:pt x="280" y="26"/>
                      <a:pt x="278" y="27"/>
                      <a:pt x="278" y="27"/>
                    </a:cubicBezTo>
                    <a:cubicBezTo>
                      <a:pt x="278" y="27"/>
                      <a:pt x="280" y="28"/>
                      <a:pt x="279" y="28"/>
                    </a:cubicBezTo>
                    <a:cubicBezTo>
                      <a:pt x="277" y="29"/>
                      <a:pt x="276" y="27"/>
                      <a:pt x="275" y="31"/>
                    </a:cubicBezTo>
                    <a:cubicBezTo>
                      <a:pt x="274" y="33"/>
                      <a:pt x="274" y="35"/>
                      <a:pt x="273" y="37"/>
                    </a:cubicBezTo>
                    <a:cubicBezTo>
                      <a:pt x="272" y="37"/>
                      <a:pt x="271" y="38"/>
                      <a:pt x="271" y="39"/>
                    </a:cubicBezTo>
                    <a:cubicBezTo>
                      <a:pt x="271" y="40"/>
                      <a:pt x="270" y="40"/>
                      <a:pt x="270" y="41"/>
                    </a:cubicBezTo>
                    <a:cubicBezTo>
                      <a:pt x="267" y="42"/>
                      <a:pt x="268" y="43"/>
                      <a:pt x="266" y="40"/>
                    </a:cubicBezTo>
                    <a:cubicBezTo>
                      <a:pt x="265" y="39"/>
                      <a:pt x="262" y="37"/>
                      <a:pt x="262" y="35"/>
                    </a:cubicBezTo>
                    <a:cubicBezTo>
                      <a:pt x="262" y="35"/>
                      <a:pt x="262" y="32"/>
                      <a:pt x="263" y="32"/>
                    </a:cubicBezTo>
                    <a:cubicBezTo>
                      <a:pt x="263" y="32"/>
                      <a:pt x="265" y="33"/>
                      <a:pt x="265" y="31"/>
                    </a:cubicBezTo>
                    <a:cubicBezTo>
                      <a:pt x="264" y="29"/>
                      <a:pt x="264" y="28"/>
                      <a:pt x="262" y="26"/>
                    </a:cubicBezTo>
                    <a:cubicBezTo>
                      <a:pt x="260" y="25"/>
                      <a:pt x="258" y="23"/>
                      <a:pt x="256" y="25"/>
                    </a:cubicBezTo>
                    <a:cubicBezTo>
                      <a:pt x="255" y="26"/>
                      <a:pt x="255" y="28"/>
                      <a:pt x="255" y="30"/>
                    </a:cubicBezTo>
                    <a:cubicBezTo>
                      <a:pt x="255" y="31"/>
                      <a:pt x="251" y="31"/>
                      <a:pt x="251" y="30"/>
                    </a:cubicBezTo>
                    <a:cubicBezTo>
                      <a:pt x="251" y="29"/>
                      <a:pt x="251" y="26"/>
                      <a:pt x="250" y="25"/>
                    </a:cubicBezTo>
                    <a:cubicBezTo>
                      <a:pt x="246" y="22"/>
                      <a:pt x="251" y="25"/>
                      <a:pt x="251" y="24"/>
                    </a:cubicBezTo>
                    <a:cubicBezTo>
                      <a:pt x="252" y="24"/>
                      <a:pt x="253" y="23"/>
                      <a:pt x="252" y="23"/>
                    </a:cubicBezTo>
                    <a:cubicBezTo>
                      <a:pt x="252" y="22"/>
                      <a:pt x="251" y="21"/>
                      <a:pt x="250" y="22"/>
                    </a:cubicBezTo>
                    <a:cubicBezTo>
                      <a:pt x="249" y="23"/>
                      <a:pt x="249" y="21"/>
                      <a:pt x="248" y="21"/>
                    </a:cubicBezTo>
                    <a:cubicBezTo>
                      <a:pt x="247" y="20"/>
                      <a:pt x="246" y="22"/>
                      <a:pt x="245" y="21"/>
                    </a:cubicBezTo>
                    <a:cubicBezTo>
                      <a:pt x="243" y="20"/>
                      <a:pt x="242" y="21"/>
                      <a:pt x="243" y="18"/>
                    </a:cubicBezTo>
                    <a:cubicBezTo>
                      <a:pt x="243" y="18"/>
                      <a:pt x="243" y="18"/>
                      <a:pt x="244" y="18"/>
                    </a:cubicBezTo>
                    <a:cubicBezTo>
                      <a:pt x="244" y="17"/>
                      <a:pt x="244" y="17"/>
                      <a:pt x="244" y="16"/>
                    </a:cubicBezTo>
                    <a:cubicBezTo>
                      <a:pt x="245" y="16"/>
                      <a:pt x="245" y="16"/>
                      <a:pt x="246" y="16"/>
                    </a:cubicBezTo>
                    <a:cubicBezTo>
                      <a:pt x="245" y="16"/>
                      <a:pt x="244" y="13"/>
                      <a:pt x="244" y="13"/>
                    </a:cubicBezTo>
                    <a:cubicBezTo>
                      <a:pt x="243" y="11"/>
                      <a:pt x="241" y="11"/>
                      <a:pt x="241" y="10"/>
                    </a:cubicBezTo>
                    <a:cubicBezTo>
                      <a:pt x="239" y="9"/>
                      <a:pt x="240" y="9"/>
                      <a:pt x="239" y="7"/>
                    </a:cubicBezTo>
                    <a:cubicBezTo>
                      <a:pt x="239" y="5"/>
                      <a:pt x="237" y="4"/>
                      <a:pt x="237" y="3"/>
                    </a:cubicBezTo>
                    <a:cubicBezTo>
                      <a:pt x="236" y="1"/>
                      <a:pt x="234" y="1"/>
                      <a:pt x="232" y="1"/>
                    </a:cubicBezTo>
                    <a:cubicBezTo>
                      <a:pt x="231" y="1"/>
                      <a:pt x="232" y="0"/>
                      <a:pt x="230" y="0"/>
                    </a:cubicBezTo>
                    <a:cubicBezTo>
                      <a:pt x="229" y="0"/>
                      <a:pt x="228" y="0"/>
                      <a:pt x="228" y="2"/>
                    </a:cubicBezTo>
                    <a:cubicBezTo>
                      <a:pt x="228" y="2"/>
                      <a:pt x="225" y="3"/>
                      <a:pt x="225" y="3"/>
                    </a:cubicBezTo>
                    <a:cubicBezTo>
                      <a:pt x="226" y="3"/>
                      <a:pt x="228" y="3"/>
                      <a:pt x="228" y="4"/>
                    </a:cubicBezTo>
                    <a:cubicBezTo>
                      <a:pt x="228" y="4"/>
                      <a:pt x="226" y="5"/>
                      <a:pt x="226" y="5"/>
                    </a:cubicBezTo>
                    <a:cubicBezTo>
                      <a:pt x="225" y="6"/>
                      <a:pt x="224" y="4"/>
                      <a:pt x="223" y="6"/>
                    </a:cubicBezTo>
                    <a:cubicBezTo>
                      <a:pt x="222" y="6"/>
                      <a:pt x="221" y="9"/>
                      <a:pt x="221" y="10"/>
                    </a:cubicBezTo>
                    <a:cubicBezTo>
                      <a:pt x="222" y="10"/>
                      <a:pt x="224" y="10"/>
                      <a:pt x="225" y="11"/>
                    </a:cubicBezTo>
                    <a:cubicBezTo>
                      <a:pt x="224" y="10"/>
                      <a:pt x="222" y="14"/>
                      <a:pt x="222" y="15"/>
                    </a:cubicBezTo>
                    <a:cubicBezTo>
                      <a:pt x="222" y="16"/>
                      <a:pt x="224" y="18"/>
                      <a:pt x="225" y="19"/>
                    </a:cubicBezTo>
                    <a:cubicBezTo>
                      <a:pt x="226" y="19"/>
                      <a:pt x="228" y="21"/>
                      <a:pt x="229" y="21"/>
                    </a:cubicBezTo>
                    <a:cubicBezTo>
                      <a:pt x="231" y="20"/>
                      <a:pt x="231" y="20"/>
                      <a:pt x="232" y="21"/>
                    </a:cubicBezTo>
                    <a:cubicBezTo>
                      <a:pt x="233" y="21"/>
                      <a:pt x="235" y="23"/>
                      <a:pt x="235" y="23"/>
                    </a:cubicBezTo>
                    <a:cubicBezTo>
                      <a:pt x="234" y="24"/>
                      <a:pt x="233" y="22"/>
                      <a:pt x="233" y="24"/>
                    </a:cubicBezTo>
                    <a:cubicBezTo>
                      <a:pt x="233" y="26"/>
                      <a:pt x="232" y="26"/>
                      <a:pt x="232" y="27"/>
                    </a:cubicBezTo>
                    <a:cubicBezTo>
                      <a:pt x="231" y="29"/>
                      <a:pt x="233" y="29"/>
                      <a:pt x="234" y="28"/>
                    </a:cubicBezTo>
                    <a:cubicBezTo>
                      <a:pt x="234" y="28"/>
                      <a:pt x="236" y="25"/>
                      <a:pt x="236" y="26"/>
                    </a:cubicBezTo>
                    <a:cubicBezTo>
                      <a:pt x="237" y="27"/>
                      <a:pt x="236" y="29"/>
                      <a:pt x="236" y="30"/>
                    </a:cubicBezTo>
                    <a:cubicBezTo>
                      <a:pt x="235" y="31"/>
                      <a:pt x="234" y="31"/>
                      <a:pt x="233" y="31"/>
                    </a:cubicBezTo>
                    <a:cubicBezTo>
                      <a:pt x="233" y="32"/>
                      <a:pt x="233" y="33"/>
                      <a:pt x="232" y="34"/>
                    </a:cubicBezTo>
                    <a:cubicBezTo>
                      <a:pt x="231" y="34"/>
                      <a:pt x="229" y="34"/>
                      <a:pt x="228" y="35"/>
                    </a:cubicBezTo>
                    <a:cubicBezTo>
                      <a:pt x="227" y="35"/>
                      <a:pt x="226" y="37"/>
                      <a:pt x="226" y="37"/>
                    </a:cubicBezTo>
                    <a:cubicBezTo>
                      <a:pt x="227" y="38"/>
                      <a:pt x="228" y="39"/>
                      <a:pt x="228" y="41"/>
                    </a:cubicBezTo>
                    <a:cubicBezTo>
                      <a:pt x="228" y="42"/>
                      <a:pt x="227" y="41"/>
                      <a:pt x="226" y="40"/>
                    </a:cubicBezTo>
                    <a:cubicBezTo>
                      <a:pt x="226" y="40"/>
                      <a:pt x="225" y="40"/>
                      <a:pt x="225" y="41"/>
                    </a:cubicBezTo>
                    <a:cubicBezTo>
                      <a:pt x="224" y="41"/>
                      <a:pt x="222" y="40"/>
                      <a:pt x="222" y="39"/>
                    </a:cubicBezTo>
                    <a:cubicBezTo>
                      <a:pt x="222" y="38"/>
                      <a:pt x="224" y="35"/>
                      <a:pt x="224" y="34"/>
                    </a:cubicBezTo>
                    <a:cubicBezTo>
                      <a:pt x="225" y="32"/>
                      <a:pt x="222" y="34"/>
                      <a:pt x="222" y="34"/>
                    </a:cubicBezTo>
                    <a:cubicBezTo>
                      <a:pt x="221" y="34"/>
                      <a:pt x="218" y="32"/>
                      <a:pt x="217" y="31"/>
                    </a:cubicBezTo>
                    <a:cubicBezTo>
                      <a:pt x="215" y="30"/>
                      <a:pt x="216" y="32"/>
                      <a:pt x="214" y="32"/>
                    </a:cubicBezTo>
                    <a:cubicBezTo>
                      <a:pt x="213" y="32"/>
                      <a:pt x="210" y="31"/>
                      <a:pt x="212" y="33"/>
                    </a:cubicBezTo>
                    <a:cubicBezTo>
                      <a:pt x="213" y="34"/>
                      <a:pt x="213" y="35"/>
                      <a:pt x="215" y="35"/>
                    </a:cubicBezTo>
                    <a:cubicBezTo>
                      <a:pt x="216" y="35"/>
                      <a:pt x="218" y="35"/>
                      <a:pt x="218" y="37"/>
                    </a:cubicBezTo>
                    <a:cubicBezTo>
                      <a:pt x="220" y="41"/>
                      <a:pt x="214" y="36"/>
                      <a:pt x="213" y="35"/>
                    </a:cubicBezTo>
                    <a:cubicBezTo>
                      <a:pt x="211" y="35"/>
                      <a:pt x="211" y="37"/>
                      <a:pt x="209" y="37"/>
                    </a:cubicBezTo>
                    <a:cubicBezTo>
                      <a:pt x="207" y="37"/>
                      <a:pt x="206" y="36"/>
                      <a:pt x="204" y="36"/>
                    </a:cubicBezTo>
                    <a:cubicBezTo>
                      <a:pt x="200" y="37"/>
                      <a:pt x="197" y="37"/>
                      <a:pt x="193" y="37"/>
                    </a:cubicBezTo>
                    <a:cubicBezTo>
                      <a:pt x="190" y="36"/>
                      <a:pt x="186" y="34"/>
                      <a:pt x="182" y="33"/>
                    </a:cubicBezTo>
                    <a:cubicBezTo>
                      <a:pt x="181" y="33"/>
                      <a:pt x="179" y="33"/>
                      <a:pt x="178" y="32"/>
                    </a:cubicBezTo>
                    <a:cubicBezTo>
                      <a:pt x="177" y="30"/>
                      <a:pt x="177" y="28"/>
                      <a:pt x="176" y="28"/>
                    </a:cubicBezTo>
                    <a:cubicBezTo>
                      <a:pt x="174" y="27"/>
                      <a:pt x="172" y="28"/>
                      <a:pt x="171" y="28"/>
                    </a:cubicBezTo>
                    <a:cubicBezTo>
                      <a:pt x="168" y="29"/>
                      <a:pt x="166" y="29"/>
                      <a:pt x="164" y="29"/>
                    </a:cubicBezTo>
                    <a:cubicBezTo>
                      <a:pt x="163" y="30"/>
                      <a:pt x="161" y="31"/>
                      <a:pt x="161" y="32"/>
                    </a:cubicBezTo>
                    <a:cubicBezTo>
                      <a:pt x="161" y="32"/>
                      <a:pt x="165" y="34"/>
                      <a:pt x="166" y="34"/>
                    </a:cubicBezTo>
                    <a:cubicBezTo>
                      <a:pt x="166" y="34"/>
                      <a:pt x="165" y="31"/>
                      <a:pt x="167" y="32"/>
                    </a:cubicBezTo>
                    <a:cubicBezTo>
                      <a:pt x="168" y="32"/>
                      <a:pt x="168" y="33"/>
                      <a:pt x="169" y="32"/>
                    </a:cubicBezTo>
                    <a:cubicBezTo>
                      <a:pt x="170" y="32"/>
                      <a:pt x="176" y="28"/>
                      <a:pt x="176" y="30"/>
                    </a:cubicBezTo>
                    <a:cubicBezTo>
                      <a:pt x="176" y="31"/>
                      <a:pt x="173" y="32"/>
                      <a:pt x="172" y="33"/>
                    </a:cubicBezTo>
                    <a:cubicBezTo>
                      <a:pt x="171" y="34"/>
                      <a:pt x="169" y="34"/>
                      <a:pt x="167" y="34"/>
                    </a:cubicBezTo>
                    <a:cubicBezTo>
                      <a:pt x="166" y="35"/>
                      <a:pt x="163" y="37"/>
                      <a:pt x="165" y="38"/>
                    </a:cubicBezTo>
                    <a:cubicBezTo>
                      <a:pt x="167" y="38"/>
                      <a:pt x="167" y="39"/>
                      <a:pt x="166" y="41"/>
                    </a:cubicBezTo>
                    <a:cubicBezTo>
                      <a:pt x="166" y="42"/>
                      <a:pt x="168" y="42"/>
                      <a:pt x="168" y="43"/>
                    </a:cubicBezTo>
                    <a:cubicBezTo>
                      <a:pt x="169" y="44"/>
                      <a:pt x="169" y="46"/>
                      <a:pt x="167" y="44"/>
                    </a:cubicBezTo>
                    <a:cubicBezTo>
                      <a:pt x="165" y="42"/>
                      <a:pt x="167" y="46"/>
                      <a:pt x="166" y="45"/>
                    </a:cubicBezTo>
                    <a:cubicBezTo>
                      <a:pt x="165" y="45"/>
                      <a:pt x="163" y="42"/>
                      <a:pt x="162" y="43"/>
                    </a:cubicBezTo>
                    <a:cubicBezTo>
                      <a:pt x="164" y="42"/>
                      <a:pt x="167" y="43"/>
                      <a:pt x="164" y="41"/>
                    </a:cubicBezTo>
                    <a:cubicBezTo>
                      <a:pt x="165" y="41"/>
                      <a:pt x="166" y="40"/>
                      <a:pt x="164" y="39"/>
                    </a:cubicBezTo>
                    <a:cubicBezTo>
                      <a:pt x="166" y="40"/>
                      <a:pt x="161" y="40"/>
                      <a:pt x="162" y="40"/>
                    </a:cubicBezTo>
                    <a:cubicBezTo>
                      <a:pt x="162" y="39"/>
                      <a:pt x="162" y="39"/>
                      <a:pt x="163" y="39"/>
                    </a:cubicBezTo>
                    <a:cubicBezTo>
                      <a:pt x="163" y="38"/>
                      <a:pt x="160" y="40"/>
                      <a:pt x="160" y="40"/>
                    </a:cubicBezTo>
                    <a:cubicBezTo>
                      <a:pt x="159" y="40"/>
                      <a:pt x="160" y="38"/>
                      <a:pt x="159" y="37"/>
                    </a:cubicBezTo>
                    <a:cubicBezTo>
                      <a:pt x="159" y="37"/>
                      <a:pt x="157" y="37"/>
                      <a:pt x="157" y="37"/>
                    </a:cubicBezTo>
                    <a:cubicBezTo>
                      <a:pt x="155" y="37"/>
                      <a:pt x="155" y="34"/>
                      <a:pt x="153" y="35"/>
                    </a:cubicBezTo>
                    <a:cubicBezTo>
                      <a:pt x="151" y="37"/>
                      <a:pt x="150" y="37"/>
                      <a:pt x="147" y="37"/>
                    </a:cubicBezTo>
                    <a:cubicBezTo>
                      <a:pt x="143" y="37"/>
                      <a:pt x="140" y="37"/>
                      <a:pt x="136" y="37"/>
                    </a:cubicBezTo>
                    <a:cubicBezTo>
                      <a:pt x="135" y="37"/>
                      <a:pt x="128" y="37"/>
                      <a:pt x="128" y="36"/>
                    </a:cubicBezTo>
                    <a:cubicBezTo>
                      <a:pt x="127" y="36"/>
                      <a:pt x="130" y="34"/>
                      <a:pt x="131" y="33"/>
                    </a:cubicBezTo>
                    <a:cubicBezTo>
                      <a:pt x="132" y="32"/>
                      <a:pt x="133" y="33"/>
                      <a:pt x="135" y="33"/>
                    </a:cubicBezTo>
                    <a:cubicBezTo>
                      <a:pt x="136" y="32"/>
                      <a:pt x="133" y="30"/>
                      <a:pt x="133" y="30"/>
                    </a:cubicBezTo>
                    <a:cubicBezTo>
                      <a:pt x="131" y="28"/>
                      <a:pt x="130" y="28"/>
                      <a:pt x="128" y="27"/>
                    </a:cubicBezTo>
                    <a:cubicBezTo>
                      <a:pt x="127" y="27"/>
                      <a:pt x="126" y="26"/>
                      <a:pt x="125" y="27"/>
                    </a:cubicBezTo>
                    <a:cubicBezTo>
                      <a:pt x="124" y="28"/>
                      <a:pt x="123" y="29"/>
                      <a:pt x="122" y="28"/>
                    </a:cubicBezTo>
                    <a:cubicBezTo>
                      <a:pt x="119" y="26"/>
                      <a:pt x="116" y="26"/>
                      <a:pt x="113" y="25"/>
                    </a:cubicBezTo>
                    <a:cubicBezTo>
                      <a:pt x="109" y="24"/>
                      <a:pt x="106" y="24"/>
                      <a:pt x="102" y="22"/>
                    </a:cubicBezTo>
                    <a:cubicBezTo>
                      <a:pt x="99" y="20"/>
                      <a:pt x="97" y="19"/>
                      <a:pt x="93" y="19"/>
                    </a:cubicBezTo>
                    <a:cubicBezTo>
                      <a:pt x="92" y="19"/>
                      <a:pt x="91" y="19"/>
                      <a:pt x="90" y="20"/>
                    </a:cubicBezTo>
                    <a:cubicBezTo>
                      <a:pt x="89" y="21"/>
                      <a:pt x="88" y="23"/>
                      <a:pt x="87" y="23"/>
                    </a:cubicBezTo>
                    <a:cubicBezTo>
                      <a:pt x="86" y="23"/>
                      <a:pt x="83" y="24"/>
                      <a:pt x="83" y="23"/>
                    </a:cubicBezTo>
                    <a:cubicBezTo>
                      <a:pt x="83" y="22"/>
                      <a:pt x="85" y="21"/>
                      <a:pt x="85" y="20"/>
                    </a:cubicBezTo>
                    <a:cubicBezTo>
                      <a:pt x="85" y="20"/>
                      <a:pt x="82" y="21"/>
                      <a:pt x="82" y="20"/>
                    </a:cubicBezTo>
                    <a:cubicBezTo>
                      <a:pt x="83" y="19"/>
                      <a:pt x="83" y="18"/>
                      <a:pt x="82" y="17"/>
                    </a:cubicBezTo>
                    <a:cubicBezTo>
                      <a:pt x="82" y="15"/>
                      <a:pt x="78" y="17"/>
                      <a:pt x="78" y="18"/>
                    </a:cubicBezTo>
                    <a:cubicBezTo>
                      <a:pt x="78" y="18"/>
                      <a:pt x="80" y="17"/>
                      <a:pt x="80" y="18"/>
                    </a:cubicBezTo>
                    <a:cubicBezTo>
                      <a:pt x="81" y="18"/>
                      <a:pt x="77" y="20"/>
                      <a:pt x="80" y="20"/>
                    </a:cubicBezTo>
                    <a:cubicBezTo>
                      <a:pt x="79" y="20"/>
                      <a:pt x="78" y="20"/>
                      <a:pt x="78" y="22"/>
                    </a:cubicBezTo>
                    <a:cubicBezTo>
                      <a:pt x="78" y="23"/>
                      <a:pt x="77" y="24"/>
                      <a:pt x="76" y="23"/>
                    </a:cubicBezTo>
                    <a:cubicBezTo>
                      <a:pt x="73" y="22"/>
                      <a:pt x="72" y="21"/>
                      <a:pt x="71" y="18"/>
                    </a:cubicBezTo>
                    <a:cubicBezTo>
                      <a:pt x="70" y="16"/>
                      <a:pt x="68" y="15"/>
                      <a:pt x="66" y="13"/>
                    </a:cubicBezTo>
                    <a:cubicBezTo>
                      <a:pt x="65" y="13"/>
                      <a:pt x="64" y="11"/>
                      <a:pt x="63" y="12"/>
                    </a:cubicBezTo>
                    <a:cubicBezTo>
                      <a:pt x="63" y="14"/>
                      <a:pt x="66" y="15"/>
                      <a:pt x="67" y="16"/>
                    </a:cubicBezTo>
                    <a:cubicBezTo>
                      <a:pt x="67" y="15"/>
                      <a:pt x="63" y="16"/>
                      <a:pt x="63" y="17"/>
                    </a:cubicBezTo>
                    <a:cubicBezTo>
                      <a:pt x="62" y="18"/>
                      <a:pt x="63" y="18"/>
                      <a:pt x="62" y="19"/>
                    </a:cubicBezTo>
                    <a:cubicBezTo>
                      <a:pt x="61" y="19"/>
                      <a:pt x="60" y="21"/>
                      <a:pt x="59" y="20"/>
                    </a:cubicBezTo>
                    <a:cubicBezTo>
                      <a:pt x="59" y="20"/>
                      <a:pt x="59" y="19"/>
                      <a:pt x="59" y="19"/>
                    </a:cubicBezTo>
                    <a:cubicBezTo>
                      <a:pt x="59" y="18"/>
                      <a:pt x="54" y="20"/>
                      <a:pt x="54" y="21"/>
                    </a:cubicBezTo>
                    <a:cubicBezTo>
                      <a:pt x="53" y="22"/>
                      <a:pt x="52" y="23"/>
                      <a:pt x="50" y="24"/>
                    </a:cubicBezTo>
                    <a:cubicBezTo>
                      <a:pt x="49" y="25"/>
                      <a:pt x="50" y="22"/>
                      <a:pt x="49" y="22"/>
                    </a:cubicBezTo>
                    <a:cubicBezTo>
                      <a:pt x="48" y="22"/>
                      <a:pt x="47" y="23"/>
                      <a:pt x="46" y="23"/>
                    </a:cubicBezTo>
                    <a:cubicBezTo>
                      <a:pt x="45" y="23"/>
                      <a:pt x="45" y="25"/>
                      <a:pt x="44" y="25"/>
                    </a:cubicBezTo>
                    <a:cubicBezTo>
                      <a:pt x="43" y="25"/>
                      <a:pt x="40" y="27"/>
                      <a:pt x="41" y="27"/>
                    </a:cubicBezTo>
                    <a:cubicBezTo>
                      <a:pt x="41" y="28"/>
                      <a:pt x="43" y="28"/>
                      <a:pt x="40" y="29"/>
                    </a:cubicBezTo>
                    <a:cubicBezTo>
                      <a:pt x="40" y="29"/>
                      <a:pt x="37" y="29"/>
                      <a:pt x="37" y="28"/>
                    </a:cubicBezTo>
                    <a:cubicBezTo>
                      <a:pt x="37" y="27"/>
                      <a:pt x="40" y="26"/>
                      <a:pt x="40" y="26"/>
                    </a:cubicBezTo>
                    <a:cubicBezTo>
                      <a:pt x="41" y="24"/>
                      <a:pt x="43" y="23"/>
                      <a:pt x="44" y="22"/>
                    </a:cubicBezTo>
                    <a:cubicBezTo>
                      <a:pt x="46" y="21"/>
                      <a:pt x="47" y="21"/>
                      <a:pt x="49" y="22"/>
                    </a:cubicBezTo>
                    <a:cubicBezTo>
                      <a:pt x="48" y="22"/>
                      <a:pt x="56" y="18"/>
                      <a:pt x="56" y="18"/>
                    </a:cubicBezTo>
                    <a:cubicBezTo>
                      <a:pt x="58" y="17"/>
                      <a:pt x="57" y="16"/>
                      <a:pt x="56" y="16"/>
                    </a:cubicBezTo>
                    <a:cubicBezTo>
                      <a:pt x="54" y="16"/>
                      <a:pt x="52" y="16"/>
                      <a:pt x="50" y="17"/>
                    </a:cubicBezTo>
                    <a:cubicBezTo>
                      <a:pt x="49" y="17"/>
                      <a:pt x="49" y="19"/>
                      <a:pt x="47" y="19"/>
                    </a:cubicBezTo>
                    <a:cubicBezTo>
                      <a:pt x="46" y="19"/>
                      <a:pt x="44" y="20"/>
                      <a:pt x="43" y="20"/>
                    </a:cubicBezTo>
                    <a:cubicBezTo>
                      <a:pt x="41" y="20"/>
                      <a:pt x="36" y="25"/>
                      <a:pt x="35" y="24"/>
                    </a:cubicBezTo>
                    <a:cubicBezTo>
                      <a:pt x="34" y="24"/>
                      <a:pt x="36" y="23"/>
                      <a:pt x="36" y="22"/>
                    </a:cubicBezTo>
                    <a:cubicBezTo>
                      <a:pt x="36" y="22"/>
                      <a:pt x="33" y="21"/>
                      <a:pt x="33" y="21"/>
                    </a:cubicBezTo>
                    <a:cubicBezTo>
                      <a:pt x="33" y="21"/>
                      <a:pt x="30" y="23"/>
                      <a:pt x="29" y="23"/>
                    </a:cubicBezTo>
                    <a:cubicBezTo>
                      <a:pt x="28" y="23"/>
                      <a:pt x="26" y="24"/>
                      <a:pt x="25" y="25"/>
                    </a:cubicBezTo>
                    <a:cubicBezTo>
                      <a:pt x="24" y="25"/>
                      <a:pt x="26" y="26"/>
                      <a:pt x="26" y="26"/>
                    </a:cubicBezTo>
                    <a:cubicBezTo>
                      <a:pt x="27" y="26"/>
                      <a:pt x="26" y="27"/>
                      <a:pt x="26" y="27"/>
                    </a:cubicBezTo>
                    <a:cubicBezTo>
                      <a:pt x="26" y="28"/>
                      <a:pt x="30" y="27"/>
                      <a:pt x="30" y="27"/>
                    </a:cubicBezTo>
                    <a:cubicBezTo>
                      <a:pt x="31" y="26"/>
                      <a:pt x="33" y="25"/>
                      <a:pt x="34" y="24"/>
                    </a:cubicBezTo>
                    <a:cubicBezTo>
                      <a:pt x="29" y="26"/>
                      <a:pt x="34" y="27"/>
                      <a:pt x="33" y="29"/>
                    </a:cubicBezTo>
                    <a:cubicBezTo>
                      <a:pt x="33" y="29"/>
                      <a:pt x="32" y="28"/>
                      <a:pt x="32" y="28"/>
                    </a:cubicBezTo>
                    <a:cubicBezTo>
                      <a:pt x="30" y="27"/>
                      <a:pt x="29" y="28"/>
                      <a:pt x="28" y="29"/>
                    </a:cubicBezTo>
                    <a:cubicBezTo>
                      <a:pt x="27" y="29"/>
                      <a:pt x="23" y="28"/>
                      <a:pt x="21" y="28"/>
                    </a:cubicBezTo>
                    <a:cubicBezTo>
                      <a:pt x="19" y="28"/>
                      <a:pt x="16" y="26"/>
                      <a:pt x="14" y="25"/>
                    </a:cubicBezTo>
                    <a:cubicBezTo>
                      <a:pt x="13" y="25"/>
                      <a:pt x="12" y="24"/>
                      <a:pt x="11" y="24"/>
                    </a:cubicBezTo>
                    <a:cubicBezTo>
                      <a:pt x="10" y="23"/>
                      <a:pt x="9" y="21"/>
                      <a:pt x="10" y="21"/>
                    </a:cubicBezTo>
                    <a:cubicBezTo>
                      <a:pt x="9" y="21"/>
                      <a:pt x="7" y="21"/>
                      <a:pt x="6" y="22"/>
                    </a:cubicBezTo>
                    <a:cubicBezTo>
                      <a:pt x="4" y="22"/>
                      <a:pt x="2" y="22"/>
                      <a:pt x="0" y="21"/>
                    </a:cubicBezTo>
                    <a:cubicBezTo>
                      <a:pt x="0" y="41"/>
                      <a:pt x="0" y="61"/>
                      <a:pt x="0" y="80"/>
                    </a:cubicBezTo>
                    <a:cubicBezTo>
                      <a:pt x="0" y="85"/>
                      <a:pt x="0" y="89"/>
                      <a:pt x="0" y="94"/>
                    </a:cubicBezTo>
                    <a:cubicBezTo>
                      <a:pt x="0" y="95"/>
                      <a:pt x="0" y="96"/>
                      <a:pt x="0" y="97"/>
                    </a:cubicBezTo>
                    <a:cubicBezTo>
                      <a:pt x="0" y="99"/>
                      <a:pt x="2" y="97"/>
                      <a:pt x="3" y="97"/>
                    </a:cubicBezTo>
                    <a:cubicBezTo>
                      <a:pt x="5" y="98"/>
                      <a:pt x="5" y="97"/>
                      <a:pt x="7" y="97"/>
                    </a:cubicBezTo>
                    <a:cubicBezTo>
                      <a:pt x="9" y="97"/>
                      <a:pt x="9" y="98"/>
                      <a:pt x="10" y="99"/>
                    </a:cubicBezTo>
                    <a:cubicBezTo>
                      <a:pt x="11" y="101"/>
                      <a:pt x="16" y="107"/>
                      <a:pt x="18" y="107"/>
                    </a:cubicBezTo>
                    <a:cubicBezTo>
                      <a:pt x="19" y="107"/>
                      <a:pt x="21" y="106"/>
                      <a:pt x="22" y="105"/>
                    </a:cubicBezTo>
                    <a:cubicBezTo>
                      <a:pt x="23" y="104"/>
                      <a:pt x="22" y="103"/>
                      <a:pt x="23" y="102"/>
                    </a:cubicBezTo>
                    <a:cubicBezTo>
                      <a:pt x="24" y="102"/>
                      <a:pt x="28" y="101"/>
                      <a:pt x="28" y="102"/>
                    </a:cubicBezTo>
                    <a:cubicBezTo>
                      <a:pt x="30" y="104"/>
                      <a:pt x="32" y="105"/>
                      <a:pt x="33" y="107"/>
                    </a:cubicBezTo>
                    <a:cubicBezTo>
                      <a:pt x="35" y="109"/>
                      <a:pt x="37" y="110"/>
                      <a:pt x="38" y="112"/>
                    </a:cubicBezTo>
                    <a:cubicBezTo>
                      <a:pt x="39" y="113"/>
                      <a:pt x="39" y="114"/>
                      <a:pt x="40" y="116"/>
                    </a:cubicBezTo>
                    <a:cubicBezTo>
                      <a:pt x="42" y="118"/>
                      <a:pt x="43" y="122"/>
                      <a:pt x="46" y="124"/>
                    </a:cubicBezTo>
                    <a:cubicBezTo>
                      <a:pt x="48" y="126"/>
                      <a:pt x="52" y="127"/>
                      <a:pt x="54" y="128"/>
                    </a:cubicBezTo>
                    <a:cubicBezTo>
                      <a:pt x="56" y="129"/>
                      <a:pt x="53" y="130"/>
                      <a:pt x="54" y="132"/>
                    </a:cubicBezTo>
                    <a:cubicBezTo>
                      <a:pt x="55" y="132"/>
                      <a:pt x="56" y="132"/>
                      <a:pt x="56" y="133"/>
                    </a:cubicBezTo>
                    <a:cubicBezTo>
                      <a:pt x="56" y="133"/>
                      <a:pt x="55" y="136"/>
                      <a:pt x="56" y="135"/>
                    </a:cubicBezTo>
                    <a:cubicBezTo>
                      <a:pt x="55" y="136"/>
                      <a:pt x="53" y="136"/>
                      <a:pt x="53" y="138"/>
                    </a:cubicBezTo>
                    <a:cubicBezTo>
                      <a:pt x="52" y="139"/>
                      <a:pt x="55" y="141"/>
                      <a:pt x="56" y="141"/>
                    </a:cubicBezTo>
                    <a:cubicBezTo>
                      <a:pt x="56" y="141"/>
                      <a:pt x="54" y="143"/>
                      <a:pt x="54" y="143"/>
                    </a:cubicBezTo>
                    <a:cubicBezTo>
                      <a:pt x="54" y="143"/>
                      <a:pt x="53" y="142"/>
                      <a:pt x="53" y="141"/>
                    </a:cubicBezTo>
                    <a:cubicBezTo>
                      <a:pt x="52" y="141"/>
                      <a:pt x="53" y="143"/>
                      <a:pt x="53" y="143"/>
                    </a:cubicBezTo>
                    <a:cubicBezTo>
                      <a:pt x="54" y="144"/>
                      <a:pt x="53" y="145"/>
                      <a:pt x="54" y="146"/>
                    </a:cubicBezTo>
                    <a:cubicBezTo>
                      <a:pt x="55" y="148"/>
                      <a:pt x="55" y="148"/>
                      <a:pt x="57" y="147"/>
                    </a:cubicBezTo>
                    <a:cubicBezTo>
                      <a:pt x="57" y="147"/>
                      <a:pt x="58" y="147"/>
                      <a:pt x="58" y="147"/>
                    </a:cubicBezTo>
                    <a:cubicBezTo>
                      <a:pt x="59" y="147"/>
                      <a:pt x="59" y="145"/>
                      <a:pt x="59" y="145"/>
                    </a:cubicBezTo>
                    <a:cubicBezTo>
                      <a:pt x="59" y="145"/>
                      <a:pt x="60" y="147"/>
                      <a:pt x="61" y="147"/>
                    </a:cubicBezTo>
                    <a:cubicBezTo>
                      <a:pt x="61" y="147"/>
                      <a:pt x="60" y="149"/>
                      <a:pt x="60" y="150"/>
                    </a:cubicBezTo>
                    <a:cubicBezTo>
                      <a:pt x="59" y="151"/>
                      <a:pt x="59" y="152"/>
                      <a:pt x="61" y="151"/>
                    </a:cubicBezTo>
                    <a:cubicBezTo>
                      <a:pt x="61" y="150"/>
                      <a:pt x="62" y="150"/>
                      <a:pt x="62" y="150"/>
                    </a:cubicBezTo>
                    <a:cubicBezTo>
                      <a:pt x="63" y="150"/>
                      <a:pt x="63" y="149"/>
                      <a:pt x="63" y="149"/>
                    </a:cubicBezTo>
                    <a:cubicBezTo>
                      <a:pt x="65" y="148"/>
                      <a:pt x="64" y="151"/>
                      <a:pt x="64" y="152"/>
                    </a:cubicBezTo>
                    <a:cubicBezTo>
                      <a:pt x="64" y="153"/>
                      <a:pt x="65" y="154"/>
                      <a:pt x="66" y="154"/>
                    </a:cubicBezTo>
                    <a:cubicBezTo>
                      <a:pt x="67" y="154"/>
                      <a:pt x="68" y="152"/>
                      <a:pt x="69" y="152"/>
                    </a:cubicBezTo>
                    <a:cubicBezTo>
                      <a:pt x="69" y="152"/>
                      <a:pt x="68" y="153"/>
                      <a:pt x="68" y="153"/>
                    </a:cubicBezTo>
                    <a:cubicBezTo>
                      <a:pt x="68" y="153"/>
                      <a:pt x="70" y="154"/>
                      <a:pt x="70" y="154"/>
                    </a:cubicBezTo>
                    <a:cubicBezTo>
                      <a:pt x="70" y="154"/>
                      <a:pt x="63" y="156"/>
                      <a:pt x="66" y="158"/>
                    </a:cubicBezTo>
                    <a:cubicBezTo>
                      <a:pt x="66" y="158"/>
                      <a:pt x="72" y="157"/>
                      <a:pt x="71" y="158"/>
                    </a:cubicBezTo>
                    <a:cubicBezTo>
                      <a:pt x="71" y="158"/>
                      <a:pt x="66" y="158"/>
                      <a:pt x="67" y="160"/>
                    </a:cubicBezTo>
                    <a:cubicBezTo>
                      <a:pt x="67" y="160"/>
                      <a:pt x="69" y="160"/>
                      <a:pt x="69" y="160"/>
                    </a:cubicBezTo>
                    <a:cubicBezTo>
                      <a:pt x="68" y="161"/>
                      <a:pt x="66" y="161"/>
                      <a:pt x="67" y="162"/>
                    </a:cubicBezTo>
                    <a:cubicBezTo>
                      <a:pt x="69" y="163"/>
                      <a:pt x="71" y="163"/>
                      <a:pt x="72" y="163"/>
                    </a:cubicBezTo>
                    <a:cubicBezTo>
                      <a:pt x="74" y="163"/>
                      <a:pt x="73" y="164"/>
                      <a:pt x="74" y="164"/>
                    </a:cubicBezTo>
                    <a:cubicBezTo>
                      <a:pt x="76" y="165"/>
                      <a:pt x="76" y="162"/>
                      <a:pt x="77" y="162"/>
                    </a:cubicBezTo>
                    <a:cubicBezTo>
                      <a:pt x="78" y="162"/>
                      <a:pt x="77" y="164"/>
                      <a:pt x="77" y="164"/>
                    </a:cubicBezTo>
                    <a:cubicBezTo>
                      <a:pt x="76" y="165"/>
                      <a:pt x="76" y="165"/>
                      <a:pt x="77" y="166"/>
                    </a:cubicBezTo>
                    <a:cubicBezTo>
                      <a:pt x="80" y="168"/>
                      <a:pt x="81" y="163"/>
                      <a:pt x="81" y="163"/>
                    </a:cubicBezTo>
                    <a:cubicBezTo>
                      <a:pt x="81" y="163"/>
                      <a:pt x="81" y="166"/>
                      <a:pt x="80" y="166"/>
                    </a:cubicBezTo>
                    <a:cubicBezTo>
                      <a:pt x="80" y="167"/>
                      <a:pt x="82" y="166"/>
                      <a:pt x="83" y="166"/>
                    </a:cubicBezTo>
                    <a:cubicBezTo>
                      <a:pt x="82" y="168"/>
                      <a:pt x="81" y="169"/>
                      <a:pt x="83" y="170"/>
                    </a:cubicBezTo>
                    <a:cubicBezTo>
                      <a:pt x="85" y="171"/>
                      <a:pt x="86" y="168"/>
                      <a:pt x="86" y="168"/>
                    </a:cubicBezTo>
                    <a:cubicBezTo>
                      <a:pt x="86" y="168"/>
                      <a:pt x="86" y="169"/>
                      <a:pt x="86" y="170"/>
                    </a:cubicBezTo>
                    <a:cubicBezTo>
                      <a:pt x="87" y="172"/>
                      <a:pt x="86" y="171"/>
                      <a:pt x="85" y="171"/>
                    </a:cubicBezTo>
                    <a:cubicBezTo>
                      <a:pt x="84" y="172"/>
                      <a:pt x="90" y="173"/>
                      <a:pt x="89" y="171"/>
                    </a:cubicBezTo>
                    <a:cubicBezTo>
                      <a:pt x="91" y="174"/>
                      <a:pt x="90" y="176"/>
                      <a:pt x="94" y="176"/>
                    </a:cubicBezTo>
                    <a:cubicBezTo>
                      <a:pt x="97" y="176"/>
                      <a:pt x="99" y="176"/>
                      <a:pt x="102" y="176"/>
                    </a:cubicBezTo>
                    <a:cubicBezTo>
                      <a:pt x="113" y="176"/>
                      <a:pt x="123" y="176"/>
                      <a:pt x="133" y="176"/>
                    </a:cubicBezTo>
                    <a:cubicBezTo>
                      <a:pt x="158" y="176"/>
                      <a:pt x="183" y="176"/>
                      <a:pt x="208" y="176"/>
                    </a:cubicBezTo>
                    <a:cubicBezTo>
                      <a:pt x="213" y="176"/>
                      <a:pt x="218" y="176"/>
                      <a:pt x="223" y="176"/>
                    </a:cubicBezTo>
                    <a:cubicBezTo>
                      <a:pt x="224" y="176"/>
                      <a:pt x="229" y="177"/>
                      <a:pt x="229" y="174"/>
                    </a:cubicBezTo>
                    <a:close/>
                    <a:moveTo>
                      <a:pt x="112" y="54"/>
                    </a:moveTo>
                    <a:cubicBezTo>
                      <a:pt x="110" y="54"/>
                      <a:pt x="108" y="53"/>
                      <a:pt x="106" y="54"/>
                    </a:cubicBezTo>
                    <a:cubicBezTo>
                      <a:pt x="104" y="57"/>
                      <a:pt x="108" y="56"/>
                      <a:pt x="108" y="57"/>
                    </a:cubicBezTo>
                    <a:cubicBezTo>
                      <a:pt x="108" y="56"/>
                      <a:pt x="100" y="60"/>
                      <a:pt x="100" y="60"/>
                    </a:cubicBezTo>
                    <a:cubicBezTo>
                      <a:pt x="98" y="59"/>
                      <a:pt x="107" y="53"/>
                      <a:pt x="99" y="56"/>
                    </a:cubicBezTo>
                    <a:cubicBezTo>
                      <a:pt x="98" y="56"/>
                      <a:pt x="97" y="57"/>
                      <a:pt x="97" y="57"/>
                    </a:cubicBezTo>
                    <a:cubicBezTo>
                      <a:pt x="96" y="58"/>
                      <a:pt x="97" y="59"/>
                      <a:pt x="96" y="60"/>
                    </a:cubicBezTo>
                    <a:cubicBezTo>
                      <a:pt x="95" y="60"/>
                      <a:pt x="88" y="59"/>
                      <a:pt x="88" y="59"/>
                    </a:cubicBezTo>
                    <a:cubicBezTo>
                      <a:pt x="88" y="58"/>
                      <a:pt x="91" y="59"/>
                      <a:pt x="91" y="58"/>
                    </a:cubicBezTo>
                    <a:cubicBezTo>
                      <a:pt x="92" y="57"/>
                      <a:pt x="91" y="57"/>
                      <a:pt x="92" y="56"/>
                    </a:cubicBezTo>
                    <a:cubicBezTo>
                      <a:pt x="92" y="55"/>
                      <a:pt x="94" y="54"/>
                      <a:pt x="94" y="54"/>
                    </a:cubicBezTo>
                    <a:cubicBezTo>
                      <a:pt x="94" y="53"/>
                      <a:pt x="91" y="52"/>
                      <a:pt x="94" y="52"/>
                    </a:cubicBezTo>
                    <a:cubicBezTo>
                      <a:pt x="94" y="52"/>
                      <a:pt x="98" y="53"/>
                      <a:pt x="98" y="52"/>
                    </a:cubicBezTo>
                    <a:cubicBezTo>
                      <a:pt x="98" y="51"/>
                      <a:pt x="93" y="50"/>
                      <a:pt x="92" y="50"/>
                    </a:cubicBezTo>
                    <a:cubicBezTo>
                      <a:pt x="91" y="50"/>
                      <a:pt x="89" y="51"/>
                      <a:pt x="87" y="51"/>
                    </a:cubicBezTo>
                    <a:cubicBezTo>
                      <a:pt x="86" y="51"/>
                      <a:pt x="84" y="50"/>
                      <a:pt x="82" y="51"/>
                    </a:cubicBezTo>
                    <a:cubicBezTo>
                      <a:pt x="81" y="51"/>
                      <a:pt x="79" y="53"/>
                      <a:pt x="80" y="51"/>
                    </a:cubicBezTo>
                    <a:cubicBezTo>
                      <a:pt x="81" y="49"/>
                      <a:pt x="83" y="50"/>
                      <a:pt x="84" y="49"/>
                    </a:cubicBezTo>
                    <a:cubicBezTo>
                      <a:pt x="86" y="49"/>
                      <a:pt x="89" y="48"/>
                      <a:pt x="91" y="47"/>
                    </a:cubicBezTo>
                    <a:cubicBezTo>
                      <a:pt x="95" y="46"/>
                      <a:pt x="99" y="46"/>
                      <a:pt x="102" y="44"/>
                    </a:cubicBezTo>
                    <a:cubicBezTo>
                      <a:pt x="104" y="44"/>
                      <a:pt x="107" y="43"/>
                      <a:pt x="108" y="45"/>
                    </a:cubicBezTo>
                    <a:cubicBezTo>
                      <a:pt x="109" y="46"/>
                      <a:pt x="105" y="47"/>
                      <a:pt x="104" y="48"/>
                    </a:cubicBezTo>
                    <a:cubicBezTo>
                      <a:pt x="102" y="49"/>
                      <a:pt x="110" y="49"/>
                      <a:pt x="111" y="49"/>
                    </a:cubicBezTo>
                    <a:cubicBezTo>
                      <a:pt x="111" y="49"/>
                      <a:pt x="113" y="49"/>
                      <a:pt x="113" y="49"/>
                    </a:cubicBezTo>
                    <a:cubicBezTo>
                      <a:pt x="114" y="48"/>
                      <a:pt x="116" y="46"/>
                      <a:pt x="117" y="47"/>
                    </a:cubicBezTo>
                    <a:cubicBezTo>
                      <a:pt x="118" y="48"/>
                      <a:pt x="113" y="54"/>
                      <a:pt x="112" y="54"/>
                    </a:cubicBezTo>
                    <a:cubicBezTo>
                      <a:pt x="110" y="54"/>
                      <a:pt x="114" y="54"/>
                      <a:pt x="112" y="54"/>
                    </a:cubicBezTo>
                    <a:close/>
                    <a:moveTo>
                      <a:pt x="157" y="78"/>
                    </a:moveTo>
                    <a:cubicBezTo>
                      <a:pt x="157" y="78"/>
                      <a:pt x="152" y="78"/>
                      <a:pt x="153" y="78"/>
                    </a:cubicBezTo>
                    <a:cubicBezTo>
                      <a:pt x="153" y="79"/>
                      <a:pt x="155" y="78"/>
                      <a:pt x="155" y="79"/>
                    </a:cubicBezTo>
                    <a:cubicBezTo>
                      <a:pt x="155" y="80"/>
                      <a:pt x="151" y="81"/>
                      <a:pt x="150" y="81"/>
                    </a:cubicBezTo>
                    <a:cubicBezTo>
                      <a:pt x="148" y="81"/>
                      <a:pt x="147" y="83"/>
                      <a:pt x="145" y="84"/>
                    </a:cubicBezTo>
                    <a:cubicBezTo>
                      <a:pt x="145" y="84"/>
                      <a:pt x="141" y="84"/>
                      <a:pt x="142" y="85"/>
                    </a:cubicBezTo>
                    <a:cubicBezTo>
                      <a:pt x="142" y="86"/>
                      <a:pt x="145" y="86"/>
                      <a:pt x="142" y="88"/>
                    </a:cubicBezTo>
                    <a:cubicBezTo>
                      <a:pt x="141" y="88"/>
                      <a:pt x="137" y="88"/>
                      <a:pt x="137" y="89"/>
                    </a:cubicBezTo>
                    <a:cubicBezTo>
                      <a:pt x="136" y="89"/>
                      <a:pt x="137" y="90"/>
                      <a:pt x="137" y="90"/>
                    </a:cubicBezTo>
                    <a:cubicBezTo>
                      <a:pt x="137" y="92"/>
                      <a:pt x="135" y="92"/>
                      <a:pt x="134" y="92"/>
                    </a:cubicBezTo>
                    <a:cubicBezTo>
                      <a:pt x="131" y="93"/>
                      <a:pt x="128" y="93"/>
                      <a:pt x="125" y="93"/>
                    </a:cubicBezTo>
                    <a:cubicBezTo>
                      <a:pt x="125" y="93"/>
                      <a:pt x="120" y="90"/>
                      <a:pt x="120" y="90"/>
                    </a:cubicBezTo>
                    <a:cubicBezTo>
                      <a:pt x="122" y="89"/>
                      <a:pt x="125" y="90"/>
                      <a:pt x="126" y="89"/>
                    </a:cubicBezTo>
                    <a:cubicBezTo>
                      <a:pt x="127" y="89"/>
                      <a:pt x="126" y="87"/>
                      <a:pt x="127" y="87"/>
                    </a:cubicBezTo>
                    <a:cubicBezTo>
                      <a:pt x="128" y="85"/>
                      <a:pt x="130" y="86"/>
                      <a:pt x="131" y="85"/>
                    </a:cubicBezTo>
                    <a:cubicBezTo>
                      <a:pt x="132" y="85"/>
                      <a:pt x="130" y="83"/>
                      <a:pt x="130" y="83"/>
                    </a:cubicBezTo>
                    <a:cubicBezTo>
                      <a:pt x="128" y="82"/>
                      <a:pt x="128" y="82"/>
                      <a:pt x="128" y="81"/>
                    </a:cubicBezTo>
                    <a:cubicBezTo>
                      <a:pt x="128" y="79"/>
                      <a:pt x="126" y="80"/>
                      <a:pt x="126" y="79"/>
                    </a:cubicBezTo>
                    <a:cubicBezTo>
                      <a:pt x="125" y="78"/>
                      <a:pt x="128" y="79"/>
                      <a:pt x="128" y="79"/>
                    </a:cubicBezTo>
                    <a:cubicBezTo>
                      <a:pt x="131" y="80"/>
                      <a:pt x="134" y="81"/>
                      <a:pt x="136" y="82"/>
                    </a:cubicBezTo>
                    <a:cubicBezTo>
                      <a:pt x="138" y="84"/>
                      <a:pt x="142" y="83"/>
                      <a:pt x="144" y="82"/>
                    </a:cubicBezTo>
                    <a:cubicBezTo>
                      <a:pt x="147" y="81"/>
                      <a:pt x="148" y="78"/>
                      <a:pt x="152" y="77"/>
                    </a:cubicBezTo>
                    <a:cubicBezTo>
                      <a:pt x="153" y="76"/>
                      <a:pt x="155" y="76"/>
                      <a:pt x="157" y="77"/>
                    </a:cubicBezTo>
                    <a:cubicBezTo>
                      <a:pt x="157" y="77"/>
                      <a:pt x="160" y="78"/>
                      <a:pt x="160" y="78"/>
                    </a:cubicBezTo>
                    <a:cubicBezTo>
                      <a:pt x="160" y="78"/>
                      <a:pt x="158" y="78"/>
                      <a:pt x="157" y="78"/>
                    </a:cubicBezTo>
                    <a:close/>
                    <a:moveTo>
                      <a:pt x="222" y="165"/>
                    </a:moveTo>
                    <a:cubicBezTo>
                      <a:pt x="221" y="167"/>
                      <a:pt x="219" y="163"/>
                      <a:pt x="219" y="162"/>
                    </a:cubicBezTo>
                    <a:cubicBezTo>
                      <a:pt x="219" y="160"/>
                      <a:pt x="221" y="159"/>
                      <a:pt x="221" y="157"/>
                    </a:cubicBezTo>
                    <a:cubicBezTo>
                      <a:pt x="220" y="156"/>
                      <a:pt x="219" y="159"/>
                      <a:pt x="218" y="158"/>
                    </a:cubicBezTo>
                    <a:cubicBezTo>
                      <a:pt x="218" y="157"/>
                      <a:pt x="218" y="154"/>
                      <a:pt x="216" y="154"/>
                    </a:cubicBezTo>
                    <a:cubicBezTo>
                      <a:pt x="216" y="154"/>
                      <a:pt x="216" y="156"/>
                      <a:pt x="215" y="156"/>
                    </a:cubicBezTo>
                    <a:cubicBezTo>
                      <a:pt x="214" y="155"/>
                      <a:pt x="214" y="154"/>
                      <a:pt x="213" y="153"/>
                    </a:cubicBezTo>
                    <a:cubicBezTo>
                      <a:pt x="212" y="152"/>
                      <a:pt x="211" y="151"/>
                      <a:pt x="210" y="150"/>
                    </a:cubicBezTo>
                    <a:cubicBezTo>
                      <a:pt x="209" y="149"/>
                      <a:pt x="212" y="149"/>
                      <a:pt x="212" y="148"/>
                    </a:cubicBezTo>
                    <a:cubicBezTo>
                      <a:pt x="211" y="147"/>
                      <a:pt x="209" y="148"/>
                      <a:pt x="209" y="147"/>
                    </a:cubicBezTo>
                    <a:cubicBezTo>
                      <a:pt x="209" y="146"/>
                      <a:pt x="210" y="143"/>
                      <a:pt x="210" y="142"/>
                    </a:cubicBezTo>
                    <a:cubicBezTo>
                      <a:pt x="212" y="140"/>
                      <a:pt x="217" y="147"/>
                      <a:pt x="217" y="148"/>
                    </a:cubicBezTo>
                    <a:cubicBezTo>
                      <a:pt x="218" y="150"/>
                      <a:pt x="219" y="151"/>
                      <a:pt x="219" y="153"/>
                    </a:cubicBezTo>
                    <a:cubicBezTo>
                      <a:pt x="220" y="155"/>
                      <a:pt x="220" y="154"/>
                      <a:pt x="221" y="156"/>
                    </a:cubicBezTo>
                    <a:cubicBezTo>
                      <a:pt x="221" y="157"/>
                      <a:pt x="222" y="158"/>
                      <a:pt x="222" y="159"/>
                    </a:cubicBezTo>
                    <a:cubicBezTo>
                      <a:pt x="223" y="161"/>
                      <a:pt x="222" y="163"/>
                      <a:pt x="222" y="165"/>
                    </a:cubicBezTo>
                    <a:cubicBezTo>
                      <a:pt x="221" y="166"/>
                      <a:pt x="222" y="164"/>
                      <a:pt x="222" y="16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6" name="Freeform 643">
                <a:extLst>
                  <a:ext uri="{FF2B5EF4-FFF2-40B4-BE49-F238E27FC236}">
                    <a16:creationId xmlns:a16="http://schemas.microsoft.com/office/drawing/2014/main" id="{659B0C1E-5DEA-644E-9411-3E1BFDD27B53}"/>
                  </a:ext>
                </a:extLst>
              </p:cNvPr>
              <p:cNvSpPr>
                <a:spLocks/>
              </p:cNvSpPr>
              <p:nvPr/>
            </p:nvSpPr>
            <p:spPr bwMode="auto">
              <a:xfrm>
                <a:off x="17343512" y="9466307"/>
                <a:ext cx="95541" cy="82827"/>
              </a:xfrm>
              <a:custGeom>
                <a:avLst/>
                <a:gdLst>
                  <a:gd name="T0" fmla="*/ 9 w 10"/>
                  <a:gd name="T1" fmla="*/ 0 h 9"/>
                  <a:gd name="T2" fmla="*/ 2 w 10"/>
                  <a:gd name="T3" fmla="*/ 7 h 9"/>
                  <a:gd name="T4" fmla="*/ 10 w 10"/>
                  <a:gd name="T5" fmla="*/ 3 h 9"/>
                  <a:gd name="T6" fmla="*/ 9 w 10"/>
                  <a:gd name="T7" fmla="*/ 0 h 9"/>
                </a:gdLst>
                <a:ahLst/>
                <a:cxnLst>
                  <a:cxn ang="0">
                    <a:pos x="T0" y="T1"/>
                  </a:cxn>
                  <a:cxn ang="0">
                    <a:pos x="T2" y="T3"/>
                  </a:cxn>
                  <a:cxn ang="0">
                    <a:pos x="T4" y="T5"/>
                  </a:cxn>
                  <a:cxn ang="0">
                    <a:pos x="T6" y="T7"/>
                  </a:cxn>
                </a:cxnLst>
                <a:rect l="0" t="0" r="r" b="b"/>
                <a:pathLst>
                  <a:path w="10" h="9">
                    <a:moveTo>
                      <a:pt x="9" y="0"/>
                    </a:moveTo>
                    <a:cubicBezTo>
                      <a:pt x="7" y="1"/>
                      <a:pt x="0" y="4"/>
                      <a:pt x="2" y="7"/>
                    </a:cubicBezTo>
                    <a:cubicBezTo>
                      <a:pt x="4" y="9"/>
                      <a:pt x="9" y="3"/>
                      <a:pt x="10" y="3"/>
                    </a:cubicBezTo>
                    <a:cubicBezTo>
                      <a:pt x="10" y="2"/>
                      <a:pt x="9" y="1"/>
                      <a:pt x="9"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7" name="Freeform 644">
                <a:extLst>
                  <a:ext uri="{FF2B5EF4-FFF2-40B4-BE49-F238E27FC236}">
                    <a16:creationId xmlns:a16="http://schemas.microsoft.com/office/drawing/2014/main" id="{94B87D21-B828-784D-B2EF-517344F18FEF}"/>
                  </a:ext>
                </a:extLst>
              </p:cNvPr>
              <p:cNvSpPr>
                <a:spLocks/>
              </p:cNvSpPr>
              <p:nvPr/>
            </p:nvSpPr>
            <p:spPr bwMode="auto">
              <a:xfrm>
                <a:off x="17419944" y="9447193"/>
                <a:ext cx="121018" cy="44598"/>
              </a:xfrm>
              <a:custGeom>
                <a:avLst/>
                <a:gdLst>
                  <a:gd name="T0" fmla="*/ 12 w 13"/>
                  <a:gd name="T1" fmla="*/ 0 h 5"/>
                  <a:gd name="T2" fmla="*/ 7 w 13"/>
                  <a:gd name="T3" fmla="*/ 0 h 5"/>
                  <a:gd name="T4" fmla="*/ 1 w 13"/>
                  <a:gd name="T5" fmla="*/ 2 h 5"/>
                  <a:gd name="T6" fmla="*/ 5 w 13"/>
                  <a:gd name="T7" fmla="*/ 3 h 5"/>
                  <a:gd name="T8" fmla="*/ 12 w 13"/>
                  <a:gd name="T9" fmla="*/ 0 h 5"/>
                </a:gdLst>
                <a:ahLst/>
                <a:cxnLst>
                  <a:cxn ang="0">
                    <a:pos x="T0" y="T1"/>
                  </a:cxn>
                  <a:cxn ang="0">
                    <a:pos x="T2" y="T3"/>
                  </a:cxn>
                  <a:cxn ang="0">
                    <a:pos x="T4" y="T5"/>
                  </a:cxn>
                  <a:cxn ang="0">
                    <a:pos x="T6" y="T7"/>
                  </a:cxn>
                  <a:cxn ang="0">
                    <a:pos x="T8" y="T9"/>
                  </a:cxn>
                </a:cxnLst>
                <a:rect l="0" t="0" r="r" b="b"/>
                <a:pathLst>
                  <a:path w="13" h="5">
                    <a:moveTo>
                      <a:pt x="12" y="0"/>
                    </a:moveTo>
                    <a:cubicBezTo>
                      <a:pt x="13" y="0"/>
                      <a:pt x="7" y="0"/>
                      <a:pt x="7" y="0"/>
                    </a:cubicBezTo>
                    <a:cubicBezTo>
                      <a:pt x="6" y="0"/>
                      <a:pt x="0" y="1"/>
                      <a:pt x="1" y="2"/>
                    </a:cubicBezTo>
                    <a:cubicBezTo>
                      <a:pt x="3" y="5"/>
                      <a:pt x="2" y="5"/>
                      <a:pt x="5" y="3"/>
                    </a:cubicBezTo>
                    <a:cubicBezTo>
                      <a:pt x="8" y="2"/>
                      <a:pt x="10" y="2"/>
                      <a:pt x="1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8" name="Freeform 645">
                <a:extLst>
                  <a:ext uri="{FF2B5EF4-FFF2-40B4-BE49-F238E27FC236}">
                    <a16:creationId xmlns:a16="http://schemas.microsoft.com/office/drawing/2014/main" id="{40B9011B-C256-6547-AE72-448FC2371E44}"/>
                  </a:ext>
                </a:extLst>
              </p:cNvPr>
              <p:cNvSpPr>
                <a:spLocks/>
              </p:cNvSpPr>
              <p:nvPr/>
            </p:nvSpPr>
            <p:spPr bwMode="auto">
              <a:xfrm>
                <a:off x="12273444" y="6414553"/>
                <a:ext cx="289811" cy="159279"/>
              </a:xfrm>
              <a:custGeom>
                <a:avLst/>
                <a:gdLst>
                  <a:gd name="T0" fmla="*/ 10 w 31"/>
                  <a:gd name="T1" fmla="*/ 17 h 17"/>
                  <a:gd name="T2" fmla="*/ 13 w 31"/>
                  <a:gd name="T3" fmla="*/ 14 h 17"/>
                  <a:gd name="T4" fmla="*/ 18 w 31"/>
                  <a:gd name="T5" fmla="*/ 16 h 17"/>
                  <a:gd name="T6" fmla="*/ 21 w 31"/>
                  <a:gd name="T7" fmla="*/ 16 h 17"/>
                  <a:gd name="T8" fmla="*/ 23 w 31"/>
                  <a:gd name="T9" fmla="*/ 15 h 17"/>
                  <a:gd name="T10" fmla="*/ 29 w 31"/>
                  <a:gd name="T11" fmla="*/ 11 h 17"/>
                  <a:gd name="T12" fmla="*/ 27 w 31"/>
                  <a:gd name="T13" fmla="*/ 7 h 17"/>
                  <a:gd name="T14" fmla="*/ 21 w 31"/>
                  <a:gd name="T15" fmla="*/ 5 h 17"/>
                  <a:gd name="T16" fmla="*/ 17 w 31"/>
                  <a:gd name="T17" fmla="*/ 3 h 17"/>
                  <a:gd name="T18" fmla="*/ 13 w 31"/>
                  <a:gd name="T19" fmla="*/ 0 h 17"/>
                  <a:gd name="T20" fmla="*/ 11 w 31"/>
                  <a:gd name="T21" fmla="*/ 2 h 17"/>
                  <a:gd name="T22" fmla="*/ 8 w 31"/>
                  <a:gd name="T23" fmla="*/ 2 h 17"/>
                  <a:gd name="T24" fmla="*/ 0 w 31"/>
                  <a:gd name="T25" fmla="*/ 6 h 17"/>
                  <a:gd name="T26" fmla="*/ 2 w 31"/>
                  <a:gd name="T27" fmla="*/ 10 h 17"/>
                  <a:gd name="T28" fmla="*/ 4 w 31"/>
                  <a:gd name="T29" fmla="*/ 13 h 17"/>
                  <a:gd name="T30" fmla="*/ 10 w 31"/>
                  <a:gd name="T31"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7">
                    <a:moveTo>
                      <a:pt x="10" y="17"/>
                    </a:moveTo>
                    <a:cubicBezTo>
                      <a:pt x="12" y="17"/>
                      <a:pt x="11" y="14"/>
                      <a:pt x="13" y="14"/>
                    </a:cubicBezTo>
                    <a:cubicBezTo>
                      <a:pt x="15" y="14"/>
                      <a:pt x="16" y="16"/>
                      <a:pt x="18" y="16"/>
                    </a:cubicBezTo>
                    <a:cubicBezTo>
                      <a:pt x="19" y="16"/>
                      <a:pt x="20" y="16"/>
                      <a:pt x="21" y="16"/>
                    </a:cubicBezTo>
                    <a:cubicBezTo>
                      <a:pt x="22" y="16"/>
                      <a:pt x="23" y="15"/>
                      <a:pt x="23" y="15"/>
                    </a:cubicBezTo>
                    <a:cubicBezTo>
                      <a:pt x="26" y="14"/>
                      <a:pt x="27" y="13"/>
                      <a:pt x="29" y="11"/>
                    </a:cubicBezTo>
                    <a:cubicBezTo>
                      <a:pt x="31" y="9"/>
                      <a:pt x="29" y="8"/>
                      <a:pt x="27" y="7"/>
                    </a:cubicBezTo>
                    <a:cubicBezTo>
                      <a:pt x="25" y="6"/>
                      <a:pt x="22" y="3"/>
                      <a:pt x="21" y="5"/>
                    </a:cubicBezTo>
                    <a:cubicBezTo>
                      <a:pt x="19" y="8"/>
                      <a:pt x="18" y="4"/>
                      <a:pt x="17" y="3"/>
                    </a:cubicBezTo>
                    <a:cubicBezTo>
                      <a:pt x="16" y="2"/>
                      <a:pt x="13" y="3"/>
                      <a:pt x="13" y="0"/>
                    </a:cubicBezTo>
                    <a:cubicBezTo>
                      <a:pt x="13" y="1"/>
                      <a:pt x="12" y="3"/>
                      <a:pt x="11" y="2"/>
                    </a:cubicBezTo>
                    <a:cubicBezTo>
                      <a:pt x="9" y="0"/>
                      <a:pt x="9" y="0"/>
                      <a:pt x="8" y="2"/>
                    </a:cubicBezTo>
                    <a:cubicBezTo>
                      <a:pt x="7" y="3"/>
                      <a:pt x="0" y="5"/>
                      <a:pt x="0" y="6"/>
                    </a:cubicBezTo>
                    <a:cubicBezTo>
                      <a:pt x="0" y="6"/>
                      <a:pt x="1" y="9"/>
                      <a:pt x="2" y="10"/>
                    </a:cubicBezTo>
                    <a:cubicBezTo>
                      <a:pt x="2" y="11"/>
                      <a:pt x="3" y="12"/>
                      <a:pt x="4" y="13"/>
                    </a:cubicBezTo>
                    <a:cubicBezTo>
                      <a:pt x="6" y="14"/>
                      <a:pt x="8" y="17"/>
                      <a:pt x="10"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69" name="Freeform 646">
                <a:extLst>
                  <a:ext uri="{FF2B5EF4-FFF2-40B4-BE49-F238E27FC236}">
                    <a16:creationId xmlns:a16="http://schemas.microsoft.com/office/drawing/2014/main" id="{EE33EBCE-DA9D-244D-BBF8-DEE084096B31}"/>
                  </a:ext>
                </a:extLst>
              </p:cNvPr>
              <p:cNvSpPr>
                <a:spLocks/>
              </p:cNvSpPr>
              <p:nvPr/>
            </p:nvSpPr>
            <p:spPr bwMode="auto">
              <a:xfrm>
                <a:off x="12142870" y="6545160"/>
                <a:ext cx="347132" cy="149721"/>
              </a:xfrm>
              <a:custGeom>
                <a:avLst/>
                <a:gdLst>
                  <a:gd name="T0" fmla="*/ 32 w 37"/>
                  <a:gd name="T1" fmla="*/ 2 h 16"/>
                  <a:gd name="T2" fmla="*/ 27 w 37"/>
                  <a:gd name="T3" fmla="*/ 0 h 16"/>
                  <a:gd name="T4" fmla="*/ 24 w 37"/>
                  <a:gd name="T5" fmla="*/ 3 h 16"/>
                  <a:gd name="T6" fmla="*/ 20 w 37"/>
                  <a:gd name="T7" fmla="*/ 3 h 16"/>
                  <a:gd name="T8" fmla="*/ 17 w 37"/>
                  <a:gd name="T9" fmla="*/ 7 h 16"/>
                  <a:gd name="T10" fmla="*/ 16 w 37"/>
                  <a:gd name="T11" fmla="*/ 9 h 16"/>
                  <a:gd name="T12" fmla="*/ 13 w 37"/>
                  <a:gd name="T13" fmla="*/ 9 h 16"/>
                  <a:gd name="T14" fmla="*/ 9 w 37"/>
                  <a:gd name="T15" fmla="*/ 10 h 16"/>
                  <a:gd name="T16" fmla="*/ 5 w 37"/>
                  <a:gd name="T17" fmla="*/ 11 h 16"/>
                  <a:gd name="T18" fmla="*/ 0 w 37"/>
                  <a:gd name="T19" fmla="*/ 9 h 16"/>
                  <a:gd name="T20" fmla="*/ 4 w 37"/>
                  <a:gd name="T21" fmla="*/ 13 h 16"/>
                  <a:gd name="T22" fmla="*/ 6 w 37"/>
                  <a:gd name="T23" fmla="*/ 13 h 16"/>
                  <a:gd name="T24" fmla="*/ 8 w 37"/>
                  <a:gd name="T25" fmla="*/ 14 h 16"/>
                  <a:gd name="T26" fmla="*/ 12 w 37"/>
                  <a:gd name="T27" fmla="*/ 13 h 16"/>
                  <a:gd name="T28" fmla="*/ 15 w 37"/>
                  <a:gd name="T29" fmla="*/ 15 h 16"/>
                  <a:gd name="T30" fmla="*/ 22 w 37"/>
                  <a:gd name="T31" fmla="*/ 16 h 16"/>
                  <a:gd name="T32" fmla="*/ 29 w 37"/>
                  <a:gd name="T33" fmla="*/ 14 h 16"/>
                  <a:gd name="T34" fmla="*/ 33 w 37"/>
                  <a:gd name="T35" fmla="*/ 12 h 16"/>
                  <a:gd name="T36" fmla="*/ 34 w 37"/>
                  <a:gd name="T37" fmla="*/ 9 h 16"/>
                  <a:gd name="T38" fmla="*/ 36 w 37"/>
                  <a:gd name="T39" fmla="*/ 8 h 16"/>
                  <a:gd name="T40" fmla="*/ 36 w 37"/>
                  <a:gd name="T41" fmla="*/ 2 h 16"/>
                  <a:gd name="T42" fmla="*/ 32 w 37"/>
                  <a:gd name="T4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16">
                    <a:moveTo>
                      <a:pt x="32" y="2"/>
                    </a:moveTo>
                    <a:cubicBezTo>
                      <a:pt x="30" y="2"/>
                      <a:pt x="28" y="0"/>
                      <a:pt x="27" y="0"/>
                    </a:cubicBezTo>
                    <a:cubicBezTo>
                      <a:pt x="25" y="0"/>
                      <a:pt x="26" y="3"/>
                      <a:pt x="24" y="3"/>
                    </a:cubicBezTo>
                    <a:cubicBezTo>
                      <a:pt x="22" y="3"/>
                      <a:pt x="22" y="2"/>
                      <a:pt x="20" y="3"/>
                    </a:cubicBezTo>
                    <a:cubicBezTo>
                      <a:pt x="20" y="3"/>
                      <a:pt x="16" y="6"/>
                      <a:pt x="17" y="7"/>
                    </a:cubicBezTo>
                    <a:cubicBezTo>
                      <a:pt x="17" y="8"/>
                      <a:pt x="19" y="10"/>
                      <a:pt x="16" y="9"/>
                    </a:cubicBezTo>
                    <a:cubicBezTo>
                      <a:pt x="15" y="9"/>
                      <a:pt x="14" y="8"/>
                      <a:pt x="13" y="9"/>
                    </a:cubicBezTo>
                    <a:cubicBezTo>
                      <a:pt x="12" y="9"/>
                      <a:pt x="10" y="10"/>
                      <a:pt x="9" y="10"/>
                    </a:cubicBezTo>
                    <a:cubicBezTo>
                      <a:pt x="7" y="10"/>
                      <a:pt x="6" y="8"/>
                      <a:pt x="5" y="11"/>
                    </a:cubicBezTo>
                    <a:cubicBezTo>
                      <a:pt x="5" y="11"/>
                      <a:pt x="1" y="9"/>
                      <a:pt x="0" y="9"/>
                    </a:cubicBezTo>
                    <a:cubicBezTo>
                      <a:pt x="0" y="11"/>
                      <a:pt x="1" y="12"/>
                      <a:pt x="4" y="13"/>
                    </a:cubicBezTo>
                    <a:cubicBezTo>
                      <a:pt x="5" y="13"/>
                      <a:pt x="5" y="13"/>
                      <a:pt x="6" y="13"/>
                    </a:cubicBezTo>
                    <a:cubicBezTo>
                      <a:pt x="7" y="13"/>
                      <a:pt x="7" y="15"/>
                      <a:pt x="8" y="14"/>
                    </a:cubicBezTo>
                    <a:cubicBezTo>
                      <a:pt x="10" y="13"/>
                      <a:pt x="10" y="13"/>
                      <a:pt x="12" y="13"/>
                    </a:cubicBezTo>
                    <a:cubicBezTo>
                      <a:pt x="14" y="13"/>
                      <a:pt x="13" y="14"/>
                      <a:pt x="15" y="15"/>
                    </a:cubicBezTo>
                    <a:cubicBezTo>
                      <a:pt x="17" y="16"/>
                      <a:pt x="20" y="16"/>
                      <a:pt x="22" y="16"/>
                    </a:cubicBezTo>
                    <a:cubicBezTo>
                      <a:pt x="25" y="16"/>
                      <a:pt x="26" y="14"/>
                      <a:pt x="29" y="14"/>
                    </a:cubicBezTo>
                    <a:cubicBezTo>
                      <a:pt x="31" y="14"/>
                      <a:pt x="33" y="13"/>
                      <a:pt x="33" y="12"/>
                    </a:cubicBezTo>
                    <a:cubicBezTo>
                      <a:pt x="34" y="11"/>
                      <a:pt x="34" y="10"/>
                      <a:pt x="34" y="9"/>
                    </a:cubicBezTo>
                    <a:cubicBezTo>
                      <a:pt x="34" y="7"/>
                      <a:pt x="35" y="9"/>
                      <a:pt x="36" y="8"/>
                    </a:cubicBezTo>
                    <a:cubicBezTo>
                      <a:pt x="37" y="6"/>
                      <a:pt x="36" y="3"/>
                      <a:pt x="36" y="2"/>
                    </a:cubicBezTo>
                    <a:cubicBezTo>
                      <a:pt x="34" y="2"/>
                      <a:pt x="33" y="2"/>
                      <a:pt x="3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0" name="Freeform 647">
                <a:extLst>
                  <a:ext uri="{FF2B5EF4-FFF2-40B4-BE49-F238E27FC236}">
                    <a16:creationId xmlns:a16="http://schemas.microsoft.com/office/drawing/2014/main" id="{33AAE5F4-BDE2-2747-BB59-3B1F059C085D}"/>
                  </a:ext>
                </a:extLst>
              </p:cNvPr>
              <p:cNvSpPr>
                <a:spLocks/>
              </p:cNvSpPr>
              <p:nvPr/>
            </p:nvSpPr>
            <p:spPr bwMode="auto">
              <a:xfrm>
                <a:off x="12021850" y="6656654"/>
                <a:ext cx="531848" cy="516057"/>
              </a:xfrm>
              <a:custGeom>
                <a:avLst/>
                <a:gdLst>
                  <a:gd name="T0" fmla="*/ 37 w 57"/>
                  <a:gd name="T1" fmla="*/ 10 h 55"/>
                  <a:gd name="T2" fmla="*/ 41 w 57"/>
                  <a:gd name="T3" fmla="*/ 9 h 55"/>
                  <a:gd name="T4" fmla="*/ 43 w 57"/>
                  <a:gd name="T5" fmla="*/ 6 h 55"/>
                  <a:gd name="T6" fmla="*/ 45 w 57"/>
                  <a:gd name="T7" fmla="*/ 4 h 55"/>
                  <a:gd name="T8" fmla="*/ 45 w 57"/>
                  <a:gd name="T9" fmla="*/ 1 h 55"/>
                  <a:gd name="T10" fmla="*/ 41 w 57"/>
                  <a:gd name="T11" fmla="*/ 2 h 55"/>
                  <a:gd name="T12" fmla="*/ 36 w 57"/>
                  <a:gd name="T13" fmla="*/ 4 h 55"/>
                  <a:gd name="T14" fmla="*/ 27 w 57"/>
                  <a:gd name="T15" fmla="*/ 1 h 55"/>
                  <a:gd name="T16" fmla="*/ 22 w 57"/>
                  <a:gd name="T17" fmla="*/ 1 h 55"/>
                  <a:gd name="T18" fmla="*/ 19 w 57"/>
                  <a:gd name="T19" fmla="*/ 1 h 55"/>
                  <a:gd name="T20" fmla="*/ 18 w 57"/>
                  <a:gd name="T21" fmla="*/ 3 h 55"/>
                  <a:gd name="T22" fmla="*/ 17 w 57"/>
                  <a:gd name="T23" fmla="*/ 4 h 55"/>
                  <a:gd name="T24" fmla="*/ 15 w 57"/>
                  <a:gd name="T25" fmla="*/ 5 h 55"/>
                  <a:gd name="T26" fmla="*/ 13 w 57"/>
                  <a:gd name="T27" fmla="*/ 5 h 55"/>
                  <a:gd name="T28" fmla="*/ 12 w 57"/>
                  <a:gd name="T29" fmla="*/ 4 h 55"/>
                  <a:gd name="T30" fmla="*/ 11 w 57"/>
                  <a:gd name="T31" fmla="*/ 8 h 55"/>
                  <a:gd name="T32" fmla="*/ 9 w 57"/>
                  <a:gd name="T33" fmla="*/ 5 h 55"/>
                  <a:gd name="T34" fmla="*/ 5 w 57"/>
                  <a:gd name="T35" fmla="*/ 7 h 55"/>
                  <a:gd name="T36" fmla="*/ 0 w 57"/>
                  <a:gd name="T37" fmla="*/ 7 h 55"/>
                  <a:gd name="T38" fmla="*/ 1 w 57"/>
                  <a:gd name="T39" fmla="*/ 10 h 55"/>
                  <a:gd name="T40" fmla="*/ 0 w 57"/>
                  <a:gd name="T41" fmla="*/ 14 h 55"/>
                  <a:gd name="T42" fmla="*/ 2 w 57"/>
                  <a:gd name="T43" fmla="*/ 18 h 55"/>
                  <a:gd name="T44" fmla="*/ 4 w 57"/>
                  <a:gd name="T45" fmla="*/ 21 h 55"/>
                  <a:gd name="T46" fmla="*/ 12 w 57"/>
                  <a:gd name="T47" fmla="*/ 17 h 55"/>
                  <a:gd name="T48" fmla="*/ 15 w 57"/>
                  <a:gd name="T49" fmla="*/ 19 h 55"/>
                  <a:gd name="T50" fmla="*/ 17 w 57"/>
                  <a:gd name="T51" fmla="*/ 22 h 55"/>
                  <a:gd name="T52" fmla="*/ 18 w 57"/>
                  <a:gd name="T53" fmla="*/ 25 h 55"/>
                  <a:gd name="T54" fmla="*/ 21 w 57"/>
                  <a:gd name="T55" fmla="*/ 28 h 55"/>
                  <a:gd name="T56" fmla="*/ 28 w 57"/>
                  <a:gd name="T57" fmla="*/ 33 h 55"/>
                  <a:gd name="T58" fmla="*/ 33 w 57"/>
                  <a:gd name="T59" fmla="*/ 36 h 55"/>
                  <a:gd name="T60" fmla="*/ 42 w 57"/>
                  <a:gd name="T61" fmla="*/ 42 h 55"/>
                  <a:gd name="T62" fmla="*/ 45 w 57"/>
                  <a:gd name="T63" fmla="*/ 48 h 55"/>
                  <a:gd name="T64" fmla="*/ 43 w 57"/>
                  <a:gd name="T65" fmla="*/ 55 h 55"/>
                  <a:gd name="T66" fmla="*/ 49 w 57"/>
                  <a:gd name="T67" fmla="*/ 48 h 55"/>
                  <a:gd name="T68" fmla="*/ 47 w 57"/>
                  <a:gd name="T69" fmla="*/ 45 h 55"/>
                  <a:gd name="T70" fmla="*/ 50 w 57"/>
                  <a:gd name="T71" fmla="*/ 40 h 55"/>
                  <a:gd name="T72" fmla="*/ 53 w 57"/>
                  <a:gd name="T73" fmla="*/ 41 h 55"/>
                  <a:gd name="T74" fmla="*/ 55 w 57"/>
                  <a:gd name="T75" fmla="*/ 44 h 55"/>
                  <a:gd name="T76" fmla="*/ 53 w 57"/>
                  <a:gd name="T77" fmla="*/ 39 h 55"/>
                  <a:gd name="T78" fmla="*/ 44 w 57"/>
                  <a:gd name="T79" fmla="*/ 35 h 55"/>
                  <a:gd name="T80" fmla="*/ 44 w 57"/>
                  <a:gd name="T81" fmla="*/ 32 h 55"/>
                  <a:gd name="T82" fmla="*/ 39 w 57"/>
                  <a:gd name="T83" fmla="*/ 31 h 55"/>
                  <a:gd name="T84" fmla="*/ 35 w 57"/>
                  <a:gd name="T85" fmla="*/ 26 h 55"/>
                  <a:gd name="T86" fmla="*/ 32 w 57"/>
                  <a:gd name="T87" fmla="*/ 21 h 55"/>
                  <a:gd name="T88" fmla="*/ 27 w 57"/>
                  <a:gd name="T89" fmla="*/ 17 h 55"/>
                  <a:gd name="T90" fmla="*/ 27 w 57"/>
                  <a:gd name="T91" fmla="*/ 15 h 55"/>
                  <a:gd name="T92" fmla="*/ 28 w 57"/>
                  <a:gd name="T93" fmla="*/ 12 h 55"/>
                  <a:gd name="T94" fmla="*/ 30 w 57"/>
                  <a:gd name="T95" fmla="*/ 9 h 55"/>
                  <a:gd name="T96" fmla="*/ 32 w 57"/>
                  <a:gd name="T97" fmla="*/ 8 h 55"/>
                  <a:gd name="T98" fmla="*/ 34 w 57"/>
                  <a:gd name="T99" fmla="*/ 10 h 55"/>
                  <a:gd name="T100" fmla="*/ 37 w 57"/>
                  <a:gd name="T101" fmla="*/ 10 h 55"/>
                  <a:gd name="T102" fmla="*/ 37 w 57"/>
                  <a:gd name="T103" fmla="*/ 1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 h="55">
                    <a:moveTo>
                      <a:pt x="37" y="10"/>
                    </a:moveTo>
                    <a:cubicBezTo>
                      <a:pt x="38" y="9"/>
                      <a:pt x="40" y="10"/>
                      <a:pt x="41" y="9"/>
                    </a:cubicBezTo>
                    <a:cubicBezTo>
                      <a:pt x="43" y="8"/>
                      <a:pt x="42" y="7"/>
                      <a:pt x="43" y="6"/>
                    </a:cubicBezTo>
                    <a:cubicBezTo>
                      <a:pt x="43" y="5"/>
                      <a:pt x="44" y="4"/>
                      <a:pt x="45" y="4"/>
                    </a:cubicBezTo>
                    <a:cubicBezTo>
                      <a:pt x="46" y="3"/>
                      <a:pt x="45" y="3"/>
                      <a:pt x="45" y="1"/>
                    </a:cubicBezTo>
                    <a:cubicBezTo>
                      <a:pt x="44" y="2"/>
                      <a:pt x="43" y="2"/>
                      <a:pt x="41" y="2"/>
                    </a:cubicBezTo>
                    <a:cubicBezTo>
                      <a:pt x="39" y="2"/>
                      <a:pt x="37" y="5"/>
                      <a:pt x="36" y="4"/>
                    </a:cubicBezTo>
                    <a:cubicBezTo>
                      <a:pt x="33" y="3"/>
                      <a:pt x="28" y="4"/>
                      <a:pt x="27" y="1"/>
                    </a:cubicBezTo>
                    <a:cubicBezTo>
                      <a:pt x="26" y="0"/>
                      <a:pt x="23" y="1"/>
                      <a:pt x="22" y="1"/>
                    </a:cubicBezTo>
                    <a:cubicBezTo>
                      <a:pt x="20" y="3"/>
                      <a:pt x="20" y="1"/>
                      <a:pt x="19" y="1"/>
                    </a:cubicBezTo>
                    <a:cubicBezTo>
                      <a:pt x="18" y="1"/>
                      <a:pt x="18" y="3"/>
                      <a:pt x="18" y="3"/>
                    </a:cubicBezTo>
                    <a:cubicBezTo>
                      <a:pt x="18" y="3"/>
                      <a:pt x="17" y="4"/>
                      <a:pt x="17" y="4"/>
                    </a:cubicBezTo>
                    <a:cubicBezTo>
                      <a:pt x="17" y="5"/>
                      <a:pt x="16" y="5"/>
                      <a:pt x="15" y="5"/>
                    </a:cubicBezTo>
                    <a:cubicBezTo>
                      <a:pt x="15" y="5"/>
                      <a:pt x="14" y="5"/>
                      <a:pt x="13" y="5"/>
                    </a:cubicBezTo>
                    <a:cubicBezTo>
                      <a:pt x="13" y="5"/>
                      <a:pt x="13" y="5"/>
                      <a:pt x="12" y="4"/>
                    </a:cubicBezTo>
                    <a:cubicBezTo>
                      <a:pt x="12" y="4"/>
                      <a:pt x="11" y="7"/>
                      <a:pt x="11" y="8"/>
                    </a:cubicBezTo>
                    <a:cubicBezTo>
                      <a:pt x="11" y="9"/>
                      <a:pt x="9" y="6"/>
                      <a:pt x="9" y="5"/>
                    </a:cubicBezTo>
                    <a:cubicBezTo>
                      <a:pt x="7" y="4"/>
                      <a:pt x="6" y="7"/>
                      <a:pt x="5" y="7"/>
                    </a:cubicBezTo>
                    <a:cubicBezTo>
                      <a:pt x="3" y="7"/>
                      <a:pt x="1" y="7"/>
                      <a:pt x="0" y="7"/>
                    </a:cubicBezTo>
                    <a:cubicBezTo>
                      <a:pt x="0" y="8"/>
                      <a:pt x="1" y="9"/>
                      <a:pt x="1" y="10"/>
                    </a:cubicBezTo>
                    <a:cubicBezTo>
                      <a:pt x="1" y="12"/>
                      <a:pt x="0" y="12"/>
                      <a:pt x="0" y="14"/>
                    </a:cubicBezTo>
                    <a:cubicBezTo>
                      <a:pt x="0" y="15"/>
                      <a:pt x="0" y="18"/>
                      <a:pt x="2" y="18"/>
                    </a:cubicBezTo>
                    <a:cubicBezTo>
                      <a:pt x="3" y="19"/>
                      <a:pt x="4" y="18"/>
                      <a:pt x="4" y="21"/>
                    </a:cubicBezTo>
                    <a:cubicBezTo>
                      <a:pt x="6" y="20"/>
                      <a:pt x="10" y="16"/>
                      <a:pt x="12" y="17"/>
                    </a:cubicBezTo>
                    <a:cubicBezTo>
                      <a:pt x="13" y="18"/>
                      <a:pt x="14" y="19"/>
                      <a:pt x="15" y="19"/>
                    </a:cubicBezTo>
                    <a:cubicBezTo>
                      <a:pt x="16" y="19"/>
                      <a:pt x="17" y="21"/>
                      <a:pt x="17" y="22"/>
                    </a:cubicBezTo>
                    <a:cubicBezTo>
                      <a:pt x="18" y="23"/>
                      <a:pt x="18" y="24"/>
                      <a:pt x="18" y="25"/>
                    </a:cubicBezTo>
                    <a:cubicBezTo>
                      <a:pt x="19" y="26"/>
                      <a:pt x="20" y="27"/>
                      <a:pt x="21" y="28"/>
                    </a:cubicBezTo>
                    <a:cubicBezTo>
                      <a:pt x="23" y="29"/>
                      <a:pt x="25" y="31"/>
                      <a:pt x="28" y="33"/>
                    </a:cubicBezTo>
                    <a:cubicBezTo>
                      <a:pt x="30" y="35"/>
                      <a:pt x="31" y="35"/>
                      <a:pt x="33" y="36"/>
                    </a:cubicBezTo>
                    <a:cubicBezTo>
                      <a:pt x="36" y="38"/>
                      <a:pt x="38" y="41"/>
                      <a:pt x="42" y="42"/>
                    </a:cubicBezTo>
                    <a:cubicBezTo>
                      <a:pt x="44" y="43"/>
                      <a:pt x="44" y="46"/>
                      <a:pt x="45" y="48"/>
                    </a:cubicBezTo>
                    <a:cubicBezTo>
                      <a:pt x="45" y="50"/>
                      <a:pt x="42" y="52"/>
                      <a:pt x="43" y="55"/>
                    </a:cubicBezTo>
                    <a:cubicBezTo>
                      <a:pt x="43" y="54"/>
                      <a:pt x="49" y="49"/>
                      <a:pt x="49" y="48"/>
                    </a:cubicBezTo>
                    <a:cubicBezTo>
                      <a:pt x="50" y="47"/>
                      <a:pt x="47" y="45"/>
                      <a:pt x="47" y="45"/>
                    </a:cubicBezTo>
                    <a:cubicBezTo>
                      <a:pt x="45" y="43"/>
                      <a:pt x="49" y="39"/>
                      <a:pt x="50" y="40"/>
                    </a:cubicBezTo>
                    <a:cubicBezTo>
                      <a:pt x="51" y="41"/>
                      <a:pt x="52" y="41"/>
                      <a:pt x="53" y="41"/>
                    </a:cubicBezTo>
                    <a:cubicBezTo>
                      <a:pt x="54" y="42"/>
                      <a:pt x="54" y="43"/>
                      <a:pt x="55" y="44"/>
                    </a:cubicBezTo>
                    <a:cubicBezTo>
                      <a:pt x="57" y="44"/>
                      <a:pt x="54" y="40"/>
                      <a:pt x="53" y="39"/>
                    </a:cubicBezTo>
                    <a:cubicBezTo>
                      <a:pt x="51" y="37"/>
                      <a:pt x="47" y="37"/>
                      <a:pt x="44" y="35"/>
                    </a:cubicBezTo>
                    <a:cubicBezTo>
                      <a:pt x="43" y="34"/>
                      <a:pt x="46" y="32"/>
                      <a:pt x="44" y="32"/>
                    </a:cubicBezTo>
                    <a:cubicBezTo>
                      <a:pt x="43" y="31"/>
                      <a:pt x="41" y="32"/>
                      <a:pt x="39" y="31"/>
                    </a:cubicBezTo>
                    <a:cubicBezTo>
                      <a:pt x="37" y="30"/>
                      <a:pt x="36" y="28"/>
                      <a:pt x="35" y="26"/>
                    </a:cubicBezTo>
                    <a:cubicBezTo>
                      <a:pt x="34" y="24"/>
                      <a:pt x="34" y="22"/>
                      <a:pt x="32" y="21"/>
                    </a:cubicBezTo>
                    <a:cubicBezTo>
                      <a:pt x="31" y="20"/>
                      <a:pt x="27" y="19"/>
                      <a:pt x="27" y="17"/>
                    </a:cubicBezTo>
                    <a:cubicBezTo>
                      <a:pt x="27" y="16"/>
                      <a:pt x="27" y="15"/>
                      <a:pt x="27" y="15"/>
                    </a:cubicBezTo>
                    <a:cubicBezTo>
                      <a:pt x="28" y="13"/>
                      <a:pt x="28" y="13"/>
                      <a:pt x="28" y="12"/>
                    </a:cubicBezTo>
                    <a:cubicBezTo>
                      <a:pt x="27" y="9"/>
                      <a:pt x="30" y="10"/>
                      <a:pt x="30" y="9"/>
                    </a:cubicBezTo>
                    <a:cubicBezTo>
                      <a:pt x="31" y="8"/>
                      <a:pt x="32" y="8"/>
                      <a:pt x="32" y="8"/>
                    </a:cubicBezTo>
                    <a:cubicBezTo>
                      <a:pt x="34" y="8"/>
                      <a:pt x="34" y="9"/>
                      <a:pt x="34" y="10"/>
                    </a:cubicBezTo>
                    <a:cubicBezTo>
                      <a:pt x="35" y="10"/>
                      <a:pt x="36" y="10"/>
                      <a:pt x="37" y="10"/>
                    </a:cubicBezTo>
                    <a:cubicBezTo>
                      <a:pt x="37" y="9"/>
                      <a:pt x="36" y="10"/>
                      <a:pt x="37"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1" name="Freeform 648">
                <a:extLst>
                  <a:ext uri="{FF2B5EF4-FFF2-40B4-BE49-F238E27FC236}">
                    <a16:creationId xmlns:a16="http://schemas.microsoft.com/office/drawing/2014/main" id="{4B6B7A8D-F7D2-3C40-8940-55B7E338F327}"/>
                  </a:ext>
                </a:extLst>
              </p:cNvPr>
              <p:cNvSpPr>
                <a:spLocks/>
              </p:cNvSpPr>
              <p:nvPr/>
            </p:nvSpPr>
            <p:spPr bwMode="auto">
              <a:xfrm>
                <a:off x="12330767" y="6685324"/>
                <a:ext cx="251592" cy="235731"/>
              </a:xfrm>
              <a:custGeom>
                <a:avLst/>
                <a:gdLst>
                  <a:gd name="T0" fmla="*/ 12 w 27"/>
                  <a:gd name="T1" fmla="*/ 10 h 25"/>
                  <a:gd name="T2" fmla="*/ 21 w 27"/>
                  <a:gd name="T3" fmla="*/ 9 h 25"/>
                  <a:gd name="T4" fmla="*/ 27 w 27"/>
                  <a:gd name="T5" fmla="*/ 11 h 25"/>
                  <a:gd name="T6" fmla="*/ 25 w 27"/>
                  <a:gd name="T7" fmla="*/ 4 h 25"/>
                  <a:gd name="T8" fmla="*/ 17 w 27"/>
                  <a:gd name="T9" fmla="*/ 3 h 25"/>
                  <a:gd name="T10" fmla="*/ 13 w 27"/>
                  <a:gd name="T11" fmla="*/ 0 h 25"/>
                  <a:gd name="T12" fmla="*/ 11 w 27"/>
                  <a:gd name="T13" fmla="*/ 2 h 25"/>
                  <a:gd name="T14" fmla="*/ 6 w 27"/>
                  <a:gd name="T15" fmla="*/ 7 h 25"/>
                  <a:gd name="T16" fmla="*/ 1 w 27"/>
                  <a:gd name="T17" fmla="*/ 7 h 25"/>
                  <a:gd name="T18" fmla="*/ 1 w 27"/>
                  <a:gd name="T19" fmla="*/ 11 h 25"/>
                  <a:gd name="T20" fmla="*/ 3 w 27"/>
                  <a:gd name="T21" fmla="*/ 10 h 25"/>
                  <a:gd name="T22" fmla="*/ 4 w 27"/>
                  <a:gd name="T23" fmla="*/ 13 h 25"/>
                  <a:gd name="T24" fmla="*/ 6 w 27"/>
                  <a:gd name="T25" fmla="*/ 10 h 25"/>
                  <a:gd name="T26" fmla="*/ 11 w 27"/>
                  <a:gd name="T27" fmla="*/ 17 h 25"/>
                  <a:gd name="T28" fmla="*/ 23 w 27"/>
                  <a:gd name="T29" fmla="*/ 25 h 25"/>
                  <a:gd name="T30" fmla="*/ 21 w 27"/>
                  <a:gd name="T31" fmla="*/ 22 h 25"/>
                  <a:gd name="T32" fmla="*/ 16 w 27"/>
                  <a:gd name="T33" fmla="*/ 19 h 25"/>
                  <a:gd name="T34" fmla="*/ 12 w 27"/>
                  <a:gd name="T35" fmla="*/ 1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25">
                    <a:moveTo>
                      <a:pt x="12" y="10"/>
                    </a:moveTo>
                    <a:cubicBezTo>
                      <a:pt x="15" y="10"/>
                      <a:pt x="18" y="8"/>
                      <a:pt x="21" y="9"/>
                    </a:cubicBezTo>
                    <a:cubicBezTo>
                      <a:pt x="23" y="9"/>
                      <a:pt x="25" y="10"/>
                      <a:pt x="27" y="11"/>
                    </a:cubicBezTo>
                    <a:cubicBezTo>
                      <a:pt x="26" y="9"/>
                      <a:pt x="26" y="7"/>
                      <a:pt x="25" y="4"/>
                    </a:cubicBezTo>
                    <a:cubicBezTo>
                      <a:pt x="22" y="6"/>
                      <a:pt x="19" y="4"/>
                      <a:pt x="17" y="3"/>
                    </a:cubicBezTo>
                    <a:cubicBezTo>
                      <a:pt x="15" y="2"/>
                      <a:pt x="14" y="2"/>
                      <a:pt x="13" y="0"/>
                    </a:cubicBezTo>
                    <a:cubicBezTo>
                      <a:pt x="13" y="0"/>
                      <a:pt x="11" y="1"/>
                      <a:pt x="11" y="2"/>
                    </a:cubicBezTo>
                    <a:cubicBezTo>
                      <a:pt x="9" y="3"/>
                      <a:pt x="10" y="8"/>
                      <a:pt x="6" y="7"/>
                    </a:cubicBezTo>
                    <a:cubicBezTo>
                      <a:pt x="4" y="6"/>
                      <a:pt x="2" y="7"/>
                      <a:pt x="1" y="7"/>
                    </a:cubicBezTo>
                    <a:cubicBezTo>
                      <a:pt x="0" y="8"/>
                      <a:pt x="1" y="11"/>
                      <a:pt x="1" y="11"/>
                    </a:cubicBezTo>
                    <a:cubicBezTo>
                      <a:pt x="1" y="11"/>
                      <a:pt x="3" y="10"/>
                      <a:pt x="3" y="10"/>
                    </a:cubicBezTo>
                    <a:cubicBezTo>
                      <a:pt x="4" y="10"/>
                      <a:pt x="4" y="12"/>
                      <a:pt x="4" y="13"/>
                    </a:cubicBezTo>
                    <a:cubicBezTo>
                      <a:pt x="4" y="11"/>
                      <a:pt x="5" y="8"/>
                      <a:pt x="6" y="10"/>
                    </a:cubicBezTo>
                    <a:cubicBezTo>
                      <a:pt x="7" y="13"/>
                      <a:pt x="9" y="15"/>
                      <a:pt x="11" y="17"/>
                    </a:cubicBezTo>
                    <a:cubicBezTo>
                      <a:pt x="14" y="20"/>
                      <a:pt x="19" y="22"/>
                      <a:pt x="23" y="25"/>
                    </a:cubicBezTo>
                    <a:cubicBezTo>
                      <a:pt x="23" y="23"/>
                      <a:pt x="23" y="23"/>
                      <a:pt x="21" y="22"/>
                    </a:cubicBezTo>
                    <a:cubicBezTo>
                      <a:pt x="19" y="21"/>
                      <a:pt x="17" y="20"/>
                      <a:pt x="16" y="19"/>
                    </a:cubicBezTo>
                    <a:cubicBezTo>
                      <a:pt x="14" y="17"/>
                      <a:pt x="9" y="10"/>
                      <a:pt x="12"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2" name="Freeform 649">
                <a:extLst>
                  <a:ext uri="{FF2B5EF4-FFF2-40B4-BE49-F238E27FC236}">
                    <a16:creationId xmlns:a16="http://schemas.microsoft.com/office/drawing/2014/main" id="{E8953421-7C95-5B42-B934-3F6E44703BF1}"/>
                  </a:ext>
                </a:extLst>
              </p:cNvPr>
              <p:cNvSpPr>
                <a:spLocks/>
              </p:cNvSpPr>
              <p:nvPr/>
            </p:nvSpPr>
            <p:spPr bwMode="auto">
              <a:xfrm>
                <a:off x="11470893" y="6414553"/>
                <a:ext cx="617835" cy="531986"/>
              </a:xfrm>
              <a:custGeom>
                <a:avLst/>
                <a:gdLst>
                  <a:gd name="T0" fmla="*/ 59 w 66"/>
                  <a:gd name="T1" fmla="*/ 31 h 57"/>
                  <a:gd name="T2" fmla="*/ 56 w 66"/>
                  <a:gd name="T3" fmla="*/ 30 h 57"/>
                  <a:gd name="T4" fmla="*/ 60 w 66"/>
                  <a:gd name="T5" fmla="*/ 24 h 57"/>
                  <a:gd name="T6" fmla="*/ 63 w 66"/>
                  <a:gd name="T7" fmla="*/ 23 h 57"/>
                  <a:gd name="T8" fmla="*/ 65 w 66"/>
                  <a:gd name="T9" fmla="*/ 15 h 57"/>
                  <a:gd name="T10" fmla="*/ 60 w 66"/>
                  <a:gd name="T11" fmla="*/ 13 h 57"/>
                  <a:gd name="T12" fmla="*/ 57 w 66"/>
                  <a:gd name="T13" fmla="*/ 11 h 57"/>
                  <a:gd name="T14" fmla="*/ 55 w 66"/>
                  <a:gd name="T15" fmla="*/ 11 h 57"/>
                  <a:gd name="T16" fmla="*/ 48 w 66"/>
                  <a:gd name="T17" fmla="*/ 7 h 57"/>
                  <a:gd name="T18" fmla="*/ 43 w 66"/>
                  <a:gd name="T19" fmla="*/ 5 h 57"/>
                  <a:gd name="T20" fmla="*/ 38 w 66"/>
                  <a:gd name="T21" fmla="*/ 1 h 57"/>
                  <a:gd name="T22" fmla="*/ 34 w 66"/>
                  <a:gd name="T23" fmla="*/ 1 h 57"/>
                  <a:gd name="T24" fmla="*/ 33 w 66"/>
                  <a:gd name="T25" fmla="*/ 5 h 57"/>
                  <a:gd name="T26" fmla="*/ 30 w 66"/>
                  <a:gd name="T27" fmla="*/ 8 h 57"/>
                  <a:gd name="T28" fmla="*/ 26 w 66"/>
                  <a:gd name="T29" fmla="*/ 10 h 57"/>
                  <a:gd name="T30" fmla="*/ 24 w 66"/>
                  <a:gd name="T31" fmla="*/ 12 h 57"/>
                  <a:gd name="T32" fmla="*/ 20 w 66"/>
                  <a:gd name="T33" fmla="*/ 11 h 57"/>
                  <a:gd name="T34" fmla="*/ 16 w 66"/>
                  <a:gd name="T35" fmla="*/ 10 h 57"/>
                  <a:gd name="T36" fmla="*/ 16 w 66"/>
                  <a:gd name="T37" fmla="*/ 16 h 57"/>
                  <a:gd name="T38" fmla="*/ 9 w 66"/>
                  <a:gd name="T39" fmla="*/ 15 h 57"/>
                  <a:gd name="T40" fmla="*/ 1 w 66"/>
                  <a:gd name="T41" fmla="*/ 17 h 57"/>
                  <a:gd name="T42" fmla="*/ 2 w 66"/>
                  <a:gd name="T43" fmla="*/ 19 h 57"/>
                  <a:gd name="T44" fmla="*/ 4 w 66"/>
                  <a:gd name="T45" fmla="*/ 21 h 57"/>
                  <a:gd name="T46" fmla="*/ 15 w 66"/>
                  <a:gd name="T47" fmla="*/ 25 h 57"/>
                  <a:gd name="T48" fmla="*/ 14 w 66"/>
                  <a:gd name="T49" fmla="*/ 28 h 57"/>
                  <a:gd name="T50" fmla="*/ 19 w 66"/>
                  <a:gd name="T51" fmla="*/ 31 h 57"/>
                  <a:gd name="T52" fmla="*/ 20 w 66"/>
                  <a:gd name="T53" fmla="*/ 35 h 57"/>
                  <a:gd name="T54" fmla="*/ 22 w 66"/>
                  <a:gd name="T55" fmla="*/ 38 h 57"/>
                  <a:gd name="T56" fmla="*/ 19 w 66"/>
                  <a:gd name="T57" fmla="*/ 36 h 57"/>
                  <a:gd name="T58" fmla="*/ 16 w 66"/>
                  <a:gd name="T59" fmla="*/ 49 h 57"/>
                  <a:gd name="T60" fmla="*/ 27 w 66"/>
                  <a:gd name="T61" fmla="*/ 53 h 57"/>
                  <a:gd name="T62" fmla="*/ 30 w 66"/>
                  <a:gd name="T63" fmla="*/ 53 h 57"/>
                  <a:gd name="T64" fmla="*/ 33 w 66"/>
                  <a:gd name="T65" fmla="*/ 55 h 57"/>
                  <a:gd name="T66" fmla="*/ 40 w 66"/>
                  <a:gd name="T67" fmla="*/ 54 h 57"/>
                  <a:gd name="T68" fmla="*/ 47 w 66"/>
                  <a:gd name="T69" fmla="*/ 48 h 57"/>
                  <a:gd name="T70" fmla="*/ 57 w 66"/>
                  <a:gd name="T71" fmla="*/ 50 h 57"/>
                  <a:gd name="T72" fmla="*/ 62 w 66"/>
                  <a:gd name="T73" fmla="*/ 47 h 57"/>
                  <a:gd name="T74" fmla="*/ 62 w 66"/>
                  <a:gd name="T75" fmla="*/ 45 h 57"/>
                  <a:gd name="T76" fmla="*/ 59 w 66"/>
                  <a:gd name="T77" fmla="*/ 38 h 57"/>
                  <a:gd name="T78" fmla="*/ 59 w 66"/>
                  <a:gd name="T79" fmla="*/ 34 h 57"/>
                  <a:gd name="T80" fmla="*/ 59 w 66"/>
                  <a:gd name="T81" fmla="*/ 31 h 57"/>
                  <a:gd name="T82" fmla="*/ 59 w 66"/>
                  <a:gd name="T83" fmla="*/ 31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6" h="57">
                    <a:moveTo>
                      <a:pt x="59" y="31"/>
                    </a:moveTo>
                    <a:cubicBezTo>
                      <a:pt x="58" y="29"/>
                      <a:pt x="55" y="33"/>
                      <a:pt x="56" y="30"/>
                    </a:cubicBezTo>
                    <a:cubicBezTo>
                      <a:pt x="56" y="29"/>
                      <a:pt x="59" y="24"/>
                      <a:pt x="60" y="24"/>
                    </a:cubicBezTo>
                    <a:cubicBezTo>
                      <a:pt x="61" y="23"/>
                      <a:pt x="62" y="25"/>
                      <a:pt x="63" y="23"/>
                    </a:cubicBezTo>
                    <a:cubicBezTo>
                      <a:pt x="64" y="20"/>
                      <a:pt x="63" y="18"/>
                      <a:pt x="65" y="15"/>
                    </a:cubicBezTo>
                    <a:cubicBezTo>
                      <a:pt x="66" y="13"/>
                      <a:pt x="61" y="13"/>
                      <a:pt x="60" y="13"/>
                    </a:cubicBezTo>
                    <a:cubicBezTo>
                      <a:pt x="58" y="13"/>
                      <a:pt x="57" y="12"/>
                      <a:pt x="57" y="11"/>
                    </a:cubicBezTo>
                    <a:cubicBezTo>
                      <a:pt x="56" y="11"/>
                      <a:pt x="55" y="11"/>
                      <a:pt x="55" y="11"/>
                    </a:cubicBezTo>
                    <a:cubicBezTo>
                      <a:pt x="53" y="11"/>
                      <a:pt x="48" y="9"/>
                      <a:pt x="48" y="7"/>
                    </a:cubicBezTo>
                    <a:cubicBezTo>
                      <a:pt x="47" y="10"/>
                      <a:pt x="44" y="5"/>
                      <a:pt x="43" y="5"/>
                    </a:cubicBezTo>
                    <a:cubicBezTo>
                      <a:pt x="41" y="4"/>
                      <a:pt x="39" y="3"/>
                      <a:pt x="38" y="1"/>
                    </a:cubicBezTo>
                    <a:cubicBezTo>
                      <a:pt x="37" y="0"/>
                      <a:pt x="35" y="0"/>
                      <a:pt x="34" y="1"/>
                    </a:cubicBezTo>
                    <a:cubicBezTo>
                      <a:pt x="33" y="2"/>
                      <a:pt x="32" y="4"/>
                      <a:pt x="33" y="5"/>
                    </a:cubicBezTo>
                    <a:cubicBezTo>
                      <a:pt x="33" y="6"/>
                      <a:pt x="31" y="7"/>
                      <a:pt x="30" y="8"/>
                    </a:cubicBezTo>
                    <a:cubicBezTo>
                      <a:pt x="29" y="8"/>
                      <a:pt x="27" y="8"/>
                      <a:pt x="26" y="10"/>
                    </a:cubicBezTo>
                    <a:cubicBezTo>
                      <a:pt x="26" y="11"/>
                      <a:pt x="25" y="12"/>
                      <a:pt x="24" y="12"/>
                    </a:cubicBezTo>
                    <a:cubicBezTo>
                      <a:pt x="22" y="12"/>
                      <a:pt x="21" y="12"/>
                      <a:pt x="20" y="11"/>
                    </a:cubicBezTo>
                    <a:cubicBezTo>
                      <a:pt x="18" y="11"/>
                      <a:pt x="18" y="10"/>
                      <a:pt x="16" y="10"/>
                    </a:cubicBezTo>
                    <a:cubicBezTo>
                      <a:pt x="14" y="9"/>
                      <a:pt x="20" y="16"/>
                      <a:pt x="16" y="16"/>
                    </a:cubicBezTo>
                    <a:cubicBezTo>
                      <a:pt x="13" y="16"/>
                      <a:pt x="11" y="17"/>
                      <a:pt x="9" y="15"/>
                    </a:cubicBezTo>
                    <a:cubicBezTo>
                      <a:pt x="8" y="14"/>
                      <a:pt x="1" y="16"/>
                      <a:pt x="1" y="17"/>
                    </a:cubicBezTo>
                    <a:cubicBezTo>
                      <a:pt x="1" y="18"/>
                      <a:pt x="4" y="18"/>
                      <a:pt x="2" y="19"/>
                    </a:cubicBezTo>
                    <a:cubicBezTo>
                      <a:pt x="0" y="20"/>
                      <a:pt x="3" y="21"/>
                      <a:pt x="4" y="21"/>
                    </a:cubicBezTo>
                    <a:cubicBezTo>
                      <a:pt x="6" y="22"/>
                      <a:pt x="15" y="23"/>
                      <a:pt x="15" y="25"/>
                    </a:cubicBezTo>
                    <a:cubicBezTo>
                      <a:pt x="15" y="26"/>
                      <a:pt x="13" y="26"/>
                      <a:pt x="14" y="28"/>
                    </a:cubicBezTo>
                    <a:cubicBezTo>
                      <a:pt x="16" y="30"/>
                      <a:pt x="17" y="30"/>
                      <a:pt x="19" y="31"/>
                    </a:cubicBezTo>
                    <a:cubicBezTo>
                      <a:pt x="21" y="32"/>
                      <a:pt x="18" y="34"/>
                      <a:pt x="20" y="35"/>
                    </a:cubicBezTo>
                    <a:cubicBezTo>
                      <a:pt x="20" y="35"/>
                      <a:pt x="22" y="38"/>
                      <a:pt x="22" y="38"/>
                    </a:cubicBezTo>
                    <a:cubicBezTo>
                      <a:pt x="21" y="39"/>
                      <a:pt x="20" y="36"/>
                      <a:pt x="19" y="36"/>
                    </a:cubicBezTo>
                    <a:cubicBezTo>
                      <a:pt x="18" y="36"/>
                      <a:pt x="19" y="48"/>
                      <a:pt x="16" y="49"/>
                    </a:cubicBezTo>
                    <a:cubicBezTo>
                      <a:pt x="19" y="51"/>
                      <a:pt x="23" y="54"/>
                      <a:pt x="27" y="53"/>
                    </a:cubicBezTo>
                    <a:cubicBezTo>
                      <a:pt x="28" y="53"/>
                      <a:pt x="29" y="52"/>
                      <a:pt x="30" y="53"/>
                    </a:cubicBezTo>
                    <a:cubicBezTo>
                      <a:pt x="31" y="53"/>
                      <a:pt x="32" y="54"/>
                      <a:pt x="33" y="55"/>
                    </a:cubicBezTo>
                    <a:cubicBezTo>
                      <a:pt x="35" y="56"/>
                      <a:pt x="41" y="57"/>
                      <a:pt x="40" y="54"/>
                    </a:cubicBezTo>
                    <a:cubicBezTo>
                      <a:pt x="39" y="49"/>
                      <a:pt x="44" y="47"/>
                      <a:pt x="47" y="48"/>
                    </a:cubicBezTo>
                    <a:cubicBezTo>
                      <a:pt x="51" y="49"/>
                      <a:pt x="53" y="52"/>
                      <a:pt x="57" y="50"/>
                    </a:cubicBezTo>
                    <a:cubicBezTo>
                      <a:pt x="59" y="49"/>
                      <a:pt x="60" y="48"/>
                      <a:pt x="62" y="47"/>
                    </a:cubicBezTo>
                    <a:cubicBezTo>
                      <a:pt x="62" y="47"/>
                      <a:pt x="64" y="45"/>
                      <a:pt x="62" y="45"/>
                    </a:cubicBezTo>
                    <a:cubicBezTo>
                      <a:pt x="60" y="44"/>
                      <a:pt x="58" y="40"/>
                      <a:pt x="59" y="38"/>
                    </a:cubicBezTo>
                    <a:cubicBezTo>
                      <a:pt x="61" y="36"/>
                      <a:pt x="60" y="36"/>
                      <a:pt x="59" y="34"/>
                    </a:cubicBezTo>
                    <a:cubicBezTo>
                      <a:pt x="59" y="33"/>
                      <a:pt x="59" y="32"/>
                      <a:pt x="59" y="31"/>
                    </a:cubicBezTo>
                    <a:cubicBezTo>
                      <a:pt x="58" y="30"/>
                      <a:pt x="59" y="32"/>
                      <a:pt x="59" y="31"/>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3" name="Freeform 650">
                <a:extLst>
                  <a:ext uri="{FF2B5EF4-FFF2-40B4-BE49-F238E27FC236}">
                    <a16:creationId xmlns:a16="http://schemas.microsoft.com/office/drawing/2014/main" id="{3CA123D4-77F1-B040-AED4-6092CCB1A768}"/>
                  </a:ext>
                </a:extLst>
              </p:cNvPr>
              <p:cNvSpPr>
                <a:spLocks/>
              </p:cNvSpPr>
              <p:nvPr/>
            </p:nvSpPr>
            <p:spPr bwMode="auto">
              <a:xfrm>
                <a:off x="11983632" y="6621615"/>
                <a:ext cx="207006" cy="140163"/>
              </a:xfrm>
              <a:custGeom>
                <a:avLst/>
                <a:gdLst>
                  <a:gd name="T0" fmla="*/ 17 w 22"/>
                  <a:gd name="T1" fmla="*/ 1 h 15"/>
                  <a:gd name="T2" fmla="*/ 9 w 22"/>
                  <a:gd name="T3" fmla="*/ 1 h 15"/>
                  <a:gd name="T4" fmla="*/ 8 w 22"/>
                  <a:gd name="T5" fmla="*/ 2 h 15"/>
                  <a:gd name="T6" fmla="*/ 5 w 22"/>
                  <a:gd name="T7" fmla="*/ 2 h 15"/>
                  <a:gd name="T8" fmla="*/ 3 w 22"/>
                  <a:gd name="T9" fmla="*/ 5 h 15"/>
                  <a:gd name="T10" fmla="*/ 1 w 22"/>
                  <a:gd name="T11" fmla="*/ 9 h 15"/>
                  <a:gd name="T12" fmla="*/ 4 w 22"/>
                  <a:gd name="T13" fmla="*/ 10 h 15"/>
                  <a:gd name="T14" fmla="*/ 7 w 22"/>
                  <a:gd name="T15" fmla="*/ 11 h 15"/>
                  <a:gd name="T16" fmla="*/ 11 w 22"/>
                  <a:gd name="T17" fmla="*/ 10 h 15"/>
                  <a:gd name="T18" fmla="*/ 13 w 22"/>
                  <a:gd name="T19" fmla="*/ 10 h 15"/>
                  <a:gd name="T20" fmla="*/ 16 w 22"/>
                  <a:gd name="T21" fmla="*/ 8 h 15"/>
                  <a:gd name="T22" fmla="*/ 18 w 22"/>
                  <a:gd name="T23" fmla="*/ 9 h 15"/>
                  <a:gd name="T24" fmla="*/ 21 w 22"/>
                  <a:gd name="T25" fmla="*/ 8 h 15"/>
                  <a:gd name="T26" fmla="*/ 22 w 22"/>
                  <a:gd name="T27" fmla="*/ 5 h 15"/>
                  <a:gd name="T28" fmla="*/ 18 w 22"/>
                  <a:gd name="T29" fmla="*/ 4 h 15"/>
                  <a:gd name="T30" fmla="*/ 17 w 22"/>
                  <a:gd name="T31"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5">
                    <a:moveTo>
                      <a:pt x="17" y="1"/>
                    </a:moveTo>
                    <a:cubicBezTo>
                      <a:pt x="14" y="0"/>
                      <a:pt x="12" y="1"/>
                      <a:pt x="9" y="1"/>
                    </a:cubicBezTo>
                    <a:cubicBezTo>
                      <a:pt x="7" y="1"/>
                      <a:pt x="9" y="1"/>
                      <a:pt x="8" y="2"/>
                    </a:cubicBezTo>
                    <a:cubicBezTo>
                      <a:pt x="7" y="2"/>
                      <a:pt x="5" y="2"/>
                      <a:pt x="5" y="2"/>
                    </a:cubicBezTo>
                    <a:cubicBezTo>
                      <a:pt x="4" y="2"/>
                      <a:pt x="3" y="5"/>
                      <a:pt x="3" y="5"/>
                    </a:cubicBezTo>
                    <a:cubicBezTo>
                      <a:pt x="2" y="6"/>
                      <a:pt x="0" y="10"/>
                      <a:pt x="1" y="9"/>
                    </a:cubicBezTo>
                    <a:cubicBezTo>
                      <a:pt x="3" y="9"/>
                      <a:pt x="3" y="8"/>
                      <a:pt x="4" y="10"/>
                    </a:cubicBezTo>
                    <a:cubicBezTo>
                      <a:pt x="4" y="12"/>
                      <a:pt x="5" y="11"/>
                      <a:pt x="7" y="11"/>
                    </a:cubicBezTo>
                    <a:cubicBezTo>
                      <a:pt x="8" y="11"/>
                      <a:pt x="10" y="11"/>
                      <a:pt x="11" y="10"/>
                    </a:cubicBezTo>
                    <a:cubicBezTo>
                      <a:pt x="12" y="8"/>
                      <a:pt x="13" y="9"/>
                      <a:pt x="13" y="10"/>
                    </a:cubicBezTo>
                    <a:cubicBezTo>
                      <a:pt x="16" y="15"/>
                      <a:pt x="15" y="8"/>
                      <a:pt x="16" y="8"/>
                    </a:cubicBezTo>
                    <a:cubicBezTo>
                      <a:pt x="17" y="8"/>
                      <a:pt x="17" y="9"/>
                      <a:pt x="18" y="9"/>
                    </a:cubicBezTo>
                    <a:cubicBezTo>
                      <a:pt x="19" y="9"/>
                      <a:pt x="20" y="9"/>
                      <a:pt x="21" y="8"/>
                    </a:cubicBezTo>
                    <a:cubicBezTo>
                      <a:pt x="22" y="7"/>
                      <a:pt x="22" y="7"/>
                      <a:pt x="22" y="5"/>
                    </a:cubicBezTo>
                    <a:cubicBezTo>
                      <a:pt x="22" y="5"/>
                      <a:pt x="19" y="4"/>
                      <a:pt x="18" y="4"/>
                    </a:cubicBezTo>
                    <a:cubicBezTo>
                      <a:pt x="17" y="3"/>
                      <a:pt x="17" y="2"/>
                      <a:pt x="1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4" name="Freeform 651">
                <a:extLst>
                  <a:ext uri="{FF2B5EF4-FFF2-40B4-BE49-F238E27FC236}">
                    <a16:creationId xmlns:a16="http://schemas.microsoft.com/office/drawing/2014/main" id="{F466A740-561A-2D4B-AC2A-10E1FB2E98DF}"/>
                  </a:ext>
                </a:extLst>
              </p:cNvPr>
              <p:cNvSpPr>
                <a:spLocks/>
              </p:cNvSpPr>
              <p:nvPr/>
            </p:nvSpPr>
            <p:spPr bwMode="auto">
              <a:xfrm>
                <a:off x="11808475" y="6395439"/>
                <a:ext cx="194268" cy="121050"/>
              </a:xfrm>
              <a:custGeom>
                <a:avLst/>
                <a:gdLst>
                  <a:gd name="T0" fmla="*/ 19 w 21"/>
                  <a:gd name="T1" fmla="*/ 9 h 13"/>
                  <a:gd name="T2" fmla="*/ 20 w 21"/>
                  <a:gd name="T3" fmla="*/ 6 h 13"/>
                  <a:gd name="T4" fmla="*/ 18 w 21"/>
                  <a:gd name="T5" fmla="*/ 3 h 13"/>
                  <a:gd name="T6" fmla="*/ 13 w 21"/>
                  <a:gd name="T7" fmla="*/ 0 h 13"/>
                  <a:gd name="T8" fmla="*/ 8 w 21"/>
                  <a:gd name="T9" fmla="*/ 1 h 13"/>
                  <a:gd name="T10" fmla="*/ 3 w 21"/>
                  <a:gd name="T11" fmla="*/ 1 h 13"/>
                  <a:gd name="T12" fmla="*/ 5 w 21"/>
                  <a:gd name="T13" fmla="*/ 6 h 13"/>
                  <a:gd name="T14" fmla="*/ 10 w 21"/>
                  <a:gd name="T15" fmla="*/ 9 h 13"/>
                  <a:gd name="T16" fmla="*/ 12 w 21"/>
                  <a:gd name="T17" fmla="*/ 9 h 13"/>
                  <a:gd name="T18" fmla="*/ 18 w 21"/>
                  <a:gd name="T19" fmla="*/ 13 h 13"/>
                  <a:gd name="T20" fmla="*/ 19 w 21"/>
                  <a:gd name="T21" fmla="*/ 9 h 13"/>
                  <a:gd name="T22" fmla="*/ 19 w 21"/>
                  <a:gd name="T23"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3">
                    <a:moveTo>
                      <a:pt x="19" y="9"/>
                    </a:moveTo>
                    <a:cubicBezTo>
                      <a:pt x="18" y="9"/>
                      <a:pt x="21" y="7"/>
                      <a:pt x="20" y="6"/>
                    </a:cubicBezTo>
                    <a:cubicBezTo>
                      <a:pt x="20" y="5"/>
                      <a:pt x="19" y="3"/>
                      <a:pt x="18" y="3"/>
                    </a:cubicBezTo>
                    <a:cubicBezTo>
                      <a:pt x="17" y="2"/>
                      <a:pt x="15" y="0"/>
                      <a:pt x="13" y="0"/>
                    </a:cubicBezTo>
                    <a:cubicBezTo>
                      <a:pt x="11" y="0"/>
                      <a:pt x="10" y="1"/>
                      <a:pt x="8" y="1"/>
                    </a:cubicBezTo>
                    <a:cubicBezTo>
                      <a:pt x="6" y="1"/>
                      <a:pt x="5" y="0"/>
                      <a:pt x="3" y="1"/>
                    </a:cubicBezTo>
                    <a:cubicBezTo>
                      <a:pt x="0" y="3"/>
                      <a:pt x="3" y="5"/>
                      <a:pt x="5" y="6"/>
                    </a:cubicBezTo>
                    <a:cubicBezTo>
                      <a:pt x="7" y="7"/>
                      <a:pt x="8" y="7"/>
                      <a:pt x="10" y="9"/>
                    </a:cubicBezTo>
                    <a:cubicBezTo>
                      <a:pt x="10" y="10"/>
                      <a:pt x="12" y="10"/>
                      <a:pt x="12" y="9"/>
                    </a:cubicBezTo>
                    <a:cubicBezTo>
                      <a:pt x="12" y="10"/>
                      <a:pt x="17" y="13"/>
                      <a:pt x="18" y="13"/>
                    </a:cubicBezTo>
                    <a:cubicBezTo>
                      <a:pt x="18" y="11"/>
                      <a:pt x="18" y="10"/>
                      <a:pt x="19" y="9"/>
                    </a:cubicBezTo>
                    <a:cubicBezTo>
                      <a:pt x="19" y="9"/>
                      <a:pt x="17" y="10"/>
                      <a:pt x="19"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5" name="Freeform 652">
                <a:extLst>
                  <a:ext uri="{FF2B5EF4-FFF2-40B4-BE49-F238E27FC236}">
                    <a16:creationId xmlns:a16="http://schemas.microsoft.com/office/drawing/2014/main" id="{8869EEB9-5F60-0C43-BA90-42513D32818D}"/>
                  </a:ext>
                </a:extLst>
              </p:cNvPr>
              <p:cNvSpPr>
                <a:spLocks/>
              </p:cNvSpPr>
              <p:nvPr/>
            </p:nvSpPr>
            <p:spPr bwMode="auto">
              <a:xfrm>
                <a:off x="11967711" y="6481449"/>
                <a:ext cx="35033" cy="35042"/>
              </a:xfrm>
              <a:custGeom>
                <a:avLst/>
                <a:gdLst>
                  <a:gd name="T0" fmla="*/ 2 w 4"/>
                  <a:gd name="T1" fmla="*/ 0 h 4"/>
                  <a:gd name="T2" fmla="*/ 1 w 4"/>
                  <a:gd name="T3" fmla="*/ 3 h 4"/>
                  <a:gd name="T4" fmla="*/ 4 w 4"/>
                  <a:gd name="T5" fmla="*/ 4 h 4"/>
                  <a:gd name="T6" fmla="*/ 2 w 4"/>
                  <a:gd name="T7" fmla="*/ 0 h 4"/>
                  <a:gd name="T8" fmla="*/ 2 w 4"/>
                  <a:gd name="T9" fmla="*/ 0 h 4"/>
                </a:gdLst>
                <a:ahLst/>
                <a:cxnLst>
                  <a:cxn ang="0">
                    <a:pos x="T0" y="T1"/>
                  </a:cxn>
                  <a:cxn ang="0">
                    <a:pos x="T2" y="T3"/>
                  </a:cxn>
                  <a:cxn ang="0">
                    <a:pos x="T4" y="T5"/>
                  </a:cxn>
                  <a:cxn ang="0">
                    <a:pos x="T6" y="T7"/>
                  </a:cxn>
                  <a:cxn ang="0">
                    <a:pos x="T8" y="T9"/>
                  </a:cxn>
                </a:cxnLst>
                <a:rect l="0" t="0" r="r" b="b"/>
                <a:pathLst>
                  <a:path w="4" h="4">
                    <a:moveTo>
                      <a:pt x="2" y="0"/>
                    </a:moveTo>
                    <a:cubicBezTo>
                      <a:pt x="1" y="0"/>
                      <a:pt x="1" y="2"/>
                      <a:pt x="1" y="3"/>
                    </a:cubicBezTo>
                    <a:cubicBezTo>
                      <a:pt x="1" y="4"/>
                      <a:pt x="3" y="4"/>
                      <a:pt x="4" y="4"/>
                    </a:cubicBezTo>
                    <a:cubicBezTo>
                      <a:pt x="4" y="2"/>
                      <a:pt x="4" y="1"/>
                      <a:pt x="2" y="0"/>
                    </a:cubicBezTo>
                    <a:cubicBezTo>
                      <a:pt x="0" y="1"/>
                      <a:pt x="3"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6" name="Freeform 653">
                <a:extLst>
                  <a:ext uri="{FF2B5EF4-FFF2-40B4-BE49-F238E27FC236}">
                    <a16:creationId xmlns:a16="http://schemas.microsoft.com/office/drawing/2014/main" id="{F863CDC4-A5B3-0046-8A52-1EE65A625385}"/>
                  </a:ext>
                </a:extLst>
              </p:cNvPr>
              <p:cNvSpPr>
                <a:spLocks/>
              </p:cNvSpPr>
              <p:nvPr/>
            </p:nvSpPr>
            <p:spPr bwMode="auto">
              <a:xfrm>
                <a:off x="11853061" y="6264832"/>
                <a:ext cx="187902" cy="168837"/>
              </a:xfrm>
              <a:custGeom>
                <a:avLst/>
                <a:gdLst>
                  <a:gd name="T0" fmla="*/ 5 w 20"/>
                  <a:gd name="T1" fmla="*/ 14 h 18"/>
                  <a:gd name="T2" fmla="*/ 14 w 20"/>
                  <a:gd name="T3" fmla="*/ 18 h 18"/>
                  <a:gd name="T4" fmla="*/ 14 w 20"/>
                  <a:gd name="T5" fmla="*/ 13 h 18"/>
                  <a:gd name="T6" fmla="*/ 17 w 20"/>
                  <a:gd name="T7" fmla="*/ 11 h 18"/>
                  <a:gd name="T8" fmla="*/ 18 w 20"/>
                  <a:gd name="T9" fmla="*/ 6 h 18"/>
                  <a:gd name="T10" fmla="*/ 20 w 20"/>
                  <a:gd name="T11" fmla="*/ 5 h 18"/>
                  <a:gd name="T12" fmla="*/ 19 w 20"/>
                  <a:gd name="T13" fmla="*/ 0 h 18"/>
                  <a:gd name="T14" fmla="*/ 15 w 20"/>
                  <a:gd name="T15" fmla="*/ 1 h 18"/>
                  <a:gd name="T16" fmla="*/ 10 w 20"/>
                  <a:gd name="T17" fmla="*/ 3 h 18"/>
                  <a:gd name="T18" fmla="*/ 12 w 20"/>
                  <a:gd name="T19" fmla="*/ 6 h 18"/>
                  <a:gd name="T20" fmla="*/ 10 w 20"/>
                  <a:gd name="T21" fmla="*/ 4 h 18"/>
                  <a:gd name="T22" fmla="*/ 7 w 20"/>
                  <a:gd name="T23" fmla="*/ 6 h 18"/>
                  <a:gd name="T24" fmla="*/ 5 w 20"/>
                  <a:gd name="T25" fmla="*/ 8 h 18"/>
                  <a:gd name="T26" fmla="*/ 5 w 20"/>
                  <a:gd name="T27" fmla="*/ 12 h 18"/>
                  <a:gd name="T28" fmla="*/ 3 w 20"/>
                  <a:gd name="T29" fmla="*/ 12 h 18"/>
                  <a:gd name="T30" fmla="*/ 4 w 20"/>
                  <a:gd name="T31" fmla="*/ 12 h 18"/>
                  <a:gd name="T32" fmla="*/ 3 w 20"/>
                  <a:gd name="T33" fmla="*/ 12 h 18"/>
                  <a:gd name="T34" fmla="*/ 4 w 20"/>
                  <a:gd name="T35" fmla="*/ 14 h 18"/>
                  <a:gd name="T36" fmla="*/ 2 w 20"/>
                  <a:gd name="T37" fmla="*/ 13 h 18"/>
                  <a:gd name="T38" fmla="*/ 3 w 20"/>
                  <a:gd name="T39" fmla="*/ 14 h 18"/>
                  <a:gd name="T40" fmla="*/ 1 w 20"/>
                  <a:gd name="T41" fmla="*/ 14 h 18"/>
                  <a:gd name="T42" fmla="*/ 2 w 20"/>
                  <a:gd name="T43" fmla="*/ 15 h 18"/>
                  <a:gd name="T44" fmla="*/ 0 w 20"/>
                  <a:gd name="T45" fmla="*/ 15 h 18"/>
                  <a:gd name="T46" fmla="*/ 5 w 20"/>
                  <a:gd name="T47" fmla="*/ 14 h 18"/>
                  <a:gd name="T48" fmla="*/ 5 w 20"/>
                  <a:gd name="T49"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5" y="14"/>
                    </a:moveTo>
                    <a:cubicBezTo>
                      <a:pt x="7" y="12"/>
                      <a:pt x="13" y="16"/>
                      <a:pt x="14" y="18"/>
                    </a:cubicBezTo>
                    <a:cubicBezTo>
                      <a:pt x="15" y="16"/>
                      <a:pt x="15" y="14"/>
                      <a:pt x="14" y="13"/>
                    </a:cubicBezTo>
                    <a:cubicBezTo>
                      <a:pt x="13" y="9"/>
                      <a:pt x="15" y="11"/>
                      <a:pt x="17" y="11"/>
                    </a:cubicBezTo>
                    <a:cubicBezTo>
                      <a:pt x="19" y="10"/>
                      <a:pt x="19" y="8"/>
                      <a:pt x="18" y="6"/>
                    </a:cubicBezTo>
                    <a:cubicBezTo>
                      <a:pt x="18" y="6"/>
                      <a:pt x="20" y="5"/>
                      <a:pt x="20" y="5"/>
                    </a:cubicBezTo>
                    <a:cubicBezTo>
                      <a:pt x="20" y="3"/>
                      <a:pt x="20" y="2"/>
                      <a:pt x="19" y="0"/>
                    </a:cubicBezTo>
                    <a:cubicBezTo>
                      <a:pt x="19" y="0"/>
                      <a:pt x="15" y="1"/>
                      <a:pt x="15" y="1"/>
                    </a:cubicBezTo>
                    <a:cubicBezTo>
                      <a:pt x="13" y="1"/>
                      <a:pt x="12" y="1"/>
                      <a:pt x="10" y="3"/>
                    </a:cubicBezTo>
                    <a:cubicBezTo>
                      <a:pt x="10" y="3"/>
                      <a:pt x="13" y="5"/>
                      <a:pt x="12" y="6"/>
                    </a:cubicBezTo>
                    <a:cubicBezTo>
                      <a:pt x="10" y="8"/>
                      <a:pt x="9" y="4"/>
                      <a:pt x="10" y="4"/>
                    </a:cubicBezTo>
                    <a:cubicBezTo>
                      <a:pt x="10" y="4"/>
                      <a:pt x="7" y="5"/>
                      <a:pt x="7" y="6"/>
                    </a:cubicBezTo>
                    <a:cubicBezTo>
                      <a:pt x="7" y="7"/>
                      <a:pt x="6" y="7"/>
                      <a:pt x="5" y="8"/>
                    </a:cubicBezTo>
                    <a:cubicBezTo>
                      <a:pt x="5" y="9"/>
                      <a:pt x="3" y="12"/>
                      <a:pt x="5" y="12"/>
                    </a:cubicBezTo>
                    <a:cubicBezTo>
                      <a:pt x="5" y="12"/>
                      <a:pt x="4" y="12"/>
                      <a:pt x="3" y="12"/>
                    </a:cubicBezTo>
                    <a:cubicBezTo>
                      <a:pt x="3" y="12"/>
                      <a:pt x="4" y="12"/>
                      <a:pt x="4" y="12"/>
                    </a:cubicBezTo>
                    <a:cubicBezTo>
                      <a:pt x="4" y="12"/>
                      <a:pt x="3" y="12"/>
                      <a:pt x="3" y="12"/>
                    </a:cubicBezTo>
                    <a:cubicBezTo>
                      <a:pt x="2" y="13"/>
                      <a:pt x="4" y="14"/>
                      <a:pt x="4" y="14"/>
                    </a:cubicBezTo>
                    <a:cubicBezTo>
                      <a:pt x="4" y="13"/>
                      <a:pt x="2" y="13"/>
                      <a:pt x="2" y="13"/>
                    </a:cubicBezTo>
                    <a:cubicBezTo>
                      <a:pt x="2" y="13"/>
                      <a:pt x="3" y="14"/>
                      <a:pt x="3" y="14"/>
                    </a:cubicBezTo>
                    <a:cubicBezTo>
                      <a:pt x="3" y="14"/>
                      <a:pt x="2" y="13"/>
                      <a:pt x="1" y="14"/>
                    </a:cubicBezTo>
                    <a:cubicBezTo>
                      <a:pt x="1" y="14"/>
                      <a:pt x="2" y="15"/>
                      <a:pt x="2" y="15"/>
                    </a:cubicBezTo>
                    <a:cubicBezTo>
                      <a:pt x="2" y="14"/>
                      <a:pt x="1" y="14"/>
                      <a:pt x="0" y="15"/>
                    </a:cubicBezTo>
                    <a:cubicBezTo>
                      <a:pt x="1" y="15"/>
                      <a:pt x="4" y="16"/>
                      <a:pt x="5" y="14"/>
                    </a:cubicBezTo>
                    <a:cubicBezTo>
                      <a:pt x="5" y="14"/>
                      <a:pt x="5" y="15"/>
                      <a:pt x="5"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7" name="Freeform 654">
                <a:extLst>
                  <a:ext uri="{FF2B5EF4-FFF2-40B4-BE49-F238E27FC236}">
                    <a16:creationId xmlns:a16="http://schemas.microsoft.com/office/drawing/2014/main" id="{D7A13EC7-2F2C-DC47-BCD1-2FB17EC62F32}"/>
                  </a:ext>
                </a:extLst>
              </p:cNvPr>
              <p:cNvSpPr>
                <a:spLocks/>
              </p:cNvSpPr>
              <p:nvPr/>
            </p:nvSpPr>
            <p:spPr bwMode="auto">
              <a:xfrm>
                <a:off x="12079173" y="5984503"/>
                <a:ext cx="140127" cy="207060"/>
              </a:xfrm>
              <a:custGeom>
                <a:avLst/>
                <a:gdLst>
                  <a:gd name="T0" fmla="*/ 10 w 15"/>
                  <a:gd name="T1" fmla="*/ 21 h 22"/>
                  <a:gd name="T2" fmla="*/ 8 w 15"/>
                  <a:gd name="T3" fmla="*/ 17 h 22"/>
                  <a:gd name="T4" fmla="*/ 11 w 15"/>
                  <a:gd name="T5" fmla="*/ 12 h 22"/>
                  <a:gd name="T6" fmla="*/ 11 w 15"/>
                  <a:gd name="T7" fmla="*/ 13 h 22"/>
                  <a:gd name="T8" fmla="*/ 15 w 15"/>
                  <a:gd name="T9" fmla="*/ 10 h 22"/>
                  <a:gd name="T10" fmla="*/ 11 w 15"/>
                  <a:gd name="T11" fmla="*/ 7 h 22"/>
                  <a:gd name="T12" fmla="*/ 10 w 15"/>
                  <a:gd name="T13" fmla="*/ 5 h 22"/>
                  <a:gd name="T14" fmla="*/ 12 w 15"/>
                  <a:gd name="T15" fmla="*/ 4 h 22"/>
                  <a:gd name="T16" fmla="*/ 12 w 15"/>
                  <a:gd name="T17" fmla="*/ 1 h 22"/>
                  <a:gd name="T18" fmla="*/ 11 w 15"/>
                  <a:gd name="T19" fmla="*/ 1 h 22"/>
                  <a:gd name="T20" fmla="*/ 7 w 15"/>
                  <a:gd name="T21" fmla="*/ 4 h 22"/>
                  <a:gd name="T22" fmla="*/ 2 w 15"/>
                  <a:gd name="T23" fmla="*/ 5 h 22"/>
                  <a:gd name="T24" fmla="*/ 4 w 15"/>
                  <a:gd name="T25" fmla="*/ 6 h 22"/>
                  <a:gd name="T26" fmla="*/ 6 w 15"/>
                  <a:gd name="T27" fmla="*/ 8 h 22"/>
                  <a:gd name="T28" fmla="*/ 4 w 15"/>
                  <a:gd name="T29" fmla="*/ 8 h 22"/>
                  <a:gd name="T30" fmla="*/ 2 w 15"/>
                  <a:gd name="T31" fmla="*/ 8 h 22"/>
                  <a:gd name="T32" fmla="*/ 0 w 15"/>
                  <a:gd name="T33" fmla="*/ 9 h 22"/>
                  <a:gd name="T34" fmla="*/ 0 w 15"/>
                  <a:gd name="T35" fmla="*/ 14 h 22"/>
                  <a:gd name="T36" fmla="*/ 2 w 15"/>
                  <a:gd name="T37" fmla="*/ 16 h 22"/>
                  <a:gd name="T38" fmla="*/ 2 w 15"/>
                  <a:gd name="T39" fmla="*/ 20 h 22"/>
                  <a:gd name="T40" fmla="*/ 10 w 15"/>
                  <a:gd name="T41" fmla="*/ 2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2">
                    <a:moveTo>
                      <a:pt x="10" y="21"/>
                    </a:moveTo>
                    <a:cubicBezTo>
                      <a:pt x="10" y="20"/>
                      <a:pt x="6" y="18"/>
                      <a:pt x="8" y="17"/>
                    </a:cubicBezTo>
                    <a:cubicBezTo>
                      <a:pt x="9" y="16"/>
                      <a:pt x="9" y="13"/>
                      <a:pt x="11" y="12"/>
                    </a:cubicBezTo>
                    <a:cubicBezTo>
                      <a:pt x="11" y="12"/>
                      <a:pt x="11" y="13"/>
                      <a:pt x="11" y="13"/>
                    </a:cubicBezTo>
                    <a:cubicBezTo>
                      <a:pt x="12" y="13"/>
                      <a:pt x="15" y="11"/>
                      <a:pt x="15" y="10"/>
                    </a:cubicBezTo>
                    <a:cubicBezTo>
                      <a:pt x="15" y="9"/>
                      <a:pt x="11" y="9"/>
                      <a:pt x="11" y="7"/>
                    </a:cubicBezTo>
                    <a:cubicBezTo>
                      <a:pt x="11" y="6"/>
                      <a:pt x="10" y="6"/>
                      <a:pt x="10" y="5"/>
                    </a:cubicBezTo>
                    <a:cubicBezTo>
                      <a:pt x="10" y="4"/>
                      <a:pt x="12" y="5"/>
                      <a:pt x="12" y="4"/>
                    </a:cubicBezTo>
                    <a:cubicBezTo>
                      <a:pt x="12" y="3"/>
                      <a:pt x="12" y="2"/>
                      <a:pt x="12" y="1"/>
                    </a:cubicBezTo>
                    <a:cubicBezTo>
                      <a:pt x="12" y="0"/>
                      <a:pt x="12" y="1"/>
                      <a:pt x="11" y="1"/>
                    </a:cubicBezTo>
                    <a:cubicBezTo>
                      <a:pt x="8" y="1"/>
                      <a:pt x="9" y="2"/>
                      <a:pt x="7" y="4"/>
                    </a:cubicBezTo>
                    <a:cubicBezTo>
                      <a:pt x="6" y="5"/>
                      <a:pt x="3" y="3"/>
                      <a:pt x="2" y="5"/>
                    </a:cubicBezTo>
                    <a:cubicBezTo>
                      <a:pt x="0" y="7"/>
                      <a:pt x="3" y="7"/>
                      <a:pt x="4" y="6"/>
                    </a:cubicBezTo>
                    <a:cubicBezTo>
                      <a:pt x="5" y="5"/>
                      <a:pt x="7" y="6"/>
                      <a:pt x="6" y="8"/>
                    </a:cubicBezTo>
                    <a:cubicBezTo>
                      <a:pt x="6" y="7"/>
                      <a:pt x="4" y="6"/>
                      <a:pt x="4" y="8"/>
                    </a:cubicBezTo>
                    <a:cubicBezTo>
                      <a:pt x="3" y="8"/>
                      <a:pt x="2" y="9"/>
                      <a:pt x="2" y="8"/>
                    </a:cubicBezTo>
                    <a:cubicBezTo>
                      <a:pt x="2" y="9"/>
                      <a:pt x="0" y="7"/>
                      <a:pt x="0" y="9"/>
                    </a:cubicBezTo>
                    <a:cubicBezTo>
                      <a:pt x="0" y="11"/>
                      <a:pt x="0" y="12"/>
                      <a:pt x="0" y="14"/>
                    </a:cubicBezTo>
                    <a:cubicBezTo>
                      <a:pt x="1" y="15"/>
                      <a:pt x="2" y="15"/>
                      <a:pt x="2" y="16"/>
                    </a:cubicBezTo>
                    <a:cubicBezTo>
                      <a:pt x="3" y="18"/>
                      <a:pt x="1" y="19"/>
                      <a:pt x="2" y="20"/>
                    </a:cubicBezTo>
                    <a:cubicBezTo>
                      <a:pt x="4" y="22"/>
                      <a:pt x="8" y="21"/>
                      <a:pt x="10" y="2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8" name="Freeform 655">
                <a:extLst>
                  <a:ext uri="{FF2B5EF4-FFF2-40B4-BE49-F238E27FC236}">
                    <a16:creationId xmlns:a16="http://schemas.microsoft.com/office/drawing/2014/main" id="{D460E51F-9F6C-8141-9673-58C2BA56BE58}"/>
                  </a:ext>
                </a:extLst>
              </p:cNvPr>
              <p:cNvSpPr>
                <a:spLocks/>
              </p:cNvSpPr>
              <p:nvPr/>
            </p:nvSpPr>
            <p:spPr bwMode="auto">
              <a:xfrm>
                <a:off x="11977264" y="6172454"/>
                <a:ext cx="417198" cy="484203"/>
              </a:xfrm>
              <a:custGeom>
                <a:avLst/>
                <a:gdLst>
                  <a:gd name="T0" fmla="*/ 44 w 45"/>
                  <a:gd name="T1" fmla="*/ 24 h 52"/>
                  <a:gd name="T2" fmla="*/ 43 w 45"/>
                  <a:gd name="T3" fmla="*/ 18 h 52"/>
                  <a:gd name="T4" fmla="*/ 42 w 45"/>
                  <a:gd name="T5" fmla="*/ 12 h 52"/>
                  <a:gd name="T6" fmla="*/ 41 w 45"/>
                  <a:gd name="T7" fmla="*/ 7 h 52"/>
                  <a:gd name="T8" fmla="*/ 38 w 45"/>
                  <a:gd name="T9" fmla="*/ 4 h 52"/>
                  <a:gd name="T10" fmla="*/ 38 w 45"/>
                  <a:gd name="T11" fmla="*/ 2 h 52"/>
                  <a:gd name="T12" fmla="*/ 37 w 45"/>
                  <a:gd name="T13" fmla="*/ 5 h 52"/>
                  <a:gd name="T14" fmla="*/ 33 w 45"/>
                  <a:gd name="T15" fmla="*/ 4 h 52"/>
                  <a:gd name="T16" fmla="*/ 25 w 45"/>
                  <a:gd name="T17" fmla="*/ 7 h 52"/>
                  <a:gd name="T18" fmla="*/ 26 w 45"/>
                  <a:gd name="T19" fmla="*/ 4 h 52"/>
                  <a:gd name="T20" fmla="*/ 21 w 45"/>
                  <a:gd name="T21" fmla="*/ 4 h 52"/>
                  <a:gd name="T22" fmla="*/ 20 w 45"/>
                  <a:gd name="T23" fmla="*/ 1 h 52"/>
                  <a:gd name="T24" fmla="*/ 13 w 45"/>
                  <a:gd name="T25" fmla="*/ 0 h 52"/>
                  <a:gd name="T26" fmla="*/ 15 w 45"/>
                  <a:gd name="T27" fmla="*/ 3 h 52"/>
                  <a:gd name="T28" fmla="*/ 15 w 45"/>
                  <a:gd name="T29" fmla="*/ 6 h 52"/>
                  <a:gd name="T30" fmla="*/ 17 w 45"/>
                  <a:gd name="T31" fmla="*/ 7 h 52"/>
                  <a:gd name="T32" fmla="*/ 20 w 45"/>
                  <a:gd name="T33" fmla="*/ 9 h 52"/>
                  <a:gd name="T34" fmla="*/ 15 w 45"/>
                  <a:gd name="T35" fmla="*/ 8 h 52"/>
                  <a:gd name="T36" fmla="*/ 14 w 45"/>
                  <a:gd name="T37" fmla="*/ 8 h 52"/>
                  <a:gd name="T38" fmla="*/ 13 w 45"/>
                  <a:gd name="T39" fmla="*/ 10 h 52"/>
                  <a:gd name="T40" fmla="*/ 6 w 45"/>
                  <a:gd name="T41" fmla="*/ 10 h 52"/>
                  <a:gd name="T42" fmla="*/ 6 w 45"/>
                  <a:gd name="T43" fmla="*/ 15 h 52"/>
                  <a:gd name="T44" fmla="*/ 6 w 45"/>
                  <a:gd name="T45" fmla="*/ 17 h 52"/>
                  <a:gd name="T46" fmla="*/ 1 w 45"/>
                  <a:gd name="T47" fmla="*/ 22 h 52"/>
                  <a:gd name="T48" fmla="*/ 2 w 45"/>
                  <a:gd name="T49" fmla="*/ 26 h 52"/>
                  <a:gd name="T50" fmla="*/ 2 w 45"/>
                  <a:gd name="T51" fmla="*/ 30 h 52"/>
                  <a:gd name="T52" fmla="*/ 1 w 45"/>
                  <a:gd name="T53" fmla="*/ 33 h 52"/>
                  <a:gd name="T54" fmla="*/ 3 w 45"/>
                  <a:gd name="T55" fmla="*/ 37 h 52"/>
                  <a:gd name="T56" fmla="*/ 11 w 45"/>
                  <a:gd name="T57" fmla="*/ 40 h 52"/>
                  <a:gd name="T58" fmla="*/ 9 w 45"/>
                  <a:gd name="T59" fmla="*/ 49 h 52"/>
                  <a:gd name="T60" fmla="*/ 19 w 45"/>
                  <a:gd name="T61" fmla="*/ 49 h 52"/>
                  <a:gd name="T62" fmla="*/ 23 w 45"/>
                  <a:gd name="T63" fmla="*/ 51 h 52"/>
                  <a:gd name="T64" fmla="*/ 26 w 45"/>
                  <a:gd name="T65" fmla="*/ 50 h 52"/>
                  <a:gd name="T66" fmla="*/ 33 w 45"/>
                  <a:gd name="T67" fmla="*/ 49 h 52"/>
                  <a:gd name="T68" fmla="*/ 36 w 45"/>
                  <a:gd name="T69" fmla="*/ 49 h 52"/>
                  <a:gd name="T70" fmla="*/ 36 w 45"/>
                  <a:gd name="T71" fmla="*/ 45 h 52"/>
                  <a:gd name="T72" fmla="*/ 40 w 45"/>
                  <a:gd name="T73" fmla="*/ 43 h 52"/>
                  <a:gd name="T74" fmla="*/ 35 w 45"/>
                  <a:gd name="T75" fmla="*/ 37 h 52"/>
                  <a:gd name="T76" fmla="*/ 32 w 45"/>
                  <a:gd name="T77" fmla="*/ 31 h 52"/>
                  <a:gd name="T78" fmla="*/ 41 w 45"/>
                  <a:gd name="T79" fmla="*/ 26 h 52"/>
                  <a:gd name="T80" fmla="*/ 44 w 45"/>
                  <a:gd name="T81" fmla="*/ 28 h 52"/>
                  <a:gd name="T82" fmla="*/ 44 w 45"/>
                  <a:gd name="T83" fmla="*/ 24 h 52"/>
                  <a:gd name="T84" fmla="*/ 44 w 45"/>
                  <a:gd name="T85" fmla="*/ 2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 h="52">
                    <a:moveTo>
                      <a:pt x="44" y="24"/>
                    </a:moveTo>
                    <a:cubicBezTo>
                      <a:pt x="43" y="22"/>
                      <a:pt x="43" y="20"/>
                      <a:pt x="43" y="18"/>
                    </a:cubicBezTo>
                    <a:cubicBezTo>
                      <a:pt x="42" y="16"/>
                      <a:pt x="41" y="15"/>
                      <a:pt x="42" y="12"/>
                    </a:cubicBezTo>
                    <a:cubicBezTo>
                      <a:pt x="43" y="10"/>
                      <a:pt x="42" y="8"/>
                      <a:pt x="41" y="7"/>
                    </a:cubicBezTo>
                    <a:cubicBezTo>
                      <a:pt x="40" y="6"/>
                      <a:pt x="38" y="5"/>
                      <a:pt x="38" y="4"/>
                    </a:cubicBezTo>
                    <a:cubicBezTo>
                      <a:pt x="38" y="4"/>
                      <a:pt x="39" y="3"/>
                      <a:pt x="38" y="2"/>
                    </a:cubicBezTo>
                    <a:cubicBezTo>
                      <a:pt x="37" y="2"/>
                      <a:pt x="37" y="5"/>
                      <a:pt x="37" y="5"/>
                    </a:cubicBezTo>
                    <a:cubicBezTo>
                      <a:pt x="35" y="5"/>
                      <a:pt x="35" y="4"/>
                      <a:pt x="33" y="4"/>
                    </a:cubicBezTo>
                    <a:cubicBezTo>
                      <a:pt x="31" y="5"/>
                      <a:pt x="28" y="7"/>
                      <a:pt x="25" y="7"/>
                    </a:cubicBezTo>
                    <a:cubicBezTo>
                      <a:pt x="24" y="6"/>
                      <a:pt x="26" y="5"/>
                      <a:pt x="26" y="4"/>
                    </a:cubicBezTo>
                    <a:cubicBezTo>
                      <a:pt x="24" y="4"/>
                      <a:pt x="23" y="5"/>
                      <a:pt x="21" y="4"/>
                    </a:cubicBezTo>
                    <a:cubicBezTo>
                      <a:pt x="20" y="3"/>
                      <a:pt x="23" y="1"/>
                      <a:pt x="20" y="1"/>
                    </a:cubicBezTo>
                    <a:cubicBezTo>
                      <a:pt x="18" y="1"/>
                      <a:pt x="16" y="1"/>
                      <a:pt x="13" y="0"/>
                    </a:cubicBezTo>
                    <a:cubicBezTo>
                      <a:pt x="14" y="1"/>
                      <a:pt x="15" y="1"/>
                      <a:pt x="15" y="3"/>
                    </a:cubicBezTo>
                    <a:cubicBezTo>
                      <a:pt x="14" y="4"/>
                      <a:pt x="14" y="4"/>
                      <a:pt x="15" y="6"/>
                    </a:cubicBezTo>
                    <a:cubicBezTo>
                      <a:pt x="15" y="8"/>
                      <a:pt x="15" y="7"/>
                      <a:pt x="17" y="7"/>
                    </a:cubicBezTo>
                    <a:cubicBezTo>
                      <a:pt x="18" y="7"/>
                      <a:pt x="19" y="8"/>
                      <a:pt x="20" y="9"/>
                    </a:cubicBezTo>
                    <a:cubicBezTo>
                      <a:pt x="19" y="8"/>
                      <a:pt x="16" y="8"/>
                      <a:pt x="15" y="8"/>
                    </a:cubicBezTo>
                    <a:cubicBezTo>
                      <a:pt x="15" y="8"/>
                      <a:pt x="14" y="8"/>
                      <a:pt x="14" y="8"/>
                    </a:cubicBezTo>
                    <a:cubicBezTo>
                      <a:pt x="13" y="9"/>
                      <a:pt x="14" y="10"/>
                      <a:pt x="13" y="10"/>
                    </a:cubicBezTo>
                    <a:cubicBezTo>
                      <a:pt x="11" y="11"/>
                      <a:pt x="7" y="6"/>
                      <a:pt x="6" y="10"/>
                    </a:cubicBezTo>
                    <a:cubicBezTo>
                      <a:pt x="7" y="12"/>
                      <a:pt x="8" y="14"/>
                      <a:pt x="6" y="15"/>
                    </a:cubicBezTo>
                    <a:cubicBezTo>
                      <a:pt x="5" y="17"/>
                      <a:pt x="5" y="15"/>
                      <a:pt x="6" y="17"/>
                    </a:cubicBezTo>
                    <a:cubicBezTo>
                      <a:pt x="6" y="22"/>
                      <a:pt x="0" y="20"/>
                      <a:pt x="1" y="22"/>
                    </a:cubicBezTo>
                    <a:cubicBezTo>
                      <a:pt x="1" y="23"/>
                      <a:pt x="2" y="24"/>
                      <a:pt x="2" y="26"/>
                    </a:cubicBezTo>
                    <a:cubicBezTo>
                      <a:pt x="2" y="28"/>
                      <a:pt x="1" y="28"/>
                      <a:pt x="2" y="30"/>
                    </a:cubicBezTo>
                    <a:cubicBezTo>
                      <a:pt x="3" y="31"/>
                      <a:pt x="0" y="33"/>
                      <a:pt x="1" y="33"/>
                    </a:cubicBezTo>
                    <a:cubicBezTo>
                      <a:pt x="3" y="34"/>
                      <a:pt x="2" y="36"/>
                      <a:pt x="3" y="37"/>
                    </a:cubicBezTo>
                    <a:cubicBezTo>
                      <a:pt x="4" y="40"/>
                      <a:pt x="8" y="39"/>
                      <a:pt x="11" y="40"/>
                    </a:cubicBezTo>
                    <a:cubicBezTo>
                      <a:pt x="11" y="40"/>
                      <a:pt x="9" y="48"/>
                      <a:pt x="9" y="49"/>
                    </a:cubicBezTo>
                    <a:cubicBezTo>
                      <a:pt x="13" y="49"/>
                      <a:pt x="15" y="48"/>
                      <a:pt x="19" y="49"/>
                    </a:cubicBezTo>
                    <a:cubicBezTo>
                      <a:pt x="19" y="49"/>
                      <a:pt x="23" y="52"/>
                      <a:pt x="23" y="51"/>
                    </a:cubicBezTo>
                    <a:cubicBezTo>
                      <a:pt x="24" y="49"/>
                      <a:pt x="25" y="49"/>
                      <a:pt x="26" y="50"/>
                    </a:cubicBezTo>
                    <a:cubicBezTo>
                      <a:pt x="27" y="51"/>
                      <a:pt x="32" y="48"/>
                      <a:pt x="33" y="49"/>
                    </a:cubicBezTo>
                    <a:cubicBezTo>
                      <a:pt x="33" y="49"/>
                      <a:pt x="37" y="50"/>
                      <a:pt x="36" y="49"/>
                    </a:cubicBezTo>
                    <a:cubicBezTo>
                      <a:pt x="35" y="46"/>
                      <a:pt x="34" y="46"/>
                      <a:pt x="36" y="45"/>
                    </a:cubicBezTo>
                    <a:cubicBezTo>
                      <a:pt x="38" y="43"/>
                      <a:pt x="38" y="43"/>
                      <a:pt x="40" y="43"/>
                    </a:cubicBezTo>
                    <a:cubicBezTo>
                      <a:pt x="41" y="42"/>
                      <a:pt x="36" y="38"/>
                      <a:pt x="35" y="37"/>
                    </a:cubicBezTo>
                    <a:cubicBezTo>
                      <a:pt x="34" y="37"/>
                      <a:pt x="31" y="32"/>
                      <a:pt x="32" y="31"/>
                    </a:cubicBezTo>
                    <a:cubicBezTo>
                      <a:pt x="36" y="30"/>
                      <a:pt x="38" y="29"/>
                      <a:pt x="41" y="26"/>
                    </a:cubicBezTo>
                    <a:cubicBezTo>
                      <a:pt x="42" y="25"/>
                      <a:pt x="43" y="29"/>
                      <a:pt x="44" y="28"/>
                    </a:cubicBezTo>
                    <a:cubicBezTo>
                      <a:pt x="45" y="27"/>
                      <a:pt x="45" y="25"/>
                      <a:pt x="44" y="24"/>
                    </a:cubicBezTo>
                    <a:cubicBezTo>
                      <a:pt x="44" y="23"/>
                      <a:pt x="44" y="24"/>
                      <a:pt x="44" y="2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79" name="Freeform 656">
                <a:extLst>
                  <a:ext uri="{FF2B5EF4-FFF2-40B4-BE49-F238E27FC236}">
                    <a16:creationId xmlns:a16="http://schemas.microsoft.com/office/drawing/2014/main" id="{0B407E0E-0352-DC44-83A1-C2161310280B}"/>
                  </a:ext>
                </a:extLst>
              </p:cNvPr>
              <p:cNvSpPr>
                <a:spLocks/>
              </p:cNvSpPr>
              <p:nvPr/>
            </p:nvSpPr>
            <p:spPr bwMode="auto">
              <a:xfrm>
                <a:off x="12712935" y="6322173"/>
                <a:ext cx="831212" cy="493761"/>
              </a:xfrm>
              <a:custGeom>
                <a:avLst/>
                <a:gdLst>
                  <a:gd name="T0" fmla="*/ 0 w 89"/>
                  <a:gd name="T1" fmla="*/ 27 h 53"/>
                  <a:gd name="T2" fmla="*/ 9 w 89"/>
                  <a:gd name="T3" fmla="*/ 30 h 53"/>
                  <a:gd name="T4" fmla="*/ 16 w 89"/>
                  <a:gd name="T5" fmla="*/ 31 h 53"/>
                  <a:gd name="T6" fmla="*/ 22 w 89"/>
                  <a:gd name="T7" fmla="*/ 28 h 53"/>
                  <a:gd name="T8" fmla="*/ 33 w 89"/>
                  <a:gd name="T9" fmla="*/ 30 h 53"/>
                  <a:gd name="T10" fmla="*/ 40 w 89"/>
                  <a:gd name="T11" fmla="*/ 41 h 53"/>
                  <a:gd name="T12" fmla="*/ 44 w 89"/>
                  <a:gd name="T13" fmla="*/ 38 h 53"/>
                  <a:gd name="T14" fmla="*/ 47 w 89"/>
                  <a:gd name="T15" fmla="*/ 41 h 53"/>
                  <a:gd name="T16" fmla="*/ 57 w 89"/>
                  <a:gd name="T17" fmla="*/ 42 h 53"/>
                  <a:gd name="T18" fmla="*/ 51 w 89"/>
                  <a:gd name="T19" fmla="*/ 46 h 53"/>
                  <a:gd name="T20" fmla="*/ 55 w 89"/>
                  <a:gd name="T21" fmla="*/ 49 h 53"/>
                  <a:gd name="T22" fmla="*/ 59 w 89"/>
                  <a:gd name="T23" fmla="*/ 51 h 53"/>
                  <a:gd name="T24" fmla="*/ 67 w 89"/>
                  <a:gd name="T25" fmla="*/ 48 h 53"/>
                  <a:gd name="T26" fmla="*/ 72 w 89"/>
                  <a:gd name="T27" fmla="*/ 46 h 53"/>
                  <a:gd name="T28" fmla="*/ 68 w 89"/>
                  <a:gd name="T29" fmla="*/ 46 h 53"/>
                  <a:gd name="T30" fmla="*/ 63 w 89"/>
                  <a:gd name="T31" fmla="*/ 44 h 53"/>
                  <a:gd name="T32" fmla="*/ 72 w 89"/>
                  <a:gd name="T33" fmla="*/ 38 h 53"/>
                  <a:gd name="T34" fmla="*/ 78 w 89"/>
                  <a:gd name="T35" fmla="*/ 35 h 53"/>
                  <a:gd name="T36" fmla="*/ 84 w 89"/>
                  <a:gd name="T37" fmla="*/ 31 h 53"/>
                  <a:gd name="T38" fmla="*/ 87 w 89"/>
                  <a:gd name="T39" fmla="*/ 28 h 53"/>
                  <a:gd name="T40" fmla="*/ 86 w 89"/>
                  <a:gd name="T41" fmla="*/ 26 h 53"/>
                  <a:gd name="T42" fmla="*/ 88 w 89"/>
                  <a:gd name="T43" fmla="*/ 25 h 53"/>
                  <a:gd name="T44" fmla="*/ 86 w 89"/>
                  <a:gd name="T45" fmla="*/ 24 h 53"/>
                  <a:gd name="T46" fmla="*/ 88 w 89"/>
                  <a:gd name="T47" fmla="*/ 21 h 53"/>
                  <a:gd name="T48" fmla="*/ 85 w 89"/>
                  <a:gd name="T49" fmla="*/ 19 h 53"/>
                  <a:gd name="T50" fmla="*/ 82 w 89"/>
                  <a:gd name="T51" fmla="*/ 18 h 53"/>
                  <a:gd name="T52" fmla="*/ 78 w 89"/>
                  <a:gd name="T53" fmla="*/ 18 h 53"/>
                  <a:gd name="T54" fmla="*/ 75 w 89"/>
                  <a:gd name="T55" fmla="*/ 15 h 53"/>
                  <a:gd name="T56" fmla="*/ 72 w 89"/>
                  <a:gd name="T57" fmla="*/ 17 h 53"/>
                  <a:gd name="T58" fmla="*/ 69 w 89"/>
                  <a:gd name="T59" fmla="*/ 14 h 53"/>
                  <a:gd name="T60" fmla="*/ 65 w 89"/>
                  <a:gd name="T61" fmla="*/ 14 h 53"/>
                  <a:gd name="T62" fmla="*/ 64 w 89"/>
                  <a:gd name="T63" fmla="*/ 10 h 53"/>
                  <a:gd name="T64" fmla="*/ 60 w 89"/>
                  <a:gd name="T65" fmla="*/ 9 h 53"/>
                  <a:gd name="T66" fmla="*/ 60 w 89"/>
                  <a:gd name="T67" fmla="*/ 5 h 53"/>
                  <a:gd name="T68" fmla="*/ 58 w 89"/>
                  <a:gd name="T69" fmla="*/ 2 h 53"/>
                  <a:gd name="T70" fmla="*/ 53 w 89"/>
                  <a:gd name="T71" fmla="*/ 1 h 53"/>
                  <a:gd name="T72" fmla="*/ 47 w 89"/>
                  <a:gd name="T73" fmla="*/ 2 h 53"/>
                  <a:gd name="T74" fmla="*/ 43 w 89"/>
                  <a:gd name="T75" fmla="*/ 3 h 53"/>
                  <a:gd name="T76" fmla="*/ 41 w 89"/>
                  <a:gd name="T77" fmla="*/ 9 h 53"/>
                  <a:gd name="T78" fmla="*/ 38 w 89"/>
                  <a:gd name="T79" fmla="*/ 7 h 53"/>
                  <a:gd name="T80" fmla="*/ 36 w 89"/>
                  <a:gd name="T81" fmla="*/ 8 h 53"/>
                  <a:gd name="T82" fmla="*/ 34 w 89"/>
                  <a:gd name="T83" fmla="*/ 6 h 53"/>
                  <a:gd name="T84" fmla="*/ 31 w 89"/>
                  <a:gd name="T85" fmla="*/ 7 h 53"/>
                  <a:gd name="T86" fmla="*/ 29 w 89"/>
                  <a:gd name="T87" fmla="*/ 6 h 53"/>
                  <a:gd name="T88" fmla="*/ 28 w 89"/>
                  <a:gd name="T89" fmla="*/ 8 h 53"/>
                  <a:gd name="T90" fmla="*/ 21 w 89"/>
                  <a:gd name="T91" fmla="*/ 5 h 53"/>
                  <a:gd name="T92" fmla="*/ 12 w 89"/>
                  <a:gd name="T93" fmla="*/ 4 h 53"/>
                  <a:gd name="T94" fmla="*/ 6 w 89"/>
                  <a:gd name="T95" fmla="*/ 6 h 53"/>
                  <a:gd name="T96" fmla="*/ 9 w 89"/>
                  <a:gd name="T97" fmla="*/ 11 h 53"/>
                  <a:gd name="T98" fmla="*/ 10 w 89"/>
                  <a:gd name="T99" fmla="*/ 14 h 53"/>
                  <a:gd name="T100" fmla="*/ 5 w 89"/>
                  <a:gd name="T101" fmla="*/ 16 h 53"/>
                  <a:gd name="T102" fmla="*/ 2 w 89"/>
                  <a:gd name="T103" fmla="*/ 23 h 53"/>
                  <a:gd name="T104" fmla="*/ 0 w 89"/>
                  <a:gd name="T105" fmla="*/ 2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9" h="53">
                    <a:moveTo>
                      <a:pt x="0" y="27"/>
                    </a:moveTo>
                    <a:cubicBezTo>
                      <a:pt x="0" y="30"/>
                      <a:pt x="7" y="30"/>
                      <a:pt x="9" y="30"/>
                    </a:cubicBezTo>
                    <a:cubicBezTo>
                      <a:pt x="11" y="30"/>
                      <a:pt x="13" y="32"/>
                      <a:pt x="16" y="31"/>
                    </a:cubicBezTo>
                    <a:cubicBezTo>
                      <a:pt x="17" y="29"/>
                      <a:pt x="20" y="28"/>
                      <a:pt x="22" y="28"/>
                    </a:cubicBezTo>
                    <a:cubicBezTo>
                      <a:pt x="25" y="26"/>
                      <a:pt x="31" y="28"/>
                      <a:pt x="33" y="30"/>
                    </a:cubicBezTo>
                    <a:cubicBezTo>
                      <a:pt x="36" y="34"/>
                      <a:pt x="37" y="38"/>
                      <a:pt x="40" y="41"/>
                    </a:cubicBezTo>
                    <a:cubicBezTo>
                      <a:pt x="42" y="40"/>
                      <a:pt x="42" y="39"/>
                      <a:pt x="44" y="38"/>
                    </a:cubicBezTo>
                    <a:cubicBezTo>
                      <a:pt x="46" y="38"/>
                      <a:pt x="46" y="40"/>
                      <a:pt x="47" y="41"/>
                    </a:cubicBezTo>
                    <a:cubicBezTo>
                      <a:pt x="48" y="42"/>
                      <a:pt x="57" y="43"/>
                      <a:pt x="57" y="42"/>
                    </a:cubicBezTo>
                    <a:cubicBezTo>
                      <a:pt x="57" y="43"/>
                      <a:pt x="51" y="45"/>
                      <a:pt x="51" y="46"/>
                    </a:cubicBezTo>
                    <a:cubicBezTo>
                      <a:pt x="52" y="47"/>
                      <a:pt x="56" y="46"/>
                      <a:pt x="55" y="49"/>
                    </a:cubicBezTo>
                    <a:cubicBezTo>
                      <a:pt x="54" y="51"/>
                      <a:pt x="57" y="53"/>
                      <a:pt x="59" y="51"/>
                    </a:cubicBezTo>
                    <a:cubicBezTo>
                      <a:pt x="61" y="50"/>
                      <a:pt x="64" y="48"/>
                      <a:pt x="67" y="48"/>
                    </a:cubicBezTo>
                    <a:cubicBezTo>
                      <a:pt x="70" y="48"/>
                      <a:pt x="71" y="48"/>
                      <a:pt x="72" y="46"/>
                    </a:cubicBezTo>
                    <a:cubicBezTo>
                      <a:pt x="72" y="46"/>
                      <a:pt x="69" y="46"/>
                      <a:pt x="68" y="46"/>
                    </a:cubicBezTo>
                    <a:cubicBezTo>
                      <a:pt x="66" y="46"/>
                      <a:pt x="64" y="47"/>
                      <a:pt x="63" y="44"/>
                    </a:cubicBezTo>
                    <a:cubicBezTo>
                      <a:pt x="60" y="40"/>
                      <a:pt x="70" y="38"/>
                      <a:pt x="72" y="38"/>
                    </a:cubicBezTo>
                    <a:cubicBezTo>
                      <a:pt x="74" y="37"/>
                      <a:pt x="76" y="36"/>
                      <a:pt x="78" y="35"/>
                    </a:cubicBezTo>
                    <a:cubicBezTo>
                      <a:pt x="79" y="33"/>
                      <a:pt x="81" y="31"/>
                      <a:pt x="84" y="31"/>
                    </a:cubicBezTo>
                    <a:cubicBezTo>
                      <a:pt x="85" y="31"/>
                      <a:pt x="87" y="31"/>
                      <a:pt x="87" y="28"/>
                    </a:cubicBezTo>
                    <a:cubicBezTo>
                      <a:pt x="87" y="27"/>
                      <a:pt x="86" y="27"/>
                      <a:pt x="86" y="26"/>
                    </a:cubicBezTo>
                    <a:cubicBezTo>
                      <a:pt x="86" y="25"/>
                      <a:pt x="88" y="25"/>
                      <a:pt x="88" y="25"/>
                    </a:cubicBezTo>
                    <a:cubicBezTo>
                      <a:pt x="88" y="25"/>
                      <a:pt x="86" y="24"/>
                      <a:pt x="86" y="24"/>
                    </a:cubicBezTo>
                    <a:cubicBezTo>
                      <a:pt x="86" y="23"/>
                      <a:pt x="89" y="23"/>
                      <a:pt x="88" y="21"/>
                    </a:cubicBezTo>
                    <a:cubicBezTo>
                      <a:pt x="88" y="21"/>
                      <a:pt x="86" y="20"/>
                      <a:pt x="85" y="19"/>
                    </a:cubicBezTo>
                    <a:cubicBezTo>
                      <a:pt x="84" y="18"/>
                      <a:pt x="83" y="20"/>
                      <a:pt x="82" y="18"/>
                    </a:cubicBezTo>
                    <a:cubicBezTo>
                      <a:pt x="81" y="17"/>
                      <a:pt x="80" y="17"/>
                      <a:pt x="78" y="18"/>
                    </a:cubicBezTo>
                    <a:cubicBezTo>
                      <a:pt x="77" y="18"/>
                      <a:pt x="76" y="15"/>
                      <a:pt x="75" y="15"/>
                    </a:cubicBezTo>
                    <a:cubicBezTo>
                      <a:pt x="74" y="14"/>
                      <a:pt x="73" y="16"/>
                      <a:pt x="72" y="17"/>
                    </a:cubicBezTo>
                    <a:cubicBezTo>
                      <a:pt x="71" y="17"/>
                      <a:pt x="70" y="14"/>
                      <a:pt x="69" y="14"/>
                    </a:cubicBezTo>
                    <a:cubicBezTo>
                      <a:pt x="68" y="14"/>
                      <a:pt x="65" y="15"/>
                      <a:pt x="65" y="14"/>
                    </a:cubicBezTo>
                    <a:cubicBezTo>
                      <a:pt x="65" y="13"/>
                      <a:pt x="65" y="11"/>
                      <a:pt x="64" y="10"/>
                    </a:cubicBezTo>
                    <a:cubicBezTo>
                      <a:pt x="63" y="9"/>
                      <a:pt x="61" y="10"/>
                      <a:pt x="60" y="9"/>
                    </a:cubicBezTo>
                    <a:cubicBezTo>
                      <a:pt x="59" y="8"/>
                      <a:pt x="58" y="6"/>
                      <a:pt x="60" y="5"/>
                    </a:cubicBezTo>
                    <a:cubicBezTo>
                      <a:pt x="61" y="5"/>
                      <a:pt x="59" y="2"/>
                      <a:pt x="58" y="2"/>
                    </a:cubicBezTo>
                    <a:cubicBezTo>
                      <a:pt x="57" y="1"/>
                      <a:pt x="54" y="2"/>
                      <a:pt x="53" y="1"/>
                    </a:cubicBezTo>
                    <a:cubicBezTo>
                      <a:pt x="50" y="0"/>
                      <a:pt x="50" y="6"/>
                      <a:pt x="47" y="2"/>
                    </a:cubicBezTo>
                    <a:cubicBezTo>
                      <a:pt x="46" y="2"/>
                      <a:pt x="44" y="3"/>
                      <a:pt x="43" y="3"/>
                    </a:cubicBezTo>
                    <a:cubicBezTo>
                      <a:pt x="41" y="4"/>
                      <a:pt x="42" y="9"/>
                      <a:pt x="41" y="9"/>
                    </a:cubicBezTo>
                    <a:cubicBezTo>
                      <a:pt x="40" y="9"/>
                      <a:pt x="39" y="7"/>
                      <a:pt x="38" y="7"/>
                    </a:cubicBezTo>
                    <a:cubicBezTo>
                      <a:pt x="38" y="7"/>
                      <a:pt x="37" y="8"/>
                      <a:pt x="36" y="8"/>
                    </a:cubicBezTo>
                    <a:cubicBezTo>
                      <a:pt x="35" y="8"/>
                      <a:pt x="34" y="7"/>
                      <a:pt x="34" y="6"/>
                    </a:cubicBezTo>
                    <a:cubicBezTo>
                      <a:pt x="34" y="5"/>
                      <a:pt x="32" y="7"/>
                      <a:pt x="31" y="7"/>
                    </a:cubicBezTo>
                    <a:cubicBezTo>
                      <a:pt x="30" y="7"/>
                      <a:pt x="30" y="6"/>
                      <a:pt x="29" y="6"/>
                    </a:cubicBezTo>
                    <a:cubicBezTo>
                      <a:pt x="28" y="6"/>
                      <a:pt x="28" y="7"/>
                      <a:pt x="28" y="8"/>
                    </a:cubicBezTo>
                    <a:cubicBezTo>
                      <a:pt x="28" y="8"/>
                      <a:pt x="21" y="5"/>
                      <a:pt x="21" y="5"/>
                    </a:cubicBezTo>
                    <a:cubicBezTo>
                      <a:pt x="18" y="4"/>
                      <a:pt x="15" y="4"/>
                      <a:pt x="12" y="4"/>
                    </a:cubicBezTo>
                    <a:cubicBezTo>
                      <a:pt x="10" y="4"/>
                      <a:pt x="9" y="6"/>
                      <a:pt x="6" y="6"/>
                    </a:cubicBezTo>
                    <a:cubicBezTo>
                      <a:pt x="6" y="9"/>
                      <a:pt x="9" y="9"/>
                      <a:pt x="9" y="11"/>
                    </a:cubicBezTo>
                    <a:cubicBezTo>
                      <a:pt x="9" y="12"/>
                      <a:pt x="10" y="13"/>
                      <a:pt x="10" y="14"/>
                    </a:cubicBezTo>
                    <a:cubicBezTo>
                      <a:pt x="9" y="15"/>
                      <a:pt x="6" y="15"/>
                      <a:pt x="5" y="16"/>
                    </a:cubicBezTo>
                    <a:cubicBezTo>
                      <a:pt x="2" y="18"/>
                      <a:pt x="3" y="20"/>
                      <a:pt x="2" y="23"/>
                    </a:cubicBezTo>
                    <a:cubicBezTo>
                      <a:pt x="2" y="25"/>
                      <a:pt x="1" y="26"/>
                      <a:pt x="0"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0" name="Freeform 657">
                <a:extLst>
                  <a:ext uri="{FF2B5EF4-FFF2-40B4-BE49-F238E27FC236}">
                    <a16:creationId xmlns:a16="http://schemas.microsoft.com/office/drawing/2014/main" id="{CAC6AAA3-B475-1A49-996E-F3A8E824C1E6}"/>
                  </a:ext>
                </a:extLst>
              </p:cNvPr>
              <p:cNvSpPr>
                <a:spLocks/>
              </p:cNvSpPr>
              <p:nvPr/>
            </p:nvSpPr>
            <p:spPr bwMode="auto">
              <a:xfrm>
                <a:off x="12451788" y="6506933"/>
                <a:ext cx="280256" cy="114679"/>
              </a:xfrm>
              <a:custGeom>
                <a:avLst/>
                <a:gdLst>
                  <a:gd name="T0" fmla="*/ 30 w 30"/>
                  <a:gd name="T1" fmla="*/ 4 h 12"/>
                  <a:gd name="T2" fmla="*/ 22 w 30"/>
                  <a:gd name="T3" fmla="*/ 0 h 12"/>
                  <a:gd name="T4" fmla="*/ 17 w 30"/>
                  <a:gd name="T5" fmla="*/ 0 h 12"/>
                  <a:gd name="T6" fmla="*/ 14 w 30"/>
                  <a:gd name="T7" fmla="*/ 1 h 12"/>
                  <a:gd name="T8" fmla="*/ 11 w 30"/>
                  <a:gd name="T9" fmla="*/ 0 h 12"/>
                  <a:gd name="T10" fmla="*/ 8 w 30"/>
                  <a:gd name="T11" fmla="*/ 3 h 12"/>
                  <a:gd name="T12" fmla="*/ 3 w 30"/>
                  <a:gd name="T13" fmla="*/ 9 h 12"/>
                  <a:gd name="T14" fmla="*/ 11 w 30"/>
                  <a:gd name="T15" fmla="*/ 11 h 12"/>
                  <a:gd name="T16" fmla="*/ 13 w 30"/>
                  <a:gd name="T17" fmla="*/ 9 h 12"/>
                  <a:gd name="T18" fmla="*/ 18 w 30"/>
                  <a:gd name="T19" fmla="*/ 9 h 12"/>
                  <a:gd name="T20" fmla="*/ 19 w 30"/>
                  <a:gd name="T21" fmla="*/ 6 h 12"/>
                  <a:gd name="T22" fmla="*/ 24 w 30"/>
                  <a:gd name="T23" fmla="*/ 7 h 12"/>
                  <a:gd name="T24" fmla="*/ 28 w 30"/>
                  <a:gd name="T25" fmla="*/ 7 h 12"/>
                  <a:gd name="T26" fmla="*/ 30 w 30"/>
                  <a:gd name="T2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12">
                    <a:moveTo>
                      <a:pt x="30" y="4"/>
                    </a:moveTo>
                    <a:cubicBezTo>
                      <a:pt x="27" y="2"/>
                      <a:pt x="26" y="0"/>
                      <a:pt x="22" y="0"/>
                    </a:cubicBezTo>
                    <a:cubicBezTo>
                      <a:pt x="20" y="0"/>
                      <a:pt x="19" y="0"/>
                      <a:pt x="17" y="0"/>
                    </a:cubicBezTo>
                    <a:cubicBezTo>
                      <a:pt x="15" y="0"/>
                      <a:pt x="15" y="1"/>
                      <a:pt x="14" y="1"/>
                    </a:cubicBezTo>
                    <a:cubicBezTo>
                      <a:pt x="13" y="1"/>
                      <a:pt x="12" y="0"/>
                      <a:pt x="11" y="0"/>
                    </a:cubicBezTo>
                    <a:cubicBezTo>
                      <a:pt x="10" y="1"/>
                      <a:pt x="9" y="2"/>
                      <a:pt x="8" y="3"/>
                    </a:cubicBezTo>
                    <a:cubicBezTo>
                      <a:pt x="6" y="5"/>
                      <a:pt x="0" y="4"/>
                      <a:pt x="3" y="9"/>
                    </a:cubicBezTo>
                    <a:cubicBezTo>
                      <a:pt x="4" y="11"/>
                      <a:pt x="8" y="12"/>
                      <a:pt x="11" y="11"/>
                    </a:cubicBezTo>
                    <a:cubicBezTo>
                      <a:pt x="12" y="11"/>
                      <a:pt x="12" y="9"/>
                      <a:pt x="13" y="9"/>
                    </a:cubicBezTo>
                    <a:cubicBezTo>
                      <a:pt x="15" y="9"/>
                      <a:pt x="17" y="9"/>
                      <a:pt x="18" y="9"/>
                    </a:cubicBezTo>
                    <a:cubicBezTo>
                      <a:pt x="19" y="9"/>
                      <a:pt x="19" y="7"/>
                      <a:pt x="19" y="6"/>
                    </a:cubicBezTo>
                    <a:cubicBezTo>
                      <a:pt x="20" y="5"/>
                      <a:pt x="23" y="7"/>
                      <a:pt x="24" y="7"/>
                    </a:cubicBezTo>
                    <a:cubicBezTo>
                      <a:pt x="25" y="7"/>
                      <a:pt x="27" y="7"/>
                      <a:pt x="28" y="7"/>
                    </a:cubicBezTo>
                    <a:cubicBezTo>
                      <a:pt x="29" y="7"/>
                      <a:pt x="29" y="5"/>
                      <a:pt x="3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1" name="Freeform 658">
                <a:extLst>
                  <a:ext uri="{FF2B5EF4-FFF2-40B4-BE49-F238E27FC236}">
                    <a16:creationId xmlns:a16="http://schemas.microsoft.com/office/drawing/2014/main" id="{C1A0FD9B-7FAF-A24D-AC0C-EF7C4AB2F9E3}"/>
                  </a:ext>
                </a:extLst>
              </p:cNvPr>
              <p:cNvSpPr>
                <a:spLocks/>
              </p:cNvSpPr>
              <p:nvPr/>
            </p:nvSpPr>
            <p:spPr bwMode="auto">
              <a:xfrm>
                <a:off x="12760703" y="6086441"/>
                <a:ext cx="439491" cy="328114"/>
              </a:xfrm>
              <a:custGeom>
                <a:avLst/>
                <a:gdLst>
                  <a:gd name="T0" fmla="*/ 11 w 47"/>
                  <a:gd name="T1" fmla="*/ 29 h 35"/>
                  <a:gd name="T2" fmla="*/ 18 w 47"/>
                  <a:gd name="T3" fmla="*/ 30 h 35"/>
                  <a:gd name="T4" fmla="*/ 23 w 47"/>
                  <a:gd name="T5" fmla="*/ 33 h 35"/>
                  <a:gd name="T6" fmla="*/ 25 w 47"/>
                  <a:gd name="T7" fmla="*/ 31 h 35"/>
                  <a:gd name="T8" fmla="*/ 29 w 47"/>
                  <a:gd name="T9" fmla="*/ 32 h 35"/>
                  <a:gd name="T10" fmla="*/ 33 w 47"/>
                  <a:gd name="T11" fmla="*/ 32 h 35"/>
                  <a:gd name="T12" fmla="*/ 36 w 47"/>
                  <a:gd name="T13" fmla="*/ 33 h 35"/>
                  <a:gd name="T14" fmla="*/ 38 w 47"/>
                  <a:gd name="T15" fmla="*/ 28 h 35"/>
                  <a:gd name="T16" fmla="*/ 42 w 47"/>
                  <a:gd name="T17" fmla="*/ 27 h 35"/>
                  <a:gd name="T18" fmla="*/ 40 w 47"/>
                  <a:gd name="T19" fmla="*/ 22 h 35"/>
                  <a:gd name="T20" fmla="*/ 44 w 47"/>
                  <a:gd name="T21" fmla="*/ 21 h 35"/>
                  <a:gd name="T22" fmla="*/ 45 w 47"/>
                  <a:gd name="T23" fmla="*/ 17 h 35"/>
                  <a:gd name="T24" fmla="*/ 42 w 47"/>
                  <a:gd name="T25" fmla="*/ 15 h 35"/>
                  <a:gd name="T26" fmla="*/ 39 w 47"/>
                  <a:gd name="T27" fmla="*/ 11 h 35"/>
                  <a:gd name="T28" fmla="*/ 38 w 47"/>
                  <a:gd name="T29" fmla="*/ 6 h 35"/>
                  <a:gd name="T30" fmla="*/ 35 w 47"/>
                  <a:gd name="T31" fmla="*/ 2 h 35"/>
                  <a:gd name="T32" fmla="*/ 33 w 47"/>
                  <a:gd name="T33" fmla="*/ 2 h 35"/>
                  <a:gd name="T34" fmla="*/ 30 w 47"/>
                  <a:gd name="T35" fmla="*/ 1 h 35"/>
                  <a:gd name="T36" fmla="*/ 28 w 47"/>
                  <a:gd name="T37" fmla="*/ 2 h 35"/>
                  <a:gd name="T38" fmla="*/ 25 w 47"/>
                  <a:gd name="T39" fmla="*/ 0 h 35"/>
                  <a:gd name="T40" fmla="*/ 22 w 47"/>
                  <a:gd name="T41" fmla="*/ 2 h 35"/>
                  <a:gd name="T42" fmla="*/ 17 w 47"/>
                  <a:gd name="T43" fmla="*/ 3 h 35"/>
                  <a:gd name="T44" fmla="*/ 17 w 47"/>
                  <a:gd name="T45" fmla="*/ 6 h 35"/>
                  <a:gd name="T46" fmla="*/ 13 w 47"/>
                  <a:gd name="T47" fmla="*/ 9 h 35"/>
                  <a:gd name="T48" fmla="*/ 12 w 47"/>
                  <a:gd name="T49" fmla="*/ 13 h 35"/>
                  <a:gd name="T50" fmla="*/ 8 w 47"/>
                  <a:gd name="T51" fmla="*/ 14 h 35"/>
                  <a:gd name="T52" fmla="*/ 1 w 47"/>
                  <a:gd name="T53" fmla="*/ 16 h 35"/>
                  <a:gd name="T54" fmla="*/ 2 w 47"/>
                  <a:gd name="T55" fmla="*/ 24 h 35"/>
                  <a:gd name="T56" fmla="*/ 1 w 47"/>
                  <a:gd name="T57" fmla="*/ 27 h 35"/>
                  <a:gd name="T58" fmla="*/ 1 w 47"/>
                  <a:gd name="T59" fmla="*/ 31 h 35"/>
                  <a:gd name="T60" fmla="*/ 5 w 47"/>
                  <a:gd name="T61" fmla="*/ 30 h 35"/>
                  <a:gd name="T62" fmla="*/ 11 w 47"/>
                  <a:gd name="T63" fmla="*/ 2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35">
                    <a:moveTo>
                      <a:pt x="11" y="29"/>
                    </a:moveTo>
                    <a:cubicBezTo>
                      <a:pt x="14" y="29"/>
                      <a:pt x="16" y="30"/>
                      <a:pt x="18" y="30"/>
                    </a:cubicBezTo>
                    <a:cubicBezTo>
                      <a:pt x="18" y="30"/>
                      <a:pt x="23" y="33"/>
                      <a:pt x="23" y="33"/>
                    </a:cubicBezTo>
                    <a:cubicBezTo>
                      <a:pt x="23" y="32"/>
                      <a:pt x="24" y="29"/>
                      <a:pt x="25" y="31"/>
                    </a:cubicBezTo>
                    <a:cubicBezTo>
                      <a:pt x="27" y="34"/>
                      <a:pt x="28" y="29"/>
                      <a:pt x="29" y="32"/>
                    </a:cubicBezTo>
                    <a:cubicBezTo>
                      <a:pt x="30" y="34"/>
                      <a:pt x="32" y="32"/>
                      <a:pt x="33" y="32"/>
                    </a:cubicBezTo>
                    <a:cubicBezTo>
                      <a:pt x="34" y="31"/>
                      <a:pt x="36" y="35"/>
                      <a:pt x="36" y="33"/>
                    </a:cubicBezTo>
                    <a:cubicBezTo>
                      <a:pt x="37" y="31"/>
                      <a:pt x="36" y="29"/>
                      <a:pt x="38" y="28"/>
                    </a:cubicBezTo>
                    <a:cubicBezTo>
                      <a:pt x="39" y="28"/>
                      <a:pt x="41" y="27"/>
                      <a:pt x="42" y="27"/>
                    </a:cubicBezTo>
                    <a:cubicBezTo>
                      <a:pt x="41" y="26"/>
                      <a:pt x="40" y="24"/>
                      <a:pt x="40" y="22"/>
                    </a:cubicBezTo>
                    <a:cubicBezTo>
                      <a:pt x="40" y="20"/>
                      <a:pt x="42" y="22"/>
                      <a:pt x="44" y="21"/>
                    </a:cubicBezTo>
                    <a:cubicBezTo>
                      <a:pt x="46" y="21"/>
                      <a:pt x="47" y="19"/>
                      <a:pt x="45" y="17"/>
                    </a:cubicBezTo>
                    <a:cubicBezTo>
                      <a:pt x="44" y="16"/>
                      <a:pt x="43" y="17"/>
                      <a:pt x="42" y="15"/>
                    </a:cubicBezTo>
                    <a:cubicBezTo>
                      <a:pt x="41" y="14"/>
                      <a:pt x="40" y="13"/>
                      <a:pt x="39" y="11"/>
                    </a:cubicBezTo>
                    <a:cubicBezTo>
                      <a:pt x="38" y="10"/>
                      <a:pt x="38" y="8"/>
                      <a:pt x="38" y="6"/>
                    </a:cubicBezTo>
                    <a:cubicBezTo>
                      <a:pt x="39" y="4"/>
                      <a:pt x="36" y="2"/>
                      <a:pt x="35" y="2"/>
                    </a:cubicBezTo>
                    <a:cubicBezTo>
                      <a:pt x="34" y="1"/>
                      <a:pt x="34" y="2"/>
                      <a:pt x="33" y="2"/>
                    </a:cubicBezTo>
                    <a:cubicBezTo>
                      <a:pt x="31" y="3"/>
                      <a:pt x="31" y="2"/>
                      <a:pt x="30" y="1"/>
                    </a:cubicBezTo>
                    <a:cubicBezTo>
                      <a:pt x="29" y="0"/>
                      <a:pt x="29" y="2"/>
                      <a:pt x="28" y="2"/>
                    </a:cubicBezTo>
                    <a:cubicBezTo>
                      <a:pt x="27" y="2"/>
                      <a:pt x="25" y="0"/>
                      <a:pt x="25" y="0"/>
                    </a:cubicBezTo>
                    <a:cubicBezTo>
                      <a:pt x="23" y="0"/>
                      <a:pt x="23" y="2"/>
                      <a:pt x="22" y="2"/>
                    </a:cubicBezTo>
                    <a:cubicBezTo>
                      <a:pt x="20" y="3"/>
                      <a:pt x="19" y="3"/>
                      <a:pt x="17" y="3"/>
                    </a:cubicBezTo>
                    <a:cubicBezTo>
                      <a:pt x="16" y="4"/>
                      <a:pt x="17" y="6"/>
                      <a:pt x="17" y="6"/>
                    </a:cubicBezTo>
                    <a:cubicBezTo>
                      <a:pt x="16" y="8"/>
                      <a:pt x="13" y="7"/>
                      <a:pt x="13" y="9"/>
                    </a:cubicBezTo>
                    <a:cubicBezTo>
                      <a:pt x="12" y="10"/>
                      <a:pt x="12" y="11"/>
                      <a:pt x="12" y="13"/>
                    </a:cubicBezTo>
                    <a:cubicBezTo>
                      <a:pt x="12" y="14"/>
                      <a:pt x="9" y="14"/>
                      <a:pt x="8" y="14"/>
                    </a:cubicBezTo>
                    <a:cubicBezTo>
                      <a:pt x="5" y="15"/>
                      <a:pt x="4" y="16"/>
                      <a:pt x="1" y="16"/>
                    </a:cubicBezTo>
                    <a:cubicBezTo>
                      <a:pt x="2" y="19"/>
                      <a:pt x="5" y="21"/>
                      <a:pt x="2" y="24"/>
                    </a:cubicBezTo>
                    <a:cubicBezTo>
                      <a:pt x="0" y="25"/>
                      <a:pt x="0" y="26"/>
                      <a:pt x="1" y="27"/>
                    </a:cubicBezTo>
                    <a:cubicBezTo>
                      <a:pt x="3" y="28"/>
                      <a:pt x="1" y="30"/>
                      <a:pt x="1" y="31"/>
                    </a:cubicBezTo>
                    <a:cubicBezTo>
                      <a:pt x="3" y="31"/>
                      <a:pt x="4" y="31"/>
                      <a:pt x="5" y="30"/>
                    </a:cubicBezTo>
                    <a:cubicBezTo>
                      <a:pt x="7" y="29"/>
                      <a:pt x="10" y="29"/>
                      <a:pt x="11"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2" name="Freeform 659">
                <a:extLst>
                  <a:ext uri="{FF2B5EF4-FFF2-40B4-BE49-F238E27FC236}">
                    <a16:creationId xmlns:a16="http://schemas.microsoft.com/office/drawing/2014/main" id="{0F9E1D37-A6DE-4A47-A495-D6AE60733F97}"/>
                  </a:ext>
                </a:extLst>
              </p:cNvPr>
              <p:cNvSpPr>
                <a:spLocks/>
              </p:cNvSpPr>
              <p:nvPr/>
            </p:nvSpPr>
            <p:spPr bwMode="auto">
              <a:xfrm>
                <a:off x="12658794" y="6067328"/>
                <a:ext cx="270700" cy="178393"/>
              </a:xfrm>
              <a:custGeom>
                <a:avLst/>
                <a:gdLst>
                  <a:gd name="T0" fmla="*/ 16 w 29"/>
                  <a:gd name="T1" fmla="*/ 18 h 19"/>
                  <a:gd name="T2" fmla="*/ 23 w 29"/>
                  <a:gd name="T3" fmla="*/ 15 h 19"/>
                  <a:gd name="T4" fmla="*/ 23 w 29"/>
                  <a:gd name="T5" fmla="*/ 12 h 19"/>
                  <a:gd name="T6" fmla="*/ 27 w 29"/>
                  <a:gd name="T7" fmla="*/ 9 h 19"/>
                  <a:gd name="T8" fmla="*/ 26 w 29"/>
                  <a:gd name="T9" fmla="*/ 4 h 19"/>
                  <a:gd name="T10" fmla="*/ 19 w 29"/>
                  <a:gd name="T11" fmla="*/ 1 h 19"/>
                  <a:gd name="T12" fmla="*/ 10 w 29"/>
                  <a:gd name="T13" fmla="*/ 1 h 19"/>
                  <a:gd name="T14" fmla="*/ 0 w 29"/>
                  <a:gd name="T15" fmla="*/ 4 h 19"/>
                  <a:gd name="T16" fmla="*/ 1 w 29"/>
                  <a:gd name="T17" fmla="*/ 6 h 19"/>
                  <a:gd name="T18" fmla="*/ 2 w 29"/>
                  <a:gd name="T19" fmla="*/ 9 h 19"/>
                  <a:gd name="T20" fmla="*/ 5 w 29"/>
                  <a:gd name="T21" fmla="*/ 10 h 19"/>
                  <a:gd name="T22" fmla="*/ 9 w 29"/>
                  <a:gd name="T23" fmla="*/ 11 h 19"/>
                  <a:gd name="T24" fmla="*/ 8 w 29"/>
                  <a:gd name="T25" fmla="*/ 15 h 19"/>
                  <a:gd name="T26" fmla="*/ 12 w 29"/>
                  <a:gd name="T27" fmla="*/ 18 h 19"/>
                  <a:gd name="T28" fmla="*/ 16 w 29"/>
                  <a:gd name="T29" fmla="*/ 18 h 19"/>
                  <a:gd name="T30" fmla="*/ 16 w 29"/>
                  <a:gd name="T31" fmla="*/ 1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9">
                    <a:moveTo>
                      <a:pt x="16" y="18"/>
                    </a:moveTo>
                    <a:cubicBezTo>
                      <a:pt x="18" y="16"/>
                      <a:pt x="21" y="16"/>
                      <a:pt x="23" y="15"/>
                    </a:cubicBezTo>
                    <a:cubicBezTo>
                      <a:pt x="23" y="14"/>
                      <a:pt x="23" y="13"/>
                      <a:pt x="23" y="12"/>
                    </a:cubicBezTo>
                    <a:cubicBezTo>
                      <a:pt x="24" y="10"/>
                      <a:pt x="25" y="10"/>
                      <a:pt x="27" y="9"/>
                    </a:cubicBezTo>
                    <a:cubicBezTo>
                      <a:pt x="29" y="8"/>
                      <a:pt x="28" y="5"/>
                      <a:pt x="26" y="4"/>
                    </a:cubicBezTo>
                    <a:cubicBezTo>
                      <a:pt x="24" y="3"/>
                      <a:pt x="22" y="2"/>
                      <a:pt x="19" y="1"/>
                    </a:cubicBezTo>
                    <a:cubicBezTo>
                      <a:pt x="17" y="0"/>
                      <a:pt x="13" y="1"/>
                      <a:pt x="10" y="1"/>
                    </a:cubicBezTo>
                    <a:cubicBezTo>
                      <a:pt x="8" y="1"/>
                      <a:pt x="0" y="0"/>
                      <a:pt x="0" y="4"/>
                    </a:cubicBezTo>
                    <a:cubicBezTo>
                      <a:pt x="0" y="4"/>
                      <a:pt x="1" y="5"/>
                      <a:pt x="1" y="6"/>
                    </a:cubicBezTo>
                    <a:cubicBezTo>
                      <a:pt x="2" y="7"/>
                      <a:pt x="1" y="8"/>
                      <a:pt x="2" y="9"/>
                    </a:cubicBezTo>
                    <a:cubicBezTo>
                      <a:pt x="3" y="9"/>
                      <a:pt x="4" y="11"/>
                      <a:pt x="5" y="10"/>
                    </a:cubicBezTo>
                    <a:cubicBezTo>
                      <a:pt x="7" y="10"/>
                      <a:pt x="9" y="9"/>
                      <a:pt x="9" y="11"/>
                    </a:cubicBezTo>
                    <a:cubicBezTo>
                      <a:pt x="9" y="12"/>
                      <a:pt x="9" y="14"/>
                      <a:pt x="8" y="15"/>
                    </a:cubicBezTo>
                    <a:cubicBezTo>
                      <a:pt x="11" y="15"/>
                      <a:pt x="11" y="15"/>
                      <a:pt x="12" y="18"/>
                    </a:cubicBezTo>
                    <a:cubicBezTo>
                      <a:pt x="13" y="18"/>
                      <a:pt x="16" y="18"/>
                      <a:pt x="16" y="18"/>
                    </a:cubicBezTo>
                    <a:cubicBezTo>
                      <a:pt x="17" y="17"/>
                      <a:pt x="15" y="19"/>
                      <a:pt x="16" y="1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3" name="Freeform 660">
                <a:extLst>
                  <a:ext uri="{FF2B5EF4-FFF2-40B4-BE49-F238E27FC236}">
                    <a16:creationId xmlns:a16="http://schemas.microsoft.com/office/drawing/2014/main" id="{87588DEA-96C8-1A45-8DAE-1586E3CD216F}"/>
                  </a:ext>
                </a:extLst>
              </p:cNvPr>
              <p:cNvSpPr>
                <a:spLocks/>
              </p:cNvSpPr>
              <p:nvPr/>
            </p:nvSpPr>
            <p:spPr bwMode="auto">
              <a:xfrm>
                <a:off x="12658794" y="5955834"/>
                <a:ext cx="334397" cy="168837"/>
              </a:xfrm>
              <a:custGeom>
                <a:avLst/>
                <a:gdLst>
                  <a:gd name="T0" fmla="*/ 11 w 36"/>
                  <a:gd name="T1" fmla="*/ 13 h 18"/>
                  <a:gd name="T2" fmla="*/ 19 w 36"/>
                  <a:gd name="T3" fmla="*/ 12 h 18"/>
                  <a:gd name="T4" fmla="*/ 25 w 36"/>
                  <a:gd name="T5" fmla="*/ 15 h 18"/>
                  <a:gd name="T6" fmla="*/ 29 w 36"/>
                  <a:gd name="T7" fmla="*/ 17 h 18"/>
                  <a:gd name="T8" fmla="*/ 33 w 36"/>
                  <a:gd name="T9" fmla="*/ 16 h 18"/>
                  <a:gd name="T10" fmla="*/ 36 w 36"/>
                  <a:gd name="T11" fmla="*/ 14 h 18"/>
                  <a:gd name="T12" fmla="*/ 34 w 36"/>
                  <a:gd name="T13" fmla="*/ 8 h 18"/>
                  <a:gd name="T14" fmla="*/ 31 w 36"/>
                  <a:gd name="T15" fmla="*/ 4 h 18"/>
                  <a:gd name="T16" fmla="*/ 25 w 36"/>
                  <a:gd name="T17" fmla="*/ 3 h 18"/>
                  <a:gd name="T18" fmla="*/ 18 w 36"/>
                  <a:gd name="T19" fmla="*/ 1 h 18"/>
                  <a:gd name="T20" fmla="*/ 17 w 36"/>
                  <a:gd name="T21" fmla="*/ 5 h 18"/>
                  <a:gd name="T22" fmla="*/ 15 w 36"/>
                  <a:gd name="T23" fmla="*/ 7 h 18"/>
                  <a:gd name="T24" fmla="*/ 8 w 36"/>
                  <a:gd name="T25" fmla="*/ 4 h 18"/>
                  <a:gd name="T26" fmla="*/ 0 w 36"/>
                  <a:gd name="T27" fmla="*/ 15 h 18"/>
                  <a:gd name="T28" fmla="*/ 11 w 36"/>
                  <a:gd name="T29"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8">
                    <a:moveTo>
                      <a:pt x="11" y="13"/>
                    </a:moveTo>
                    <a:cubicBezTo>
                      <a:pt x="14" y="13"/>
                      <a:pt x="16" y="12"/>
                      <a:pt x="19" y="12"/>
                    </a:cubicBezTo>
                    <a:cubicBezTo>
                      <a:pt x="20" y="12"/>
                      <a:pt x="24" y="14"/>
                      <a:pt x="25" y="15"/>
                    </a:cubicBezTo>
                    <a:cubicBezTo>
                      <a:pt x="26" y="16"/>
                      <a:pt x="27" y="18"/>
                      <a:pt x="29" y="17"/>
                    </a:cubicBezTo>
                    <a:cubicBezTo>
                      <a:pt x="30" y="17"/>
                      <a:pt x="31" y="16"/>
                      <a:pt x="33" y="16"/>
                    </a:cubicBezTo>
                    <a:cubicBezTo>
                      <a:pt x="34" y="16"/>
                      <a:pt x="34" y="14"/>
                      <a:pt x="36" y="14"/>
                    </a:cubicBezTo>
                    <a:cubicBezTo>
                      <a:pt x="35" y="12"/>
                      <a:pt x="33" y="9"/>
                      <a:pt x="34" y="8"/>
                    </a:cubicBezTo>
                    <a:cubicBezTo>
                      <a:pt x="35" y="6"/>
                      <a:pt x="32" y="4"/>
                      <a:pt x="31" y="4"/>
                    </a:cubicBezTo>
                    <a:cubicBezTo>
                      <a:pt x="29" y="3"/>
                      <a:pt x="27" y="5"/>
                      <a:pt x="25" y="3"/>
                    </a:cubicBezTo>
                    <a:cubicBezTo>
                      <a:pt x="22" y="1"/>
                      <a:pt x="21" y="0"/>
                      <a:pt x="18" y="1"/>
                    </a:cubicBezTo>
                    <a:cubicBezTo>
                      <a:pt x="16" y="2"/>
                      <a:pt x="17" y="3"/>
                      <a:pt x="17" y="5"/>
                    </a:cubicBezTo>
                    <a:cubicBezTo>
                      <a:pt x="16" y="6"/>
                      <a:pt x="16" y="7"/>
                      <a:pt x="15" y="7"/>
                    </a:cubicBezTo>
                    <a:cubicBezTo>
                      <a:pt x="12" y="9"/>
                      <a:pt x="10" y="5"/>
                      <a:pt x="8" y="4"/>
                    </a:cubicBezTo>
                    <a:cubicBezTo>
                      <a:pt x="3" y="0"/>
                      <a:pt x="0" y="11"/>
                      <a:pt x="0" y="15"/>
                    </a:cubicBezTo>
                    <a:cubicBezTo>
                      <a:pt x="4" y="13"/>
                      <a:pt x="7" y="13"/>
                      <a:pt x="11"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4" name="Freeform 661">
                <a:extLst>
                  <a:ext uri="{FF2B5EF4-FFF2-40B4-BE49-F238E27FC236}">
                    <a16:creationId xmlns:a16="http://schemas.microsoft.com/office/drawing/2014/main" id="{3DCDE57D-C3B4-2640-AB20-67D8B046140C}"/>
                  </a:ext>
                </a:extLst>
              </p:cNvPr>
              <p:cNvSpPr>
                <a:spLocks/>
              </p:cNvSpPr>
              <p:nvPr/>
            </p:nvSpPr>
            <p:spPr bwMode="auto">
              <a:xfrm>
                <a:off x="12760703" y="5853898"/>
                <a:ext cx="222932" cy="140163"/>
              </a:xfrm>
              <a:custGeom>
                <a:avLst/>
                <a:gdLst>
                  <a:gd name="T0" fmla="*/ 16 w 24"/>
                  <a:gd name="T1" fmla="*/ 15 h 15"/>
                  <a:gd name="T2" fmla="*/ 20 w 24"/>
                  <a:gd name="T3" fmla="*/ 15 h 15"/>
                  <a:gd name="T4" fmla="*/ 22 w 24"/>
                  <a:gd name="T5" fmla="*/ 13 h 15"/>
                  <a:gd name="T6" fmla="*/ 22 w 24"/>
                  <a:gd name="T7" fmla="*/ 10 h 15"/>
                  <a:gd name="T8" fmla="*/ 21 w 24"/>
                  <a:gd name="T9" fmla="*/ 5 h 15"/>
                  <a:gd name="T10" fmla="*/ 24 w 24"/>
                  <a:gd name="T11" fmla="*/ 0 h 15"/>
                  <a:gd name="T12" fmla="*/ 12 w 24"/>
                  <a:gd name="T13" fmla="*/ 0 h 15"/>
                  <a:gd name="T14" fmla="*/ 6 w 24"/>
                  <a:gd name="T15" fmla="*/ 1 h 15"/>
                  <a:gd name="T16" fmla="*/ 0 w 24"/>
                  <a:gd name="T17" fmla="*/ 5 h 15"/>
                  <a:gd name="T18" fmla="*/ 2 w 24"/>
                  <a:gd name="T19" fmla="*/ 6 h 15"/>
                  <a:gd name="T20" fmla="*/ 2 w 24"/>
                  <a:gd name="T21" fmla="*/ 8 h 15"/>
                  <a:gd name="T22" fmla="*/ 7 w 24"/>
                  <a:gd name="T23" fmla="*/ 9 h 15"/>
                  <a:gd name="T24" fmla="*/ 6 w 24"/>
                  <a:gd name="T25" fmla="*/ 13 h 15"/>
                  <a:gd name="T26" fmla="*/ 11 w 24"/>
                  <a:gd name="T27" fmla="*/ 12 h 15"/>
                  <a:gd name="T28" fmla="*/ 16 w 24"/>
                  <a:gd name="T29"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15">
                    <a:moveTo>
                      <a:pt x="16" y="15"/>
                    </a:moveTo>
                    <a:cubicBezTo>
                      <a:pt x="17" y="15"/>
                      <a:pt x="19" y="15"/>
                      <a:pt x="20" y="15"/>
                    </a:cubicBezTo>
                    <a:cubicBezTo>
                      <a:pt x="20" y="14"/>
                      <a:pt x="22" y="14"/>
                      <a:pt x="22" y="13"/>
                    </a:cubicBezTo>
                    <a:cubicBezTo>
                      <a:pt x="22" y="12"/>
                      <a:pt x="22" y="11"/>
                      <a:pt x="22" y="10"/>
                    </a:cubicBezTo>
                    <a:cubicBezTo>
                      <a:pt x="21" y="8"/>
                      <a:pt x="20" y="7"/>
                      <a:pt x="21" y="5"/>
                    </a:cubicBezTo>
                    <a:cubicBezTo>
                      <a:pt x="23" y="4"/>
                      <a:pt x="24" y="2"/>
                      <a:pt x="24" y="0"/>
                    </a:cubicBezTo>
                    <a:cubicBezTo>
                      <a:pt x="22" y="3"/>
                      <a:pt x="15" y="0"/>
                      <a:pt x="12" y="0"/>
                    </a:cubicBezTo>
                    <a:cubicBezTo>
                      <a:pt x="10" y="0"/>
                      <a:pt x="8" y="0"/>
                      <a:pt x="6" y="1"/>
                    </a:cubicBezTo>
                    <a:cubicBezTo>
                      <a:pt x="5" y="1"/>
                      <a:pt x="0" y="5"/>
                      <a:pt x="0" y="5"/>
                    </a:cubicBezTo>
                    <a:cubicBezTo>
                      <a:pt x="0" y="6"/>
                      <a:pt x="3" y="5"/>
                      <a:pt x="2" y="6"/>
                    </a:cubicBezTo>
                    <a:cubicBezTo>
                      <a:pt x="2" y="7"/>
                      <a:pt x="2" y="7"/>
                      <a:pt x="2" y="8"/>
                    </a:cubicBezTo>
                    <a:cubicBezTo>
                      <a:pt x="3" y="10"/>
                      <a:pt x="7" y="9"/>
                      <a:pt x="7" y="9"/>
                    </a:cubicBezTo>
                    <a:cubicBezTo>
                      <a:pt x="7" y="10"/>
                      <a:pt x="6" y="12"/>
                      <a:pt x="6" y="13"/>
                    </a:cubicBezTo>
                    <a:cubicBezTo>
                      <a:pt x="7" y="12"/>
                      <a:pt x="9" y="11"/>
                      <a:pt x="11" y="12"/>
                    </a:cubicBezTo>
                    <a:cubicBezTo>
                      <a:pt x="13" y="13"/>
                      <a:pt x="14" y="15"/>
                      <a:pt x="16"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5" name="Freeform 662">
                <a:extLst>
                  <a:ext uri="{FF2B5EF4-FFF2-40B4-BE49-F238E27FC236}">
                    <a16:creationId xmlns:a16="http://schemas.microsoft.com/office/drawing/2014/main" id="{ABA94F58-F82C-EF4C-B5F9-3199852A0A23}"/>
                  </a:ext>
                </a:extLst>
              </p:cNvPr>
              <p:cNvSpPr>
                <a:spLocks/>
              </p:cNvSpPr>
              <p:nvPr/>
            </p:nvSpPr>
            <p:spPr bwMode="auto">
              <a:xfrm>
                <a:off x="12591917" y="6143782"/>
                <a:ext cx="149682" cy="73269"/>
              </a:xfrm>
              <a:custGeom>
                <a:avLst/>
                <a:gdLst>
                  <a:gd name="T0" fmla="*/ 16 w 16"/>
                  <a:gd name="T1" fmla="*/ 4 h 8"/>
                  <a:gd name="T2" fmla="*/ 12 w 16"/>
                  <a:gd name="T3" fmla="*/ 2 h 8"/>
                  <a:gd name="T4" fmla="*/ 8 w 16"/>
                  <a:gd name="T5" fmla="*/ 0 h 8"/>
                  <a:gd name="T6" fmla="*/ 7 w 16"/>
                  <a:gd name="T7" fmla="*/ 3 h 8"/>
                  <a:gd name="T8" fmla="*/ 5 w 16"/>
                  <a:gd name="T9" fmla="*/ 2 h 8"/>
                  <a:gd name="T10" fmla="*/ 2 w 16"/>
                  <a:gd name="T11" fmla="*/ 3 h 8"/>
                  <a:gd name="T12" fmla="*/ 0 w 16"/>
                  <a:gd name="T13" fmla="*/ 5 h 8"/>
                  <a:gd name="T14" fmla="*/ 0 w 16"/>
                  <a:gd name="T15" fmla="*/ 6 h 8"/>
                  <a:gd name="T16" fmla="*/ 2 w 16"/>
                  <a:gd name="T17" fmla="*/ 6 h 8"/>
                  <a:gd name="T18" fmla="*/ 8 w 16"/>
                  <a:gd name="T19" fmla="*/ 7 h 8"/>
                  <a:gd name="T20" fmla="*/ 16 w 16"/>
                  <a:gd name="T21"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8">
                    <a:moveTo>
                      <a:pt x="16" y="4"/>
                    </a:moveTo>
                    <a:cubicBezTo>
                      <a:pt x="16" y="1"/>
                      <a:pt x="14" y="2"/>
                      <a:pt x="12" y="2"/>
                    </a:cubicBezTo>
                    <a:cubicBezTo>
                      <a:pt x="11" y="3"/>
                      <a:pt x="10" y="1"/>
                      <a:pt x="8" y="0"/>
                    </a:cubicBezTo>
                    <a:cubicBezTo>
                      <a:pt x="8" y="1"/>
                      <a:pt x="8" y="2"/>
                      <a:pt x="7" y="3"/>
                    </a:cubicBezTo>
                    <a:cubicBezTo>
                      <a:pt x="6" y="3"/>
                      <a:pt x="7" y="1"/>
                      <a:pt x="5" y="2"/>
                    </a:cubicBezTo>
                    <a:cubicBezTo>
                      <a:pt x="4" y="2"/>
                      <a:pt x="2" y="2"/>
                      <a:pt x="2" y="3"/>
                    </a:cubicBezTo>
                    <a:cubicBezTo>
                      <a:pt x="1" y="5"/>
                      <a:pt x="2" y="6"/>
                      <a:pt x="0" y="5"/>
                    </a:cubicBezTo>
                    <a:cubicBezTo>
                      <a:pt x="0" y="5"/>
                      <a:pt x="0" y="5"/>
                      <a:pt x="0" y="6"/>
                    </a:cubicBezTo>
                    <a:cubicBezTo>
                      <a:pt x="0" y="6"/>
                      <a:pt x="1" y="6"/>
                      <a:pt x="2" y="6"/>
                    </a:cubicBezTo>
                    <a:cubicBezTo>
                      <a:pt x="4" y="7"/>
                      <a:pt x="6" y="7"/>
                      <a:pt x="8" y="7"/>
                    </a:cubicBezTo>
                    <a:cubicBezTo>
                      <a:pt x="10" y="7"/>
                      <a:pt x="16" y="8"/>
                      <a:pt x="1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6" name="Freeform 663">
                <a:extLst>
                  <a:ext uri="{FF2B5EF4-FFF2-40B4-BE49-F238E27FC236}">
                    <a16:creationId xmlns:a16="http://schemas.microsoft.com/office/drawing/2014/main" id="{9BDC2168-BD8B-DE47-8BD3-E43B07A2FD6E}"/>
                  </a:ext>
                </a:extLst>
              </p:cNvPr>
              <p:cNvSpPr>
                <a:spLocks/>
              </p:cNvSpPr>
              <p:nvPr/>
            </p:nvSpPr>
            <p:spPr bwMode="auto">
              <a:xfrm>
                <a:off x="12359429" y="6162893"/>
                <a:ext cx="445860" cy="391823"/>
              </a:xfrm>
              <a:custGeom>
                <a:avLst/>
                <a:gdLst>
                  <a:gd name="T0" fmla="*/ 1 w 48"/>
                  <a:gd name="T1" fmla="*/ 12 h 42"/>
                  <a:gd name="T2" fmla="*/ 0 w 48"/>
                  <a:gd name="T3" fmla="*/ 16 h 42"/>
                  <a:gd name="T4" fmla="*/ 2 w 48"/>
                  <a:gd name="T5" fmla="*/ 20 h 42"/>
                  <a:gd name="T6" fmla="*/ 4 w 48"/>
                  <a:gd name="T7" fmla="*/ 27 h 42"/>
                  <a:gd name="T8" fmla="*/ 9 w 48"/>
                  <a:gd name="T9" fmla="*/ 31 h 42"/>
                  <a:gd name="T10" fmla="*/ 10 w 48"/>
                  <a:gd name="T11" fmla="*/ 33 h 42"/>
                  <a:gd name="T12" fmla="*/ 13 w 48"/>
                  <a:gd name="T13" fmla="*/ 32 h 42"/>
                  <a:gd name="T14" fmla="*/ 21 w 48"/>
                  <a:gd name="T15" fmla="*/ 36 h 42"/>
                  <a:gd name="T16" fmla="*/ 25 w 48"/>
                  <a:gd name="T17" fmla="*/ 37 h 42"/>
                  <a:gd name="T18" fmla="*/ 33 w 48"/>
                  <a:gd name="T19" fmla="*/ 37 h 42"/>
                  <a:gd name="T20" fmla="*/ 39 w 48"/>
                  <a:gd name="T21" fmla="*/ 41 h 42"/>
                  <a:gd name="T22" fmla="*/ 41 w 48"/>
                  <a:gd name="T23" fmla="*/ 35 h 42"/>
                  <a:gd name="T24" fmla="*/ 44 w 48"/>
                  <a:gd name="T25" fmla="*/ 32 h 42"/>
                  <a:gd name="T26" fmla="*/ 48 w 48"/>
                  <a:gd name="T27" fmla="*/ 31 h 42"/>
                  <a:gd name="T28" fmla="*/ 45 w 48"/>
                  <a:gd name="T29" fmla="*/ 26 h 42"/>
                  <a:gd name="T30" fmla="*/ 44 w 48"/>
                  <a:gd name="T31" fmla="*/ 19 h 42"/>
                  <a:gd name="T32" fmla="*/ 46 w 48"/>
                  <a:gd name="T33" fmla="*/ 12 h 42"/>
                  <a:gd name="T34" fmla="*/ 44 w 48"/>
                  <a:gd name="T35" fmla="*/ 7 h 42"/>
                  <a:gd name="T36" fmla="*/ 42 w 48"/>
                  <a:gd name="T37" fmla="*/ 5 h 42"/>
                  <a:gd name="T38" fmla="*/ 25 w 48"/>
                  <a:gd name="T39" fmla="*/ 4 h 42"/>
                  <a:gd name="T40" fmla="*/ 20 w 48"/>
                  <a:gd name="T41" fmla="*/ 2 h 42"/>
                  <a:gd name="T42" fmla="*/ 13 w 48"/>
                  <a:gd name="T43" fmla="*/ 4 h 42"/>
                  <a:gd name="T44" fmla="*/ 6 w 48"/>
                  <a:gd name="T45" fmla="*/ 6 h 42"/>
                  <a:gd name="T46" fmla="*/ 2 w 48"/>
                  <a:gd name="T47" fmla="*/ 7 h 42"/>
                  <a:gd name="T48" fmla="*/ 1 w 48"/>
                  <a:gd name="T49" fmla="*/ 9 h 42"/>
                  <a:gd name="T50" fmla="*/ 1 w 48"/>
                  <a:gd name="T51" fmla="*/ 12 h 42"/>
                  <a:gd name="T52" fmla="*/ 1 w 48"/>
                  <a:gd name="T53" fmla="*/ 1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42">
                    <a:moveTo>
                      <a:pt x="1" y="12"/>
                    </a:moveTo>
                    <a:cubicBezTo>
                      <a:pt x="1" y="13"/>
                      <a:pt x="0" y="15"/>
                      <a:pt x="0" y="16"/>
                    </a:cubicBezTo>
                    <a:cubicBezTo>
                      <a:pt x="1" y="17"/>
                      <a:pt x="2" y="19"/>
                      <a:pt x="2" y="20"/>
                    </a:cubicBezTo>
                    <a:cubicBezTo>
                      <a:pt x="2" y="22"/>
                      <a:pt x="3" y="25"/>
                      <a:pt x="4" y="27"/>
                    </a:cubicBezTo>
                    <a:cubicBezTo>
                      <a:pt x="5" y="30"/>
                      <a:pt x="8" y="29"/>
                      <a:pt x="9" y="31"/>
                    </a:cubicBezTo>
                    <a:cubicBezTo>
                      <a:pt x="9" y="31"/>
                      <a:pt x="9" y="33"/>
                      <a:pt x="10" y="33"/>
                    </a:cubicBezTo>
                    <a:cubicBezTo>
                      <a:pt x="11" y="34"/>
                      <a:pt x="12" y="32"/>
                      <a:pt x="13" y="32"/>
                    </a:cubicBezTo>
                    <a:cubicBezTo>
                      <a:pt x="15" y="31"/>
                      <a:pt x="19" y="35"/>
                      <a:pt x="21" y="36"/>
                    </a:cubicBezTo>
                    <a:cubicBezTo>
                      <a:pt x="22" y="37"/>
                      <a:pt x="23" y="39"/>
                      <a:pt x="25" y="37"/>
                    </a:cubicBezTo>
                    <a:cubicBezTo>
                      <a:pt x="26" y="36"/>
                      <a:pt x="31" y="37"/>
                      <a:pt x="33" y="37"/>
                    </a:cubicBezTo>
                    <a:cubicBezTo>
                      <a:pt x="36" y="37"/>
                      <a:pt x="37" y="39"/>
                      <a:pt x="39" y="41"/>
                    </a:cubicBezTo>
                    <a:cubicBezTo>
                      <a:pt x="40" y="42"/>
                      <a:pt x="40" y="36"/>
                      <a:pt x="41" y="35"/>
                    </a:cubicBezTo>
                    <a:cubicBezTo>
                      <a:pt x="42" y="34"/>
                      <a:pt x="43" y="33"/>
                      <a:pt x="44" y="32"/>
                    </a:cubicBezTo>
                    <a:cubicBezTo>
                      <a:pt x="45" y="32"/>
                      <a:pt x="48" y="32"/>
                      <a:pt x="48" y="31"/>
                    </a:cubicBezTo>
                    <a:cubicBezTo>
                      <a:pt x="47" y="28"/>
                      <a:pt x="47" y="27"/>
                      <a:pt x="45" y="26"/>
                    </a:cubicBezTo>
                    <a:cubicBezTo>
                      <a:pt x="43" y="24"/>
                      <a:pt x="46" y="21"/>
                      <a:pt x="44" y="19"/>
                    </a:cubicBezTo>
                    <a:cubicBezTo>
                      <a:pt x="42" y="18"/>
                      <a:pt x="47" y="14"/>
                      <a:pt x="46" y="12"/>
                    </a:cubicBezTo>
                    <a:cubicBezTo>
                      <a:pt x="45" y="10"/>
                      <a:pt x="44" y="9"/>
                      <a:pt x="44" y="7"/>
                    </a:cubicBezTo>
                    <a:cubicBezTo>
                      <a:pt x="44" y="6"/>
                      <a:pt x="44" y="5"/>
                      <a:pt x="42" y="5"/>
                    </a:cubicBezTo>
                    <a:cubicBezTo>
                      <a:pt x="37" y="3"/>
                      <a:pt x="30" y="6"/>
                      <a:pt x="25" y="4"/>
                    </a:cubicBezTo>
                    <a:cubicBezTo>
                      <a:pt x="25" y="7"/>
                      <a:pt x="21" y="2"/>
                      <a:pt x="20" y="2"/>
                    </a:cubicBezTo>
                    <a:cubicBezTo>
                      <a:pt x="17" y="0"/>
                      <a:pt x="15" y="2"/>
                      <a:pt x="13" y="4"/>
                    </a:cubicBezTo>
                    <a:cubicBezTo>
                      <a:pt x="10" y="5"/>
                      <a:pt x="8" y="6"/>
                      <a:pt x="6" y="6"/>
                    </a:cubicBezTo>
                    <a:cubicBezTo>
                      <a:pt x="5" y="7"/>
                      <a:pt x="3" y="7"/>
                      <a:pt x="2" y="7"/>
                    </a:cubicBezTo>
                    <a:cubicBezTo>
                      <a:pt x="1" y="8"/>
                      <a:pt x="3" y="9"/>
                      <a:pt x="1" y="9"/>
                    </a:cubicBezTo>
                    <a:cubicBezTo>
                      <a:pt x="1" y="10"/>
                      <a:pt x="1" y="11"/>
                      <a:pt x="1" y="12"/>
                    </a:cubicBezTo>
                    <a:cubicBezTo>
                      <a:pt x="1" y="14"/>
                      <a:pt x="1" y="12"/>
                      <a:pt x="1" y="1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7" name="Freeform 664">
                <a:extLst>
                  <a:ext uri="{FF2B5EF4-FFF2-40B4-BE49-F238E27FC236}">
                    <a16:creationId xmlns:a16="http://schemas.microsoft.com/office/drawing/2014/main" id="{CD7843C2-8CFB-494E-9B0F-3C196B425B16}"/>
                  </a:ext>
                </a:extLst>
              </p:cNvPr>
              <p:cNvSpPr>
                <a:spLocks/>
              </p:cNvSpPr>
              <p:nvPr/>
            </p:nvSpPr>
            <p:spPr bwMode="auto">
              <a:xfrm>
                <a:off x="12630129" y="6573832"/>
                <a:ext cx="429938" cy="280329"/>
              </a:xfrm>
              <a:custGeom>
                <a:avLst/>
                <a:gdLst>
                  <a:gd name="T0" fmla="*/ 38 w 46"/>
                  <a:gd name="T1" fmla="*/ 13 h 30"/>
                  <a:gd name="T2" fmla="*/ 35 w 46"/>
                  <a:gd name="T3" fmla="*/ 6 h 30"/>
                  <a:gd name="T4" fmla="*/ 32 w 46"/>
                  <a:gd name="T5" fmla="*/ 0 h 30"/>
                  <a:gd name="T6" fmla="*/ 22 w 46"/>
                  <a:gd name="T7" fmla="*/ 4 h 30"/>
                  <a:gd name="T8" fmla="*/ 18 w 46"/>
                  <a:gd name="T9" fmla="*/ 3 h 30"/>
                  <a:gd name="T10" fmla="*/ 12 w 46"/>
                  <a:gd name="T11" fmla="*/ 3 h 30"/>
                  <a:gd name="T12" fmla="*/ 8 w 46"/>
                  <a:gd name="T13" fmla="*/ 6 h 30"/>
                  <a:gd name="T14" fmla="*/ 4 w 46"/>
                  <a:gd name="T15" fmla="*/ 14 h 30"/>
                  <a:gd name="T16" fmla="*/ 0 w 46"/>
                  <a:gd name="T17" fmla="*/ 15 h 30"/>
                  <a:gd name="T18" fmla="*/ 3 w 46"/>
                  <a:gd name="T19" fmla="*/ 18 h 30"/>
                  <a:gd name="T20" fmla="*/ 5 w 46"/>
                  <a:gd name="T21" fmla="*/ 22 h 30"/>
                  <a:gd name="T22" fmla="*/ 8 w 46"/>
                  <a:gd name="T23" fmla="*/ 24 h 30"/>
                  <a:gd name="T24" fmla="*/ 11 w 46"/>
                  <a:gd name="T25" fmla="*/ 25 h 30"/>
                  <a:gd name="T26" fmla="*/ 11 w 46"/>
                  <a:gd name="T27" fmla="*/ 28 h 30"/>
                  <a:gd name="T28" fmla="*/ 21 w 46"/>
                  <a:gd name="T29" fmla="*/ 30 h 30"/>
                  <a:gd name="T30" fmla="*/ 28 w 46"/>
                  <a:gd name="T31" fmla="*/ 28 h 30"/>
                  <a:gd name="T32" fmla="*/ 40 w 46"/>
                  <a:gd name="T33" fmla="*/ 30 h 30"/>
                  <a:gd name="T34" fmla="*/ 41 w 46"/>
                  <a:gd name="T35" fmla="*/ 23 h 30"/>
                  <a:gd name="T36" fmla="*/ 46 w 46"/>
                  <a:gd name="T37" fmla="*/ 20 h 30"/>
                  <a:gd name="T38" fmla="*/ 39 w 46"/>
                  <a:gd name="T39" fmla="*/ 20 h 30"/>
                  <a:gd name="T40" fmla="*/ 38 w 46"/>
                  <a:gd name="T41" fmla="*/ 13 h 30"/>
                  <a:gd name="T42" fmla="*/ 38 w 46"/>
                  <a:gd name="T4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38" y="13"/>
                    </a:moveTo>
                    <a:cubicBezTo>
                      <a:pt x="39" y="10"/>
                      <a:pt x="36" y="8"/>
                      <a:pt x="35" y="6"/>
                    </a:cubicBezTo>
                    <a:cubicBezTo>
                      <a:pt x="33" y="5"/>
                      <a:pt x="32" y="2"/>
                      <a:pt x="32" y="0"/>
                    </a:cubicBezTo>
                    <a:cubicBezTo>
                      <a:pt x="29" y="1"/>
                      <a:pt x="26" y="4"/>
                      <a:pt x="22" y="4"/>
                    </a:cubicBezTo>
                    <a:cubicBezTo>
                      <a:pt x="21" y="4"/>
                      <a:pt x="19" y="3"/>
                      <a:pt x="18" y="3"/>
                    </a:cubicBezTo>
                    <a:cubicBezTo>
                      <a:pt x="16" y="3"/>
                      <a:pt x="14" y="3"/>
                      <a:pt x="12" y="3"/>
                    </a:cubicBezTo>
                    <a:cubicBezTo>
                      <a:pt x="12" y="3"/>
                      <a:pt x="9" y="6"/>
                      <a:pt x="8" y="6"/>
                    </a:cubicBezTo>
                    <a:cubicBezTo>
                      <a:pt x="7" y="9"/>
                      <a:pt x="5" y="11"/>
                      <a:pt x="4" y="14"/>
                    </a:cubicBezTo>
                    <a:cubicBezTo>
                      <a:pt x="3" y="14"/>
                      <a:pt x="1" y="14"/>
                      <a:pt x="0" y="15"/>
                    </a:cubicBezTo>
                    <a:cubicBezTo>
                      <a:pt x="0" y="16"/>
                      <a:pt x="3" y="17"/>
                      <a:pt x="3" y="18"/>
                    </a:cubicBezTo>
                    <a:cubicBezTo>
                      <a:pt x="3" y="20"/>
                      <a:pt x="4" y="20"/>
                      <a:pt x="5" y="22"/>
                    </a:cubicBezTo>
                    <a:cubicBezTo>
                      <a:pt x="5" y="24"/>
                      <a:pt x="6" y="24"/>
                      <a:pt x="8" y="24"/>
                    </a:cubicBezTo>
                    <a:cubicBezTo>
                      <a:pt x="9" y="24"/>
                      <a:pt x="11" y="24"/>
                      <a:pt x="11" y="25"/>
                    </a:cubicBezTo>
                    <a:cubicBezTo>
                      <a:pt x="11" y="26"/>
                      <a:pt x="11" y="27"/>
                      <a:pt x="11" y="28"/>
                    </a:cubicBezTo>
                    <a:cubicBezTo>
                      <a:pt x="13" y="30"/>
                      <a:pt x="18" y="30"/>
                      <a:pt x="21" y="30"/>
                    </a:cubicBezTo>
                    <a:cubicBezTo>
                      <a:pt x="24" y="30"/>
                      <a:pt x="26" y="30"/>
                      <a:pt x="28" y="28"/>
                    </a:cubicBezTo>
                    <a:cubicBezTo>
                      <a:pt x="32" y="26"/>
                      <a:pt x="36" y="28"/>
                      <a:pt x="40" y="30"/>
                    </a:cubicBezTo>
                    <a:cubicBezTo>
                      <a:pt x="40" y="28"/>
                      <a:pt x="40" y="25"/>
                      <a:pt x="41" y="23"/>
                    </a:cubicBezTo>
                    <a:cubicBezTo>
                      <a:pt x="42" y="22"/>
                      <a:pt x="45" y="24"/>
                      <a:pt x="46" y="20"/>
                    </a:cubicBezTo>
                    <a:cubicBezTo>
                      <a:pt x="43" y="18"/>
                      <a:pt x="42" y="20"/>
                      <a:pt x="39" y="20"/>
                    </a:cubicBezTo>
                    <a:cubicBezTo>
                      <a:pt x="37" y="19"/>
                      <a:pt x="37" y="14"/>
                      <a:pt x="38" y="13"/>
                    </a:cubicBezTo>
                    <a:cubicBezTo>
                      <a:pt x="39" y="11"/>
                      <a:pt x="37" y="15"/>
                      <a:pt x="38"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8" name="Freeform 665">
                <a:extLst>
                  <a:ext uri="{FF2B5EF4-FFF2-40B4-BE49-F238E27FC236}">
                    <a16:creationId xmlns:a16="http://schemas.microsoft.com/office/drawing/2014/main" id="{72404E71-C281-1146-A781-838290F72BEB}"/>
                  </a:ext>
                </a:extLst>
              </p:cNvPr>
              <p:cNvSpPr>
                <a:spLocks/>
              </p:cNvSpPr>
              <p:nvPr/>
            </p:nvSpPr>
            <p:spPr bwMode="auto">
              <a:xfrm>
                <a:off x="12929494" y="6564274"/>
                <a:ext cx="156051" cy="187951"/>
              </a:xfrm>
              <a:custGeom>
                <a:avLst/>
                <a:gdLst>
                  <a:gd name="T0" fmla="*/ 14 w 17"/>
                  <a:gd name="T1" fmla="*/ 10 h 20"/>
                  <a:gd name="T2" fmla="*/ 9 w 17"/>
                  <a:gd name="T3" fmla="*/ 3 h 20"/>
                  <a:gd name="T4" fmla="*/ 0 w 17"/>
                  <a:gd name="T5" fmla="*/ 1 h 20"/>
                  <a:gd name="T6" fmla="*/ 5 w 17"/>
                  <a:gd name="T7" fmla="*/ 10 h 20"/>
                  <a:gd name="T8" fmla="*/ 7 w 17"/>
                  <a:gd name="T9" fmla="*/ 20 h 20"/>
                  <a:gd name="T10" fmla="*/ 10 w 17"/>
                  <a:gd name="T11" fmla="*/ 14 h 20"/>
                  <a:gd name="T12" fmla="*/ 14 w 17"/>
                  <a:gd name="T13" fmla="*/ 14 h 20"/>
                  <a:gd name="T14" fmla="*/ 14 w 17"/>
                  <a:gd name="T15" fmla="*/ 10 h 20"/>
                  <a:gd name="T16" fmla="*/ 14 w 17"/>
                  <a:gd name="T1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0">
                    <a:moveTo>
                      <a:pt x="14" y="10"/>
                    </a:moveTo>
                    <a:cubicBezTo>
                      <a:pt x="12" y="8"/>
                      <a:pt x="11" y="4"/>
                      <a:pt x="9" y="3"/>
                    </a:cubicBezTo>
                    <a:cubicBezTo>
                      <a:pt x="8" y="3"/>
                      <a:pt x="0" y="0"/>
                      <a:pt x="0" y="1"/>
                    </a:cubicBezTo>
                    <a:cubicBezTo>
                      <a:pt x="1" y="5"/>
                      <a:pt x="3" y="7"/>
                      <a:pt x="5" y="10"/>
                    </a:cubicBezTo>
                    <a:cubicBezTo>
                      <a:pt x="7" y="13"/>
                      <a:pt x="4" y="17"/>
                      <a:pt x="7" y="20"/>
                    </a:cubicBezTo>
                    <a:cubicBezTo>
                      <a:pt x="8" y="19"/>
                      <a:pt x="9" y="16"/>
                      <a:pt x="10" y="14"/>
                    </a:cubicBezTo>
                    <a:cubicBezTo>
                      <a:pt x="12" y="13"/>
                      <a:pt x="13" y="14"/>
                      <a:pt x="14" y="14"/>
                    </a:cubicBezTo>
                    <a:cubicBezTo>
                      <a:pt x="17" y="14"/>
                      <a:pt x="14" y="10"/>
                      <a:pt x="14" y="10"/>
                    </a:cubicBezTo>
                    <a:cubicBezTo>
                      <a:pt x="13" y="9"/>
                      <a:pt x="14" y="10"/>
                      <a:pt x="14"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89" name="Freeform 666">
                <a:extLst>
                  <a:ext uri="{FF2B5EF4-FFF2-40B4-BE49-F238E27FC236}">
                    <a16:creationId xmlns:a16="http://schemas.microsoft.com/office/drawing/2014/main" id="{4606E1F7-ACA6-DE49-8413-86DB29C3B18D}"/>
                  </a:ext>
                </a:extLst>
              </p:cNvPr>
              <p:cNvSpPr>
                <a:spLocks/>
              </p:cNvSpPr>
              <p:nvPr/>
            </p:nvSpPr>
            <p:spPr bwMode="auto">
              <a:xfrm>
                <a:off x="12993189" y="6666210"/>
                <a:ext cx="92356" cy="95566"/>
              </a:xfrm>
              <a:custGeom>
                <a:avLst/>
                <a:gdLst>
                  <a:gd name="T0" fmla="*/ 7 w 10"/>
                  <a:gd name="T1" fmla="*/ 9 h 10"/>
                  <a:gd name="T2" fmla="*/ 7 w 10"/>
                  <a:gd name="T3" fmla="*/ 7 h 10"/>
                  <a:gd name="T4" fmla="*/ 10 w 10"/>
                  <a:gd name="T5" fmla="*/ 4 h 10"/>
                  <a:gd name="T6" fmla="*/ 8 w 10"/>
                  <a:gd name="T7" fmla="*/ 1 h 10"/>
                  <a:gd name="T8" fmla="*/ 3 w 10"/>
                  <a:gd name="T9" fmla="*/ 4 h 10"/>
                  <a:gd name="T10" fmla="*/ 0 w 10"/>
                  <a:gd name="T11" fmla="*/ 9 h 10"/>
                  <a:gd name="T12" fmla="*/ 3 w 10"/>
                  <a:gd name="T13" fmla="*/ 9 h 10"/>
                  <a:gd name="T14" fmla="*/ 7 w 10"/>
                  <a:gd name="T15" fmla="*/ 10 h 10"/>
                  <a:gd name="T16" fmla="*/ 7 w 10"/>
                  <a:gd name="T17" fmla="*/ 9 h 10"/>
                  <a:gd name="T18" fmla="*/ 7 w 10"/>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9"/>
                    </a:moveTo>
                    <a:cubicBezTo>
                      <a:pt x="6" y="8"/>
                      <a:pt x="6" y="8"/>
                      <a:pt x="7" y="7"/>
                    </a:cubicBezTo>
                    <a:cubicBezTo>
                      <a:pt x="8" y="6"/>
                      <a:pt x="9" y="5"/>
                      <a:pt x="10" y="4"/>
                    </a:cubicBezTo>
                    <a:cubicBezTo>
                      <a:pt x="10" y="4"/>
                      <a:pt x="8" y="2"/>
                      <a:pt x="8" y="1"/>
                    </a:cubicBezTo>
                    <a:cubicBezTo>
                      <a:pt x="8" y="5"/>
                      <a:pt x="3" y="0"/>
                      <a:pt x="3" y="4"/>
                    </a:cubicBezTo>
                    <a:cubicBezTo>
                      <a:pt x="3" y="6"/>
                      <a:pt x="1" y="8"/>
                      <a:pt x="0" y="9"/>
                    </a:cubicBezTo>
                    <a:cubicBezTo>
                      <a:pt x="0" y="10"/>
                      <a:pt x="2" y="9"/>
                      <a:pt x="3" y="9"/>
                    </a:cubicBezTo>
                    <a:cubicBezTo>
                      <a:pt x="5" y="9"/>
                      <a:pt x="6" y="9"/>
                      <a:pt x="7" y="10"/>
                    </a:cubicBezTo>
                    <a:cubicBezTo>
                      <a:pt x="7" y="10"/>
                      <a:pt x="7" y="9"/>
                      <a:pt x="7" y="9"/>
                    </a:cubicBezTo>
                    <a:cubicBezTo>
                      <a:pt x="6" y="8"/>
                      <a:pt x="7" y="9"/>
                      <a:pt x="7" y="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0" name="Freeform 667">
                <a:extLst>
                  <a:ext uri="{FF2B5EF4-FFF2-40B4-BE49-F238E27FC236}">
                    <a16:creationId xmlns:a16="http://schemas.microsoft.com/office/drawing/2014/main" id="{EE197517-96DB-3241-83D6-B20ECA4B3177}"/>
                  </a:ext>
                </a:extLst>
              </p:cNvPr>
              <p:cNvSpPr>
                <a:spLocks/>
              </p:cNvSpPr>
              <p:nvPr/>
            </p:nvSpPr>
            <p:spPr bwMode="auto">
              <a:xfrm>
                <a:off x="12712935" y="6815931"/>
                <a:ext cx="299364" cy="178393"/>
              </a:xfrm>
              <a:custGeom>
                <a:avLst/>
                <a:gdLst>
                  <a:gd name="T0" fmla="*/ 17 w 32"/>
                  <a:gd name="T1" fmla="*/ 4 h 19"/>
                  <a:gd name="T2" fmla="*/ 2 w 32"/>
                  <a:gd name="T3" fmla="*/ 0 h 19"/>
                  <a:gd name="T4" fmla="*/ 2 w 32"/>
                  <a:gd name="T5" fmla="*/ 5 h 19"/>
                  <a:gd name="T6" fmla="*/ 3 w 32"/>
                  <a:gd name="T7" fmla="*/ 8 h 19"/>
                  <a:gd name="T8" fmla="*/ 1 w 32"/>
                  <a:gd name="T9" fmla="*/ 11 h 19"/>
                  <a:gd name="T10" fmla="*/ 3 w 32"/>
                  <a:gd name="T11" fmla="*/ 17 h 19"/>
                  <a:gd name="T12" fmla="*/ 9 w 32"/>
                  <a:gd name="T13" fmla="*/ 17 h 19"/>
                  <a:gd name="T14" fmla="*/ 16 w 32"/>
                  <a:gd name="T15" fmla="*/ 18 h 19"/>
                  <a:gd name="T16" fmla="*/ 21 w 32"/>
                  <a:gd name="T17" fmla="*/ 15 h 19"/>
                  <a:gd name="T18" fmla="*/ 28 w 32"/>
                  <a:gd name="T19" fmla="*/ 14 h 19"/>
                  <a:gd name="T20" fmla="*/ 28 w 32"/>
                  <a:gd name="T21" fmla="*/ 8 h 19"/>
                  <a:gd name="T22" fmla="*/ 29 w 32"/>
                  <a:gd name="T23" fmla="*/ 3 h 19"/>
                  <a:gd name="T24" fmla="*/ 21 w 32"/>
                  <a:gd name="T25" fmla="*/ 2 h 19"/>
                  <a:gd name="T26" fmla="*/ 17 w 32"/>
                  <a:gd name="T27"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19">
                    <a:moveTo>
                      <a:pt x="17" y="4"/>
                    </a:moveTo>
                    <a:cubicBezTo>
                      <a:pt x="13" y="4"/>
                      <a:pt x="3" y="6"/>
                      <a:pt x="2" y="0"/>
                    </a:cubicBezTo>
                    <a:cubicBezTo>
                      <a:pt x="1" y="2"/>
                      <a:pt x="0" y="4"/>
                      <a:pt x="2" y="5"/>
                    </a:cubicBezTo>
                    <a:cubicBezTo>
                      <a:pt x="3" y="6"/>
                      <a:pt x="4" y="7"/>
                      <a:pt x="3" y="8"/>
                    </a:cubicBezTo>
                    <a:cubicBezTo>
                      <a:pt x="2" y="9"/>
                      <a:pt x="1" y="9"/>
                      <a:pt x="1" y="11"/>
                    </a:cubicBezTo>
                    <a:cubicBezTo>
                      <a:pt x="2" y="13"/>
                      <a:pt x="3" y="14"/>
                      <a:pt x="3" y="17"/>
                    </a:cubicBezTo>
                    <a:cubicBezTo>
                      <a:pt x="5" y="17"/>
                      <a:pt x="7" y="17"/>
                      <a:pt x="9" y="17"/>
                    </a:cubicBezTo>
                    <a:cubicBezTo>
                      <a:pt x="11" y="17"/>
                      <a:pt x="14" y="19"/>
                      <a:pt x="16" y="18"/>
                    </a:cubicBezTo>
                    <a:cubicBezTo>
                      <a:pt x="18" y="18"/>
                      <a:pt x="20" y="16"/>
                      <a:pt x="21" y="15"/>
                    </a:cubicBezTo>
                    <a:cubicBezTo>
                      <a:pt x="23" y="13"/>
                      <a:pt x="25" y="14"/>
                      <a:pt x="28" y="14"/>
                    </a:cubicBezTo>
                    <a:cubicBezTo>
                      <a:pt x="27" y="12"/>
                      <a:pt x="27" y="11"/>
                      <a:pt x="28" y="8"/>
                    </a:cubicBezTo>
                    <a:cubicBezTo>
                      <a:pt x="29" y="6"/>
                      <a:pt x="32" y="4"/>
                      <a:pt x="29" y="3"/>
                    </a:cubicBezTo>
                    <a:cubicBezTo>
                      <a:pt x="27" y="2"/>
                      <a:pt x="24" y="1"/>
                      <a:pt x="21" y="2"/>
                    </a:cubicBezTo>
                    <a:cubicBezTo>
                      <a:pt x="19" y="2"/>
                      <a:pt x="18" y="4"/>
                      <a:pt x="17"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1" name="Freeform 668">
                <a:extLst>
                  <a:ext uri="{FF2B5EF4-FFF2-40B4-BE49-F238E27FC236}">
                    <a16:creationId xmlns:a16="http://schemas.microsoft.com/office/drawing/2014/main" id="{82347D5C-BEF2-4844-AB1A-E7D1130FCD60}"/>
                  </a:ext>
                </a:extLst>
              </p:cNvPr>
              <p:cNvSpPr>
                <a:spLocks/>
              </p:cNvSpPr>
              <p:nvPr/>
            </p:nvSpPr>
            <p:spPr bwMode="auto">
              <a:xfrm>
                <a:off x="12423124" y="6771334"/>
                <a:ext cx="168791" cy="140163"/>
              </a:xfrm>
              <a:custGeom>
                <a:avLst/>
                <a:gdLst>
                  <a:gd name="T0" fmla="*/ 10 w 18"/>
                  <a:gd name="T1" fmla="*/ 0 h 15"/>
                  <a:gd name="T2" fmla="*/ 1 w 18"/>
                  <a:gd name="T3" fmla="*/ 2 h 15"/>
                  <a:gd name="T4" fmla="*/ 4 w 18"/>
                  <a:gd name="T5" fmla="*/ 8 h 15"/>
                  <a:gd name="T6" fmla="*/ 13 w 18"/>
                  <a:gd name="T7" fmla="*/ 15 h 15"/>
                  <a:gd name="T8" fmla="*/ 15 w 18"/>
                  <a:gd name="T9" fmla="*/ 10 h 15"/>
                  <a:gd name="T10" fmla="*/ 17 w 18"/>
                  <a:gd name="T11" fmla="*/ 6 h 15"/>
                  <a:gd name="T12" fmla="*/ 16 w 18"/>
                  <a:gd name="T13" fmla="*/ 2 h 15"/>
                  <a:gd name="T14" fmla="*/ 10 w 1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0" y="0"/>
                    </a:moveTo>
                    <a:cubicBezTo>
                      <a:pt x="8" y="0"/>
                      <a:pt x="0" y="0"/>
                      <a:pt x="1" y="2"/>
                    </a:cubicBezTo>
                    <a:cubicBezTo>
                      <a:pt x="1" y="3"/>
                      <a:pt x="3" y="7"/>
                      <a:pt x="4" y="8"/>
                    </a:cubicBezTo>
                    <a:cubicBezTo>
                      <a:pt x="6" y="11"/>
                      <a:pt x="10" y="13"/>
                      <a:pt x="13" y="15"/>
                    </a:cubicBezTo>
                    <a:cubicBezTo>
                      <a:pt x="13" y="13"/>
                      <a:pt x="13" y="11"/>
                      <a:pt x="15" y="10"/>
                    </a:cubicBezTo>
                    <a:cubicBezTo>
                      <a:pt x="17" y="9"/>
                      <a:pt x="18" y="8"/>
                      <a:pt x="17" y="6"/>
                    </a:cubicBezTo>
                    <a:cubicBezTo>
                      <a:pt x="17" y="4"/>
                      <a:pt x="17" y="3"/>
                      <a:pt x="16" y="2"/>
                    </a:cubicBezTo>
                    <a:cubicBezTo>
                      <a:pt x="14" y="1"/>
                      <a:pt x="12" y="0"/>
                      <a:pt x="10"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2" name="Freeform 669">
                <a:extLst>
                  <a:ext uri="{FF2B5EF4-FFF2-40B4-BE49-F238E27FC236}">
                    <a16:creationId xmlns:a16="http://schemas.microsoft.com/office/drawing/2014/main" id="{F78AEE0F-7A22-0F4A-8F7E-365924F841FF}"/>
                  </a:ext>
                </a:extLst>
              </p:cNvPr>
              <p:cNvSpPr>
                <a:spLocks/>
              </p:cNvSpPr>
              <p:nvPr/>
            </p:nvSpPr>
            <p:spPr bwMode="auto">
              <a:xfrm>
                <a:off x="12544142" y="6704437"/>
                <a:ext cx="207006" cy="251657"/>
              </a:xfrm>
              <a:custGeom>
                <a:avLst/>
                <a:gdLst>
                  <a:gd name="T0" fmla="*/ 21 w 22"/>
                  <a:gd name="T1" fmla="*/ 19 h 27"/>
                  <a:gd name="T2" fmla="*/ 20 w 22"/>
                  <a:gd name="T3" fmla="*/ 17 h 27"/>
                  <a:gd name="T4" fmla="*/ 19 w 22"/>
                  <a:gd name="T5" fmla="*/ 13 h 27"/>
                  <a:gd name="T6" fmla="*/ 15 w 22"/>
                  <a:gd name="T7" fmla="*/ 10 h 27"/>
                  <a:gd name="T8" fmla="*/ 14 w 22"/>
                  <a:gd name="T9" fmla="*/ 8 h 27"/>
                  <a:gd name="T10" fmla="*/ 12 w 22"/>
                  <a:gd name="T11" fmla="*/ 5 h 27"/>
                  <a:gd name="T12" fmla="*/ 5 w 22"/>
                  <a:gd name="T13" fmla="*/ 1 h 27"/>
                  <a:gd name="T14" fmla="*/ 2 w 22"/>
                  <a:gd name="T15" fmla="*/ 4 h 27"/>
                  <a:gd name="T16" fmla="*/ 4 w 22"/>
                  <a:gd name="T17" fmla="*/ 14 h 27"/>
                  <a:gd name="T18" fmla="*/ 1 w 22"/>
                  <a:gd name="T19" fmla="*/ 19 h 27"/>
                  <a:gd name="T20" fmla="*/ 0 w 22"/>
                  <a:gd name="T21" fmla="*/ 23 h 27"/>
                  <a:gd name="T22" fmla="*/ 4 w 22"/>
                  <a:gd name="T23" fmla="*/ 27 h 27"/>
                  <a:gd name="T24" fmla="*/ 6 w 22"/>
                  <a:gd name="T25" fmla="*/ 23 h 27"/>
                  <a:gd name="T26" fmla="*/ 10 w 22"/>
                  <a:gd name="T27" fmla="*/ 26 h 27"/>
                  <a:gd name="T28" fmla="*/ 20 w 22"/>
                  <a:gd name="T29" fmla="*/ 24 h 27"/>
                  <a:gd name="T30" fmla="*/ 21 w 22"/>
                  <a:gd name="T31" fmla="*/ 19 h 27"/>
                  <a:gd name="T32" fmla="*/ 21 w 22"/>
                  <a:gd name="T33" fmla="*/ 1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27">
                    <a:moveTo>
                      <a:pt x="21" y="19"/>
                    </a:moveTo>
                    <a:cubicBezTo>
                      <a:pt x="22" y="18"/>
                      <a:pt x="21" y="18"/>
                      <a:pt x="20" y="17"/>
                    </a:cubicBezTo>
                    <a:cubicBezTo>
                      <a:pt x="19" y="16"/>
                      <a:pt x="19" y="15"/>
                      <a:pt x="19" y="13"/>
                    </a:cubicBezTo>
                    <a:cubicBezTo>
                      <a:pt x="21" y="10"/>
                      <a:pt x="18" y="10"/>
                      <a:pt x="15" y="10"/>
                    </a:cubicBezTo>
                    <a:cubicBezTo>
                      <a:pt x="14" y="10"/>
                      <a:pt x="14" y="9"/>
                      <a:pt x="14" y="8"/>
                    </a:cubicBezTo>
                    <a:cubicBezTo>
                      <a:pt x="13" y="6"/>
                      <a:pt x="12" y="7"/>
                      <a:pt x="12" y="5"/>
                    </a:cubicBezTo>
                    <a:cubicBezTo>
                      <a:pt x="11" y="2"/>
                      <a:pt x="9" y="0"/>
                      <a:pt x="5" y="1"/>
                    </a:cubicBezTo>
                    <a:cubicBezTo>
                      <a:pt x="2" y="2"/>
                      <a:pt x="2" y="2"/>
                      <a:pt x="2" y="4"/>
                    </a:cubicBezTo>
                    <a:cubicBezTo>
                      <a:pt x="3" y="7"/>
                      <a:pt x="4" y="10"/>
                      <a:pt x="4" y="14"/>
                    </a:cubicBezTo>
                    <a:cubicBezTo>
                      <a:pt x="5" y="17"/>
                      <a:pt x="2" y="16"/>
                      <a:pt x="1" y="19"/>
                    </a:cubicBezTo>
                    <a:cubicBezTo>
                      <a:pt x="0" y="20"/>
                      <a:pt x="0" y="22"/>
                      <a:pt x="0" y="23"/>
                    </a:cubicBezTo>
                    <a:cubicBezTo>
                      <a:pt x="0" y="25"/>
                      <a:pt x="3" y="26"/>
                      <a:pt x="4" y="27"/>
                    </a:cubicBezTo>
                    <a:cubicBezTo>
                      <a:pt x="4" y="26"/>
                      <a:pt x="4" y="23"/>
                      <a:pt x="6" y="23"/>
                    </a:cubicBezTo>
                    <a:cubicBezTo>
                      <a:pt x="8" y="23"/>
                      <a:pt x="9" y="24"/>
                      <a:pt x="10" y="26"/>
                    </a:cubicBezTo>
                    <a:cubicBezTo>
                      <a:pt x="11" y="26"/>
                      <a:pt x="18" y="24"/>
                      <a:pt x="20" y="24"/>
                    </a:cubicBezTo>
                    <a:cubicBezTo>
                      <a:pt x="18" y="22"/>
                      <a:pt x="20" y="21"/>
                      <a:pt x="21" y="19"/>
                    </a:cubicBezTo>
                    <a:cubicBezTo>
                      <a:pt x="22" y="18"/>
                      <a:pt x="20" y="20"/>
                      <a:pt x="21"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3" name="Freeform 670">
                <a:extLst>
                  <a:ext uri="{FF2B5EF4-FFF2-40B4-BE49-F238E27FC236}">
                    <a16:creationId xmlns:a16="http://schemas.microsoft.com/office/drawing/2014/main" id="{58AA64DC-3837-F140-B1E8-52F25B288F85}"/>
                  </a:ext>
                </a:extLst>
              </p:cNvPr>
              <p:cNvSpPr>
                <a:spLocks/>
              </p:cNvSpPr>
              <p:nvPr/>
            </p:nvSpPr>
            <p:spPr bwMode="auto">
              <a:xfrm>
                <a:off x="12432679" y="6554719"/>
                <a:ext cx="328029" cy="178393"/>
              </a:xfrm>
              <a:custGeom>
                <a:avLst/>
                <a:gdLst>
                  <a:gd name="T0" fmla="*/ 30 w 35"/>
                  <a:gd name="T1" fmla="*/ 3 h 19"/>
                  <a:gd name="T2" fmla="*/ 24 w 35"/>
                  <a:gd name="T3" fmla="*/ 1 h 19"/>
                  <a:gd name="T4" fmla="*/ 19 w 35"/>
                  <a:gd name="T5" fmla="*/ 4 h 19"/>
                  <a:gd name="T6" fmla="*/ 15 w 35"/>
                  <a:gd name="T7" fmla="*/ 4 h 19"/>
                  <a:gd name="T8" fmla="*/ 13 w 35"/>
                  <a:gd name="T9" fmla="*/ 6 h 19"/>
                  <a:gd name="T10" fmla="*/ 5 w 35"/>
                  <a:gd name="T11" fmla="*/ 4 h 19"/>
                  <a:gd name="T12" fmla="*/ 5 w 35"/>
                  <a:gd name="T13" fmla="*/ 7 h 19"/>
                  <a:gd name="T14" fmla="*/ 3 w 35"/>
                  <a:gd name="T15" fmla="*/ 8 h 19"/>
                  <a:gd name="T16" fmla="*/ 3 w 35"/>
                  <a:gd name="T17" fmla="*/ 15 h 19"/>
                  <a:gd name="T18" fmla="*/ 11 w 35"/>
                  <a:gd name="T19" fmla="*/ 19 h 19"/>
                  <a:gd name="T20" fmla="*/ 21 w 35"/>
                  <a:gd name="T21" fmla="*/ 17 h 19"/>
                  <a:gd name="T22" fmla="*/ 25 w 35"/>
                  <a:gd name="T23" fmla="*/ 15 h 19"/>
                  <a:gd name="T24" fmla="*/ 29 w 35"/>
                  <a:gd name="T25" fmla="*/ 9 h 19"/>
                  <a:gd name="T26" fmla="*/ 33 w 35"/>
                  <a:gd name="T27" fmla="*/ 6 h 19"/>
                  <a:gd name="T28" fmla="*/ 30 w 35"/>
                  <a:gd name="T29" fmla="*/ 3 h 19"/>
                  <a:gd name="T30" fmla="*/ 30 w 35"/>
                  <a:gd name="T31" fmla="*/ 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 h="19">
                    <a:moveTo>
                      <a:pt x="30" y="3"/>
                    </a:moveTo>
                    <a:cubicBezTo>
                      <a:pt x="30" y="2"/>
                      <a:pt x="25" y="2"/>
                      <a:pt x="24" y="1"/>
                    </a:cubicBezTo>
                    <a:cubicBezTo>
                      <a:pt x="20" y="0"/>
                      <a:pt x="22" y="4"/>
                      <a:pt x="19" y="4"/>
                    </a:cubicBezTo>
                    <a:cubicBezTo>
                      <a:pt x="18" y="3"/>
                      <a:pt x="17" y="4"/>
                      <a:pt x="15" y="4"/>
                    </a:cubicBezTo>
                    <a:cubicBezTo>
                      <a:pt x="14" y="4"/>
                      <a:pt x="14" y="6"/>
                      <a:pt x="13" y="6"/>
                    </a:cubicBezTo>
                    <a:cubicBezTo>
                      <a:pt x="9" y="8"/>
                      <a:pt x="7" y="6"/>
                      <a:pt x="5" y="4"/>
                    </a:cubicBezTo>
                    <a:cubicBezTo>
                      <a:pt x="5" y="5"/>
                      <a:pt x="5" y="6"/>
                      <a:pt x="5" y="7"/>
                    </a:cubicBezTo>
                    <a:cubicBezTo>
                      <a:pt x="4" y="8"/>
                      <a:pt x="3" y="6"/>
                      <a:pt x="3" y="8"/>
                    </a:cubicBezTo>
                    <a:cubicBezTo>
                      <a:pt x="3" y="11"/>
                      <a:pt x="0" y="13"/>
                      <a:pt x="3" y="15"/>
                    </a:cubicBezTo>
                    <a:cubicBezTo>
                      <a:pt x="5" y="17"/>
                      <a:pt x="8" y="19"/>
                      <a:pt x="11" y="19"/>
                    </a:cubicBezTo>
                    <a:cubicBezTo>
                      <a:pt x="15" y="19"/>
                      <a:pt x="17" y="16"/>
                      <a:pt x="21" y="17"/>
                    </a:cubicBezTo>
                    <a:cubicBezTo>
                      <a:pt x="21" y="16"/>
                      <a:pt x="24" y="16"/>
                      <a:pt x="25" y="15"/>
                    </a:cubicBezTo>
                    <a:cubicBezTo>
                      <a:pt x="26" y="13"/>
                      <a:pt x="27" y="11"/>
                      <a:pt x="29" y="9"/>
                    </a:cubicBezTo>
                    <a:cubicBezTo>
                      <a:pt x="30" y="7"/>
                      <a:pt x="31" y="7"/>
                      <a:pt x="33" y="6"/>
                    </a:cubicBezTo>
                    <a:cubicBezTo>
                      <a:pt x="35" y="4"/>
                      <a:pt x="30" y="4"/>
                      <a:pt x="30" y="3"/>
                    </a:cubicBezTo>
                    <a:cubicBezTo>
                      <a:pt x="30" y="3"/>
                      <a:pt x="30" y="4"/>
                      <a:pt x="3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4" name="Freeform 671">
                <a:extLst>
                  <a:ext uri="{FF2B5EF4-FFF2-40B4-BE49-F238E27FC236}">
                    <a16:creationId xmlns:a16="http://schemas.microsoft.com/office/drawing/2014/main" id="{EFB8DC94-1007-5949-9025-47C15A681F75}"/>
                  </a:ext>
                </a:extLst>
              </p:cNvPr>
              <p:cNvSpPr>
                <a:spLocks/>
              </p:cNvSpPr>
              <p:nvPr/>
            </p:nvSpPr>
            <p:spPr bwMode="auto">
              <a:xfrm>
                <a:off x="12620574" y="6956097"/>
                <a:ext cx="289811" cy="299442"/>
              </a:xfrm>
              <a:custGeom>
                <a:avLst/>
                <a:gdLst>
                  <a:gd name="T0" fmla="*/ 31 w 31"/>
                  <a:gd name="T1" fmla="*/ 0 h 32"/>
                  <a:gd name="T2" fmla="*/ 23 w 31"/>
                  <a:gd name="T3" fmla="*/ 3 h 32"/>
                  <a:gd name="T4" fmla="*/ 13 w 31"/>
                  <a:gd name="T5" fmla="*/ 2 h 32"/>
                  <a:gd name="T6" fmla="*/ 9 w 31"/>
                  <a:gd name="T7" fmla="*/ 4 h 32"/>
                  <a:gd name="T8" fmla="*/ 6 w 31"/>
                  <a:gd name="T9" fmla="*/ 5 h 32"/>
                  <a:gd name="T10" fmla="*/ 4 w 31"/>
                  <a:gd name="T11" fmla="*/ 8 h 32"/>
                  <a:gd name="T12" fmla="*/ 2 w 31"/>
                  <a:gd name="T13" fmla="*/ 11 h 32"/>
                  <a:gd name="T14" fmla="*/ 2 w 31"/>
                  <a:gd name="T15" fmla="*/ 15 h 32"/>
                  <a:gd name="T16" fmla="*/ 4 w 31"/>
                  <a:gd name="T17" fmla="*/ 17 h 32"/>
                  <a:gd name="T18" fmla="*/ 5 w 31"/>
                  <a:gd name="T19" fmla="*/ 22 h 32"/>
                  <a:gd name="T20" fmla="*/ 6 w 31"/>
                  <a:gd name="T21" fmla="*/ 25 h 32"/>
                  <a:gd name="T22" fmla="*/ 7 w 31"/>
                  <a:gd name="T23" fmla="*/ 28 h 32"/>
                  <a:gd name="T24" fmla="*/ 8 w 31"/>
                  <a:gd name="T25" fmla="*/ 29 h 32"/>
                  <a:gd name="T26" fmla="*/ 10 w 31"/>
                  <a:gd name="T27" fmla="*/ 31 h 32"/>
                  <a:gd name="T28" fmla="*/ 12 w 31"/>
                  <a:gd name="T29" fmla="*/ 30 h 32"/>
                  <a:gd name="T30" fmla="*/ 13 w 31"/>
                  <a:gd name="T31" fmla="*/ 31 h 32"/>
                  <a:gd name="T32" fmla="*/ 13 w 31"/>
                  <a:gd name="T33" fmla="*/ 26 h 32"/>
                  <a:gd name="T34" fmla="*/ 17 w 31"/>
                  <a:gd name="T35" fmla="*/ 26 h 32"/>
                  <a:gd name="T36" fmla="*/ 14 w 31"/>
                  <a:gd name="T37" fmla="*/ 23 h 32"/>
                  <a:gd name="T38" fmla="*/ 17 w 31"/>
                  <a:gd name="T39" fmla="*/ 24 h 32"/>
                  <a:gd name="T40" fmla="*/ 18 w 31"/>
                  <a:gd name="T41" fmla="*/ 22 h 32"/>
                  <a:gd name="T42" fmla="*/ 21 w 31"/>
                  <a:gd name="T43" fmla="*/ 23 h 32"/>
                  <a:gd name="T44" fmla="*/ 19 w 31"/>
                  <a:gd name="T45" fmla="*/ 19 h 32"/>
                  <a:gd name="T46" fmla="*/ 15 w 31"/>
                  <a:gd name="T47" fmla="*/ 17 h 32"/>
                  <a:gd name="T48" fmla="*/ 15 w 31"/>
                  <a:gd name="T49" fmla="*/ 16 h 32"/>
                  <a:gd name="T50" fmla="*/ 11 w 31"/>
                  <a:gd name="T51" fmla="*/ 10 h 32"/>
                  <a:gd name="T52" fmla="*/ 16 w 31"/>
                  <a:gd name="T53" fmla="*/ 11 h 32"/>
                  <a:gd name="T54" fmla="*/ 16 w 31"/>
                  <a:gd name="T55" fmla="*/ 10 h 32"/>
                  <a:gd name="T56" fmla="*/ 18 w 31"/>
                  <a:gd name="T57" fmla="*/ 11 h 32"/>
                  <a:gd name="T58" fmla="*/ 17 w 31"/>
                  <a:gd name="T59" fmla="*/ 9 h 32"/>
                  <a:gd name="T60" fmla="*/ 21 w 31"/>
                  <a:gd name="T61" fmla="*/ 10 h 32"/>
                  <a:gd name="T62" fmla="*/ 17 w 31"/>
                  <a:gd name="T63" fmla="*/ 7 h 32"/>
                  <a:gd name="T64" fmla="*/ 22 w 31"/>
                  <a:gd name="T65" fmla="*/ 5 h 32"/>
                  <a:gd name="T66" fmla="*/ 21 w 31"/>
                  <a:gd name="T67" fmla="*/ 7 h 32"/>
                  <a:gd name="T68" fmla="*/ 25 w 31"/>
                  <a:gd name="T69" fmla="*/ 5 h 32"/>
                  <a:gd name="T70" fmla="*/ 29 w 31"/>
                  <a:gd name="T71" fmla="*/ 7 h 32"/>
                  <a:gd name="T72" fmla="*/ 31 w 31"/>
                  <a:gd name="T7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31" y="0"/>
                    </a:moveTo>
                    <a:cubicBezTo>
                      <a:pt x="28" y="2"/>
                      <a:pt x="27" y="4"/>
                      <a:pt x="23" y="3"/>
                    </a:cubicBezTo>
                    <a:cubicBezTo>
                      <a:pt x="21" y="2"/>
                      <a:pt x="15" y="1"/>
                      <a:pt x="13" y="2"/>
                    </a:cubicBezTo>
                    <a:cubicBezTo>
                      <a:pt x="13" y="5"/>
                      <a:pt x="10" y="3"/>
                      <a:pt x="9" y="4"/>
                    </a:cubicBezTo>
                    <a:cubicBezTo>
                      <a:pt x="8" y="5"/>
                      <a:pt x="7" y="5"/>
                      <a:pt x="6" y="5"/>
                    </a:cubicBezTo>
                    <a:cubicBezTo>
                      <a:pt x="4" y="6"/>
                      <a:pt x="4" y="7"/>
                      <a:pt x="4" y="8"/>
                    </a:cubicBezTo>
                    <a:cubicBezTo>
                      <a:pt x="3" y="9"/>
                      <a:pt x="3" y="10"/>
                      <a:pt x="2" y="11"/>
                    </a:cubicBezTo>
                    <a:cubicBezTo>
                      <a:pt x="0" y="13"/>
                      <a:pt x="0" y="13"/>
                      <a:pt x="2" y="15"/>
                    </a:cubicBezTo>
                    <a:cubicBezTo>
                      <a:pt x="3" y="16"/>
                      <a:pt x="4" y="16"/>
                      <a:pt x="4" y="17"/>
                    </a:cubicBezTo>
                    <a:cubicBezTo>
                      <a:pt x="4" y="19"/>
                      <a:pt x="4" y="20"/>
                      <a:pt x="5" y="22"/>
                    </a:cubicBezTo>
                    <a:cubicBezTo>
                      <a:pt x="5" y="23"/>
                      <a:pt x="5" y="24"/>
                      <a:pt x="6" y="25"/>
                    </a:cubicBezTo>
                    <a:cubicBezTo>
                      <a:pt x="8" y="26"/>
                      <a:pt x="6" y="27"/>
                      <a:pt x="7" y="28"/>
                    </a:cubicBezTo>
                    <a:cubicBezTo>
                      <a:pt x="7" y="30"/>
                      <a:pt x="8" y="29"/>
                      <a:pt x="8" y="29"/>
                    </a:cubicBezTo>
                    <a:cubicBezTo>
                      <a:pt x="10" y="29"/>
                      <a:pt x="10" y="30"/>
                      <a:pt x="10" y="31"/>
                    </a:cubicBezTo>
                    <a:cubicBezTo>
                      <a:pt x="11" y="31"/>
                      <a:pt x="12" y="30"/>
                      <a:pt x="12" y="30"/>
                    </a:cubicBezTo>
                    <a:cubicBezTo>
                      <a:pt x="13" y="29"/>
                      <a:pt x="13" y="31"/>
                      <a:pt x="13" y="31"/>
                    </a:cubicBezTo>
                    <a:cubicBezTo>
                      <a:pt x="14" y="32"/>
                      <a:pt x="13" y="25"/>
                      <a:pt x="13" y="26"/>
                    </a:cubicBezTo>
                    <a:cubicBezTo>
                      <a:pt x="13" y="25"/>
                      <a:pt x="16" y="26"/>
                      <a:pt x="17" y="26"/>
                    </a:cubicBezTo>
                    <a:cubicBezTo>
                      <a:pt x="17" y="25"/>
                      <a:pt x="14" y="24"/>
                      <a:pt x="14" y="23"/>
                    </a:cubicBezTo>
                    <a:cubicBezTo>
                      <a:pt x="15" y="21"/>
                      <a:pt x="17" y="23"/>
                      <a:pt x="17" y="24"/>
                    </a:cubicBezTo>
                    <a:cubicBezTo>
                      <a:pt x="19" y="25"/>
                      <a:pt x="18" y="23"/>
                      <a:pt x="18" y="22"/>
                    </a:cubicBezTo>
                    <a:cubicBezTo>
                      <a:pt x="18" y="21"/>
                      <a:pt x="21" y="23"/>
                      <a:pt x="21" y="23"/>
                    </a:cubicBezTo>
                    <a:cubicBezTo>
                      <a:pt x="21" y="22"/>
                      <a:pt x="19" y="19"/>
                      <a:pt x="19" y="19"/>
                    </a:cubicBezTo>
                    <a:cubicBezTo>
                      <a:pt x="18" y="18"/>
                      <a:pt x="16" y="18"/>
                      <a:pt x="15" y="17"/>
                    </a:cubicBezTo>
                    <a:cubicBezTo>
                      <a:pt x="15" y="17"/>
                      <a:pt x="15" y="15"/>
                      <a:pt x="15" y="16"/>
                    </a:cubicBezTo>
                    <a:cubicBezTo>
                      <a:pt x="14" y="14"/>
                      <a:pt x="11" y="12"/>
                      <a:pt x="11" y="10"/>
                    </a:cubicBezTo>
                    <a:cubicBezTo>
                      <a:pt x="12" y="6"/>
                      <a:pt x="15" y="10"/>
                      <a:pt x="16" y="11"/>
                    </a:cubicBezTo>
                    <a:cubicBezTo>
                      <a:pt x="16" y="11"/>
                      <a:pt x="16" y="10"/>
                      <a:pt x="16" y="10"/>
                    </a:cubicBezTo>
                    <a:cubicBezTo>
                      <a:pt x="17" y="9"/>
                      <a:pt x="18" y="10"/>
                      <a:pt x="18" y="11"/>
                    </a:cubicBezTo>
                    <a:cubicBezTo>
                      <a:pt x="18" y="11"/>
                      <a:pt x="17" y="9"/>
                      <a:pt x="17" y="9"/>
                    </a:cubicBezTo>
                    <a:cubicBezTo>
                      <a:pt x="18" y="9"/>
                      <a:pt x="20" y="10"/>
                      <a:pt x="21" y="10"/>
                    </a:cubicBezTo>
                    <a:cubicBezTo>
                      <a:pt x="21" y="9"/>
                      <a:pt x="17" y="9"/>
                      <a:pt x="17" y="7"/>
                    </a:cubicBezTo>
                    <a:cubicBezTo>
                      <a:pt x="17" y="7"/>
                      <a:pt x="21" y="5"/>
                      <a:pt x="22" y="5"/>
                    </a:cubicBezTo>
                    <a:cubicBezTo>
                      <a:pt x="22" y="5"/>
                      <a:pt x="21" y="7"/>
                      <a:pt x="21" y="7"/>
                    </a:cubicBezTo>
                    <a:cubicBezTo>
                      <a:pt x="21" y="7"/>
                      <a:pt x="24" y="5"/>
                      <a:pt x="25" y="5"/>
                    </a:cubicBezTo>
                    <a:cubicBezTo>
                      <a:pt x="26" y="5"/>
                      <a:pt x="27" y="6"/>
                      <a:pt x="29" y="7"/>
                    </a:cubicBezTo>
                    <a:cubicBezTo>
                      <a:pt x="30" y="5"/>
                      <a:pt x="31" y="2"/>
                      <a:pt x="3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5" name="Freeform 672">
                <a:extLst>
                  <a:ext uri="{FF2B5EF4-FFF2-40B4-BE49-F238E27FC236}">
                    <a16:creationId xmlns:a16="http://schemas.microsoft.com/office/drawing/2014/main" id="{BAB3BC6D-4D7E-3948-8C3D-142D6D876300}"/>
                  </a:ext>
                </a:extLst>
              </p:cNvPr>
              <p:cNvSpPr>
                <a:spLocks/>
              </p:cNvSpPr>
              <p:nvPr/>
            </p:nvSpPr>
            <p:spPr bwMode="auto">
              <a:xfrm>
                <a:off x="12881724" y="6940166"/>
                <a:ext cx="140127" cy="92380"/>
              </a:xfrm>
              <a:custGeom>
                <a:avLst/>
                <a:gdLst>
                  <a:gd name="T0" fmla="*/ 15 w 15"/>
                  <a:gd name="T1" fmla="*/ 6 h 10"/>
                  <a:gd name="T2" fmla="*/ 10 w 15"/>
                  <a:gd name="T3" fmla="*/ 1 h 10"/>
                  <a:gd name="T4" fmla="*/ 2 w 15"/>
                  <a:gd name="T5" fmla="*/ 5 h 10"/>
                  <a:gd name="T6" fmla="*/ 1 w 15"/>
                  <a:gd name="T7" fmla="*/ 9 h 10"/>
                  <a:gd name="T8" fmla="*/ 6 w 15"/>
                  <a:gd name="T9" fmla="*/ 9 h 10"/>
                  <a:gd name="T10" fmla="*/ 11 w 15"/>
                  <a:gd name="T11" fmla="*/ 7 h 10"/>
                  <a:gd name="T12" fmla="*/ 15 w 15"/>
                  <a:gd name="T13" fmla="*/ 6 h 10"/>
                  <a:gd name="T14" fmla="*/ 15 w 15"/>
                  <a:gd name="T15" fmla="*/ 6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0">
                    <a:moveTo>
                      <a:pt x="15" y="6"/>
                    </a:moveTo>
                    <a:cubicBezTo>
                      <a:pt x="13" y="4"/>
                      <a:pt x="10" y="4"/>
                      <a:pt x="10" y="1"/>
                    </a:cubicBezTo>
                    <a:cubicBezTo>
                      <a:pt x="5" y="0"/>
                      <a:pt x="4" y="0"/>
                      <a:pt x="2" y="5"/>
                    </a:cubicBezTo>
                    <a:cubicBezTo>
                      <a:pt x="2" y="6"/>
                      <a:pt x="0" y="9"/>
                      <a:pt x="1" y="9"/>
                    </a:cubicBezTo>
                    <a:cubicBezTo>
                      <a:pt x="3" y="10"/>
                      <a:pt x="5" y="10"/>
                      <a:pt x="6" y="9"/>
                    </a:cubicBezTo>
                    <a:cubicBezTo>
                      <a:pt x="8" y="8"/>
                      <a:pt x="9" y="7"/>
                      <a:pt x="11" y="7"/>
                    </a:cubicBezTo>
                    <a:cubicBezTo>
                      <a:pt x="11" y="7"/>
                      <a:pt x="15" y="7"/>
                      <a:pt x="15" y="6"/>
                    </a:cubicBezTo>
                    <a:cubicBezTo>
                      <a:pt x="14" y="6"/>
                      <a:pt x="15" y="7"/>
                      <a:pt x="15"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6" name="Freeform 673">
                <a:extLst>
                  <a:ext uri="{FF2B5EF4-FFF2-40B4-BE49-F238E27FC236}">
                    <a16:creationId xmlns:a16="http://schemas.microsoft.com/office/drawing/2014/main" id="{03E1431E-5AE6-DA48-9C58-1C516F87C7D1}"/>
                  </a:ext>
                </a:extLst>
              </p:cNvPr>
              <p:cNvSpPr>
                <a:spLocks/>
              </p:cNvSpPr>
              <p:nvPr/>
            </p:nvSpPr>
            <p:spPr bwMode="auto">
              <a:xfrm>
                <a:off x="12582361" y="6911499"/>
                <a:ext cx="82803" cy="168837"/>
              </a:xfrm>
              <a:custGeom>
                <a:avLst/>
                <a:gdLst>
                  <a:gd name="T0" fmla="*/ 6 w 9"/>
                  <a:gd name="T1" fmla="*/ 16 h 18"/>
                  <a:gd name="T2" fmla="*/ 7 w 9"/>
                  <a:gd name="T3" fmla="*/ 11 h 18"/>
                  <a:gd name="T4" fmla="*/ 6 w 9"/>
                  <a:gd name="T5" fmla="*/ 6 h 18"/>
                  <a:gd name="T6" fmla="*/ 7 w 9"/>
                  <a:gd name="T7" fmla="*/ 4 h 18"/>
                  <a:gd name="T8" fmla="*/ 3 w 9"/>
                  <a:gd name="T9" fmla="*/ 1 h 18"/>
                  <a:gd name="T10" fmla="*/ 0 w 9"/>
                  <a:gd name="T11" fmla="*/ 9 h 18"/>
                  <a:gd name="T12" fmla="*/ 4 w 9"/>
                  <a:gd name="T13" fmla="*/ 18 h 18"/>
                  <a:gd name="T14" fmla="*/ 6 w 9"/>
                  <a:gd name="T15" fmla="*/ 16 h 18"/>
                  <a:gd name="T16" fmla="*/ 6 w 9"/>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6" y="16"/>
                    </a:moveTo>
                    <a:cubicBezTo>
                      <a:pt x="7" y="14"/>
                      <a:pt x="9" y="12"/>
                      <a:pt x="7" y="11"/>
                    </a:cubicBezTo>
                    <a:cubicBezTo>
                      <a:pt x="6" y="10"/>
                      <a:pt x="5" y="8"/>
                      <a:pt x="6" y="6"/>
                    </a:cubicBezTo>
                    <a:cubicBezTo>
                      <a:pt x="6" y="6"/>
                      <a:pt x="7" y="4"/>
                      <a:pt x="7" y="4"/>
                    </a:cubicBezTo>
                    <a:cubicBezTo>
                      <a:pt x="6" y="3"/>
                      <a:pt x="4" y="1"/>
                      <a:pt x="3" y="1"/>
                    </a:cubicBezTo>
                    <a:cubicBezTo>
                      <a:pt x="0" y="0"/>
                      <a:pt x="0" y="7"/>
                      <a:pt x="0" y="9"/>
                    </a:cubicBezTo>
                    <a:cubicBezTo>
                      <a:pt x="0" y="13"/>
                      <a:pt x="2" y="15"/>
                      <a:pt x="4" y="18"/>
                    </a:cubicBezTo>
                    <a:cubicBezTo>
                      <a:pt x="5" y="17"/>
                      <a:pt x="6" y="16"/>
                      <a:pt x="6" y="16"/>
                    </a:cubicBezTo>
                    <a:cubicBezTo>
                      <a:pt x="7" y="14"/>
                      <a:pt x="6" y="16"/>
                      <a:pt x="6"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7" name="Freeform 674">
                <a:extLst>
                  <a:ext uri="{FF2B5EF4-FFF2-40B4-BE49-F238E27FC236}">
                    <a16:creationId xmlns:a16="http://schemas.microsoft.com/office/drawing/2014/main" id="{9B700C31-9960-D845-99D6-A58A7ED2E88E}"/>
                  </a:ext>
                </a:extLst>
              </p:cNvPr>
              <p:cNvSpPr>
                <a:spLocks/>
              </p:cNvSpPr>
              <p:nvPr/>
            </p:nvSpPr>
            <p:spPr bwMode="auto">
              <a:xfrm>
                <a:off x="12630129" y="6930613"/>
                <a:ext cx="121018" cy="82827"/>
              </a:xfrm>
              <a:custGeom>
                <a:avLst/>
                <a:gdLst>
                  <a:gd name="T0" fmla="*/ 11 w 13"/>
                  <a:gd name="T1" fmla="*/ 0 h 9"/>
                  <a:gd name="T2" fmla="*/ 2 w 13"/>
                  <a:gd name="T3" fmla="*/ 2 h 9"/>
                  <a:gd name="T4" fmla="*/ 3 w 13"/>
                  <a:gd name="T5" fmla="*/ 9 h 9"/>
                  <a:gd name="T6" fmla="*/ 7 w 13"/>
                  <a:gd name="T7" fmla="*/ 8 h 9"/>
                  <a:gd name="T8" fmla="*/ 10 w 13"/>
                  <a:gd name="T9" fmla="*/ 7 h 9"/>
                  <a:gd name="T10" fmla="*/ 11 w 13"/>
                  <a:gd name="T11" fmla="*/ 0 h 9"/>
                </a:gdLst>
                <a:ahLst/>
                <a:cxnLst>
                  <a:cxn ang="0">
                    <a:pos x="T0" y="T1"/>
                  </a:cxn>
                  <a:cxn ang="0">
                    <a:pos x="T2" y="T3"/>
                  </a:cxn>
                  <a:cxn ang="0">
                    <a:pos x="T4" y="T5"/>
                  </a:cxn>
                  <a:cxn ang="0">
                    <a:pos x="T6" y="T7"/>
                  </a:cxn>
                  <a:cxn ang="0">
                    <a:pos x="T8" y="T9"/>
                  </a:cxn>
                  <a:cxn ang="0">
                    <a:pos x="T10" y="T11"/>
                  </a:cxn>
                </a:cxnLst>
                <a:rect l="0" t="0" r="r" b="b"/>
                <a:pathLst>
                  <a:path w="13" h="9">
                    <a:moveTo>
                      <a:pt x="11" y="0"/>
                    </a:moveTo>
                    <a:cubicBezTo>
                      <a:pt x="9" y="0"/>
                      <a:pt x="2" y="0"/>
                      <a:pt x="2" y="2"/>
                    </a:cubicBezTo>
                    <a:cubicBezTo>
                      <a:pt x="0" y="4"/>
                      <a:pt x="0" y="8"/>
                      <a:pt x="3" y="9"/>
                    </a:cubicBezTo>
                    <a:cubicBezTo>
                      <a:pt x="4" y="8"/>
                      <a:pt x="6" y="9"/>
                      <a:pt x="7" y="8"/>
                    </a:cubicBezTo>
                    <a:cubicBezTo>
                      <a:pt x="8" y="8"/>
                      <a:pt x="9" y="6"/>
                      <a:pt x="10" y="7"/>
                    </a:cubicBezTo>
                    <a:cubicBezTo>
                      <a:pt x="13" y="9"/>
                      <a:pt x="11" y="1"/>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8" name="Freeform 675">
                <a:extLst>
                  <a:ext uri="{FF2B5EF4-FFF2-40B4-BE49-F238E27FC236}">
                    <a16:creationId xmlns:a16="http://schemas.microsoft.com/office/drawing/2014/main" id="{576C4C3B-5419-4749-86B4-580473195F7A}"/>
                  </a:ext>
                </a:extLst>
              </p:cNvPr>
              <p:cNvSpPr>
                <a:spLocks/>
              </p:cNvSpPr>
              <p:nvPr/>
            </p:nvSpPr>
            <p:spPr bwMode="auto">
              <a:xfrm>
                <a:off x="13655610" y="6984764"/>
                <a:ext cx="178346" cy="149721"/>
              </a:xfrm>
              <a:custGeom>
                <a:avLst/>
                <a:gdLst>
                  <a:gd name="T0" fmla="*/ 19 w 19"/>
                  <a:gd name="T1" fmla="*/ 14 h 16"/>
                  <a:gd name="T2" fmla="*/ 17 w 19"/>
                  <a:gd name="T3" fmla="*/ 10 h 16"/>
                  <a:gd name="T4" fmla="*/ 16 w 19"/>
                  <a:gd name="T5" fmla="*/ 7 h 16"/>
                  <a:gd name="T6" fmla="*/ 14 w 19"/>
                  <a:gd name="T7" fmla="*/ 3 h 16"/>
                  <a:gd name="T8" fmla="*/ 12 w 19"/>
                  <a:gd name="T9" fmla="*/ 0 h 16"/>
                  <a:gd name="T10" fmla="*/ 6 w 19"/>
                  <a:gd name="T11" fmla="*/ 6 h 16"/>
                  <a:gd name="T12" fmla="*/ 9 w 19"/>
                  <a:gd name="T13" fmla="*/ 9 h 16"/>
                  <a:gd name="T14" fmla="*/ 12 w 19"/>
                  <a:gd name="T15" fmla="*/ 11 h 16"/>
                  <a:gd name="T16" fmla="*/ 16 w 19"/>
                  <a:gd name="T17" fmla="*/ 13 h 16"/>
                  <a:gd name="T18" fmla="*/ 19 w 19"/>
                  <a:gd name="T19" fmla="*/ 14 h 16"/>
                  <a:gd name="T20" fmla="*/ 19 w 19"/>
                  <a:gd name="T2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16">
                    <a:moveTo>
                      <a:pt x="19" y="14"/>
                    </a:moveTo>
                    <a:cubicBezTo>
                      <a:pt x="19" y="12"/>
                      <a:pt x="19" y="11"/>
                      <a:pt x="17" y="10"/>
                    </a:cubicBezTo>
                    <a:cubicBezTo>
                      <a:pt x="15" y="9"/>
                      <a:pt x="17" y="8"/>
                      <a:pt x="16" y="7"/>
                    </a:cubicBezTo>
                    <a:cubicBezTo>
                      <a:pt x="15" y="5"/>
                      <a:pt x="14" y="6"/>
                      <a:pt x="14" y="3"/>
                    </a:cubicBezTo>
                    <a:cubicBezTo>
                      <a:pt x="14" y="3"/>
                      <a:pt x="11" y="1"/>
                      <a:pt x="12" y="0"/>
                    </a:cubicBezTo>
                    <a:cubicBezTo>
                      <a:pt x="9" y="0"/>
                      <a:pt x="0" y="1"/>
                      <a:pt x="6" y="6"/>
                    </a:cubicBezTo>
                    <a:cubicBezTo>
                      <a:pt x="7" y="7"/>
                      <a:pt x="8" y="8"/>
                      <a:pt x="9" y="9"/>
                    </a:cubicBezTo>
                    <a:cubicBezTo>
                      <a:pt x="10" y="10"/>
                      <a:pt x="11" y="10"/>
                      <a:pt x="12" y="11"/>
                    </a:cubicBezTo>
                    <a:cubicBezTo>
                      <a:pt x="14" y="11"/>
                      <a:pt x="16" y="11"/>
                      <a:pt x="16" y="13"/>
                    </a:cubicBezTo>
                    <a:cubicBezTo>
                      <a:pt x="17" y="14"/>
                      <a:pt x="18" y="16"/>
                      <a:pt x="19" y="14"/>
                    </a:cubicBezTo>
                    <a:cubicBezTo>
                      <a:pt x="19" y="13"/>
                      <a:pt x="18" y="15"/>
                      <a:pt x="19"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399" name="Freeform 676">
                <a:extLst>
                  <a:ext uri="{FF2B5EF4-FFF2-40B4-BE49-F238E27FC236}">
                    <a16:creationId xmlns:a16="http://schemas.microsoft.com/office/drawing/2014/main" id="{5DEC2AAE-7DD4-214A-8DCD-67A33061A4A0}"/>
                  </a:ext>
                </a:extLst>
              </p:cNvPr>
              <p:cNvSpPr>
                <a:spLocks/>
              </p:cNvSpPr>
              <p:nvPr/>
            </p:nvSpPr>
            <p:spPr bwMode="auto">
              <a:xfrm>
                <a:off x="13722489" y="7061218"/>
                <a:ext cx="923568" cy="783643"/>
              </a:xfrm>
              <a:custGeom>
                <a:avLst/>
                <a:gdLst>
                  <a:gd name="T0" fmla="*/ 95 w 99"/>
                  <a:gd name="T1" fmla="*/ 73 h 84"/>
                  <a:gd name="T2" fmla="*/ 93 w 99"/>
                  <a:gd name="T3" fmla="*/ 68 h 84"/>
                  <a:gd name="T4" fmla="*/ 90 w 99"/>
                  <a:gd name="T5" fmla="*/ 65 h 84"/>
                  <a:gd name="T6" fmla="*/ 86 w 99"/>
                  <a:gd name="T7" fmla="*/ 60 h 84"/>
                  <a:gd name="T8" fmla="*/ 87 w 99"/>
                  <a:gd name="T9" fmla="*/ 55 h 84"/>
                  <a:gd name="T10" fmla="*/ 89 w 99"/>
                  <a:gd name="T11" fmla="*/ 50 h 84"/>
                  <a:gd name="T12" fmla="*/ 84 w 99"/>
                  <a:gd name="T13" fmla="*/ 49 h 84"/>
                  <a:gd name="T14" fmla="*/ 84 w 99"/>
                  <a:gd name="T15" fmla="*/ 46 h 84"/>
                  <a:gd name="T16" fmla="*/ 84 w 99"/>
                  <a:gd name="T17" fmla="*/ 40 h 84"/>
                  <a:gd name="T18" fmla="*/ 82 w 99"/>
                  <a:gd name="T19" fmla="*/ 36 h 84"/>
                  <a:gd name="T20" fmla="*/ 85 w 99"/>
                  <a:gd name="T21" fmla="*/ 31 h 84"/>
                  <a:gd name="T22" fmla="*/ 86 w 99"/>
                  <a:gd name="T23" fmla="*/ 20 h 84"/>
                  <a:gd name="T24" fmla="*/ 79 w 99"/>
                  <a:gd name="T25" fmla="*/ 18 h 84"/>
                  <a:gd name="T26" fmla="*/ 76 w 99"/>
                  <a:gd name="T27" fmla="*/ 15 h 84"/>
                  <a:gd name="T28" fmla="*/ 71 w 99"/>
                  <a:gd name="T29" fmla="*/ 13 h 84"/>
                  <a:gd name="T30" fmla="*/ 66 w 99"/>
                  <a:gd name="T31" fmla="*/ 12 h 84"/>
                  <a:gd name="T32" fmla="*/ 61 w 99"/>
                  <a:gd name="T33" fmla="*/ 11 h 84"/>
                  <a:gd name="T34" fmla="*/ 57 w 99"/>
                  <a:gd name="T35" fmla="*/ 12 h 84"/>
                  <a:gd name="T36" fmla="*/ 53 w 99"/>
                  <a:gd name="T37" fmla="*/ 15 h 84"/>
                  <a:gd name="T38" fmla="*/ 49 w 99"/>
                  <a:gd name="T39" fmla="*/ 17 h 84"/>
                  <a:gd name="T40" fmla="*/ 46 w 99"/>
                  <a:gd name="T41" fmla="*/ 20 h 84"/>
                  <a:gd name="T42" fmla="*/ 33 w 99"/>
                  <a:gd name="T43" fmla="*/ 18 h 84"/>
                  <a:gd name="T44" fmla="*/ 30 w 99"/>
                  <a:gd name="T45" fmla="*/ 16 h 84"/>
                  <a:gd name="T46" fmla="*/ 25 w 99"/>
                  <a:gd name="T47" fmla="*/ 15 h 84"/>
                  <a:gd name="T48" fmla="*/ 24 w 99"/>
                  <a:gd name="T49" fmla="*/ 10 h 84"/>
                  <a:gd name="T50" fmla="*/ 20 w 99"/>
                  <a:gd name="T51" fmla="*/ 5 h 84"/>
                  <a:gd name="T52" fmla="*/ 14 w 99"/>
                  <a:gd name="T53" fmla="*/ 5 h 84"/>
                  <a:gd name="T54" fmla="*/ 11 w 99"/>
                  <a:gd name="T55" fmla="*/ 7 h 84"/>
                  <a:gd name="T56" fmla="*/ 5 w 99"/>
                  <a:gd name="T57" fmla="*/ 4 h 84"/>
                  <a:gd name="T58" fmla="*/ 1 w 99"/>
                  <a:gd name="T59" fmla="*/ 3 h 84"/>
                  <a:gd name="T60" fmla="*/ 0 w 99"/>
                  <a:gd name="T61" fmla="*/ 5 h 84"/>
                  <a:gd name="T62" fmla="*/ 1 w 99"/>
                  <a:gd name="T63" fmla="*/ 8 h 84"/>
                  <a:gd name="T64" fmla="*/ 1 w 99"/>
                  <a:gd name="T65" fmla="*/ 10 h 84"/>
                  <a:gd name="T66" fmla="*/ 1 w 99"/>
                  <a:gd name="T67" fmla="*/ 12 h 84"/>
                  <a:gd name="T68" fmla="*/ 3 w 99"/>
                  <a:gd name="T69" fmla="*/ 14 h 84"/>
                  <a:gd name="T70" fmla="*/ 3 w 99"/>
                  <a:gd name="T71" fmla="*/ 16 h 84"/>
                  <a:gd name="T72" fmla="*/ 5 w 99"/>
                  <a:gd name="T73" fmla="*/ 21 h 84"/>
                  <a:gd name="T74" fmla="*/ 8 w 99"/>
                  <a:gd name="T75" fmla="*/ 24 h 84"/>
                  <a:gd name="T76" fmla="*/ 10 w 99"/>
                  <a:gd name="T77" fmla="*/ 25 h 84"/>
                  <a:gd name="T78" fmla="*/ 8 w 99"/>
                  <a:gd name="T79" fmla="*/ 37 h 84"/>
                  <a:gd name="T80" fmla="*/ 12 w 99"/>
                  <a:gd name="T81" fmla="*/ 41 h 84"/>
                  <a:gd name="T82" fmla="*/ 18 w 99"/>
                  <a:gd name="T83" fmla="*/ 47 h 84"/>
                  <a:gd name="T84" fmla="*/ 17 w 99"/>
                  <a:gd name="T85" fmla="*/ 50 h 84"/>
                  <a:gd name="T86" fmla="*/ 19 w 99"/>
                  <a:gd name="T87" fmla="*/ 52 h 84"/>
                  <a:gd name="T88" fmla="*/ 22 w 99"/>
                  <a:gd name="T89" fmla="*/ 58 h 84"/>
                  <a:gd name="T90" fmla="*/ 24 w 99"/>
                  <a:gd name="T91" fmla="*/ 55 h 84"/>
                  <a:gd name="T92" fmla="*/ 25 w 99"/>
                  <a:gd name="T93" fmla="*/ 56 h 84"/>
                  <a:gd name="T94" fmla="*/ 26 w 99"/>
                  <a:gd name="T95" fmla="*/ 57 h 84"/>
                  <a:gd name="T96" fmla="*/ 30 w 99"/>
                  <a:gd name="T97" fmla="*/ 57 h 84"/>
                  <a:gd name="T98" fmla="*/ 35 w 99"/>
                  <a:gd name="T99" fmla="*/ 66 h 84"/>
                  <a:gd name="T100" fmla="*/ 46 w 99"/>
                  <a:gd name="T101" fmla="*/ 74 h 84"/>
                  <a:gd name="T102" fmla="*/ 52 w 99"/>
                  <a:gd name="T103" fmla="*/ 76 h 84"/>
                  <a:gd name="T104" fmla="*/ 56 w 99"/>
                  <a:gd name="T105" fmla="*/ 75 h 84"/>
                  <a:gd name="T106" fmla="*/ 56 w 99"/>
                  <a:gd name="T107" fmla="*/ 76 h 84"/>
                  <a:gd name="T108" fmla="*/ 61 w 99"/>
                  <a:gd name="T109" fmla="*/ 73 h 84"/>
                  <a:gd name="T110" fmla="*/ 60 w 99"/>
                  <a:gd name="T111" fmla="*/ 73 h 84"/>
                  <a:gd name="T112" fmla="*/ 62 w 99"/>
                  <a:gd name="T113" fmla="*/ 73 h 84"/>
                  <a:gd name="T114" fmla="*/ 65 w 99"/>
                  <a:gd name="T115" fmla="*/ 77 h 84"/>
                  <a:gd name="T116" fmla="*/ 69 w 99"/>
                  <a:gd name="T117" fmla="*/ 81 h 84"/>
                  <a:gd name="T118" fmla="*/ 88 w 99"/>
                  <a:gd name="T119" fmla="*/ 84 h 84"/>
                  <a:gd name="T120" fmla="*/ 92 w 99"/>
                  <a:gd name="T121" fmla="*/ 77 h 84"/>
                  <a:gd name="T122" fmla="*/ 95 w 99"/>
                  <a:gd name="T123" fmla="*/ 73 h 84"/>
                  <a:gd name="T124" fmla="*/ 95 w 99"/>
                  <a:gd name="T125" fmla="*/ 7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9" h="84">
                    <a:moveTo>
                      <a:pt x="95" y="73"/>
                    </a:moveTo>
                    <a:cubicBezTo>
                      <a:pt x="93" y="72"/>
                      <a:pt x="94" y="70"/>
                      <a:pt x="93" y="68"/>
                    </a:cubicBezTo>
                    <a:cubicBezTo>
                      <a:pt x="93" y="67"/>
                      <a:pt x="91" y="66"/>
                      <a:pt x="90" y="65"/>
                    </a:cubicBezTo>
                    <a:cubicBezTo>
                      <a:pt x="88" y="64"/>
                      <a:pt x="87" y="62"/>
                      <a:pt x="86" y="60"/>
                    </a:cubicBezTo>
                    <a:cubicBezTo>
                      <a:pt x="84" y="58"/>
                      <a:pt x="85" y="58"/>
                      <a:pt x="87" y="55"/>
                    </a:cubicBezTo>
                    <a:cubicBezTo>
                      <a:pt x="88" y="54"/>
                      <a:pt x="90" y="52"/>
                      <a:pt x="89" y="50"/>
                    </a:cubicBezTo>
                    <a:cubicBezTo>
                      <a:pt x="88" y="49"/>
                      <a:pt x="85" y="49"/>
                      <a:pt x="84" y="49"/>
                    </a:cubicBezTo>
                    <a:cubicBezTo>
                      <a:pt x="83" y="48"/>
                      <a:pt x="84" y="46"/>
                      <a:pt x="84" y="46"/>
                    </a:cubicBezTo>
                    <a:cubicBezTo>
                      <a:pt x="83" y="44"/>
                      <a:pt x="83" y="41"/>
                      <a:pt x="84" y="40"/>
                    </a:cubicBezTo>
                    <a:cubicBezTo>
                      <a:pt x="86" y="38"/>
                      <a:pt x="83" y="37"/>
                      <a:pt x="82" y="36"/>
                    </a:cubicBezTo>
                    <a:cubicBezTo>
                      <a:pt x="82" y="35"/>
                      <a:pt x="84" y="32"/>
                      <a:pt x="85" y="31"/>
                    </a:cubicBezTo>
                    <a:cubicBezTo>
                      <a:pt x="85" y="30"/>
                      <a:pt x="87" y="20"/>
                      <a:pt x="86" y="20"/>
                    </a:cubicBezTo>
                    <a:cubicBezTo>
                      <a:pt x="83" y="20"/>
                      <a:pt x="82" y="20"/>
                      <a:pt x="79" y="18"/>
                    </a:cubicBezTo>
                    <a:cubicBezTo>
                      <a:pt x="78" y="17"/>
                      <a:pt x="77" y="16"/>
                      <a:pt x="76" y="15"/>
                    </a:cubicBezTo>
                    <a:cubicBezTo>
                      <a:pt x="75" y="14"/>
                      <a:pt x="72" y="14"/>
                      <a:pt x="71" y="13"/>
                    </a:cubicBezTo>
                    <a:cubicBezTo>
                      <a:pt x="69" y="13"/>
                      <a:pt x="68" y="13"/>
                      <a:pt x="66" y="12"/>
                    </a:cubicBezTo>
                    <a:cubicBezTo>
                      <a:pt x="65" y="10"/>
                      <a:pt x="63" y="11"/>
                      <a:pt x="61" y="11"/>
                    </a:cubicBezTo>
                    <a:cubicBezTo>
                      <a:pt x="60" y="12"/>
                      <a:pt x="58" y="11"/>
                      <a:pt x="57" y="12"/>
                    </a:cubicBezTo>
                    <a:cubicBezTo>
                      <a:pt x="55" y="12"/>
                      <a:pt x="54" y="14"/>
                      <a:pt x="53" y="15"/>
                    </a:cubicBezTo>
                    <a:cubicBezTo>
                      <a:pt x="52" y="16"/>
                      <a:pt x="49" y="15"/>
                      <a:pt x="49" y="17"/>
                    </a:cubicBezTo>
                    <a:cubicBezTo>
                      <a:pt x="49" y="19"/>
                      <a:pt x="48" y="19"/>
                      <a:pt x="46" y="20"/>
                    </a:cubicBezTo>
                    <a:cubicBezTo>
                      <a:pt x="41" y="21"/>
                      <a:pt x="37" y="21"/>
                      <a:pt x="33" y="18"/>
                    </a:cubicBezTo>
                    <a:cubicBezTo>
                      <a:pt x="32" y="17"/>
                      <a:pt x="31" y="16"/>
                      <a:pt x="30" y="16"/>
                    </a:cubicBezTo>
                    <a:cubicBezTo>
                      <a:pt x="28" y="14"/>
                      <a:pt x="27" y="15"/>
                      <a:pt x="25" y="15"/>
                    </a:cubicBezTo>
                    <a:cubicBezTo>
                      <a:pt x="24" y="14"/>
                      <a:pt x="24" y="11"/>
                      <a:pt x="24" y="10"/>
                    </a:cubicBezTo>
                    <a:cubicBezTo>
                      <a:pt x="21" y="9"/>
                      <a:pt x="20" y="8"/>
                      <a:pt x="20" y="5"/>
                    </a:cubicBezTo>
                    <a:cubicBezTo>
                      <a:pt x="20" y="0"/>
                      <a:pt x="16" y="3"/>
                      <a:pt x="14" y="5"/>
                    </a:cubicBezTo>
                    <a:cubicBezTo>
                      <a:pt x="13" y="6"/>
                      <a:pt x="12" y="7"/>
                      <a:pt x="11" y="7"/>
                    </a:cubicBezTo>
                    <a:cubicBezTo>
                      <a:pt x="9" y="6"/>
                      <a:pt x="6" y="6"/>
                      <a:pt x="5" y="4"/>
                    </a:cubicBezTo>
                    <a:cubicBezTo>
                      <a:pt x="3" y="2"/>
                      <a:pt x="3" y="1"/>
                      <a:pt x="1" y="3"/>
                    </a:cubicBezTo>
                    <a:cubicBezTo>
                      <a:pt x="1" y="4"/>
                      <a:pt x="0" y="4"/>
                      <a:pt x="0" y="5"/>
                    </a:cubicBezTo>
                    <a:cubicBezTo>
                      <a:pt x="0" y="6"/>
                      <a:pt x="0" y="7"/>
                      <a:pt x="1" y="8"/>
                    </a:cubicBezTo>
                    <a:cubicBezTo>
                      <a:pt x="1" y="8"/>
                      <a:pt x="2" y="10"/>
                      <a:pt x="1" y="10"/>
                    </a:cubicBezTo>
                    <a:cubicBezTo>
                      <a:pt x="1" y="11"/>
                      <a:pt x="0" y="11"/>
                      <a:pt x="1" y="12"/>
                    </a:cubicBezTo>
                    <a:cubicBezTo>
                      <a:pt x="1" y="13"/>
                      <a:pt x="3" y="13"/>
                      <a:pt x="3" y="14"/>
                    </a:cubicBezTo>
                    <a:cubicBezTo>
                      <a:pt x="3" y="15"/>
                      <a:pt x="2" y="16"/>
                      <a:pt x="3" y="16"/>
                    </a:cubicBezTo>
                    <a:cubicBezTo>
                      <a:pt x="4" y="18"/>
                      <a:pt x="4" y="19"/>
                      <a:pt x="5" y="21"/>
                    </a:cubicBezTo>
                    <a:cubicBezTo>
                      <a:pt x="6" y="22"/>
                      <a:pt x="6" y="23"/>
                      <a:pt x="8" y="24"/>
                    </a:cubicBezTo>
                    <a:cubicBezTo>
                      <a:pt x="8" y="24"/>
                      <a:pt x="10" y="25"/>
                      <a:pt x="10" y="25"/>
                    </a:cubicBezTo>
                    <a:cubicBezTo>
                      <a:pt x="11" y="29"/>
                      <a:pt x="2" y="33"/>
                      <a:pt x="8" y="37"/>
                    </a:cubicBezTo>
                    <a:cubicBezTo>
                      <a:pt x="10" y="38"/>
                      <a:pt x="10" y="40"/>
                      <a:pt x="12" y="41"/>
                    </a:cubicBezTo>
                    <a:cubicBezTo>
                      <a:pt x="14" y="43"/>
                      <a:pt x="16" y="44"/>
                      <a:pt x="18" y="47"/>
                    </a:cubicBezTo>
                    <a:cubicBezTo>
                      <a:pt x="18" y="48"/>
                      <a:pt x="17" y="49"/>
                      <a:pt x="17" y="50"/>
                    </a:cubicBezTo>
                    <a:cubicBezTo>
                      <a:pt x="18" y="51"/>
                      <a:pt x="20" y="51"/>
                      <a:pt x="19" y="52"/>
                    </a:cubicBezTo>
                    <a:cubicBezTo>
                      <a:pt x="19" y="55"/>
                      <a:pt x="21" y="56"/>
                      <a:pt x="22" y="58"/>
                    </a:cubicBezTo>
                    <a:cubicBezTo>
                      <a:pt x="24" y="57"/>
                      <a:pt x="23" y="56"/>
                      <a:pt x="24" y="55"/>
                    </a:cubicBezTo>
                    <a:cubicBezTo>
                      <a:pt x="24" y="55"/>
                      <a:pt x="25" y="56"/>
                      <a:pt x="25" y="56"/>
                    </a:cubicBezTo>
                    <a:cubicBezTo>
                      <a:pt x="27" y="56"/>
                      <a:pt x="25" y="56"/>
                      <a:pt x="26" y="57"/>
                    </a:cubicBezTo>
                    <a:cubicBezTo>
                      <a:pt x="27" y="58"/>
                      <a:pt x="28" y="55"/>
                      <a:pt x="30" y="57"/>
                    </a:cubicBezTo>
                    <a:cubicBezTo>
                      <a:pt x="32" y="60"/>
                      <a:pt x="33" y="63"/>
                      <a:pt x="35" y="66"/>
                    </a:cubicBezTo>
                    <a:cubicBezTo>
                      <a:pt x="37" y="69"/>
                      <a:pt x="42" y="72"/>
                      <a:pt x="46" y="74"/>
                    </a:cubicBezTo>
                    <a:cubicBezTo>
                      <a:pt x="48" y="75"/>
                      <a:pt x="50" y="75"/>
                      <a:pt x="52" y="76"/>
                    </a:cubicBezTo>
                    <a:cubicBezTo>
                      <a:pt x="53" y="76"/>
                      <a:pt x="56" y="75"/>
                      <a:pt x="56" y="75"/>
                    </a:cubicBezTo>
                    <a:cubicBezTo>
                      <a:pt x="56" y="75"/>
                      <a:pt x="56" y="76"/>
                      <a:pt x="56" y="76"/>
                    </a:cubicBezTo>
                    <a:cubicBezTo>
                      <a:pt x="57" y="76"/>
                      <a:pt x="60" y="74"/>
                      <a:pt x="61" y="73"/>
                    </a:cubicBezTo>
                    <a:cubicBezTo>
                      <a:pt x="61" y="73"/>
                      <a:pt x="60" y="73"/>
                      <a:pt x="60" y="73"/>
                    </a:cubicBezTo>
                    <a:cubicBezTo>
                      <a:pt x="60" y="72"/>
                      <a:pt x="62" y="73"/>
                      <a:pt x="62" y="73"/>
                    </a:cubicBezTo>
                    <a:cubicBezTo>
                      <a:pt x="64" y="74"/>
                      <a:pt x="64" y="75"/>
                      <a:pt x="65" y="77"/>
                    </a:cubicBezTo>
                    <a:cubicBezTo>
                      <a:pt x="66" y="80"/>
                      <a:pt x="67" y="80"/>
                      <a:pt x="69" y="81"/>
                    </a:cubicBezTo>
                    <a:cubicBezTo>
                      <a:pt x="75" y="82"/>
                      <a:pt x="82" y="83"/>
                      <a:pt x="88" y="84"/>
                    </a:cubicBezTo>
                    <a:cubicBezTo>
                      <a:pt x="88" y="80"/>
                      <a:pt x="89" y="79"/>
                      <a:pt x="92" y="77"/>
                    </a:cubicBezTo>
                    <a:cubicBezTo>
                      <a:pt x="94" y="76"/>
                      <a:pt x="99" y="75"/>
                      <a:pt x="95" y="73"/>
                    </a:cubicBezTo>
                    <a:cubicBezTo>
                      <a:pt x="94" y="72"/>
                      <a:pt x="97" y="74"/>
                      <a:pt x="95" y="7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0" name="Freeform 677">
                <a:extLst>
                  <a:ext uri="{FF2B5EF4-FFF2-40B4-BE49-F238E27FC236}">
                    <a16:creationId xmlns:a16="http://schemas.microsoft.com/office/drawing/2014/main" id="{DDB592EB-6478-204A-AC68-B2C25E84741C}"/>
                  </a:ext>
                </a:extLst>
              </p:cNvPr>
              <p:cNvSpPr>
                <a:spLocks/>
              </p:cNvSpPr>
              <p:nvPr/>
            </p:nvSpPr>
            <p:spPr bwMode="auto">
              <a:xfrm>
                <a:off x="13741597" y="7070776"/>
                <a:ext cx="73250" cy="54156"/>
              </a:xfrm>
              <a:custGeom>
                <a:avLst/>
                <a:gdLst>
                  <a:gd name="T0" fmla="*/ 1 w 8"/>
                  <a:gd name="T1" fmla="*/ 1 h 6"/>
                  <a:gd name="T2" fmla="*/ 3 w 8"/>
                  <a:gd name="T3" fmla="*/ 4 h 6"/>
                  <a:gd name="T4" fmla="*/ 8 w 8"/>
                  <a:gd name="T5" fmla="*/ 6 h 6"/>
                  <a:gd name="T6" fmla="*/ 0 w 8"/>
                  <a:gd name="T7" fmla="*/ 0 h 6"/>
                  <a:gd name="T8" fmla="*/ 1 w 8"/>
                  <a:gd name="T9" fmla="*/ 1 h 6"/>
                  <a:gd name="T10" fmla="*/ 1 w 8"/>
                  <a:gd name="T11" fmla="*/ 1 h 6"/>
                </a:gdLst>
                <a:ahLst/>
                <a:cxnLst>
                  <a:cxn ang="0">
                    <a:pos x="T0" y="T1"/>
                  </a:cxn>
                  <a:cxn ang="0">
                    <a:pos x="T2" y="T3"/>
                  </a:cxn>
                  <a:cxn ang="0">
                    <a:pos x="T4" y="T5"/>
                  </a:cxn>
                  <a:cxn ang="0">
                    <a:pos x="T6" y="T7"/>
                  </a:cxn>
                  <a:cxn ang="0">
                    <a:pos x="T8" y="T9"/>
                  </a:cxn>
                  <a:cxn ang="0">
                    <a:pos x="T10" y="T11"/>
                  </a:cxn>
                </a:cxnLst>
                <a:rect l="0" t="0" r="r" b="b"/>
                <a:pathLst>
                  <a:path w="8" h="6">
                    <a:moveTo>
                      <a:pt x="1" y="1"/>
                    </a:moveTo>
                    <a:cubicBezTo>
                      <a:pt x="2" y="1"/>
                      <a:pt x="2" y="3"/>
                      <a:pt x="3" y="4"/>
                    </a:cubicBezTo>
                    <a:cubicBezTo>
                      <a:pt x="5" y="4"/>
                      <a:pt x="6" y="5"/>
                      <a:pt x="8" y="6"/>
                    </a:cubicBezTo>
                    <a:cubicBezTo>
                      <a:pt x="7" y="2"/>
                      <a:pt x="3" y="1"/>
                      <a:pt x="0" y="0"/>
                    </a:cubicBezTo>
                    <a:cubicBezTo>
                      <a:pt x="0" y="1"/>
                      <a:pt x="0" y="1"/>
                      <a:pt x="1" y="1"/>
                    </a:cubicBezTo>
                    <a:cubicBezTo>
                      <a:pt x="2" y="1"/>
                      <a:pt x="0" y="1"/>
                      <a:pt x="1"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1" name="Freeform 678">
                <a:extLst>
                  <a:ext uri="{FF2B5EF4-FFF2-40B4-BE49-F238E27FC236}">
                    <a16:creationId xmlns:a16="http://schemas.microsoft.com/office/drawing/2014/main" id="{66414922-844B-824F-B08C-5F99DC4660A6}"/>
                  </a:ext>
                </a:extLst>
              </p:cNvPr>
              <p:cNvSpPr>
                <a:spLocks/>
              </p:cNvSpPr>
              <p:nvPr/>
            </p:nvSpPr>
            <p:spPr bwMode="auto">
              <a:xfrm>
                <a:off x="13525034" y="6844600"/>
                <a:ext cx="328029" cy="168837"/>
              </a:xfrm>
              <a:custGeom>
                <a:avLst/>
                <a:gdLst>
                  <a:gd name="T0" fmla="*/ 26 w 35"/>
                  <a:gd name="T1" fmla="*/ 15 h 18"/>
                  <a:gd name="T2" fmla="*/ 30 w 35"/>
                  <a:gd name="T3" fmla="*/ 17 h 18"/>
                  <a:gd name="T4" fmla="*/ 34 w 35"/>
                  <a:gd name="T5" fmla="*/ 17 h 18"/>
                  <a:gd name="T6" fmla="*/ 33 w 35"/>
                  <a:gd name="T7" fmla="*/ 12 h 18"/>
                  <a:gd name="T8" fmla="*/ 30 w 35"/>
                  <a:gd name="T9" fmla="*/ 10 h 18"/>
                  <a:gd name="T10" fmla="*/ 27 w 35"/>
                  <a:gd name="T11" fmla="*/ 7 h 18"/>
                  <a:gd name="T12" fmla="*/ 19 w 35"/>
                  <a:gd name="T13" fmla="*/ 6 h 18"/>
                  <a:gd name="T14" fmla="*/ 9 w 35"/>
                  <a:gd name="T15" fmla="*/ 4 h 18"/>
                  <a:gd name="T16" fmla="*/ 0 w 35"/>
                  <a:gd name="T17" fmla="*/ 2 h 18"/>
                  <a:gd name="T18" fmla="*/ 8 w 35"/>
                  <a:gd name="T19" fmla="*/ 14 h 18"/>
                  <a:gd name="T20" fmla="*/ 18 w 35"/>
                  <a:gd name="T21" fmla="*/ 18 h 18"/>
                  <a:gd name="T22" fmla="*/ 26 w 35"/>
                  <a:gd name="T23" fmla="*/ 15 h 18"/>
                  <a:gd name="T24" fmla="*/ 26 w 35"/>
                  <a:gd name="T25" fmla="*/ 1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18">
                    <a:moveTo>
                      <a:pt x="26" y="15"/>
                    </a:moveTo>
                    <a:cubicBezTo>
                      <a:pt x="27" y="14"/>
                      <a:pt x="29" y="16"/>
                      <a:pt x="30" y="17"/>
                    </a:cubicBezTo>
                    <a:cubicBezTo>
                      <a:pt x="30" y="17"/>
                      <a:pt x="34" y="17"/>
                      <a:pt x="34" y="17"/>
                    </a:cubicBezTo>
                    <a:cubicBezTo>
                      <a:pt x="35" y="16"/>
                      <a:pt x="30" y="12"/>
                      <a:pt x="33" y="12"/>
                    </a:cubicBezTo>
                    <a:cubicBezTo>
                      <a:pt x="32" y="11"/>
                      <a:pt x="30" y="11"/>
                      <a:pt x="30" y="10"/>
                    </a:cubicBezTo>
                    <a:cubicBezTo>
                      <a:pt x="30" y="8"/>
                      <a:pt x="29" y="7"/>
                      <a:pt x="27" y="7"/>
                    </a:cubicBezTo>
                    <a:cubicBezTo>
                      <a:pt x="24" y="7"/>
                      <a:pt x="22" y="8"/>
                      <a:pt x="19" y="6"/>
                    </a:cubicBezTo>
                    <a:cubicBezTo>
                      <a:pt x="16" y="5"/>
                      <a:pt x="13" y="5"/>
                      <a:pt x="9" y="4"/>
                    </a:cubicBezTo>
                    <a:cubicBezTo>
                      <a:pt x="6" y="3"/>
                      <a:pt x="4" y="0"/>
                      <a:pt x="0" y="2"/>
                    </a:cubicBezTo>
                    <a:cubicBezTo>
                      <a:pt x="3" y="6"/>
                      <a:pt x="11" y="7"/>
                      <a:pt x="8" y="14"/>
                    </a:cubicBezTo>
                    <a:cubicBezTo>
                      <a:pt x="11" y="14"/>
                      <a:pt x="18" y="14"/>
                      <a:pt x="18" y="18"/>
                    </a:cubicBezTo>
                    <a:cubicBezTo>
                      <a:pt x="18" y="15"/>
                      <a:pt x="24" y="15"/>
                      <a:pt x="26" y="15"/>
                    </a:cubicBezTo>
                    <a:cubicBezTo>
                      <a:pt x="27" y="14"/>
                      <a:pt x="19" y="15"/>
                      <a:pt x="26"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2" name="Freeform 679">
                <a:extLst>
                  <a:ext uri="{FF2B5EF4-FFF2-40B4-BE49-F238E27FC236}">
                    <a16:creationId xmlns:a16="http://schemas.microsoft.com/office/drawing/2014/main" id="{C7EC20A4-51CC-2B43-99B5-D491A45F59E8}"/>
                  </a:ext>
                </a:extLst>
              </p:cNvPr>
              <p:cNvSpPr>
                <a:spLocks/>
              </p:cNvSpPr>
              <p:nvPr/>
            </p:nvSpPr>
            <p:spPr bwMode="auto">
              <a:xfrm>
                <a:off x="13751153" y="6956097"/>
                <a:ext cx="251592" cy="197506"/>
              </a:xfrm>
              <a:custGeom>
                <a:avLst/>
                <a:gdLst>
                  <a:gd name="T0" fmla="*/ 8 w 27"/>
                  <a:gd name="T1" fmla="*/ 2 h 21"/>
                  <a:gd name="T2" fmla="*/ 10 w 27"/>
                  <a:gd name="T3" fmla="*/ 5 h 21"/>
                  <a:gd name="T4" fmla="*/ 7 w 27"/>
                  <a:gd name="T5" fmla="*/ 5 h 21"/>
                  <a:gd name="T6" fmla="*/ 4 w 27"/>
                  <a:gd name="T7" fmla="*/ 3 h 21"/>
                  <a:gd name="T8" fmla="*/ 4 w 27"/>
                  <a:gd name="T9" fmla="*/ 7 h 21"/>
                  <a:gd name="T10" fmla="*/ 6 w 27"/>
                  <a:gd name="T11" fmla="*/ 11 h 21"/>
                  <a:gd name="T12" fmla="*/ 8 w 27"/>
                  <a:gd name="T13" fmla="*/ 14 h 21"/>
                  <a:gd name="T14" fmla="*/ 9 w 27"/>
                  <a:gd name="T15" fmla="*/ 17 h 21"/>
                  <a:gd name="T16" fmla="*/ 16 w 27"/>
                  <a:gd name="T17" fmla="*/ 13 h 21"/>
                  <a:gd name="T18" fmla="*/ 17 w 27"/>
                  <a:gd name="T19" fmla="*/ 16 h 21"/>
                  <a:gd name="T20" fmla="*/ 21 w 27"/>
                  <a:gd name="T21" fmla="*/ 21 h 21"/>
                  <a:gd name="T22" fmla="*/ 21 w 27"/>
                  <a:gd name="T23" fmla="*/ 18 h 21"/>
                  <a:gd name="T24" fmla="*/ 23 w 27"/>
                  <a:gd name="T25" fmla="*/ 16 h 21"/>
                  <a:gd name="T26" fmla="*/ 25 w 27"/>
                  <a:gd name="T27" fmla="*/ 11 h 21"/>
                  <a:gd name="T28" fmla="*/ 19 w 27"/>
                  <a:gd name="T29" fmla="*/ 1 h 21"/>
                  <a:gd name="T30" fmla="*/ 12 w 27"/>
                  <a:gd name="T31" fmla="*/ 2 h 21"/>
                  <a:gd name="T32" fmla="*/ 9 w 27"/>
                  <a:gd name="T33" fmla="*/ 0 h 21"/>
                  <a:gd name="T34" fmla="*/ 8 w 27"/>
                  <a:gd name="T35" fmla="*/ 2 h 21"/>
                  <a:gd name="T36" fmla="*/ 8 w 27"/>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 h="21">
                    <a:moveTo>
                      <a:pt x="8" y="2"/>
                    </a:moveTo>
                    <a:cubicBezTo>
                      <a:pt x="8" y="2"/>
                      <a:pt x="11" y="4"/>
                      <a:pt x="10" y="5"/>
                    </a:cubicBezTo>
                    <a:cubicBezTo>
                      <a:pt x="10" y="5"/>
                      <a:pt x="7" y="5"/>
                      <a:pt x="7" y="5"/>
                    </a:cubicBezTo>
                    <a:cubicBezTo>
                      <a:pt x="5" y="5"/>
                      <a:pt x="5" y="3"/>
                      <a:pt x="4" y="3"/>
                    </a:cubicBezTo>
                    <a:cubicBezTo>
                      <a:pt x="0" y="2"/>
                      <a:pt x="4" y="6"/>
                      <a:pt x="4" y="7"/>
                    </a:cubicBezTo>
                    <a:cubicBezTo>
                      <a:pt x="4" y="10"/>
                      <a:pt x="7" y="8"/>
                      <a:pt x="6" y="11"/>
                    </a:cubicBezTo>
                    <a:cubicBezTo>
                      <a:pt x="5" y="13"/>
                      <a:pt x="7" y="13"/>
                      <a:pt x="8" y="14"/>
                    </a:cubicBezTo>
                    <a:cubicBezTo>
                      <a:pt x="9" y="14"/>
                      <a:pt x="9" y="16"/>
                      <a:pt x="9" y="17"/>
                    </a:cubicBezTo>
                    <a:cubicBezTo>
                      <a:pt x="10" y="16"/>
                      <a:pt x="14" y="14"/>
                      <a:pt x="16" y="13"/>
                    </a:cubicBezTo>
                    <a:cubicBezTo>
                      <a:pt x="17" y="13"/>
                      <a:pt x="17" y="15"/>
                      <a:pt x="17" y="16"/>
                    </a:cubicBezTo>
                    <a:cubicBezTo>
                      <a:pt x="17" y="19"/>
                      <a:pt x="18" y="20"/>
                      <a:pt x="21" y="21"/>
                    </a:cubicBezTo>
                    <a:cubicBezTo>
                      <a:pt x="21" y="20"/>
                      <a:pt x="21" y="18"/>
                      <a:pt x="21" y="18"/>
                    </a:cubicBezTo>
                    <a:cubicBezTo>
                      <a:pt x="22" y="17"/>
                      <a:pt x="23" y="17"/>
                      <a:pt x="23" y="16"/>
                    </a:cubicBezTo>
                    <a:cubicBezTo>
                      <a:pt x="24" y="14"/>
                      <a:pt x="24" y="12"/>
                      <a:pt x="25" y="11"/>
                    </a:cubicBezTo>
                    <a:cubicBezTo>
                      <a:pt x="27" y="8"/>
                      <a:pt x="21" y="2"/>
                      <a:pt x="19" y="1"/>
                    </a:cubicBezTo>
                    <a:cubicBezTo>
                      <a:pt x="17" y="4"/>
                      <a:pt x="15" y="4"/>
                      <a:pt x="12" y="2"/>
                    </a:cubicBezTo>
                    <a:cubicBezTo>
                      <a:pt x="12" y="1"/>
                      <a:pt x="10" y="0"/>
                      <a:pt x="9" y="0"/>
                    </a:cubicBezTo>
                    <a:cubicBezTo>
                      <a:pt x="8" y="0"/>
                      <a:pt x="8" y="1"/>
                      <a:pt x="8" y="2"/>
                    </a:cubicBezTo>
                    <a:cubicBezTo>
                      <a:pt x="9" y="3"/>
                      <a:pt x="7" y="0"/>
                      <a:pt x="8"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3" name="Freeform 680">
                <a:extLst>
                  <a:ext uri="{FF2B5EF4-FFF2-40B4-BE49-F238E27FC236}">
                    <a16:creationId xmlns:a16="http://schemas.microsoft.com/office/drawing/2014/main" id="{BD19A76B-B353-0749-BCA0-660FCD55CDAA}"/>
                  </a:ext>
                </a:extLst>
              </p:cNvPr>
              <p:cNvSpPr>
                <a:spLocks/>
              </p:cNvSpPr>
              <p:nvPr/>
            </p:nvSpPr>
            <p:spPr bwMode="auto">
              <a:xfrm>
                <a:off x="13833954" y="7574093"/>
                <a:ext cx="82803" cy="95566"/>
              </a:xfrm>
              <a:custGeom>
                <a:avLst/>
                <a:gdLst>
                  <a:gd name="T0" fmla="*/ 3 w 9"/>
                  <a:gd name="T1" fmla="*/ 2 h 10"/>
                  <a:gd name="T2" fmla="*/ 0 w 9"/>
                  <a:gd name="T3" fmla="*/ 7 h 10"/>
                  <a:gd name="T4" fmla="*/ 4 w 9"/>
                  <a:gd name="T5" fmla="*/ 8 h 10"/>
                  <a:gd name="T6" fmla="*/ 9 w 9"/>
                  <a:gd name="T7" fmla="*/ 10 h 10"/>
                  <a:gd name="T8" fmla="*/ 7 w 9"/>
                  <a:gd name="T9" fmla="*/ 5 h 10"/>
                  <a:gd name="T10" fmla="*/ 8 w 9"/>
                  <a:gd name="T11" fmla="*/ 3 h 10"/>
                  <a:gd name="T12" fmla="*/ 3 w 9"/>
                  <a:gd name="T13" fmla="*/ 2 h 10"/>
                  <a:gd name="T14" fmla="*/ 3 w 9"/>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0">
                    <a:moveTo>
                      <a:pt x="3" y="2"/>
                    </a:moveTo>
                    <a:cubicBezTo>
                      <a:pt x="1" y="3"/>
                      <a:pt x="0" y="5"/>
                      <a:pt x="0" y="7"/>
                    </a:cubicBezTo>
                    <a:cubicBezTo>
                      <a:pt x="1" y="7"/>
                      <a:pt x="4" y="7"/>
                      <a:pt x="4" y="8"/>
                    </a:cubicBezTo>
                    <a:cubicBezTo>
                      <a:pt x="6" y="10"/>
                      <a:pt x="7" y="10"/>
                      <a:pt x="9" y="10"/>
                    </a:cubicBezTo>
                    <a:cubicBezTo>
                      <a:pt x="9" y="10"/>
                      <a:pt x="7" y="5"/>
                      <a:pt x="7" y="5"/>
                    </a:cubicBezTo>
                    <a:cubicBezTo>
                      <a:pt x="8" y="5"/>
                      <a:pt x="9" y="5"/>
                      <a:pt x="8" y="3"/>
                    </a:cubicBezTo>
                    <a:cubicBezTo>
                      <a:pt x="6" y="2"/>
                      <a:pt x="5" y="0"/>
                      <a:pt x="3" y="2"/>
                    </a:cubicBezTo>
                    <a:cubicBezTo>
                      <a:pt x="1" y="4"/>
                      <a:pt x="4" y="1"/>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4" name="Freeform 681">
                <a:extLst>
                  <a:ext uri="{FF2B5EF4-FFF2-40B4-BE49-F238E27FC236}">
                    <a16:creationId xmlns:a16="http://schemas.microsoft.com/office/drawing/2014/main" id="{8FBBE1AA-85CB-5241-92B9-77F8744E2DAC}"/>
                  </a:ext>
                </a:extLst>
              </p:cNvPr>
              <p:cNvSpPr>
                <a:spLocks/>
              </p:cNvSpPr>
              <p:nvPr/>
            </p:nvSpPr>
            <p:spPr bwMode="auto">
              <a:xfrm>
                <a:off x="13311662" y="7220495"/>
                <a:ext cx="324842" cy="251657"/>
              </a:xfrm>
              <a:custGeom>
                <a:avLst/>
                <a:gdLst>
                  <a:gd name="T0" fmla="*/ 29 w 35"/>
                  <a:gd name="T1" fmla="*/ 10 h 27"/>
                  <a:gd name="T2" fmla="*/ 30 w 35"/>
                  <a:gd name="T3" fmla="*/ 7 h 27"/>
                  <a:gd name="T4" fmla="*/ 29 w 35"/>
                  <a:gd name="T5" fmla="*/ 5 h 27"/>
                  <a:gd name="T6" fmla="*/ 35 w 35"/>
                  <a:gd name="T7" fmla="*/ 0 h 27"/>
                  <a:gd name="T8" fmla="*/ 25 w 35"/>
                  <a:gd name="T9" fmla="*/ 1 h 27"/>
                  <a:gd name="T10" fmla="*/ 19 w 35"/>
                  <a:gd name="T11" fmla="*/ 2 h 27"/>
                  <a:gd name="T12" fmla="*/ 13 w 35"/>
                  <a:gd name="T13" fmla="*/ 2 h 27"/>
                  <a:gd name="T14" fmla="*/ 8 w 35"/>
                  <a:gd name="T15" fmla="*/ 2 h 27"/>
                  <a:gd name="T16" fmla="*/ 7 w 35"/>
                  <a:gd name="T17" fmla="*/ 4 h 27"/>
                  <a:gd name="T18" fmla="*/ 6 w 35"/>
                  <a:gd name="T19" fmla="*/ 6 h 27"/>
                  <a:gd name="T20" fmla="*/ 3 w 35"/>
                  <a:gd name="T21" fmla="*/ 6 h 27"/>
                  <a:gd name="T22" fmla="*/ 3 w 35"/>
                  <a:gd name="T23" fmla="*/ 10 h 27"/>
                  <a:gd name="T24" fmla="*/ 4 w 35"/>
                  <a:gd name="T25" fmla="*/ 14 h 27"/>
                  <a:gd name="T26" fmla="*/ 2 w 35"/>
                  <a:gd name="T27" fmla="*/ 22 h 27"/>
                  <a:gd name="T28" fmla="*/ 7 w 35"/>
                  <a:gd name="T29" fmla="*/ 27 h 27"/>
                  <a:gd name="T30" fmla="*/ 13 w 35"/>
                  <a:gd name="T31" fmla="*/ 24 h 27"/>
                  <a:gd name="T32" fmla="*/ 22 w 35"/>
                  <a:gd name="T33" fmla="*/ 19 h 27"/>
                  <a:gd name="T34" fmla="*/ 28 w 35"/>
                  <a:gd name="T35" fmla="*/ 15 h 27"/>
                  <a:gd name="T36" fmla="*/ 29 w 35"/>
                  <a:gd name="T37" fmla="*/ 10 h 27"/>
                  <a:gd name="T38" fmla="*/ 29 w 35"/>
                  <a:gd name="T39"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27">
                    <a:moveTo>
                      <a:pt x="29" y="10"/>
                    </a:moveTo>
                    <a:cubicBezTo>
                      <a:pt x="30" y="9"/>
                      <a:pt x="31" y="8"/>
                      <a:pt x="30" y="7"/>
                    </a:cubicBezTo>
                    <a:cubicBezTo>
                      <a:pt x="29" y="6"/>
                      <a:pt x="28" y="6"/>
                      <a:pt x="29" y="5"/>
                    </a:cubicBezTo>
                    <a:cubicBezTo>
                      <a:pt x="31" y="3"/>
                      <a:pt x="35" y="3"/>
                      <a:pt x="35" y="0"/>
                    </a:cubicBezTo>
                    <a:cubicBezTo>
                      <a:pt x="32" y="0"/>
                      <a:pt x="28" y="0"/>
                      <a:pt x="25" y="1"/>
                    </a:cubicBezTo>
                    <a:cubicBezTo>
                      <a:pt x="23" y="1"/>
                      <a:pt x="21" y="2"/>
                      <a:pt x="19" y="2"/>
                    </a:cubicBezTo>
                    <a:cubicBezTo>
                      <a:pt x="16" y="2"/>
                      <a:pt x="15" y="1"/>
                      <a:pt x="13" y="2"/>
                    </a:cubicBezTo>
                    <a:cubicBezTo>
                      <a:pt x="11" y="3"/>
                      <a:pt x="10" y="3"/>
                      <a:pt x="8" y="2"/>
                    </a:cubicBezTo>
                    <a:cubicBezTo>
                      <a:pt x="6" y="0"/>
                      <a:pt x="7" y="4"/>
                      <a:pt x="7" y="4"/>
                    </a:cubicBezTo>
                    <a:cubicBezTo>
                      <a:pt x="6" y="5"/>
                      <a:pt x="6" y="6"/>
                      <a:pt x="6" y="6"/>
                    </a:cubicBezTo>
                    <a:cubicBezTo>
                      <a:pt x="5" y="8"/>
                      <a:pt x="4" y="6"/>
                      <a:pt x="3" y="6"/>
                    </a:cubicBezTo>
                    <a:cubicBezTo>
                      <a:pt x="2" y="7"/>
                      <a:pt x="3" y="9"/>
                      <a:pt x="3" y="10"/>
                    </a:cubicBezTo>
                    <a:cubicBezTo>
                      <a:pt x="3" y="11"/>
                      <a:pt x="2" y="13"/>
                      <a:pt x="4" y="14"/>
                    </a:cubicBezTo>
                    <a:cubicBezTo>
                      <a:pt x="9" y="17"/>
                      <a:pt x="5" y="19"/>
                      <a:pt x="2" y="22"/>
                    </a:cubicBezTo>
                    <a:cubicBezTo>
                      <a:pt x="0" y="24"/>
                      <a:pt x="5" y="27"/>
                      <a:pt x="7" y="27"/>
                    </a:cubicBezTo>
                    <a:cubicBezTo>
                      <a:pt x="9" y="27"/>
                      <a:pt x="11" y="25"/>
                      <a:pt x="13" y="24"/>
                    </a:cubicBezTo>
                    <a:cubicBezTo>
                      <a:pt x="16" y="22"/>
                      <a:pt x="19" y="21"/>
                      <a:pt x="22" y="19"/>
                    </a:cubicBezTo>
                    <a:cubicBezTo>
                      <a:pt x="24" y="18"/>
                      <a:pt x="26" y="17"/>
                      <a:pt x="28" y="15"/>
                    </a:cubicBezTo>
                    <a:cubicBezTo>
                      <a:pt x="29" y="13"/>
                      <a:pt x="28" y="11"/>
                      <a:pt x="29" y="10"/>
                    </a:cubicBezTo>
                    <a:cubicBezTo>
                      <a:pt x="30" y="8"/>
                      <a:pt x="29" y="11"/>
                      <a:pt x="29"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5" name="Freeform 682">
                <a:extLst>
                  <a:ext uri="{FF2B5EF4-FFF2-40B4-BE49-F238E27FC236}">
                    <a16:creationId xmlns:a16="http://schemas.microsoft.com/office/drawing/2014/main" id="{47A6571D-5BAC-AD4B-8921-96849D56E82F}"/>
                  </a:ext>
                </a:extLst>
              </p:cNvPr>
              <p:cNvSpPr>
                <a:spLocks/>
              </p:cNvSpPr>
              <p:nvPr/>
            </p:nvSpPr>
            <p:spPr bwMode="auto">
              <a:xfrm>
                <a:off x="13461341" y="7201383"/>
                <a:ext cx="464969" cy="439605"/>
              </a:xfrm>
              <a:custGeom>
                <a:avLst/>
                <a:gdLst>
                  <a:gd name="T0" fmla="*/ 47 w 50"/>
                  <a:gd name="T1" fmla="*/ 36 h 47"/>
                  <a:gd name="T2" fmla="*/ 45 w 50"/>
                  <a:gd name="T3" fmla="*/ 34 h 47"/>
                  <a:gd name="T4" fmla="*/ 46 w 50"/>
                  <a:gd name="T5" fmla="*/ 32 h 47"/>
                  <a:gd name="T6" fmla="*/ 41 w 50"/>
                  <a:gd name="T7" fmla="*/ 27 h 47"/>
                  <a:gd name="T8" fmla="*/ 38 w 50"/>
                  <a:gd name="T9" fmla="*/ 25 h 47"/>
                  <a:gd name="T10" fmla="*/ 35 w 50"/>
                  <a:gd name="T11" fmla="*/ 18 h 47"/>
                  <a:gd name="T12" fmla="*/ 38 w 50"/>
                  <a:gd name="T13" fmla="*/ 10 h 47"/>
                  <a:gd name="T14" fmla="*/ 34 w 50"/>
                  <a:gd name="T15" fmla="*/ 6 h 47"/>
                  <a:gd name="T16" fmla="*/ 32 w 50"/>
                  <a:gd name="T17" fmla="*/ 2 h 47"/>
                  <a:gd name="T18" fmla="*/ 30 w 50"/>
                  <a:gd name="T19" fmla="*/ 3 h 47"/>
                  <a:gd name="T20" fmla="*/ 28 w 50"/>
                  <a:gd name="T21" fmla="*/ 1 h 47"/>
                  <a:gd name="T22" fmla="*/ 25 w 50"/>
                  <a:gd name="T23" fmla="*/ 2 h 47"/>
                  <a:gd name="T24" fmla="*/ 20 w 50"/>
                  <a:gd name="T25" fmla="*/ 1 h 47"/>
                  <a:gd name="T26" fmla="*/ 18 w 50"/>
                  <a:gd name="T27" fmla="*/ 4 h 47"/>
                  <a:gd name="T28" fmla="*/ 13 w 50"/>
                  <a:gd name="T29" fmla="*/ 7 h 47"/>
                  <a:gd name="T30" fmla="*/ 14 w 50"/>
                  <a:gd name="T31" fmla="*/ 10 h 47"/>
                  <a:gd name="T32" fmla="*/ 13 w 50"/>
                  <a:gd name="T33" fmla="*/ 13 h 47"/>
                  <a:gd name="T34" fmla="*/ 9 w 50"/>
                  <a:gd name="T35" fmla="*/ 19 h 47"/>
                  <a:gd name="T36" fmla="*/ 1 w 50"/>
                  <a:gd name="T37" fmla="*/ 25 h 47"/>
                  <a:gd name="T38" fmla="*/ 3 w 50"/>
                  <a:gd name="T39" fmla="*/ 30 h 47"/>
                  <a:gd name="T40" fmla="*/ 9 w 50"/>
                  <a:gd name="T41" fmla="*/ 31 h 47"/>
                  <a:gd name="T42" fmla="*/ 18 w 50"/>
                  <a:gd name="T43" fmla="*/ 36 h 47"/>
                  <a:gd name="T44" fmla="*/ 29 w 50"/>
                  <a:gd name="T45" fmla="*/ 45 h 47"/>
                  <a:gd name="T46" fmla="*/ 38 w 50"/>
                  <a:gd name="T47" fmla="*/ 47 h 47"/>
                  <a:gd name="T48" fmla="*/ 43 w 50"/>
                  <a:gd name="T49" fmla="*/ 42 h 47"/>
                  <a:gd name="T50" fmla="*/ 50 w 50"/>
                  <a:gd name="T51" fmla="*/ 43 h 47"/>
                  <a:gd name="T52" fmla="*/ 47 w 50"/>
                  <a:gd name="T53" fmla="*/ 39 h 47"/>
                  <a:gd name="T54" fmla="*/ 47 w 50"/>
                  <a:gd name="T55" fmla="*/ 36 h 47"/>
                  <a:gd name="T56" fmla="*/ 47 w 50"/>
                  <a:gd name="T57"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 h="47">
                    <a:moveTo>
                      <a:pt x="47" y="36"/>
                    </a:moveTo>
                    <a:cubicBezTo>
                      <a:pt x="47" y="36"/>
                      <a:pt x="45" y="35"/>
                      <a:pt x="45" y="34"/>
                    </a:cubicBezTo>
                    <a:cubicBezTo>
                      <a:pt x="45" y="33"/>
                      <a:pt x="46" y="33"/>
                      <a:pt x="46" y="32"/>
                    </a:cubicBezTo>
                    <a:cubicBezTo>
                      <a:pt x="45" y="30"/>
                      <a:pt x="43" y="29"/>
                      <a:pt x="41" y="27"/>
                    </a:cubicBezTo>
                    <a:cubicBezTo>
                      <a:pt x="40" y="27"/>
                      <a:pt x="38" y="26"/>
                      <a:pt x="38" y="25"/>
                    </a:cubicBezTo>
                    <a:cubicBezTo>
                      <a:pt x="37" y="23"/>
                      <a:pt x="35" y="21"/>
                      <a:pt x="35" y="18"/>
                    </a:cubicBezTo>
                    <a:cubicBezTo>
                      <a:pt x="34" y="16"/>
                      <a:pt x="40" y="12"/>
                      <a:pt x="38" y="10"/>
                    </a:cubicBezTo>
                    <a:cubicBezTo>
                      <a:pt x="36" y="9"/>
                      <a:pt x="35" y="8"/>
                      <a:pt x="34" y="6"/>
                    </a:cubicBezTo>
                    <a:cubicBezTo>
                      <a:pt x="33" y="5"/>
                      <a:pt x="33" y="3"/>
                      <a:pt x="32" y="2"/>
                    </a:cubicBezTo>
                    <a:cubicBezTo>
                      <a:pt x="31" y="2"/>
                      <a:pt x="31" y="3"/>
                      <a:pt x="30" y="3"/>
                    </a:cubicBezTo>
                    <a:cubicBezTo>
                      <a:pt x="28" y="3"/>
                      <a:pt x="29" y="1"/>
                      <a:pt x="28" y="1"/>
                    </a:cubicBezTo>
                    <a:cubicBezTo>
                      <a:pt x="27" y="1"/>
                      <a:pt x="25" y="2"/>
                      <a:pt x="25" y="2"/>
                    </a:cubicBezTo>
                    <a:cubicBezTo>
                      <a:pt x="23" y="0"/>
                      <a:pt x="22" y="1"/>
                      <a:pt x="20" y="1"/>
                    </a:cubicBezTo>
                    <a:cubicBezTo>
                      <a:pt x="18" y="2"/>
                      <a:pt x="19" y="3"/>
                      <a:pt x="18" y="4"/>
                    </a:cubicBezTo>
                    <a:cubicBezTo>
                      <a:pt x="16" y="5"/>
                      <a:pt x="14" y="5"/>
                      <a:pt x="13" y="7"/>
                    </a:cubicBezTo>
                    <a:cubicBezTo>
                      <a:pt x="12" y="9"/>
                      <a:pt x="14" y="8"/>
                      <a:pt x="14" y="10"/>
                    </a:cubicBezTo>
                    <a:cubicBezTo>
                      <a:pt x="14" y="11"/>
                      <a:pt x="13" y="11"/>
                      <a:pt x="13" y="13"/>
                    </a:cubicBezTo>
                    <a:cubicBezTo>
                      <a:pt x="13" y="16"/>
                      <a:pt x="12" y="17"/>
                      <a:pt x="9" y="19"/>
                    </a:cubicBezTo>
                    <a:cubicBezTo>
                      <a:pt x="7" y="20"/>
                      <a:pt x="0" y="23"/>
                      <a:pt x="1" y="25"/>
                    </a:cubicBezTo>
                    <a:cubicBezTo>
                      <a:pt x="2" y="26"/>
                      <a:pt x="2" y="29"/>
                      <a:pt x="3" y="30"/>
                    </a:cubicBezTo>
                    <a:cubicBezTo>
                      <a:pt x="4" y="31"/>
                      <a:pt x="8" y="31"/>
                      <a:pt x="9" y="31"/>
                    </a:cubicBezTo>
                    <a:cubicBezTo>
                      <a:pt x="12" y="32"/>
                      <a:pt x="15" y="34"/>
                      <a:pt x="18" y="36"/>
                    </a:cubicBezTo>
                    <a:cubicBezTo>
                      <a:pt x="22" y="39"/>
                      <a:pt x="25" y="42"/>
                      <a:pt x="29" y="45"/>
                    </a:cubicBezTo>
                    <a:cubicBezTo>
                      <a:pt x="32" y="47"/>
                      <a:pt x="35" y="47"/>
                      <a:pt x="38" y="47"/>
                    </a:cubicBezTo>
                    <a:cubicBezTo>
                      <a:pt x="41" y="47"/>
                      <a:pt x="41" y="44"/>
                      <a:pt x="43" y="42"/>
                    </a:cubicBezTo>
                    <a:cubicBezTo>
                      <a:pt x="45" y="40"/>
                      <a:pt x="49" y="44"/>
                      <a:pt x="50" y="43"/>
                    </a:cubicBezTo>
                    <a:cubicBezTo>
                      <a:pt x="49" y="42"/>
                      <a:pt x="48" y="41"/>
                      <a:pt x="47" y="39"/>
                    </a:cubicBezTo>
                    <a:cubicBezTo>
                      <a:pt x="47" y="38"/>
                      <a:pt x="48" y="37"/>
                      <a:pt x="47" y="36"/>
                    </a:cubicBezTo>
                    <a:cubicBezTo>
                      <a:pt x="46" y="35"/>
                      <a:pt x="48" y="37"/>
                      <a:pt x="47" y="3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6" name="Freeform 683">
                <a:extLst>
                  <a:ext uri="{FF2B5EF4-FFF2-40B4-BE49-F238E27FC236}">
                    <a16:creationId xmlns:a16="http://schemas.microsoft.com/office/drawing/2014/main" id="{256673C4-8DAD-BB4E-989D-6D8A99681F29}"/>
                  </a:ext>
                </a:extLst>
              </p:cNvPr>
              <p:cNvSpPr>
                <a:spLocks/>
              </p:cNvSpPr>
              <p:nvPr/>
            </p:nvSpPr>
            <p:spPr bwMode="auto">
              <a:xfrm>
                <a:off x="12872168" y="6946541"/>
                <a:ext cx="885351" cy="337667"/>
              </a:xfrm>
              <a:custGeom>
                <a:avLst/>
                <a:gdLst>
                  <a:gd name="T0" fmla="*/ 52 w 95"/>
                  <a:gd name="T1" fmla="*/ 36 h 36"/>
                  <a:gd name="T2" fmla="*/ 54 w 95"/>
                  <a:gd name="T3" fmla="*/ 33 h 36"/>
                  <a:gd name="T4" fmla="*/ 55 w 95"/>
                  <a:gd name="T5" fmla="*/ 31 h 36"/>
                  <a:gd name="T6" fmla="*/ 60 w 95"/>
                  <a:gd name="T7" fmla="*/ 31 h 36"/>
                  <a:gd name="T8" fmla="*/ 64 w 95"/>
                  <a:gd name="T9" fmla="*/ 31 h 36"/>
                  <a:gd name="T10" fmla="*/ 75 w 95"/>
                  <a:gd name="T11" fmla="*/ 29 h 36"/>
                  <a:gd name="T12" fmla="*/ 85 w 95"/>
                  <a:gd name="T13" fmla="*/ 28 h 36"/>
                  <a:gd name="T14" fmla="*/ 90 w 95"/>
                  <a:gd name="T15" fmla="*/ 28 h 36"/>
                  <a:gd name="T16" fmla="*/ 92 w 95"/>
                  <a:gd name="T17" fmla="*/ 30 h 36"/>
                  <a:gd name="T18" fmla="*/ 94 w 95"/>
                  <a:gd name="T19" fmla="*/ 28 h 36"/>
                  <a:gd name="T20" fmla="*/ 92 w 95"/>
                  <a:gd name="T21" fmla="*/ 24 h 36"/>
                  <a:gd name="T22" fmla="*/ 92 w 95"/>
                  <a:gd name="T23" fmla="*/ 22 h 36"/>
                  <a:gd name="T24" fmla="*/ 91 w 95"/>
                  <a:gd name="T25" fmla="*/ 17 h 36"/>
                  <a:gd name="T26" fmla="*/ 93 w 95"/>
                  <a:gd name="T27" fmla="*/ 14 h 36"/>
                  <a:gd name="T28" fmla="*/ 89 w 95"/>
                  <a:gd name="T29" fmla="*/ 8 h 36"/>
                  <a:gd name="T30" fmla="*/ 83 w 95"/>
                  <a:gd name="T31" fmla="*/ 3 h 36"/>
                  <a:gd name="T32" fmla="*/ 80 w 95"/>
                  <a:gd name="T33" fmla="*/ 3 h 36"/>
                  <a:gd name="T34" fmla="*/ 78 w 95"/>
                  <a:gd name="T35" fmla="*/ 3 h 36"/>
                  <a:gd name="T36" fmla="*/ 73 w 95"/>
                  <a:gd name="T37" fmla="*/ 6 h 36"/>
                  <a:gd name="T38" fmla="*/ 63 w 95"/>
                  <a:gd name="T39" fmla="*/ 6 h 36"/>
                  <a:gd name="T40" fmla="*/ 58 w 95"/>
                  <a:gd name="T41" fmla="*/ 6 h 36"/>
                  <a:gd name="T42" fmla="*/ 54 w 95"/>
                  <a:gd name="T43" fmla="*/ 4 h 36"/>
                  <a:gd name="T44" fmla="*/ 50 w 95"/>
                  <a:gd name="T45" fmla="*/ 2 h 36"/>
                  <a:gd name="T46" fmla="*/ 46 w 95"/>
                  <a:gd name="T47" fmla="*/ 0 h 36"/>
                  <a:gd name="T48" fmla="*/ 37 w 95"/>
                  <a:gd name="T49" fmla="*/ 0 h 36"/>
                  <a:gd name="T50" fmla="*/ 29 w 95"/>
                  <a:gd name="T51" fmla="*/ 4 h 36"/>
                  <a:gd name="T52" fmla="*/ 18 w 95"/>
                  <a:gd name="T53" fmla="*/ 5 h 36"/>
                  <a:gd name="T54" fmla="*/ 16 w 95"/>
                  <a:gd name="T55" fmla="*/ 6 h 36"/>
                  <a:gd name="T56" fmla="*/ 18 w 95"/>
                  <a:gd name="T57" fmla="*/ 7 h 36"/>
                  <a:gd name="T58" fmla="*/ 15 w 95"/>
                  <a:gd name="T59" fmla="*/ 8 h 36"/>
                  <a:gd name="T60" fmla="*/ 13 w 95"/>
                  <a:gd name="T61" fmla="*/ 9 h 36"/>
                  <a:gd name="T62" fmla="*/ 4 w 95"/>
                  <a:gd name="T63" fmla="*/ 9 h 36"/>
                  <a:gd name="T64" fmla="*/ 3 w 95"/>
                  <a:gd name="T65" fmla="*/ 11 h 36"/>
                  <a:gd name="T66" fmla="*/ 3 w 95"/>
                  <a:gd name="T67" fmla="*/ 15 h 36"/>
                  <a:gd name="T68" fmla="*/ 5 w 95"/>
                  <a:gd name="T69" fmla="*/ 14 h 36"/>
                  <a:gd name="T70" fmla="*/ 3 w 95"/>
                  <a:gd name="T71" fmla="*/ 17 h 36"/>
                  <a:gd name="T72" fmla="*/ 5 w 95"/>
                  <a:gd name="T73" fmla="*/ 17 h 36"/>
                  <a:gd name="T74" fmla="*/ 5 w 95"/>
                  <a:gd name="T75" fmla="*/ 19 h 36"/>
                  <a:gd name="T76" fmla="*/ 3 w 95"/>
                  <a:gd name="T77" fmla="*/ 20 h 36"/>
                  <a:gd name="T78" fmla="*/ 4 w 95"/>
                  <a:gd name="T79" fmla="*/ 22 h 36"/>
                  <a:gd name="T80" fmla="*/ 4 w 95"/>
                  <a:gd name="T81" fmla="*/ 25 h 36"/>
                  <a:gd name="T82" fmla="*/ 8 w 95"/>
                  <a:gd name="T83" fmla="*/ 27 h 36"/>
                  <a:gd name="T84" fmla="*/ 7 w 95"/>
                  <a:gd name="T85" fmla="*/ 30 h 36"/>
                  <a:gd name="T86" fmla="*/ 10 w 95"/>
                  <a:gd name="T87" fmla="*/ 30 h 36"/>
                  <a:gd name="T88" fmla="*/ 8 w 95"/>
                  <a:gd name="T89" fmla="*/ 31 h 36"/>
                  <a:gd name="T90" fmla="*/ 10 w 95"/>
                  <a:gd name="T91" fmla="*/ 31 h 36"/>
                  <a:gd name="T92" fmla="*/ 9 w 95"/>
                  <a:gd name="T93" fmla="*/ 34 h 36"/>
                  <a:gd name="T94" fmla="*/ 11 w 95"/>
                  <a:gd name="T95" fmla="*/ 35 h 36"/>
                  <a:gd name="T96" fmla="*/ 12 w 95"/>
                  <a:gd name="T97" fmla="*/ 31 h 36"/>
                  <a:gd name="T98" fmla="*/ 16 w 95"/>
                  <a:gd name="T99" fmla="*/ 32 h 36"/>
                  <a:gd name="T100" fmla="*/ 22 w 95"/>
                  <a:gd name="T101" fmla="*/ 33 h 36"/>
                  <a:gd name="T102" fmla="*/ 27 w 95"/>
                  <a:gd name="T103" fmla="*/ 31 h 36"/>
                  <a:gd name="T104" fmla="*/ 35 w 95"/>
                  <a:gd name="T105" fmla="*/ 35 h 36"/>
                  <a:gd name="T106" fmla="*/ 42 w 95"/>
                  <a:gd name="T107" fmla="*/ 32 h 36"/>
                  <a:gd name="T108" fmla="*/ 44 w 95"/>
                  <a:gd name="T109" fmla="*/ 30 h 36"/>
                  <a:gd name="T110" fmla="*/ 48 w 95"/>
                  <a:gd name="T111" fmla="*/ 31 h 36"/>
                  <a:gd name="T112" fmla="*/ 50 w 95"/>
                  <a:gd name="T113" fmla="*/ 33 h 36"/>
                  <a:gd name="T114" fmla="*/ 50 w 95"/>
                  <a:gd name="T115" fmla="*/ 35 h 36"/>
                  <a:gd name="T116" fmla="*/ 52 w 95"/>
                  <a:gd name="T117" fmla="*/ 36 h 36"/>
                  <a:gd name="T118" fmla="*/ 52 w 95"/>
                  <a:gd name="T11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5" h="36">
                    <a:moveTo>
                      <a:pt x="52" y="36"/>
                    </a:moveTo>
                    <a:cubicBezTo>
                      <a:pt x="53" y="35"/>
                      <a:pt x="54" y="33"/>
                      <a:pt x="54" y="33"/>
                    </a:cubicBezTo>
                    <a:cubicBezTo>
                      <a:pt x="53" y="31"/>
                      <a:pt x="54" y="30"/>
                      <a:pt x="55" y="31"/>
                    </a:cubicBezTo>
                    <a:cubicBezTo>
                      <a:pt x="57" y="32"/>
                      <a:pt x="58" y="31"/>
                      <a:pt x="60" y="31"/>
                    </a:cubicBezTo>
                    <a:cubicBezTo>
                      <a:pt x="62" y="30"/>
                      <a:pt x="62" y="30"/>
                      <a:pt x="64" y="31"/>
                    </a:cubicBezTo>
                    <a:cubicBezTo>
                      <a:pt x="68" y="31"/>
                      <a:pt x="71" y="29"/>
                      <a:pt x="75" y="29"/>
                    </a:cubicBezTo>
                    <a:cubicBezTo>
                      <a:pt x="78" y="29"/>
                      <a:pt x="82" y="29"/>
                      <a:pt x="85" y="28"/>
                    </a:cubicBezTo>
                    <a:cubicBezTo>
                      <a:pt x="87" y="27"/>
                      <a:pt x="87" y="29"/>
                      <a:pt x="90" y="28"/>
                    </a:cubicBezTo>
                    <a:cubicBezTo>
                      <a:pt x="92" y="27"/>
                      <a:pt x="91" y="29"/>
                      <a:pt x="92" y="30"/>
                    </a:cubicBezTo>
                    <a:cubicBezTo>
                      <a:pt x="93" y="31"/>
                      <a:pt x="95" y="29"/>
                      <a:pt x="94" y="28"/>
                    </a:cubicBezTo>
                    <a:cubicBezTo>
                      <a:pt x="93" y="27"/>
                      <a:pt x="95" y="25"/>
                      <a:pt x="92" y="24"/>
                    </a:cubicBezTo>
                    <a:cubicBezTo>
                      <a:pt x="91" y="23"/>
                      <a:pt x="93" y="23"/>
                      <a:pt x="92" y="22"/>
                    </a:cubicBezTo>
                    <a:cubicBezTo>
                      <a:pt x="92" y="20"/>
                      <a:pt x="91" y="19"/>
                      <a:pt x="91" y="17"/>
                    </a:cubicBezTo>
                    <a:cubicBezTo>
                      <a:pt x="91" y="16"/>
                      <a:pt x="93" y="14"/>
                      <a:pt x="93" y="14"/>
                    </a:cubicBezTo>
                    <a:cubicBezTo>
                      <a:pt x="92" y="12"/>
                      <a:pt x="90" y="11"/>
                      <a:pt x="89" y="8"/>
                    </a:cubicBezTo>
                    <a:cubicBezTo>
                      <a:pt x="87" y="5"/>
                      <a:pt x="87" y="4"/>
                      <a:pt x="83" y="3"/>
                    </a:cubicBezTo>
                    <a:cubicBezTo>
                      <a:pt x="82" y="3"/>
                      <a:pt x="81" y="3"/>
                      <a:pt x="80" y="3"/>
                    </a:cubicBezTo>
                    <a:cubicBezTo>
                      <a:pt x="78" y="2"/>
                      <a:pt x="79" y="3"/>
                      <a:pt x="78" y="3"/>
                    </a:cubicBezTo>
                    <a:cubicBezTo>
                      <a:pt x="76" y="5"/>
                      <a:pt x="74" y="5"/>
                      <a:pt x="73" y="6"/>
                    </a:cubicBezTo>
                    <a:cubicBezTo>
                      <a:pt x="70" y="7"/>
                      <a:pt x="66" y="6"/>
                      <a:pt x="63" y="6"/>
                    </a:cubicBezTo>
                    <a:cubicBezTo>
                      <a:pt x="61" y="6"/>
                      <a:pt x="59" y="6"/>
                      <a:pt x="58" y="6"/>
                    </a:cubicBezTo>
                    <a:cubicBezTo>
                      <a:pt x="56" y="5"/>
                      <a:pt x="56" y="4"/>
                      <a:pt x="54" y="4"/>
                    </a:cubicBezTo>
                    <a:cubicBezTo>
                      <a:pt x="52" y="4"/>
                      <a:pt x="51" y="3"/>
                      <a:pt x="50" y="2"/>
                    </a:cubicBezTo>
                    <a:cubicBezTo>
                      <a:pt x="49" y="2"/>
                      <a:pt x="45" y="0"/>
                      <a:pt x="46" y="0"/>
                    </a:cubicBezTo>
                    <a:cubicBezTo>
                      <a:pt x="44" y="1"/>
                      <a:pt x="39" y="0"/>
                      <a:pt x="37" y="0"/>
                    </a:cubicBezTo>
                    <a:cubicBezTo>
                      <a:pt x="34" y="0"/>
                      <a:pt x="31" y="3"/>
                      <a:pt x="29" y="4"/>
                    </a:cubicBezTo>
                    <a:cubicBezTo>
                      <a:pt x="26" y="6"/>
                      <a:pt x="21" y="4"/>
                      <a:pt x="18" y="5"/>
                    </a:cubicBezTo>
                    <a:cubicBezTo>
                      <a:pt x="17" y="5"/>
                      <a:pt x="16" y="5"/>
                      <a:pt x="16" y="6"/>
                    </a:cubicBezTo>
                    <a:cubicBezTo>
                      <a:pt x="16" y="6"/>
                      <a:pt x="18" y="6"/>
                      <a:pt x="18" y="7"/>
                    </a:cubicBezTo>
                    <a:cubicBezTo>
                      <a:pt x="18" y="7"/>
                      <a:pt x="15" y="7"/>
                      <a:pt x="15" y="8"/>
                    </a:cubicBezTo>
                    <a:cubicBezTo>
                      <a:pt x="15" y="9"/>
                      <a:pt x="15" y="9"/>
                      <a:pt x="13" y="9"/>
                    </a:cubicBezTo>
                    <a:cubicBezTo>
                      <a:pt x="10" y="9"/>
                      <a:pt x="7" y="9"/>
                      <a:pt x="4" y="9"/>
                    </a:cubicBezTo>
                    <a:cubicBezTo>
                      <a:pt x="2" y="9"/>
                      <a:pt x="3" y="10"/>
                      <a:pt x="3" y="11"/>
                    </a:cubicBezTo>
                    <a:cubicBezTo>
                      <a:pt x="2" y="13"/>
                      <a:pt x="0" y="14"/>
                      <a:pt x="3" y="15"/>
                    </a:cubicBezTo>
                    <a:cubicBezTo>
                      <a:pt x="3" y="15"/>
                      <a:pt x="5" y="14"/>
                      <a:pt x="5" y="14"/>
                    </a:cubicBezTo>
                    <a:cubicBezTo>
                      <a:pt x="5" y="15"/>
                      <a:pt x="3" y="17"/>
                      <a:pt x="3" y="17"/>
                    </a:cubicBezTo>
                    <a:cubicBezTo>
                      <a:pt x="4" y="18"/>
                      <a:pt x="4" y="17"/>
                      <a:pt x="5" y="17"/>
                    </a:cubicBezTo>
                    <a:cubicBezTo>
                      <a:pt x="5" y="17"/>
                      <a:pt x="5" y="19"/>
                      <a:pt x="5" y="19"/>
                    </a:cubicBezTo>
                    <a:cubicBezTo>
                      <a:pt x="7" y="22"/>
                      <a:pt x="4" y="20"/>
                      <a:pt x="3" y="20"/>
                    </a:cubicBezTo>
                    <a:cubicBezTo>
                      <a:pt x="3" y="20"/>
                      <a:pt x="2" y="23"/>
                      <a:pt x="4" y="22"/>
                    </a:cubicBezTo>
                    <a:cubicBezTo>
                      <a:pt x="6" y="22"/>
                      <a:pt x="4" y="24"/>
                      <a:pt x="4" y="25"/>
                    </a:cubicBezTo>
                    <a:cubicBezTo>
                      <a:pt x="4" y="26"/>
                      <a:pt x="7" y="26"/>
                      <a:pt x="8" y="27"/>
                    </a:cubicBezTo>
                    <a:cubicBezTo>
                      <a:pt x="9" y="28"/>
                      <a:pt x="7" y="30"/>
                      <a:pt x="7" y="30"/>
                    </a:cubicBezTo>
                    <a:cubicBezTo>
                      <a:pt x="8" y="30"/>
                      <a:pt x="9" y="28"/>
                      <a:pt x="10" y="30"/>
                    </a:cubicBezTo>
                    <a:cubicBezTo>
                      <a:pt x="10" y="31"/>
                      <a:pt x="8" y="31"/>
                      <a:pt x="8" y="31"/>
                    </a:cubicBezTo>
                    <a:cubicBezTo>
                      <a:pt x="8" y="31"/>
                      <a:pt x="10" y="31"/>
                      <a:pt x="10" y="31"/>
                    </a:cubicBezTo>
                    <a:cubicBezTo>
                      <a:pt x="11" y="32"/>
                      <a:pt x="10" y="33"/>
                      <a:pt x="9" y="34"/>
                    </a:cubicBezTo>
                    <a:cubicBezTo>
                      <a:pt x="9" y="35"/>
                      <a:pt x="11" y="36"/>
                      <a:pt x="11" y="35"/>
                    </a:cubicBezTo>
                    <a:cubicBezTo>
                      <a:pt x="12" y="34"/>
                      <a:pt x="11" y="32"/>
                      <a:pt x="12" y="31"/>
                    </a:cubicBezTo>
                    <a:cubicBezTo>
                      <a:pt x="13" y="30"/>
                      <a:pt x="15" y="32"/>
                      <a:pt x="16" y="32"/>
                    </a:cubicBezTo>
                    <a:cubicBezTo>
                      <a:pt x="18" y="33"/>
                      <a:pt x="20" y="35"/>
                      <a:pt x="22" y="33"/>
                    </a:cubicBezTo>
                    <a:cubicBezTo>
                      <a:pt x="25" y="32"/>
                      <a:pt x="23" y="29"/>
                      <a:pt x="27" y="31"/>
                    </a:cubicBezTo>
                    <a:cubicBezTo>
                      <a:pt x="29" y="33"/>
                      <a:pt x="32" y="35"/>
                      <a:pt x="35" y="35"/>
                    </a:cubicBezTo>
                    <a:cubicBezTo>
                      <a:pt x="37" y="34"/>
                      <a:pt x="40" y="33"/>
                      <a:pt x="42" y="32"/>
                    </a:cubicBezTo>
                    <a:cubicBezTo>
                      <a:pt x="43" y="31"/>
                      <a:pt x="43" y="30"/>
                      <a:pt x="44" y="30"/>
                    </a:cubicBezTo>
                    <a:cubicBezTo>
                      <a:pt x="46" y="31"/>
                      <a:pt x="47" y="32"/>
                      <a:pt x="48" y="31"/>
                    </a:cubicBezTo>
                    <a:cubicBezTo>
                      <a:pt x="51" y="30"/>
                      <a:pt x="51" y="31"/>
                      <a:pt x="50" y="33"/>
                    </a:cubicBezTo>
                    <a:cubicBezTo>
                      <a:pt x="50" y="34"/>
                      <a:pt x="52" y="34"/>
                      <a:pt x="50" y="35"/>
                    </a:cubicBezTo>
                    <a:cubicBezTo>
                      <a:pt x="51" y="36"/>
                      <a:pt x="51" y="36"/>
                      <a:pt x="52" y="36"/>
                    </a:cubicBezTo>
                    <a:cubicBezTo>
                      <a:pt x="53" y="35"/>
                      <a:pt x="51" y="36"/>
                      <a:pt x="52" y="36"/>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7" name="Freeform 684">
                <a:extLst>
                  <a:ext uri="{FF2B5EF4-FFF2-40B4-BE49-F238E27FC236}">
                    <a16:creationId xmlns:a16="http://schemas.microsoft.com/office/drawing/2014/main" id="{9F203005-65D7-104E-8494-99AC08BEAC72}"/>
                  </a:ext>
                </a:extLst>
              </p:cNvPr>
              <p:cNvSpPr>
                <a:spLocks/>
              </p:cNvSpPr>
              <p:nvPr/>
            </p:nvSpPr>
            <p:spPr bwMode="auto">
              <a:xfrm>
                <a:off x="13273442" y="7481712"/>
                <a:ext cx="980892" cy="786831"/>
              </a:xfrm>
              <a:custGeom>
                <a:avLst/>
                <a:gdLst>
                  <a:gd name="T0" fmla="*/ 65 w 105"/>
                  <a:gd name="T1" fmla="*/ 20 h 84"/>
                  <a:gd name="T2" fmla="*/ 61 w 105"/>
                  <a:gd name="T3" fmla="*/ 17 h 84"/>
                  <a:gd name="T4" fmla="*/ 52 w 105"/>
                  <a:gd name="T5" fmla="*/ 17 h 84"/>
                  <a:gd name="T6" fmla="*/ 48 w 105"/>
                  <a:gd name="T7" fmla="*/ 15 h 84"/>
                  <a:gd name="T8" fmla="*/ 40 w 105"/>
                  <a:gd name="T9" fmla="*/ 8 h 84"/>
                  <a:gd name="T10" fmla="*/ 27 w 105"/>
                  <a:gd name="T11" fmla="*/ 1 h 84"/>
                  <a:gd name="T12" fmla="*/ 21 w 105"/>
                  <a:gd name="T13" fmla="*/ 1 h 84"/>
                  <a:gd name="T14" fmla="*/ 13 w 105"/>
                  <a:gd name="T15" fmla="*/ 3 h 84"/>
                  <a:gd name="T16" fmla="*/ 17 w 105"/>
                  <a:gd name="T17" fmla="*/ 9 h 84"/>
                  <a:gd name="T18" fmla="*/ 13 w 105"/>
                  <a:gd name="T19" fmla="*/ 12 h 84"/>
                  <a:gd name="T20" fmla="*/ 10 w 105"/>
                  <a:gd name="T21" fmla="*/ 12 h 84"/>
                  <a:gd name="T22" fmla="*/ 9 w 105"/>
                  <a:gd name="T23" fmla="*/ 14 h 84"/>
                  <a:gd name="T24" fmla="*/ 2 w 105"/>
                  <a:gd name="T25" fmla="*/ 14 h 84"/>
                  <a:gd name="T26" fmla="*/ 1 w 105"/>
                  <a:gd name="T27" fmla="*/ 19 h 84"/>
                  <a:gd name="T28" fmla="*/ 3 w 105"/>
                  <a:gd name="T29" fmla="*/ 22 h 84"/>
                  <a:gd name="T30" fmla="*/ 8 w 105"/>
                  <a:gd name="T31" fmla="*/ 31 h 84"/>
                  <a:gd name="T32" fmla="*/ 12 w 105"/>
                  <a:gd name="T33" fmla="*/ 38 h 84"/>
                  <a:gd name="T34" fmla="*/ 15 w 105"/>
                  <a:gd name="T35" fmla="*/ 42 h 84"/>
                  <a:gd name="T36" fmla="*/ 20 w 105"/>
                  <a:gd name="T37" fmla="*/ 46 h 84"/>
                  <a:gd name="T38" fmla="*/ 22 w 105"/>
                  <a:gd name="T39" fmla="*/ 53 h 84"/>
                  <a:gd name="T40" fmla="*/ 23 w 105"/>
                  <a:gd name="T41" fmla="*/ 59 h 84"/>
                  <a:gd name="T42" fmla="*/ 31 w 105"/>
                  <a:gd name="T43" fmla="*/ 67 h 84"/>
                  <a:gd name="T44" fmla="*/ 36 w 105"/>
                  <a:gd name="T45" fmla="*/ 76 h 84"/>
                  <a:gd name="T46" fmla="*/ 40 w 105"/>
                  <a:gd name="T47" fmla="*/ 81 h 84"/>
                  <a:gd name="T48" fmla="*/ 41 w 105"/>
                  <a:gd name="T49" fmla="*/ 84 h 84"/>
                  <a:gd name="T50" fmla="*/ 43 w 105"/>
                  <a:gd name="T51" fmla="*/ 81 h 84"/>
                  <a:gd name="T52" fmla="*/ 50 w 105"/>
                  <a:gd name="T53" fmla="*/ 79 h 84"/>
                  <a:gd name="T54" fmla="*/ 60 w 105"/>
                  <a:gd name="T55" fmla="*/ 80 h 84"/>
                  <a:gd name="T56" fmla="*/ 66 w 105"/>
                  <a:gd name="T57" fmla="*/ 77 h 84"/>
                  <a:gd name="T58" fmla="*/ 76 w 105"/>
                  <a:gd name="T59" fmla="*/ 72 h 84"/>
                  <a:gd name="T60" fmla="*/ 94 w 105"/>
                  <a:gd name="T61" fmla="*/ 68 h 84"/>
                  <a:gd name="T62" fmla="*/ 102 w 105"/>
                  <a:gd name="T63" fmla="*/ 66 h 84"/>
                  <a:gd name="T64" fmla="*/ 104 w 105"/>
                  <a:gd name="T65" fmla="*/ 61 h 84"/>
                  <a:gd name="T66" fmla="*/ 105 w 105"/>
                  <a:gd name="T67" fmla="*/ 56 h 84"/>
                  <a:gd name="T68" fmla="*/ 103 w 105"/>
                  <a:gd name="T69" fmla="*/ 51 h 84"/>
                  <a:gd name="T70" fmla="*/ 93 w 105"/>
                  <a:gd name="T71" fmla="*/ 50 h 84"/>
                  <a:gd name="T72" fmla="*/ 88 w 105"/>
                  <a:gd name="T73" fmla="*/ 47 h 84"/>
                  <a:gd name="T74" fmla="*/ 81 w 105"/>
                  <a:gd name="T75" fmla="*/ 39 h 84"/>
                  <a:gd name="T76" fmla="*/ 77 w 105"/>
                  <a:gd name="T77" fmla="*/ 34 h 84"/>
                  <a:gd name="T78" fmla="*/ 77 w 105"/>
                  <a:gd name="T79" fmla="*/ 29 h 84"/>
                  <a:gd name="T80" fmla="*/ 74 w 105"/>
                  <a:gd name="T81" fmla="*/ 27 h 84"/>
                  <a:gd name="T82" fmla="*/ 70 w 105"/>
                  <a:gd name="T83" fmla="*/ 22 h 84"/>
                  <a:gd name="T84" fmla="*/ 65 w 105"/>
                  <a:gd name="T85" fmla="*/ 2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84">
                    <a:moveTo>
                      <a:pt x="65" y="20"/>
                    </a:moveTo>
                    <a:cubicBezTo>
                      <a:pt x="64" y="17"/>
                      <a:pt x="64" y="17"/>
                      <a:pt x="61" y="17"/>
                    </a:cubicBezTo>
                    <a:cubicBezTo>
                      <a:pt x="58" y="17"/>
                      <a:pt x="55" y="17"/>
                      <a:pt x="52" y="17"/>
                    </a:cubicBezTo>
                    <a:cubicBezTo>
                      <a:pt x="50" y="17"/>
                      <a:pt x="49" y="15"/>
                      <a:pt x="48" y="15"/>
                    </a:cubicBezTo>
                    <a:cubicBezTo>
                      <a:pt x="45" y="12"/>
                      <a:pt x="42" y="10"/>
                      <a:pt x="40" y="8"/>
                    </a:cubicBezTo>
                    <a:cubicBezTo>
                      <a:pt x="36" y="5"/>
                      <a:pt x="32" y="2"/>
                      <a:pt x="27" y="1"/>
                    </a:cubicBezTo>
                    <a:cubicBezTo>
                      <a:pt x="25" y="0"/>
                      <a:pt x="24" y="0"/>
                      <a:pt x="21" y="1"/>
                    </a:cubicBezTo>
                    <a:cubicBezTo>
                      <a:pt x="19" y="1"/>
                      <a:pt x="16" y="2"/>
                      <a:pt x="13" y="3"/>
                    </a:cubicBezTo>
                    <a:cubicBezTo>
                      <a:pt x="14" y="5"/>
                      <a:pt x="17" y="7"/>
                      <a:pt x="17" y="9"/>
                    </a:cubicBezTo>
                    <a:cubicBezTo>
                      <a:pt x="17" y="11"/>
                      <a:pt x="14" y="12"/>
                      <a:pt x="13" y="12"/>
                    </a:cubicBezTo>
                    <a:cubicBezTo>
                      <a:pt x="12" y="13"/>
                      <a:pt x="11" y="12"/>
                      <a:pt x="10" y="12"/>
                    </a:cubicBezTo>
                    <a:cubicBezTo>
                      <a:pt x="9" y="13"/>
                      <a:pt x="9" y="14"/>
                      <a:pt x="9" y="14"/>
                    </a:cubicBezTo>
                    <a:cubicBezTo>
                      <a:pt x="7" y="17"/>
                      <a:pt x="3" y="15"/>
                      <a:pt x="2" y="14"/>
                    </a:cubicBezTo>
                    <a:cubicBezTo>
                      <a:pt x="1" y="16"/>
                      <a:pt x="1" y="17"/>
                      <a:pt x="1" y="19"/>
                    </a:cubicBezTo>
                    <a:cubicBezTo>
                      <a:pt x="0" y="22"/>
                      <a:pt x="1" y="21"/>
                      <a:pt x="3" y="22"/>
                    </a:cubicBezTo>
                    <a:cubicBezTo>
                      <a:pt x="5" y="24"/>
                      <a:pt x="7" y="28"/>
                      <a:pt x="8" y="31"/>
                    </a:cubicBezTo>
                    <a:cubicBezTo>
                      <a:pt x="10" y="33"/>
                      <a:pt x="11" y="35"/>
                      <a:pt x="12" y="38"/>
                    </a:cubicBezTo>
                    <a:cubicBezTo>
                      <a:pt x="13" y="40"/>
                      <a:pt x="14" y="41"/>
                      <a:pt x="15" y="42"/>
                    </a:cubicBezTo>
                    <a:cubicBezTo>
                      <a:pt x="17" y="44"/>
                      <a:pt x="19" y="44"/>
                      <a:pt x="20" y="46"/>
                    </a:cubicBezTo>
                    <a:cubicBezTo>
                      <a:pt x="21" y="48"/>
                      <a:pt x="22" y="50"/>
                      <a:pt x="22" y="53"/>
                    </a:cubicBezTo>
                    <a:cubicBezTo>
                      <a:pt x="23" y="55"/>
                      <a:pt x="22" y="57"/>
                      <a:pt x="23" y="59"/>
                    </a:cubicBezTo>
                    <a:cubicBezTo>
                      <a:pt x="25" y="63"/>
                      <a:pt x="29" y="64"/>
                      <a:pt x="31" y="67"/>
                    </a:cubicBezTo>
                    <a:cubicBezTo>
                      <a:pt x="33" y="70"/>
                      <a:pt x="34" y="74"/>
                      <a:pt x="36" y="76"/>
                    </a:cubicBezTo>
                    <a:cubicBezTo>
                      <a:pt x="37" y="78"/>
                      <a:pt x="39" y="80"/>
                      <a:pt x="40" y="81"/>
                    </a:cubicBezTo>
                    <a:cubicBezTo>
                      <a:pt x="40" y="82"/>
                      <a:pt x="40" y="84"/>
                      <a:pt x="41" y="84"/>
                    </a:cubicBezTo>
                    <a:cubicBezTo>
                      <a:pt x="43" y="84"/>
                      <a:pt x="42" y="82"/>
                      <a:pt x="43" y="81"/>
                    </a:cubicBezTo>
                    <a:cubicBezTo>
                      <a:pt x="43" y="78"/>
                      <a:pt x="48" y="79"/>
                      <a:pt x="50" y="79"/>
                    </a:cubicBezTo>
                    <a:cubicBezTo>
                      <a:pt x="53" y="79"/>
                      <a:pt x="58" y="78"/>
                      <a:pt x="60" y="80"/>
                    </a:cubicBezTo>
                    <a:cubicBezTo>
                      <a:pt x="63" y="81"/>
                      <a:pt x="64" y="79"/>
                      <a:pt x="66" y="77"/>
                    </a:cubicBezTo>
                    <a:cubicBezTo>
                      <a:pt x="69" y="73"/>
                      <a:pt x="72" y="73"/>
                      <a:pt x="76" y="72"/>
                    </a:cubicBezTo>
                    <a:cubicBezTo>
                      <a:pt x="82" y="72"/>
                      <a:pt x="88" y="70"/>
                      <a:pt x="94" y="68"/>
                    </a:cubicBezTo>
                    <a:cubicBezTo>
                      <a:pt x="96" y="67"/>
                      <a:pt x="99" y="66"/>
                      <a:pt x="102" y="66"/>
                    </a:cubicBezTo>
                    <a:cubicBezTo>
                      <a:pt x="103" y="65"/>
                      <a:pt x="103" y="63"/>
                      <a:pt x="104" y="61"/>
                    </a:cubicBezTo>
                    <a:cubicBezTo>
                      <a:pt x="104" y="60"/>
                      <a:pt x="105" y="58"/>
                      <a:pt x="105" y="56"/>
                    </a:cubicBezTo>
                    <a:cubicBezTo>
                      <a:pt x="105" y="55"/>
                      <a:pt x="104" y="52"/>
                      <a:pt x="103" y="51"/>
                    </a:cubicBezTo>
                    <a:cubicBezTo>
                      <a:pt x="100" y="51"/>
                      <a:pt x="96" y="51"/>
                      <a:pt x="93" y="50"/>
                    </a:cubicBezTo>
                    <a:cubicBezTo>
                      <a:pt x="90" y="50"/>
                      <a:pt x="90" y="49"/>
                      <a:pt x="88" y="47"/>
                    </a:cubicBezTo>
                    <a:cubicBezTo>
                      <a:pt x="86" y="43"/>
                      <a:pt x="83" y="42"/>
                      <a:pt x="81" y="39"/>
                    </a:cubicBezTo>
                    <a:cubicBezTo>
                      <a:pt x="80" y="39"/>
                      <a:pt x="78" y="35"/>
                      <a:pt x="77" y="34"/>
                    </a:cubicBezTo>
                    <a:cubicBezTo>
                      <a:pt x="76" y="32"/>
                      <a:pt x="81" y="31"/>
                      <a:pt x="77" y="29"/>
                    </a:cubicBezTo>
                    <a:cubicBezTo>
                      <a:pt x="76" y="29"/>
                      <a:pt x="75" y="27"/>
                      <a:pt x="74" y="27"/>
                    </a:cubicBezTo>
                    <a:cubicBezTo>
                      <a:pt x="72" y="27"/>
                      <a:pt x="71" y="24"/>
                      <a:pt x="70" y="22"/>
                    </a:cubicBezTo>
                    <a:cubicBezTo>
                      <a:pt x="69" y="19"/>
                      <a:pt x="69" y="20"/>
                      <a:pt x="65" y="2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8" name="Freeform 685">
                <a:extLst>
                  <a:ext uri="{FF2B5EF4-FFF2-40B4-BE49-F238E27FC236}">
                    <a16:creationId xmlns:a16="http://schemas.microsoft.com/office/drawing/2014/main" id="{45B15E5C-4099-914B-9925-7AB6E22A40A3}"/>
                  </a:ext>
                </a:extLst>
              </p:cNvPr>
              <p:cNvSpPr>
                <a:spLocks/>
              </p:cNvSpPr>
              <p:nvPr/>
            </p:nvSpPr>
            <p:spPr bwMode="auto">
              <a:xfrm>
                <a:off x="13292551" y="7424369"/>
                <a:ext cx="194268" cy="207060"/>
              </a:xfrm>
              <a:custGeom>
                <a:avLst/>
                <a:gdLst>
                  <a:gd name="T0" fmla="*/ 5 w 21"/>
                  <a:gd name="T1" fmla="*/ 22 h 22"/>
                  <a:gd name="T2" fmla="*/ 8 w 21"/>
                  <a:gd name="T3" fmla="*/ 19 h 22"/>
                  <a:gd name="T4" fmla="*/ 12 w 21"/>
                  <a:gd name="T5" fmla="*/ 18 h 22"/>
                  <a:gd name="T6" fmla="*/ 15 w 21"/>
                  <a:gd name="T7" fmla="*/ 15 h 22"/>
                  <a:gd name="T8" fmla="*/ 11 w 21"/>
                  <a:gd name="T9" fmla="*/ 9 h 22"/>
                  <a:gd name="T10" fmla="*/ 21 w 21"/>
                  <a:gd name="T11" fmla="*/ 6 h 22"/>
                  <a:gd name="T12" fmla="*/ 19 w 21"/>
                  <a:gd name="T13" fmla="*/ 0 h 22"/>
                  <a:gd name="T14" fmla="*/ 9 w 21"/>
                  <a:gd name="T15" fmla="*/ 5 h 22"/>
                  <a:gd name="T16" fmla="*/ 4 w 21"/>
                  <a:gd name="T17" fmla="*/ 1 h 22"/>
                  <a:gd name="T18" fmla="*/ 3 w 21"/>
                  <a:gd name="T19" fmla="*/ 11 h 22"/>
                  <a:gd name="T20" fmla="*/ 0 w 21"/>
                  <a:gd name="T21" fmla="*/ 18 h 22"/>
                  <a:gd name="T22" fmla="*/ 1 w 21"/>
                  <a:gd name="T23" fmla="*/ 21 h 22"/>
                  <a:gd name="T24" fmla="*/ 5 w 21"/>
                  <a:gd name="T2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2">
                    <a:moveTo>
                      <a:pt x="5" y="22"/>
                    </a:moveTo>
                    <a:cubicBezTo>
                      <a:pt x="7" y="22"/>
                      <a:pt x="7" y="19"/>
                      <a:pt x="8" y="19"/>
                    </a:cubicBezTo>
                    <a:cubicBezTo>
                      <a:pt x="9" y="17"/>
                      <a:pt x="11" y="18"/>
                      <a:pt x="12" y="18"/>
                    </a:cubicBezTo>
                    <a:cubicBezTo>
                      <a:pt x="13" y="17"/>
                      <a:pt x="16" y="16"/>
                      <a:pt x="15" y="15"/>
                    </a:cubicBezTo>
                    <a:cubicBezTo>
                      <a:pt x="14" y="13"/>
                      <a:pt x="13" y="11"/>
                      <a:pt x="11" y="9"/>
                    </a:cubicBezTo>
                    <a:cubicBezTo>
                      <a:pt x="15" y="8"/>
                      <a:pt x="18" y="7"/>
                      <a:pt x="21" y="6"/>
                    </a:cubicBezTo>
                    <a:cubicBezTo>
                      <a:pt x="21" y="4"/>
                      <a:pt x="20" y="2"/>
                      <a:pt x="19" y="0"/>
                    </a:cubicBezTo>
                    <a:cubicBezTo>
                      <a:pt x="16" y="1"/>
                      <a:pt x="12" y="5"/>
                      <a:pt x="9" y="5"/>
                    </a:cubicBezTo>
                    <a:cubicBezTo>
                      <a:pt x="7" y="5"/>
                      <a:pt x="4" y="3"/>
                      <a:pt x="4" y="1"/>
                    </a:cubicBezTo>
                    <a:cubicBezTo>
                      <a:pt x="3" y="5"/>
                      <a:pt x="3" y="8"/>
                      <a:pt x="3" y="11"/>
                    </a:cubicBezTo>
                    <a:cubicBezTo>
                      <a:pt x="2" y="13"/>
                      <a:pt x="0" y="16"/>
                      <a:pt x="0" y="18"/>
                    </a:cubicBezTo>
                    <a:cubicBezTo>
                      <a:pt x="0" y="20"/>
                      <a:pt x="0" y="20"/>
                      <a:pt x="1" y="21"/>
                    </a:cubicBezTo>
                    <a:cubicBezTo>
                      <a:pt x="3" y="21"/>
                      <a:pt x="4" y="22"/>
                      <a:pt x="5"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09" name="Freeform 686">
                <a:extLst>
                  <a:ext uri="{FF2B5EF4-FFF2-40B4-BE49-F238E27FC236}">
                    <a16:creationId xmlns:a16="http://schemas.microsoft.com/office/drawing/2014/main" id="{6FDA4D92-C37C-694F-B6AF-A4202D68A1EE}"/>
                  </a:ext>
                </a:extLst>
              </p:cNvPr>
              <p:cNvSpPr>
                <a:spLocks/>
              </p:cNvSpPr>
              <p:nvPr/>
            </p:nvSpPr>
            <p:spPr bwMode="auto">
              <a:xfrm>
                <a:off x="13302106" y="7351105"/>
                <a:ext cx="73250" cy="82827"/>
              </a:xfrm>
              <a:custGeom>
                <a:avLst/>
                <a:gdLst>
                  <a:gd name="T0" fmla="*/ 7 w 8"/>
                  <a:gd name="T1" fmla="*/ 2 h 9"/>
                  <a:gd name="T2" fmla="*/ 4 w 8"/>
                  <a:gd name="T3" fmla="*/ 0 h 9"/>
                  <a:gd name="T4" fmla="*/ 2 w 8"/>
                  <a:gd name="T5" fmla="*/ 2 h 9"/>
                  <a:gd name="T6" fmla="*/ 0 w 8"/>
                  <a:gd name="T7" fmla="*/ 8 h 9"/>
                  <a:gd name="T8" fmla="*/ 4 w 8"/>
                  <a:gd name="T9" fmla="*/ 8 h 9"/>
                  <a:gd name="T10" fmla="*/ 7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7" y="2"/>
                    </a:moveTo>
                    <a:cubicBezTo>
                      <a:pt x="7" y="1"/>
                      <a:pt x="5" y="0"/>
                      <a:pt x="4" y="0"/>
                    </a:cubicBezTo>
                    <a:cubicBezTo>
                      <a:pt x="3" y="1"/>
                      <a:pt x="3" y="1"/>
                      <a:pt x="2" y="2"/>
                    </a:cubicBezTo>
                    <a:cubicBezTo>
                      <a:pt x="2" y="4"/>
                      <a:pt x="1" y="6"/>
                      <a:pt x="0" y="8"/>
                    </a:cubicBezTo>
                    <a:cubicBezTo>
                      <a:pt x="2" y="8"/>
                      <a:pt x="2" y="9"/>
                      <a:pt x="4" y="8"/>
                    </a:cubicBezTo>
                    <a:cubicBezTo>
                      <a:pt x="5" y="7"/>
                      <a:pt x="8" y="4"/>
                      <a:pt x="7"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0" name="Freeform 687">
                <a:extLst>
                  <a:ext uri="{FF2B5EF4-FFF2-40B4-BE49-F238E27FC236}">
                    <a16:creationId xmlns:a16="http://schemas.microsoft.com/office/drawing/2014/main" id="{23F76769-1AF1-0C4C-A472-9F7FB535A4BC}"/>
                  </a:ext>
                </a:extLst>
              </p:cNvPr>
              <p:cNvSpPr>
                <a:spLocks/>
              </p:cNvSpPr>
              <p:nvPr/>
            </p:nvSpPr>
            <p:spPr bwMode="auto">
              <a:xfrm>
                <a:off x="13292551" y="7462599"/>
                <a:ext cx="28664" cy="66896"/>
              </a:xfrm>
              <a:custGeom>
                <a:avLst/>
                <a:gdLst>
                  <a:gd name="T0" fmla="*/ 0 w 3"/>
                  <a:gd name="T1" fmla="*/ 3 h 7"/>
                  <a:gd name="T2" fmla="*/ 3 w 3"/>
                  <a:gd name="T3" fmla="*/ 7 h 7"/>
                  <a:gd name="T4" fmla="*/ 3 w 3"/>
                  <a:gd name="T5" fmla="*/ 1 h 7"/>
                  <a:gd name="T6" fmla="*/ 2 w 3"/>
                  <a:gd name="T7" fmla="*/ 0 h 7"/>
                  <a:gd name="T8" fmla="*/ 0 w 3"/>
                  <a:gd name="T9" fmla="*/ 3 h 7"/>
                </a:gdLst>
                <a:ahLst/>
                <a:cxnLst>
                  <a:cxn ang="0">
                    <a:pos x="T0" y="T1"/>
                  </a:cxn>
                  <a:cxn ang="0">
                    <a:pos x="T2" y="T3"/>
                  </a:cxn>
                  <a:cxn ang="0">
                    <a:pos x="T4" y="T5"/>
                  </a:cxn>
                  <a:cxn ang="0">
                    <a:pos x="T6" y="T7"/>
                  </a:cxn>
                  <a:cxn ang="0">
                    <a:pos x="T8" y="T9"/>
                  </a:cxn>
                </a:cxnLst>
                <a:rect l="0" t="0" r="r" b="b"/>
                <a:pathLst>
                  <a:path w="3" h="7">
                    <a:moveTo>
                      <a:pt x="0" y="3"/>
                    </a:moveTo>
                    <a:cubicBezTo>
                      <a:pt x="0" y="5"/>
                      <a:pt x="1" y="6"/>
                      <a:pt x="3" y="7"/>
                    </a:cubicBezTo>
                    <a:cubicBezTo>
                      <a:pt x="3" y="5"/>
                      <a:pt x="3" y="3"/>
                      <a:pt x="3" y="1"/>
                    </a:cubicBezTo>
                    <a:cubicBezTo>
                      <a:pt x="3" y="0"/>
                      <a:pt x="3" y="0"/>
                      <a:pt x="2" y="0"/>
                    </a:cubicBezTo>
                    <a:cubicBezTo>
                      <a:pt x="0" y="0"/>
                      <a:pt x="0" y="2"/>
                      <a:pt x="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1" name="Freeform 688">
                <a:extLst>
                  <a:ext uri="{FF2B5EF4-FFF2-40B4-BE49-F238E27FC236}">
                    <a16:creationId xmlns:a16="http://schemas.microsoft.com/office/drawing/2014/main" id="{02476632-FB32-BC4D-8917-B7E85EB6A2C2}"/>
                  </a:ext>
                </a:extLst>
              </p:cNvPr>
              <p:cNvSpPr>
                <a:spLocks/>
              </p:cNvSpPr>
              <p:nvPr/>
            </p:nvSpPr>
            <p:spPr bwMode="auto">
              <a:xfrm>
                <a:off x="13254336" y="7424369"/>
                <a:ext cx="76432" cy="245289"/>
              </a:xfrm>
              <a:custGeom>
                <a:avLst/>
                <a:gdLst>
                  <a:gd name="T0" fmla="*/ 4 w 8"/>
                  <a:gd name="T1" fmla="*/ 17 h 26"/>
                  <a:gd name="T2" fmla="*/ 6 w 8"/>
                  <a:gd name="T3" fmla="*/ 13 h 26"/>
                  <a:gd name="T4" fmla="*/ 5 w 8"/>
                  <a:gd name="T5" fmla="*/ 10 h 26"/>
                  <a:gd name="T6" fmla="*/ 7 w 8"/>
                  <a:gd name="T7" fmla="*/ 4 h 26"/>
                  <a:gd name="T8" fmla="*/ 6 w 8"/>
                  <a:gd name="T9" fmla="*/ 0 h 26"/>
                  <a:gd name="T10" fmla="*/ 2 w 8"/>
                  <a:gd name="T11" fmla="*/ 7 h 26"/>
                  <a:gd name="T12" fmla="*/ 0 w 8"/>
                  <a:gd name="T13" fmla="*/ 11 h 26"/>
                  <a:gd name="T14" fmla="*/ 1 w 8"/>
                  <a:gd name="T15" fmla="*/ 16 h 26"/>
                  <a:gd name="T16" fmla="*/ 2 w 8"/>
                  <a:gd name="T17" fmla="*/ 26 h 26"/>
                  <a:gd name="T18" fmla="*/ 2 w 8"/>
                  <a:gd name="T19" fmla="*/ 25 h 26"/>
                  <a:gd name="T20" fmla="*/ 4 w 8"/>
                  <a:gd name="T21" fmla="*/ 17 h 26"/>
                  <a:gd name="T22" fmla="*/ 4 w 8"/>
                  <a:gd name="T23"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26">
                    <a:moveTo>
                      <a:pt x="4" y="17"/>
                    </a:moveTo>
                    <a:cubicBezTo>
                      <a:pt x="4" y="16"/>
                      <a:pt x="5" y="15"/>
                      <a:pt x="6" y="13"/>
                    </a:cubicBezTo>
                    <a:cubicBezTo>
                      <a:pt x="7" y="11"/>
                      <a:pt x="6" y="12"/>
                      <a:pt x="5" y="10"/>
                    </a:cubicBezTo>
                    <a:cubicBezTo>
                      <a:pt x="3" y="8"/>
                      <a:pt x="4" y="3"/>
                      <a:pt x="7" y="4"/>
                    </a:cubicBezTo>
                    <a:cubicBezTo>
                      <a:pt x="8" y="1"/>
                      <a:pt x="8" y="1"/>
                      <a:pt x="6" y="0"/>
                    </a:cubicBezTo>
                    <a:cubicBezTo>
                      <a:pt x="4" y="0"/>
                      <a:pt x="3" y="5"/>
                      <a:pt x="2" y="7"/>
                    </a:cubicBezTo>
                    <a:cubicBezTo>
                      <a:pt x="1" y="8"/>
                      <a:pt x="0" y="9"/>
                      <a:pt x="0" y="11"/>
                    </a:cubicBezTo>
                    <a:cubicBezTo>
                      <a:pt x="0" y="12"/>
                      <a:pt x="1" y="14"/>
                      <a:pt x="1" y="16"/>
                    </a:cubicBezTo>
                    <a:cubicBezTo>
                      <a:pt x="1" y="19"/>
                      <a:pt x="2" y="22"/>
                      <a:pt x="2" y="26"/>
                    </a:cubicBezTo>
                    <a:cubicBezTo>
                      <a:pt x="2" y="25"/>
                      <a:pt x="2" y="25"/>
                      <a:pt x="2" y="25"/>
                    </a:cubicBezTo>
                    <a:cubicBezTo>
                      <a:pt x="3" y="23"/>
                      <a:pt x="3" y="20"/>
                      <a:pt x="4" y="17"/>
                    </a:cubicBezTo>
                    <a:cubicBezTo>
                      <a:pt x="4" y="16"/>
                      <a:pt x="4" y="18"/>
                      <a:pt x="4"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2" name="Freeform 689">
                <a:extLst>
                  <a:ext uri="{FF2B5EF4-FFF2-40B4-BE49-F238E27FC236}">
                    <a16:creationId xmlns:a16="http://schemas.microsoft.com/office/drawing/2014/main" id="{AB4E541C-187E-1E42-B47B-EEC06BE18DF3}"/>
                  </a:ext>
                </a:extLst>
              </p:cNvPr>
              <p:cNvSpPr>
                <a:spLocks/>
              </p:cNvSpPr>
              <p:nvPr/>
            </p:nvSpPr>
            <p:spPr bwMode="auto">
              <a:xfrm>
                <a:off x="14028220" y="7790708"/>
                <a:ext cx="47770" cy="73269"/>
              </a:xfrm>
              <a:custGeom>
                <a:avLst/>
                <a:gdLst>
                  <a:gd name="T0" fmla="*/ 3 w 5"/>
                  <a:gd name="T1" fmla="*/ 8 h 8"/>
                  <a:gd name="T2" fmla="*/ 2 w 5"/>
                  <a:gd name="T3" fmla="*/ 0 h 8"/>
                  <a:gd name="T4" fmla="*/ 0 w 5"/>
                  <a:gd name="T5" fmla="*/ 4 h 8"/>
                  <a:gd name="T6" fmla="*/ 3 w 5"/>
                  <a:gd name="T7" fmla="*/ 8 h 8"/>
                  <a:gd name="T8" fmla="*/ 3 w 5"/>
                  <a:gd name="T9" fmla="*/ 8 h 8"/>
                </a:gdLst>
                <a:ahLst/>
                <a:cxnLst>
                  <a:cxn ang="0">
                    <a:pos x="T0" y="T1"/>
                  </a:cxn>
                  <a:cxn ang="0">
                    <a:pos x="T2" y="T3"/>
                  </a:cxn>
                  <a:cxn ang="0">
                    <a:pos x="T4" y="T5"/>
                  </a:cxn>
                  <a:cxn ang="0">
                    <a:pos x="T6" y="T7"/>
                  </a:cxn>
                  <a:cxn ang="0">
                    <a:pos x="T8" y="T9"/>
                  </a:cxn>
                </a:cxnLst>
                <a:rect l="0" t="0" r="r" b="b"/>
                <a:pathLst>
                  <a:path w="5" h="8">
                    <a:moveTo>
                      <a:pt x="3" y="8"/>
                    </a:moveTo>
                    <a:cubicBezTo>
                      <a:pt x="3" y="7"/>
                      <a:pt x="5" y="0"/>
                      <a:pt x="2" y="0"/>
                    </a:cubicBezTo>
                    <a:cubicBezTo>
                      <a:pt x="1" y="1"/>
                      <a:pt x="0" y="3"/>
                      <a:pt x="0" y="4"/>
                    </a:cubicBezTo>
                    <a:cubicBezTo>
                      <a:pt x="0" y="6"/>
                      <a:pt x="1" y="7"/>
                      <a:pt x="3" y="8"/>
                    </a:cubicBezTo>
                    <a:cubicBezTo>
                      <a:pt x="3" y="8"/>
                      <a:pt x="2" y="8"/>
                      <a:pt x="3"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3" name="Freeform 690">
                <a:extLst>
                  <a:ext uri="{FF2B5EF4-FFF2-40B4-BE49-F238E27FC236}">
                    <a16:creationId xmlns:a16="http://schemas.microsoft.com/office/drawing/2014/main" id="{A36909FF-48CB-8940-AFB0-F4CBC29E5758}"/>
                  </a:ext>
                </a:extLst>
              </p:cNvPr>
              <p:cNvSpPr>
                <a:spLocks/>
              </p:cNvSpPr>
              <p:nvPr/>
            </p:nvSpPr>
            <p:spPr bwMode="auto">
              <a:xfrm>
                <a:off x="13646057" y="8137935"/>
                <a:ext cx="496815" cy="315371"/>
              </a:xfrm>
              <a:custGeom>
                <a:avLst/>
                <a:gdLst>
                  <a:gd name="T0" fmla="*/ 47 w 53"/>
                  <a:gd name="T1" fmla="*/ 0 h 34"/>
                  <a:gd name="T2" fmla="*/ 38 w 53"/>
                  <a:gd name="T3" fmla="*/ 2 h 34"/>
                  <a:gd name="T4" fmla="*/ 28 w 53"/>
                  <a:gd name="T5" fmla="*/ 4 h 34"/>
                  <a:gd name="T6" fmla="*/ 23 w 53"/>
                  <a:gd name="T7" fmla="*/ 10 h 34"/>
                  <a:gd name="T8" fmla="*/ 17 w 53"/>
                  <a:gd name="T9" fmla="*/ 9 h 34"/>
                  <a:gd name="T10" fmla="*/ 9 w 53"/>
                  <a:gd name="T11" fmla="*/ 9 h 34"/>
                  <a:gd name="T12" fmla="*/ 3 w 53"/>
                  <a:gd name="T13" fmla="*/ 12 h 34"/>
                  <a:gd name="T14" fmla="*/ 1 w 53"/>
                  <a:gd name="T15" fmla="*/ 15 h 34"/>
                  <a:gd name="T16" fmla="*/ 1 w 53"/>
                  <a:gd name="T17" fmla="*/ 21 h 34"/>
                  <a:gd name="T18" fmla="*/ 3 w 53"/>
                  <a:gd name="T19" fmla="*/ 28 h 34"/>
                  <a:gd name="T20" fmla="*/ 4 w 53"/>
                  <a:gd name="T21" fmla="*/ 32 h 34"/>
                  <a:gd name="T22" fmla="*/ 12 w 53"/>
                  <a:gd name="T23" fmla="*/ 32 h 34"/>
                  <a:gd name="T24" fmla="*/ 16 w 53"/>
                  <a:gd name="T25" fmla="*/ 29 h 34"/>
                  <a:gd name="T26" fmla="*/ 21 w 53"/>
                  <a:gd name="T27" fmla="*/ 29 h 34"/>
                  <a:gd name="T28" fmla="*/ 24 w 53"/>
                  <a:gd name="T29" fmla="*/ 26 h 34"/>
                  <a:gd name="T30" fmla="*/ 32 w 53"/>
                  <a:gd name="T31" fmla="*/ 24 h 34"/>
                  <a:gd name="T32" fmla="*/ 41 w 53"/>
                  <a:gd name="T33" fmla="*/ 21 h 34"/>
                  <a:gd name="T34" fmla="*/ 47 w 53"/>
                  <a:gd name="T35" fmla="*/ 17 h 34"/>
                  <a:gd name="T36" fmla="*/ 52 w 53"/>
                  <a:gd name="T37" fmla="*/ 12 h 34"/>
                  <a:gd name="T38" fmla="*/ 47 w 53"/>
                  <a:gd name="T3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 h="34">
                    <a:moveTo>
                      <a:pt x="47" y="0"/>
                    </a:moveTo>
                    <a:cubicBezTo>
                      <a:pt x="44" y="1"/>
                      <a:pt x="41" y="2"/>
                      <a:pt x="38" y="2"/>
                    </a:cubicBezTo>
                    <a:cubicBezTo>
                      <a:pt x="35" y="3"/>
                      <a:pt x="31" y="2"/>
                      <a:pt x="28" y="4"/>
                    </a:cubicBezTo>
                    <a:cubicBezTo>
                      <a:pt x="26" y="6"/>
                      <a:pt x="25" y="8"/>
                      <a:pt x="23" y="10"/>
                    </a:cubicBezTo>
                    <a:cubicBezTo>
                      <a:pt x="22" y="11"/>
                      <a:pt x="19" y="9"/>
                      <a:pt x="17" y="9"/>
                    </a:cubicBezTo>
                    <a:cubicBezTo>
                      <a:pt x="14" y="9"/>
                      <a:pt x="12" y="9"/>
                      <a:pt x="9" y="9"/>
                    </a:cubicBezTo>
                    <a:cubicBezTo>
                      <a:pt x="6" y="9"/>
                      <a:pt x="3" y="8"/>
                      <a:pt x="3" y="12"/>
                    </a:cubicBezTo>
                    <a:cubicBezTo>
                      <a:pt x="2" y="14"/>
                      <a:pt x="1" y="13"/>
                      <a:pt x="1" y="15"/>
                    </a:cubicBezTo>
                    <a:cubicBezTo>
                      <a:pt x="0" y="17"/>
                      <a:pt x="0" y="19"/>
                      <a:pt x="1" y="21"/>
                    </a:cubicBezTo>
                    <a:cubicBezTo>
                      <a:pt x="1" y="23"/>
                      <a:pt x="2" y="26"/>
                      <a:pt x="3" y="28"/>
                    </a:cubicBezTo>
                    <a:cubicBezTo>
                      <a:pt x="3" y="29"/>
                      <a:pt x="3" y="31"/>
                      <a:pt x="4" y="32"/>
                    </a:cubicBezTo>
                    <a:cubicBezTo>
                      <a:pt x="5" y="34"/>
                      <a:pt x="10" y="33"/>
                      <a:pt x="12" y="32"/>
                    </a:cubicBezTo>
                    <a:cubicBezTo>
                      <a:pt x="13" y="31"/>
                      <a:pt x="14" y="30"/>
                      <a:pt x="16" y="29"/>
                    </a:cubicBezTo>
                    <a:cubicBezTo>
                      <a:pt x="17" y="29"/>
                      <a:pt x="19" y="29"/>
                      <a:pt x="21" y="29"/>
                    </a:cubicBezTo>
                    <a:cubicBezTo>
                      <a:pt x="22" y="28"/>
                      <a:pt x="23" y="27"/>
                      <a:pt x="24" y="26"/>
                    </a:cubicBezTo>
                    <a:cubicBezTo>
                      <a:pt x="27" y="25"/>
                      <a:pt x="29" y="25"/>
                      <a:pt x="32" y="24"/>
                    </a:cubicBezTo>
                    <a:cubicBezTo>
                      <a:pt x="35" y="23"/>
                      <a:pt x="38" y="22"/>
                      <a:pt x="41" y="21"/>
                    </a:cubicBezTo>
                    <a:cubicBezTo>
                      <a:pt x="43" y="20"/>
                      <a:pt x="47" y="19"/>
                      <a:pt x="47" y="17"/>
                    </a:cubicBezTo>
                    <a:cubicBezTo>
                      <a:pt x="48" y="14"/>
                      <a:pt x="53" y="14"/>
                      <a:pt x="52" y="12"/>
                    </a:cubicBezTo>
                    <a:cubicBezTo>
                      <a:pt x="50" y="8"/>
                      <a:pt x="49" y="4"/>
                      <a:pt x="47"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4" name="Freeform 691">
                <a:extLst>
                  <a:ext uri="{FF2B5EF4-FFF2-40B4-BE49-F238E27FC236}">
                    <a16:creationId xmlns:a16="http://schemas.microsoft.com/office/drawing/2014/main" id="{2ACB6E01-86E0-9C49-B67F-1705D6B437EB}"/>
                  </a:ext>
                </a:extLst>
              </p:cNvPr>
              <p:cNvSpPr>
                <a:spLocks/>
              </p:cNvSpPr>
              <p:nvPr/>
            </p:nvSpPr>
            <p:spPr bwMode="auto">
              <a:xfrm>
                <a:off x="14085545" y="7790708"/>
                <a:ext cx="382165" cy="458719"/>
              </a:xfrm>
              <a:custGeom>
                <a:avLst/>
                <a:gdLst>
                  <a:gd name="T0" fmla="*/ 39 w 41"/>
                  <a:gd name="T1" fmla="*/ 19 h 49"/>
                  <a:gd name="T2" fmla="*/ 34 w 41"/>
                  <a:gd name="T3" fmla="*/ 14 h 49"/>
                  <a:gd name="T4" fmla="*/ 28 w 41"/>
                  <a:gd name="T5" fmla="*/ 12 h 49"/>
                  <a:gd name="T6" fmla="*/ 22 w 41"/>
                  <a:gd name="T7" fmla="*/ 6 h 49"/>
                  <a:gd name="T8" fmla="*/ 21 w 41"/>
                  <a:gd name="T9" fmla="*/ 3 h 49"/>
                  <a:gd name="T10" fmla="*/ 22 w 41"/>
                  <a:gd name="T11" fmla="*/ 0 h 49"/>
                  <a:gd name="T12" fmla="*/ 17 w 41"/>
                  <a:gd name="T13" fmla="*/ 5 h 49"/>
                  <a:gd name="T14" fmla="*/ 10 w 41"/>
                  <a:gd name="T15" fmla="*/ 10 h 49"/>
                  <a:gd name="T16" fmla="*/ 5 w 41"/>
                  <a:gd name="T17" fmla="*/ 10 h 49"/>
                  <a:gd name="T18" fmla="*/ 0 w 41"/>
                  <a:gd name="T19" fmla="*/ 11 h 49"/>
                  <a:gd name="T20" fmla="*/ 5 w 41"/>
                  <a:gd name="T21" fmla="*/ 17 h 49"/>
                  <a:gd name="T22" fmla="*/ 16 w 41"/>
                  <a:gd name="T23" fmla="*/ 19 h 49"/>
                  <a:gd name="T24" fmla="*/ 16 w 41"/>
                  <a:gd name="T25" fmla="*/ 32 h 49"/>
                  <a:gd name="T26" fmla="*/ 11 w 41"/>
                  <a:gd name="T27" fmla="*/ 34 h 49"/>
                  <a:gd name="T28" fmla="*/ 0 w 41"/>
                  <a:gd name="T29" fmla="*/ 37 h 49"/>
                  <a:gd name="T30" fmla="*/ 5 w 41"/>
                  <a:gd name="T31" fmla="*/ 49 h 49"/>
                  <a:gd name="T32" fmla="*/ 14 w 41"/>
                  <a:gd name="T33" fmla="*/ 48 h 49"/>
                  <a:gd name="T34" fmla="*/ 17 w 41"/>
                  <a:gd name="T35" fmla="*/ 44 h 49"/>
                  <a:gd name="T36" fmla="*/ 23 w 41"/>
                  <a:gd name="T37" fmla="*/ 42 h 49"/>
                  <a:gd name="T38" fmla="*/ 28 w 41"/>
                  <a:gd name="T39" fmla="*/ 38 h 49"/>
                  <a:gd name="T40" fmla="*/ 29 w 41"/>
                  <a:gd name="T41" fmla="*/ 32 h 49"/>
                  <a:gd name="T42" fmla="*/ 32 w 41"/>
                  <a:gd name="T43" fmla="*/ 30 h 49"/>
                  <a:gd name="T44" fmla="*/ 37 w 41"/>
                  <a:gd name="T45" fmla="*/ 24 h 49"/>
                  <a:gd name="T46" fmla="*/ 39 w 41"/>
                  <a:gd name="T47" fmla="*/ 19 h 49"/>
                  <a:gd name="T48" fmla="*/ 39 w 41"/>
                  <a:gd name="T49" fmla="*/ 1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 h="49">
                    <a:moveTo>
                      <a:pt x="39" y="19"/>
                    </a:moveTo>
                    <a:cubicBezTo>
                      <a:pt x="36" y="19"/>
                      <a:pt x="35" y="16"/>
                      <a:pt x="34" y="14"/>
                    </a:cubicBezTo>
                    <a:cubicBezTo>
                      <a:pt x="33" y="13"/>
                      <a:pt x="29" y="13"/>
                      <a:pt x="28" y="12"/>
                    </a:cubicBezTo>
                    <a:cubicBezTo>
                      <a:pt x="25" y="11"/>
                      <a:pt x="24" y="9"/>
                      <a:pt x="22" y="6"/>
                    </a:cubicBezTo>
                    <a:cubicBezTo>
                      <a:pt x="22" y="5"/>
                      <a:pt x="21" y="4"/>
                      <a:pt x="21" y="3"/>
                    </a:cubicBezTo>
                    <a:cubicBezTo>
                      <a:pt x="21" y="3"/>
                      <a:pt x="22" y="0"/>
                      <a:pt x="22" y="0"/>
                    </a:cubicBezTo>
                    <a:cubicBezTo>
                      <a:pt x="21" y="0"/>
                      <a:pt x="18" y="4"/>
                      <a:pt x="17" y="5"/>
                    </a:cubicBezTo>
                    <a:cubicBezTo>
                      <a:pt x="15" y="7"/>
                      <a:pt x="13" y="10"/>
                      <a:pt x="10" y="10"/>
                    </a:cubicBezTo>
                    <a:cubicBezTo>
                      <a:pt x="8" y="11"/>
                      <a:pt x="7" y="10"/>
                      <a:pt x="5" y="10"/>
                    </a:cubicBezTo>
                    <a:cubicBezTo>
                      <a:pt x="3" y="11"/>
                      <a:pt x="1" y="13"/>
                      <a:pt x="0" y="11"/>
                    </a:cubicBezTo>
                    <a:cubicBezTo>
                      <a:pt x="1" y="14"/>
                      <a:pt x="2" y="17"/>
                      <a:pt x="5" y="17"/>
                    </a:cubicBezTo>
                    <a:cubicBezTo>
                      <a:pt x="7" y="17"/>
                      <a:pt x="15" y="17"/>
                      <a:pt x="16" y="19"/>
                    </a:cubicBezTo>
                    <a:cubicBezTo>
                      <a:pt x="19" y="23"/>
                      <a:pt x="17" y="27"/>
                      <a:pt x="16" y="32"/>
                    </a:cubicBezTo>
                    <a:cubicBezTo>
                      <a:pt x="15" y="33"/>
                      <a:pt x="11" y="34"/>
                      <a:pt x="11" y="34"/>
                    </a:cubicBezTo>
                    <a:cubicBezTo>
                      <a:pt x="7" y="35"/>
                      <a:pt x="3" y="36"/>
                      <a:pt x="0" y="37"/>
                    </a:cubicBezTo>
                    <a:cubicBezTo>
                      <a:pt x="2" y="41"/>
                      <a:pt x="4" y="45"/>
                      <a:pt x="5" y="49"/>
                    </a:cubicBezTo>
                    <a:cubicBezTo>
                      <a:pt x="8" y="48"/>
                      <a:pt x="11" y="48"/>
                      <a:pt x="14" y="48"/>
                    </a:cubicBezTo>
                    <a:cubicBezTo>
                      <a:pt x="18" y="47"/>
                      <a:pt x="15" y="46"/>
                      <a:pt x="17" y="44"/>
                    </a:cubicBezTo>
                    <a:cubicBezTo>
                      <a:pt x="19" y="43"/>
                      <a:pt x="22" y="44"/>
                      <a:pt x="23" y="42"/>
                    </a:cubicBezTo>
                    <a:cubicBezTo>
                      <a:pt x="25" y="40"/>
                      <a:pt x="25" y="39"/>
                      <a:pt x="28" y="38"/>
                    </a:cubicBezTo>
                    <a:cubicBezTo>
                      <a:pt x="30" y="37"/>
                      <a:pt x="29" y="34"/>
                      <a:pt x="29" y="32"/>
                    </a:cubicBezTo>
                    <a:cubicBezTo>
                      <a:pt x="28" y="30"/>
                      <a:pt x="30" y="30"/>
                      <a:pt x="32" y="30"/>
                    </a:cubicBezTo>
                    <a:cubicBezTo>
                      <a:pt x="35" y="29"/>
                      <a:pt x="35" y="26"/>
                      <a:pt x="37" y="24"/>
                    </a:cubicBezTo>
                    <a:cubicBezTo>
                      <a:pt x="38" y="23"/>
                      <a:pt x="41" y="20"/>
                      <a:pt x="39" y="19"/>
                    </a:cubicBezTo>
                    <a:cubicBezTo>
                      <a:pt x="38" y="19"/>
                      <a:pt x="40" y="20"/>
                      <a:pt x="39"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5" name="Freeform 692">
                <a:extLst>
                  <a:ext uri="{FF2B5EF4-FFF2-40B4-BE49-F238E27FC236}">
                    <a16:creationId xmlns:a16="http://schemas.microsoft.com/office/drawing/2014/main" id="{9A960093-E760-554D-B634-D4909AA57594}"/>
                  </a:ext>
                </a:extLst>
              </p:cNvPr>
              <p:cNvSpPr>
                <a:spLocks/>
              </p:cNvSpPr>
              <p:nvPr/>
            </p:nvSpPr>
            <p:spPr bwMode="auto">
              <a:xfrm>
                <a:off x="14897646" y="6892386"/>
                <a:ext cx="512741" cy="222990"/>
              </a:xfrm>
              <a:custGeom>
                <a:avLst/>
                <a:gdLst>
                  <a:gd name="T0" fmla="*/ 55 w 55"/>
                  <a:gd name="T1" fmla="*/ 5 h 24"/>
                  <a:gd name="T2" fmla="*/ 47 w 55"/>
                  <a:gd name="T3" fmla="*/ 3 h 24"/>
                  <a:gd name="T4" fmla="*/ 36 w 55"/>
                  <a:gd name="T5" fmla="*/ 2 h 24"/>
                  <a:gd name="T6" fmla="*/ 27 w 55"/>
                  <a:gd name="T7" fmla="*/ 0 h 24"/>
                  <a:gd name="T8" fmla="*/ 22 w 55"/>
                  <a:gd name="T9" fmla="*/ 2 h 24"/>
                  <a:gd name="T10" fmla="*/ 19 w 55"/>
                  <a:gd name="T11" fmla="*/ 4 h 24"/>
                  <a:gd name="T12" fmla="*/ 11 w 55"/>
                  <a:gd name="T13" fmla="*/ 5 h 24"/>
                  <a:gd name="T14" fmla="*/ 9 w 55"/>
                  <a:gd name="T15" fmla="*/ 7 h 24"/>
                  <a:gd name="T16" fmla="*/ 8 w 55"/>
                  <a:gd name="T17" fmla="*/ 11 h 24"/>
                  <a:gd name="T18" fmla="*/ 12 w 55"/>
                  <a:gd name="T19" fmla="*/ 12 h 24"/>
                  <a:gd name="T20" fmla="*/ 15 w 55"/>
                  <a:gd name="T21" fmla="*/ 12 h 24"/>
                  <a:gd name="T22" fmla="*/ 19 w 55"/>
                  <a:gd name="T23" fmla="*/ 15 h 24"/>
                  <a:gd name="T24" fmla="*/ 15 w 55"/>
                  <a:gd name="T25" fmla="*/ 17 h 24"/>
                  <a:gd name="T26" fmla="*/ 11 w 55"/>
                  <a:gd name="T27" fmla="*/ 17 h 24"/>
                  <a:gd name="T28" fmla="*/ 10 w 55"/>
                  <a:gd name="T29" fmla="*/ 20 h 24"/>
                  <a:gd name="T30" fmla="*/ 1 w 55"/>
                  <a:gd name="T31" fmla="*/ 20 h 24"/>
                  <a:gd name="T32" fmla="*/ 11 w 55"/>
                  <a:gd name="T33" fmla="*/ 22 h 24"/>
                  <a:gd name="T34" fmla="*/ 15 w 55"/>
                  <a:gd name="T35" fmla="*/ 23 h 24"/>
                  <a:gd name="T36" fmla="*/ 21 w 55"/>
                  <a:gd name="T37" fmla="*/ 23 h 24"/>
                  <a:gd name="T38" fmla="*/ 25 w 55"/>
                  <a:gd name="T39" fmla="*/ 20 h 24"/>
                  <a:gd name="T40" fmla="*/ 28 w 55"/>
                  <a:gd name="T41" fmla="*/ 17 h 24"/>
                  <a:gd name="T42" fmla="*/ 33 w 55"/>
                  <a:gd name="T43" fmla="*/ 16 h 24"/>
                  <a:gd name="T44" fmla="*/ 37 w 55"/>
                  <a:gd name="T45" fmla="*/ 16 h 24"/>
                  <a:gd name="T46" fmla="*/ 40 w 55"/>
                  <a:gd name="T47" fmla="*/ 13 h 24"/>
                  <a:gd name="T48" fmla="*/ 44 w 55"/>
                  <a:gd name="T49" fmla="*/ 12 h 24"/>
                  <a:gd name="T50" fmla="*/ 54 w 55"/>
                  <a:gd name="T51" fmla="*/ 7 h 24"/>
                  <a:gd name="T52" fmla="*/ 55 w 55"/>
                  <a:gd name="T53" fmla="*/ 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24">
                    <a:moveTo>
                      <a:pt x="55" y="5"/>
                    </a:moveTo>
                    <a:cubicBezTo>
                      <a:pt x="52" y="5"/>
                      <a:pt x="50" y="3"/>
                      <a:pt x="47" y="3"/>
                    </a:cubicBezTo>
                    <a:cubicBezTo>
                      <a:pt x="44" y="2"/>
                      <a:pt x="40" y="2"/>
                      <a:pt x="36" y="2"/>
                    </a:cubicBezTo>
                    <a:cubicBezTo>
                      <a:pt x="33" y="2"/>
                      <a:pt x="30" y="2"/>
                      <a:pt x="27" y="0"/>
                    </a:cubicBezTo>
                    <a:cubicBezTo>
                      <a:pt x="25" y="0"/>
                      <a:pt x="23" y="0"/>
                      <a:pt x="22" y="2"/>
                    </a:cubicBezTo>
                    <a:cubicBezTo>
                      <a:pt x="22" y="4"/>
                      <a:pt x="21" y="5"/>
                      <a:pt x="19" y="4"/>
                    </a:cubicBezTo>
                    <a:cubicBezTo>
                      <a:pt x="17" y="3"/>
                      <a:pt x="12" y="1"/>
                      <a:pt x="11" y="5"/>
                    </a:cubicBezTo>
                    <a:cubicBezTo>
                      <a:pt x="10" y="6"/>
                      <a:pt x="11" y="6"/>
                      <a:pt x="9" y="7"/>
                    </a:cubicBezTo>
                    <a:cubicBezTo>
                      <a:pt x="8" y="8"/>
                      <a:pt x="6" y="10"/>
                      <a:pt x="8" y="11"/>
                    </a:cubicBezTo>
                    <a:cubicBezTo>
                      <a:pt x="9" y="12"/>
                      <a:pt x="12" y="13"/>
                      <a:pt x="12" y="12"/>
                    </a:cubicBezTo>
                    <a:cubicBezTo>
                      <a:pt x="13" y="10"/>
                      <a:pt x="14" y="11"/>
                      <a:pt x="15" y="12"/>
                    </a:cubicBezTo>
                    <a:cubicBezTo>
                      <a:pt x="16" y="13"/>
                      <a:pt x="20" y="14"/>
                      <a:pt x="19" y="15"/>
                    </a:cubicBezTo>
                    <a:cubicBezTo>
                      <a:pt x="19" y="16"/>
                      <a:pt x="16" y="16"/>
                      <a:pt x="15" y="17"/>
                    </a:cubicBezTo>
                    <a:cubicBezTo>
                      <a:pt x="14" y="18"/>
                      <a:pt x="13" y="19"/>
                      <a:pt x="11" y="17"/>
                    </a:cubicBezTo>
                    <a:cubicBezTo>
                      <a:pt x="10" y="16"/>
                      <a:pt x="10" y="19"/>
                      <a:pt x="10" y="20"/>
                    </a:cubicBezTo>
                    <a:cubicBezTo>
                      <a:pt x="6" y="22"/>
                      <a:pt x="4" y="15"/>
                      <a:pt x="1" y="20"/>
                    </a:cubicBezTo>
                    <a:cubicBezTo>
                      <a:pt x="0" y="21"/>
                      <a:pt x="10" y="23"/>
                      <a:pt x="11" y="22"/>
                    </a:cubicBezTo>
                    <a:cubicBezTo>
                      <a:pt x="12" y="21"/>
                      <a:pt x="14" y="22"/>
                      <a:pt x="15" y="23"/>
                    </a:cubicBezTo>
                    <a:cubicBezTo>
                      <a:pt x="16" y="23"/>
                      <a:pt x="19" y="24"/>
                      <a:pt x="21" y="23"/>
                    </a:cubicBezTo>
                    <a:cubicBezTo>
                      <a:pt x="22" y="22"/>
                      <a:pt x="24" y="23"/>
                      <a:pt x="25" y="20"/>
                    </a:cubicBezTo>
                    <a:cubicBezTo>
                      <a:pt x="25" y="19"/>
                      <a:pt x="27" y="18"/>
                      <a:pt x="28" y="17"/>
                    </a:cubicBezTo>
                    <a:cubicBezTo>
                      <a:pt x="29" y="16"/>
                      <a:pt x="33" y="16"/>
                      <a:pt x="33" y="16"/>
                    </a:cubicBezTo>
                    <a:cubicBezTo>
                      <a:pt x="34" y="18"/>
                      <a:pt x="35" y="16"/>
                      <a:pt x="37" y="16"/>
                    </a:cubicBezTo>
                    <a:cubicBezTo>
                      <a:pt x="38" y="16"/>
                      <a:pt x="39" y="13"/>
                      <a:pt x="40" y="13"/>
                    </a:cubicBezTo>
                    <a:cubicBezTo>
                      <a:pt x="41" y="12"/>
                      <a:pt x="43" y="13"/>
                      <a:pt x="44" y="12"/>
                    </a:cubicBezTo>
                    <a:cubicBezTo>
                      <a:pt x="48" y="11"/>
                      <a:pt x="50" y="9"/>
                      <a:pt x="54" y="7"/>
                    </a:cubicBezTo>
                    <a:cubicBezTo>
                      <a:pt x="55" y="7"/>
                      <a:pt x="55" y="7"/>
                      <a:pt x="55"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6" name="Freeform 693">
                <a:extLst>
                  <a:ext uri="{FF2B5EF4-FFF2-40B4-BE49-F238E27FC236}">
                    <a16:creationId xmlns:a16="http://schemas.microsoft.com/office/drawing/2014/main" id="{9C5CB81E-BDE8-5E48-A870-5FDAADFC58E9}"/>
                  </a:ext>
                </a:extLst>
              </p:cNvPr>
              <p:cNvSpPr>
                <a:spLocks/>
              </p:cNvSpPr>
              <p:nvPr/>
            </p:nvSpPr>
            <p:spPr bwMode="auto">
              <a:xfrm>
                <a:off x="14273445" y="6752222"/>
                <a:ext cx="831212" cy="487388"/>
              </a:xfrm>
              <a:custGeom>
                <a:avLst/>
                <a:gdLst>
                  <a:gd name="T0" fmla="*/ 78 w 89"/>
                  <a:gd name="T1" fmla="*/ 32 h 52"/>
                  <a:gd name="T2" fmla="*/ 81 w 89"/>
                  <a:gd name="T3" fmla="*/ 33 h 52"/>
                  <a:gd name="T4" fmla="*/ 84 w 89"/>
                  <a:gd name="T5" fmla="*/ 31 h 52"/>
                  <a:gd name="T6" fmla="*/ 81 w 89"/>
                  <a:gd name="T7" fmla="*/ 26 h 52"/>
                  <a:gd name="T8" fmla="*/ 79 w 89"/>
                  <a:gd name="T9" fmla="*/ 27 h 52"/>
                  <a:gd name="T10" fmla="*/ 75 w 89"/>
                  <a:gd name="T11" fmla="*/ 27 h 52"/>
                  <a:gd name="T12" fmla="*/ 78 w 89"/>
                  <a:gd name="T13" fmla="*/ 21 h 52"/>
                  <a:gd name="T14" fmla="*/ 74 w 89"/>
                  <a:gd name="T15" fmla="*/ 22 h 52"/>
                  <a:gd name="T16" fmla="*/ 68 w 89"/>
                  <a:gd name="T17" fmla="*/ 25 h 52"/>
                  <a:gd name="T18" fmla="*/ 65 w 89"/>
                  <a:gd name="T19" fmla="*/ 29 h 52"/>
                  <a:gd name="T20" fmla="*/ 62 w 89"/>
                  <a:gd name="T21" fmla="*/ 28 h 52"/>
                  <a:gd name="T22" fmla="*/ 57 w 89"/>
                  <a:gd name="T23" fmla="*/ 27 h 52"/>
                  <a:gd name="T24" fmla="*/ 53 w 89"/>
                  <a:gd name="T25" fmla="*/ 23 h 52"/>
                  <a:gd name="T26" fmla="*/ 52 w 89"/>
                  <a:gd name="T27" fmla="*/ 17 h 52"/>
                  <a:gd name="T28" fmla="*/ 49 w 89"/>
                  <a:gd name="T29" fmla="*/ 13 h 52"/>
                  <a:gd name="T30" fmla="*/ 45 w 89"/>
                  <a:gd name="T31" fmla="*/ 12 h 52"/>
                  <a:gd name="T32" fmla="*/ 38 w 89"/>
                  <a:gd name="T33" fmla="*/ 12 h 52"/>
                  <a:gd name="T34" fmla="*/ 31 w 89"/>
                  <a:gd name="T35" fmla="*/ 12 h 52"/>
                  <a:gd name="T36" fmla="*/ 27 w 89"/>
                  <a:gd name="T37" fmla="*/ 8 h 52"/>
                  <a:gd name="T38" fmla="*/ 23 w 89"/>
                  <a:gd name="T39" fmla="*/ 8 h 52"/>
                  <a:gd name="T40" fmla="*/ 19 w 89"/>
                  <a:gd name="T41" fmla="*/ 10 h 52"/>
                  <a:gd name="T42" fmla="*/ 17 w 89"/>
                  <a:gd name="T43" fmla="*/ 6 h 52"/>
                  <a:gd name="T44" fmla="*/ 15 w 89"/>
                  <a:gd name="T45" fmla="*/ 1 h 52"/>
                  <a:gd name="T46" fmla="*/ 15 w 89"/>
                  <a:gd name="T47" fmla="*/ 5 h 52"/>
                  <a:gd name="T48" fmla="*/ 14 w 89"/>
                  <a:gd name="T49" fmla="*/ 8 h 52"/>
                  <a:gd name="T50" fmla="*/ 13 w 89"/>
                  <a:gd name="T51" fmla="*/ 3 h 52"/>
                  <a:gd name="T52" fmla="*/ 14 w 89"/>
                  <a:gd name="T53" fmla="*/ 0 h 52"/>
                  <a:gd name="T54" fmla="*/ 1 w 89"/>
                  <a:gd name="T55" fmla="*/ 4 h 52"/>
                  <a:gd name="T56" fmla="*/ 1 w 89"/>
                  <a:gd name="T57" fmla="*/ 15 h 52"/>
                  <a:gd name="T58" fmla="*/ 1 w 89"/>
                  <a:gd name="T59" fmla="*/ 23 h 52"/>
                  <a:gd name="T60" fmla="*/ 2 w 89"/>
                  <a:gd name="T61" fmla="*/ 26 h 52"/>
                  <a:gd name="T62" fmla="*/ 6 w 89"/>
                  <a:gd name="T63" fmla="*/ 26 h 52"/>
                  <a:gd name="T64" fmla="*/ 6 w 89"/>
                  <a:gd name="T65" fmla="*/ 23 h 52"/>
                  <a:gd name="T66" fmla="*/ 10 w 89"/>
                  <a:gd name="T67" fmla="*/ 20 h 52"/>
                  <a:gd name="T68" fmla="*/ 13 w 89"/>
                  <a:gd name="T69" fmla="*/ 18 h 52"/>
                  <a:gd name="T70" fmla="*/ 17 w 89"/>
                  <a:gd name="T71" fmla="*/ 19 h 52"/>
                  <a:gd name="T72" fmla="*/ 21 w 89"/>
                  <a:gd name="T73" fmla="*/ 20 h 52"/>
                  <a:gd name="T74" fmla="*/ 21 w 89"/>
                  <a:gd name="T75" fmla="*/ 24 h 52"/>
                  <a:gd name="T76" fmla="*/ 26 w 89"/>
                  <a:gd name="T77" fmla="*/ 27 h 52"/>
                  <a:gd name="T78" fmla="*/ 33 w 89"/>
                  <a:gd name="T79" fmla="*/ 34 h 52"/>
                  <a:gd name="T80" fmla="*/ 38 w 89"/>
                  <a:gd name="T81" fmla="*/ 37 h 52"/>
                  <a:gd name="T82" fmla="*/ 41 w 89"/>
                  <a:gd name="T83" fmla="*/ 39 h 52"/>
                  <a:gd name="T84" fmla="*/ 50 w 89"/>
                  <a:gd name="T85" fmla="*/ 45 h 52"/>
                  <a:gd name="T86" fmla="*/ 54 w 89"/>
                  <a:gd name="T87" fmla="*/ 49 h 52"/>
                  <a:gd name="T88" fmla="*/ 61 w 89"/>
                  <a:gd name="T89" fmla="*/ 52 h 52"/>
                  <a:gd name="T90" fmla="*/ 63 w 89"/>
                  <a:gd name="T91" fmla="*/ 47 h 52"/>
                  <a:gd name="T92" fmla="*/ 62 w 89"/>
                  <a:gd name="T93" fmla="*/ 42 h 52"/>
                  <a:gd name="T94" fmla="*/ 59 w 89"/>
                  <a:gd name="T95" fmla="*/ 38 h 52"/>
                  <a:gd name="T96" fmla="*/ 64 w 89"/>
                  <a:gd name="T97" fmla="*/ 36 h 52"/>
                  <a:gd name="T98" fmla="*/ 66 w 89"/>
                  <a:gd name="T99" fmla="*/ 33 h 52"/>
                  <a:gd name="T100" fmla="*/ 68 w 89"/>
                  <a:gd name="T101" fmla="*/ 30 h 52"/>
                  <a:gd name="T102" fmla="*/ 71 w 89"/>
                  <a:gd name="T103" fmla="*/ 30 h 52"/>
                  <a:gd name="T104" fmla="*/ 74 w 89"/>
                  <a:gd name="T105" fmla="*/ 29 h 52"/>
                  <a:gd name="T106" fmla="*/ 74 w 89"/>
                  <a:gd name="T107" fmla="*/ 34 h 52"/>
                  <a:gd name="T108" fmla="*/ 77 w 89"/>
                  <a:gd name="T109" fmla="*/ 34 h 52"/>
                  <a:gd name="T110" fmla="*/ 78 w 89"/>
                  <a:gd name="T111" fmla="*/ 32 h 52"/>
                  <a:gd name="T112" fmla="*/ 78 w 89"/>
                  <a:gd name="T113"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52">
                    <a:moveTo>
                      <a:pt x="78" y="32"/>
                    </a:moveTo>
                    <a:cubicBezTo>
                      <a:pt x="79" y="33"/>
                      <a:pt x="79" y="34"/>
                      <a:pt x="81" y="33"/>
                    </a:cubicBezTo>
                    <a:cubicBezTo>
                      <a:pt x="82" y="33"/>
                      <a:pt x="83" y="31"/>
                      <a:pt x="84" y="31"/>
                    </a:cubicBezTo>
                    <a:cubicBezTo>
                      <a:pt x="89" y="30"/>
                      <a:pt x="83" y="28"/>
                      <a:pt x="81" y="26"/>
                    </a:cubicBezTo>
                    <a:cubicBezTo>
                      <a:pt x="80" y="25"/>
                      <a:pt x="80" y="26"/>
                      <a:pt x="79" y="27"/>
                    </a:cubicBezTo>
                    <a:cubicBezTo>
                      <a:pt x="79" y="28"/>
                      <a:pt x="76" y="27"/>
                      <a:pt x="75" y="27"/>
                    </a:cubicBezTo>
                    <a:cubicBezTo>
                      <a:pt x="71" y="25"/>
                      <a:pt x="77" y="22"/>
                      <a:pt x="78" y="21"/>
                    </a:cubicBezTo>
                    <a:cubicBezTo>
                      <a:pt x="78" y="21"/>
                      <a:pt x="74" y="22"/>
                      <a:pt x="74" y="22"/>
                    </a:cubicBezTo>
                    <a:cubicBezTo>
                      <a:pt x="72" y="23"/>
                      <a:pt x="70" y="23"/>
                      <a:pt x="68" y="25"/>
                    </a:cubicBezTo>
                    <a:cubicBezTo>
                      <a:pt x="67" y="26"/>
                      <a:pt x="66" y="28"/>
                      <a:pt x="65" y="29"/>
                    </a:cubicBezTo>
                    <a:cubicBezTo>
                      <a:pt x="64" y="32"/>
                      <a:pt x="63" y="30"/>
                      <a:pt x="62" y="28"/>
                    </a:cubicBezTo>
                    <a:cubicBezTo>
                      <a:pt x="61" y="26"/>
                      <a:pt x="59" y="27"/>
                      <a:pt x="57" y="27"/>
                    </a:cubicBezTo>
                    <a:cubicBezTo>
                      <a:pt x="55" y="27"/>
                      <a:pt x="54" y="24"/>
                      <a:pt x="53" y="23"/>
                    </a:cubicBezTo>
                    <a:cubicBezTo>
                      <a:pt x="51" y="21"/>
                      <a:pt x="54" y="19"/>
                      <a:pt x="52" y="17"/>
                    </a:cubicBezTo>
                    <a:cubicBezTo>
                      <a:pt x="51" y="16"/>
                      <a:pt x="50" y="14"/>
                      <a:pt x="49" y="13"/>
                    </a:cubicBezTo>
                    <a:cubicBezTo>
                      <a:pt x="48" y="12"/>
                      <a:pt x="46" y="11"/>
                      <a:pt x="45" y="12"/>
                    </a:cubicBezTo>
                    <a:cubicBezTo>
                      <a:pt x="43" y="13"/>
                      <a:pt x="41" y="12"/>
                      <a:pt x="38" y="12"/>
                    </a:cubicBezTo>
                    <a:cubicBezTo>
                      <a:pt x="36" y="12"/>
                      <a:pt x="33" y="13"/>
                      <a:pt x="31" y="12"/>
                    </a:cubicBezTo>
                    <a:cubicBezTo>
                      <a:pt x="30" y="11"/>
                      <a:pt x="28" y="9"/>
                      <a:pt x="27" y="8"/>
                    </a:cubicBezTo>
                    <a:cubicBezTo>
                      <a:pt x="25" y="6"/>
                      <a:pt x="24" y="6"/>
                      <a:pt x="23" y="8"/>
                    </a:cubicBezTo>
                    <a:cubicBezTo>
                      <a:pt x="22" y="9"/>
                      <a:pt x="21" y="10"/>
                      <a:pt x="19" y="10"/>
                    </a:cubicBezTo>
                    <a:cubicBezTo>
                      <a:pt x="16" y="10"/>
                      <a:pt x="16" y="8"/>
                      <a:pt x="17" y="6"/>
                    </a:cubicBezTo>
                    <a:cubicBezTo>
                      <a:pt x="18" y="3"/>
                      <a:pt x="18" y="3"/>
                      <a:pt x="15" y="1"/>
                    </a:cubicBezTo>
                    <a:cubicBezTo>
                      <a:pt x="15" y="2"/>
                      <a:pt x="15" y="4"/>
                      <a:pt x="15" y="5"/>
                    </a:cubicBezTo>
                    <a:cubicBezTo>
                      <a:pt x="15" y="7"/>
                      <a:pt x="16" y="8"/>
                      <a:pt x="14" y="8"/>
                    </a:cubicBezTo>
                    <a:cubicBezTo>
                      <a:pt x="12" y="7"/>
                      <a:pt x="12" y="4"/>
                      <a:pt x="13" y="3"/>
                    </a:cubicBezTo>
                    <a:cubicBezTo>
                      <a:pt x="13" y="3"/>
                      <a:pt x="15" y="0"/>
                      <a:pt x="14" y="0"/>
                    </a:cubicBezTo>
                    <a:cubicBezTo>
                      <a:pt x="9" y="1"/>
                      <a:pt x="5" y="2"/>
                      <a:pt x="1" y="4"/>
                    </a:cubicBezTo>
                    <a:cubicBezTo>
                      <a:pt x="0" y="4"/>
                      <a:pt x="1" y="14"/>
                      <a:pt x="1" y="15"/>
                    </a:cubicBezTo>
                    <a:cubicBezTo>
                      <a:pt x="1" y="18"/>
                      <a:pt x="1" y="21"/>
                      <a:pt x="1" y="23"/>
                    </a:cubicBezTo>
                    <a:cubicBezTo>
                      <a:pt x="1" y="25"/>
                      <a:pt x="0" y="26"/>
                      <a:pt x="2" y="26"/>
                    </a:cubicBezTo>
                    <a:cubicBezTo>
                      <a:pt x="3" y="26"/>
                      <a:pt x="4" y="26"/>
                      <a:pt x="6" y="26"/>
                    </a:cubicBezTo>
                    <a:cubicBezTo>
                      <a:pt x="8" y="26"/>
                      <a:pt x="5" y="24"/>
                      <a:pt x="6" y="23"/>
                    </a:cubicBezTo>
                    <a:cubicBezTo>
                      <a:pt x="7" y="21"/>
                      <a:pt x="9" y="22"/>
                      <a:pt x="10" y="20"/>
                    </a:cubicBezTo>
                    <a:cubicBezTo>
                      <a:pt x="12" y="19"/>
                      <a:pt x="12" y="19"/>
                      <a:pt x="13" y="18"/>
                    </a:cubicBezTo>
                    <a:cubicBezTo>
                      <a:pt x="15" y="17"/>
                      <a:pt x="16" y="18"/>
                      <a:pt x="17" y="19"/>
                    </a:cubicBezTo>
                    <a:cubicBezTo>
                      <a:pt x="18" y="20"/>
                      <a:pt x="21" y="20"/>
                      <a:pt x="21" y="20"/>
                    </a:cubicBezTo>
                    <a:cubicBezTo>
                      <a:pt x="22" y="22"/>
                      <a:pt x="21" y="23"/>
                      <a:pt x="21" y="24"/>
                    </a:cubicBezTo>
                    <a:cubicBezTo>
                      <a:pt x="22" y="27"/>
                      <a:pt x="25" y="27"/>
                      <a:pt x="26" y="27"/>
                    </a:cubicBezTo>
                    <a:cubicBezTo>
                      <a:pt x="31" y="27"/>
                      <a:pt x="31" y="30"/>
                      <a:pt x="33" y="34"/>
                    </a:cubicBezTo>
                    <a:cubicBezTo>
                      <a:pt x="34" y="35"/>
                      <a:pt x="36" y="36"/>
                      <a:pt x="38" y="37"/>
                    </a:cubicBezTo>
                    <a:cubicBezTo>
                      <a:pt x="39" y="37"/>
                      <a:pt x="40" y="38"/>
                      <a:pt x="41" y="39"/>
                    </a:cubicBezTo>
                    <a:cubicBezTo>
                      <a:pt x="44" y="41"/>
                      <a:pt x="47" y="44"/>
                      <a:pt x="50" y="45"/>
                    </a:cubicBezTo>
                    <a:cubicBezTo>
                      <a:pt x="54" y="46"/>
                      <a:pt x="54" y="46"/>
                      <a:pt x="54" y="49"/>
                    </a:cubicBezTo>
                    <a:cubicBezTo>
                      <a:pt x="56" y="49"/>
                      <a:pt x="59" y="51"/>
                      <a:pt x="61" y="52"/>
                    </a:cubicBezTo>
                    <a:cubicBezTo>
                      <a:pt x="61" y="49"/>
                      <a:pt x="60" y="49"/>
                      <a:pt x="63" y="47"/>
                    </a:cubicBezTo>
                    <a:cubicBezTo>
                      <a:pt x="64" y="45"/>
                      <a:pt x="62" y="44"/>
                      <a:pt x="62" y="42"/>
                    </a:cubicBezTo>
                    <a:cubicBezTo>
                      <a:pt x="63" y="39"/>
                      <a:pt x="60" y="40"/>
                      <a:pt x="59" y="38"/>
                    </a:cubicBezTo>
                    <a:cubicBezTo>
                      <a:pt x="58" y="36"/>
                      <a:pt x="63" y="37"/>
                      <a:pt x="64" y="36"/>
                    </a:cubicBezTo>
                    <a:cubicBezTo>
                      <a:pt x="67" y="35"/>
                      <a:pt x="64" y="32"/>
                      <a:pt x="66" y="33"/>
                    </a:cubicBezTo>
                    <a:cubicBezTo>
                      <a:pt x="70" y="33"/>
                      <a:pt x="66" y="30"/>
                      <a:pt x="68" y="30"/>
                    </a:cubicBezTo>
                    <a:cubicBezTo>
                      <a:pt x="69" y="29"/>
                      <a:pt x="70" y="31"/>
                      <a:pt x="71" y="30"/>
                    </a:cubicBezTo>
                    <a:cubicBezTo>
                      <a:pt x="72" y="30"/>
                      <a:pt x="73" y="29"/>
                      <a:pt x="74" y="29"/>
                    </a:cubicBezTo>
                    <a:cubicBezTo>
                      <a:pt x="76" y="29"/>
                      <a:pt x="74" y="33"/>
                      <a:pt x="74" y="34"/>
                    </a:cubicBezTo>
                    <a:cubicBezTo>
                      <a:pt x="75" y="34"/>
                      <a:pt x="77" y="31"/>
                      <a:pt x="77" y="34"/>
                    </a:cubicBezTo>
                    <a:cubicBezTo>
                      <a:pt x="77" y="34"/>
                      <a:pt x="77" y="32"/>
                      <a:pt x="78" y="32"/>
                    </a:cubicBezTo>
                    <a:cubicBezTo>
                      <a:pt x="79" y="32"/>
                      <a:pt x="77" y="32"/>
                      <a:pt x="78" y="3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7" name="Freeform 694">
                <a:extLst>
                  <a:ext uri="{FF2B5EF4-FFF2-40B4-BE49-F238E27FC236}">
                    <a16:creationId xmlns:a16="http://schemas.microsoft.com/office/drawing/2014/main" id="{205BF4A7-7902-2A41-A886-838D7B58DD0B}"/>
                  </a:ext>
                </a:extLst>
              </p:cNvPr>
              <p:cNvSpPr>
                <a:spLocks/>
              </p:cNvSpPr>
              <p:nvPr/>
            </p:nvSpPr>
            <p:spPr bwMode="auto">
              <a:xfrm>
                <a:off x="14525037" y="7293764"/>
                <a:ext cx="0" cy="955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8" name="Freeform 695">
                <a:extLst>
                  <a:ext uri="{FF2B5EF4-FFF2-40B4-BE49-F238E27FC236}">
                    <a16:creationId xmlns:a16="http://schemas.microsoft.com/office/drawing/2014/main" id="{E0D38C17-41DB-904C-B77A-3233F0524C0F}"/>
                  </a:ext>
                </a:extLst>
              </p:cNvPr>
              <p:cNvSpPr>
                <a:spLocks/>
              </p:cNvSpPr>
              <p:nvPr/>
            </p:nvSpPr>
            <p:spPr bwMode="auto">
              <a:xfrm>
                <a:off x="14095099" y="6921055"/>
                <a:ext cx="681527" cy="401378"/>
              </a:xfrm>
              <a:custGeom>
                <a:avLst/>
                <a:gdLst>
                  <a:gd name="T0" fmla="*/ 73 w 73"/>
                  <a:gd name="T1" fmla="*/ 28 h 43"/>
                  <a:gd name="T2" fmla="*/ 69 w 73"/>
                  <a:gd name="T3" fmla="*/ 27 h 43"/>
                  <a:gd name="T4" fmla="*/ 65 w 73"/>
                  <a:gd name="T5" fmla="*/ 24 h 43"/>
                  <a:gd name="T6" fmla="*/ 58 w 73"/>
                  <a:gd name="T7" fmla="*/ 20 h 43"/>
                  <a:gd name="T8" fmla="*/ 52 w 73"/>
                  <a:gd name="T9" fmla="*/ 16 h 43"/>
                  <a:gd name="T10" fmla="*/ 47 w 73"/>
                  <a:gd name="T11" fmla="*/ 9 h 43"/>
                  <a:gd name="T12" fmla="*/ 40 w 73"/>
                  <a:gd name="T13" fmla="*/ 5 h 43"/>
                  <a:gd name="T14" fmla="*/ 40 w 73"/>
                  <a:gd name="T15" fmla="*/ 2 h 43"/>
                  <a:gd name="T16" fmla="*/ 36 w 73"/>
                  <a:gd name="T17" fmla="*/ 1 h 43"/>
                  <a:gd name="T18" fmla="*/ 34 w 73"/>
                  <a:gd name="T19" fmla="*/ 0 h 43"/>
                  <a:gd name="T20" fmla="*/ 31 w 73"/>
                  <a:gd name="T21" fmla="*/ 1 h 43"/>
                  <a:gd name="T22" fmla="*/ 28 w 73"/>
                  <a:gd name="T23" fmla="*/ 3 h 43"/>
                  <a:gd name="T24" fmla="*/ 25 w 73"/>
                  <a:gd name="T25" fmla="*/ 6 h 43"/>
                  <a:gd name="T26" fmla="*/ 22 w 73"/>
                  <a:gd name="T27" fmla="*/ 8 h 43"/>
                  <a:gd name="T28" fmla="*/ 17 w 73"/>
                  <a:gd name="T29" fmla="*/ 8 h 43"/>
                  <a:gd name="T30" fmla="*/ 12 w 73"/>
                  <a:gd name="T31" fmla="*/ 2 h 43"/>
                  <a:gd name="T32" fmla="*/ 2 w 73"/>
                  <a:gd name="T33" fmla="*/ 5 h 43"/>
                  <a:gd name="T34" fmla="*/ 5 w 73"/>
                  <a:gd name="T35" fmla="*/ 12 h 43"/>
                  <a:gd name="T36" fmla="*/ 8 w 73"/>
                  <a:gd name="T37" fmla="*/ 17 h 43"/>
                  <a:gd name="T38" fmla="*/ 8 w 73"/>
                  <a:gd name="T39" fmla="*/ 19 h 43"/>
                  <a:gd name="T40" fmla="*/ 10 w 73"/>
                  <a:gd name="T41" fmla="*/ 22 h 43"/>
                  <a:gd name="T42" fmla="*/ 9 w 73"/>
                  <a:gd name="T43" fmla="*/ 26 h 43"/>
                  <a:gd name="T44" fmla="*/ 9 w 73"/>
                  <a:gd name="T45" fmla="*/ 31 h 43"/>
                  <a:gd name="T46" fmla="*/ 14 w 73"/>
                  <a:gd name="T47" fmla="*/ 29 h 43"/>
                  <a:gd name="T48" fmla="*/ 17 w 73"/>
                  <a:gd name="T49" fmla="*/ 26 h 43"/>
                  <a:gd name="T50" fmla="*/ 27 w 73"/>
                  <a:gd name="T51" fmla="*/ 27 h 43"/>
                  <a:gd name="T52" fmla="*/ 37 w 73"/>
                  <a:gd name="T53" fmla="*/ 31 h 43"/>
                  <a:gd name="T54" fmla="*/ 45 w 73"/>
                  <a:gd name="T55" fmla="*/ 35 h 43"/>
                  <a:gd name="T56" fmla="*/ 46 w 73"/>
                  <a:gd name="T57" fmla="*/ 37 h 43"/>
                  <a:gd name="T58" fmla="*/ 48 w 73"/>
                  <a:gd name="T59" fmla="*/ 42 h 43"/>
                  <a:gd name="T60" fmla="*/ 53 w 73"/>
                  <a:gd name="T61" fmla="*/ 43 h 43"/>
                  <a:gd name="T62" fmla="*/ 57 w 73"/>
                  <a:gd name="T63" fmla="*/ 40 h 43"/>
                  <a:gd name="T64" fmla="*/ 62 w 73"/>
                  <a:gd name="T65" fmla="*/ 38 h 43"/>
                  <a:gd name="T66" fmla="*/ 65 w 73"/>
                  <a:gd name="T67" fmla="*/ 33 h 43"/>
                  <a:gd name="T68" fmla="*/ 69 w 73"/>
                  <a:gd name="T69" fmla="*/ 31 h 43"/>
                  <a:gd name="T70" fmla="*/ 73 w 73"/>
                  <a:gd name="T71" fmla="*/ 31 h 43"/>
                  <a:gd name="T72" fmla="*/ 73 w 73"/>
                  <a:gd name="T73" fmla="*/ 2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43">
                    <a:moveTo>
                      <a:pt x="73" y="28"/>
                    </a:moveTo>
                    <a:cubicBezTo>
                      <a:pt x="72" y="27"/>
                      <a:pt x="71" y="27"/>
                      <a:pt x="69" y="27"/>
                    </a:cubicBezTo>
                    <a:cubicBezTo>
                      <a:pt x="68" y="26"/>
                      <a:pt x="66" y="25"/>
                      <a:pt x="65" y="24"/>
                    </a:cubicBezTo>
                    <a:cubicBezTo>
                      <a:pt x="63" y="23"/>
                      <a:pt x="60" y="22"/>
                      <a:pt x="58" y="20"/>
                    </a:cubicBezTo>
                    <a:cubicBezTo>
                      <a:pt x="57" y="18"/>
                      <a:pt x="54" y="18"/>
                      <a:pt x="52" y="16"/>
                    </a:cubicBezTo>
                    <a:cubicBezTo>
                      <a:pt x="51" y="13"/>
                      <a:pt x="50" y="9"/>
                      <a:pt x="47" y="9"/>
                    </a:cubicBezTo>
                    <a:cubicBezTo>
                      <a:pt x="44" y="9"/>
                      <a:pt x="40" y="9"/>
                      <a:pt x="40" y="5"/>
                    </a:cubicBezTo>
                    <a:cubicBezTo>
                      <a:pt x="40" y="4"/>
                      <a:pt x="41" y="2"/>
                      <a:pt x="40" y="2"/>
                    </a:cubicBezTo>
                    <a:cubicBezTo>
                      <a:pt x="39" y="1"/>
                      <a:pt x="38" y="2"/>
                      <a:pt x="36" y="1"/>
                    </a:cubicBezTo>
                    <a:cubicBezTo>
                      <a:pt x="36" y="1"/>
                      <a:pt x="35" y="0"/>
                      <a:pt x="34" y="0"/>
                    </a:cubicBezTo>
                    <a:cubicBezTo>
                      <a:pt x="33" y="0"/>
                      <a:pt x="32" y="1"/>
                      <a:pt x="31" y="1"/>
                    </a:cubicBezTo>
                    <a:cubicBezTo>
                      <a:pt x="30" y="0"/>
                      <a:pt x="29" y="3"/>
                      <a:pt x="28" y="3"/>
                    </a:cubicBezTo>
                    <a:cubicBezTo>
                      <a:pt x="27" y="3"/>
                      <a:pt x="24" y="4"/>
                      <a:pt x="25" y="6"/>
                    </a:cubicBezTo>
                    <a:cubicBezTo>
                      <a:pt x="26" y="9"/>
                      <a:pt x="25" y="8"/>
                      <a:pt x="22" y="8"/>
                    </a:cubicBezTo>
                    <a:cubicBezTo>
                      <a:pt x="21" y="8"/>
                      <a:pt x="18" y="8"/>
                      <a:pt x="17" y="8"/>
                    </a:cubicBezTo>
                    <a:cubicBezTo>
                      <a:pt x="15" y="6"/>
                      <a:pt x="14" y="4"/>
                      <a:pt x="12" y="2"/>
                    </a:cubicBezTo>
                    <a:cubicBezTo>
                      <a:pt x="9" y="0"/>
                      <a:pt x="5" y="3"/>
                      <a:pt x="2" y="5"/>
                    </a:cubicBezTo>
                    <a:cubicBezTo>
                      <a:pt x="3" y="6"/>
                      <a:pt x="6" y="10"/>
                      <a:pt x="5" y="12"/>
                    </a:cubicBezTo>
                    <a:cubicBezTo>
                      <a:pt x="0" y="15"/>
                      <a:pt x="6" y="15"/>
                      <a:pt x="8" y="17"/>
                    </a:cubicBezTo>
                    <a:cubicBezTo>
                      <a:pt x="8" y="17"/>
                      <a:pt x="8" y="19"/>
                      <a:pt x="8" y="19"/>
                    </a:cubicBezTo>
                    <a:cubicBezTo>
                      <a:pt x="7" y="20"/>
                      <a:pt x="9" y="22"/>
                      <a:pt x="10" y="22"/>
                    </a:cubicBezTo>
                    <a:cubicBezTo>
                      <a:pt x="10" y="23"/>
                      <a:pt x="9" y="24"/>
                      <a:pt x="9" y="26"/>
                    </a:cubicBezTo>
                    <a:cubicBezTo>
                      <a:pt x="9" y="27"/>
                      <a:pt x="9" y="29"/>
                      <a:pt x="9" y="31"/>
                    </a:cubicBezTo>
                    <a:cubicBezTo>
                      <a:pt x="11" y="31"/>
                      <a:pt x="12" y="31"/>
                      <a:pt x="14" y="29"/>
                    </a:cubicBezTo>
                    <a:cubicBezTo>
                      <a:pt x="15" y="28"/>
                      <a:pt x="16" y="27"/>
                      <a:pt x="17" y="26"/>
                    </a:cubicBezTo>
                    <a:cubicBezTo>
                      <a:pt x="21" y="26"/>
                      <a:pt x="24" y="25"/>
                      <a:pt x="27" y="27"/>
                    </a:cubicBezTo>
                    <a:cubicBezTo>
                      <a:pt x="29" y="30"/>
                      <a:pt x="35" y="28"/>
                      <a:pt x="37" y="31"/>
                    </a:cubicBezTo>
                    <a:cubicBezTo>
                      <a:pt x="39" y="34"/>
                      <a:pt x="41" y="35"/>
                      <a:pt x="45" y="35"/>
                    </a:cubicBezTo>
                    <a:cubicBezTo>
                      <a:pt x="46" y="35"/>
                      <a:pt x="46" y="35"/>
                      <a:pt x="46" y="37"/>
                    </a:cubicBezTo>
                    <a:cubicBezTo>
                      <a:pt x="46" y="40"/>
                      <a:pt x="46" y="40"/>
                      <a:pt x="48" y="42"/>
                    </a:cubicBezTo>
                    <a:cubicBezTo>
                      <a:pt x="50" y="42"/>
                      <a:pt x="51" y="43"/>
                      <a:pt x="53" y="43"/>
                    </a:cubicBezTo>
                    <a:cubicBezTo>
                      <a:pt x="56" y="43"/>
                      <a:pt x="56" y="42"/>
                      <a:pt x="57" y="40"/>
                    </a:cubicBezTo>
                    <a:cubicBezTo>
                      <a:pt x="58" y="38"/>
                      <a:pt x="60" y="39"/>
                      <a:pt x="62" y="38"/>
                    </a:cubicBezTo>
                    <a:cubicBezTo>
                      <a:pt x="64" y="37"/>
                      <a:pt x="64" y="35"/>
                      <a:pt x="65" y="33"/>
                    </a:cubicBezTo>
                    <a:cubicBezTo>
                      <a:pt x="65" y="31"/>
                      <a:pt x="68" y="33"/>
                      <a:pt x="69" y="31"/>
                    </a:cubicBezTo>
                    <a:cubicBezTo>
                      <a:pt x="69" y="29"/>
                      <a:pt x="72" y="31"/>
                      <a:pt x="73" y="31"/>
                    </a:cubicBezTo>
                    <a:cubicBezTo>
                      <a:pt x="73" y="30"/>
                      <a:pt x="73" y="29"/>
                      <a:pt x="73" y="2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19" name="Freeform 696">
                <a:extLst>
                  <a:ext uri="{FF2B5EF4-FFF2-40B4-BE49-F238E27FC236}">
                    <a16:creationId xmlns:a16="http://schemas.microsoft.com/office/drawing/2014/main" id="{0E57815C-C93F-DD4F-8CF1-B7BB642238D9}"/>
                  </a:ext>
                </a:extLst>
              </p:cNvPr>
              <p:cNvSpPr>
                <a:spLocks/>
              </p:cNvSpPr>
              <p:nvPr/>
            </p:nvSpPr>
            <p:spPr bwMode="auto">
              <a:xfrm>
                <a:off x="14814846" y="7013435"/>
                <a:ext cx="372610" cy="251657"/>
              </a:xfrm>
              <a:custGeom>
                <a:avLst/>
                <a:gdLst>
                  <a:gd name="T0" fmla="*/ 30 w 40"/>
                  <a:gd name="T1" fmla="*/ 10 h 27"/>
                  <a:gd name="T2" fmla="*/ 25 w 40"/>
                  <a:gd name="T3" fmla="*/ 10 h 27"/>
                  <a:gd name="T4" fmla="*/ 21 w 40"/>
                  <a:gd name="T5" fmla="*/ 8 h 27"/>
                  <a:gd name="T6" fmla="*/ 19 w 40"/>
                  <a:gd name="T7" fmla="*/ 9 h 27"/>
                  <a:gd name="T8" fmla="*/ 17 w 40"/>
                  <a:gd name="T9" fmla="*/ 9 h 27"/>
                  <a:gd name="T10" fmla="*/ 10 w 40"/>
                  <a:gd name="T11" fmla="*/ 8 h 27"/>
                  <a:gd name="T12" fmla="*/ 12 w 40"/>
                  <a:gd name="T13" fmla="*/ 5 h 27"/>
                  <a:gd name="T14" fmla="*/ 16 w 40"/>
                  <a:gd name="T15" fmla="*/ 7 h 27"/>
                  <a:gd name="T16" fmla="*/ 19 w 40"/>
                  <a:gd name="T17" fmla="*/ 5 h 27"/>
                  <a:gd name="T18" fmla="*/ 16 w 40"/>
                  <a:gd name="T19" fmla="*/ 6 h 27"/>
                  <a:gd name="T20" fmla="*/ 16 w 40"/>
                  <a:gd name="T21" fmla="*/ 1 h 27"/>
                  <a:gd name="T22" fmla="*/ 14 w 40"/>
                  <a:gd name="T23" fmla="*/ 2 h 27"/>
                  <a:gd name="T24" fmla="*/ 10 w 40"/>
                  <a:gd name="T25" fmla="*/ 2 h 27"/>
                  <a:gd name="T26" fmla="*/ 8 w 40"/>
                  <a:gd name="T27" fmla="*/ 5 h 27"/>
                  <a:gd name="T28" fmla="*/ 6 w 40"/>
                  <a:gd name="T29" fmla="*/ 8 h 27"/>
                  <a:gd name="T30" fmla="*/ 1 w 40"/>
                  <a:gd name="T31" fmla="*/ 10 h 27"/>
                  <a:gd name="T32" fmla="*/ 4 w 40"/>
                  <a:gd name="T33" fmla="*/ 14 h 27"/>
                  <a:gd name="T34" fmla="*/ 4 w 40"/>
                  <a:gd name="T35" fmla="*/ 19 h 27"/>
                  <a:gd name="T36" fmla="*/ 4 w 40"/>
                  <a:gd name="T37" fmla="*/ 24 h 27"/>
                  <a:gd name="T38" fmla="*/ 9 w 40"/>
                  <a:gd name="T39" fmla="*/ 22 h 27"/>
                  <a:gd name="T40" fmla="*/ 12 w 40"/>
                  <a:gd name="T41" fmla="*/ 20 h 27"/>
                  <a:gd name="T42" fmla="*/ 17 w 40"/>
                  <a:gd name="T43" fmla="*/ 17 h 27"/>
                  <a:gd name="T44" fmla="*/ 20 w 40"/>
                  <a:gd name="T45" fmla="*/ 17 h 27"/>
                  <a:gd name="T46" fmla="*/ 22 w 40"/>
                  <a:gd name="T47" fmla="*/ 21 h 27"/>
                  <a:gd name="T48" fmla="*/ 21 w 40"/>
                  <a:gd name="T49" fmla="*/ 24 h 27"/>
                  <a:gd name="T50" fmla="*/ 27 w 40"/>
                  <a:gd name="T51" fmla="*/ 23 h 27"/>
                  <a:gd name="T52" fmla="*/ 32 w 40"/>
                  <a:gd name="T53" fmla="*/ 21 h 27"/>
                  <a:gd name="T54" fmla="*/ 39 w 40"/>
                  <a:gd name="T55" fmla="*/ 21 h 27"/>
                  <a:gd name="T56" fmla="*/ 38 w 40"/>
                  <a:gd name="T57" fmla="*/ 18 h 27"/>
                  <a:gd name="T58" fmla="*/ 36 w 40"/>
                  <a:gd name="T59" fmla="*/ 14 h 27"/>
                  <a:gd name="T60" fmla="*/ 32 w 40"/>
                  <a:gd name="T61" fmla="*/ 9 h 27"/>
                  <a:gd name="T62" fmla="*/ 30 w 40"/>
                  <a:gd name="T63" fmla="*/ 10 h 27"/>
                  <a:gd name="T64" fmla="*/ 30 w 40"/>
                  <a:gd name="T65" fmla="*/ 1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27">
                    <a:moveTo>
                      <a:pt x="30" y="10"/>
                    </a:moveTo>
                    <a:cubicBezTo>
                      <a:pt x="28" y="11"/>
                      <a:pt x="27" y="10"/>
                      <a:pt x="25" y="10"/>
                    </a:cubicBezTo>
                    <a:cubicBezTo>
                      <a:pt x="23" y="10"/>
                      <a:pt x="22" y="8"/>
                      <a:pt x="21" y="8"/>
                    </a:cubicBezTo>
                    <a:cubicBezTo>
                      <a:pt x="20" y="8"/>
                      <a:pt x="20" y="9"/>
                      <a:pt x="19" y="9"/>
                    </a:cubicBezTo>
                    <a:cubicBezTo>
                      <a:pt x="19" y="10"/>
                      <a:pt x="18" y="9"/>
                      <a:pt x="17" y="9"/>
                    </a:cubicBezTo>
                    <a:cubicBezTo>
                      <a:pt x="15" y="9"/>
                      <a:pt x="12" y="9"/>
                      <a:pt x="10" y="8"/>
                    </a:cubicBezTo>
                    <a:cubicBezTo>
                      <a:pt x="9" y="7"/>
                      <a:pt x="12" y="5"/>
                      <a:pt x="12" y="5"/>
                    </a:cubicBezTo>
                    <a:cubicBezTo>
                      <a:pt x="14" y="4"/>
                      <a:pt x="15" y="7"/>
                      <a:pt x="16" y="7"/>
                    </a:cubicBezTo>
                    <a:cubicBezTo>
                      <a:pt x="18" y="7"/>
                      <a:pt x="19" y="6"/>
                      <a:pt x="19" y="5"/>
                    </a:cubicBezTo>
                    <a:cubicBezTo>
                      <a:pt x="18" y="4"/>
                      <a:pt x="17" y="6"/>
                      <a:pt x="16" y="6"/>
                    </a:cubicBezTo>
                    <a:cubicBezTo>
                      <a:pt x="15" y="5"/>
                      <a:pt x="17" y="2"/>
                      <a:pt x="16" y="1"/>
                    </a:cubicBezTo>
                    <a:cubicBezTo>
                      <a:pt x="16" y="0"/>
                      <a:pt x="14" y="2"/>
                      <a:pt x="14" y="2"/>
                    </a:cubicBezTo>
                    <a:cubicBezTo>
                      <a:pt x="12" y="3"/>
                      <a:pt x="11" y="1"/>
                      <a:pt x="10" y="2"/>
                    </a:cubicBezTo>
                    <a:cubicBezTo>
                      <a:pt x="8" y="2"/>
                      <a:pt x="12" y="5"/>
                      <a:pt x="8" y="5"/>
                    </a:cubicBezTo>
                    <a:cubicBezTo>
                      <a:pt x="6" y="4"/>
                      <a:pt x="9" y="8"/>
                      <a:pt x="6" y="8"/>
                    </a:cubicBezTo>
                    <a:cubicBezTo>
                      <a:pt x="5" y="9"/>
                      <a:pt x="0" y="8"/>
                      <a:pt x="1" y="10"/>
                    </a:cubicBezTo>
                    <a:cubicBezTo>
                      <a:pt x="2" y="13"/>
                      <a:pt x="5" y="11"/>
                      <a:pt x="4" y="14"/>
                    </a:cubicBezTo>
                    <a:cubicBezTo>
                      <a:pt x="4" y="17"/>
                      <a:pt x="7" y="17"/>
                      <a:pt x="4" y="19"/>
                    </a:cubicBezTo>
                    <a:cubicBezTo>
                      <a:pt x="3" y="20"/>
                      <a:pt x="1" y="24"/>
                      <a:pt x="4" y="24"/>
                    </a:cubicBezTo>
                    <a:cubicBezTo>
                      <a:pt x="6" y="24"/>
                      <a:pt x="8" y="21"/>
                      <a:pt x="9" y="22"/>
                    </a:cubicBezTo>
                    <a:cubicBezTo>
                      <a:pt x="12" y="25"/>
                      <a:pt x="9" y="20"/>
                      <a:pt x="12" y="20"/>
                    </a:cubicBezTo>
                    <a:cubicBezTo>
                      <a:pt x="14" y="20"/>
                      <a:pt x="15" y="19"/>
                      <a:pt x="17" y="17"/>
                    </a:cubicBezTo>
                    <a:cubicBezTo>
                      <a:pt x="18" y="14"/>
                      <a:pt x="19" y="15"/>
                      <a:pt x="20" y="17"/>
                    </a:cubicBezTo>
                    <a:cubicBezTo>
                      <a:pt x="21" y="18"/>
                      <a:pt x="22" y="19"/>
                      <a:pt x="22" y="21"/>
                    </a:cubicBezTo>
                    <a:cubicBezTo>
                      <a:pt x="22" y="22"/>
                      <a:pt x="21" y="23"/>
                      <a:pt x="21" y="24"/>
                    </a:cubicBezTo>
                    <a:cubicBezTo>
                      <a:pt x="22" y="27"/>
                      <a:pt x="26" y="24"/>
                      <a:pt x="27" y="23"/>
                    </a:cubicBezTo>
                    <a:cubicBezTo>
                      <a:pt x="28" y="22"/>
                      <a:pt x="31" y="20"/>
                      <a:pt x="32" y="21"/>
                    </a:cubicBezTo>
                    <a:cubicBezTo>
                      <a:pt x="34" y="23"/>
                      <a:pt x="36" y="20"/>
                      <a:pt x="39" y="21"/>
                    </a:cubicBezTo>
                    <a:cubicBezTo>
                      <a:pt x="40" y="20"/>
                      <a:pt x="38" y="18"/>
                      <a:pt x="38" y="18"/>
                    </a:cubicBezTo>
                    <a:cubicBezTo>
                      <a:pt x="37" y="16"/>
                      <a:pt x="38" y="14"/>
                      <a:pt x="36" y="14"/>
                    </a:cubicBezTo>
                    <a:cubicBezTo>
                      <a:pt x="33" y="15"/>
                      <a:pt x="31" y="12"/>
                      <a:pt x="32" y="9"/>
                    </a:cubicBezTo>
                    <a:cubicBezTo>
                      <a:pt x="32" y="9"/>
                      <a:pt x="31" y="9"/>
                      <a:pt x="30" y="10"/>
                    </a:cubicBezTo>
                    <a:cubicBezTo>
                      <a:pt x="29" y="10"/>
                      <a:pt x="31" y="9"/>
                      <a:pt x="30"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0" name="Freeform 697">
                <a:extLst>
                  <a:ext uri="{FF2B5EF4-FFF2-40B4-BE49-F238E27FC236}">
                    <a16:creationId xmlns:a16="http://schemas.microsoft.com/office/drawing/2014/main" id="{2973E6C0-D7F7-8541-B7AB-5E05AE2FE54C}"/>
                  </a:ext>
                </a:extLst>
              </p:cNvPr>
              <p:cNvSpPr>
                <a:spLocks/>
              </p:cNvSpPr>
              <p:nvPr/>
            </p:nvSpPr>
            <p:spPr bwMode="auto">
              <a:xfrm>
                <a:off x="14515484" y="7230053"/>
                <a:ext cx="773889" cy="691265"/>
              </a:xfrm>
              <a:custGeom>
                <a:avLst/>
                <a:gdLst>
                  <a:gd name="T0" fmla="*/ 8 w 83"/>
                  <a:gd name="T1" fmla="*/ 51 h 74"/>
                  <a:gd name="T2" fmla="*/ 9 w 83"/>
                  <a:gd name="T3" fmla="*/ 54 h 74"/>
                  <a:gd name="T4" fmla="*/ 11 w 83"/>
                  <a:gd name="T5" fmla="*/ 57 h 74"/>
                  <a:gd name="T6" fmla="*/ 5 w 83"/>
                  <a:gd name="T7" fmla="*/ 61 h 74"/>
                  <a:gd name="T8" fmla="*/ 3 w 83"/>
                  <a:gd name="T9" fmla="*/ 64 h 74"/>
                  <a:gd name="T10" fmla="*/ 6 w 83"/>
                  <a:gd name="T11" fmla="*/ 66 h 74"/>
                  <a:gd name="T12" fmla="*/ 13 w 83"/>
                  <a:gd name="T13" fmla="*/ 64 h 74"/>
                  <a:gd name="T14" fmla="*/ 19 w 83"/>
                  <a:gd name="T15" fmla="*/ 65 h 74"/>
                  <a:gd name="T16" fmla="*/ 23 w 83"/>
                  <a:gd name="T17" fmla="*/ 65 h 74"/>
                  <a:gd name="T18" fmla="*/ 28 w 83"/>
                  <a:gd name="T19" fmla="*/ 64 h 74"/>
                  <a:gd name="T20" fmla="*/ 29 w 83"/>
                  <a:gd name="T21" fmla="*/ 67 h 74"/>
                  <a:gd name="T22" fmla="*/ 32 w 83"/>
                  <a:gd name="T23" fmla="*/ 69 h 74"/>
                  <a:gd name="T24" fmla="*/ 33 w 83"/>
                  <a:gd name="T25" fmla="*/ 73 h 74"/>
                  <a:gd name="T26" fmla="*/ 34 w 83"/>
                  <a:gd name="T27" fmla="*/ 71 h 74"/>
                  <a:gd name="T28" fmla="*/ 36 w 83"/>
                  <a:gd name="T29" fmla="*/ 73 h 74"/>
                  <a:gd name="T30" fmla="*/ 43 w 83"/>
                  <a:gd name="T31" fmla="*/ 71 h 74"/>
                  <a:gd name="T32" fmla="*/ 46 w 83"/>
                  <a:gd name="T33" fmla="*/ 70 h 74"/>
                  <a:gd name="T34" fmla="*/ 50 w 83"/>
                  <a:gd name="T35" fmla="*/ 70 h 74"/>
                  <a:gd name="T36" fmla="*/ 48 w 83"/>
                  <a:gd name="T37" fmla="*/ 64 h 74"/>
                  <a:gd name="T38" fmla="*/ 46 w 83"/>
                  <a:gd name="T39" fmla="*/ 61 h 74"/>
                  <a:gd name="T40" fmla="*/ 44 w 83"/>
                  <a:gd name="T41" fmla="*/ 57 h 74"/>
                  <a:gd name="T42" fmla="*/ 46 w 83"/>
                  <a:gd name="T43" fmla="*/ 52 h 74"/>
                  <a:gd name="T44" fmla="*/ 49 w 83"/>
                  <a:gd name="T45" fmla="*/ 52 h 74"/>
                  <a:gd name="T46" fmla="*/ 52 w 83"/>
                  <a:gd name="T47" fmla="*/ 52 h 74"/>
                  <a:gd name="T48" fmla="*/ 57 w 83"/>
                  <a:gd name="T49" fmla="*/ 46 h 74"/>
                  <a:gd name="T50" fmla="*/ 60 w 83"/>
                  <a:gd name="T51" fmla="*/ 44 h 74"/>
                  <a:gd name="T52" fmla="*/ 62 w 83"/>
                  <a:gd name="T53" fmla="*/ 41 h 74"/>
                  <a:gd name="T54" fmla="*/ 65 w 83"/>
                  <a:gd name="T55" fmla="*/ 39 h 74"/>
                  <a:gd name="T56" fmla="*/ 66 w 83"/>
                  <a:gd name="T57" fmla="*/ 37 h 74"/>
                  <a:gd name="T58" fmla="*/ 69 w 83"/>
                  <a:gd name="T59" fmla="*/ 33 h 74"/>
                  <a:gd name="T60" fmla="*/ 71 w 83"/>
                  <a:gd name="T61" fmla="*/ 27 h 74"/>
                  <a:gd name="T62" fmla="*/ 66 w 83"/>
                  <a:gd name="T63" fmla="*/ 23 h 74"/>
                  <a:gd name="T64" fmla="*/ 65 w 83"/>
                  <a:gd name="T65" fmla="*/ 16 h 74"/>
                  <a:gd name="T66" fmla="*/ 70 w 83"/>
                  <a:gd name="T67" fmla="*/ 14 h 74"/>
                  <a:gd name="T68" fmla="*/ 74 w 83"/>
                  <a:gd name="T69" fmla="*/ 15 h 74"/>
                  <a:gd name="T70" fmla="*/ 77 w 83"/>
                  <a:gd name="T71" fmla="*/ 13 h 74"/>
                  <a:gd name="T72" fmla="*/ 83 w 83"/>
                  <a:gd name="T73" fmla="*/ 10 h 74"/>
                  <a:gd name="T74" fmla="*/ 76 w 83"/>
                  <a:gd name="T75" fmla="*/ 6 h 74"/>
                  <a:gd name="T76" fmla="*/ 74 w 83"/>
                  <a:gd name="T77" fmla="*/ 2 h 74"/>
                  <a:gd name="T78" fmla="*/ 71 w 83"/>
                  <a:gd name="T79" fmla="*/ 0 h 74"/>
                  <a:gd name="T80" fmla="*/ 65 w 83"/>
                  <a:gd name="T81" fmla="*/ 1 h 74"/>
                  <a:gd name="T82" fmla="*/ 56 w 83"/>
                  <a:gd name="T83" fmla="*/ 4 h 74"/>
                  <a:gd name="T84" fmla="*/ 53 w 83"/>
                  <a:gd name="T85" fmla="*/ 8 h 74"/>
                  <a:gd name="T86" fmla="*/ 51 w 83"/>
                  <a:gd name="T87" fmla="*/ 13 h 74"/>
                  <a:gd name="T88" fmla="*/ 48 w 83"/>
                  <a:gd name="T89" fmla="*/ 18 h 74"/>
                  <a:gd name="T90" fmla="*/ 47 w 83"/>
                  <a:gd name="T91" fmla="*/ 21 h 74"/>
                  <a:gd name="T92" fmla="*/ 43 w 83"/>
                  <a:gd name="T93" fmla="*/ 24 h 74"/>
                  <a:gd name="T94" fmla="*/ 41 w 83"/>
                  <a:gd name="T95" fmla="*/ 30 h 74"/>
                  <a:gd name="T96" fmla="*/ 38 w 83"/>
                  <a:gd name="T97" fmla="*/ 30 h 74"/>
                  <a:gd name="T98" fmla="*/ 34 w 83"/>
                  <a:gd name="T99" fmla="*/ 32 h 74"/>
                  <a:gd name="T100" fmla="*/ 30 w 83"/>
                  <a:gd name="T101" fmla="*/ 33 h 74"/>
                  <a:gd name="T102" fmla="*/ 27 w 83"/>
                  <a:gd name="T103" fmla="*/ 37 h 74"/>
                  <a:gd name="T104" fmla="*/ 22 w 83"/>
                  <a:gd name="T105" fmla="*/ 42 h 74"/>
                  <a:gd name="T106" fmla="*/ 13 w 83"/>
                  <a:gd name="T107" fmla="*/ 43 h 74"/>
                  <a:gd name="T108" fmla="*/ 0 w 83"/>
                  <a:gd name="T109" fmla="*/ 40 h 74"/>
                  <a:gd name="T110" fmla="*/ 3 w 83"/>
                  <a:gd name="T111" fmla="*/ 46 h 74"/>
                  <a:gd name="T112" fmla="*/ 8 w 83"/>
                  <a:gd name="T113" fmla="*/ 5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3" h="74">
                    <a:moveTo>
                      <a:pt x="8" y="51"/>
                    </a:moveTo>
                    <a:cubicBezTo>
                      <a:pt x="8" y="52"/>
                      <a:pt x="8" y="53"/>
                      <a:pt x="9" y="54"/>
                    </a:cubicBezTo>
                    <a:cubicBezTo>
                      <a:pt x="10" y="55"/>
                      <a:pt x="11" y="56"/>
                      <a:pt x="11" y="57"/>
                    </a:cubicBezTo>
                    <a:cubicBezTo>
                      <a:pt x="11" y="58"/>
                      <a:pt x="6" y="60"/>
                      <a:pt x="5" y="61"/>
                    </a:cubicBezTo>
                    <a:cubicBezTo>
                      <a:pt x="4" y="61"/>
                      <a:pt x="3" y="62"/>
                      <a:pt x="3" y="64"/>
                    </a:cubicBezTo>
                    <a:cubicBezTo>
                      <a:pt x="3" y="66"/>
                      <a:pt x="3" y="66"/>
                      <a:pt x="6" y="66"/>
                    </a:cubicBezTo>
                    <a:cubicBezTo>
                      <a:pt x="8" y="65"/>
                      <a:pt x="11" y="65"/>
                      <a:pt x="13" y="64"/>
                    </a:cubicBezTo>
                    <a:cubicBezTo>
                      <a:pt x="15" y="64"/>
                      <a:pt x="17" y="64"/>
                      <a:pt x="19" y="65"/>
                    </a:cubicBezTo>
                    <a:cubicBezTo>
                      <a:pt x="20" y="65"/>
                      <a:pt x="22" y="65"/>
                      <a:pt x="23" y="65"/>
                    </a:cubicBezTo>
                    <a:cubicBezTo>
                      <a:pt x="25" y="65"/>
                      <a:pt x="26" y="64"/>
                      <a:pt x="28" y="64"/>
                    </a:cubicBezTo>
                    <a:cubicBezTo>
                      <a:pt x="29" y="64"/>
                      <a:pt x="29" y="66"/>
                      <a:pt x="29" y="67"/>
                    </a:cubicBezTo>
                    <a:cubicBezTo>
                      <a:pt x="30" y="68"/>
                      <a:pt x="31" y="68"/>
                      <a:pt x="32" y="69"/>
                    </a:cubicBezTo>
                    <a:cubicBezTo>
                      <a:pt x="32" y="70"/>
                      <a:pt x="33" y="72"/>
                      <a:pt x="33" y="73"/>
                    </a:cubicBezTo>
                    <a:cubicBezTo>
                      <a:pt x="35" y="74"/>
                      <a:pt x="34" y="72"/>
                      <a:pt x="34" y="71"/>
                    </a:cubicBezTo>
                    <a:cubicBezTo>
                      <a:pt x="35" y="71"/>
                      <a:pt x="36" y="73"/>
                      <a:pt x="36" y="73"/>
                    </a:cubicBezTo>
                    <a:cubicBezTo>
                      <a:pt x="38" y="72"/>
                      <a:pt x="40" y="70"/>
                      <a:pt x="43" y="71"/>
                    </a:cubicBezTo>
                    <a:cubicBezTo>
                      <a:pt x="44" y="71"/>
                      <a:pt x="45" y="71"/>
                      <a:pt x="46" y="70"/>
                    </a:cubicBezTo>
                    <a:cubicBezTo>
                      <a:pt x="47" y="70"/>
                      <a:pt x="49" y="70"/>
                      <a:pt x="50" y="70"/>
                    </a:cubicBezTo>
                    <a:cubicBezTo>
                      <a:pt x="51" y="69"/>
                      <a:pt x="49" y="64"/>
                      <a:pt x="48" y="64"/>
                    </a:cubicBezTo>
                    <a:cubicBezTo>
                      <a:pt x="47" y="63"/>
                      <a:pt x="46" y="63"/>
                      <a:pt x="46" y="61"/>
                    </a:cubicBezTo>
                    <a:cubicBezTo>
                      <a:pt x="46" y="59"/>
                      <a:pt x="45" y="58"/>
                      <a:pt x="44" y="57"/>
                    </a:cubicBezTo>
                    <a:cubicBezTo>
                      <a:pt x="41" y="56"/>
                      <a:pt x="45" y="54"/>
                      <a:pt x="46" y="52"/>
                    </a:cubicBezTo>
                    <a:cubicBezTo>
                      <a:pt x="47" y="52"/>
                      <a:pt x="47" y="51"/>
                      <a:pt x="49" y="52"/>
                    </a:cubicBezTo>
                    <a:cubicBezTo>
                      <a:pt x="51" y="54"/>
                      <a:pt x="50" y="52"/>
                      <a:pt x="52" y="52"/>
                    </a:cubicBezTo>
                    <a:cubicBezTo>
                      <a:pt x="56" y="51"/>
                      <a:pt x="55" y="48"/>
                      <a:pt x="57" y="46"/>
                    </a:cubicBezTo>
                    <a:cubicBezTo>
                      <a:pt x="58" y="45"/>
                      <a:pt x="60" y="45"/>
                      <a:pt x="60" y="44"/>
                    </a:cubicBezTo>
                    <a:cubicBezTo>
                      <a:pt x="61" y="43"/>
                      <a:pt x="62" y="42"/>
                      <a:pt x="62" y="41"/>
                    </a:cubicBezTo>
                    <a:cubicBezTo>
                      <a:pt x="62" y="40"/>
                      <a:pt x="64" y="39"/>
                      <a:pt x="65" y="39"/>
                    </a:cubicBezTo>
                    <a:cubicBezTo>
                      <a:pt x="66" y="39"/>
                      <a:pt x="66" y="37"/>
                      <a:pt x="66" y="37"/>
                    </a:cubicBezTo>
                    <a:cubicBezTo>
                      <a:pt x="66" y="34"/>
                      <a:pt x="70" y="36"/>
                      <a:pt x="69" y="33"/>
                    </a:cubicBezTo>
                    <a:cubicBezTo>
                      <a:pt x="69" y="30"/>
                      <a:pt x="68" y="29"/>
                      <a:pt x="71" y="27"/>
                    </a:cubicBezTo>
                    <a:cubicBezTo>
                      <a:pt x="72" y="27"/>
                      <a:pt x="67" y="24"/>
                      <a:pt x="66" y="23"/>
                    </a:cubicBezTo>
                    <a:cubicBezTo>
                      <a:pt x="65" y="21"/>
                      <a:pt x="66" y="18"/>
                      <a:pt x="65" y="16"/>
                    </a:cubicBezTo>
                    <a:cubicBezTo>
                      <a:pt x="65" y="13"/>
                      <a:pt x="68" y="13"/>
                      <a:pt x="70" y="14"/>
                    </a:cubicBezTo>
                    <a:cubicBezTo>
                      <a:pt x="71" y="14"/>
                      <a:pt x="73" y="15"/>
                      <a:pt x="74" y="15"/>
                    </a:cubicBezTo>
                    <a:cubicBezTo>
                      <a:pt x="76" y="15"/>
                      <a:pt x="76" y="14"/>
                      <a:pt x="77" y="13"/>
                    </a:cubicBezTo>
                    <a:cubicBezTo>
                      <a:pt x="80" y="13"/>
                      <a:pt x="81" y="13"/>
                      <a:pt x="83" y="10"/>
                    </a:cubicBezTo>
                    <a:cubicBezTo>
                      <a:pt x="80" y="9"/>
                      <a:pt x="77" y="8"/>
                      <a:pt x="76" y="6"/>
                    </a:cubicBezTo>
                    <a:cubicBezTo>
                      <a:pt x="75" y="5"/>
                      <a:pt x="75" y="3"/>
                      <a:pt x="74" y="2"/>
                    </a:cubicBezTo>
                    <a:cubicBezTo>
                      <a:pt x="73" y="1"/>
                      <a:pt x="72" y="1"/>
                      <a:pt x="71" y="0"/>
                    </a:cubicBezTo>
                    <a:cubicBezTo>
                      <a:pt x="69" y="0"/>
                      <a:pt x="66" y="1"/>
                      <a:pt x="65" y="1"/>
                    </a:cubicBezTo>
                    <a:cubicBezTo>
                      <a:pt x="61" y="0"/>
                      <a:pt x="59" y="2"/>
                      <a:pt x="56" y="4"/>
                    </a:cubicBezTo>
                    <a:cubicBezTo>
                      <a:pt x="53" y="5"/>
                      <a:pt x="51" y="5"/>
                      <a:pt x="53" y="8"/>
                    </a:cubicBezTo>
                    <a:cubicBezTo>
                      <a:pt x="55" y="10"/>
                      <a:pt x="53" y="12"/>
                      <a:pt x="51" y="13"/>
                    </a:cubicBezTo>
                    <a:cubicBezTo>
                      <a:pt x="49" y="15"/>
                      <a:pt x="52" y="19"/>
                      <a:pt x="48" y="18"/>
                    </a:cubicBezTo>
                    <a:cubicBezTo>
                      <a:pt x="43" y="18"/>
                      <a:pt x="47" y="19"/>
                      <a:pt x="47" y="21"/>
                    </a:cubicBezTo>
                    <a:cubicBezTo>
                      <a:pt x="48" y="22"/>
                      <a:pt x="44" y="23"/>
                      <a:pt x="43" y="24"/>
                    </a:cubicBezTo>
                    <a:cubicBezTo>
                      <a:pt x="42" y="26"/>
                      <a:pt x="42" y="30"/>
                      <a:pt x="41" y="30"/>
                    </a:cubicBezTo>
                    <a:cubicBezTo>
                      <a:pt x="40" y="31"/>
                      <a:pt x="39" y="30"/>
                      <a:pt x="38" y="30"/>
                    </a:cubicBezTo>
                    <a:cubicBezTo>
                      <a:pt x="36" y="30"/>
                      <a:pt x="35" y="31"/>
                      <a:pt x="34" y="32"/>
                    </a:cubicBezTo>
                    <a:cubicBezTo>
                      <a:pt x="32" y="33"/>
                      <a:pt x="31" y="32"/>
                      <a:pt x="30" y="33"/>
                    </a:cubicBezTo>
                    <a:cubicBezTo>
                      <a:pt x="28" y="34"/>
                      <a:pt x="28" y="35"/>
                      <a:pt x="27" y="37"/>
                    </a:cubicBezTo>
                    <a:cubicBezTo>
                      <a:pt x="27" y="40"/>
                      <a:pt x="25" y="41"/>
                      <a:pt x="22" y="42"/>
                    </a:cubicBezTo>
                    <a:cubicBezTo>
                      <a:pt x="19" y="43"/>
                      <a:pt x="16" y="43"/>
                      <a:pt x="13" y="43"/>
                    </a:cubicBezTo>
                    <a:cubicBezTo>
                      <a:pt x="8" y="43"/>
                      <a:pt x="4" y="42"/>
                      <a:pt x="0" y="40"/>
                    </a:cubicBezTo>
                    <a:cubicBezTo>
                      <a:pt x="1" y="42"/>
                      <a:pt x="2" y="44"/>
                      <a:pt x="3" y="46"/>
                    </a:cubicBezTo>
                    <a:cubicBezTo>
                      <a:pt x="4" y="47"/>
                      <a:pt x="8" y="48"/>
                      <a:pt x="8" y="5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1" name="Freeform 698">
                <a:extLst>
                  <a:ext uri="{FF2B5EF4-FFF2-40B4-BE49-F238E27FC236}">
                    <a16:creationId xmlns:a16="http://schemas.microsoft.com/office/drawing/2014/main" id="{9F498D11-9AE1-B543-869D-8146909E59F4}"/>
                  </a:ext>
                </a:extLst>
              </p:cNvPr>
              <p:cNvSpPr>
                <a:spLocks/>
              </p:cNvSpPr>
              <p:nvPr/>
            </p:nvSpPr>
            <p:spPr bwMode="auto">
              <a:xfrm>
                <a:off x="14477266" y="7144043"/>
                <a:ext cx="700638" cy="496944"/>
              </a:xfrm>
              <a:custGeom>
                <a:avLst/>
                <a:gdLst>
                  <a:gd name="T0" fmla="*/ 72 w 75"/>
                  <a:gd name="T1" fmla="*/ 7 h 53"/>
                  <a:gd name="T2" fmla="*/ 69 w 75"/>
                  <a:gd name="T3" fmla="*/ 8 h 53"/>
                  <a:gd name="T4" fmla="*/ 67 w 75"/>
                  <a:gd name="T5" fmla="*/ 7 h 53"/>
                  <a:gd name="T6" fmla="*/ 62 w 75"/>
                  <a:gd name="T7" fmla="*/ 10 h 53"/>
                  <a:gd name="T8" fmla="*/ 57 w 75"/>
                  <a:gd name="T9" fmla="*/ 11 h 53"/>
                  <a:gd name="T10" fmla="*/ 57 w 75"/>
                  <a:gd name="T11" fmla="*/ 4 h 53"/>
                  <a:gd name="T12" fmla="*/ 54 w 75"/>
                  <a:gd name="T13" fmla="*/ 1 h 53"/>
                  <a:gd name="T14" fmla="*/ 50 w 75"/>
                  <a:gd name="T15" fmla="*/ 6 h 53"/>
                  <a:gd name="T16" fmla="*/ 47 w 75"/>
                  <a:gd name="T17" fmla="*/ 8 h 53"/>
                  <a:gd name="T18" fmla="*/ 44 w 75"/>
                  <a:gd name="T19" fmla="*/ 8 h 53"/>
                  <a:gd name="T20" fmla="*/ 39 w 75"/>
                  <a:gd name="T21" fmla="*/ 10 h 53"/>
                  <a:gd name="T22" fmla="*/ 34 w 75"/>
                  <a:gd name="T23" fmla="*/ 7 h 53"/>
                  <a:gd name="T24" fmla="*/ 28 w 75"/>
                  <a:gd name="T25" fmla="*/ 6 h 53"/>
                  <a:gd name="T26" fmla="*/ 27 w 75"/>
                  <a:gd name="T27" fmla="*/ 8 h 53"/>
                  <a:gd name="T28" fmla="*/ 24 w 75"/>
                  <a:gd name="T29" fmla="*/ 9 h 53"/>
                  <a:gd name="T30" fmla="*/ 21 w 75"/>
                  <a:gd name="T31" fmla="*/ 14 h 53"/>
                  <a:gd name="T32" fmla="*/ 15 w 75"/>
                  <a:gd name="T33" fmla="*/ 17 h 53"/>
                  <a:gd name="T34" fmla="*/ 11 w 75"/>
                  <a:gd name="T35" fmla="*/ 19 h 53"/>
                  <a:gd name="T36" fmla="*/ 5 w 75"/>
                  <a:gd name="T37" fmla="*/ 16 h 53"/>
                  <a:gd name="T38" fmla="*/ 4 w 75"/>
                  <a:gd name="T39" fmla="*/ 23 h 53"/>
                  <a:gd name="T40" fmla="*/ 3 w 75"/>
                  <a:gd name="T41" fmla="*/ 29 h 53"/>
                  <a:gd name="T42" fmla="*/ 2 w 75"/>
                  <a:gd name="T43" fmla="*/ 33 h 53"/>
                  <a:gd name="T44" fmla="*/ 3 w 75"/>
                  <a:gd name="T45" fmla="*/ 37 h 53"/>
                  <a:gd name="T46" fmla="*/ 4 w 75"/>
                  <a:gd name="T47" fmla="*/ 40 h 53"/>
                  <a:gd name="T48" fmla="*/ 8 w 75"/>
                  <a:gd name="T49" fmla="*/ 43 h 53"/>
                  <a:gd name="T50" fmla="*/ 4 w 75"/>
                  <a:gd name="T51" fmla="*/ 49 h 53"/>
                  <a:gd name="T52" fmla="*/ 29 w 75"/>
                  <a:gd name="T53" fmla="*/ 50 h 53"/>
                  <a:gd name="T54" fmla="*/ 32 w 75"/>
                  <a:gd name="T55" fmla="*/ 43 h 53"/>
                  <a:gd name="T56" fmla="*/ 39 w 75"/>
                  <a:gd name="T57" fmla="*/ 40 h 53"/>
                  <a:gd name="T58" fmla="*/ 43 w 75"/>
                  <a:gd name="T59" fmla="*/ 39 h 53"/>
                  <a:gd name="T60" fmla="*/ 45 w 75"/>
                  <a:gd name="T61" fmla="*/ 39 h 53"/>
                  <a:gd name="T62" fmla="*/ 47 w 75"/>
                  <a:gd name="T63" fmla="*/ 33 h 53"/>
                  <a:gd name="T64" fmla="*/ 51 w 75"/>
                  <a:gd name="T65" fmla="*/ 30 h 53"/>
                  <a:gd name="T66" fmla="*/ 51 w 75"/>
                  <a:gd name="T67" fmla="*/ 27 h 53"/>
                  <a:gd name="T68" fmla="*/ 55 w 75"/>
                  <a:gd name="T69" fmla="*/ 26 h 53"/>
                  <a:gd name="T70" fmla="*/ 55 w 75"/>
                  <a:gd name="T71" fmla="*/ 23 h 53"/>
                  <a:gd name="T72" fmla="*/ 58 w 75"/>
                  <a:gd name="T73" fmla="*/ 19 h 53"/>
                  <a:gd name="T74" fmla="*/ 56 w 75"/>
                  <a:gd name="T75" fmla="*/ 14 h 53"/>
                  <a:gd name="T76" fmla="*/ 63 w 75"/>
                  <a:gd name="T77" fmla="*/ 11 h 53"/>
                  <a:gd name="T78" fmla="*/ 70 w 75"/>
                  <a:gd name="T79" fmla="*/ 10 h 53"/>
                  <a:gd name="T80" fmla="*/ 74 w 75"/>
                  <a:gd name="T81" fmla="*/ 9 h 53"/>
                  <a:gd name="T82" fmla="*/ 75 w 75"/>
                  <a:gd name="T83" fmla="*/ 7 h 53"/>
                  <a:gd name="T84" fmla="*/ 72 w 75"/>
                  <a:gd name="T85" fmla="*/ 7 h 53"/>
                  <a:gd name="T86" fmla="*/ 72 w 75"/>
                  <a:gd name="T87"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3">
                    <a:moveTo>
                      <a:pt x="72" y="7"/>
                    </a:moveTo>
                    <a:cubicBezTo>
                      <a:pt x="71" y="7"/>
                      <a:pt x="70" y="9"/>
                      <a:pt x="69" y="8"/>
                    </a:cubicBezTo>
                    <a:cubicBezTo>
                      <a:pt x="68" y="8"/>
                      <a:pt x="68" y="6"/>
                      <a:pt x="67" y="7"/>
                    </a:cubicBezTo>
                    <a:cubicBezTo>
                      <a:pt x="65" y="7"/>
                      <a:pt x="63" y="9"/>
                      <a:pt x="62" y="10"/>
                    </a:cubicBezTo>
                    <a:cubicBezTo>
                      <a:pt x="61" y="10"/>
                      <a:pt x="59" y="12"/>
                      <a:pt x="57" y="11"/>
                    </a:cubicBezTo>
                    <a:cubicBezTo>
                      <a:pt x="56" y="10"/>
                      <a:pt x="59" y="6"/>
                      <a:pt x="57" y="4"/>
                    </a:cubicBezTo>
                    <a:cubicBezTo>
                      <a:pt x="57" y="4"/>
                      <a:pt x="55" y="0"/>
                      <a:pt x="54" y="1"/>
                    </a:cubicBezTo>
                    <a:cubicBezTo>
                      <a:pt x="53" y="3"/>
                      <a:pt x="52" y="5"/>
                      <a:pt x="50" y="6"/>
                    </a:cubicBezTo>
                    <a:cubicBezTo>
                      <a:pt x="48" y="7"/>
                      <a:pt x="47" y="6"/>
                      <a:pt x="47" y="8"/>
                    </a:cubicBezTo>
                    <a:cubicBezTo>
                      <a:pt x="46" y="11"/>
                      <a:pt x="45" y="7"/>
                      <a:pt x="44" y="8"/>
                    </a:cubicBezTo>
                    <a:cubicBezTo>
                      <a:pt x="42" y="9"/>
                      <a:pt x="41" y="10"/>
                      <a:pt x="39" y="10"/>
                    </a:cubicBezTo>
                    <a:cubicBezTo>
                      <a:pt x="37" y="9"/>
                      <a:pt x="35" y="8"/>
                      <a:pt x="34" y="7"/>
                    </a:cubicBezTo>
                    <a:cubicBezTo>
                      <a:pt x="33" y="7"/>
                      <a:pt x="28" y="6"/>
                      <a:pt x="28" y="6"/>
                    </a:cubicBezTo>
                    <a:cubicBezTo>
                      <a:pt x="27" y="7"/>
                      <a:pt x="28" y="8"/>
                      <a:pt x="27" y="8"/>
                    </a:cubicBezTo>
                    <a:cubicBezTo>
                      <a:pt x="26" y="8"/>
                      <a:pt x="24" y="8"/>
                      <a:pt x="24" y="9"/>
                    </a:cubicBezTo>
                    <a:cubicBezTo>
                      <a:pt x="23" y="11"/>
                      <a:pt x="23" y="13"/>
                      <a:pt x="21" y="14"/>
                    </a:cubicBezTo>
                    <a:cubicBezTo>
                      <a:pt x="18" y="16"/>
                      <a:pt x="17" y="15"/>
                      <a:pt x="15" y="17"/>
                    </a:cubicBezTo>
                    <a:cubicBezTo>
                      <a:pt x="14" y="19"/>
                      <a:pt x="12" y="19"/>
                      <a:pt x="11" y="19"/>
                    </a:cubicBezTo>
                    <a:cubicBezTo>
                      <a:pt x="10" y="18"/>
                      <a:pt x="5" y="17"/>
                      <a:pt x="5" y="16"/>
                    </a:cubicBezTo>
                    <a:cubicBezTo>
                      <a:pt x="5" y="19"/>
                      <a:pt x="5" y="21"/>
                      <a:pt x="4" y="23"/>
                    </a:cubicBezTo>
                    <a:cubicBezTo>
                      <a:pt x="2" y="25"/>
                      <a:pt x="0" y="27"/>
                      <a:pt x="3" y="29"/>
                    </a:cubicBezTo>
                    <a:cubicBezTo>
                      <a:pt x="4" y="30"/>
                      <a:pt x="2" y="31"/>
                      <a:pt x="2" y="33"/>
                    </a:cubicBezTo>
                    <a:cubicBezTo>
                      <a:pt x="2" y="34"/>
                      <a:pt x="2" y="36"/>
                      <a:pt x="3" y="37"/>
                    </a:cubicBezTo>
                    <a:cubicBezTo>
                      <a:pt x="3" y="39"/>
                      <a:pt x="2" y="40"/>
                      <a:pt x="4" y="40"/>
                    </a:cubicBezTo>
                    <a:cubicBezTo>
                      <a:pt x="7" y="41"/>
                      <a:pt x="8" y="40"/>
                      <a:pt x="8" y="43"/>
                    </a:cubicBezTo>
                    <a:cubicBezTo>
                      <a:pt x="8" y="45"/>
                      <a:pt x="5" y="48"/>
                      <a:pt x="4" y="49"/>
                    </a:cubicBezTo>
                    <a:cubicBezTo>
                      <a:pt x="12" y="53"/>
                      <a:pt x="21" y="52"/>
                      <a:pt x="29" y="50"/>
                    </a:cubicBezTo>
                    <a:cubicBezTo>
                      <a:pt x="32" y="49"/>
                      <a:pt x="31" y="45"/>
                      <a:pt x="32" y="43"/>
                    </a:cubicBezTo>
                    <a:cubicBezTo>
                      <a:pt x="33" y="41"/>
                      <a:pt x="37" y="42"/>
                      <a:pt x="39" y="40"/>
                    </a:cubicBezTo>
                    <a:cubicBezTo>
                      <a:pt x="40" y="40"/>
                      <a:pt x="41" y="39"/>
                      <a:pt x="43" y="39"/>
                    </a:cubicBezTo>
                    <a:cubicBezTo>
                      <a:pt x="43" y="39"/>
                      <a:pt x="45" y="40"/>
                      <a:pt x="45" y="39"/>
                    </a:cubicBezTo>
                    <a:cubicBezTo>
                      <a:pt x="46" y="37"/>
                      <a:pt x="46" y="35"/>
                      <a:pt x="47" y="33"/>
                    </a:cubicBezTo>
                    <a:cubicBezTo>
                      <a:pt x="48" y="32"/>
                      <a:pt x="52" y="31"/>
                      <a:pt x="51" y="30"/>
                    </a:cubicBezTo>
                    <a:cubicBezTo>
                      <a:pt x="51" y="29"/>
                      <a:pt x="47" y="27"/>
                      <a:pt x="51" y="27"/>
                    </a:cubicBezTo>
                    <a:cubicBezTo>
                      <a:pt x="52" y="27"/>
                      <a:pt x="54" y="28"/>
                      <a:pt x="55" y="26"/>
                    </a:cubicBezTo>
                    <a:cubicBezTo>
                      <a:pt x="55" y="25"/>
                      <a:pt x="54" y="24"/>
                      <a:pt x="55" y="23"/>
                    </a:cubicBezTo>
                    <a:cubicBezTo>
                      <a:pt x="55" y="21"/>
                      <a:pt x="58" y="21"/>
                      <a:pt x="58" y="19"/>
                    </a:cubicBezTo>
                    <a:cubicBezTo>
                      <a:pt x="58" y="17"/>
                      <a:pt x="55" y="16"/>
                      <a:pt x="56" y="14"/>
                    </a:cubicBezTo>
                    <a:cubicBezTo>
                      <a:pt x="58" y="13"/>
                      <a:pt x="61" y="12"/>
                      <a:pt x="63" y="11"/>
                    </a:cubicBezTo>
                    <a:cubicBezTo>
                      <a:pt x="65" y="9"/>
                      <a:pt x="68" y="10"/>
                      <a:pt x="70" y="10"/>
                    </a:cubicBezTo>
                    <a:cubicBezTo>
                      <a:pt x="71" y="10"/>
                      <a:pt x="73" y="10"/>
                      <a:pt x="74" y="9"/>
                    </a:cubicBezTo>
                    <a:cubicBezTo>
                      <a:pt x="74" y="9"/>
                      <a:pt x="75" y="8"/>
                      <a:pt x="75" y="7"/>
                    </a:cubicBezTo>
                    <a:cubicBezTo>
                      <a:pt x="74" y="7"/>
                      <a:pt x="73" y="7"/>
                      <a:pt x="72" y="7"/>
                    </a:cubicBezTo>
                    <a:cubicBezTo>
                      <a:pt x="71" y="8"/>
                      <a:pt x="73" y="7"/>
                      <a:pt x="72" y="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2" name="Freeform 699">
                <a:extLst>
                  <a:ext uri="{FF2B5EF4-FFF2-40B4-BE49-F238E27FC236}">
                    <a16:creationId xmlns:a16="http://schemas.microsoft.com/office/drawing/2014/main" id="{4963D8B7-A03B-594A-84F0-8F86014D0E66}"/>
                  </a:ext>
                </a:extLst>
              </p:cNvPr>
              <p:cNvSpPr>
                <a:spLocks/>
              </p:cNvSpPr>
              <p:nvPr/>
            </p:nvSpPr>
            <p:spPr bwMode="auto">
              <a:xfrm>
                <a:off x="14413572" y="6742664"/>
                <a:ext cx="25477" cy="38227"/>
              </a:xfrm>
              <a:custGeom>
                <a:avLst/>
                <a:gdLst>
                  <a:gd name="T0" fmla="*/ 3 w 3"/>
                  <a:gd name="T1" fmla="*/ 2 h 4"/>
                  <a:gd name="T2" fmla="*/ 1 w 3"/>
                  <a:gd name="T3" fmla="*/ 1 h 4"/>
                  <a:gd name="T4" fmla="*/ 3 w 3"/>
                  <a:gd name="T5" fmla="*/ 4 h 4"/>
                  <a:gd name="T6" fmla="*/ 3 w 3"/>
                  <a:gd name="T7" fmla="*/ 2 h 4"/>
                  <a:gd name="T8" fmla="*/ 3 w 3"/>
                  <a:gd name="T9" fmla="*/ 2 h 4"/>
                </a:gdLst>
                <a:ahLst/>
                <a:cxnLst>
                  <a:cxn ang="0">
                    <a:pos x="T0" y="T1"/>
                  </a:cxn>
                  <a:cxn ang="0">
                    <a:pos x="T2" y="T3"/>
                  </a:cxn>
                  <a:cxn ang="0">
                    <a:pos x="T4" y="T5"/>
                  </a:cxn>
                  <a:cxn ang="0">
                    <a:pos x="T6" y="T7"/>
                  </a:cxn>
                  <a:cxn ang="0">
                    <a:pos x="T8" y="T9"/>
                  </a:cxn>
                </a:cxnLst>
                <a:rect l="0" t="0" r="r" b="b"/>
                <a:pathLst>
                  <a:path w="3" h="4">
                    <a:moveTo>
                      <a:pt x="3" y="2"/>
                    </a:moveTo>
                    <a:cubicBezTo>
                      <a:pt x="2" y="2"/>
                      <a:pt x="1" y="0"/>
                      <a:pt x="1" y="1"/>
                    </a:cubicBezTo>
                    <a:cubicBezTo>
                      <a:pt x="0" y="2"/>
                      <a:pt x="2" y="3"/>
                      <a:pt x="3" y="4"/>
                    </a:cubicBezTo>
                    <a:cubicBezTo>
                      <a:pt x="3" y="3"/>
                      <a:pt x="3" y="2"/>
                      <a:pt x="3" y="2"/>
                    </a:cubicBezTo>
                    <a:cubicBezTo>
                      <a:pt x="2" y="1"/>
                      <a:pt x="3"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3" name="Freeform 700">
                <a:extLst>
                  <a:ext uri="{FF2B5EF4-FFF2-40B4-BE49-F238E27FC236}">
                    <a16:creationId xmlns:a16="http://schemas.microsoft.com/office/drawing/2014/main" id="{CC56AF95-51C7-BE44-841B-5FC950D4D2BC}"/>
                  </a:ext>
                </a:extLst>
              </p:cNvPr>
              <p:cNvSpPr>
                <a:spLocks noEditPoints="1"/>
              </p:cNvSpPr>
              <p:nvPr/>
            </p:nvSpPr>
            <p:spPr bwMode="auto">
              <a:xfrm>
                <a:off x="13824398" y="6153340"/>
                <a:ext cx="1894907" cy="907882"/>
              </a:xfrm>
              <a:custGeom>
                <a:avLst/>
                <a:gdLst>
                  <a:gd name="T0" fmla="*/ 194 w 203"/>
                  <a:gd name="T1" fmla="*/ 37 h 97"/>
                  <a:gd name="T2" fmla="*/ 177 w 203"/>
                  <a:gd name="T3" fmla="*/ 31 h 97"/>
                  <a:gd name="T4" fmla="*/ 163 w 203"/>
                  <a:gd name="T5" fmla="*/ 19 h 97"/>
                  <a:gd name="T6" fmla="*/ 154 w 203"/>
                  <a:gd name="T7" fmla="*/ 7 h 97"/>
                  <a:gd name="T8" fmla="*/ 137 w 203"/>
                  <a:gd name="T9" fmla="*/ 10 h 97"/>
                  <a:gd name="T10" fmla="*/ 129 w 203"/>
                  <a:gd name="T11" fmla="*/ 8 h 97"/>
                  <a:gd name="T12" fmla="*/ 112 w 203"/>
                  <a:gd name="T13" fmla="*/ 2 h 97"/>
                  <a:gd name="T14" fmla="*/ 76 w 203"/>
                  <a:gd name="T15" fmla="*/ 10 h 97"/>
                  <a:gd name="T16" fmla="*/ 75 w 203"/>
                  <a:gd name="T17" fmla="*/ 20 h 97"/>
                  <a:gd name="T18" fmla="*/ 74 w 203"/>
                  <a:gd name="T19" fmla="*/ 31 h 97"/>
                  <a:gd name="T20" fmla="*/ 60 w 203"/>
                  <a:gd name="T21" fmla="*/ 29 h 97"/>
                  <a:gd name="T22" fmla="*/ 48 w 203"/>
                  <a:gd name="T23" fmla="*/ 32 h 97"/>
                  <a:gd name="T24" fmla="*/ 37 w 203"/>
                  <a:gd name="T25" fmla="*/ 27 h 97"/>
                  <a:gd name="T26" fmla="*/ 22 w 203"/>
                  <a:gd name="T27" fmla="*/ 25 h 97"/>
                  <a:gd name="T28" fmla="*/ 13 w 203"/>
                  <a:gd name="T29" fmla="*/ 32 h 97"/>
                  <a:gd name="T30" fmla="*/ 3 w 203"/>
                  <a:gd name="T31" fmla="*/ 38 h 97"/>
                  <a:gd name="T32" fmla="*/ 4 w 203"/>
                  <a:gd name="T33" fmla="*/ 47 h 97"/>
                  <a:gd name="T34" fmla="*/ 14 w 203"/>
                  <a:gd name="T35" fmla="*/ 57 h 97"/>
                  <a:gd name="T36" fmla="*/ 17 w 203"/>
                  <a:gd name="T37" fmla="*/ 57 h 97"/>
                  <a:gd name="T38" fmla="*/ 36 w 203"/>
                  <a:gd name="T39" fmla="*/ 63 h 97"/>
                  <a:gd name="T40" fmla="*/ 33 w 203"/>
                  <a:gd name="T41" fmla="*/ 66 h 97"/>
                  <a:gd name="T42" fmla="*/ 22 w 203"/>
                  <a:gd name="T43" fmla="*/ 72 h 97"/>
                  <a:gd name="T44" fmla="*/ 31 w 203"/>
                  <a:gd name="T45" fmla="*/ 82 h 97"/>
                  <a:gd name="T46" fmla="*/ 48 w 203"/>
                  <a:gd name="T47" fmla="*/ 90 h 97"/>
                  <a:gd name="T48" fmla="*/ 50 w 203"/>
                  <a:gd name="T49" fmla="*/ 68 h 97"/>
                  <a:gd name="T50" fmla="*/ 64 w 203"/>
                  <a:gd name="T51" fmla="*/ 62 h 97"/>
                  <a:gd name="T52" fmla="*/ 72 w 203"/>
                  <a:gd name="T53" fmla="*/ 66 h 97"/>
                  <a:gd name="T54" fmla="*/ 84 w 203"/>
                  <a:gd name="T55" fmla="*/ 76 h 97"/>
                  <a:gd name="T56" fmla="*/ 100 w 203"/>
                  <a:gd name="T57" fmla="*/ 81 h 97"/>
                  <a:gd name="T58" fmla="*/ 107 w 203"/>
                  <a:gd name="T59" fmla="*/ 91 h 97"/>
                  <a:gd name="T60" fmla="*/ 123 w 203"/>
                  <a:gd name="T61" fmla="*/ 85 h 97"/>
                  <a:gd name="T62" fmla="*/ 137 w 203"/>
                  <a:gd name="T63" fmla="*/ 83 h 97"/>
                  <a:gd name="T64" fmla="*/ 153 w 203"/>
                  <a:gd name="T65" fmla="*/ 81 h 97"/>
                  <a:gd name="T66" fmla="*/ 172 w 203"/>
                  <a:gd name="T67" fmla="*/ 76 h 97"/>
                  <a:gd name="T68" fmla="*/ 175 w 203"/>
                  <a:gd name="T69" fmla="*/ 66 h 97"/>
                  <a:gd name="T70" fmla="*/ 182 w 203"/>
                  <a:gd name="T71" fmla="*/ 60 h 97"/>
                  <a:gd name="T72" fmla="*/ 193 w 203"/>
                  <a:gd name="T73" fmla="*/ 56 h 97"/>
                  <a:gd name="T74" fmla="*/ 202 w 203"/>
                  <a:gd name="T75" fmla="*/ 44 h 97"/>
                  <a:gd name="T76" fmla="*/ 201 w 203"/>
                  <a:gd name="T77" fmla="*/ 39 h 97"/>
                  <a:gd name="T78" fmla="*/ 140 w 203"/>
                  <a:gd name="T79" fmla="*/ 65 h 97"/>
                  <a:gd name="T80" fmla="*/ 141 w 203"/>
                  <a:gd name="T81" fmla="*/ 59 h 97"/>
                  <a:gd name="T82" fmla="*/ 148 w 203"/>
                  <a:gd name="T83" fmla="*/ 58 h 97"/>
                  <a:gd name="T84" fmla="*/ 156 w 203"/>
                  <a:gd name="T85" fmla="*/ 58 h 97"/>
                  <a:gd name="T86" fmla="*/ 165 w 203"/>
                  <a:gd name="T87"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3" h="97">
                    <a:moveTo>
                      <a:pt x="201" y="39"/>
                    </a:moveTo>
                    <a:cubicBezTo>
                      <a:pt x="201" y="38"/>
                      <a:pt x="197" y="39"/>
                      <a:pt x="197" y="39"/>
                    </a:cubicBezTo>
                    <a:cubicBezTo>
                      <a:pt x="195" y="39"/>
                      <a:pt x="194" y="38"/>
                      <a:pt x="194" y="37"/>
                    </a:cubicBezTo>
                    <a:cubicBezTo>
                      <a:pt x="193" y="35"/>
                      <a:pt x="191" y="35"/>
                      <a:pt x="191" y="34"/>
                    </a:cubicBezTo>
                    <a:cubicBezTo>
                      <a:pt x="190" y="33"/>
                      <a:pt x="189" y="30"/>
                      <a:pt x="186" y="30"/>
                    </a:cubicBezTo>
                    <a:cubicBezTo>
                      <a:pt x="183" y="30"/>
                      <a:pt x="180" y="33"/>
                      <a:pt x="177" y="31"/>
                    </a:cubicBezTo>
                    <a:cubicBezTo>
                      <a:pt x="176" y="30"/>
                      <a:pt x="175" y="29"/>
                      <a:pt x="174" y="28"/>
                    </a:cubicBezTo>
                    <a:cubicBezTo>
                      <a:pt x="173" y="28"/>
                      <a:pt x="171" y="31"/>
                      <a:pt x="170" y="31"/>
                    </a:cubicBezTo>
                    <a:cubicBezTo>
                      <a:pt x="169" y="32"/>
                      <a:pt x="163" y="21"/>
                      <a:pt x="163" y="19"/>
                    </a:cubicBezTo>
                    <a:cubicBezTo>
                      <a:pt x="161" y="17"/>
                      <a:pt x="160" y="14"/>
                      <a:pt x="157" y="13"/>
                    </a:cubicBezTo>
                    <a:cubicBezTo>
                      <a:pt x="156" y="12"/>
                      <a:pt x="155" y="11"/>
                      <a:pt x="154" y="11"/>
                    </a:cubicBezTo>
                    <a:cubicBezTo>
                      <a:pt x="152" y="10"/>
                      <a:pt x="154" y="8"/>
                      <a:pt x="154" y="7"/>
                    </a:cubicBezTo>
                    <a:cubicBezTo>
                      <a:pt x="154" y="6"/>
                      <a:pt x="147" y="10"/>
                      <a:pt x="146" y="11"/>
                    </a:cubicBezTo>
                    <a:cubicBezTo>
                      <a:pt x="145" y="11"/>
                      <a:pt x="137" y="14"/>
                      <a:pt x="137" y="13"/>
                    </a:cubicBezTo>
                    <a:cubicBezTo>
                      <a:pt x="137" y="11"/>
                      <a:pt x="139" y="10"/>
                      <a:pt x="137" y="10"/>
                    </a:cubicBezTo>
                    <a:cubicBezTo>
                      <a:pt x="136" y="9"/>
                      <a:pt x="135" y="8"/>
                      <a:pt x="134" y="9"/>
                    </a:cubicBezTo>
                    <a:cubicBezTo>
                      <a:pt x="134" y="9"/>
                      <a:pt x="134" y="10"/>
                      <a:pt x="133" y="9"/>
                    </a:cubicBezTo>
                    <a:cubicBezTo>
                      <a:pt x="131" y="8"/>
                      <a:pt x="132" y="7"/>
                      <a:pt x="129" y="8"/>
                    </a:cubicBezTo>
                    <a:cubicBezTo>
                      <a:pt x="126" y="10"/>
                      <a:pt x="126" y="7"/>
                      <a:pt x="126" y="5"/>
                    </a:cubicBezTo>
                    <a:cubicBezTo>
                      <a:pt x="127" y="1"/>
                      <a:pt x="121" y="0"/>
                      <a:pt x="118" y="0"/>
                    </a:cubicBezTo>
                    <a:cubicBezTo>
                      <a:pt x="116" y="0"/>
                      <a:pt x="114" y="1"/>
                      <a:pt x="112" y="2"/>
                    </a:cubicBezTo>
                    <a:cubicBezTo>
                      <a:pt x="110" y="3"/>
                      <a:pt x="108" y="4"/>
                      <a:pt x="105" y="4"/>
                    </a:cubicBezTo>
                    <a:cubicBezTo>
                      <a:pt x="97" y="6"/>
                      <a:pt x="89" y="9"/>
                      <a:pt x="81" y="9"/>
                    </a:cubicBezTo>
                    <a:cubicBezTo>
                      <a:pt x="79" y="9"/>
                      <a:pt x="77" y="9"/>
                      <a:pt x="76" y="10"/>
                    </a:cubicBezTo>
                    <a:cubicBezTo>
                      <a:pt x="75" y="11"/>
                      <a:pt x="77" y="14"/>
                      <a:pt x="79" y="14"/>
                    </a:cubicBezTo>
                    <a:cubicBezTo>
                      <a:pt x="83" y="17"/>
                      <a:pt x="76" y="16"/>
                      <a:pt x="74" y="17"/>
                    </a:cubicBezTo>
                    <a:cubicBezTo>
                      <a:pt x="72" y="18"/>
                      <a:pt x="75" y="19"/>
                      <a:pt x="75" y="20"/>
                    </a:cubicBezTo>
                    <a:cubicBezTo>
                      <a:pt x="75" y="22"/>
                      <a:pt x="71" y="22"/>
                      <a:pt x="71" y="23"/>
                    </a:cubicBezTo>
                    <a:cubicBezTo>
                      <a:pt x="71" y="26"/>
                      <a:pt x="79" y="25"/>
                      <a:pt x="78" y="29"/>
                    </a:cubicBezTo>
                    <a:cubicBezTo>
                      <a:pt x="77" y="30"/>
                      <a:pt x="76" y="31"/>
                      <a:pt x="74" y="31"/>
                    </a:cubicBezTo>
                    <a:cubicBezTo>
                      <a:pt x="73" y="31"/>
                      <a:pt x="70" y="31"/>
                      <a:pt x="69" y="31"/>
                    </a:cubicBezTo>
                    <a:cubicBezTo>
                      <a:pt x="67" y="32"/>
                      <a:pt x="68" y="33"/>
                      <a:pt x="66" y="32"/>
                    </a:cubicBezTo>
                    <a:cubicBezTo>
                      <a:pt x="64" y="31"/>
                      <a:pt x="62" y="29"/>
                      <a:pt x="60" y="29"/>
                    </a:cubicBezTo>
                    <a:cubicBezTo>
                      <a:pt x="59" y="28"/>
                      <a:pt x="57" y="30"/>
                      <a:pt x="56" y="30"/>
                    </a:cubicBezTo>
                    <a:cubicBezTo>
                      <a:pt x="54" y="29"/>
                      <a:pt x="53" y="29"/>
                      <a:pt x="51" y="30"/>
                    </a:cubicBezTo>
                    <a:cubicBezTo>
                      <a:pt x="50" y="31"/>
                      <a:pt x="49" y="33"/>
                      <a:pt x="48" y="32"/>
                    </a:cubicBezTo>
                    <a:cubicBezTo>
                      <a:pt x="47" y="32"/>
                      <a:pt x="44" y="29"/>
                      <a:pt x="43" y="30"/>
                    </a:cubicBezTo>
                    <a:cubicBezTo>
                      <a:pt x="42" y="30"/>
                      <a:pt x="42" y="33"/>
                      <a:pt x="41" y="31"/>
                    </a:cubicBezTo>
                    <a:cubicBezTo>
                      <a:pt x="40" y="29"/>
                      <a:pt x="39" y="28"/>
                      <a:pt x="37" y="27"/>
                    </a:cubicBezTo>
                    <a:cubicBezTo>
                      <a:pt x="35" y="26"/>
                      <a:pt x="33" y="26"/>
                      <a:pt x="32" y="25"/>
                    </a:cubicBezTo>
                    <a:cubicBezTo>
                      <a:pt x="29" y="24"/>
                      <a:pt x="29" y="26"/>
                      <a:pt x="27" y="26"/>
                    </a:cubicBezTo>
                    <a:cubicBezTo>
                      <a:pt x="25" y="27"/>
                      <a:pt x="24" y="24"/>
                      <a:pt x="22" y="25"/>
                    </a:cubicBezTo>
                    <a:cubicBezTo>
                      <a:pt x="21" y="26"/>
                      <a:pt x="21" y="27"/>
                      <a:pt x="20" y="27"/>
                    </a:cubicBezTo>
                    <a:cubicBezTo>
                      <a:pt x="19" y="28"/>
                      <a:pt x="17" y="28"/>
                      <a:pt x="16" y="28"/>
                    </a:cubicBezTo>
                    <a:cubicBezTo>
                      <a:pt x="15" y="29"/>
                      <a:pt x="13" y="31"/>
                      <a:pt x="13" y="32"/>
                    </a:cubicBezTo>
                    <a:cubicBezTo>
                      <a:pt x="12" y="33"/>
                      <a:pt x="14" y="36"/>
                      <a:pt x="12" y="36"/>
                    </a:cubicBezTo>
                    <a:cubicBezTo>
                      <a:pt x="10" y="37"/>
                      <a:pt x="7" y="31"/>
                      <a:pt x="6" y="34"/>
                    </a:cubicBezTo>
                    <a:cubicBezTo>
                      <a:pt x="5" y="36"/>
                      <a:pt x="4" y="36"/>
                      <a:pt x="3" y="38"/>
                    </a:cubicBezTo>
                    <a:cubicBezTo>
                      <a:pt x="2" y="40"/>
                      <a:pt x="6" y="40"/>
                      <a:pt x="4" y="42"/>
                    </a:cubicBezTo>
                    <a:cubicBezTo>
                      <a:pt x="3" y="43"/>
                      <a:pt x="0" y="45"/>
                      <a:pt x="2" y="46"/>
                    </a:cubicBezTo>
                    <a:cubicBezTo>
                      <a:pt x="3" y="46"/>
                      <a:pt x="4" y="47"/>
                      <a:pt x="4" y="47"/>
                    </a:cubicBezTo>
                    <a:cubicBezTo>
                      <a:pt x="5" y="48"/>
                      <a:pt x="4" y="49"/>
                      <a:pt x="5" y="50"/>
                    </a:cubicBezTo>
                    <a:cubicBezTo>
                      <a:pt x="7" y="51"/>
                      <a:pt x="9" y="49"/>
                      <a:pt x="11" y="51"/>
                    </a:cubicBezTo>
                    <a:cubicBezTo>
                      <a:pt x="12" y="52"/>
                      <a:pt x="14" y="55"/>
                      <a:pt x="14" y="57"/>
                    </a:cubicBezTo>
                    <a:cubicBezTo>
                      <a:pt x="13" y="57"/>
                      <a:pt x="10" y="56"/>
                      <a:pt x="13" y="58"/>
                    </a:cubicBezTo>
                    <a:cubicBezTo>
                      <a:pt x="14" y="59"/>
                      <a:pt x="14" y="60"/>
                      <a:pt x="16" y="58"/>
                    </a:cubicBezTo>
                    <a:cubicBezTo>
                      <a:pt x="16" y="57"/>
                      <a:pt x="16" y="57"/>
                      <a:pt x="17" y="57"/>
                    </a:cubicBezTo>
                    <a:cubicBezTo>
                      <a:pt x="22" y="57"/>
                      <a:pt x="24" y="54"/>
                      <a:pt x="29" y="56"/>
                    </a:cubicBezTo>
                    <a:cubicBezTo>
                      <a:pt x="31" y="57"/>
                      <a:pt x="33" y="54"/>
                      <a:pt x="34" y="56"/>
                    </a:cubicBezTo>
                    <a:cubicBezTo>
                      <a:pt x="35" y="57"/>
                      <a:pt x="37" y="61"/>
                      <a:pt x="36" y="63"/>
                    </a:cubicBezTo>
                    <a:cubicBezTo>
                      <a:pt x="35" y="63"/>
                      <a:pt x="33" y="64"/>
                      <a:pt x="35" y="64"/>
                    </a:cubicBezTo>
                    <a:cubicBezTo>
                      <a:pt x="35" y="65"/>
                      <a:pt x="35" y="65"/>
                      <a:pt x="35" y="65"/>
                    </a:cubicBezTo>
                    <a:cubicBezTo>
                      <a:pt x="34" y="66"/>
                      <a:pt x="33" y="66"/>
                      <a:pt x="33" y="66"/>
                    </a:cubicBezTo>
                    <a:cubicBezTo>
                      <a:pt x="30" y="66"/>
                      <a:pt x="22" y="64"/>
                      <a:pt x="24" y="69"/>
                    </a:cubicBezTo>
                    <a:cubicBezTo>
                      <a:pt x="25" y="71"/>
                      <a:pt x="24" y="71"/>
                      <a:pt x="22" y="70"/>
                    </a:cubicBezTo>
                    <a:cubicBezTo>
                      <a:pt x="20" y="69"/>
                      <a:pt x="21" y="71"/>
                      <a:pt x="22" y="72"/>
                    </a:cubicBezTo>
                    <a:cubicBezTo>
                      <a:pt x="24" y="72"/>
                      <a:pt x="24" y="75"/>
                      <a:pt x="25" y="76"/>
                    </a:cubicBezTo>
                    <a:cubicBezTo>
                      <a:pt x="27" y="77"/>
                      <a:pt x="24" y="79"/>
                      <a:pt x="27" y="79"/>
                    </a:cubicBezTo>
                    <a:cubicBezTo>
                      <a:pt x="28" y="79"/>
                      <a:pt x="30" y="81"/>
                      <a:pt x="31" y="82"/>
                    </a:cubicBezTo>
                    <a:cubicBezTo>
                      <a:pt x="34" y="82"/>
                      <a:pt x="31" y="85"/>
                      <a:pt x="31" y="87"/>
                    </a:cubicBezTo>
                    <a:cubicBezTo>
                      <a:pt x="34" y="85"/>
                      <a:pt x="38" y="82"/>
                      <a:pt x="42" y="85"/>
                    </a:cubicBezTo>
                    <a:cubicBezTo>
                      <a:pt x="44" y="87"/>
                      <a:pt x="45" y="90"/>
                      <a:pt x="48" y="90"/>
                    </a:cubicBezTo>
                    <a:cubicBezTo>
                      <a:pt x="50" y="90"/>
                      <a:pt x="49" y="88"/>
                      <a:pt x="49" y="87"/>
                    </a:cubicBezTo>
                    <a:cubicBezTo>
                      <a:pt x="49" y="84"/>
                      <a:pt x="49" y="81"/>
                      <a:pt x="49" y="78"/>
                    </a:cubicBezTo>
                    <a:cubicBezTo>
                      <a:pt x="49" y="76"/>
                      <a:pt x="48" y="68"/>
                      <a:pt x="50" y="68"/>
                    </a:cubicBezTo>
                    <a:cubicBezTo>
                      <a:pt x="52" y="67"/>
                      <a:pt x="55" y="66"/>
                      <a:pt x="57" y="65"/>
                    </a:cubicBezTo>
                    <a:cubicBezTo>
                      <a:pt x="59" y="65"/>
                      <a:pt x="61" y="64"/>
                      <a:pt x="62" y="64"/>
                    </a:cubicBezTo>
                    <a:cubicBezTo>
                      <a:pt x="63" y="63"/>
                      <a:pt x="62" y="61"/>
                      <a:pt x="64" y="62"/>
                    </a:cubicBezTo>
                    <a:cubicBezTo>
                      <a:pt x="65" y="62"/>
                      <a:pt x="68" y="64"/>
                      <a:pt x="68" y="62"/>
                    </a:cubicBezTo>
                    <a:cubicBezTo>
                      <a:pt x="68" y="61"/>
                      <a:pt x="70" y="60"/>
                      <a:pt x="71" y="62"/>
                    </a:cubicBezTo>
                    <a:cubicBezTo>
                      <a:pt x="72" y="63"/>
                      <a:pt x="71" y="64"/>
                      <a:pt x="72" y="66"/>
                    </a:cubicBezTo>
                    <a:cubicBezTo>
                      <a:pt x="72" y="67"/>
                      <a:pt x="73" y="69"/>
                      <a:pt x="72" y="70"/>
                    </a:cubicBezTo>
                    <a:cubicBezTo>
                      <a:pt x="73" y="71"/>
                      <a:pt x="74" y="71"/>
                      <a:pt x="75" y="72"/>
                    </a:cubicBezTo>
                    <a:cubicBezTo>
                      <a:pt x="78" y="75"/>
                      <a:pt x="80" y="77"/>
                      <a:pt x="84" y="76"/>
                    </a:cubicBezTo>
                    <a:cubicBezTo>
                      <a:pt x="86" y="76"/>
                      <a:pt x="88" y="77"/>
                      <a:pt x="90" y="77"/>
                    </a:cubicBezTo>
                    <a:cubicBezTo>
                      <a:pt x="92" y="77"/>
                      <a:pt x="93" y="75"/>
                      <a:pt x="95" y="75"/>
                    </a:cubicBezTo>
                    <a:cubicBezTo>
                      <a:pt x="97" y="76"/>
                      <a:pt x="99" y="79"/>
                      <a:pt x="100" y="81"/>
                    </a:cubicBezTo>
                    <a:cubicBezTo>
                      <a:pt x="101" y="82"/>
                      <a:pt x="100" y="83"/>
                      <a:pt x="100" y="85"/>
                    </a:cubicBezTo>
                    <a:cubicBezTo>
                      <a:pt x="100" y="87"/>
                      <a:pt x="103" y="88"/>
                      <a:pt x="103" y="90"/>
                    </a:cubicBezTo>
                    <a:cubicBezTo>
                      <a:pt x="103" y="91"/>
                      <a:pt x="106" y="91"/>
                      <a:pt x="107" y="91"/>
                    </a:cubicBezTo>
                    <a:cubicBezTo>
                      <a:pt x="109" y="91"/>
                      <a:pt x="109" y="91"/>
                      <a:pt x="110" y="93"/>
                    </a:cubicBezTo>
                    <a:cubicBezTo>
                      <a:pt x="112" y="97"/>
                      <a:pt x="114" y="92"/>
                      <a:pt x="116" y="90"/>
                    </a:cubicBezTo>
                    <a:cubicBezTo>
                      <a:pt x="117" y="87"/>
                      <a:pt x="121" y="87"/>
                      <a:pt x="123" y="85"/>
                    </a:cubicBezTo>
                    <a:cubicBezTo>
                      <a:pt x="125" y="85"/>
                      <a:pt x="125" y="85"/>
                      <a:pt x="126" y="84"/>
                    </a:cubicBezTo>
                    <a:cubicBezTo>
                      <a:pt x="127" y="81"/>
                      <a:pt x="128" y="82"/>
                      <a:pt x="130" y="82"/>
                    </a:cubicBezTo>
                    <a:cubicBezTo>
                      <a:pt x="132" y="82"/>
                      <a:pt x="136" y="85"/>
                      <a:pt x="137" y="83"/>
                    </a:cubicBezTo>
                    <a:cubicBezTo>
                      <a:pt x="137" y="81"/>
                      <a:pt x="137" y="80"/>
                      <a:pt x="139" y="79"/>
                    </a:cubicBezTo>
                    <a:cubicBezTo>
                      <a:pt x="141" y="78"/>
                      <a:pt x="143" y="80"/>
                      <a:pt x="145" y="80"/>
                    </a:cubicBezTo>
                    <a:cubicBezTo>
                      <a:pt x="147" y="81"/>
                      <a:pt x="151" y="81"/>
                      <a:pt x="153" y="81"/>
                    </a:cubicBezTo>
                    <a:cubicBezTo>
                      <a:pt x="159" y="81"/>
                      <a:pt x="164" y="83"/>
                      <a:pt x="170" y="84"/>
                    </a:cubicBezTo>
                    <a:cubicBezTo>
                      <a:pt x="169" y="82"/>
                      <a:pt x="171" y="81"/>
                      <a:pt x="173" y="79"/>
                    </a:cubicBezTo>
                    <a:cubicBezTo>
                      <a:pt x="174" y="78"/>
                      <a:pt x="173" y="78"/>
                      <a:pt x="172" y="76"/>
                    </a:cubicBezTo>
                    <a:cubicBezTo>
                      <a:pt x="171" y="75"/>
                      <a:pt x="171" y="73"/>
                      <a:pt x="171" y="71"/>
                    </a:cubicBezTo>
                    <a:cubicBezTo>
                      <a:pt x="170" y="71"/>
                      <a:pt x="170" y="67"/>
                      <a:pt x="169" y="68"/>
                    </a:cubicBezTo>
                    <a:cubicBezTo>
                      <a:pt x="170" y="67"/>
                      <a:pt x="173" y="67"/>
                      <a:pt x="175" y="66"/>
                    </a:cubicBezTo>
                    <a:cubicBezTo>
                      <a:pt x="178" y="66"/>
                      <a:pt x="180" y="68"/>
                      <a:pt x="182" y="66"/>
                    </a:cubicBezTo>
                    <a:cubicBezTo>
                      <a:pt x="183" y="66"/>
                      <a:pt x="181" y="65"/>
                      <a:pt x="181" y="64"/>
                    </a:cubicBezTo>
                    <a:cubicBezTo>
                      <a:pt x="180" y="63"/>
                      <a:pt x="181" y="61"/>
                      <a:pt x="182" y="60"/>
                    </a:cubicBezTo>
                    <a:cubicBezTo>
                      <a:pt x="183" y="59"/>
                      <a:pt x="184" y="53"/>
                      <a:pt x="185" y="54"/>
                    </a:cubicBezTo>
                    <a:cubicBezTo>
                      <a:pt x="187" y="55"/>
                      <a:pt x="188" y="56"/>
                      <a:pt x="190" y="56"/>
                    </a:cubicBezTo>
                    <a:cubicBezTo>
                      <a:pt x="191" y="55"/>
                      <a:pt x="192" y="57"/>
                      <a:pt x="193" y="56"/>
                    </a:cubicBezTo>
                    <a:cubicBezTo>
                      <a:pt x="194" y="56"/>
                      <a:pt x="196" y="55"/>
                      <a:pt x="197" y="54"/>
                    </a:cubicBezTo>
                    <a:cubicBezTo>
                      <a:pt x="198" y="53"/>
                      <a:pt x="196" y="51"/>
                      <a:pt x="196" y="49"/>
                    </a:cubicBezTo>
                    <a:cubicBezTo>
                      <a:pt x="197" y="46"/>
                      <a:pt x="200" y="47"/>
                      <a:pt x="202" y="44"/>
                    </a:cubicBezTo>
                    <a:cubicBezTo>
                      <a:pt x="202" y="43"/>
                      <a:pt x="202" y="43"/>
                      <a:pt x="203" y="42"/>
                    </a:cubicBezTo>
                    <a:cubicBezTo>
                      <a:pt x="203" y="41"/>
                      <a:pt x="202" y="40"/>
                      <a:pt x="201" y="39"/>
                    </a:cubicBezTo>
                    <a:cubicBezTo>
                      <a:pt x="201" y="38"/>
                      <a:pt x="202" y="39"/>
                      <a:pt x="201" y="39"/>
                    </a:cubicBezTo>
                    <a:close/>
                    <a:moveTo>
                      <a:pt x="148" y="58"/>
                    </a:moveTo>
                    <a:cubicBezTo>
                      <a:pt x="146" y="58"/>
                      <a:pt x="143" y="61"/>
                      <a:pt x="142" y="62"/>
                    </a:cubicBezTo>
                    <a:cubicBezTo>
                      <a:pt x="141" y="62"/>
                      <a:pt x="140" y="64"/>
                      <a:pt x="140" y="65"/>
                    </a:cubicBezTo>
                    <a:cubicBezTo>
                      <a:pt x="140" y="66"/>
                      <a:pt x="141" y="67"/>
                      <a:pt x="141" y="67"/>
                    </a:cubicBezTo>
                    <a:cubicBezTo>
                      <a:pt x="140" y="68"/>
                      <a:pt x="138" y="64"/>
                      <a:pt x="138" y="63"/>
                    </a:cubicBezTo>
                    <a:cubicBezTo>
                      <a:pt x="138" y="61"/>
                      <a:pt x="139" y="60"/>
                      <a:pt x="141" y="59"/>
                    </a:cubicBezTo>
                    <a:cubicBezTo>
                      <a:pt x="143" y="58"/>
                      <a:pt x="145" y="57"/>
                      <a:pt x="147" y="57"/>
                    </a:cubicBezTo>
                    <a:cubicBezTo>
                      <a:pt x="147" y="57"/>
                      <a:pt x="152" y="58"/>
                      <a:pt x="152" y="58"/>
                    </a:cubicBezTo>
                    <a:cubicBezTo>
                      <a:pt x="151" y="59"/>
                      <a:pt x="148" y="58"/>
                      <a:pt x="148" y="58"/>
                    </a:cubicBezTo>
                    <a:cubicBezTo>
                      <a:pt x="146" y="58"/>
                      <a:pt x="149" y="58"/>
                      <a:pt x="148" y="58"/>
                    </a:cubicBezTo>
                    <a:close/>
                    <a:moveTo>
                      <a:pt x="165" y="59"/>
                    </a:moveTo>
                    <a:cubicBezTo>
                      <a:pt x="164" y="61"/>
                      <a:pt x="157" y="60"/>
                      <a:pt x="156" y="58"/>
                    </a:cubicBezTo>
                    <a:cubicBezTo>
                      <a:pt x="156" y="58"/>
                      <a:pt x="160" y="58"/>
                      <a:pt x="160" y="58"/>
                    </a:cubicBezTo>
                    <a:cubicBezTo>
                      <a:pt x="162" y="58"/>
                      <a:pt x="163" y="58"/>
                      <a:pt x="165" y="57"/>
                    </a:cubicBezTo>
                    <a:cubicBezTo>
                      <a:pt x="165" y="57"/>
                      <a:pt x="165" y="59"/>
                      <a:pt x="165" y="59"/>
                    </a:cubicBezTo>
                    <a:cubicBezTo>
                      <a:pt x="164" y="60"/>
                      <a:pt x="165" y="58"/>
                      <a:pt x="165" y="5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4" name="Freeform 701">
                <a:extLst>
                  <a:ext uri="{FF2B5EF4-FFF2-40B4-BE49-F238E27FC236}">
                    <a16:creationId xmlns:a16="http://schemas.microsoft.com/office/drawing/2014/main" id="{8F7CA3F2-FE1F-7A4A-9409-46CDF898B92B}"/>
                  </a:ext>
                </a:extLst>
              </p:cNvPr>
              <p:cNvSpPr>
                <a:spLocks/>
              </p:cNvSpPr>
              <p:nvPr/>
            </p:nvSpPr>
            <p:spPr bwMode="auto">
              <a:xfrm>
                <a:off x="14849878" y="7284206"/>
                <a:ext cx="1308918" cy="1395268"/>
              </a:xfrm>
              <a:custGeom>
                <a:avLst/>
                <a:gdLst>
                  <a:gd name="T0" fmla="*/ 121 w 140"/>
                  <a:gd name="T1" fmla="*/ 66 h 149"/>
                  <a:gd name="T2" fmla="*/ 129 w 140"/>
                  <a:gd name="T3" fmla="*/ 54 h 149"/>
                  <a:gd name="T4" fmla="*/ 137 w 140"/>
                  <a:gd name="T5" fmla="*/ 46 h 149"/>
                  <a:gd name="T6" fmla="*/ 135 w 140"/>
                  <a:gd name="T7" fmla="*/ 41 h 149"/>
                  <a:gd name="T8" fmla="*/ 127 w 140"/>
                  <a:gd name="T9" fmla="*/ 37 h 149"/>
                  <a:gd name="T10" fmla="*/ 119 w 140"/>
                  <a:gd name="T11" fmla="*/ 43 h 149"/>
                  <a:gd name="T12" fmla="*/ 106 w 140"/>
                  <a:gd name="T13" fmla="*/ 51 h 149"/>
                  <a:gd name="T14" fmla="*/ 100 w 140"/>
                  <a:gd name="T15" fmla="*/ 45 h 149"/>
                  <a:gd name="T16" fmla="*/ 92 w 140"/>
                  <a:gd name="T17" fmla="*/ 52 h 149"/>
                  <a:gd name="T18" fmla="*/ 77 w 140"/>
                  <a:gd name="T19" fmla="*/ 47 h 149"/>
                  <a:gd name="T20" fmla="*/ 62 w 140"/>
                  <a:gd name="T21" fmla="*/ 41 h 149"/>
                  <a:gd name="T22" fmla="*/ 63 w 140"/>
                  <a:gd name="T23" fmla="*/ 32 h 149"/>
                  <a:gd name="T24" fmla="*/ 52 w 140"/>
                  <a:gd name="T25" fmla="*/ 22 h 149"/>
                  <a:gd name="T26" fmla="*/ 55 w 140"/>
                  <a:gd name="T27" fmla="*/ 12 h 149"/>
                  <a:gd name="T28" fmla="*/ 50 w 140"/>
                  <a:gd name="T29" fmla="*/ 2 h 149"/>
                  <a:gd name="T30" fmla="*/ 40 w 140"/>
                  <a:gd name="T31" fmla="*/ 8 h 149"/>
                  <a:gd name="T32" fmla="*/ 30 w 140"/>
                  <a:gd name="T33" fmla="*/ 12 h 149"/>
                  <a:gd name="T34" fmla="*/ 33 w 140"/>
                  <a:gd name="T35" fmla="*/ 22 h 149"/>
                  <a:gd name="T36" fmla="*/ 29 w 140"/>
                  <a:gd name="T37" fmla="*/ 33 h 149"/>
                  <a:gd name="T38" fmla="*/ 19 w 140"/>
                  <a:gd name="T39" fmla="*/ 44 h 149"/>
                  <a:gd name="T40" fmla="*/ 7 w 140"/>
                  <a:gd name="T41" fmla="*/ 50 h 149"/>
                  <a:gd name="T42" fmla="*/ 14 w 140"/>
                  <a:gd name="T43" fmla="*/ 64 h 149"/>
                  <a:gd name="T44" fmla="*/ 5 w 140"/>
                  <a:gd name="T45" fmla="*/ 64 h 149"/>
                  <a:gd name="T46" fmla="*/ 11 w 140"/>
                  <a:gd name="T47" fmla="*/ 72 h 149"/>
                  <a:gd name="T48" fmla="*/ 11 w 140"/>
                  <a:gd name="T49" fmla="*/ 82 h 149"/>
                  <a:gd name="T50" fmla="*/ 19 w 140"/>
                  <a:gd name="T51" fmla="*/ 78 h 149"/>
                  <a:gd name="T52" fmla="*/ 23 w 140"/>
                  <a:gd name="T53" fmla="*/ 75 h 149"/>
                  <a:gd name="T54" fmla="*/ 22 w 140"/>
                  <a:gd name="T55" fmla="*/ 78 h 149"/>
                  <a:gd name="T56" fmla="*/ 24 w 140"/>
                  <a:gd name="T57" fmla="*/ 82 h 149"/>
                  <a:gd name="T58" fmla="*/ 24 w 140"/>
                  <a:gd name="T59" fmla="*/ 95 h 149"/>
                  <a:gd name="T60" fmla="*/ 26 w 140"/>
                  <a:gd name="T61" fmla="*/ 107 h 149"/>
                  <a:gd name="T62" fmla="*/ 39 w 140"/>
                  <a:gd name="T63" fmla="*/ 134 h 149"/>
                  <a:gd name="T64" fmla="*/ 50 w 140"/>
                  <a:gd name="T65" fmla="*/ 143 h 149"/>
                  <a:gd name="T66" fmla="*/ 57 w 140"/>
                  <a:gd name="T67" fmla="*/ 132 h 149"/>
                  <a:gd name="T68" fmla="*/ 65 w 140"/>
                  <a:gd name="T69" fmla="*/ 107 h 149"/>
                  <a:gd name="T70" fmla="*/ 81 w 140"/>
                  <a:gd name="T71" fmla="*/ 93 h 149"/>
                  <a:gd name="T72" fmla="*/ 91 w 140"/>
                  <a:gd name="T73" fmla="*/ 84 h 149"/>
                  <a:gd name="T74" fmla="*/ 98 w 140"/>
                  <a:gd name="T75" fmla="*/ 74 h 149"/>
                  <a:gd name="T76" fmla="*/ 101 w 140"/>
                  <a:gd name="T77" fmla="*/ 78 h 149"/>
                  <a:gd name="T78" fmla="*/ 100 w 140"/>
                  <a:gd name="T79" fmla="*/ 58 h 149"/>
                  <a:gd name="T80" fmla="*/ 104 w 140"/>
                  <a:gd name="T81" fmla="*/ 57 h 149"/>
                  <a:gd name="T82" fmla="*/ 114 w 140"/>
                  <a:gd name="T83" fmla="*/ 60 h 149"/>
                  <a:gd name="T84" fmla="*/ 115 w 140"/>
                  <a:gd name="T85" fmla="*/ 6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9">
                    <a:moveTo>
                      <a:pt x="117" y="76"/>
                    </a:moveTo>
                    <a:cubicBezTo>
                      <a:pt x="121" y="77"/>
                      <a:pt x="119" y="73"/>
                      <a:pt x="120" y="71"/>
                    </a:cubicBezTo>
                    <a:cubicBezTo>
                      <a:pt x="120" y="69"/>
                      <a:pt x="121" y="67"/>
                      <a:pt x="121" y="66"/>
                    </a:cubicBezTo>
                    <a:cubicBezTo>
                      <a:pt x="122" y="65"/>
                      <a:pt x="124" y="67"/>
                      <a:pt x="125" y="65"/>
                    </a:cubicBezTo>
                    <a:cubicBezTo>
                      <a:pt x="126" y="63"/>
                      <a:pt x="126" y="61"/>
                      <a:pt x="126" y="59"/>
                    </a:cubicBezTo>
                    <a:cubicBezTo>
                      <a:pt x="127" y="57"/>
                      <a:pt x="129" y="56"/>
                      <a:pt x="129" y="54"/>
                    </a:cubicBezTo>
                    <a:cubicBezTo>
                      <a:pt x="129" y="52"/>
                      <a:pt x="132" y="50"/>
                      <a:pt x="133" y="49"/>
                    </a:cubicBezTo>
                    <a:cubicBezTo>
                      <a:pt x="136" y="46"/>
                      <a:pt x="135" y="49"/>
                      <a:pt x="137" y="50"/>
                    </a:cubicBezTo>
                    <a:cubicBezTo>
                      <a:pt x="137" y="50"/>
                      <a:pt x="137" y="46"/>
                      <a:pt x="137" y="46"/>
                    </a:cubicBezTo>
                    <a:cubicBezTo>
                      <a:pt x="137" y="45"/>
                      <a:pt x="140" y="45"/>
                      <a:pt x="138" y="43"/>
                    </a:cubicBezTo>
                    <a:cubicBezTo>
                      <a:pt x="137" y="43"/>
                      <a:pt x="135" y="43"/>
                      <a:pt x="134" y="43"/>
                    </a:cubicBezTo>
                    <a:cubicBezTo>
                      <a:pt x="134" y="42"/>
                      <a:pt x="135" y="41"/>
                      <a:pt x="135" y="41"/>
                    </a:cubicBezTo>
                    <a:cubicBezTo>
                      <a:pt x="136" y="40"/>
                      <a:pt x="135" y="39"/>
                      <a:pt x="134" y="38"/>
                    </a:cubicBezTo>
                    <a:cubicBezTo>
                      <a:pt x="133" y="37"/>
                      <a:pt x="133" y="37"/>
                      <a:pt x="132" y="38"/>
                    </a:cubicBezTo>
                    <a:cubicBezTo>
                      <a:pt x="130" y="39"/>
                      <a:pt x="129" y="38"/>
                      <a:pt x="127" y="37"/>
                    </a:cubicBezTo>
                    <a:cubicBezTo>
                      <a:pt x="126" y="37"/>
                      <a:pt x="124" y="39"/>
                      <a:pt x="124" y="40"/>
                    </a:cubicBezTo>
                    <a:cubicBezTo>
                      <a:pt x="123" y="41"/>
                      <a:pt x="122" y="40"/>
                      <a:pt x="121" y="41"/>
                    </a:cubicBezTo>
                    <a:cubicBezTo>
                      <a:pt x="120" y="41"/>
                      <a:pt x="119" y="42"/>
                      <a:pt x="119" y="43"/>
                    </a:cubicBezTo>
                    <a:cubicBezTo>
                      <a:pt x="117" y="45"/>
                      <a:pt x="116" y="46"/>
                      <a:pt x="114" y="45"/>
                    </a:cubicBezTo>
                    <a:cubicBezTo>
                      <a:pt x="113" y="46"/>
                      <a:pt x="114" y="48"/>
                      <a:pt x="115" y="49"/>
                    </a:cubicBezTo>
                    <a:cubicBezTo>
                      <a:pt x="117" y="53"/>
                      <a:pt x="108" y="50"/>
                      <a:pt x="106" y="51"/>
                    </a:cubicBezTo>
                    <a:cubicBezTo>
                      <a:pt x="105" y="52"/>
                      <a:pt x="102" y="51"/>
                      <a:pt x="101" y="50"/>
                    </a:cubicBezTo>
                    <a:cubicBezTo>
                      <a:pt x="100" y="49"/>
                      <a:pt x="101" y="47"/>
                      <a:pt x="101" y="47"/>
                    </a:cubicBezTo>
                    <a:cubicBezTo>
                      <a:pt x="101" y="47"/>
                      <a:pt x="101" y="44"/>
                      <a:pt x="100" y="45"/>
                    </a:cubicBezTo>
                    <a:cubicBezTo>
                      <a:pt x="98" y="45"/>
                      <a:pt x="96" y="45"/>
                      <a:pt x="96" y="48"/>
                    </a:cubicBezTo>
                    <a:cubicBezTo>
                      <a:pt x="97" y="49"/>
                      <a:pt x="98" y="52"/>
                      <a:pt x="97" y="52"/>
                    </a:cubicBezTo>
                    <a:cubicBezTo>
                      <a:pt x="95" y="52"/>
                      <a:pt x="94" y="54"/>
                      <a:pt x="92" y="52"/>
                    </a:cubicBezTo>
                    <a:cubicBezTo>
                      <a:pt x="91" y="50"/>
                      <a:pt x="90" y="53"/>
                      <a:pt x="89" y="52"/>
                    </a:cubicBezTo>
                    <a:cubicBezTo>
                      <a:pt x="86" y="51"/>
                      <a:pt x="85" y="51"/>
                      <a:pt x="82" y="50"/>
                    </a:cubicBezTo>
                    <a:cubicBezTo>
                      <a:pt x="80" y="49"/>
                      <a:pt x="79" y="47"/>
                      <a:pt x="77" y="47"/>
                    </a:cubicBezTo>
                    <a:cubicBezTo>
                      <a:pt x="74" y="48"/>
                      <a:pt x="74" y="47"/>
                      <a:pt x="72" y="46"/>
                    </a:cubicBezTo>
                    <a:cubicBezTo>
                      <a:pt x="70" y="45"/>
                      <a:pt x="68" y="46"/>
                      <a:pt x="67" y="45"/>
                    </a:cubicBezTo>
                    <a:cubicBezTo>
                      <a:pt x="65" y="43"/>
                      <a:pt x="63" y="42"/>
                      <a:pt x="62" y="41"/>
                    </a:cubicBezTo>
                    <a:cubicBezTo>
                      <a:pt x="60" y="40"/>
                      <a:pt x="59" y="40"/>
                      <a:pt x="60" y="38"/>
                    </a:cubicBezTo>
                    <a:cubicBezTo>
                      <a:pt x="61" y="37"/>
                      <a:pt x="60" y="35"/>
                      <a:pt x="62" y="34"/>
                    </a:cubicBezTo>
                    <a:cubicBezTo>
                      <a:pt x="64" y="33"/>
                      <a:pt x="65" y="34"/>
                      <a:pt x="63" y="32"/>
                    </a:cubicBezTo>
                    <a:cubicBezTo>
                      <a:pt x="61" y="31"/>
                      <a:pt x="59" y="29"/>
                      <a:pt x="57" y="28"/>
                    </a:cubicBezTo>
                    <a:cubicBezTo>
                      <a:pt x="56" y="28"/>
                      <a:pt x="55" y="26"/>
                      <a:pt x="53" y="26"/>
                    </a:cubicBezTo>
                    <a:cubicBezTo>
                      <a:pt x="53" y="26"/>
                      <a:pt x="53" y="23"/>
                      <a:pt x="52" y="22"/>
                    </a:cubicBezTo>
                    <a:cubicBezTo>
                      <a:pt x="47" y="17"/>
                      <a:pt x="57" y="23"/>
                      <a:pt x="57" y="19"/>
                    </a:cubicBezTo>
                    <a:cubicBezTo>
                      <a:pt x="57" y="17"/>
                      <a:pt x="56" y="17"/>
                      <a:pt x="54" y="15"/>
                    </a:cubicBezTo>
                    <a:cubicBezTo>
                      <a:pt x="53" y="14"/>
                      <a:pt x="53" y="13"/>
                      <a:pt x="55" y="12"/>
                    </a:cubicBezTo>
                    <a:cubicBezTo>
                      <a:pt x="57" y="12"/>
                      <a:pt x="56" y="9"/>
                      <a:pt x="58" y="8"/>
                    </a:cubicBezTo>
                    <a:cubicBezTo>
                      <a:pt x="59" y="7"/>
                      <a:pt x="61" y="6"/>
                      <a:pt x="60" y="4"/>
                    </a:cubicBezTo>
                    <a:cubicBezTo>
                      <a:pt x="58" y="1"/>
                      <a:pt x="53" y="0"/>
                      <a:pt x="50" y="2"/>
                    </a:cubicBezTo>
                    <a:cubicBezTo>
                      <a:pt x="49" y="3"/>
                      <a:pt x="49" y="3"/>
                      <a:pt x="47" y="4"/>
                    </a:cubicBezTo>
                    <a:cubicBezTo>
                      <a:pt x="46" y="4"/>
                      <a:pt x="46" y="6"/>
                      <a:pt x="45" y="7"/>
                    </a:cubicBezTo>
                    <a:cubicBezTo>
                      <a:pt x="43" y="8"/>
                      <a:pt x="41" y="7"/>
                      <a:pt x="40" y="8"/>
                    </a:cubicBezTo>
                    <a:cubicBezTo>
                      <a:pt x="39" y="9"/>
                      <a:pt x="37" y="9"/>
                      <a:pt x="35" y="8"/>
                    </a:cubicBezTo>
                    <a:cubicBezTo>
                      <a:pt x="33" y="8"/>
                      <a:pt x="32" y="7"/>
                      <a:pt x="30" y="8"/>
                    </a:cubicBezTo>
                    <a:cubicBezTo>
                      <a:pt x="28" y="8"/>
                      <a:pt x="29" y="11"/>
                      <a:pt x="30" y="12"/>
                    </a:cubicBezTo>
                    <a:cubicBezTo>
                      <a:pt x="30" y="14"/>
                      <a:pt x="30" y="16"/>
                      <a:pt x="30" y="17"/>
                    </a:cubicBezTo>
                    <a:cubicBezTo>
                      <a:pt x="31" y="19"/>
                      <a:pt x="33" y="19"/>
                      <a:pt x="35" y="20"/>
                    </a:cubicBezTo>
                    <a:cubicBezTo>
                      <a:pt x="36" y="22"/>
                      <a:pt x="34" y="22"/>
                      <a:pt x="33" y="22"/>
                    </a:cubicBezTo>
                    <a:cubicBezTo>
                      <a:pt x="32" y="24"/>
                      <a:pt x="33" y="26"/>
                      <a:pt x="33" y="28"/>
                    </a:cubicBezTo>
                    <a:cubicBezTo>
                      <a:pt x="33" y="29"/>
                      <a:pt x="31" y="29"/>
                      <a:pt x="31" y="29"/>
                    </a:cubicBezTo>
                    <a:cubicBezTo>
                      <a:pt x="29" y="30"/>
                      <a:pt x="31" y="33"/>
                      <a:pt x="29" y="33"/>
                    </a:cubicBezTo>
                    <a:cubicBezTo>
                      <a:pt x="27" y="34"/>
                      <a:pt x="26" y="35"/>
                      <a:pt x="26" y="36"/>
                    </a:cubicBezTo>
                    <a:cubicBezTo>
                      <a:pt x="25" y="38"/>
                      <a:pt x="24" y="38"/>
                      <a:pt x="22" y="39"/>
                    </a:cubicBezTo>
                    <a:cubicBezTo>
                      <a:pt x="20" y="40"/>
                      <a:pt x="20" y="43"/>
                      <a:pt x="19" y="44"/>
                    </a:cubicBezTo>
                    <a:cubicBezTo>
                      <a:pt x="18" y="46"/>
                      <a:pt x="16" y="45"/>
                      <a:pt x="15" y="47"/>
                    </a:cubicBezTo>
                    <a:cubicBezTo>
                      <a:pt x="13" y="48"/>
                      <a:pt x="12" y="44"/>
                      <a:pt x="11" y="46"/>
                    </a:cubicBezTo>
                    <a:cubicBezTo>
                      <a:pt x="10" y="47"/>
                      <a:pt x="6" y="49"/>
                      <a:pt x="7" y="50"/>
                    </a:cubicBezTo>
                    <a:cubicBezTo>
                      <a:pt x="7" y="52"/>
                      <a:pt x="10" y="52"/>
                      <a:pt x="10" y="54"/>
                    </a:cubicBezTo>
                    <a:cubicBezTo>
                      <a:pt x="9" y="57"/>
                      <a:pt x="11" y="57"/>
                      <a:pt x="13" y="58"/>
                    </a:cubicBezTo>
                    <a:cubicBezTo>
                      <a:pt x="13" y="60"/>
                      <a:pt x="14" y="62"/>
                      <a:pt x="14" y="64"/>
                    </a:cubicBezTo>
                    <a:cubicBezTo>
                      <a:pt x="14" y="64"/>
                      <a:pt x="11" y="64"/>
                      <a:pt x="10" y="64"/>
                    </a:cubicBezTo>
                    <a:cubicBezTo>
                      <a:pt x="9" y="64"/>
                      <a:pt x="8" y="65"/>
                      <a:pt x="7" y="65"/>
                    </a:cubicBezTo>
                    <a:cubicBezTo>
                      <a:pt x="7" y="65"/>
                      <a:pt x="6" y="64"/>
                      <a:pt x="5" y="64"/>
                    </a:cubicBezTo>
                    <a:cubicBezTo>
                      <a:pt x="4" y="64"/>
                      <a:pt x="0" y="66"/>
                      <a:pt x="0" y="67"/>
                    </a:cubicBezTo>
                    <a:cubicBezTo>
                      <a:pt x="2" y="69"/>
                      <a:pt x="3" y="70"/>
                      <a:pt x="5" y="72"/>
                    </a:cubicBezTo>
                    <a:cubicBezTo>
                      <a:pt x="5" y="72"/>
                      <a:pt x="11" y="72"/>
                      <a:pt x="11" y="72"/>
                    </a:cubicBezTo>
                    <a:cubicBezTo>
                      <a:pt x="11" y="73"/>
                      <a:pt x="9" y="74"/>
                      <a:pt x="8" y="74"/>
                    </a:cubicBezTo>
                    <a:cubicBezTo>
                      <a:pt x="7" y="75"/>
                      <a:pt x="4" y="73"/>
                      <a:pt x="4" y="75"/>
                    </a:cubicBezTo>
                    <a:cubicBezTo>
                      <a:pt x="4" y="77"/>
                      <a:pt x="9" y="80"/>
                      <a:pt x="11" y="82"/>
                    </a:cubicBezTo>
                    <a:cubicBezTo>
                      <a:pt x="12" y="83"/>
                      <a:pt x="13" y="83"/>
                      <a:pt x="15" y="83"/>
                    </a:cubicBezTo>
                    <a:cubicBezTo>
                      <a:pt x="17" y="82"/>
                      <a:pt x="20" y="81"/>
                      <a:pt x="21" y="79"/>
                    </a:cubicBezTo>
                    <a:cubicBezTo>
                      <a:pt x="21" y="79"/>
                      <a:pt x="20" y="78"/>
                      <a:pt x="19" y="78"/>
                    </a:cubicBezTo>
                    <a:cubicBezTo>
                      <a:pt x="19" y="77"/>
                      <a:pt x="20" y="77"/>
                      <a:pt x="20" y="77"/>
                    </a:cubicBezTo>
                    <a:cubicBezTo>
                      <a:pt x="21" y="76"/>
                      <a:pt x="20" y="75"/>
                      <a:pt x="21" y="75"/>
                    </a:cubicBezTo>
                    <a:cubicBezTo>
                      <a:pt x="21" y="75"/>
                      <a:pt x="23" y="75"/>
                      <a:pt x="23" y="75"/>
                    </a:cubicBezTo>
                    <a:cubicBezTo>
                      <a:pt x="23" y="76"/>
                      <a:pt x="21" y="76"/>
                      <a:pt x="22" y="77"/>
                    </a:cubicBezTo>
                    <a:cubicBezTo>
                      <a:pt x="22" y="77"/>
                      <a:pt x="23" y="77"/>
                      <a:pt x="23" y="77"/>
                    </a:cubicBezTo>
                    <a:cubicBezTo>
                      <a:pt x="23" y="78"/>
                      <a:pt x="22" y="78"/>
                      <a:pt x="22" y="78"/>
                    </a:cubicBezTo>
                    <a:cubicBezTo>
                      <a:pt x="21" y="78"/>
                      <a:pt x="23" y="78"/>
                      <a:pt x="23" y="78"/>
                    </a:cubicBezTo>
                    <a:cubicBezTo>
                      <a:pt x="23" y="79"/>
                      <a:pt x="22" y="79"/>
                      <a:pt x="22" y="80"/>
                    </a:cubicBezTo>
                    <a:cubicBezTo>
                      <a:pt x="21" y="80"/>
                      <a:pt x="23" y="81"/>
                      <a:pt x="24" y="82"/>
                    </a:cubicBezTo>
                    <a:cubicBezTo>
                      <a:pt x="25" y="83"/>
                      <a:pt x="23" y="85"/>
                      <a:pt x="22" y="87"/>
                    </a:cubicBezTo>
                    <a:cubicBezTo>
                      <a:pt x="22" y="88"/>
                      <a:pt x="23" y="89"/>
                      <a:pt x="24" y="90"/>
                    </a:cubicBezTo>
                    <a:cubicBezTo>
                      <a:pt x="24" y="92"/>
                      <a:pt x="24" y="93"/>
                      <a:pt x="24" y="95"/>
                    </a:cubicBezTo>
                    <a:cubicBezTo>
                      <a:pt x="24" y="97"/>
                      <a:pt x="23" y="100"/>
                      <a:pt x="23" y="101"/>
                    </a:cubicBezTo>
                    <a:cubicBezTo>
                      <a:pt x="23" y="101"/>
                      <a:pt x="24" y="99"/>
                      <a:pt x="24" y="99"/>
                    </a:cubicBezTo>
                    <a:cubicBezTo>
                      <a:pt x="25" y="100"/>
                      <a:pt x="26" y="106"/>
                      <a:pt x="26" y="107"/>
                    </a:cubicBezTo>
                    <a:cubicBezTo>
                      <a:pt x="27" y="109"/>
                      <a:pt x="29" y="112"/>
                      <a:pt x="30" y="115"/>
                    </a:cubicBezTo>
                    <a:cubicBezTo>
                      <a:pt x="31" y="118"/>
                      <a:pt x="31" y="121"/>
                      <a:pt x="32" y="124"/>
                    </a:cubicBezTo>
                    <a:cubicBezTo>
                      <a:pt x="34" y="128"/>
                      <a:pt x="37" y="131"/>
                      <a:pt x="39" y="134"/>
                    </a:cubicBezTo>
                    <a:cubicBezTo>
                      <a:pt x="40" y="137"/>
                      <a:pt x="40" y="140"/>
                      <a:pt x="41" y="143"/>
                    </a:cubicBezTo>
                    <a:cubicBezTo>
                      <a:pt x="43" y="146"/>
                      <a:pt x="45" y="149"/>
                      <a:pt x="48" y="146"/>
                    </a:cubicBezTo>
                    <a:cubicBezTo>
                      <a:pt x="50" y="145"/>
                      <a:pt x="50" y="144"/>
                      <a:pt x="50" y="143"/>
                    </a:cubicBezTo>
                    <a:cubicBezTo>
                      <a:pt x="50" y="141"/>
                      <a:pt x="52" y="140"/>
                      <a:pt x="53" y="139"/>
                    </a:cubicBezTo>
                    <a:cubicBezTo>
                      <a:pt x="54" y="138"/>
                      <a:pt x="56" y="138"/>
                      <a:pt x="57" y="137"/>
                    </a:cubicBezTo>
                    <a:cubicBezTo>
                      <a:pt x="58" y="136"/>
                      <a:pt x="57" y="133"/>
                      <a:pt x="57" y="132"/>
                    </a:cubicBezTo>
                    <a:cubicBezTo>
                      <a:pt x="56" y="128"/>
                      <a:pt x="61" y="125"/>
                      <a:pt x="60" y="122"/>
                    </a:cubicBezTo>
                    <a:cubicBezTo>
                      <a:pt x="59" y="119"/>
                      <a:pt x="58" y="116"/>
                      <a:pt x="58" y="113"/>
                    </a:cubicBezTo>
                    <a:cubicBezTo>
                      <a:pt x="58" y="109"/>
                      <a:pt x="62" y="108"/>
                      <a:pt x="65" y="107"/>
                    </a:cubicBezTo>
                    <a:cubicBezTo>
                      <a:pt x="66" y="106"/>
                      <a:pt x="69" y="106"/>
                      <a:pt x="69" y="105"/>
                    </a:cubicBezTo>
                    <a:cubicBezTo>
                      <a:pt x="70" y="103"/>
                      <a:pt x="71" y="102"/>
                      <a:pt x="72" y="101"/>
                    </a:cubicBezTo>
                    <a:cubicBezTo>
                      <a:pt x="75" y="98"/>
                      <a:pt x="78" y="95"/>
                      <a:pt x="81" y="93"/>
                    </a:cubicBezTo>
                    <a:cubicBezTo>
                      <a:pt x="82" y="92"/>
                      <a:pt x="83" y="90"/>
                      <a:pt x="84" y="89"/>
                    </a:cubicBezTo>
                    <a:cubicBezTo>
                      <a:pt x="85" y="88"/>
                      <a:pt x="87" y="88"/>
                      <a:pt x="88" y="87"/>
                    </a:cubicBezTo>
                    <a:cubicBezTo>
                      <a:pt x="89" y="86"/>
                      <a:pt x="90" y="85"/>
                      <a:pt x="91" y="84"/>
                    </a:cubicBezTo>
                    <a:cubicBezTo>
                      <a:pt x="92" y="83"/>
                      <a:pt x="90" y="82"/>
                      <a:pt x="90" y="81"/>
                    </a:cubicBezTo>
                    <a:cubicBezTo>
                      <a:pt x="91" y="79"/>
                      <a:pt x="94" y="79"/>
                      <a:pt x="95" y="78"/>
                    </a:cubicBezTo>
                    <a:cubicBezTo>
                      <a:pt x="96" y="78"/>
                      <a:pt x="98" y="75"/>
                      <a:pt x="98" y="74"/>
                    </a:cubicBezTo>
                    <a:cubicBezTo>
                      <a:pt x="98" y="76"/>
                      <a:pt x="96" y="76"/>
                      <a:pt x="97" y="78"/>
                    </a:cubicBezTo>
                    <a:cubicBezTo>
                      <a:pt x="99" y="79"/>
                      <a:pt x="100" y="76"/>
                      <a:pt x="100" y="76"/>
                    </a:cubicBezTo>
                    <a:cubicBezTo>
                      <a:pt x="101" y="77"/>
                      <a:pt x="100" y="78"/>
                      <a:pt x="101" y="78"/>
                    </a:cubicBezTo>
                    <a:cubicBezTo>
                      <a:pt x="102" y="75"/>
                      <a:pt x="101" y="72"/>
                      <a:pt x="99" y="69"/>
                    </a:cubicBezTo>
                    <a:cubicBezTo>
                      <a:pt x="98" y="67"/>
                      <a:pt x="96" y="65"/>
                      <a:pt x="97" y="62"/>
                    </a:cubicBezTo>
                    <a:cubicBezTo>
                      <a:pt x="98" y="59"/>
                      <a:pt x="103" y="61"/>
                      <a:pt x="100" y="58"/>
                    </a:cubicBezTo>
                    <a:cubicBezTo>
                      <a:pt x="99" y="57"/>
                      <a:pt x="97" y="56"/>
                      <a:pt x="98" y="54"/>
                    </a:cubicBezTo>
                    <a:cubicBezTo>
                      <a:pt x="99" y="53"/>
                      <a:pt x="100" y="54"/>
                      <a:pt x="102" y="55"/>
                    </a:cubicBezTo>
                    <a:cubicBezTo>
                      <a:pt x="103" y="56"/>
                      <a:pt x="104" y="55"/>
                      <a:pt x="104" y="57"/>
                    </a:cubicBezTo>
                    <a:cubicBezTo>
                      <a:pt x="104" y="58"/>
                      <a:pt x="104" y="59"/>
                      <a:pt x="106" y="60"/>
                    </a:cubicBezTo>
                    <a:cubicBezTo>
                      <a:pt x="107" y="60"/>
                      <a:pt x="109" y="60"/>
                      <a:pt x="110" y="60"/>
                    </a:cubicBezTo>
                    <a:cubicBezTo>
                      <a:pt x="111" y="60"/>
                      <a:pt x="113" y="61"/>
                      <a:pt x="114" y="60"/>
                    </a:cubicBezTo>
                    <a:cubicBezTo>
                      <a:pt x="119" y="59"/>
                      <a:pt x="115" y="65"/>
                      <a:pt x="113" y="66"/>
                    </a:cubicBezTo>
                    <a:cubicBezTo>
                      <a:pt x="110" y="66"/>
                      <a:pt x="112" y="70"/>
                      <a:pt x="112" y="71"/>
                    </a:cubicBezTo>
                    <a:cubicBezTo>
                      <a:pt x="113" y="71"/>
                      <a:pt x="115" y="67"/>
                      <a:pt x="115" y="68"/>
                    </a:cubicBezTo>
                    <a:cubicBezTo>
                      <a:pt x="115" y="71"/>
                      <a:pt x="117" y="74"/>
                      <a:pt x="117" y="7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5" name="Freeform 702">
                <a:extLst>
                  <a:ext uri="{FF2B5EF4-FFF2-40B4-BE49-F238E27FC236}">
                    <a16:creationId xmlns:a16="http://schemas.microsoft.com/office/drawing/2014/main" id="{6328526C-DBFD-EB4E-8C6C-685549BCF59F}"/>
                  </a:ext>
                </a:extLst>
              </p:cNvPr>
              <p:cNvSpPr>
                <a:spLocks/>
              </p:cNvSpPr>
              <p:nvPr/>
            </p:nvSpPr>
            <p:spPr bwMode="auto">
              <a:xfrm>
                <a:off x="15926311" y="7669658"/>
                <a:ext cx="382165" cy="917438"/>
              </a:xfrm>
              <a:custGeom>
                <a:avLst/>
                <a:gdLst>
                  <a:gd name="T0" fmla="*/ 37 w 41"/>
                  <a:gd name="T1" fmla="*/ 37 h 98"/>
                  <a:gd name="T2" fmla="*/ 34 w 41"/>
                  <a:gd name="T3" fmla="*/ 35 h 98"/>
                  <a:gd name="T4" fmla="*/ 31 w 41"/>
                  <a:gd name="T5" fmla="*/ 29 h 98"/>
                  <a:gd name="T6" fmla="*/ 32 w 41"/>
                  <a:gd name="T7" fmla="*/ 25 h 98"/>
                  <a:gd name="T8" fmla="*/ 25 w 41"/>
                  <a:gd name="T9" fmla="*/ 22 h 98"/>
                  <a:gd name="T10" fmla="*/ 30 w 41"/>
                  <a:gd name="T11" fmla="*/ 10 h 98"/>
                  <a:gd name="T12" fmla="*/ 28 w 41"/>
                  <a:gd name="T13" fmla="*/ 6 h 98"/>
                  <a:gd name="T14" fmla="*/ 23 w 41"/>
                  <a:gd name="T15" fmla="*/ 2 h 98"/>
                  <a:gd name="T16" fmla="*/ 22 w 41"/>
                  <a:gd name="T17" fmla="*/ 9 h 98"/>
                  <a:gd name="T18" fmla="*/ 18 w 41"/>
                  <a:gd name="T19" fmla="*/ 9 h 98"/>
                  <a:gd name="T20" fmla="*/ 13 w 41"/>
                  <a:gd name="T21" fmla="*/ 15 h 98"/>
                  <a:gd name="T22" fmla="*/ 11 w 41"/>
                  <a:gd name="T23" fmla="*/ 21 h 98"/>
                  <a:gd name="T24" fmla="*/ 6 w 41"/>
                  <a:gd name="T25" fmla="*/ 25 h 98"/>
                  <a:gd name="T26" fmla="*/ 2 w 41"/>
                  <a:gd name="T27" fmla="*/ 35 h 98"/>
                  <a:gd name="T28" fmla="*/ 0 w 41"/>
                  <a:gd name="T29" fmla="*/ 40 h 98"/>
                  <a:gd name="T30" fmla="*/ 4 w 41"/>
                  <a:gd name="T31" fmla="*/ 44 h 98"/>
                  <a:gd name="T32" fmla="*/ 7 w 41"/>
                  <a:gd name="T33" fmla="*/ 52 h 98"/>
                  <a:gd name="T34" fmla="*/ 11 w 41"/>
                  <a:gd name="T35" fmla="*/ 58 h 98"/>
                  <a:gd name="T36" fmla="*/ 11 w 41"/>
                  <a:gd name="T37" fmla="*/ 64 h 98"/>
                  <a:gd name="T38" fmla="*/ 12 w 41"/>
                  <a:gd name="T39" fmla="*/ 66 h 98"/>
                  <a:gd name="T40" fmla="*/ 14 w 41"/>
                  <a:gd name="T41" fmla="*/ 66 h 98"/>
                  <a:gd name="T42" fmla="*/ 17 w 41"/>
                  <a:gd name="T43" fmla="*/ 65 h 98"/>
                  <a:gd name="T44" fmla="*/ 22 w 41"/>
                  <a:gd name="T45" fmla="*/ 64 h 98"/>
                  <a:gd name="T46" fmla="*/ 25 w 41"/>
                  <a:gd name="T47" fmla="*/ 72 h 98"/>
                  <a:gd name="T48" fmla="*/ 29 w 41"/>
                  <a:gd name="T49" fmla="*/ 80 h 98"/>
                  <a:gd name="T50" fmla="*/ 30 w 41"/>
                  <a:gd name="T51" fmla="*/ 85 h 98"/>
                  <a:gd name="T52" fmla="*/ 29 w 41"/>
                  <a:gd name="T53" fmla="*/ 88 h 98"/>
                  <a:gd name="T54" fmla="*/ 29 w 41"/>
                  <a:gd name="T55" fmla="*/ 98 h 98"/>
                  <a:gd name="T56" fmla="*/ 34 w 41"/>
                  <a:gd name="T57" fmla="*/ 85 h 98"/>
                  <a:gd name="T58" fmla="*/ 28 w 41"/>
                  <a:gd name="T59" fmla="*/ 71 h 98"/>
                  <a:gd name="T60" fmla="*/ 30 w 41"/>
                  <a:gd name="T61" fmla="*/ 65 h 98"/>
                  <a:gd name="T62" fmla="*/ 26 w 41"/>
                  <a:gd name="T63" fmla="*/ 49 h 98"/>
                  <a:gd name="T64" fmla="*/ 34 w 41"/>
                  <a:gd name="T65" fmla="*/ 44 h 98"/>
                  <a:gd name="T66" fmla="*/ 41 w 41"/>
                  <a:gd name="T67" fmla="*/ 3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 h="98">
                    <a:moveTo>
                      <a:pt x="39" y="38"/>
                    </a:moveTo>
                    <a:cubicBezTo>
                      <a:pt x="38" y="38"/>
                      <a:pt x="37" y="39"/>
                      <a:pt x="37" y="37"/>
                    </a:cubicBezTo>
                    <a:cubicBezTo>
                      <a:pt x="37" y="37"/>
                      <a:pt x="37" y="36"/>
                      <a:pt x="37" y="36"/>
                    </a:cubicBezTo>
                    <a:cubicBezTo>
                      <a:pt x="37" y="35"/>
                      <a:pt x="34" y="35"/>
                      <a:pt x="34" y="35"/>
                    </a:cubicBezTo>
                    <a:cubicBezTo>
                      <a:pt x="33" y="34"/>
                      <a:pt x="34" y="32"/>
                      <a:pt x="34" y="31"/>
                    </a:cubicBezTo>
                    <a:cubicBezTo>
                      <a:pt x="35" y="29"/>
                      <a:pt x="32" y="30"/>
                      <a:pt x="31" y="29"/>
                    </a:cubicBezTo>
                    <a:cubicBezTo>
                      <a:pt x="31" y="28"/>
                      <a:pt x="30" y="28"/>
                      <a:pt x="30" y="27"/>
                    </a:cubicBezTo>
                    <a:cubicBezTo>
                      <a:pt x="30" y="26"/>
                      <a:pt x="32" y="25"/>
                      <a:pt x="32" y="25"/>
                    </a:cubicBezTo>
                    <a:cubicBezTo>
                      <a:pt x="31" y="23"/>
                      <a:pt x="25" y="26"/>
                      <a:pt x="24" y="25"/>
                    </a:cubicBezTo>
                    <a:cubicBezTo>
                      <a:pt x="24" y="25"/>
                      <a:pt x="25" y="23"/>
                      <a:pt x="25" y="22"/>
                    </a:cubicBezTo>
                    <a:cubicBezTo>
                      <a:pt x="24" y="21"/>
                      <a:pt x="27" y="19"/>
                      <a:pt x="27" y="18"/>
                    </a:cubicBezTo>
                    <a:cubicBezTo>
                      <a:pt x="29" y="15"/>
                      <a:pt x="31" y="13"/>
                      <a:pt x="30" y="10"/>
                    </a:cubicBezTo>
                    <a:cubicBezTo>
                      <a:pt x="30" y="9"/>
                      <a:pt x="31" y="8"/>
                      <a:pt x="31" y="7"/>
                    </a:cubicBezTo>
                    <a:cubicBezTo>
                      <a:pt x="31" y="5"/>
                      <a:pt x="29" y="7"/>
                      <a:pt x="28" y="6"/>
                    </a:cubicBezTo>
                    <a:cubicBezTo>
                      <a:pt x="28" y="4"/>
                      <a:pt x="27" y="3"/>
                      <a:pt x="27" y="2"/>
                    </a:cubicBezTo>
                    <a:cubicBezTo>
                      <a:pt x="25" y="0"/>
                      <a:pt x="25" y="3"/>
                      <a:pt x="23" y="2"/>
                    </a:cubicBezTo>
                    <a:cubicBezTo>
                      <a:pt x="24" y="4"/>
                      <a:pt x="22" y="4"/>
                      <a:pt x="22" y="5"/>
                    </a:cubicBezTo>
                    <a:cubicBezTo>
                      <a:pt x="22" y="5"/>
                      <a:pt x="22" y="9"/>
                      <a:pt x="22" y="9"/>
                    </a:cubicBezTo>
                    <a:cubicBezTo>
                      <a:pt x="21" y="9"/>
                      <a:pt x="21" y="7"/>
                      <a:pt x="21" y="7"/>
                    </a:cubicBezTo>
                    <a:cubicBezTo>
                      <a:pt x="19" y="7"/>
                      <a:pt x="18" y="8"/>
                      <a:pt x="18" y="9"/>
                    </a:cubicBezTo>
                    <a:cubicBezTo>
                      <a:pt x="17" y="10"/>
                      <a:pt x="15" y="10"/>
                      <a:pt x="14" y="11"/>
                    </a:cubicBezTo>
                    <a:cubicBezTo>
                      <a:pt x="13" y="12"/>
                      <a:pt x="14" y="14"/>
                      <a:pt x="13" y="15"/>
                    </a:cubicBezTo>
                    <a:cubicBezTo>
                      <a:pt x="13" y="16"/>
                      <a:pt x="12" y="17"/>
                      <a:pt x="11" y="18"/>
                    </a:cubicBezTo>
                    <a:cubicBezTo>
                      <a:pt x="11" y="19"/>
                      <a:pt x="11" y="20"/>
                      <a:pt x="11" y="21"/>
                    </a:cubicBezTo>
                    <a:cubicBezTo>
                      <a:pt x="11" y="23"/>
                      <a:pt x="10" y="25"/>
                      <a:pt x="9" y="25"/>
                    </a:cubicBezTo>
                    <a:cubicBezTo>
                      <a:pt x="8" y="25"/>
                      <a:pt x="7" y="25"/>
                      <a:pt x="6" y="25"/>
                    </a:cubicBezTo>
                    <a:cubicBezTo>
                      <a:pt x="5" y="27"/>
                      <a:pt x="6" y="35"/>
                      <a:pt x="4" y="35"/>
                    </a:cubicBezTo>
                    <a:cubicBezTo>
                      <a:pt x="4" y="35"/>
                      <a:pt x="2" y="35"/>
                      <a:pt x="2" y="35"/>
                    </a:cubicBezTo>
                    <a:cubicBezTo>
                      <a:pt x="2" y="36"/>
                      <a:pt x="2" y="37"/>
                      <a:pt x="2" y="37"/>
                    </a:cubicBezTo>
                    <a:cubicBezTo>
                      <a:pt x="2" y="38"/>
                      <a:pt x="1" y="39"/>
                      <a:pt x="0" y="40"/>
                    </a:cubicBezTo>
                    <a:cubicBezTo>
                      <a:pt x="0" y="41"/>
                      <a:pt x="4" y="46"/>
                      <a:pt x="5" y="47"/>
                    </a:cubicBezTo>
                    <a:cubicBezTo>
                      <a:pt x="5" y="47"/>
                      <a:pt x="4" y="44"/>
                      <a:pt x="4" y="44"/>
                    </a:cubicBezTo>
                    <a:cubicBezTo>
                      <a:pt x="4" y="44"/>
                      <a:pt x="7" y="48"/>
                      <a:pt x="7" y="48"/>
                    </a:cubicBezTo>
                    <a:cubicBezTo>
                      <a:pt x="8" y="50"/>
                      <a:pt x="6" y="50"/>
                      <a:pt x="7" y="52"/>
                    </a:cubicBezTo>
                    <a:cubicBezTo>
                      <a:pt x="6" y="51"/>
                      <a:pt x="8" y="51"/>
                      <a:pt x="9" y="52"/>
                    </a:cubicBezTo>
                    <a:cubicBezTo>
                      <a:pt x="10" y="54"/>
                      <a:pt x="11" y="56"/>
                      <a:pt x="11" y="58"/>
                    </a:cubicBezTo>
                    <a:cubicBezTo>
                      <a:pt x="11" y="58"/>
                      <a:pt x="10" y="67"/>
                      <a:pt x="10" y="67"/>
                    </a:cubicBezTo>
                    <a:cubicBezTo>
                      <a:pt x="11" y="67"/>
                      <a:pt x="11" y="64"/>
                      <a:pt x="11" y="64"/>
                    </a:cubicBezTo>
                    <a:cubicBezTo>
                      <a:pt x="11" y="64"/>
                      <a:pt x="11" y="67"/>
                      <a:pt x="11" y="67"/>
                    </a:cubicBezTo>
                    <a:cubicBezTo>
                      <a:pt x="11" y="67"/>
                      <a:pt x="12" y="66"/>
                      <a:pt x="12" y="66"/>
                    </a:cubicBezTo>
                    <a:cubicBezTo>
                      <a:pt x="12" y="66"/>
                      <a:pt x="12" y="68"/>
                      <a:pt x="12" y="68"/>
                    </a:cubicBezTo>
                    <a:cubicBezTo>
                      <a:pt x="13" y="68"/>
                      <a:pt x="13" y="66"/>
                      <a:pt x="14" y="66"/>
                    </a:cubicBezTo>
                    <a:cubicBezTo>
                      <a:pt x="14" y="66"/>
                      <a:pt x="14" y="67"/>
                      <a:pt x="14" y="67"/>
                    </a:cubicBezTo>
                    <a:cubicBezTo>
                      <a:pt x="14" y="67"/>
                      <a:pt x="17" y="66"/>
                      <a:pt x="17" y="65"/>
                    </a:cubicBezTo>
                    <a:cubicBezTo>
                      <a:pt x="18" y="65"/>
                      <a:pt x="23" y="62"/>
                      <a:pt x="21" y="61"/>
                    </a:cubicBezTo>
                    <a:cubicBezTo>
                      <a:pt x="22" y="61"/>
                      <a:pt x="21" y="63"/>
                      <a:pt x="22" y="64"/>
                    </a:cubicBezTo>
                    <a:cubicBezTo>
                      <a:pt x="23" y="64"/>
                      <a:pt x="24" y="64"/>
                      <a:pt x="24" y="65"/>
                    </a:cubicBezTo>
                    <a:cubicBezTo>
                      <a:pt x="25" y="67"/>
                      <a:pt x="25" y="70"/>
                      <a:pt x="25" y="72"/>
                    </a:cubicBezTo>
                    <a:cubicBezTo>
                      <a:pt x="26" y="75"/>
                      <a:pt x="26" y="77"/>
                      <a:pt x="28" y="79"/>
                    </a:cubicBezTo>
                    <a:cubicBezTo>
                      <a:pt x="28" y="79"/>
                      <a:pt x="29" y="80"/>
                      <a:pt x="29" y="80"/>
                    </a:cubicBezTo>
                    <a:cubicBezTo>
                      <a:pt x="29" y="82"/>
                      <a:pt x="30" y="82"/>
                      <a:pt x="30" y="82"/>
                    </a:cubicBezTo>
                    <a:cubicBezTo>
                      <a:pt x="31" y="83"/>
                      <a:pt x="29" y="85"/>
                      <a:pt x="30" y="85"/>
                    </a:cubicBezTo>
                    <a:cubicBezTo>
                      <a:pt x="30" y="85"/>
                      <a:pt x="30" y="85"/>
                      <a:pt x="31" y="85"/>
                    </a:cubicBezTo>
                    <a:cubicBezTo>
                      <a:pt x="31" y="86"/>
                      <a:pt x="29" y="87"/>
                      <a:pt x="29" y="88"/>
                    </a:cubicBezTo>
                    <a:cubicBezTo>
                      <a:pt x="29" y="90"/>
                      <a:pt x="30" y="88"/>
                      <a:pt x="31" y="89"/>
                    </a:cubicBezTo>
                    <a:cubicBezTo>
                      <a:pt x="31" y="89"/>
                      <a:pt x="29" y="97"/>
                      <a:pt x="29" y="98"/>
                    </a:cubicBezTo>
                    <a:cubicBezTo>
                      <a:pt x="31" y="96"/>
                      <a:pt x="32" y="92"/>
                      <a:pt x="33" y="90"/>
                    </a:cubicBezTo>
                    <a:cubicBezTo>
                      <a:pt x="34" y="88"/>
                      <a:pt x="35" y="87"/>
                      <a:pt x="34" y="85"/>
                    </a:cubicBezTo>
                    <a:cubicBezTo>
                      <a:pt x="33" y="83"/>
                      <a:pt x="33" y="82"/>
                      <a:pt x="33" y="80"/>
                    </a:cubicBezTo>
                    <a:cubicBezTo>
                      <a:pt x="32" y="78"/>
                      <a:pt x="27" y="74"/>
                      <a:pt x="28" y="71"/>
                    </a:cubicBezTo>
                    <a:cubicBezTo>
                      <a:pt x="28" y="71"/>
                      <a:pt x="30" y="70"/>
                      <a:pt x="30" y="69"/>
                    </a:cubicBezTo>
                    <a:cubicBezTo>
                      <a:pt x="29" y="67"/>
                      <a:pt x="30" y="67"/>
                      <a:pt x="30" y="65"/>
                    </a:cubicBezTo>
                    <a:cubicBezTo>
                      <a:pt x="31" y="62"/>
                      <a:pt x="27" y="60"/>
                      <a:pt x="26" y="58"/>
                    </a:cubicBezTo>
                    <a:cubicBezTo>
                      <a:pt x="23" y="56"/>
                      <a:pt x="25" y="52"/>
                      <a:pt x="26" y="49"/>
                    </a:cubicBezTo>
                    <a:cubicBezTo>
                      <a:pt x="26" y="47"/>
                      <a:pt x="27" y="47"/>
                      <a:pt x="29" y="47"/>
                    </a:cubicBezTo>
                    <a:cubicBezTo>
                      <a:pt x="31" y="47"/>
                      <a:pt x="33" y="45"/>
                      <a:pt x="34" y="44"/>
                    </a:cubicBezTo>
                    <a:cubicBezTo>
                      <a:pt x="36" y="43"/>
                      <a:pt x="37" y="44"/>
                      <a:pt x="39" y="42"/>
                    </a:cubicBezTo>
                    <a:cubicBezTo>
                      <a:pt x="40" y="40"/>
                      <a:pt x="41" y="39"/>
                      <a:pt x="41" y="38"/>
                    </a:cubicBezTo>
                    <a:cubicBezTo>
                      <a:pt x="41" y="38"/>
                      <a:pt x="40" y="38"/>
                      <a:pt x="39"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6" name="Freeform 703">
                <a:extLst>
                  <a:ext uri="{FF2B5EF4-FFF2-40B4-BE49-F238E27FC236}">
                    <a16:creationId xmlns:a16="http://schemas.microsoft.com/office/drawing/2014/main" id="{430A117E-D965-9F46-9D78-A89F24DDBE34}"/>
                  </a:ext>
                </a:extLst>
              </p:cNvPr>
              <p:cNvSpPr>
                <a:spLocks/>
              </p:cNvSpPr>
              <p:nvPr/>
            </p:nvSpPr>
            <p:spPr bwMode="auto">
              <a:xfrm>
                <a:off x="15747967" y="7781150"/>
                <a:ext cx="213379" cy="261215"/>
              </a:xfrm>
              <a:custGeom>
                <a:avLst/>
                <a:gdLst>
                  <a:gd name="T0" fmla="*/ 21 w 23"/>
                  <a:gd name="T1" fmla="*/ 26 h 28"/>
                  <a:gd name="T2" fmla="*/ 20 w 23"/>
                  <a:gd name="T3" fmla="*/ 17 h 28"/>
                  <a:gd name="T4" fmla="*/ 18 w 23"/>
                  <a:gd name="T5" fmla="*/ 16 h 28"/>
                  <a:gd name="T6" fmla="*/ 16 w 23"/>
                  <a:gd name="T7" fmla="*/ 18 h 28"/>
                  <a:gd name="T8" fmla="*/ 17 w 23"/>
                  <a:gd name="T9" fmla="*/ 13 h 28"/>
                  <a:gd name="T10" fmla="*/ 18 w 23"/>
                  <a:gd name="T11" fmla="*/ 7 h 28"/>
                  <a:gd name="T12" fmla="*/ 14 w 23"/>
                  <a:gd name="T13" fmla="*/ 7 h 28"/>
                  <a:gd name="T14" fmla="*/ 10 w 23"/>
                  <a:gd name="T15" fmla="*/ 7 h 28"/>
                  <a:gd name="T16" fmla="*/ 8 w 23"/>
                  <a:gd name="T17" fmla="*/ 4 h 28"/>
                  <a:gd name="T18" fmla="*/ 6 w 23"/>
                  <a:gd name="T19" fmla="*/ 2 h 28"/>
                  <a:gd name="T20" fmla="*/ 2 w 23"/>
                  <a:gd name="T21" fmla="*/ 1 h 28"/>
                  <a:gd name="T22" fmla="*/ 4 w 23"/>
                  <a:gd name="T23" fmla="*/ 5 h 28"/>
                  <a:gd name="T24" fmla="*/ 1 w 23"/>
                  <a:gd name="T25" fmla="*/ 9 h 28"/>
                  <a:gd name="T26" fmla="*/ 3 w 23"/>
                  <a:gd name="T27" fmla="*/ 16 h 28"/>
                  <a:gd name="T28" fmla="*/ 5 w 23"/>
                  <a:gd name="T29" fmla="*/ 25 h 28"/>
                  <a:gd name="T30" fmla="*/ 6 w 23"/>
                  <a:gd name="T31" fmla="*/ 22 h 28"/>
                  <a:gd name="T32" fmla="*/ 7 w 23"/>
                  <a:gd name="T33" fmla="*/ 24 h 28"/>
                  <a:gd name="T34" fmla="*/ 7 w 23"/>
                  <a:gd name="T35" fmla="*/ 23 h 28"/>
                  <a:gd name="T36" fmla="*/ 8 w 23"/>
                  <a:gd name="T37" fmla="*/ 21 h 28"/>
                  <a:gd name="T38" fmla="*/ 13 w 23"/>
                  <a:gd name="T39" fmla="*/ 22 h 28"/>
                  <a:gd name="T40" fmla="*/ 11 w 23"/>
                  <a:gd name="T41" fmla="*/ 16 h 28"/>
                  <a:gd name="T42" fmla="*/ 13 w 23"/>
                  <a:gd name="T43" fmla="*/ 19 h 28"/>
                  <a:gd name="T44" fmla="*/ 17 w 23"/>
                  <a:gd name="T45" fmla="*/ 20 h 28"/>
                  <a:gd name="T46" fmla="*/ 18 w 23"/>
                  <a:gd name="T47" fmla="*/ 22 h 28"/>
                  <a:gd name="T48" fmla="*/ 19 w 23"/>
                  <a:gd name="T49" fmla="*/ 28 h 28"/>
                  <a:gd name="T50" fmla="*/ 21 w 23"/>
                  <a:gd name="T51" fmla="*/ 26 h 28"/>
                  <a:gd name="T52" fmla="*/ 21 w 23"/>
                  <a:gd name="T53"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 h="28">
                    <a:moveTo>
                      <a:pt x="21" y="26"/>
                    </a:moveTo>
                    <a:cubicBezTo>
                      <a:pt x="22" y="24"/>
                      <a:pt x="20" y="19"/>
                      <a:pt x="20" y="17"/>
                    </a:cubicBezTo>
                    <a:cubicBezTo>
                      <a:pt x="20" y="17"/>
                      <a:pt x="19" y="13"/>
                      <a:pt x="18" y="16"/>
                    </a:cubicBezTo>
                    <a:cubicBezTo>
                      <a:pt x="18" y="16"/>
                      <a:pt x="17" y="17"/>
                      <a:pt x="16" y="18"/>
                    </a:cubicBezTo>
                    <a:cubicBezTo>
                      <a:pt x="16" y="17"/>
                      <a:pt x="14" y="13"/>
                      <a:pt x="17" y="13"/>
                    </a:cubicBezTo>
                    <a:cubicBezTo>
                      <a:pt x="19" y="12"/>
                      <a:pt x="23" y="6"/>
                      <a:pt x="18" y="7"/>
                    </a:cubicBezTo>
                    <a:cubicBezTo>
                      <a:pt x="17" y="8"/>
                      <a:pt x="15" y="7"/>
                      <a:pt x="14" y="7"/>
                    </a:cubicBezTo>
                    <a:cubicBezTo>
                      <a:pt x="13" y="7"/>
                      <a:pt x="11" y="7"/>
                      <a:pt x="10" y="7"/>
                    </a:cubicBezTo>
                    <a:cubicBezTo>
                      <a:pt x="8" y="6"/>
                      <a:pt x="8" y="5"/>
                      <a:pt x="8" y="4"/>
                    </a:cubicBezTo>
                    <a:cubicBezTo>
                      <a:pt x="8" y="2"/>
                      <a:pt x="7" y="3"/>
                      <a:pt x="6" y="2"/>
                    </a:cubicBezTo>
                    <a:cubicBezTo>
                      <a:pt x="4" y="1"/>
                      <a:pt x="3" y="0"/>
                      <a:pt x="2" y="1"/>
                    </a:cubicBezTo>
                    <a:cubicBezTo>
                      <a:pt x="1" y="3"/>
                      <a:pt x="3" y="4"/>
                      <a:pt x="4" y="5"/>
                    </a:cubicBezTo>
                    <a:cubicBezTo>
                      <a:pt x="7" y="8"/>
                      <a:pt x="2" y="6"/>
                      <a:pt x="1" y="9"/>
                    </a:cubicBezTo>
                    <a:cubicBezTo>
                      <a:pt x="0" y="12"/>
                      <a:pt x="2" y="14"/>
                      <a:pt x="3" y="16"/>
                    </a:cubicBezTo>
                    <a:cubicBezTo>
                      <a:pt x="5" y="19"/>
                      <a:pt x="6" y="22"/>
                      <a:pt x="5" y="25"/>
                    </a:cubicBezTo>
                    <a:cubicBezTo>
                      <a:pt x="6" y="26"/>
                      <a:pt x="6" y="23"/>
                      <a:pt x="6" y="22"/>
                    </a:cubicBezTo>
                    <a:cubicBezTo>
                      <a:pt x="6" y="23"/>
                      <a:pt x="6" y="24"/>
                      <a:pt x="7" y="24"/>
                    </a:cubicBezTo>
                    <a:cubicBezTo>
                      <a:pt x="7" y="24"/>
                      <a:pt x="7" y="23"/>
                      <a:pt x="7" y="23"/>
                    </a:cubicBezTo>
                    <a:cubicBezTo>
                      <a:pt x="8" y="26"/>
                      <a:pt x="8" y="23"/>
                      <a:pt x="8" y="21"/>
                    </a:cubicBezTo>
                    <a:cubicBezTo>
                      <a:pt x="8" y="22"/>
                      <a:pt x="12" y="25"/>
                      <a:pt x="13" y="22"/>
                    </a:cubicBezTo>
                    <a:cubicBezTo>
                      <a:pt x="13" y="21"/>
                      <a:pt x="12" y="16"/>
                      <a:pt x="11" y="16"/>
                    </a:cubicBezTo>
                    <a:cubicBezTo>
                      <a:pt x="12" y="16"/>
                      <a:pt x="13" y="18"/>
                      <a:pt x="13" y="19"/>
                    </a:cubicBezTo>
                    <a:cubicBezTo>
                      <a:pt x="14" y="20"/>
                      <a:pt x="17" y="18"/>
                      <a:pt x="17" y="20"/>
                    </a:cubicBezTo>
                    <a:cubicBezTo>
                      <a:pt x="17" y="21"/>
                      <a:pt x="18" y="20"/>
                      <a:pt x="18" y="22"/>
                    </a:cubicBezTo>
                    <a:cubicBezTo>
                      <a:pt x="18" y="24"/>
                      <a:pt x="18" y="26"/>
                      <a:pt x="19" y="28"/>
                    </a:cubicBezTo>
                    <a:cubicBezTo>
                      <a:pt x="20" y="27"/>
                      <a:pt x="20" y="27"/>
                      <a:pt x="21" y="26"/>
                    </a:cubicBezTo>
                    <a:cubicBezTo>
                      <a:pt x="22" y="25"/>
                      <a:pt x="20" y="27"/>
                      <a:pt x="21" y="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7" name="Freeform 704">
                <a:extLst>
                  <a:ext uri="{FF2B5EF4-FFF2-40B4-BE49-F238E27FC236}">
                    <a16:creationId xmlns:a16="http://schemas.microsoft.com/office/drawing/2014/main" id="{8A1AE52F-8280-EA4C-883A-226CCFBB4FC6}"/>
                  </a:ext>
                </a:extLst>
              </p:cNvPr>
              <p:cNvSpPr>
                <a:spLocks/>
              </p:cNvSpPr>
              <p:nvPr/>
            </p:nvSpPr>
            <p:spPr bwMode="auto">
              <a:xfrm>
                <a:off x="16149241" y="8071036"/>
                <a:ext cx="391721" cy="719934"/>
              </a:xfrm>
              <a:custGeom>
                <a:avLst/>
                <a:gdLst>
                  <a:gd name="T0" fmla="*/ 40 w 42"/>
                  <a:gd name="T1" fmla="*/ 30 h 77"/>
                  <a:gd name="T2" fmla="*/ 41 w 42"/>
                  <a:gd name="T3" fmla="*/ 27 h 77"/>
                  <a:gd name="T4" fmla="*/ 39 w 42"/>
                  <a:gd name="T5" fmla="*/ 24 h 77"/>
                  <a:gd name="T6" fmla="*/ 36 w 42"/>
                  <a:gd name="T7" fmla="*/ 20 h 77"/>
                  <a:gd name="T8" fmla="*/ 35 w 42"/>
                  <a:gd name="T9" fmla="*/ 15 h 77"/>
                  <a:gd name="T10" fmla="*/ 30 w 42"/>
                  <a:gd name="T11" fmla="*/ 12 h 77"/>
                  <a:gd name="T12" fmla="*/ 25 w 42"/>
                  <a:gd name="T13" fmla="*/ 14 h 77"/>
                  <a:gd name="T14" fmla="*/ 21 w 42"/>
                  <a:gd name="T15" fmla="*/ 14 h 77"/>
                  <a:gd name="T16" fmla="*/ 17 w 42"/>
                  <a:gd name="T17" fmla="*/ 16 h 77"/>
                  <a:gd name="T18" fmla="*/ 19 w 42"/>
                  <a:gd name="T19" fmla="*/ 12 h 77"/>
                  <a:gd name="T20" fmla="*/ 19 w 42"/>
                  <a:gd name="T21" fmla="*/ 9 h 77"/>
                  <a:gd name="T22" fmla="*/ 18 w 42"/>
                  <a:gd name="T23" fmla="*/ 5 h 77"/>
                  <a:gd name="T24" fmla="*/ 15 w 42"/>
                  <a:gd name="T25" fmla="*/ 4 h 77"/>
                  <a:gd name="T26" fmla="*/ 9 w 42"/>
                  <a:gd name="T27" fmla="*/ 1 h 77"/>
                  <a:gd name="T28" fmla="*/ 4 w 42"/>
                  <a:gd name="T29" fmla="*/ 4 h 77"/>
                  <a:gd name="T30" fmla="*/ 1 w 42"/>
                  <a:gd name="T31" fmla="*/ 8 h 77"/>
                  <a:gd name="T32" fmla="*/ 0 w 42"/>
                  <a:gd name="T33" fmla="*/ 13 h 77"/>
                  <a:gd name="T34" fmla="*/ 3 w 42"/>
                  <a:gd name="T35" fmla="*/ 16 h 77"/>
                  <a:gd name="T36" fmla="*/ 6 w 42"/>
                  <a:gd name="T37" fmla="*/ 20 h 77"/>
                  <a:gd name="T38" fmla="*/ 5 w 42"/>
                  <a:gd name="T39" fmla="*/ 24 h 77"/>
                  <a:gd name="T40" fmla="*/ 5 w 42"/>
                  <a:gd name="T41" fmla="*/ 27 h 77"/>
                  <a:gd name="T42" fmla="*/ 4 w 42"/>
                  <a:gd name="T43" fmla="*/ 28 h 77"/>
                  <a:gd name="T44" fmla="*/ 6 w 42"/>
                  <a:gd name="T45" fmla="*/ 33 h 77"/>
                  <a:gd name="T46" fmla="*/ 9 w 42"/>
                  <a:gd name="T47" fmla="*/ 37 h 77"/>
                  <a:gd name="T48" fmla="*/ 10 w 42"/>
                  <a:gd name="T49" fmla="*/ 42 h 77"/>
                  <a:gd name="T50" fmla="*/ 6 w 42"/>
                  <a:gd name="T51" fmla="*/ 52 h 77"/>
                  <a:gd name="T52" fmla="*/ 5 w 42"/>
                  <a:gd name="T53" fmla="*/ 55 h 77"/>
                  <a:gd name="T54" fmla="*/ 4 w 42"/>
                  <a:gd name="T55" fmla="*/ 58 h 77"/>
                  <a:gd name="T56" fmla="*/ 5 w 42"/>
                  <a:gd name="T57" fmla="*/ 62 h 77"/>
                  <a:gd name="T58" fmla="*/ 11 w 42"/>
                  <a:gd name="T59" fmla="*/ 69 h 77"/>
                  <a:gd name="T60" fmla="*/ 13 w 42"/>
                  <a:gd name="T61" fmla="*/ 72 h 77"/>
                  <a:gd name="T62" fmla="*/ 16 w 42"/>
                  <a:gd name="T63" fmla="*/ 72 h 77"/>
                  <a:gd name="T64" fmla="*/ 18 w 42"/>
                  <a:gd name="T65" fmla="*/ 74 h 77"/>
                  <a:gd name="T66" fmla="*/ 19 w 42"/>
                  <a:gd name="T67" fmla="*/ 76 h 77"/>
                  <a:gd name="T68" fmla="*/ 21 w 42"/>
                  <a:gd name="T69" fmla="*/ 76 h 77"/>
                  <a:gd name="T70" fmla="*/ 23 w 42"/>
                  <a:gd name="T71" fmla="*/ 74 h 77"/>
                  <a:gd name="T72" fmla="*/ 16 w 42"/>
                  <a:gd name="T73" fmla="*/ 69 h 77"/>
                  <a:gd name="T74" fmla="*/ 13 w 42"/>
                  <a:gd name="T75" fmla="*/ 67 h 77"/>
                  <a:gd name="T76" fmla="*/ 15 w 42"/>
                  <a:gd name="T77" fmla="*/ 67 h 77"/>
                  <a:gd name="T78" fmla="*/ 12 w 42"/>
                  <a:gd name="T79" fmla="*/ 60 h 77"/>
                  <a:gd name="T80" fmla="*/ 11 w 42"/>
                  <a:gd name="T81" fmla="*/ 58 h 77"/>
                  <a:gd name="T82" fmla="*/ 9 w 42"/>
                  <a:gd name="T83" fmla="*/ 56 h 77"/>
                  <a:gd name="T84" fmla="*/ 11 w 42"/>
                  <a:gd name="T85" fmla="*/ 48 h 77"/>
                  <a:gd name="T86" fmla="*/ 13 w 42"/>
                  <a:gd name="T87" fmla="*/ 43 h 77"/>
                  <a:gd name="T88" fmla="*/ 14 w 42"/>
                  <a:gd name="T89" fmla="*/ 36 h 77"/>
                  <a:gd name="T90" fmla="*/ 17 w 42"/>
                  <a:gd name="T91" fmla="*/ 40 h 77"/>
                  <a:gd name="T92" fmla="*/ 22 w 42"/>
                  <a:gd name="T93" fmla="*/ 41 h 77"/>
                  <a:gd name="T94" fmla="*/ 27 w 42"/>
                  <a:gd name="T95" fmla="*/ 44 h 77"/>
                  <a:gd name="T96" fmla="*/ 24 w 42"/>
                  <a:gd name="T97" fmla="*/ 38 h 77"/>
                  <a:gd name="T98" fmla="*/ 28 w 42"/>
                  <a:gd name="T99" fmla="*/ 33 h 77"/>
                  <a:gd name="T100" fmla="*/ 34 w 42"/>
                  <a:gd name="T101" fmla="*/ 32 h 77"/>
                  <a:gd name="T102" fmla="*/ 38 w 42"/>
                  <a:gd name="T103" fmla="*/ 33 h 77"/>
                  <a:gd name="T104" fmla="*/ 40 w 42"/>
                  <a:gd name="T105" fmla="*/ 30 h 77"/>
                  <a:gd name="T106" fmla="*/ 40 w 42"/>
                  <a:gd name="T107"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77">
                    <a:moveTo>
                      <a:pt x="40" y="30"/>
                    </a:moveTo>
                    <a:cubicBezTo>
                      <a:pt x="41" y="30"/>
                      <a:pt x="40" y="28"/>
                      <a:pt x="41" y="27"/>
                    </a:cubicBezTo>
                    <a:cubicBezTo>
                      <a:pt x="42" y="26"/>
                      <a:pt x="40" y="24"/>
                      <a:pt x="39" y="24"/>
                    </a:cubicBezTo>
                    <a:cubicBezTo>
                      <a:pt x="38" y="23"/>
                      <a:pt x="36" y="22"/>
                      <a:pt x="36" y="20"/>
                    </a:cubicBezTo>
                    <a:cubicBezTo>
                      <a:pt x="36" y="18"/>
                      <a:pt x="37" y="17"/>
                      <a:pt x="35" y="15"/>
                    </a:cubicBezTo>
                    <a:cubicBezTo>
                      <a:pt x="34" y="14"/>
                      <a:pt x="32" y="12"/>
                      <a:pt x="30" y="12"/>
                    </a:cubicBezTo>
                    <a:cubicBezTo>
                      <a:pt x="28" y="12"/>
                      <a:pt x="27" y="14"/>
                      <a:pt x="25" y="14"/>
                    </a:cubicBezTo>
                    <a:cubicBezTo>
                      <a:pt x="23" y="13"/>
                      <a:pt x="23" y="13"/>
                      <a:pt x="21" y="14"/>
                    </a:cubicBezTo>
                    <a:cubicBezTo>
                      <a:pt x="21" y="14"/>
                      <a:pt x="18" y="17"/>
                      <a:pt x="17" y="16"/>
                    </a:cubicBezTo>
                    <a:cubicBezTo>
                      <a:pt x="17" y="15"/>
                      <a:pt x="20" y="13"/>
                      <a:pt x="19" y="12"/>
                    </a:cubicBezTo>
                    <a:cubicBezTo>
                      <a:pt x="17" y="11"/>
                      <a:pt x="19" y="10"/>
                      <a:pt x="19" y="9"/>
                    </a:cubicBezTo>
                    <a:cubicBezTo>
                      <a:pt x="19" y="8"/>
                      <a:pt x="19" y="5"/>
                      <a:pt x="18" y="5"/>
                    </a:cubicBezTo>
                    <a:cubicBezTo>
                      <a:pt x="16" y="6"/>
                      <a:pt x="14" y="6"/>
                      <a:pt x="15" y="4"/>
                    </a:cubicBezTo>
                    <a:cubicBezTo>
                      <a:pt x="16" y="0"/>
                      <a:pt x="11" y="0"/>
                      <a:pt x="9" y="1"/>
                    </a:cubicBezTo>
                    <a:cubicBezTo>
                      <a:pt x="8" y="3"/>
                      <a:pt x="6" y="4"/>
                      <a:pt x="4" y="4"/>
                    </a:cubicBezTo>
                    <a:cubicBezTo>
                      <a:pt x="2" y="4"/>
                      <a:pt x="1" y="7"/>
                      <a:pt x="1" y="8"/>
                    </a:cubicBezTo>
                    <a:cubicBezTo>
                      <a:pt x="1" y="10"/>
                      <a:pt x="0" y="11"/>
                      <a:pt x="0" y="13"/>
                    </a:cubicBezTo>
                    <a:cubicBezTo>
                      <a:pt x="0" y="15"/>
                      <a:pt x="1" y="15"/>
                      <a:pt x="3" y="16"/>
                    </a:cubicBezTo>
                    <a:cubicBezTo>
                      <a:pt x="4" y="18"/>
                      <a:pt x="5" y="19"/>
                      <a:pt x="6" y="20"/>
                    </a:cubicBezTo>
                    <a:cubicBezTo>
                      <a:pt x="7" y="22"/>
                      <a:pt x="5" y="23"/>
                      <a:pt x="5" y="24"/>
                    </a:cubicBezTo>
                    <a:cubicBezTo>
                      <a:pt x="5" y="25"/>
                      <a:pt x="6" y="26"/>
                      <a:pt x="5" y="27"/>
                    </a:cubicBezTo>
                    <a:cubicBezTo>
                      <a:pt x="5" y="27"/>
                      <a:pt x="4" y="27"/>
                      <a:pt x="4" y="28"/>
                    </a:cubicBezTo>
                    <a:cubicBezTo>
                      <a:pt x="3" y="29"/>
                      <a:pt x="5" y="32"/>
                      <a:pt x="6" y="33"/>
                    </a:cubicBezTo>
                    <a:cubicBezTo>
                      <a:pt x="7" y="34"/>
                      <a:pt x="8" y="35"/>
                      <a:pt x="9" y="37"/>
                    </a:cubicBezTo>
                    <a:cubicBezTo>
                      <a:pt x="9" y="39"/>
                      <a:pt x="9" y="40"/>
                      <a:pt x="10" y="42"/>
                    </a:cubicBezTo>
                    <a:cubicBezTo>
                      <a:pt x="11" y="46"/>
                      <a:pt x="8" y="49"/>
                      <a:pt x="6" y="52"/>
                    </a:cubicBezTo>
                    <a:cubicBezTo>
                      <a:pt x="6" y="53"/>
                      <a:pt x="5" y="54"/>
                      <a:pt x="5" y="55"/>
                    </a:cubicBezTo>
                    <a:cubicBezTo>
                      <a:pt x="4" y="56"/>
                      <a:pt x="4" y="57"/>
                      <a:pt x="4" y="58"/>
                    </a:cubicBezTo>
                    <a:cubicBezTo>
                      <a:pt x="4" y="59"/>
                      <a:pt x="3" y="62"/>
                      <a:pt x="5" y="62"/>
                    </a:cubicBezTo>
                    <a:cubicBezTo>
                      <a:pt x="8" y="64"/>
                      <a:pt x="9" y="67"/>
                      <a:pt x="11" y="69"/>
                    </a:cubicBezTo>
                    <a:cubicBezTo>
                      <a:pt x="12" y="70"/>
                      <a:pt x="12" y="71"/>
                      <a:pt x="13" y="72"/>
                    </a:cubicBezTo>
                    <a:cubicBezTo>
                      <a:pt x="14" y="72"/>
                      <a:pt x="15" y="72"/>
                      <a:pt x="16" y="72"/>
                    </a:cubicBezTo>
                    <a:cubicBezTo>
                      <a:pt x="17" y="73"/>
                      <a:pt x="18" y="73"/>
                      <a:pt x="18" y="74"/>
                    </a:cubicBezTo>
                    <a:cubicBezTo>
                      <a:pt x="18" y="75"/>
                      <a:pt x="18" y="76"/>
                      <a:pt x="19" y="76"/>
                    </a:cubicBezTo>
                    <a:cubicBezTo>
                      <a:pt x="19" y="77"/>
                      <a:pt x="20" y="76"/>
                      <a:pt x="21" y="76"/>
                    </a:cubicBezTo>
                    <a:cubicBezTo>
                      <a:pt x="22" y="76"/>
                      <a:pt x="23" y="74"/>
                      <a:pt x="23" y="74"/>
                    </a:cubicBezTo>
                    <a:cubicBezTo>
                      <a:pt x="21" y="71"/>
                      <a:pt x="20" y="70"/>
                      <a:pt x="16" y="69"/>
                    </a:cubicBezTo>
                    <a:cubicBezTo>
                      <a:pt x="15" y="69"/>
                      <a:pt x="14" y="68"/>
                      <a:pt x="13" y="67"/>
                    </a:cubicBezTo>
                    <a:cubicBezTo>
                      <a:pt x="13" y="65"/>
                      <a:pt x="14" y="67"/>
                      <a:pt x="15" y="67"/>
                    </a:cubicBezTo>
                    <a:cubicBezTo>
                      <a:pt x="14" y="67"/>
                      <a:pt x="12" y="61"/>
                      <a:pt x="12" y="60"/>
                    </a:cubicBezTo>
                    <a:cubicBezTo>
                      <a:pt x="12" y="59"/>
                      <a:pt x="12" y="59"/>
                      <a:pt x="11" y="58"/>
                    </a:cubicBezTo>
                    <a:cubicBezTo>
                      <a:pt x="10" y="58"/>
                      <a:pt x="9" y="57"/>
                      <a:pt x="9" y="56"/>
                    </a:cubicBezTo>
                    <a:cubicBezTo>
                      <a:pt x="8" y="53"/>
                      <a:pt x="10" y="50"/>
                      <a:pt x="11" y="48"/>
                    </a:cubicBezTo>
                    <a:cubicBezTo>
                      <a:pt x="11" y="46"/>
                      <a:pt x="13" y="44"/>
                      <a:pt x="13" y="43"/>
                    </a:cubicBezTo>
                    <a:cubicBezTo>
                      <a:pt x="13" y="41"/>
                      <a:pt x="12" y="37"/>
                      <a:pt x="14" y="36"/>
                    </a:cubicBezTo>
                    <a:cubicBezTo>
                      <a:pt x="17" y="36"/>
                      <a:pt x="17" y="37"/>
                      <a:pt x="17" y="40"/>
                    </a:cubicBezTo>
                    <a:cubicBezTo>
                      <a:pt x="16" y="42"/>
                      <a:pt x="20" y="41"/>
                      <a:pt x="22" y="41"/>
                    </a:cubicBezTo>
                    <a:cubicBezTo>
                      <a:pt x="23" y="41"/>
                      <a:pt x="26" y="43"/>
                      <a:pt x="27" y="44"/>
                    </a:cubicBezTo>
                    <a:cubicBezTo>
                      <a:pt x="27" y="42"/>
                      <a:pt x="25" y="41"/>
                      <a:pt x="24" y="38"/>
                    </a:cubicBezTo>
                    <a:cubicBezTo>
                      <a:pt x="24" y="36"/>
                      <a:pt x="26" y="35"/>
                      <a:pt x="28" y="33"/>
                    </a:cubicBezTo>
                    <a:cubicBezTo>
                      <a:pt x="29" y="32"/>
                      <a:pt x="32" y="32"/>
                      <a:pt x="34" y="32"/>
                    </a:cubicBezTo>
                    <a:cubicBezTo>
                      <a:pt x="36" y="32"/>
                      <a:pt x="37" y="32"/>
                      <a:pt x="38" y="33"/>
                    </a:cubicBezTo>
                    <a:cubicBezTo>
                      <a:pt x="40" y="33"/>
                      <a:pt x="39" y="32"/>
                      <a:pt x="40" y="30"/>
                    </a:cubicBezTo>
                    <a:cubicBezTo>
                      <a:pt x="41" y="30"/>
                      <a:pt x="40" y="31"/>
                      <a:pt x="40" y="3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8" name="Freeform 705">
                <a:extLst>
                  <a:ext uri="{FF2B5EF4-FFF2-40B4-BE49-F238E27FC236}">
                    <a16:creationId xmlns:a16="http://schemas.microsoft.com/office/drawing/2014/main" id="{2D11DF85-2739-EB47-B95C-C4E5C062D592}"/>
                  </a:ext>
                </a:extLst>
              </p:cNvPr>
              <p:cNvSpPr>
                <a:spLocks/>
              </p:cNvSpPr>
              <p:nvPr/>
            </p:nvSpPr>
            <p:spPr bwMode="auto">
              <a:xfrm>
                <a:off x="16362618" y="7921315"/>
                <a:ext cx="356688" cy="729492"/>
              </a:xfrm>
              <a:custGeom>
                <a:avLst/>
                <a:gdLst>
                  <a:gd name="T0" fmla="*/ 37 w 38"/>
                  <a:gd name="T1" fmla="*/ 55 h 78"/>
                  <a:gd name="T2" fmla="*/ 36 w 38"/>
                  <a:gd name="T3" fmla="*/ 49 h 78"/>
                  <a:gd name="T4" fmla="*/ 32 w 38"/>
                  <a:gd name="T5" fmla="*/ 41 h 78"/>
                  <a:gd name="T6" fmla="*/ 28 w 38"/>
                  <a:gd name="T7" fmla="*/ 37 h 78"/>
                  <a:gd name="T8" fmla="*/ 22 w 38"/>
                  <a:gd name="T9" fmla="*/ 31 h 78"/>
                  <a:gd name="T10" fmla="*/ 18 w 38"/>
                  <a:gd name="T11" fmla="*/ 26 h 78"/>
                  <a:gd name="T12" fmla="*/ 19 w 38"/>
                  <a:gd name="T13" fmla="*/ 20 h 78"/>
                  <a:gd name="T14" fmla="*/ 23 w 38"/>
                  <a:gd name="T15" fmla="*/ 15 h 78"/>
                  <a:gd name="T16" fmla="*/ 29 w 38"/>
                  <a:gd name="T17" fmla="*/ 11 h 78"/>
                  <a:gd name="T18" fmla="*/ 23 w 38"/>
                  <a:gd name="T19" fmla="*/ 7 h 78"/>
                  <a:gd name="T20" fmla="*/ 24 w 38"/>
                  <a:gd name="T21" fmla="*/ 4 h 78"/>
                  <a:gd name="T22" fmla="*/ 19 w 38"/>
                  <a:gd name="T23" fmla="*/ 3 h 78"/>
                  <a:gd name="T24" fmla="*/ 14 w 38"/>
                  <a:gd name="T25" fmla="*/ 3 h 78"/>
                  <a:gd name="T26" fmla="*/ 11 w 38"/>
                  <a:gd name="T27" fmla="*/ 5 h 78"/>
                  <a:gd name="T28" fmla="*/ 8 w 38"/>
                  <a:gd name="T29" fmla="*/ 5 h 78"/>
                  <a:gd name="T30" fmla="*/ 5 w 38"/>
                  <a:gd name="T31" fmla="*/ 5 h 78"/>
                  <a:gd name="T32" fmla="*/ 3 w 38"/>
                  <a:gd name="T33" fmla="*/ 5 h 78"/>
                  <a:gd name="T34" fmla="*/ 0 w 38"/>
                  <a:gd name="T35" fmla="*/ 6 h 78"/>
                  <a:gd name="T36" fmla="*/ 4 w 38"/>
                  <a:gd name="T37" fmla="*/ 9 h 78"/>
                  <a:gd name="T38" fmla="*/ 5 w 38"/>
                  <a:gd name="T39" fmla="*/ 13 h 78"/>
                  <a:gd name="T40" fmla="*/ 9 w 38"/>
                  <a:gd name="T41" fmla="*/ 14 h 78"/>
                  <a:gd name="T42" fmla="*/ 12 w 38"/>
                  <a:gd name="T43" fmla="*/ 17 h 78"/>
                  <a:gd name="T44" fmla="*/ 13 w 38"/>
                  <a:gd name="T45" fmla="*/ 21 h 78"/>
                  <a:gd name="T46" fmla="*/ 10 w 38"/>
                  <a:gd name="T47" fmla="*/ 22 h 78"/>
                  <a:gd name="T48" fmla="*/ 14 w 38"/>
                  <a:gd name="T49" fmla="*/ 25 h 78"/>
                  <a:gd name="T50" fmla="*/ 19 w 38"/>
                  <a:gd name="T51" fmla="*/ 31 h 78"/>
                  <a:gd name="T52" fmla="*/ 23 w 38"/>
                  <a:gd name="T53" fmla="*/ 35 h 78"/>
                  <a:gd name="T54" fmla="*/ 26 w 38"/>
                  <a:gd name="T55" fmla="*/ 39 h 78"/>
                  <a:gd name="T56" fmla="*/ 28 w 38"/>
                  <a:gd name="T57" fmla="*/ 43 h 78"/>
                  <a:gd name="T58" fmla="*/ 27 w 38"/>
                  <a:gd name="T59" fmla="*/ 48 h 78"/>
                  <a:gd name="T60" fmla="*/ 28 w 38"/>
                  <a:gd name="T61" fmla="*/ 52 h 78"/>
                  <a:gd name="T62" fmla="*/ 28 w 38"/>
                  <a:gd name="T63" fmla="*/ 57 h 78"/>
                  <a:gd name="T64" fmla="*/ 23 w 38"/>
                  <a:gd name="T65" fmla="*/ 60 h 78"/>
                  <a:gd name="T66" fmla="*/ 20 w 38"/>
                  <a:gd name="T67" fmla="*/ 62 h 78"/>
                  <a:gd name="T68" fmla="*/ 20 w 38"/>
                  <a:gd name="T69" fmla="*/ 65 h 78"/>
                  <a:gd name="T70" fmla="*/ 18 w 38"/>
                  <a:gd name="T71" fmla="*/ 66 h 78"/>
                  <a:gd name="T72" fmla="*/ 14 w 38"/>
                  <a:gd name="T73" fmla="*/ 67 h 78"/>
                  <a:gd name="T74" fmla="*/ 15 w 38"/>
                  <a:gd name="T75" fmla="*/ 70 h 78"/>
                  <a:gd name="T76" fmla="*/ 14 w 38"/>
                  <a:gd name="T77" fmla="*/ 74 h 78"/>
                  <a:gd name="T78" fmla="*/ 14 w 38"/>
                  <a:gd name="T79" fmla="*/ 77 h 78"/>
                  <a:gd name="T80" fmla="*/ 18 w 38"/>
                  <a:gd name="T81" fmla="*/ 75 h 78"/>
                  <a:gd name="T82" fmla="*/ 19 w 38"/>
                  <a:gd name="T83" fmla="*/ 71 h 78"/>
                  <a:gd name="T84" fmla="*/ 22 w 38"/>
                  <a:gd name="T85" fmla="*/ 72 h 78"/>
                  <a:gd name="T86" fmla="*/ 21 w 38"/>
                  <a:gd name="T87" fmla="*/ 70 h 78"/>
                  <a:gd name="T88" fmla="*/ 23 w 38"/>
                  <a:gd name="T89" fmla="*/ 71 h 78"/>
                  <a:gd name="T90" fmla="*/ 24 w 38"/>
                  <a:gd name="T91" fmla="*/ 67 h 78"/>
                  <a:gd name="T92" fmla="*/ 26 w 38"/>
                  <a:gd name="T93" fmla="*/ 68 h 78"/>
                  <a:gd name="T94" fmla="*/ 30 w 38"/>
                  <a:gd name="T95" fmla="*/ 66 h 78"/>
                  <a:gd name="T96" fmla="*/ 36 w 38"/>
                  <a:gd name="T97" fmla="*/ 61 h 78"/>
                  <a:gd name="T98" fmla="*/ 36 w 38"/>
                  <a:gd name="T99" fmla="*/ 57 h 78"/>
                  <a:gd name="T100" fmla="*/ 37 w 38"/>
                  <a:gd name="T101" fmla="*/ 55 h 78"/>
                  <a:gd name="T102" fmla="*/ 37 w 38"/>
                  <a:gd name="T103" fmla="*/ 5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78">
                    <a:moveTo>
                      <a:pt x="37" y="55"/>
                    </a:moveTo>
                    <a:cubicBezTo>
                      <a:pt x="36" y="54"/>
                      <a:pt x="36" y="52"/>
                      <a:pt x="36" y="49"/>
                    </a:cubicBezTo>
                    <a:cubicBezTo>
                      <a:pt x="35" y="46"/>
                      <a:pt x="34" y="44"/>
                      <a:pt x="32" y="41"/>
                    </a:cubicBezTo>
                    <a:cubicBezTo>
                      <a:pt x="31" y="39"/>
                      <a:pt x="30" y="38"/>
                      <a:pt x="28" y="37"/>
                    </a:cubicBezTo>
                    <a:cubicBezTo>
                      <a:pt x="26" y="35"/>
                      <a:pt x="23" y="34"/>
                      <a:pt x="22" y="31"/>
                    </a:cubicBezTo>
                    <a:cubicBezTo>
                      <a:pt x="22" y="29"/>
                      <a:pt x="20" y="28"/>
                      <a:pt x="18" y="26"/>
                    </a:cubicBezTo>
                    <a:cubicBezTo>
                      <a:pt x="17" y="25"/>
                      <a:pt x="18" y="21"/>
                      <a:pt x="19" y="20"/>
                    </a:cubicBezTo>
                    <a:cubicBezTo>
                      <a:pt x="21" y="19"/>
                      <a:pt x="23" y="17"/>
                      <a:pt x="23" y="15"/>
                    </a:cubicBezTo>
                    <a:cubicBezTo>
                      <a:pt x="24" y="14"/>
                      <a:pt x="28" y="12"/>
                      <a:pt x="29" y="11"/>
                    </a:cubicBezTo>
                    <a:cubicBezTo>
                      <a:pt x="27" y="10"/>
                      <a:pt x="25" y="9"/>
                      <a:pt x="23" y="7"/>
                    </a:cubicBezTo>
                    <a:cubicBezTo>
                      <a:pt x="21" y="6"/>
                      <a:pt x="24" y="6"/>
                      <a:pt x="24" y="4"/>
                    </a:cubicBezTo>
                    <a:cubicBezTo>
                      <a:pt x="24" y="4"/>
                      <a:pt x="19" y="3"/>
                      <a:pt x="19" y="3"/>
                    </a:cubicBezTo>
                    <a:cubicBezTo>
                      <a:pt x="17" y="2"/>
                      <a:pt x="15" y="0"/>
                      <a:pt x="14" y="3"/>
                    </a:cubicBezTo>
                    <a:cubicBezTo>
                      <a:pt x="13" y="4"/>
                      <a:pt x="12" y="4"/>
                      <a:pt x="11" y="5"/>
                    </a:cubicBezTo>
                    <a:cubicBezTo>
                      <a:pt x="9" y="8"/>
                      <a:pt x="9" y="4"/>
                      <a:pt x="8" y="5"/>
                    </a:cubicBezTo>
                    <a:cubicBezTo>
                      <a:pt x="6" y="6"/>
                      <a:pt x="6" y="5"/>
                      <a:pt x="5" y="5"/>
                    </a:cubicBezTo>
                    <a:cubicBezTo>
                      <a:pt x="4" y="6"/>
                      <a:pt x="3" y="6"/>
                      <a:pt x="3" y="5"/>
                    </a:cubicBezTo>
                    <a:cubicBezTo>
                      <a:pt x="3" y="4"/>
                      <a:pt x="1" y="6"/>
                      <a:pt x="0" y="6"/>
                    </a:cubicBezTo>
                    <a:cubicBezTo>
                      <a:pt x="0" y="7"/>
                      <a:pt x="3" y="9"/>
                      <a:pt x="4" y="9"/>
                    </a:cubicBezTo>
                    <a:cubicBezTo>
                      <a:pt x="5" y="11"/>
                      <a:pt x="4" y="12"/>
                      <a:pt x="5" y="13"/>
                    </a:cubicBezTo>
                    <a:cubicBezTo>
                      <a:pt x="5" y="15"/>
                      <a:pt x="8" y="15"/>
                      <a:pt x="9" y="14"/>
                    </a:cubicBezTo>
                    <a:cubicBezTo>
                      <a:pt x="11" y="13"/>
                      <a:pt x="12" y="16"/>
                      <a:pt x="12" y="17"/>
                    </a:cubicBezTo>
                    <a:cubicBezTo>
                      <a:pt x="13" y="19"/>
                      <a:pt x="15" y="19"/>
                      <a:pt x="13" y="21"/>
                    </a:cubicBezTo>
                    <a:cubicBezTo>
                      <a:pt x="11" y="22"/>
                      <a:pt x="10" y="19"/>
                      <a:pt x="10" y="22"/>
                    </a:cubicBezTo>
                    <a:cubicBezTo>
                      <a:pt x="10" y="24"/>
                      <a:pt x="13" y="24"/>
                      <a:pt x="14" y="25"/>
                    </a:cubicBezTo>
                    <a:cubicBezTo>
                      <a:pt x="16" y="27"/>
                      <a:pt x="17" y="29"/>
                      <a:pt x="19" y="31"/>
                    </a:cubicBezTo>
                    <a:cubicBezTo>
                      <a:pt x="20" y="33"/>
                      <a:pt x="22" y="33"/>
                      <a:pt x="23" y="35"/>
                    </a:cubicBezTo>
                    <a:cubicBezTo>
                      <a:pt x="24" y="37"/>
                      <a:pt x="24" y="38"/>
                      <a:pt x="26" y="39"/>
                    </a:cubicBezTo>
                    <a:cubicBezTo>
                      <a:pt x="27" y="40"/>
                      <a:pt x="26" y="42"/>
                      <a:pt x="28" y="43"/>
                    </a:cubicBezTo>
                    <a:cubicBezTo>
                      <a:pt x="29" y="44"/>
                      <a:pt x="28" y="47"/>
                      <a:pt x="27" y="48"/>
                    </a:cubicBezTo>
                    <a:cubicBezTo>
                      <a:pt x="26" y="49"/>
                      <a:pt x="27" y="51"/>
                      <a:pt x="28" y="52"/>
                    </a:cubicBezTo>
                    <a:cubicBezTo>
                      <a:pt x="28" y="54"/>
                      <a:pt x="28" y="55"/>
                      <a:pt x="28" y="57"/>
                    </a:cubicBezTo>
                    <a:cubicBezTo>
                      <a:pt x="26" y="59"/>
                      <a:pt x="26" y="59"/>
                      <a:pt x="23" y="60"/>
                    </a:cubicBezTo>
                    <a:cubicBezTo>
                      <a:pt x="21" y="60"/>
                      <a:pt x="24" y="63"/>
                      <a:pt x="20" y="62"/>
                    </a:cubicBezTo>
                    <a:cubicBezTo>
                      <a:pt x="18" y="62"/>
                      <a:pt x="20" y="64"/>
                      <a:pt x="20" y="65"/>
                    </a:cubicBezTo>
                    <a:cubicBezTo>
                      <a:pt x="21" y="67"/>
                      <a:pt x="19" y="66"/>
                      <a:pt x="18" y="66"/>
                    </a:cubicBezTo>
                    <a:cubicBezTo>
                      <a:pt x="16" y="66"/>
                      <a:pt x="15" y="66"/>
                      <a:pt x="14" y="67"/>
                    </a:cubicBezTo>
                    <a:cubicBezTo>
                      <a:pt x="11" y="69"/>
                      <a:pt x="13" y="69"/>
                      <a:pt x="15" y="70"/>
                    </a:cubicBezTo>
                    <a:cubicBezTo>
                      <a:pt x="16" y="70"/>
                      <a:pt x="14" y="73"/>
                      <a:pt x="14" y="74"/>
                    </a:cubicBezTo>
                    <a:cubicBezTo>
                      <a:pt x="13" y="74"/>
                      <a:pt x="13" y="78"/>
                      <a:pt x="14" y="77"/>
                    </a:cubicBezTo>
                    <a:cubicBezTo>
                      <a:pt x="16" y="76"/>
                      <a:pt x="17" y="75"/>
                      <a:pt x="18" y="75"/>
                    </a:cubicBezTo>
                    <a:cubicBezTo>
                      <a:pt x="22" y="74"/>
                      <a:pt x="20" y="73"/>
                      <a:pt x="19" y="71"/>
                    </a:cubicBezTo>
                    <a:cubicBezTo>
                      <a:pt x="20" y="71"/>
                      <a:pt x="21" y="73"/>
                      <a:pt x="22" y="72"/>
                    </a:cubicBezTo>
                    <a:cubicBezTo>
                      <a:pt x="23" y="71"/>
                      <a:pt x="21" y="70"/>
                      <a:pt x="21" y="70"/>
                    </a:cubicBezTo>
                    <a:cubicBezTo>
                      <a:pt x="21" y="69"/>
                      <a:pt x="23" y="71"/>
                      <a:pt x="23" y="71"/>
                    </a:cubicBezTo>
                    <a:cubicBezTo>
                      <a:pt x="22" y="71"/>
                      <a:pt x="23" y="67"/>
                      <a:pt x="24" y="67"/>
                    </a:cubicBezTo>
                    <a:cubicBezTo>
                      <a:pt x="24" y="66"/>
                      <a:pt x="26" y="68"/>
                      <a:pt x="26" y="68"/>
                    </a:cubicBezTo>
                    <a:cubicBezTo>
                      <a:pt x="28" y="68"/>
                      <a:pt x="29" y="67"/>
                      <a:pt x="30" y="66"/>
                    </a:cubicBezTo>
                    <a:cubicBezTo>
                      <a:pt x="31" y="65"/>
                      <a:pt x="36" y="63"/>
                      <a:pt x="36" y="61"/>
                    </a:cubicBezTo>
                    <a:cubicBezTo>
                      <a:pt x="36" y="60"/>
                      <a:pt x="35" y="59"/>
                      <a:pt x="36" y="57"/>
                    </a:cubicBezTo>
                    <a:cubicBezTo>
                      <a:pt x="36" y="56"/>
                      <a:pt x="38" y="57"/>
                      <a:pt x="37" y="55"/>
                    </a:cubicBezTo>
                    <a:cubicBezTo>
                      <a:pt x="36" y="54"/>
                      <a:pt x="38" y="56"/>
                      <a:pt x="37"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29" name="Freeform 706">
                <a:extLst>
                  <a:ext uri="{FF2B5EF4-FFF2-40B4-BE49-F238E27FC236}">
                    <a16:creationId xmlns:a16="http://schemas.microsoft.com/office/drawing/2014/main" id="{3018BAB7-A11C-8C44-BA09-E5A33E4E8091}"/>
                  </a:ext>
                </a:extLst>
              </p:cNvPr>
              <p:cNvSpPr>
                <a:spLocks/>
              </p:cNvSpPr>
              <p:nvPr/>
            </p:nvSpPr>
            <p:spPr bwMode="auto">
              <a:xfrm>
                <a:off x="16279815" y="7978656"/>
                <a:ext cx="343950" cy="420492"/>
              </a:xfrm>
              <a:custGeom>
                <a:avLst/>
                <a:gdLst>
                  <a:gd name="T0" fmla="*/ 37 w 37"/>
                  <a:gd name="T1" fmla="*/ 38 h 45"/>
                  <a:gd name="T2" fmla="*/ 35 w 37"/>
                  <a:gd name="T3" fmla="*/ 35 h 45"/>
                  <a:gd name="T4" fmla="*/ 33 w 37"/>
                  <a:gd name="T5" fmla="*/ 32 h 45"/>
                  <a:gd name="T6" fmla="*/ 30 w 37"/>
                  <a:gd name="T7" fmla="*/ 28 h 45"/>
                  <a:gd name="T8" fmla="*/ 26 w 37"/>
                  <a:gd name="T9" fmla="*/ 22 h 45"/>
                  <a:gd name="T10" fmla="*/ 22 w 37"/>
                  <a:gd name="T11" fmla="*/ 18 h 45"/>
                  <a:gd name="T12" fmla="*/ 19 w 37"/>
                  <a:gd name="T13" fmla="*/ 15 h 45"/>
                  <a:gd name="T14" fmla="*/ 22 w 37"/>
                  <a:gd name="T15" fmla="*/ 14 h 45"/>
                  <a:gd name="T16" fmla="*/ 21 w 37"/>
                  <a:gd name="T17" fmla="*/ 10 h 45"/>
                  <a:gd name="T18" fmla="*/ 14 w 37"/>
                  <a:gd name="T19" fmla="*/ 8 h 45"/>
                  <a:gd name="T20" fmla="*/ 13 w 37"/>
                  <a:gd name="T21" fmla="*/ 4 h 45"/>
                  <a:gd name="T22" fmla="*/ 9 w 37"/>
                  <a:gd name="T23" fmla="*/ 0 h 45"/>
                  <a:gd name="T24" fmla="*/ 7 w 37"/>
                  <a:gd name="T25" fmla="*/ 0 h 45"/>
                  <a:gd name="T26" fmla="*/ 8 w 37"/>
                  <a:gd name="T27" fmla="*/ 4 h 45"/>
                  <a:gd name="T28" fmla="*/ 8 w 37"/>
                  <a:gd name="T29" fmla="*/ 7 h 45"/>
                  <a:gd name="T30" fmla="*/ 4 w 37"/>
                  <a:gd name="T31" fmla="*/ 5 h 45"/>
                  <a:gd name="T32" fmla="*/ 0 w 37"/>
                  <a:gd name="T33" fmla="*/ 10 h 45"/>
                  <a:gd name="T34" fmla="*/ 4 w 37"/>
                  <a:gd name="T35" fmla="*/ 15 h 45"/>
                  <a:gd name="T36" fmla="*/ 4 w 37"/>
                  <a:gd name="T37" fmla="*/ 22 h 45"/>
                  <a:gd name="T38" fmla="*/ 3 w 37"/>
                  <a:gd name="T39" fmla="*/ 26 h 45"/>
                  <a:gd name="T40" fmla="*/ 7 w 37"/>
                  <a:gd name="T41" fmla="*/ 25 h 45"/>
                  <a:gd name="T42" fmla="*/ 10 w 37"/>
                  <a:gd name="T43" fmla="*/ 23 h 45"/>
                  <a:gd name="T44" fmla="*/ 15 w 37"/>
                  <a:gd name="T45" fmla="*/ 22 h 45"/>
                  <a:gd name="T46" fmla="*/ 23 w 37"/>
                  <a:gd name="T47" fmla="*/ 28 h 45"/>
                  <a:gd name="T48" fmla="*/ 27 w 37"/>
                  <a:gd name="T49" fmla="*/ 36 h 45"/>
                  <a:gd name="T50" fmla="*/ 27 w 37"/>
                  <a:gd name="T51" fmla="*/ 39 h 45"/>
                  <a:gd name="T52" fmla="*/ 25 w 37"/>
                  <a:gd name="T53" fmla="*/ 43 h 45"/>
                  <a:gd name="T54" fmla="*/ 29 w 37"/>
                  <a:gd name="T55" fmla="*/ 43 h 45"/>
                  <a:gd name="T56" fmla="*/ 32 w 37"/>
                  <a:gd name="T57" fmla="*/ 42 h 45"/>
                  <a:gd name="T58" fmla="*/ 35 w 37"/>
                  <a:gd name="T59" fmla="*/ 42 h 45"/>
                  <a:gd name="T60" fmla="*/ 37 w 37"/>
                  <a:gd name="T61" fmla="*/ 3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5">
                    <a:moveTo>
                      <a:pt x="37" y="38"/>
                    </a:moveTo>
                    <a:cubicBezTo>
                      <a:pt x="37" y="37"/>
                      <a:pt x="36" y="37"/>
                      <a:pt x="35" y="35"/>
                    </a:cubicBezTo>
                    <a:cubicBezTo>
                      <a:pt x="35" y="33"/>
                      <a:pt x="34" y="34"/>
                      <a:pt x="33" y="32"/>
                    </a:cubicBezTo>
                    <a:cubicBezTo>
                      <a:pt x="32" y="30"/>
                      <a:pt x="32" y="29"/>
                      <a:pt x="30" y="28"/>
                    </a:cubicBezTo>
                    <a:cubicBezTo>
                      <a:pt x="28" y="26"/>
                      <a:pt x="27" y="24"/>
                      <a:pt x="26" y="22"/>
                    </a:cubicBezTo>
                    <a:cubicBezTo>
                      <a:pt x="25" y="21"/>
                      <a:pt x="23" y="19"/>
                      <a:pt x="22" y="18"/>
                    </a:cubicBezTo>
                    <a:cubicBezTo>
                      <a:pt x="20" y="17"/>
                      <a:pt x="19" y="18"/>
                      <a:pt x="19" y="15"/>
                    </a:cubicBezTo>
                    <a:cubicBezTo>
                      <a:pt x="19" y="14"/>
                      <a:pt x="21" y="16"/>
                      <a:pt x="22" y="14"/>
                    </a:cubicBezTo>
                    <a:cubicBezTo>
                      <a:pt x="24" y="13"/>
                      <a:pt x="22" y="12"/>
                      <a:pt x="21" y="10"/>
                    </a:cubicBezTo>
                    <a:cubicBezTo>
                      <a:pt x="19" y="5"/>
                      <a:pt x="16" y="11"/>
                      <a:pt x="14" y="8"/>
                    </a:cubicBezTo>
                    <a:cubicBezTo>
                      <a:pt x="13" y="7"/>
                      <a:pt x="14" y="5"/>
                      <a:pt x="13" y="4"/>
                    </a:cubicBezTo>
                    <a:cubicBezTo>
                      <a:pt x="12" y="3"/>
                      <a:pt x="10" y="2"/>
                      <a:pt x="9" y="0"/>
                    </a:cubicBezTo>
                    <a:cubicBezTo>
                      <a:pt x="9" y="0"/>
                      <a:pt x="7" y="0"/>
                      <a:pt x="7" y="0"/>
                    </a:cubicBezTo>
                    <a:cubicBezTo>
                      <a:pt x="6" y="1"/>
                      <a:pt x="8" y="3"/>
                      <a:pt x="8" y="4"/>
                    </a:cubicBezTo>
                    <a:cubicBezTo>
                      <a:pt x="8" y="5"/>
                      <a:pt x="9" y="7"/>
                      <a:pt x="8" y="7"/>
                    </a:cubicBezTo>
                    <a:cubicBezTo>
                      <a:pt x="6" y="7"/>
                      <a:pt x="6" y="5"/>
                      <a:pt x="4" y="5"/>
                    </a:cubicBezTo>
                    <a:cubicBezTo>
                      <a:pt x="3" y="4"/>
                      <a:pt x="0" y="10"/>
                      <a:pt x="0" y="10"/>
                    </a:cubicBezTo>
                    <a:cubicBezTo>
                      <a:pt x="1" y="13"/>
                      <a:pt x="0" y="17"/>
                      <a:pt x="4" y="15"/>
                    </a:cubicBezTo>
                    <a:cubicBezTo>
                      <a:pt x="6" y="14"/>
                      <a:pt x="4" y="22"/>
                      <a:pt x="4" y="22"/>
                    </a:cubicBezTo>
                    <a:cubicBezTo>
                      <a:pt x="6" y="23"/>
                      <a:pt x="4" y="24"/>
                      <a:pt x="3" y="26"/>
                    </a:cubicBezTo>
                    <a:cubicBezTo>
                      <a:pt x="3" y="27"/>
                      <a:pt x="6" y="25"/>
                      <a:pt x="7" y="25"/>
                    </a:cubicBezTo>
                    <a:cubicBezTo>
                      <a:pt x="7" y="24"/>
                      <a:pt x="9" y="23"/>
                      <a:pt x="10" y="23"/>
                    </a:cubicBezTo>
                    <a:cubicBezTo>
                      <a:pt x="12" y="24"/>
                      <a:pt x="13" y="24"/>
                      <a:pt x="15" y="22"/>
                    </a:cubicBezTo>
                    <a:cubicBezTo>
                      <a:pt x="17" y="21"/>
                      <a:pt x="24" y="25"/>
                      <a:pt x="23" y="28"/>
                    </a:cubicBezTo>
                    <a:cubicBezTo>
                      <a:pt x="21" y="32"/>
                      <a:pt x="25" y="33"/>
                      <a:pt x="27" y="36"/>
                    </a:cubicBezTo>
                    <a:cubicBezTo>
                      <a:pt x="27" y="37"/>
                      <a:pt x="27" y="38"/>
                      <a:pt x="27" y="39"/>
                    </a:cubicBezTo>
                    <a:cubicBezTo>
                      <a:pt x="27" y="40"/>
                      <a:pt x="26" y="42"/>
                      <a:pt x="25" y="43"/>
                    </a:cubicBezTo>
                    <a:cubicBezTo>
                      <a:pt x="26" y="43"/>
                      <a:pt x="29" y="45"/>
                      <a:pt x="29" y="43"/>
                    </a:cubicBezTo>
                    <a:cubicBezTo>
                      <a:pt x="29" y="42"/>
                      <a:pt x="31" y="41"/>
                      <a:pt x="32" y="42"/>
                    </a:cubicBezTo>
                    <a:cubicBezTo>
                      <a:pt x="33" y="43"/>
                      <a:pt x="34" y="43"/>
                      <a:pt x="35" y="42"/>
                    </a:cubicBezTo>
                    <a:cubicBezTo>
                      <a:pt x="37" y="42"/>
                      <a:pt x="37" y="40"/>
                      <a:pt x="37"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0" name="Freeform 707">
                <a:extLst>
                  <a:ext uri="{FF2B5EF4-FFF2-40B4-BE49-F238E27FC236}">
                    <a16:creationId xmlns:a16="http://schemas.microsoft.com/office/drawing/2014/main" id="{C263F025-1D0E-E840-9178-83A006D68219}"/>
                  </a:ext>
                </a:extLst>
              </p:cNvPr>
              <p:cNvSpPr>
                <a:spLocks/>
              </p:cNvSpPr>
              <p:nvPr/>
            </p:nvSpPr>
            <p:spPr bwMode="auto">
              <a:xfrm>
                <a:off x="17754337" y="9119079"/>
                <a:ext cx="420383" cy="356781"/>
              </a:xfrm>
              <a:custGeom>
                <a:avLst/>
                <a:gdLst>
                  <a:gd name="T0" fmla="*/ 45 w 45"/>
                  <a:gd name="T1" fmla="*/ 29 h 38"/>
                  <a:gd name="T2" fmla="*/ 45 w 45"/>
                  <a:gd name="T3" fmla="*/ 26 h 38"/>
                  <a:gd name="T4" fmla="*/ 45 w 45"/>
                  <a:gd name="T5" fmla="*/ 24 h 38"/>
                  <a:gd name="T6" fmla="*/ 45 w 45"/>
                  <a:gd name="T7" fmla="*/ 15 h 38"/>
                  <a:gd name="T8" fmla="*/ 45 w 45"/>
                  <a:gd name="T9" fmla="*/ 6 h 38"/>
                  <a:gd name="T10" fmla="*/ 35 w 45"/>
                  <a:gd name="T11" fmla="*/ 3 h 38"/>
                  <a:gd name="T12" fmla="*/ 30 w 45"/>
                  <a:gd name="T13" fmla="*/ 0 h 38"/>
                  <a:gd name="T14" fmla="*/ 26 w 45"/>
                  <a:gd name="T15" fmla="*/ 3 h 38"/>
                  <a:gd name="T16" fmla="*/ 22 w 45"/>
                  <a:gd name="T17" fmla="*/ 5 h 38"/>
                  <a:gd name="T18" fmla="*/ 18 w 45"/>
                  <a:gd name="T19" fmla="*/ 10 h 38"/>
                  <a:gd name="T20" fmla="*/ 14 w 45"/>
                  <a:gd name="T21" fmla="*/ 8 h 38"/>
                  <a:gd name="T22" fmla="*/ 11 w 45"/>
                  <a:gd name="T23" fmla="*/ 5 h 38"/>
                  <a:gd name="T24" fmla="*/ 9 w 45"/>
                  <a:gd name="T25" fmla="*/ 6 h 38"/>
                  <a:gd name="T26" fmla="*/ 7 w 45"/>
                  <a:gd name="T27" fmla="*/ 5 h 38"/>
                  <a:gd name="T28" fmla="*/ 4 w 45"/>
                  <a:gd name="T29" fmla="*/ 6 h 38"/>
                  <a:gd name="T30" fmla="*/ 0 w 45"/>
                  <a:gd name="T31" fmla="*/ 7 h 38"/>
                  <a:gd name="T32" fmla="*/ 3 w 45"/>
                  <a:gd name="T33" fmla="*/ 8 h 38"/>
                  <a:gd name="T34" fmla="*/ 4 w 45"/>
                  <a:gd name="T35" fmla="*/ 11 h 38"/>
                  <a:gd name="T36" fmla="*/ 7 w 45"/>
                  <a:gd name="T37" fmla="*/ 14 h 38"/>
                  <a:gd name="T38" fmla="*/ 9 w 45"/>
                  <a:gd name="T39" fmla="*/ 8 h 38"/>
                  <a:gd name="T40" fmla="*/ 10 w 45"/>
                  <a:gd name="T41" fmla="*/ 12 h 38"/>
                  <a:gd name="T42" fmla="*/ 15 w 45"/>
                  <a:gd name="T43" fmla="*/ 12 h 38"/>
                  <a:gd name="T44" fmla="*/ 18 w 45"/>
                  <a:gd name="T45" fmla="*/ 15 h 38"/>
                  <a:gd name="T46" fmla="*/ 27 w 45"/>
                  <a:gd name="T47" fmla="*/ 19 h 38"/>
                  <a:gd name="T48" fmla="*/ 32 w 45"/>
                  <a:gd name="T49" fmla="*/ 22 h 38"/>
                  <a:gd name="T50" fmla="*/ 34 w 45"/>
                  <a:gd name="T51" fmla="*/ 26 h 38"/>
                  <a:gd name="T52" fmla="*/ 36 w 45"/>
                  <a:gd name="T53" fmla="*/ 27 h 38"/>
                  <a:gd name="T54" fmla="*/ 34 w 45"/>
                  <a:gd name="T55" fmla="*/ 28 h 38"/>
                  <a:gd name="T56" fmla="*/ 36 w 45"/>
                  <a:gd name="T57" fmla="*/ 29 h 38"/>
                  <a:gd name="T58" fmla="*/ 35 w 45"/>
                  <a:gd name="T59" fmla="*/ 30 h 38"/>
                  <a:gd name="T60" fmla="*/ 32 w 45"/>
                  <a:gd name="T61" fmla="*/ 31 h 38"/>
                  <a:gd name="T62" fmla="*/ 29 w 45"/>
                  <a:gd name="T63" fmla="*/ 34 h 38"/>
                  <a:gd name="T64" fmla="*/ 34 w 45"/>
                  <a:gd name="T65" fmla="*/ 35 h 38"/>
                  <a:gd name="T66" fmla="*/ 36 w 45"/>
                  <a:gd name="T67" fmla="*/ 31 h 38"/>
                  <a:gd name="T68" fmla="*/ 36 w 45"/>
                  <a:gd name="T69" fmla="*/ 33 h 38"/>
                  <a:gd name="T70" fmla="*/ 40 w 45"/>
                  <a:gd name="T71" fmla="*/ 32 h 38"/>
                  <a:gd name="T72" fmla="*/ 45 w 45"/>
                  <a:gd name="T73" fmla="*/ 38 h 38"/>
                  <a:gd name="T74" fmla="*/ 45 w 45"/>
                  <a:gd name="T7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 h="38">
                    <a:moveTo>
                      <a:pt x="45" y="29"/>
                    </a:moveTo>
                    <a:cubicBezTo>
                      <a:pt x="45" y="28"/>
                      <a:pt x="44" y="27"/>
                      <a:pt x="45" y="26"/>
                    </a:cubicBezTo>
                    <a:cubicBezTo>
                      <a:pt x="45" y="25"/>
                      <a:pt x="45" y="25"/>
                      <a:pt x="45" y="24"/>
                    </a:cubicBezTo>
                    <a:cubicBezTo>
                      <a:pt x="45" y="21"/>
                      <a:pt x="45" y="18"/>
                      <a:pt x="45" y="15"/>
                    </a:cubicBezTo>
                    <a:cubicBezTo>
                      <a:pt x="45" y="12"/>
                      <a:pt x="45" y="9"/>
                      <a:pt x="45" y="6"/>
                    </a:cubicBezTo>
                    <a:cubicBezTo>
                      <a:pt x="45" y="6"/>
                      <a:pt x="36" y="3"/>
                      <a:pt x="35" y="3"/>
                    </a:cubicBezTo>
                    <a:cubicBezTo>
                      <a:pt x="33" y="2"/>
                      <a:pt x="32" y="1"/>
                      <a:pt x="30" y="0"/>
                    </a:cubicBezTo>
                    <a:cubicBezTo>
                      <a:pt x="27" y="0"/>
                      <a:pt x="27" y="2"/>
                      <a:pt x="26" y="3"/>
                    </a:cubicBezTo>
                    <a:cubicBezTo>
                      <a:pt x="26" y="4"/>
                      <a:pt x="23" y="4"/>
                      <a:pt x="22" y="5"/>
                    </a:cubicBezTo>
                    <a:cubicBezTo>
                      <a:pt x="21" y="7"/>
                      <a:pt x="20" y="9"/>
                      <a:pt x="18" y="10"/>
                    </a:cubicBezTo>
                    <a:cubicBezTo>
                      <a:pt x="16" y="11"/>
                      <a:pt x="14" y="10"/>
                      <a:pt x="14" y="8"/>
                    </a:cubicBezTo>
                    <a:cubicBezTo>
                      <a:pt x="13" y="6"/>
                      <a:pt x="12" y="6"/>
                      <a:pt x="11" y="5"/>
                    </a:cubicBezTo>
                    <a:cubicBezTo>
                      <a:pt x="11" y="3"/>
                      <a:pt x="10" y="5"/>
                      <a:pt x="9" y="6"/>
                    </a:cubicBezTo>
                    <a:cubicBezTo>
                      <a:pt x="8" y="6"/>
                      <a:pt x="7" y="5"/>
                      <a:pt x="7" y="5"/>
                    </a:cubicBezTo>
                    <a:cubicBezTo>
                      <a:pt x="6" y="5"/>
                      <a:pt x="5" y="6"/>
                      <a:pt x="4" y="6"/>
                    </a:cubicBezTo>
                    <a:cubicBezTo>
                      <a:pt x="4" y="7"/>
                      <a:pt x="0" y="6"/>
                      <a:pt x="0" y="7"/>
                    </a:cubicBezTo>
                    <a:cubicBezTo>
                      <a:pt x="0" y="8"/>
                      <a:pt x="2" y="8"/>
                      <a:pt x="3" y="8"/>
                    </a:cubicBezTo>
                    <a:cubicBezTo>
                      <a:pt x="4" y="9"/>
                      <a:pt x="4" y="10"/>
                      <a:pt x="4" y="11"/>
                    </a:cubicBezTo>
                    <a:cubicBezTo>
                      <a:pt x="4" y="13"/>
                      <a:pt x="7" y="13"/>
                      <a:pt x="7" y="14"/>
                    </a:cubicBezTo>
                    <a:cubicBezTo>
                      <a:pt x="7" y="12"/>
                      <a:pt x="7" y="9"/>
                      <a:pt x="9" y="8"/>
                    </a:cubicBezTo>
                    <a:cubicBezTo>
                      <a:pt x="7" y="9"/>
                      <a:pt x="8" y="11"/>
                      <a:pt x="10" y="12"/>
                    </a:cubicBezTo>
                    <a:cubicBezTo>
                      <a:pt x="12" y="13"/>
                      <a:pt x="13" y="13"/>
                      <a:pt x="15" y="12"/>
                    </a:cubicBezTo>
                    <a:cubicBezTo>
                      <a:pt x="12" y="13"/>
                      <a:pt x="17" y="15"/>
                      <a:pt x="18" y="15"/>
                    </a:cubicBezTo>
                    <a:cubicBezTo>
                      <a:pt x="21" y="16"/>
                      <a:pt x="24" y="18"/>
                      <a:pt x="27" y="19"/>
                    </a:cubicBezTo>
                    <a:cubicBezTo>
                      <a:pt x="29" y="20"/>
                      <a:pt x="31" y="21"/>
                      <a:pt x="32" y="22"/>
                    </a:cubicBezTo>
                    <a:cubicBezTo>
                      <a:pt x="32" y="24"/>
                      <a:pt x="33" y="25"/>
                      <a:pt x="34" y="26"/>
                    </a:cubicBezTo>
                    <a:cubicBezTo>
                      <a:pt x="34" y="26"/>
                      <a:pt x="36" y="27"/>
                      <a:pt x="36" y="27"/>
                    </a:cubicBezTo>
                    <a:cubicBezTo>
                      <a:pt x="36" y="27"/>
                      <a:pt x="34" y="28"/>
                      <a:pt x="34" y="28"/>
                    </a:cubicBezTo>
                    <a:cubicBezTo>
                      <a:pt x="34" y="28"/>
                      <a:pt x="36" y="28"/>
                      <a:pt x="36" y="29"/>
                    </a:cubicBezTo>
                    <a:cubicBezTo>
                      <a:pt x="36" y="28"/>
                      <a:pt x="35" y="29"/>
                      <a:pt x="35" y="30"/>
                    </a:cubicBezTo>
                    <a:cubicBezTo>
                      <a:pt x="34" y="31"/>
                      <a:pt x="33" y="30"/>
                      <a:pt x="32" y="31"/>
                    </a:cubicBezTo>
                    <a:cubicBezTo>
                      <a:pt x="31" y="31"/>
                      <a:pt x="28" y="34"/>
                      <a:pt x="29" y="34"/>
                    </a:cubicBezTo>
                    <a:cubicBezTo>
                      <a:pt x="30" y="35"/>
                      <a:pt x="32" y="35"/>
                      <a:pt x="34" y="35"/>
                    </a:cubicBezTo>
                    <a:cubicBezTo>
                      <a:pt x="34" y="34"/>
                      <a:pt x="35" y="30"/>
                      <a:pt x="36" y="31"/>
                    </a:cubicBezTo>
                    <a:cubicBezTo>
                      <a:pt x="36" y="32"/>
                      <a:pt x="33" y="33"/>
                      <a:pt x="36" y="33"/>
                    </a:cubicBezTo>
                    <a:cubicBezTo>
                      <a:pt x="38" y="34"/>
                      <a:pt x="39" y="34"/>
                      <a:pt x="40" y="32"/>
                    </a:cubicBezTo>
                    <a:cubicBezTo>
                      <a:pt x="39" y="34"/>
                      <a:pt x="44" y="37"/>
                      <a:pt x="45" y="38"/>
                    </a:cubicBezTo>
                    <a:cubicBezTo>
                      <a:pt x="45" y="35"/>
                      <a:pt x="45" y="32"/>
                      <a:pt x="45"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1" name="Freeform 708">
                <a:extLst>
                  <a:ext uri="{FF2B5EF4-FFF2-40B4-BE49-F238E27FC236}">
                    <a16:creationId xmlns:a16="http://schemas.microsoft.com/office/drawing/2014/main" id="{EA1ADDDF-298A-1747-95CD-6E32C2F3D62A}"/>
                  </a:ext>
                </a:extLst>
              </p:cNvPr>
              <p:cNvSpPr>
                <a:spLocks/>
              </p:cNvSpPr>
              <p:nvPr/>
            </p:nvSpPr>
            <p:spPr bwMode="auto">
              <a:xfrm>
                <a:off x="18165166" y="9176423"/>
                <a:ext cx="477708" cy="382265"/>
              </a:xfrm>
              <a:custGeom>
                <a:avLst/>
                <a:gdLst>
                  <a:gd name="T0" fmla="*/ 50 w 51"/>
                  <a:gd name="T1" fmla="*/ 39 h 41"/>
                  <a:gd name="T2" fmla="*/ 45 w 51"/>
                  <a:gd name="T3" fmla="*/ 37 h 41"/>
                  <a:gd name="T4" fmla="*/ 47 w 51"/>
                  <a:gd name="T5" fmla="*/ 36 h 41"/>
                  <a:gd name="T6" fmla="*/ 42 w 51"/>
                  <a:gd name="T7" fmla="*/ 34 h 41"/>
                  <a:gd name="T8" fmla="*/ 38 w 51"/>
                  <a:gd name="T9" fmla="*/ 30 h 41"/>
                  <a:gd name="T10" fmla="*/ 37 w 51"/>
                  <a:gd name="T11" fmla="*/ 28 h 41"/>
                  <a:gd name="T12" fmla="*/ 34 w 51"/>
                  <a:gd name="T13" fmla="*/ 26 h 41"/>
                  <a:gd name="T14" fmla="*/ 29 w 51"/>
                  <a:gd name="T15" fmla="*/ 21 h 41"/>
                  <a:gd name="T16" fmla="*/ 34 w 51"/>
                  <a:gd name="T17" fmla="*/ 21 h 41"/>
                  <a:gd name="T18" fmla="*/ 34 w 51"/>
                  <a:gd name="T19" fmla="*/ 18 h 41"/>
                  <a:gd name="T20" fmla="*/ 31 w 51"/>
                  <a:gd name="T21" fmla="*/ 17 h 41"/>
                  <a:gd name="T22" fmla="*/ 25 w 51"/>
                  <a:gd name="T23" fmla="*/ 12 h 41"/>
                  <a:gd name="T24" fmla="*/ 19 w 51"/>
                  <a:gd name="T25" fmla="*/ 7 h 41"/>
                  <a:gd name="T26" fmla="*/ 16 w 51"/>
                  <a:gd name="T27" fmla="*/ 6 h 41"/>
                  <a:gd name="T28" fmla="*/ 13 w 51"/>
                  <a:gd name="T29" fmla="*/ 4 h 41"/>
                  <a:gd name="T30" fmla="*/ 8 w 51"/>
                  <a:gd name="T31" fmla="*/ 2 h 41"/>
                  <a:gd name="T32" fmla="*/ 1 w 51"/>
                  <a:gd name="T33" fmla="*/ 0 h 41"/>
                  <a:gd name="T34" fmla="*/ 1 w 51"/>
                  <a:gd name="T35" fmla="*/ 10 h 41"/>
                  <a:gd name="T36" fmla="*/ 1 w 51"/>
                  <a:gd name="T37" fmla="*/ 20 h 41"/>
                  <a:gd name="T38" fmla="*/ 1 w 51"/>
                  <a:gd name="T39" fmla="*/ 25 h 41"/>
                  <a:gd name="T40" fmla="*/ 1 w 51"/>
                  <a:gd name="T41" fmla="*/ 30 h 41"/>
                  <a:gd name="T42" fmla="*/ 4 w 51"/>
                  <a:gd name="T43" fmla="*/ 33 h 41"/>
                  <a:gd name="T44" fmla="*/ 13 w 51"/>
                  <a:gd name="T45" fmla="*/ 31 h 41"/>
                  <a:gd name="T46" fmla="*/ 9 w 51"/>
                  <a:gd name="T47" fmla="*/ 28 h 41"/>
                  <a:gd name="T48" fmla="*/ 14 w 51"/>
                  <a:gd name="T49" fmla="*/ 30 h 41"/>
                  <a:gd name="T50" fmla="*/ 13 w 51"/>
                  <a:gd name="T51" fmla="*/ 26 h 41"/>
                  <a:gd name="T52" fmla="*/ 15 w 51"/>
                  <a:gd name="T53" fmla="*/ 27 h 41"/>
                  <a:gd name="T54" fmla="*/ 18 w 51"/>
                  <a:gd name="T55" fmla="*/ 25 h 41"/>
                  <a:gd name="T56" fmla="*/ 26 w 51"/>
                  <a:gd name="T57" fmla="*/ 27 h 41"/>
                  <a:gd name="T58" fmla="*/ 31 w 51"/>
                  <a:gd name="T59" fmla="*/ 33 h 41"/>
                  <a:gd name="T60" fmla="*/ 36 w 51"/>
                  <a:gd name="T61" fmla="*/ 38 h 41"/>
                  <a:gd name="T62" fmla="*/ 45 w 51"/>
                  <a:gd name="T63" fmla="*/ 40 h 41"/>
                  <a:gd name="T64" fmla="*/ 48 w 51"/>
                  <a:gd name="T65" fmla="*/ 40 h 41"/>
                  <a:gd name="T66" fmla="*/ 50 w 51"/>
                  <a:gd name="T67" fmla="*/ 39 h 41"/>
                  <a:gd name="T68" fmla="*/ 50 w 51"/>
                  <a:gd name="T69"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 h="41">
                    <a:moveTo>
                      <a:pt x="50" y="39"/>
                    </a:moveTo>
                    <a:cubicBezTo>
                      <a:pt x="48" y="38"/>
                      <a:pt x="46" y="38"/>
                      <a:pt x="45" y="37"/>
                    </a:cubicBezTo>
                    <a:cubicBezTo>
                      <a:pt x="44" y="36"/>
                      <a:pt x="46" y="35"/>
                      <a:pt x="47" y="36"/>
                    </a:cubicBezTo>
                    <a:cubicBezTo>
                      <a:pt x="45" y="35"/>
                      <a:pt x="42" y="36"/>
                      <a:pt x="42" y="34"/>
                    </a:cubicBezTo>
                    <a:cubicBezTo>
                      <a:pt x="42" y="32"/>
                      <a:pt x="39" y="32"/>
                      <a:pt x="38" y="30"/>
                    </a:cubicBezTo>
                    <a:cubicBezTo>
                      <a:pt x="37" y="29"/>
                      <a:pt x="38" y="29"/>
                      <a:pt x="37" y="28"/>
                    </a:cubicBezTo>
                    <a:cubicBezTo>
                      <a:pt x="36" y="27"/>
                      <a:pt x="35" y="27"/>
                      <a:pt x="34" y="26"/>
                    </a:cubicBezTo>
                    <a:cubicBezTo>
                      <a:pt x="34" y="26"/>
                      <a:pt x="30" y="21"/>
                      <a:pt x="29" y="21"/>
                    </a:cubicBezTo>
                    <a:cubicBezTo>
                      <a:pt x="30" y="20"/>
                      <a:pt x="33" y="21"/>
                      <a:pt x="34" y="21"/>
                    </a:cubicBezTo>
                    <a:cubicBezTo>
                      <a:pt x="36" y="21"/>
                      <a:pt x="35" y="20"/>
                      <a:pt x="34" y="18"/>
                    </a:cubicBezTo>
                    <a:cubicBezTo>
                      <a:pt x="34" y="17"/>
                      <a:pt x="32" y="17"/>
                      <a:pt x="31" y="17"/>
                    </a:cubicBezTo>
                    <a:cubicBezTo>
                      <a:pt x="28" y="15"/>
                      <a:pt x="26" y="14"/>
                      <a:pt x="25" y="12"/>
                    </a:cubicBezTo>
                    <a:cubicBezTo>
                      <a:pt x="24" y="10"/>
                      <a:pt x="21" y="8"/>
                      <a:pt x="19" y="7"/>
                    </a:cubicBezTo>
                    <a:cubicBezTo>
                      <a:pt x="18" y="6"/>
                      <a:pt x="17" y="6"/>
                      <a:pt x="16" y="6"/>
                    </a:cubicBezTo>
                    <a:cubicBezTo>
                      <a:pt x="15" y="6"/>
                      <a:pt x="14" y="4"/>
                      <a:pt x="13" y="4"/>
                    </a:cubicBezTo>
                    <a:cubicBezTo>
                      <a:pt x="12" y="3"/>
                      <a:pt x="10" y="3"/>
                      <a:pt x="8" y="2"/>
                    </a:cubicBezTo>
                    <a:cubicBezTo>
                      <a:pt x="6" y="2"/>
                      <a:pt x="4" y="0"/>
                      <a:pt x="1" y="0"/>
                    </a:cubicBezTo>
                    <a:cubicBezTo>
                      <a:pt x="1" y="3"/>
                      <a:pt x="1" y="7"/>
                      <a:pt x="1" y="10"/>
                    </a:cubicBezTo>
                    <a:cubicBezTo>
                      <a:pt x="1" y="13"/>
                      <a:pt x="2" y="17"/>
                      <a:pt x="1" y="20"/>
                    </a:cubicBezTo>
                    <a:cubicBezTo>
                      <a:pt x="0" y="21"/>
                      <a:pt x="1" y="23"/>
                      <a:pt x="1" y="25"/>
                    </a:cubicBezTo>
                    <a:cubicBezTo>
                      <a:pt x="1" y="27"/>
                      <a:pt x="1" y="28"/>
                      <a:pt x="1" y="30"/>
                    </a:cubicBezTo>
                    <a:cubicBezTo>
                      <a:pt x="1" y="33"/>
                      <a:pt x="2" y="33"/>
                      <a:pt x="4" y="33"/>
                    </a:cubicBezTo>
                    <a:cubicBezTo>
                      <a:pt x="7" y="33"/>
                      <a:pt x="10" y="33"/>
                      <a:pt x="13" y="31"/>
                    </a:cubicBezTo>
                    <a:cubicBezTo>
                      <a:pt x="14" y="31"/>
                      <a:pt x="9" y="28"/>
                      <a:pt x="9" y="28"/>
                    </a:cubicBezTo>
                    <a:cubicBezTo>
                      <a:pt x="10" y="28"/>
                      <a:pt x="14" y="31"/>
                      <a:pt x="14" y="30"/>
                    </a:cubicBezTo>
                    <a:cubicBezTo>
                      <a:pt x="14" y="29"/>
                      <a:pt x="13" y="28"/>
                      <a:pt x="13" y="26"/>
                    </a:cubicBezTo>
                    <a:cubicBezTo>
                      <a:pt x="13" y="26"/>
                      <a:pt x="16" y="28"/>
                      <a:pt x="15" y="27"/>
                    </a:cubicBezTo>
                    <a:cubicBezTo>
                      <a:pt x="15" y="25"/>
                      <a:pt x="17" y="25"/>
                      <a:pt x="18" y="25"/>
                    </a:cubicBezTo>
                    <a:cubicBezTo>
                      <a:pt x="19" y="25"/>
                      <a:pt x="26" y="28"/>
                      <a:pt x="26" y="27"/>
                    </a:cubicBezTo>
                    <a:cubicBezTo>
                      <a:pt x="26" y="29"/>
                      <a:pt x="30" y="31"/>
                      <a:pt x="31" y="33"/>
                    </a:cubicBezTo>
                    <a:cubicBezTo>
                      <a:pt x="32" y="35"/>
                      <a:pt x="34" y="38"/>
                      <a:pt x="36" y="38"/>
                    </a:cubicBezTo>
                    <a:cubicBezTo>
                      <a:pt x="39" y="38"/>
                      <a:pt x="42" y="39"/>
                      <a:pt x="45" y="40"/>
                    </a:cubicBezTo>
                    <a:cubicBezTo>
                      <a:pt x="46" y="40"/>
                      <a:pt x="48" y="41"/>
                      <a:pt x="48" y="40"/>
                    </a:cubicBezTo>
                    <a:cubicBezTo>
                      <a:pt x="48" y="39"/>
                      <a:pt x="51" y="39"/>
                      <a:pt x="50" y="39"/>
                    </a:cubicBezTo>
                    <a:cubicBezTo>
                      <a:pt x="49" y="38"/>
                      <a:pt x="51" y="39"/>
                      <a:pt x="50" y="3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2" name="Freeform 709">
                <a:extLst>
                  <a:ext uri="{FF2B5EF4-FFF2-40B4-BE49-F238E27FC236}">
                    <a16:creationId xmlns:a16="http://schemas.microsoft.com/office/drawing/2014/main" id="{DD9256FA-99A0-4243-ABF7-3D3A966E6B3F}"/>
                  </a:ext>
                </a:extLst>
              </p:cNvPr>
              <p:cNvSpPr>
                <a:spLocks/>
              </p:cNvSpPr>
              <p:nvPr/>
            </p:nvSpPr>
            <p:spPr bwMode="auto">
              <a:xfrm>
                <a:off x="16681089" y="8829198"/>
                <a:ext cx="477708" cy="420492"/>
              </a:xfrm>
              <a:custGeom>
                <a:avLst/>
                <a:gdLst>
                  <a:gd name="T0" fmla="*/ 33 w 51"/>
                  <a:gd name="T1" fmla="*/ 5 h 45"/>
                  <a:gd name="T2" fmla="*/ 29 w 51"/>
                  <a:gd name="T3" fmla="*/ 13 h 45"/>
                  <a:gd name="T4" fmla="*/ 20 w 51"/>
                  <a:gd name="T5" fmla="*/ 16 h 45"/>
                  <a:gd name="T6" fmla="*/ 15 w 51"/>
                  <a:gd name="T7" fmla="*/ 18 h 45"/>
                  <a:gd name="T8" fmla="*/ 10 w 51"/>
                  <a:gd name="T9" fmla="*/ 19 h 45"/>
                  <a:gd name="T10" fmla="*/ 7 w 51"/>
                  <a:gd name="T11" fmla="*/ 18 h 45"/>
                  <a:gd name="T12" fmla="*/ 3 w 51"/>
                  <a:gd name="T13" fmla="*/ 14 h 45"/>
                  <a:gd name="T14" fmla="*/ 0 w 51"/>
                  <a:gd name="T15" fmla="*/ 20 h 45"/>
                  <a:gd name="T16" fmla="*/ 4 w 51"/>
                  <a:gd name="T17" fmla="*/ 29 h 45"/>
                  <a:gd name="T18" fmla="*/ 8 w 51"/>
                  <a:gd name="T19" fmla="*/ 37 h 45"/>
                  <a:gd name="T20" fmla="*/ 13 w 51"/>
                  <a:gd name="T21" fmla="*/ 39 h 45"/>
                  <a:gd name="T22" fmla="*/ 14 w 51"/>
                  <a:gd name="T23" fmla="*/ 41 h 45"/>
                  <a:gd name="T24" fmla="*/ 19 w 51"/>
                  <a:gd name="T25" fmla="*/ 41 h 45"/>
                  <a:gd name="T26" fmla="*/ 21 w 51"/>
                  <a:gd name="T27" fmla="*/ 39 h 45"/>
                  <a:gd name="T28" fmla="*/ 25 w 51"/>
                  <a:gd name="T29" fmla="*/ 40 h 45"/>
                  <a:gd name="T30" fmla="*/ 28 w 51"/>
                  <a:gd name="T31" fmla="*/ 40 h 45"/>
                  <a:gd name="T32" fmla="*/ 31 w 51"/>
                  <a:gd name="T33" fmla="*/ 43 h 45"/>
                  <a:gd name="T34" fmla="*/ 34 w 51"/>
                  <a:gd name="T35" fmla="*/ 42 h 45"/>
                  <a:gd name="T36" fmla="*/ 36 w 51"/>
                  <a:gd name="T37" fmla="*/ 43 h 45"/>
                  <a:gd name="T38" fmla="*/ 37 w 51"/>
                  <a:gd name="T39" fmla="*/ 37 h 45"/>
                  <a:gd name="T40" fmla="*/ 37 w 51"/>
                  <a:gd name="T41" fmla="*/ 33 h 45"/>
                  <a:gd name="T42" fmla="*/ 39 w 51"/>
                  <a:gd name="T43" fmla="*/ 30 h 45"/>
                  <a:gd name="T44" fmla="*/ 42 w 51"/>
                  <a:gd name="T45" fmla="*/ 24 h 45"/>
                  <a:gd name="T46" fmla="*/ 47 w 51"/>
                  <a:gd name="T47" fmla="*/ 19 h 45"/>
                  <a:gd name="T48" fmla="*/ 49 w 51"/>
                  <a:gd name="T49" fmla="*/ 18 h 45"/>
                  <a:gd name="T50" fmla="*/ 45 w 51"/>
                  <a:gd name="T51" fmla="*/ 13 h 45"/>
                  <a:gd name="T52" fmla="*/ 42 w 51"/>
                  <a:gd name="T53" fmla="*/ 7 h 45"/>
                  <a:gd name="T54" fmla="*/ 44 w 51"/>
                  <a:gd name="T55" fmla="*/ 6 h 45"/>
                  <a:gd name="T56" fmla="*/ 44 w 51"/>
                  <a:gd name="T57" fmla="*/ 3 h 45"/>
                  <a:gd name="T58" fmla="*/ 33 w 51"/>
                  <a:gd name="T59" fmla="*/ 5 h 45"/>
                  <a:gd name="T60" fmla="*/ 33 w 51"/>
                  <a:gd name="T6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 h="45">
                    <a:moveTo>
                      <a:pt x="33" y="5"/>
                    </a:moveTo>
                    <a:cubicBezTo>
                      <a:pt x="32" y="8"/>
                      <a:pt x="31" y="10"/>
                      <a:pt x="29" y="13"/>
                    </a:cubicBezTo>
                    <a:cubicBezTo>
                      <a:pt x="28" y="17"/>
                      <a:pt x="23" y="17"/>
                      <a:pt x="20" y="16"/>
                    </a:cubicBezTo>
                    <a:cubicBezTo>
                      <a:pt x="18" y="15"/>
                      <a:pt x="16" y="17"/>
                      <a:pt x="15" y="18"/>
                    </a:cubicBezTo>
                    <a:cubicBezTo>
                      <a:pt x="14" y="19"/>
                      <a:pt x="11" y="18"/>
                      <a:pt x="10" y="19"/>
                    </a:cubicBezTo>
                    <a:cubicBezTo>
                      <a:pt x="8" y="20"/>
                      <a:pt x="8" y="20"/>
                      <a:pt x="7" y="18"/>
                    </a:cubicBezTo>
                    <a:cubicBezTo>
                      <a:pt x="5" y="17"/>
                      <a:pt x="4" y="16"/>
                      <a:pt x="3" y="14"/>
                    </a:cubicBezTo>
                    <a:cubicBezTo>
                      <a:pt x="2" y="13"/>
                      <a:pt x="0" y="19"/>
                      <a:pt x="0" y="20"/>
                    </a:cubicBezTo>
                    <a:cubicBezTo>
                      <a:pt x="0" y="23"/>
                      <a:pt x="3" y="26"/>
                      <a:pt x="4" y="29"/>
                    </a:cubicBezTo>
                    <a:cubicBezTo>
                      <a:pt x="6" y="32"/>
                      <a:pt x="5" y="35"/>
                      <a:pt x="8" y="37"/>
                    </a:cubicBezTo>
                    <a:cubicBezTo>
                      <a:pt x="10" y="38"/>
                      <a:pt x="12" y="39"/>
                      <a:pt x="13" y="39"/>
                    </a:cubicBezTo>
                    <a:cubicBezTo>
                      <a:pt x="16" y="38"/>
                      <a:pt x="13" y="40"/>
                      <a:pt x="14" y="41"/>
                    </a:cubicBezTo>
                    <a:cubicBezTo>
                      <a:pt x="15" y="41"/>
                      <a:pt x="18" y="41"/>
                      <a:pt x="19" y="41"/>
                    </a:cubicBezTo>
                    <a:cubicBezTo>
                      <a:pt x="20" y="40"/>
                      <a:pt x="20" y="38"/>
                      <a:pt x="21" y="39"/>
                    </a:cubicBezTo>
                    <a:cubicBezTo>
                      <a:pt x="22" y="40"/>
                      <a:pt x="24" y="41"/>
                      <a:pt x="25" y="40"/>
                    </a:cubicBezTo>
                    <a:cubicBezTo>
                      <a:pt x="26" y="40"/>
                      <a:pt x="28" y="39"/>
                      <a:pt x="28" y="40"/>
                    </a:cubicBezTo>
                    <a:cubicBezTo>
                      <a:pt x="29" y="43"/>
                      <a:pt x="27" y="45"/>
                      <a:pt x="31" y="43"/>
                    </a:cubicBezTo>
                    <a:cubicBezTo>
                      <a:pt x="32" y="43"/>
                      <a:pt x="33" y="42"/>
                      <a:pt x="34" y="42"/>
                    </a:cubicBezTo>
                    <a:cubicBezTo>
                      <a:pt x="35" y="42"/>
                      <a:pt x="36" y="43"/>
                      <a:pt x="36" y="43"/>
                    </a:cubicBezTo>
                    <a:cubicBezTo>
                      <a:pt x="37" y="41"/>
                      <a:pt x="35" y="39"/>
                      <a:pt x="37" y="37"/>
                    </a:cubicBezTo>
                    <a:cubicBezTo>
                      <a:pt x="38" y="36"/>
                      <a:pt x="37" y="35"/>
                      <a:pt x="37" y="33"/>
                    </a:cubicBezTo>
                    <a:cubicBezTo>
                      <a:pt x="37" y="32"/>
                      <a:pt x="38" y="31"/>
                      <a:pt x="39" y="30"/>
                    </a:cubicBezTo>
                    <a:cubicBezTo>
                      <a:pt x="41" y="28"/>
                      <a:pt x="43" y="27"/>
                      <a:pt x="42" y="24"/>
                    </a:cubicBezTo>
                    <a:cubicBezTo>
                      <a:pt x="42" y="22"/>
                      <a:pt x="45" y="18"/>
                      <a:pt x="47" y="19"/>
                    </a:cubicBezTo>
                    <a:cubicBezTo>
                      <a:pt x="48" y="20"/>
                      <a:pt x="51" y="19"/>
                      <a:pt x="49" y="18"/>
                    </a:cubicBezTo>
                    <a:cubicBezTo>
                      <a:pt x="48" y="16"/>
                      <a:pt x="45" y="15"/>
                      <a:pt x="45" y="13"/>
                    </a:cubicBezTo>
                    <a:cubicBezTo>
                      <a:pt x="45" y="11"/>
                      <a:pt x="43" y="9"/>
                      <a:pt x="42" y="7"/>
                    </a:cubicBezTo>
                    <a:cubicBezTo>
                      <a:pt x="41" y="4"/>
                      <a:pt x="44" y="7"/>
                      <a:pt x="44" y="6"/>
                    </a:cubicBezTo>
                    <a:cubicBezTo>
                      <a:pt x="45" y="5"/>
                      <a:pt x="41" y="4"/>
                      <a:pt x="44" y="3"/>
                    </a:cubicBezTo>
                    <a:cubicBezTo>
                      <a:pt x="40" y="2"/>
                      <a:pt x="34" y="0"/>
                      <a:pt x="33" y="5"/>
                    </a:cubicBezTo>
                    <a:cubicBezTo>
                      <a:pt x="32" y="7"/>
                      <a:pt x="34" y="3"/>
                      <a:pt x="3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3" name="Freeform 710">
                <a:extLst>
                  <a:ext uri="{FF2B5EF4-FFF2-40B4-BE49-F238E27FC236}">
                    <a16:creationId xmlns:a16="http://schemas.microsoft.com/office/drawing/2014/main" id="{40CBCB53-96AE-2843-9D73-E050B0E56925}"/>
                  </a:ext>
                </a:extLst>
              </p:cNvPr>
              <p:cNvSpPr>
                <a:spLocks/>
              </p:cNvSpPr>
              <p:nvPr/>
            </p:nvSpPr>
            <p:spPr bwMode="auto">
              <a:xfrm>
                <a:off x="16709750" y="8717701"/>
                <a:ext cx="458600" cy="299442"/>
              </a:xfrm>
              <a:custGeom>
                <a:avLst/>
                <a:gdLst>
                  <a:gd name="T0" fmla="*/ 45 w 49"/>
                  <a:gd name="T1" fmla="*/ 10 h 32"/>
                  <a:gd name="T2" fmla="*/ 47 w 49"/>
                  <a:gd name="T3" fmla="*/ 8 h 32"/>
                  <a:gd name="T4" fmla="*/ 43 w 49"/>
                  <a:gd name="T5" fmla="*/ 7 h 32"/>
                  <a:gd name="T6" fmla="*/ 42 w 49"/>
                  <a:gd name="T7" fmla="*/ 6 h 32"/>
                  <a:gd name="T8" fmla="*/ 41 w 49"/>
                  <a:gd name="T9" fmla="*/ 6 h 32"/>
                  <a:gd name="T10" fmla="*/ 41 w 49"/>
                  <a:gd name="T11" fmla="*/ 4 h 32"/>
                  <a:gd name="T12" fmla="*/ 39 w 49"/>
                  <a:gd name="T13" fmla="*/ 2 h 32"/>
                  <a:gd name="T14" fmla="*/ 37 w 49"/>
                  <a:gd name="T15" fmla="*/ 2 h 32"/>
                  <a:gd name="T16" fmla="*/ 36 w 49"/>
                  <a:gd name="T17" fmla="*/ 1 h 32"/>
                  <a:gd name="T18" fmla="*/ 32 w 49"/>
                  <a:gd name="T19" fmla="*/ 6 h 32"/>
                  <a:gd name="T20" fmla="*/ 30 w 49"/>
                  <a:gd name="T21" fmla="*/ 8 h 32"/>
                  <a:gd name="T22" fmla="*/ 29 w 49"/>
                  <a:gd name="T23" fmla="*/ 9 h 32"/>
                  <a:gd name="T24" fmla="*/ 29 w 49"/>
                  <a:gd name="T25" fmla="*/ 10 h 32"/>
                  <a:gd name="T26" fmla="*/ 25 w 49"/>
                  <a:gd name="T27" fmla="*/ 12 h 32"/>
                  <a:gd name="T28" fmla="*/ 25 w 49"/>
                  <a:gd name="T29" fmla="*/ 15 h 32"/>
                  <a:gd name="T30" fmla="*/ 27 w 49"/>
                  <a:gd name="T31" fmla="*/ 14 h 32"/>
                  <a:gd name="T32" fmla="*/ 29 w 49"/>
                  <a:gd name="T33" fmla="*/ 13 h 32"/>
                  <a:gd name="T34" fmla="*/ 28 w 49"/>
                  <a:gd name="T35" fmla="*/ 11 h 32"/>
                  <a:gd name="T36" fmla="*/ 29 w 49"/>
                  <a:gd name="T37" fmla="*/ 13 h 32"/>
                  <a:gd name="T38" fmla="*/ 26 w 49"/>
                  <a:gd name="T39" fmla="*/ 14 h 32"/>
                  <a:gd name="T40" fmla="*/ 23 w 49"/>
                  <a:gd name="T41" fmla="*/ 13 h 32"/>
                  <a:gd name="T42" fmla="*/ 14 w 49"/>
                  <a:gd name="T43" fmla="*/ 20 h 32"/>
                  <a:gd name="T44" fmla="*/ 9 w 49"/>
                  <a:gd name="T45" fmla="*/ 23 h 32"/>
                  <a:gd name="T46" fmla="*/ 7 w 49"/>
                  <a:gd name="T47" fmla="*/ 26 h 32"/>
                  <a:gd name="T48" fmla="*/ 9 w 49"/>
                  <a:gd name="T49" fmla="*/ 28 h 32"/>
                  <a:gd name="T50" fmla="*/ 0 w 49"/>
                  <a:gd name="T51" fmla="*/ 26 h 32"/>
                  <a:gd name="T52" fmla="*/ 5 w 49"/>
                  <a:gd name="T53" fmla="*/ 32 h 32"/>
                  <a:gd name="T54" fmla="*/ 7 w 49"/>
                  <a:gd name="T55" fmla="*/ 31 h 32"/>
                  <a:gd name="T56" fmla="*/ 12 w 49"/>
                  <a:gd name="T57" fmla="*/ 30 h 32"/>
                  <a:gd name="T58" fmla="*/ 20 w 49"/>
                  <a:gd name="T59" fmla="*/ 29 h 32"/>
                  <a:gd name="T60" fmla="*/ 27 w 49"/>
                  <a:gd name="T61" fmla="*/ 24 h 32"/>
                  <a:gd name="T62" fmla="*/ 30 w 49"/>
                  <a:gd name="T63" fmla="*/ 18 h 32"/>
                  <a:gd name="T64" fmla="*/ 34 w 49"/>
                  <a:gd name="T65" fmla="*/ 14 h 32"/>
                  <a:gd name="T66" fmla="*/ 43 w 49"/>
                  <a:gd name="T67" fmla="*/ 14 h 32"/>
                  <a:gd name="T68" fmla="*/ 45 w 49"/>
                  <a:gd name="T69"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9" h="32">
                    <a:moveTo>
                      <a:pt x="45" y="10"/>
                    </a:moveTo>
                    <a:cubicBezTo>
                      <a:pt x="48" y="10"/>
                      <a:pt x="49" y="9"/>
                      <a:pt x="47" y="8"/>
                    </a:cubicBezTo>
                    <a:cubicBezTo>
                      <a:pt x="45" y="7"/>
                      <a:pt x="45" y="6"/>
                      <a:pt x="43" y="7"/>
                    </a:cubicBezTo>
                    <a:cubicBezTo>
                      <a:pt x="42" y="8"/>
                      <a:pt x="43" y="7"/>
                      <a:pt x="42" y="6"/>
                    </a:cubicBezTo>
                    <a:cubicBezTo>
                      <a:pt x="42" y="6"/>
                      <a:pt x="41" y="6"/>
                      <a:pt x="41" y="6"/>
                    </a:cubicBezTo>
                    <a:cubicBezTo>
                      <a:pt x="41" y="6"/>
                      <a:pt x="41" y="4"/>
                      <a:pt x="41" y="4"/>
                    </a:cubicBezTo>
                    <a:cubicBezTo>
                      <a:pt x="40" y="3"/>
                      <a:pt x="39" y="2"/>
                      <a:pt x="39" y="2"/>
                    </a:cubicBezTo>
                    <a:cubicBezTo>
                      <a:pt x="37" y="0"/>
                      <a:pt x="38" y="1"/>
                      <a:pt x="37" y="2"/>
                    </a:cubicBezTo>
                    <a:cubicBezTo>
                      <a:pt x="36" y="3"/>
                      <a:pt x="36" y="1"/>
                      <a:pt x="36" y="1"/>
                    </a:cubicBezTo>
                    <a:cubicBezTo>
                      <a:pt x="35" y="1"/>
                      <a:pt x="32" y="5"/>
                      <a:pt x="32" y="6"/>
                    </a:cubicBezTo>
                    <a:cubicBezTo>
                      <a:pt x="31" y="6"/>
                      <a:pt x="30" y="7"/>
                      <a:pt x="30" y="8"/>
                    </a:cubicBezTo>
                    <a:cubicBezTo>
                      <a:pt x="29" y="8"/>
                      <a:pt x="29" y="9"/>
                      <a:pt x="29" y="9"/>
                    </a:cubicBezTo>
                    <a:cubicBezTo>
                      <a:pt x="29" y="10"/>
                      <a:pt x="29" y="10"/>
                      <a:pt x="29" y="10"/>
                    </a:cubicBezTo>
                    <a:cubicBezTo>
                      <a:pt x="29" y="11"/>
                      <a:pt x="26" y="11"/>
                      <a:pt x="25" y="12"/>
                    </a:cubicBezTo>
                    <a:cubicBezTo>
                      <a:pt x="22" y="12"/>
                      <a:pt x="23" y="14"/>
                      <a:pt x="25" y="15"/>
                    </a:cubicBezTo>
                    <a:cubicBezTo>
                      <a:pt x="27" y="17"/>
                      <a:pt x="26" y="15"/>
                      <a:pt x="27" y="14"/>
                    </a:cubicBezTo>
                    <a:cubicBezTo>
                      <a:pt x="27" y="13"/>
                      <a:pt x="29" y="13"/>
                      <a:pt x="29" y="13"/>
                    </a:cubicBezTo>
                    <a:cubicBezTo>
                      <a:pt x="29" y="13"/>
                      <a:pt x="28" y="12"/>
                      <a:pt x="28" y="11"/>
                    </a:cubicBezTo>
                    <a:cubicBezTo>
                      <a:pt x="28" y="12"/>
                      <a:pt x="29" y="13"/>
                      <a:pt x="29" y="13"/>
                    </a:cubicBezTo>
                    <a:cubicBezTo>
                      <a:pt x="29" y="13"/>
                      <a:pt x="27" y="13"/>
                      <a:pt x="26" y="14"/>
                    </a:cubicBezTo>
                    <a:cubicBezTo>
                      <a:pt x="26" y="17"/>
                      <a:pt x="24" y="14"/>
                      <a:pt x="23" y="13"/>
                    </a:cubicBezTo>
                    <a:cubicBezTo>
                      <a:pt x="20" y="16"/>
                      <a:pt x="18" y="19"/>
                      <a:pt x="14" y="20"/>
                    </a:cubicBezTo>
                    <a:cubicBezTo>
                      <a:pt x="12" y="21"/>
                      <a:pt x="10" y="21"/>
                      <a:pt x="9" y="23"/>
                    </a:cubicBezTo>
                    <a:cubicBezTo>
                      <a:pt x="8" y="24"/>
                      <a:pt x="8" y="25"/>
                      <a:pt x="7" y="26"/>
                    </a:cubicBezTo>
                    <a:cubicBezTo>
                      <a:pt x="7" y="27"/>
                      <a:pt x="9" y="28"/>
                      <a:pt x="9" y="28"/>
                    </a:cubicBezTo>
                    <a:cubicBezTo>
                      <a:pt x="8" y="29"/>
                      <a:pt x="1" y="26"/>
                      <a:pt x="0" y="26"/>
                    </a:cubicBezTo>
                    <a:cubicBezTo>
                      <a:pt x="1" y="28"/>
                      <a:pt x="3" y="31"/>
                      <a:pt x="5" y="32"/>
                    </a:cubicBezTo>
                    <a:cubicBezTo>
                      <a:pt x="6" y="32"/>
                      <a:pt x="7" y="31"/>
                      <a:pt x="7" y="31"/>
                    </a:cubicBezTo>
                    <a:cubicBezTo>
                      <a:pt x="9" y="30"/>
                      <a:pt x="12" y="31"/>
                      <a:pt x="12" y="30"/>
                    </a:cubicBezTo>
                    <a:cubicBezTo>
                      <a:pt x="15" y="27"/>
                      <a:pt x="17" y="28"/>
                      <a:pt x="20" y="29"/>
                    </a:cubicBezTo>
                    <a:cubicBezTo>
                      <a:pt x="23" y="29"/>
                      <a:pt x="26" y="27"/>
                      <a:pt x="27" y="24"/>
                    </a:cubicBezTo>
                    <a:cubicBezTo>
                      <a:pt x="28" y="22"/>
                      <a:pt x="29" y="20"/>
                      <a:pt x="30" y="18"/>
                    </a:cubicBezTo>
                    <a:cubicBezTo>
                      <a:pt x="30" y="15"/>
                      <a:pt x="31" y="14"/>
                      <a:pt x="34" y="14"/>
                    </a:cubicBezTo>
                    <a:cubicBezTo>
                      <a:pt x="37" y="14"/>
                      <a:pt x="40" y="15"/>
                      <a:pt x="43" y="14"/>
                    </a:cubicBezTo>
                    <a:cubicBezTo>
                      <a:pt x="47" y="13"/>
                      <a:pt x="40" y="10"/>
                      <a:pt x="45"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4" name="Freeform 711">
                <a:extLst>
                  <a:ext uri="{FF2B5EF4-FFF2-40B4-BE49-F238E27FC236}">
                    <a16:creationId xmlns:a16="http://schemas.microsoft.com/office/drawing/2014/main" id="{E79C1A1E-A090-EB4F-A234-8CA9D05E01DF}"/>
                  </a:ext>
                </a:extLst>
              </p:cNvPr>
              <p:cNvSpPr>
                <a:spLocks/>
              </p:cNvSpPr>
              <p:nvPr/>
            </p:nvSpPr>
            <p:spPr bwMode="auto">
              <a:xfrm>
                <a:off x="15776631" y="7679214"/>
                <a:ext cx="159235" cy="92380"/>
              </a:xfrm>
              <a:custGeom>
                <a:avLst/>
                <a:gdLst>
                  <a:gd name="T0" fmla="*/ 2 w 17"/>
                  <a:gd name="T1" fmla="*/ 8 h 10"/>
                  <a:gd name="T2" fmla="*/ 7 w 17"/>
                  <a:gd name="T3" fmla="*/ 9 h 10"/>
                  <a:gd name="T4" fmla="*/ 12 w 17"/>
                  <a:gd name="T5" fmla="*/ 9 h 10"/>
                  <a:gd name="T6" fmla="*/ 16 w 17"/>
                  <a:gd name="T7" fmla="*/ 8 h 10"/>
                  <a:gd name="T8" fmla="*/ 15 w 17"/>
                  <a:gd name="T9" fmla="*/ 3 h 10"/>
                  <a:gd name="T10" fmla="*/ 10 w 17"/>
                  <a:gd name="T11" fmla="*/ 3 h 10"/>
                  <a:gd name="T12" fmla="*/ 6 w 17"/>
                  <a:gd name="T13" fmla="*/ 1 h 10"/>
                  <a:gd name="T14" fmla="*/ 2 w 17"/>
                  <a:gd name="T15" fmla="*/ 8 h 10"/>
                  <a:gd name="T16" fmla="*/ 2 w 17"/>
                  <a:gd name="T1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2" y="8"/>
                    </a:moveTo>
                    <a:cubicBezTo>
                      <a:pt x="3" y="9"/>
                      <a:pt x="6" y="10"/>
                      <a:pt x="7" y="9"/>
                    </a:cubicBezTo>
                    <a:cubicBezTo>
                      <a:pt x="9" y="8"/>
                      <a:pt x="10" y="10"/>
                      <a:pt x="12" y="9"/>
                    </a:cubicBezTo>
                    <a:cubicBezTo>
                      <a:pt x="13" y="9"/>
                      <a:pt x="17" y="9"/>
                      <a:pt x="16" y="8"/>
                    </a:cubicBezTo>
                    <a:cubicBezTo>
                      <a:pt x="15" y="6"/>
                      <a:pt x="14" y="5"/>
                      <a:pt x="15" y="3"/>
                    </a:cubicBezTo>
                    <a:cubicBezTo>
                      <a:pt x="13" y="2"/>
                      <a:pt x="11" y="4"/>
                      <a:pt x="10" y="3"/>
                    </a:cubicBezTo>
                    <a:cubicBezTo>
                      <a:pt x="9" y="2"/>
                      <a:pt x="7" y="0"/>
                      <a:pt x="6" y="1"/>
                    </a:cubicBezTo>
                    <a:cubicBezTo>
                      <a:pt x="4" y="3"/>
                      <a:pt x="0" y="6"/>
                      <a:pt x="2" y="8"/>
                    </a:cubicBezTo>
                    <a:cubicBezTo>
                      <a:pt x="3" y="9"/>
                      <a:pt x="1" y="7"/>
                      <a:pt x="2"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5" name="Freeform 712">
                <a:extLst>
                  <a:ext uri="{FF2B5EF4-FFF2-40B4-BE49-F238E27FC236}">
                    <a16:creationId xmlns:a16="http://schemas.microsoft.com/office/drawing/2014/main" id="{DBAF0897-B957-3B4F-8707-B31049A89551}"/>
                  </a:ext>
                </a:extLst>
              </p:cNvPr>
              <p:cNvSpPr>
                <a:spLocks/>
              </p:cNvSpPr>
              <p:nvPr/>
            </p:nvSpPr>
            <p:spPr bwMode="auto">
              <a:xfrm>
                <a:off x="15410388" y="7574093"/>
                <a:ext cx="347132" cy="216615"/>
              </a:xfrm>
              <a:custGeom>
                <a:avLst/>
                <a:gdLst>
                  <a:gd name="T0" fmla="*/ 1 w 37"/>
                  <a:gd name="T1" fmla="*/ 3 h 23"/>
                  <a:gd name="T2" fmla="*/ 0 w 37"/>
                  <a:gd name="T3" fmla="*/ 9 h 23"/>
                  <a:gd name="T4" fmla="*/ 5 w 37"/>
                  <a:gd name="T5" fmla="*/ 13 h 23"/>
                  <a:gd name="T6" fmla="*/ 7 w 37"/>
                  <a:gd name="T7" fmla="*/ 14 h 23"/>
                  <a:gd name="T8" fmla="*/ 12 w 37"/>
                  <a:gd name="T9" fmla="*/ 15 h 23"/>
                  <a:gd name="T10" fmla="*/ 15 w 37"/>
                  <a:gd name="T11" fmla="*/ 16 h 23"/>
                  <a:gd name="T12" fmla="*/ 19 w 37"/>
                  <a:gd name="T13" fmla="*/ 16 h 23"/>
                  <a:gd name="T14" fmla="*/ 22 w 37"/>
                  <a:gd name="T15" fmla="*/ 19 h 23"/>
                  <a:gd name="T16" fmla="*/ 26 w 37"/>
                  <a:gd name="T17" fmla="*/ 20 h 23"/>
                  <a:gd name="T18" fmla="*/ 29 w 37"/>
                  <a:gd name="T19" fmla="*/ 22 h 23"/>
                  <a:gd name="T20" fmla="*/ 32 w 37"/>
                  <a:gd name="T21" fmla="*/ 20 h 23"/>
                  <a:gd name="T22" fmla="*/ 35 w 37"/>
                  <a:gd name="T23" fmla="*/ 22 h 23"/>
                  <a:gd name="T24" fmla="*/ 37 w 37"/>
                  <a:gd name="T25" fmla="*/ 21 h 23"/>
                  <a:gd name="T26" fmla="*/ 37 w 37"/>
                  <a:gd name="T27" fmla="*/ 18 h 23"/>
                  <a:gd name="T28" fmla="*/ 37 w 37"/>
                  <a:gd name="T29" fmla="*/ 14 h 23"/>
                  <a:gd name="T30" fmla="*/ 32 w 37"/>
                  <a:gd name="T31" fmla="*/ 14 h 23"/>
                  <a:gd name="T32" fmla="*/ 31 w 37"/>
                  <a:gd name="T33" fmla="*/ 13 h 23"/>
                  <a:gd name="T34" fmla="*/ 28 w 37"/>
                  <a:gd name="T35" fmla="*/ 13 h 23"/>
                  <a:gd name="T36" fmla="*/ 26 w 37"/>
                  <a:gd name="T37" fmla="*/ 12 h 23"/>
                  <a:gd name="T38" fmla="*/ 24 w 37"/>
                  <a:gd name="T39" fmla="*/ 12 h 23"/>
                  <a:gd name="T40" fmla="*/ 20 w 37"/>
                  <a:gd name="T41" fmla="*/ 10 h 23"/>
                  <a:gd name="T42" fmla="*/ 18 w 37"/>
                  <a:gd name="T43" fmla="*/ 8 h 23"/>
                  <a:gd name="T44" fmla="*/ 16 w 37"/>
                  <a:gd name="T45" fmla="*/ 7 h 23"/>
                  <a:gd name="T46" fmla="*/ 10 w 37"/>
                  <a:gd name="T47" fmla="*/ 2 h 23"/>
                  <a:gd name="T48" fmla="*/ 8 w 37"/>
                  <a:gd name="T49" fmla="*/ 0 h 23"/>
                  <a:gd name="T50" fmla="*/ 5 w 37"/>
                  <a:gd name="T51" fmla="*/ 2 h 23"/>
                  <a:gd name="T52" fmla="*/ 4 w 37"/>
                  <a:gd name="T53" fmla="*/ 2 h 23"/>
                  <a:gd name="T54" fmla="*/ 1 w 37"/>
                  <a:gd name="T55" fmla="*/ 3 h 23"/>
                  <a:gd name="T56" fmla="*/ 1 w 37"/>
                  <a:gd name="T57"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7" h="23">
                    <a:moveTo>
                      <a:pt x="1" y="3"/>
                    </a:moveTo>
                    <a:cubicBezTo>
                      <a:pt x="0" y="4"/>
                      <a:pt x="0" y="8"/>
                      <a:pt x="0" y="9"/>
                    </a:cubicBezTo>
                    <a:cubicBezTo>
                      <a:pt x="1" y="10"/>
                      <a:pt x="4" y="11"/>
                      <a:pt x="5" y="13"/>
                    </a:cubicBezTo>
                    <a:cubicBezTo>
                      <a:pt x="6" y="13"/>
                      <a:pt x="7" y="14"/>
                      <a:pt x="7" y="14"/>
                    </a:cubicBezTo>
                    <a:cubicBezTo>
                      <a:pt x="9" y="15"/>
                      <a:pt x="10" y="14"/>
                      <a:pt x="12" y="15"/>
                    </a:cubicBezTo>
                    <a:cubicBezTo>
                      <a:pt x="13" y="15"/>
                      <a:pt x="14" y="16"/>
                      <a:pt x="15" y="16"/>
                    </a:cubicBezTo>
                    <a:cubicBezTo>
                      <a:pt x="16" y="16"/>
                      <a:pt x="18" y="16"/>
                      <a:pt x="19" y="16"/>
                    </a:cubicBezTo>
                    <a:cubicBezTo>
                      <a:pt x="20" y="17"/>
                      <a:pt x="21" y="18"/>
                      <a:pt x="22" y="19"/>
                    </a:cubicBezTo>
                    <a:cubicBezTo>
                      <a:pt x="23" y="19"/>
                      <a:pt x="25" y="19"/>
                      <a:pt x="26" y="20"/>
                    </a:cubicBezTo>
                    <a:cubicBezTo>
                      <a:pt x="27" y="20"/>
                      <a:pt x="28" y="22"/>
                      <a:pt x="29" y="22"/>
                    </a:cubicBezTo>
                    <a:cubicBezTo>
                      <a:pt x="30" y="22"/>
                      <a:pt x="31" y="20"/>
                      <a:pt x="32" y="20"/>
                    </a:cubicBezTo>
                    <a:cubicBezTo>
                      <a:pt x="33" y="21"/>
                      <a:pt x="33" y="23"/>
                      <a:pt x="35" y="22"/>
                    </a:cubicBezTo>
                    <a:cubicBezTo>
                      <a:pt x="35" y="22"/>
                      <a:pt x="37" y="21"/>
                      <a:pt x="37" y="21"/>
                    </a:cubicBezTo>
                    <a:cubicBezTo>
                      <a:pt x="37" y="20"/>
                      <a:pt x="37" y="19"/>
                      <a:pt x="37" y="18"/>
                    </a:cubicBezTo>
                    <a:cubicBezTo>
                      <a:pt x="36" y="17"/>
                      <a:pt x="37" y="16"/>
                      <a:pt x="37" y="14"/>
                    </a:cubicBezTo>
                    <a:cubicBezTo>
                      <a:pt x="35" y="14"/>
                      <a:pt x="34" y="15"/>
                      <a:pt x="32" y="14"/>
                    </a:cubicBezTo>
                    <a:cubicBezTo>
                      <a:pt x="32" y="14"/>
                      <a:pt x="31" y="13"/>
                      <a:pt x="31" y="13"/>
                    </a:cubicBezTo>
                    <a:cubicBezTo>
                      <a:pt x="30" y="13"/>
                      <a:pt x="29" y="14"/>
                      <a:pt x="28" y="13"/>
                    </a:cubicBezTo>
                    <a:cubicBezTo>
                      <a:pt x="28" y="13"/>
                      <a:pt x="27" y="12"/>
                      <a:pt x="26" y="12"/>
                    </a:cubicBezTo>
                    <a:cubicBezTo>
                      <a:pt x="25" y="12"/>
                      <a:pt x="24" y="14"/>
                      <a:pt x="24" y="12"/>
                    </a:cubicBezTo>
                    <a:cubicBezTo>
                      <a:pt x="22" y="10"/>
                      <a:pt x="21" y="11"/>
                      <a:pt x="20" y="10"/>
                    </a:cubicBezTo>
                    <a:cubicBezTo>
                      <a:pt x="19" y="9"/>
                      <a:pt x="19" y="8"/>
                      <a:pt x="18" y="8"/>
                    </a:cubicBezTo>
                    <a:cubicBezTo>
                      <a:pt x="17" y="7"/>
                      <a:pt x="16" y="7"/>
                      <a:pt x="16" y="7"/>
                    </a:cubicBezTo>
                    <a:cubicBezTo>
                      <a:pt x="14" y="6"/>
                      <a:pt x="11" y="4"/>
                      <a:pt x="10" y="2"/>
                    </a:cubicBezTo>
                    <a:cubicBezTo>
                      <a:pt x="10" y="1"/>
                      <a:pt x="9" y="0"/>
                      <a:pt x="8" y="0"/>
                    </a:cubicBezTo>
                    <a:cubicBezTo>
                      <a:pt x="6" y="0"/>
                      <a:pt x="6" y="1"/>
                      <a:pt x="5" y="2"/>
                    </a:cubicBezTo>
                    <a:cubicBezTo>
                      <a:pt x="5" y="3"/>
                      <a:pt x="4" y="2"/>
                      <a:pt x="4" y="2"/>
                    </a:cubicBezTo>
                    <a:cubicBezTo>
                      <a:pt x="3" y="3"/>
                      <a:pt x="2" y="3"/>
                      <a:pt x="1" y="3"/>
                    </a:cubicBezTo>
                    <a:cubicBezTo>
                      <a:pt x="0" y="4"/>
                      <a:pt x="2" y="3"/>
                      <a:pt x="1"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6" name="Freeform 713">
                <a:extLst>
                  <a:ext uri="{FF2B5EF4-FFF2-40B4-BE49-F238E27FC236}">
                    <a16:creationId xmlns:a16="http://schemas.microsoft.com/office/drawing/2014/main" id="{E30A6E7D-7AC8-144A-90AE-A6B28878DFA9}"/>
                  </a:ext>
                </a:extLst>
              </p:cNvPr>
              <p:cNvSpPr>
                <a:spLocks/>
              </p:cNvSpPr>
              <p:nvPr/>
            </p:nvSpPr>
            <p:spPr bwMode="auto">
              <a:xfrm>
                <a:off x="16372171" y="8360921"/>
                <a:ext cx="261145" cy="216615"/>
              </a:xfrm>
              <a:custGeom>
                <a:avLst/>
                <a:gdLst>
                  <a:gd name="T0" fmla="*/ 14 w 28"/>
                  <a:gd name="T1" fmla="*/ 19 h 23"/>
                  <a:gd name="T2" fmla="*/ 19 w 28"/>
                  <a:gd name="T3" fmla="*/ 18 h 23"/>
                  <a:gd name="T4" fmla="*/ 19 w 28"/>
                  <a:gd name="T5" fmla="*/ 15 h 23"/>
                  <a:gd name="T6" fmla="*/ 21 w 28"/>
                  <a:gd name="T7" fmla="*/ 14 h 23"/>
                  <a:gd name="T8" fmla="*/ 24 w 28"/>
                  <a:gd name="T9" fmla="*/ 12 h 23"/>
                  <a:gd name="T10" fmla="*/ 27 w 28"/>
                  <a:gd name="T11" fmla="*/ 9 h 23"/>
                  <a:gd name="T12" fmla="*/ 26 w 28"/>
                  <a:gd name="T13" fmla="*/ 1 h 23"/>
                  <a:gd name="T14" fmla="*/ 22 w 28"/>
                  <a:gd name="T15" fmla="*/ 1 h 23"/>
                  <a:gd name="T16" fmla="*/ 19 w 28"/>
                  <a:gd name="T17" fmla="*/ 2 h 23"/>
                  <a:gd name="T18" fmla="*/ 17 w 28"/>
                  <a:gd name="T19" fmla="*/ 2 h 23"/>
                  <a:gd name="T20" fmla="*/ 3 w 28"/>
                  <a:gd name="T21" fmla="*/ 3 h 23"/>
                  <a:gd name="T22" fmla="*/ 0 w 28"/>
                  <a:gd name="T23" fmla="*/ 7 h 23"/>
                  <a:gd name="T24" fmla="*/ 1 w 28"/>
                  <a:gd name="T25" fmla="*/ 10 h 23"/>
                  <a:gd name="T26" fmla="*/ 3 w 28"/>
                  <a:gd name="T27" fmla="*/ 14 h 23"/>
                  <a:gd name="T28" fmla="*/ 5 w 28"/>
                  <a:gd name="T29" fmla="*/ 18 h 23"/>
                  <a:gd name="T30" fmla="*/ 6 w 28"/>
                  <a:gd name="T31" fmla="*/ 19 h 23"/>
                  <a:gd name="T32" fmla="*/ 7 w 28"/>
                  <a:gd name="T33" fmla="*/ 21 h 23"/>
                  <a:gd name="T34" fmla="*/ 8 w 28"/>
                  <a:gd name="T35" fmla="*/ 23 h 23"/>
                  <a:gd name="T36" fmla="*/ 14 w 28"/>
                  <a:gd name="T37" fmla="*/ 19 h 23"/>
                  <a:gd name="T38" fmla="*/ 14 w 28"/>
                  <a:gd name="T3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3">
                    <a:moveTo>
                      <a:pt x="14" y="19"/>
                    </a:moveTo>
                    <a:cubicBezTo>
                      <a:pt x="14" y="18"/>
                      <a:pt x="20" y="20"/>
                      <a:pt x="19" y="18"/>
                    </a:cubicBezTo>
                    <a:cubicBezTo>
                      <a:pt x="19" y="18"/>
                      <a:pt x="18" y="15"/>
                      <a:pt x="19" y="15"/>
                    </a:cubicBezTo>
                    <a:cubicBezTo>
                      <a:pt x="20" y="15"/>
                      <a:pt x="21" y="16"/>
                      <a:pt x="21" y="14"/>
                    </a:cubicBezTo>
                    <a:cubicBezTo>
                      <a:pt x="21" y="12"/>
                      <a:pt x="23" y="13"/>
                      <a:pt x="24" y="12"/>
                    </a:cubicBezTo>
                    <a:cubicBezTo>
                      <a:pt x="26" y="12"/>
                      <a:pt x="26" y="10"/>
                      <a:pt x="27" y="9"/>
                    </a:cubicBezTo>
                    <a:cubicBezTo>
                      <a:pt x="28" y="7"/>
                      <a:pt x="25" y="2"/>
                      <a:pt x="26" y="1"/>
                    </a:cubicBezTo>
                    <a:cubicBezTo>
                      <a:pt x="24" y="2"/>
                      <a:pt x="24" y="2"/>
                      <a:pt x="22" y="1"/>
                    </a:cubicBezTo>
                    <a:cubicBezTo>
                      <a:pt x="21" y="0"/>
                      <a:pt x="19" y="2"/>
                      <a:pt x="19" y="2"/>
                    </a:cubicBezTo>
                    <a:cubicBezTo>
                      <a:pt x="19" y="4"/>
                      <a:pt x="17" y="2"/>
                      <a:pt x="17" y="2"/>
                    </a:cubicBezTo>
                    <a:cubicBezTo>
                      <a:pt x="13" y="1"/>
                      <a:pt x="6" y="0"/>
                      <a:pt x="3" y="3"/>
                    </a:cubicBezTo>
                    <a:cubicBezTo>
                      <a:pt x="2" y="4"/>
                      <a:pt x="0" y="5"/>
                      <a:pt x="0" y="7"/>
                    </a:cubicBezTo>
                    <a:cubicBezTo>
                      <a:pt x="0" y="8"/>
                      <a:pt x="1" y="9"/>
                      <a:pt x="1" y="10"/>
                    </a:cubicBezTo>
                    <a:cubicBezTo>
                      <a:pt x="3" y="11"/>
                      <a:pt x="3" y="13"/>
                      <a:pt x="3" y="14"/>
                    </a:cubicBezTo>
                    <a:cubicBezTo>
                      <a:pt x="4" y="16"/>
                      <a:pt x="4" y="17"/>
                      <a:pt x="5" y="18"/>
                    </a:cubicBezTo>
                    <a:cubicBezTo>
                      <a:pt x="5" y="19"/>
                      <a:pt x="6" y="18"/>
                      <a:pt x="6" y="19"/>
                    </a:cubicBezTo>
                    <a:cubicBezTo>
                      <a:pt x="7" y="19"/>
                      <a:pt x="6" y="20"/>
                      <a:pt x="7" y="21"/>
                    </a:cubicBezTo>
                    <a:cubicBezTo>
                      <a:pt x="9" y="21"/>
                      <a:pt x="8" y="22"/>
                      <a:pt x="8" y="23"/>
                    </a:cubicBezTo>
                    <a:cubicBezTo>
                      <a:pt x="8" y="22"/>
                      <a:pt x="14" y="20"/>
                      <a:pt x="14" y="19"/>
                    </a:cubicBezTo>
                    <a:cubicBezTo>
                      <a:pt x="14" y="19"/>
                      <a:pt x="14" y="20"/>
                      <a:pt x="14"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7" name="Freeform 714">
                <a:extLst>
                  <a:ext uri="{FF2B5EF4-FFF2-40B4-BE49-F238E27FC236}">
                    <a16:creationId xmlns:a16="http://schemas.microsoft.com/office/drawing/2014/main" id="{B21EFDBF-804F-AD46-B387-8A7F59A999D2}"/>
                  </a:ext>
                </a:extLst>
              </p:cNvPr>
              <p:cNvSpPr>
                <a:spLocks/>
              </p:cNvSpPr>
              <p:nvPr/>
            </p:nvSpPr>
            <p:spPr bwMode="auto">
              <a:xfrm>
                <a:off x="16270259" y="8743185"/>
                <a:ext cx="207006" cy="245289"/>
              </a:xfrm>
              <a:custGeom>
                <a:avLst/>
                <a:gdLst>
                  <a:gd name="T0" fmla="*/ 10 w 22"/>
                  <a:gd name="T1" fmla="*/ 3 h 26"/>
                  <a:gd name="T2" fmla="*/ 7 w 22"/>
                  <a:gd name="T3" fmla="*/ 4 h 26"/>
                  <a:gd name="T4" fmla="*/ 6 w 22"/>
                  <a:gd name="T5" fmla="*/ 4 h 26"/>
                  <a:gd name="T6" fmla="*/ 5 w 22"/>
                  <a:gd name="T7" fmla="*/ 1 h 26"/>
                  <a:gd name="T8" fmla="*/ 0 w 22"/>
                  <a:gd name="T9" fmla="*/ 0 h 26"/>
                  <a:gd name="T10" fmla="*/ 1 w 22"/>
                  <a:gd name="T11" fmla="*/ 6 h 26"/>
                  <a:gd name="T12" fmla="*/ 4 w 22"/>
                  <a:gd name="T13" fmla="*/ 14 h 26"/>
                  <a:gd name="T14" fmla="*/ 9 w 22"/>
                  <a:gd name="T15" fmla="*/ 21 h 26"/>
                  <a:gd name="T16" fmla="*/ 19 w 22"/>
                  <a:gd name="T17" fmla="*/ 26 h 26"/>
                  <a:gd name="T18" fmla="*/ 20 w 22"/>
                  <a:gd name="T19" fmla="*/ 23 h 26"/>
                  <a:gd name="T20" fmla="*/ 16 w 22"/>
                  <a:gd name="T21" fmla="*/ 14 h 26"/>
                  <a:gd name="T22" fmla="*/ 16 w 22"/>
                  <a:gd name="T23" fmla="*/ 6 h 26"/>
                  <a:gd name="T24" fmla="*/ 10 w 22"/>
                  <a:gd name="T25" fmla="*/ 3 h 26"/>
                  <a:gd name="T26" fmla="*/ 10 w 22"/>
                  <a:gd name="T27"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6">
                    <a:moveTo>
                      <a:pt x="10" y="3"/>
                    </a:moveTo>
                    <a:cubicBezTo>
                      <a:pt x="9" y="3"/>
                      <a:pt x="8" y="4"/>
                      <a:pt x="7" y="4"/>
                    </a:cubicBezTo>
                    <a:cubicBezTo>
                      <a:pt x="7" y="3"/>
                      <a:pt x="6" y="4"/>
                      <a:pt x="6" y="4"/>
                    </a:cubicBezTo>
                    <a:cubicBezTo>
                      <a:pt x="5" y="4"/>
                      <a:pt x="5" y="2"/>
                      <a:pt x="5" y="1"/>
                    </a:cubicBezTo>
                    <a:cubicBezTo>
                      <a:pt x="4" y="0"/>
                      <a:pt x="2" y="0"/>
                      <a:pt x="0" y="0"/>
                    </a:cubicBezTo>
                    <a:cubicBezTo>
                      <a:pt x="1" y="1"/>
                      <a:pt x="1" y="4"/>
                      <a:pt x="1" y="6"/>
                    </a:cubicBezTo>
                    <a:cubicBezTo>
                      <a:pt x="2" y="8"/>
                      <a:pt x="3" y="11"/>
                      <a:pt x="4" y="14"/>
                    </a:cubicBezTo>
                    <a:cubicBezTo>
                      <a:pt x="6" y="16"/>
                      <a:pt x="7" y="19"/>
                      <a:pt x="9" y="21"/>
                    </a:cubicBezTo>
                    <a:cubicBezTo>
                      <a:pt x="12" y="22"/>
                      <a:pt x="15" y="26"/>
                      <a:pt x="19" y="26"/>
                    </a:cubicBezTo>
                    <a:cubicBezTo>
                      <a:pt x="22" y="26"/>
                      <a:pt x="21" y="25"/>
                      <a:pt x="20" y="23"/>
                    </a:cubicBezTo>
                    <a:cubicBezTo>
                      <a:pt x="18" y="20"/>
                      <a:pt x="16" y="18"/>
                      <a:pt x="16" y="14"/>
                    </a:cubicBezTo>
                    <a:cubicBezTo>
                      <a:pt x="16" y="11"/>
                      <a:pt x="18" y="9"/>
                      <a:pt x="16" y="6"/>
                    </a:cubicBezTo>
                    <a:cubicBezTo>
                      <a:pt x="15" y="5"/>
                      <a:pt x="11" y="0"/>
                      <a:pt x="10" y="3"/>
                    </a:cubicBezTo>
                    <a:cubicBezTo>
                      <a:pt x="9" y="4"/>
                      <a:pt x="10" y="2"/>
                      <a:pt x="10"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8" name="Freeform 715">
                <a:extLst>
                  <a:ext uri="{FF2B5EF4-FFF2-40B4-BE49-F238E27FC236}">
                    <a16:creationId xmlns:a16="http://schemas.microsoft.com/office/drawing/2014/main" id="{2E30C601-3944-8E46-BB6E-438229D66D79}"/>
                  </a:ext>
                </a:extLst>
              </p:cNvPr>
              <p:cNvSpPr>
                <a:spLocks/>
              </p:cNvSpPr>
              <p:nvPr/>
            </p:nvSpPr>
            <p:spPr bwMode="auto">
              <a:xfrm>
                <a:off x="15104655" y="6264832"/>
                <a:ext cx="2799367" cy="1825318"/>
              </a:xfrm>
              <a:custGeom>
                <a:avLst/>
                <a:gdLst>
                  <a:gd name="T0" fmla="*/ 279 w 300"/>
                  <a:gd name="T1" fmla="*/ 37 h 195"/>
                  <a:gd name="T2" fmla="*/ 244 w 300"/>
                  <a:gd name="T3" fmla="*/ 1 h 195"/>
                  <a:gd name="T4" fmla="*/ 223 w 300"/>
                  <a:gd name="T5" fmla="*/ 18 h 195"/>
                  <a:gd name="T6" fmla="*/ 214 w 300"/>
                  <a:gd name="T7" fmla="*/ 27 h 195"/>
                  <a:gd name="T8" fmla="*/ 205 w 300"/>
                  <a:gd name="T9" fmla="*/ 39 h 195"/>
                  <a:gd name="T10" fmla="*/ 224 w 300"/>
                  <a:gd name="T11" fmla="*/ 46 h 195"/>
                  <a:gd name="T12" fmla="*/ 197 w 300"/>
                  <a:gd name="T13" fmla="*/ 55 h 195"/>
                  <a:gd name="T14" fmla="*/ 180 w 300"/>
                  <a:gd name="T15" fmla="*/ 66 h 195"/>
                  <a:gd name="T16" fmla="*/ 146 w 300"/>
                  <a:gd name="T17" fmla="*/ 75 h 195"/>
                  <a:gd name="T18" fmla="*/ 121 w 300"/>
                  <a:gd name="T19" fmla="*/ 70 h 195"/>
                  <a:gd name="T20" fmla="*/ 94 w 300"/>
                  <a:gd name="T21" fmla="*/ 56 h 195"/>
                  <a:gd name="T22" fmla="*/ 66 w 300"/>
                  <a:gd name="T23" fmla="*/ 30 h 195"/>
                  <a:gd name="T24" fmla="*/ 56 w 300"/>
                  <a:gd name="T25" fmla="*/ 44 h 195"/>
                  <a:gd name="T26" fmla="*/ 44 w 300"/>
                  <a:gd name="T27" fmla="*/ 51 h 195"/>
                  <a:gd name="T28" fmla="*/ 34 w 300"/>
                  <a:gd name="T29" fmla="*/ 63 h 195"/>
                  <a:gd name="T30" fmla="*/ 28 w 300"/>
                  <a:gd name="T31" fmla="*/ 76 h 195"/>
                  <a:gd name="T32" fmla="*/ 11 w 300"/>
                  <a:gd name="T33" fmla="*/ 84 h 195"/>
                  <a:gd name="T34" fmla="*/ 1 w 300"/>
                  <a:gd name="T35" fmla="*/ 91 h 195"/>
                  <a:gd name="T36" fmla="*/ 7 w 300"/>
                  <a:gd name="T37" fmla="*/ 103 h 195"/>
                  <a:gd name="T38" fmla="*/ 23 w 300"/>
                  <a:gd name="T39" fmla="*/ 111 h 195"/>
                  <a:gd name="T40" fmla="*/ 27 w 300"/>
                  <a:gd name="T41" fmla="*/ 121 h 195"/>
                  <a:gd name="T42" fmla="*/ 27 w 300"/>
                  <a:gd name="T43" fmla="*/ 135 h 195"/>
                  <a:gd name="T44" fmla="*/ 40 w 300"/>
                  <a:gd name="T45" fmla="*/ 140 h 195"/>
                  <a:gd name="T46" fmla="*/ 62 w 300"/>
                  <a:gd name="T47" fmla="*/ 154 h 195"/>
                  <a:gd name="T48" fmla="*/ 74 w 300"/>
                  <a:gd name="T49" fmla="*/ 156 h 195"/>
                  <a:gd name="T50" fmla="*/ 92 w 300"/>
                  <a:gd name="T51" fmla="*/ 151 h 195"/>
                  <a:gd name="T52" fmla="*/ 106 w 300"/>
                  <a:gd name="T53" fmla="*/ 146 h 195"/>
                  <a:gd name="T54" fmla="*/ 116 w 300"/>
                  <a:gd name="T55" fmla="*/ 155 h 195"/>
                  <a:gd name="T56" fmla="*/ 117 w 300"/>
                  <a:gd name="T57" fmla="*/ 166 h 195"/>
                  <a:gd name="T58" fmla="*/ 119 w 300"/>
                  <a:gd name="T59" fmla="*/ 178 h 195"/>
                  <a:gd name="T60" fmla="*/ 125 w 300"/>
                  <a:gd name="T61" fmla="*/ 187 h 195"/>
                  <a:gd name="T62" fmla="*/ 134 w 300"/>
                  <a:gd name="T63" fmla="*/ 186 h 195"/>
                  <a:gd name="T64" fmla="*/ 143 w 300"/>
                  <a:gd name="T65" fmla="*/ 182 h 195"/>
                  <a:gd name="T66" fmla="*/ 155 w 300"/>
                  <a:gd name="T67" fmla="*/ 180 h 195"/>
                  <a:gd name="T68" fmla="*/ 168 w 300"/>
                  <a:gd name="T69" fmla="*/ 186 h 195"/>
                  <a:gd name="T70" fmla="*/ 175 w 300"/>
                  <a:gd name="T71" fmla="*/ 195 h 195"/>
                  <a:gd name="T72" fmla="*/ 189 w 300"/>
                  <a:gd name="T73" fmla="*/ 186 h 195"/>
                  <a:gd name="T74" fmla="*/ 202 w 300"/>
                  <a:gd name="T75" fmla="*/ 182 h 195"/>
                  <a:gd name="T76" fmla="*/ 215 w 300"/>
                  <a:gd name="T77" fmla="*/ 173 h 195"/>
                  <a:gd name="T78" fmla="*/ 221 w 300"/>
                  <a:gd name="T79" fmla="*/ 164 h 195"/>
                  <a:gd name="T80" fmla="*/ 228 w 300"/>
                  <a:gd name="T81" fmla="*/ 156 h 195"/>
                  <a:gd name="T82" fmla="*/ 232 w 300"/>
                  <a:gd name="T83" fmla="*/ 149 h 195"/>
                  <a:gd name="T84" fmla="*/ 236 w 300"/>
                  <a:gd name="T85" fmla="*/ 143 h 195"/>
                  <a:gd name="T86" fmla="*/ 231 w 300"/>
                  <a:gd name="T87" fmla="*/ 139 h 195"/>
                  <a:gd name="T88" fmla="*/ 229 w 300"/>
                  <a:gd name="T89" fmla="*/ 132 h 195"/>
                  <a:gd name="T90" fmla="*/ 221 w 300"/>
                  <a:gd name="T91" fmla="*/ 115 h 195"/>
                  <a:gd name="T92" fmla="*/ 229 w 300"/>
                  <a:gd name="T93" fmla="*/ 106 h 195"/>
                  <a:gd name="T94" fmla="*/ 238 w 300"/>
                  <a:gd name="T95" fmla="*/ 102 h 195"/>
                  <a:gd name="T96" fmla="*/ 220 w 300"/>
                  <a:gd name="T97" fmla="*/ 102 h 195"/>
                  <a:gd name="T98" fmla="*/ 221 w 300"/>
                  <a:gd name="T99" fmla="*/ 90 h 195"/>
                  <a:gd name="T100" fmla="*/ 234 w 300"/>
                  <a:gd name="T101" fmla="*/ 87 h 195"/>
                  <a:gd name="T102" fmla="*/ 238 w 300"/>
                  <a:gd name="T103" fmla="*/ 89 h 195"/>
                  <a:gd name="T104" fmla="*/ 259 w 300"/>
                  <a:gd name="T105" fmla="*/ 77 h 195"/>
                  <a:gd name="T106" fmla="*/ 271 w 300"/>
                  <a:gd name="T107" fmla="*/ 72 h 195"/>
                  <a:gd name="T108" fmla="*/ 281 w 300"/>
                  <a:gd name="T109" fmla="*/ 60 h 195"/>
                  <a:gd name="T110" fmla="*/ 295 w 300"/>
                  <a:gd name="T111" fmla="*/ 4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0" h="195">
                    <a:moveTo>
                      <a:pt x="298" y="37"/>
                    </a:moveTo>
                    <a:cubicBezTo>
                      <a:pt x="298" y="35"/>
                      <a:pt x="294" y="36"/>
                      <a:pt x="293" y="37"/>
                    </a:cubicBezTo>
                    <a:cubicBezTo>
                      <a:pt x="291" y="37"/>
                      <a:pt x="290" y="38"/>
                      <a:pt x="288" y="39"/>
                    </a:cubicBezTo>
                    <a:cubicBezTo>
                      <a:pt x="286" y="40"/>
                      <a:pt x="279" y="40"/>
                      <a:pt x="279" y="37"/>
                    </a:cubicBezTo>
                    <a:cubicBezTo>
                      <a:pt x="277" y="33"/>
                      <a:pt x="276" y="31"/>
                      <a:pt x="272" y="29"/>
                    </a:cubicBezTo>
                    <a:cubicBezTo>
                      <a:pt x="269" y="28"/>
                      <a:pt x="263" y="28"/>
                      <a:pt x="262" y="24"/>
                    </a:cubicBezTo>
                    <a:cubicBezTo>
                      <a:pt x="261" y="18"/>
                      <a:pt x="259" y="11"/>
                      <a:pt x="255" y="6"/>
                    </a:cubicBezTo>
                    <a:cubicBezTo>
                      <a:pt x="252" y="3"/>
                      <a:pt x="248" y="3"/>
                      <a:pt x="244" y="1"/>
                    </a:cubicBezTo>
                    <a:cubicBezTo>
                      <a:pt x="240" y="0"/>
                      <a:pt x="233" y="1"/>
                      <a:pt x="229" y="3"/>
                    </a:cubicBezTo>
                    <a:cubicBezTo>
                      <a:pt x="228" y="4"/>
                      <a:pt x="226" y="5"/>
                      <a:pt x="225" y="6"/>
                    </a:cubicBezTo>
                    <a:cubicBezTo>
                      <a:pt x="225" y="7"/>
                      <a:pt x="228" y="7"/>
                      <a:pt x="228" y="8"/>
                    </a:cubicBezTo>
                    <a:cubicBezTo>
                      <a:pt x="229" y="12"/>
                      <a:pt x="224" y="15"/>
                      <a:pt x="223" y="18"/>
                    </a:cubicBezTo>
                    <a:cubicBezTo>
                      <a:pt x="222" y="19"/>
                      <a:pt x="222" y="20"/>
                      <a:pt x="222" y="21"/>
                    </a:cubicBezTo>
                    <a:cubicBezTo>
                      <a:pt x="222" y="22"/>
                      <a:pt x="222" y="22"/>
                      <a:pt x="222" y="23"/>
                    </a:cubicBezTo>
                    <a:cubicBezTo>
                      <a:pt x="222" y="25"/>
                      <a:pt x="219" y="25"/>
                      <a:pt x="217" y="26"/>
                    </a:cubicBezTo>
                    <a:cubicBezTo>
                      <a:pt x="216" y="26"/>
                      <a:pt x="215" y="27"/>
                      <a:pt x="214" y="27"/>
                    </a:cubicBezTo>
                    <a:cubicBezTo>
                      <a:pt x="213" y="27"/>
                      <a:pt x="208" y="25"/>
                      <a:pt x="208" y="25"/>
                    </a:cubicBezTo>
                    <a:cubicBezTo>
                      <a:pt x="207" y="27"/>
                      <a:pt x="206" y="30"/>
                      <a:pt x="205" y="32"/>
                    </a:cubicBezTo>
                    <a:cubicBezTo>
                      <a:pt x="205" y="33"/>
                      <a:pt x="204" y="34"/>
                      <a:pt x="204" y="35"/>
                    </a:cubicBezTo>
                    <a:cubicBezTo>
                      <a:pt x="204" y="35"/>
                      <a:pt x="202" y="41"/>
                      <a:pt x="205" y="39"/>
                    </a:cubicBezTo>
                    <a:cubicBezTo>
                      <a:pt x="206" y="38"/>
                      <a:pt x="206" y="38"/>
                      <a:pt x="208" y="38"/>
                    </a:cubicBezTo>
                    <a:cubicBezTo>
                      <a:pt x="209" y="38"/>
                      <a:pt x="211" y="40"/>
                      <a:pt x="212" y="39"/>
                    </a:cubicBezTo>
                    <a:cubicBezTo>
                      <a:pt x="216" y="36"/>
                      <a:pt x="219" y="38"/>
                      <a:pt x="222" y="42"/>
                    </a:cubicBezTo>
                    <a:cubicBezTo>
                      <a:pt x="223" y="43"/>
                      <a:pt x="225" y="45"/>
                      <a:pt x="224" y="46"/>
                    </a:cubicBezTo>
                    <a:cubicBezTo>
                      <a:pt x="224" y="46"/>
                      <a:pt x="220" y="45"/>
                      <a:pt x="219" y="45"/>
                    </a:cubicBezTo>
                    <a:cubicBezTo>
                      <a:pt x="216" y="46"/>
                      <a:pt x="212" y="46"/>
                      <a:pt x="209" y="47"/>
                    </a:cubicBezTo>
                    <a:cubicBezTo>
                      <a:pt x="206" y="48"/>
                      <a:pt x="206" y="54"/>
                      <a:pt x="202" y="54"/>
                    </a:cubicBezTo>
                    <a:cubicBezTo>
                      <a:pt x="200" y="54"/>
                      <a:pt x="198" y="53"/>
                      <a:pt x="197" y="55"/>
                    </a:cubicBezTo>
                    <a:cubicBezTo>
                      <a:pt x="196" y="56"/>
                      <a:pt x="194" y="58"/>
                      <a:pt x="192" y="58"/>
                    </a:cubicBezTo>
                    <a:cubicBezTo>
                      <a:pt x="189" y="57"/>
                      <a:pt x="183" y="53"/>
                      <a:pt x="182" y="59"/>
                    </a:cubicBezTo>
                    <a:cubicBezTo>
                      <a:pt x="182" y="61"/>
                      <a:pt x="184" y="62"/>
                      <a:pt x="184" y="63"/>
                    </a:cubicBezTo>
                    <a:cubicBezTo>
                      <a:pt x="184" y="65"/>
                      <a:pt x="181" y="65"/>
                      <a:pt x="180" y="66"/>
                    </a:cubicBezTo>
                    <a:cubicBezTo>
                      <a:pt x="177" y="69"/>
                      <a:pt x="176" y="72"/>
                      <a:pt x="172" y="72"/>
                    </a:cubicBezTo>
                    <a:cubicBezTo>
                      <a:pt x="167" y="72"/>
                      <a:pt x="162" y="72"/>
                      <a:pt x="157" y="73"/>
                    </a:cubicBezTo>
                    <a:cubicBezTo>
                      <a:pt x="155" y="74"/>
                      <a:pt x="151" y="78"/>
                      <a:pt x="150" y="77"/>
                    </a:cubicBezTo>
                    <a:cubicBezTo>
                      <a:pt x="148" y="77"/>
                      <a:pt x="147" y="75"/>
                      <a:pt x="146" y="75"/>
                    </a:cubicBezTo>
                    <a:cubicBezTo>
                      <a:pt x="144" y="75"/>
                      <a:pt x="143" y="75"/>
                      <a:pt x="141" y="75"/>
                    </a:cubicBezTo>
                    <a:cubicBezTo>
                      <a:pt x="139" y="74"/>
                      <a:pt x="137" y="74"/>
                      <a:pt x="135" y="72"/>
                    </a:cubicBezTo>
                    <a:cubicBezTo>
                      <a:pt x="133" y="71"/>
                      <a:pt x="132" y="71"/>
                      <a:pt x="131" y="70"/>
                    </a:cubicBezTo>
                    <a:cubicBezTo>
                      <a:pt x="127" y="70"/>
                      <a:pt x="125" y="70"/>
                      <a:pt x="121" y="70"/>
                    </a:cubicBezTo>
                    <a:cubicBezTo>
                      <a:pt x="118" y="70"/>
                      <a:pt x="113" y="71"/>
                      <a:pt x="109" y="70"/>
                    </a:cubicBezTo>
                    <a:cubicBezTo>
                      <a:pt x="108" y="70"/>
                      <a:pt x="107" y="68"/>
                      <a:pt x="107" y="67"/>
                    </a:cubicBezTo>
                    <a:cubicBezTo>
                      <a:pt x="105" y="65"/>
                      <a:pt x="104" y="63"/>
                      <a:pt x="102" y="61"/>
                    </a:cubicBezTo>
                    <a:cubicBezTo>
                      <a:pt x="99" y="59"/>
                      <a:pt x="97" y="56"/>
                      <a:pt x="94" y="56"/>
                    </a:cubicBezTo>
                    <a:cubicBezTo>
                      <a:pt x="92" y="56"/>
                      <a:pt x="81" y="56"/>
                      <a:pt x="83" y="52"/>
                    </a:cubicBezTo>
                    <a:cubicBezTo>
                      <a:pt x="85" y="48"/>
                      <a:pt x="84" y="41"/>
                      <a:pt x="79" y="38"/>
                    </a:cubicBezTo>
                    <a:cubicBezTo>
                      <a:pt x="75" y="35"/>
                      <a:pt x="70" y="35"/>
                      <a:pt x="69" y="29"/>
                    </a:cubicBezTo>
                    <a:cubicBezTo>
                      <a:pt x="68" y="30"/>
                      <a:pt x="67" y="29"/>
                      <a:pt x="66" y="30"/>
                    </a:cubicBezTo>
                    <a:cubicBezTo>
                      <a:pt x="65" y="31"/>
                      <a:pt x="65" y="31"/>
                      <a:pt x="65" y="32"/>
                    </a:cubicBezTo>
                    <a:cubicBezTo>
                      <a:pt x="63" y="35"/>
                      <a:pt x="60" y="34"/>
                      <a:pt x="59" y="37"/>
                    </a:cubicBezTo>
                    <a:cubicBezTo>
                      <a:pt x="59" y="39"/>
                      <a:pt x="61" y="41"/>
                      <a:pt x="60" y="42"/>
                    </a:cubicBezTo>
                    <a:cubicBezTo>
                      <a:pt x="59" y="43"/>
                      <a:pt x="57" y="44"/>
                      <a:pt x="56" y="44"/>
                    </a:cubicBezTo>
                    <a:cubicBezTo>
                      <a:pt x="55" y="45"/>
                      <a:pt x="54" y="43"/>
                      <a:pt x="53" y="44"/>
                    </a:cubicBezTo>
                    <a:cubicBezTo>
                      <a:pt x="51" y="44"/>
                      <a:pt x="50" y="43"/>
                      <a:pt x="48" y="42"/>
                    </a:cubicBezTo>
                    <a:cubicBezTo>
                      <a:pt x="47" y="41"/>
                      <a:pt x="46" y="46"/>
                      <a:pt x="45" y="47"/>
                    </a:cubicBezTo>
                    <a:cubicBezTo>
                      <a:pt x="45" y="48"/>
                      <a:pt x="44" y="50"/>
                      <a:pt x="44" y="51"/>
                    </a:cubicBezTo>
                    <a:cubicBezTo>
                      <a:pt x="44" y="53"/>
                      <a:pt x="45" y="53"/>
                      <a:pt x="45" y="54"/>
                    </a:cubicBezTo>
                    <a:cubicBezTo>
                      <a:pt x="45" y="56"/>
                      <a:pt x="39" y="54"/>
                      <a:pt x="39" y="54"/>
                    </a:cubicBezTo>
                    <a:cubicBezTo>
                      <a:pt x="37" y="55"/>
                      <a:pt x="33" y="55"/>
                      <a:pt x="32" y="56"/>
                    </a:cubicBezTo>
                    <a:cubicBezTo>
                      <a:pt x="33" y="55"/>
                      <a:pt x="34" y="62"/>
                      <a:pt x="34" y="63"/>
                    </a:cubicBezTo>
                    <a:cubicBezTo>
                      <a:pt x="35" y="64"/>
                      <a:pt x="36" y="65"/>
                      <a:pt x="37" y="66"/>
                    </a:cubicBezTo>
                    <a:cubicBezTo>
                      <a:pt x="37" y="67"/>
                      <a:pt x="34" y="69"/>
                      <a:pt x="33" y="70"/>
                    </a:cubicBezTo>
                    <a:cubicBezTo>
                      <a:pt x="32" y="71"/>
                      <a:pt x="33" y="74"/>
                      <a:pt x="32" y="74"/>
                    </a:cubicBezTo>
                    <a:cubicBezTo>
                      <a:pt x="31" y="75"/>
                      <a:pt x="29" y="75"/>
                      <a:pt x="28" y="76"/>
                    </a:cubicBezTo>
                    <a:cubicBezTo>
                      <a:pt x="26" y="77"/>
                      <a:pt x="25" y="78"/>
                      <a:pt x="24" y="79"/>
                    </a:cubicBezTo>
                    <a:cubicBezTo>
                      <a:pt x="22" y="79"/>
                      <a:pt x="21" y="79"/>
                      <a:pt x="19" y="80"/>
                    </a:cubicBezTo>
                    <a:cubicBezTo>
                      <a:pt x="17" y="80"/>
                      <a:pt x="16" y="81"/>
                      <a:pt x="15" y="83"/>
                    </a:cubicBezTo>
                    <a:cubicBezTo>
                      <a:pt x="15" y="83"/>
                      <a:pt x="11" y="84"/>
                      <a:pt x="11" y="84"/>
                    </a:cubicBezTo>
                    <a:cubicBezTo>
                      <a:pt x="11" y="84"/>
                      <a:pt x="11" y="83"/>
                      <a:pt x="11" y="83"/>
                    </a:cubicBezTo>
                    <a:cubicBezTo>
                      <a:pt x="10" y="83"/>
                      <a:pt x="9" y="83"/>
                      <a:pt x="7" y="83"/>
                    </a:cubicBezTo>
                    <a:cubicBezTo>
                      <a:pt x="6" y="83"/>
                      <a:pt x="3" y="85"/>
                      <a:pt x="3" y="86"/>
                    </a:cubicBezTo>
                    <a:cubicBezTo>
                      <a:pt x="2" y="88"/>
                      <a:pt x="1" y="90"/>
                      <a:pt x="1" y="91"/>
                    </a:cubicBezTo>
                    <a:cubicBezTo>
                      <a:pt x="0" y="93"/>
                      <a:pt x="3" y="95"/>
                      <a:pt x="4" y="95"/>
                    </a:cubicBezTo>
                    <a:cubicBezTo>
                      <a:pt x="7" y="95"/>
                      <a:pt x="6" y="95"/>
                      <a:pt x="7" y="98"/>
                    </a:cubicBezTo>
                    <a:cubicBezTo>
                      <a:pt x="7" y="99"/>
                      <a:pt x="8" y="99"/>
                      <a:pt x="8" y="101"/>
                    </a:cubicBezTo>
                    <a:cubicBezTo>
                      <a:pt x="8" y="101"/>
                      <a:pt x="7" y="103"/>
                      <a:pt x="7" y="103"/>
                    </a:cubicBezTo>
                    <a:cubicBezTo>
                      <a:pt x="9" y="104"/>
                      <a:pt x="10" y="104"/>
                      <a:pt x="11" y="105"/>
                    </a:cubicBezTo>
                    <a:cubicBezTo>
                      <a:pt x="13" y="107"/>
                      <a:pt x="12" y="109"/>
                      <a:pt x="14" y="110"/>
                    </a:cubicBezTo>
                    <a:cubicBezTo>
                      <a:pt x="16" y="111"/>
                      <a:pt x="18" y="112"/>
                      <a:pt x="20" y="113"/>
                    </a:cubicBezTo>
                    <a:cubicBezTo>
                      <a:pt x="21" y="113"/>
                      <a:pt x="22" y="112"/>
                      <a:pt x="23" y="111"/>
                    </a:cubicBezTo>
                    <a:cubicBezTo>
                      <a:pt x="26" y="109"/>
                      <a:pt x="31" y="110"/>
                      <a:pt x="33" y="113"/>
                    </a:cubicBezTo>
                    <a:cubicBezTo>
                      <a:pt x="34" y="115"/>
                      <a:pt x="32" y="116"/>
                      <a:pt x="31" y="117"/>
                    </a:cubicBezTo>
                    <a:cubicBezTo>
                      <a:pt x="30" y="118"/>
                      <a:pt x="30" y="118"/>
                      <a:pt x="30" y="119"/>
                    </a:cubicBezTo>
                    <a:cubicBezTo>
                      <a:pt x="29" y="121"/>
                      <a:pt x="28" y="121"/>
                      <a:pt x="27" y="121"/>
                    </a:cubicBezTo>
                    <a:cubicBezTo>
                      <a:pt x="24" y="123"/>
                      <a:pt x="32" y="126"/>
                      <a:pt x="29" y="128"/>
                    </a:cubicBezTo>
                    <a:cubicBezTo>
                      <a:pt x="28" y="130"/>
                      <a:pt x="27" y="129"/>
                      <a:pt x="25" y="129"/>
                    </a:cubicBezTo>
                    <a:cubicBezTo>
                      <a:pt x="21" y="128"/>
                      <a:pt x="26" y="132"/>
                      <a:pt x="26" y="132"/>
                    </a:cubicBezTo>
                    <a:cubicBezTo>
                      <a:pt x="26" y="134"/>
                      <a:pt x="25" y="135"/>
                      <a:pt x="27" y="135"/>
                    </a:cubicBezTo>
                    <a:cubicBezTo>
                      <a:pt x="29" y="136"/>
                      <a:pt x="29" y="137"/>
                      <a:pt x="31" y="138"/>
                    </a:cubicBezTo>
                    <a:cubicBezTo>
                      <a:pt x="33" y="138"/>
                      <a:pt x="34" y="140"/>
                      <a:pt x="36" y="141"/>
                    </a:cubicBezTo>
                    <a:cubicBezTo>
                      <a:pt x="36" y="141"/>
                      <a:pt x="37" y="142"/>
                      <a:pt x="38" y="142"/>
                    </a:cubicBezTo>
                    <a:cubicBezTo>
                      <a:pt x="39" y="142"/>
                      <a:pt x="38" y="140"/>
                      <a:pt x="40" y="140"/>
                    </a:cubicBezTo>
                    <a:cubicBezTo>
                      <a:pt x="44" y="140"/>
                      <a:pt x="46" y="147"/>
                      <a:pt x="50" y="147"/>
                    </a:cubicBezTo>
                    <a:cubicBezTo>
                      <a:pt x="52" y="147"/>
                      <a:pt x="52" y="150"/>
                      <a:pt x="54" y="150"/>
                    </a:cubicBezTo>
                    <a:cubicBezTo>
                      <a:pt x="56" y="151"/>
                      <a:pt x="57" y="153"/>
                      <a:pt x="58" y="153"/>
                    </a:cubicBezTo>
                    <a:cubicBezTo>
                      <a:pt x="60" y="151"/>
                      <a:pt x="60" y="154"/>
                      <a:pt x="62" y="154"/>
                    </a:cubicBezTo>
                    <a:cubicBezTo>
                      <a:pt x="63" y="154"/>
                      <a:pt x="63" y="153"/>
                      <a:pt x="64" y="153"/>
                    </a:cubicBezTo>
                    <a:cubicBezTo>
                      <a:pt x="65" y="153"/>
                      <a:pt x="65" y="154"/>
                      <a:pt x="66" y="155"/>
                    </a:cubicBezTo>
                    <a:cubicBezTo>
                      <a:pt x="68" y="155"/>
                      <a:pt x="70" y="155"/>
                      <a:pt x="72" y="154"/>
                    </a:cubicBezTo>
                    <a:cubicBezTo>
                      <a:pt x="75" y="153"/>
                      <a:pt x="73" y="155"/>
                      <a:pt x="74" y="156"/>
                    </a:cubicBezTo>
                    <a:cubicBezTo>
                      <a:pt x="74" y="156"/>
                      <a:pt x="76" y="153"/>
                      <a:pt x="77" y="153"/>
                    </a:cubicBezTo>
                    <a:cubicBezTo>
                      <a:pt x="78" y="152"/>
                      <a:pt x="80" y="152"/>
                      <a:pt x="81" y="153"/>
                    </a:cubicBezTo>
                    <a:cubicBezTo>
                      <a:pt x="83" y="155"/>
                      <a:pt x="85" y="153"/>
                      <a:pt x="87" y="154"/>
                    </a:cubicBezTo>
                    <a:cubicBezTo>
                      <a:pt x="89" y="155"/>
                      <a:pt x="91" y="153"/>
                      <a:pt x="92" y="151"/>
                    </a:cubicBezTo>
                    <a:cubicBezTo>
                      <a:pt x="93" y="151"/>
                      <a:pt x="93" y="150"/>
                      <a:pt x="94" y="150"/>
                    </a:cubicBezTo>
                    <a:cubicBezTo>
                      <a:pt x="95" y="149"/>
                      <a:pt x="96" y="150"/>
                      <a:pt x="97" y="149"/>
                    </a:cubicBezTo>
                    <a:cubicBezTo>
                      <a:pt x="98" y="148"/>
                      <a:pt x="99" y="146"/>
                      <a:pt x="101" y="147"/>
                    </a:cubicBezTo>
                    <a:cubicBezTo>
                      <a:pt x="103" y="148"/>
                      <a:pt x="103" y="148"/>
                      <a:pt x="106" y="146"/>
                    </a:cubicBezTo>
                    <a:cubicBezTo>
                      <a:pt x="107" y="145"/>
                      <a:pt x="109" y="148"/>
                      <a:pt x="109" y="149"/>
                    </a:cubicBezTo>
                    <a:cubicBezTo>
                      <a:pt x="108" y="151"/>
                      <a:pt x="106" y="152"/>
                      <a:pt x="108" y="152"/>
                    </a:cubicBezTo>
                    <a:cubicBezTo>
                      <a:pt x="111" y="152"/>
                      <a:pt x="111" y="152"/>
                      <a:pt x="114" y="151"/>
                    </a:cubicBezTo>
                    <a:cubicBezTo>
                      <a:pt x="115" y="151"/>
                      <a:pt x="116" y="154"/>
                      <a:pt x="116" y="155"/>
                    </a:cubicBezTo>
                    <a:cubicBezTo>
                      <a:pt x="116" y="155"/>
                      <a:pt x="116" y="157"/>
                      <a:pt x="117" y="156"/>
                    </a:cubicBezTo>
                    <a:cubicBezTo>
                      <a:pt x="117" y="156"/>
                      <a:pt x="119" y="156"/>
                      <a:pt x="119" y="157"/>
                    </a:cubicBezTo>
                    <a:cubicBezTo>
                      <a:pt x="119" y="158"/>
                      <a:pt x="117" y="159"/>
                      <a:pt x="118" y="160"/>
                    </a:cubicBezTo>
                    <a:cubicBezTo>
                      <a:pt x="119" y="162"/>
                      <a:pt x="118" y="165"/>
                      <a:pt x="117" y="166"/>
                    </a:cubicBezTo>
                    <a:cubicBezTo>
                      <a:pt x="116" y="168"/>
                      <a:pt x="114" y="169"/>
                      <a:pt x="113" y="170"/>
                    </a:cubicBezTo>
                    <a:cubicBezTo>
                      <a:pt x="113" y="171"/>
                      <a:pt x="113" y="176"/>
                      <a:pt x="112" y="175"/>
                    </a:cubicBezTo>
                    <a:cubicBezTo>
                      <a:pt x="113" y="176"/>
                      <a:pt x="119" y="173"/>
                      <a:pt x="120" y="175"/>
                    </a:cubicBezTo>
                    <a:cubicBezTo>
                      <a:pt x="120" y="175"/>
                      <a:pt x="118" y="176"/>
                      <a:pt x="119" y="178"/>
                    </a:cubicBezTo>
                    <a:cubicBezTo>
                      <a:pt x="120" y="180"/>
                      <a:pt x="123" y="180"/>
                      <a:pt x="122" y="181"/>
                    </a:cubicBezTo>
                    <a:cubicBezTo>
                      <a:pt x="122" y="182"/>
                      <a:pt x="121" y="184"/>
                      <a:pt x="121" y="185"/>
                    </a:cubicBezTo>
                    <a:cubicBezTo>
                      <a:pt x="122" y="186"/>
                      <a:pt x="125" y="185"/>
                      <a:pt x="125" y="186"/>
                    </a:cubicBezTo>
                    <a:cubicBezTo>
                      <a:pt x="125" y="186"/>
                      <a:pt x="125" y="187"/>
                      <a:pt x="125" y="187"/>
                    </a:cubicBezTo>
                    <a:cubicBezTo>
                      <a:pt x="125" y="189"/>
                      <a:pt x="126" y="188"/>
                      <a:pt x="127" y="188"/>
                    </a:cubicBezTo>
                    <a:cubicBezTo>
                      <a:pt x="128" y="188"/>
                      <a:pt x="129" y="187"/>
                      <a:pt x="130" y="188"/>
                    </a:cubicBezTo>
                    <a:cubicBezTo>
                      <a:pt x="131" y="188"/>
                      <a:pt x="132" y="189"/>
                      <a:pt x="133" y="190"/>
                    </a:cubicBezTo>
                    <a:cubicBezTo>
                      <a:pt x="135" y="191"/>
                      <a:pt x="134" y="187"/>
                      <a:pt x="134" y="186"/>
                    </a:cubicBezTo>
                    <a:cubicBezTo>
                      <a:pt x="132" y="182"/>
                      <a:pt x="134" y="184"/>
                      <a:pt x="136" y="182"/>
                    </a:cubicBezTo>
                    <a:cubicBezTo>
                      <a:pt x="138" y="181"/>
                      <a:pt x="137" y="182"/>
                      <a:pt x="139" y="183"/>
                    </a:cubicBezTo>
                    <a:cubicBezTo>
                      <a:pt x="139" y="183"/>
                      <a:pt x="141" y="182"/>
                      <a:pt x="141" y="182"/>
                    </a:cubicBezTo>
                    <a:cubicBezTo>
                      <a:pt x="141" y="183"/>
                      <a:pt x="143" y="181"/>
                      <a:pt x="143" y="182"/>
                    </a:cubicBezTo>
                    <a:cubicBezTo>
                      <a:pt x="144" y="183"/>
                      <a:pt x="144" y="184"/>
                      <a:pt x="146" y="182"/>
                    </a:cubicBezTo>
                    <a:cubicBezTo>
                      <a:pt x="147" y="181"/>
                      <a:pt x="147" y="182"/>
                      <a:pt x="148" y="181"/>
                    </a:cubicBezTo>
                    <a:cubicBezTo>
                      <a:pt x="149" y="180"/>
                      <a:pt x="149" y="178"/>
                      <a:pt x="151" y="178"/>
                    </a:cubicBezTo>
                    <a:cubicBezTo>
                      <a:pt x="152" y="178"/>
                      <a:pt x="153" y="180"/>
                      <a:pt x="155" y="180"/>
                    </a:cubicBezTo>
                    <a:cubicBezTo>
                      <a:pt x="155" y="180"/>
                      <a:pt x="159" y="181"/>
                      <a:pt x="159" y="181"/>
                    </a:cubicBezTo>
                    <a:cubicBezTo>
                      <a:pt x="159" y="182"/>
                      <a:pt x="157" y="183"/>
                      <a:pt x="157" y="184"/>
                    </a:cubicBezTo>
                    <a:cubicBezTo>
                      <a:pt x="158" y="185"/>
                      <a:pt x="160" y="186"/>
                      <a:pt x="161" y="187"/>
                    </a:cubicBezTo>
                    <a:cubicBezTo>
                      <a:pt x="163" y="188"/>
                      <a:pt x="167" y="189"/>
                      <a:pt x="168" y="186"/>
                    </a:cubicBezTo>
                    <a:cubicBezTo>
                      <a:pt x="168" y="186"/>
                      <a:pt x="170" y="188"/>
                      <a:pt x="170" y="188"/>
                    </a:cubicBezTo>
                    <a:cubicBezTo>
                      <a:pt x="171" y="189"/>
                      <a:pt x="172" y="187"/>
                      <a:pt x="174" y="188"/>
                    </a:cubicBezTo>
                    <a:cubicBezTo>
                      <a:pt x="175" y="189"/>
                      <a:pt x="173" y="190"/>
                      <a:pt x="173" y="191"/>
                    </a:cubicBezTo>
                    <a:cubicBezTo>
                      <a:pt x="173" y="192"/>
                      <a:pt x="175" y="194"/>
                      <a:pt x="175" y="195"/>
                    </a:cubicBezTo>
                    <a:cubicBezTo>
                      <a:pt x="176" y="195"/>
                      <a:pt x="177" y="194"/>
                      <a:pt x="178" y="194"/>
                    </a:cubicBezTo>
                    <a:cubicBezTo>
                      <a:pt x="178" y="193"/>
                      <a:pt x="175" y="192"/>
                      <a:pt x="176" y="191"/>
                    </a:cubicBezTo>
                    <a:cubicBezTo>
                      <a:pt x="178" y="188"/>
                      <a:pt x="180" y="188"/>
                      <a:pt x="183" y="187"/>
                    </a:cubicBezTo>
                    <a:cubicBezTo>
                      <a:pt x="185" y="186"/>
                      <a:pt x="187" y="186"/>
                      <a:pt x="189" y="186"/>
                    </a:cubicBezTo>
                    <a:cubicBezTo>
                      <a:pt x="190" y="186"/>
                      <a:pt x="190" y="184"/>
                      <a:pt x="191" y="184"/>
                    </a:cubicBezTo>
                    <a:cubicBezTo>
                      <a:pt x="193" y="184"/>
                      <a:pt x="192" y="183"/>
                      <a:pt x="192" y="182"/>
                    </a:cubicBezTo>
                    <a:cubicBezTo>
                      <a:pt x="192" y="183"/>
                      <a:pt x="196" y="182"/>
                      <a:pt x="196" y="182"/>
                    </a:cubicBezTo>
                    <a:cubicBezTo>
                      <a:pt x="198" y="181"/>
                      <a:pt x="200" y="182"/>
                      <a:pt x="202" y="182"/>
                    </a:cubicBezTo>
                    <a:cubicBezTo>
                      <a:pt x="204" y="182"/>
                      <a:pt x="205" y="181"/>
                      <a:pt x="207" y="180"/>
                    </a:cubicBezTo>
                    <a:cubicBezTo>
                      <a:pt x="208" y="180"/>
                      <a:pt x="208" y="177"/>
                      <a:pt x="209" y="177"/>
                    </a:cubicBezTo>
                    <a:cubicBezTo>
                      <a:pt x="211" y="177"/>
                      <a:pt x="212" y="176"/>
                      <a:pt x="213" y="175"/>
                    </a:cubicBezTo>
                    <a:cubicBezTo>
                      <a:pt x="214" y="175"/>
                      <a:pt x="215" y="174"/>
                      <a:pt x="215" y="173"/>
                    </a:cubicBezTo>
                    <a:cubicBezTo>
                      <a:pt x="214" y="173"/>
                      <a:pt x="218" y="172"/>
                      <a:pt x="218" y="172"/>
                    </a:cubicBezTo>
                    <a:cubicBezTo>
                      <a:pt x="219" y="171"/>
                      <a:pt x="220" y="169"/>
                      <a:pt x="221" y="168"/>
                    </a:cubicBezTo>
                    <a:cubicBezTo>
                      <a:pt x="222" y="167"/>
                      <a:pt x="222" y="167"/>
                      <a:pt x="222" y="166"/>
                    </a:cubicBezTo>
                    <a:cubicBezTo>
                      <a:pt x="223" y="164"/>
                      <a:pt x="221" y="165"/>
                      <a:pt x="221" y="164"/>
                    </a:cubicBezTo>
                    <a:cubicBezTo>
                      <a:pt x="221" y="164"/>
                      <a:pt x="226" y="164"/>
                      <a:pt x="223" y="162"/>
                    </a:cubicBezTo>
                    <a:cubicBezTo>
                      <a:pt x="222" y="161"/>
                      <a:pt x="223" y="161"/>
                      <a:pt x="224" y="161"/>
                    </a:cubicBezTo>
                    <a:cubicBezTo>
                      <a:pt x="225" y="161"/>
                      <a:pt x="225" y="160"/>
                      <a:pt x="226" y="159"/>
                    </a:cubicBezTo>
                    <a:cubicBezTo>
                      <a:pt x="227" y="158"/>
                      <a:pt x="227" y="157"/>
                      <a:pt x="228" y="156"/>
                    </a:cubicBezTo>
                    <a:cubicBezTo>
                      <a:pt x="228" y="156"/>
                      <a:pt x="228" y="154"/>
                      <a:pt x="228" y="154"/>
                    </a:cubicBezTo>
                    <a:cubicBezTo>
                      <a:pt x="229" y="153"/>
                      <a:pt x="230" y="153"/>
                      <a:pt x="231" y="152"/>
                    </a:cubicBezTo>
                    <a:cubicBezTo>
                      <a:pt x="232" y="151"/>
                      <a:pt x="231" y="150"/>
                      <a:pt x="231" y="150"/>
                    </a:cubicBezTo>
                    <a:cubicBezTo>
                      <a:pt x="231" y="149"/>
                      <a:pt x="232" y="149"/>
                      <a:pt x="232" y="149"/>
                    </a:cubicBezTo>
                    <a:cubicBezTo>
                      <a:pt x="233" y="149"/>
                      <a:pt x="232" y="147"/>
                      <a:pt x="232" y="147"/>
                    </a:cubicBezTo>
                    <a:cubicBezTo>
                      <a:pt x="232" y="147"/>
                      <a:pt x="234" y="148"/>
                      <a:pt x="234" y="147"/>
                    </a:cubicBezTo>
                    <a:cubicBezTo>
                      <a:pt x="236" y="146"/>
                      <a:pt x="234" y="146"/>
                      <a:pt x="233" y="145"/>
                    </a:cubicBezTo>
                    <a:cubicBezTo>
                      <a:pt x="233" y="145"/>
                      <a:pt x="236" y="143"/>
                      <a:pt x="236" y="143"/>
                    </a:cubicBezTo>
                    <a:cubicBezTo>
                      <a:pt x="235" y="145"/>
                      <a:pt x="232" y="142"/>
                      <a:pt x="231" y="141"/>
                    </a:cubicBezTo>
                    <a:cubicBezTo>
                      <a:pt x="231" y="141"/>
                      <a:pt x="230" y="142"/>
                      <a:pt x="229" y="142"/>
                    </a:cubicBezTo>
                    <a:cubicBezTo>
                      <a:pt x="228" y="143"/>
                      <a:pt x="227" y="141"/>
                      <a:pt x="226" y="142"/>
                    </a:cubicBezTo>
                    <a:cubicBezTo>
                      <a:pt x="228" y="141"/>
                      <a:pt x="230" y="140"/>
                      <a:pt x="231" y="139"/>
                    </a:cubicBezTo>
                    <a:cubicBezTo>
                      <a:pt x="232" y="138"/>
                      <a:pt x="235" y="138"/>
                      <a:pt x="233" y="136"/>
                    </a:cubicBezTo>
                    <a:cubicBezTo>
                      <a:pt x="231" y="135"/>
                      <a:pt x="230" y="134"/>
                      <a:pt x="228" y="132"/>
                    </a:cubicBezTo>
                    <a:cubicBezTo>
                      <a:pt x="228" y="131"/>
                      <a:pt x="223" y="133"/>
                      <a:pt x="223" y="130"/>
                    </a:cubicBezTo>
                    <a:cubicBezTo>
                      <a:pt x="223" y="132"/>
                      <a:pt x="228" y="132"/>
                      <a:pt x="229" y="132"/>
                    </a:cubicBezTo>
                    <a:cubicBezTo>
                      <a:pt x="230" y="132"/>
                      <a:pt x="233" y="135"/>
                      <a:pt x="234" y="133"/>
                    </a:cubicBezTo>
                    <a:cubicBezTo>
                      <a:pt x="235" y="131"/>
                      <a:pt x="229" y="129"/>
                      <a:pt x="229" y="127"/>
                    </a:cubicBezTo>
                    <a:cubicBezTo>
                      <a:pt x="228" y="125"/>
                      <a:pt x="228" y="121"/>
                      <a:pt x="226" y="120"/>
                    </a:cubicBezTo>
                    <a:cubicBezTo>
                      <a:pt x="225" y="118"/>
                      <a:pt x="219" y="118"/>
                      <a:pt x="221" y="115"/>
                    </a:cubicBezTo>
                    <a:cubicBezTo>
                      <a:pt x="222" y="113"/>
                      <a:pt x="223" y="112"/>
                      <a:pt x="224" y="111"/>
                    </a:cubicBezTo>
                    <a:cubicBezTo>
                      <a:pt x="226" y="109"/>
                      <a:pt x="224" y="110"/>
                      <a:pt x="225" y="109"/>
                    </a:cubicBezTo>
                    <a:cubicBezTo>
                      <a:pt x="225" y="108"/>
                      <a:pt x="228" y="109"/>
                      <a:pt x="228" y="109"/>
                    </a:cubicBezTo>
                    <a:cubicBezTo>
                      <a:pt x="229" y="108"/>
                      <a:pt x="227" y="107"/>
                      <a:pt x="229" y="106"/>
                    </a:cubicBezTo>
                    <a:cubicBezTo>
                      <a:pt x="231" y="106"/>
                      <a:pt x="232" y="105"/>
                      <a:pt x="233" y="104"/>
                    </a:cubicBezTo>
                    <a:cubicBezTo>
                      <a:pt x="234" y="104"/>
                      <a:pt x="235" y="104"/>
                      <a:pt x="235" y="104"/>
                    </a:cubicBezTo>
                    <a:cubicBezTo>
                      <a:pt x="236" y="104"/>
                      <a:pt x="235" y="105"/>
                      <a:pt x="236" y="105"/>
                    </a:cubicBezTo>
                    <a:cubicBezTo>
                      <a:pt x="237" y="106"/>
                      <a:pt x="238" y="103"/>
                      <a:pt x="238" y="102"/>
                    </a:cubicBezTo>
                    <a:cubicBezTo>
                      <a:pt x="236" y="100"/>
                      <a:pt x="234" y="101"/>
                      <a:pt x="233" y="101"/>
                    </a:cubicBezTo>
                    <a:cubicBezTo>
                      <a:pt x="231" y="101"/>
                      <a:pt x="230" y="99"/>
                      <a:pt x="228" y="100"/>
                    </a:cubicBezTo>
                    <a:cubicBezTo>
                      <a:pt x="227" y="100"/>
                      <a:pt x="226" y="102"/>
                      <a:pt x="224" y="102"/>
                    </a:cubicBezTo>
                    <a:cubicBezTo>
                      <a:pt x="223" y="103"/>
                      <a:pt x="221" y="103"/>
                      <a:pt x="220" y="102"/>
                    </a:cubicBezTo>
                    <a:cubicBezTo>
                      <a:pt x="219" y="101"/>
                      <a:pt x="221" y="99"/>
                      <a:pt x="220" y="98"/>
                    </a:cubicBezTo>
                    <a:cubicBezTo>
                      <a:pt x="218" y="97"/>
                      <a:pt x="210" y="97"/>
                      <a:pt x="213" y="92"/>
                    </a:cubicBezTo>
                    <a:cubicBezTo>
                      <a:pt x="214" y="91"/>
                      <a:pt x="215" y="92"/>
                      <a:pt x="217" y="92"/>
                    </a:cubicBezTo>
                    <a:cubicBezTo>
                      <a:pt x="218" y="92"/>
                      <a:pt x="220" y="91"/>
                      <a:pt x="221" y="90"/>
                    </a:cubicBezTo>
                    <a:cubicBezTo>
                      <a:pt x="223" y="87"/>
                      <a:pt x="226" y="85"/>
                      <a:pt x="229" y="83"/>
                    </a:cubicBezTo>
                    <a:cubicBezTo>
                      <a:pt x="230" y="81"/>
                      <a:pt x="231" y="81"/>
                      <a:pt x="233" y="81"/>
                    </a:cubicBezTo>
                    <a:cubicBezTo>
                      <a:pt x="233" y="82"/>
                      <a:pt x="236" y="82"/>
                      <a:pt x="236" y="83"/>
                    </a:cubicBezTo>
                    <a:cubicBezTo>
                      <a:pt x="235" y="84"/>
                      <a:pt x="235" y="86"/>
                      <a:pt x="234" y="87"/>
                    </a:cubicBezTo>
                    <a:cubicBezTo>
                      <a:pt x="233" y="87"/>
                      <a:pt x="231" y="88"/>
                      <a:pt x="231" y="89"/>
                    </a:cubicBezTo>
                    <a:cubicBezTo>
                      <a:pt x="231" y="90"/>
                      <a:pt x="234" y="90"/>
                      <a:pt x="234" y="90"/>
                    </a:cubicBezTo>
                    <a:cubicBezTo>
                      <a:pt x="234" y="90"/>
                      <a:pt x="230" y="93"/>
                      <a:pt x="231" y="93"/>
                    </a:cubicBezTo>
                    <a:cubicBezTo>
                      <a:pt x="232" y="94"/>
                      <a:pt x="237" y="89"/>
                      <a:pt x="238" y="89"/>
                    </a:cubicBezTo>
                    <a:cubicBezTo>
                      <a:pt x="240" y="88"/>
                      <a:pt x="242" y="87"/>
                      <a:pt x="244" y="87"/>
                    </a:cubicBezTo>
                    <a:cubicBezTo>
                      <a:pt x="246" y="87"/>
                      <a:pt x="246" y="87"/>
                      <a:pt x="247" y="85"/>
                    </a:cubicBezTo>
                    <a:cubicBezTo>
                      <a:pt x="249" y="84"/>
                      <a:pt x="252" y="83"/>
                      <a:pt x="254" y="81"/>
                    </a:cubicBezTo>
                    <a:cubicBezTo>
                      <a:pt x="255" y="80"/>
                      <a:pt x="257" y="77"/>
                      <a:pt x="259" y="77"/>
                    </a:cubicBezTo>
                    <a:cubicBezTo>
                      <a:pt x="260" y="76"/>
                      <a:pt x="266" y="80"/>
                      <a:pt x="266" y="77"/>
                    </a:cubicBezTo>
                    <a:cubicBezTo>
                      <a:pt x="266" y="76"/>
                      <a:pt x="265" y="75"/>
                      <a:pt x="266" y="74"/>
                    </a:cubicBezTo>
                    <a:cubicBezTo>
                      <a:pt x="267" y="74"/>
                      <a:pt x="268" y="74"/>
                      <a:pt x="269" y="74"/>
                    </a:cubicBezTo>
                    <a:cubicBezTo>
                      <a:pt x="271" y="74"/>
                      <a:pt x="270" y="73"/>
                      <a:pt x="271" y="72"/>
                    </a:cubicBezTo>
                    <a:cubicBezTo>
                      <a:pt x="273" y="71"/>
                      <a:pt x="274" y="72"/>
                      <a:pt x="274" y="70"/>
                    </a:cubicBezTo>
                    <a:cubicBezTo>
                      <a:pt x="274" y="67"/>
                      <a:pt x="277" y="70"/>
                      <a:pt x="278" y="71"/>
                    </a:cubicBezTo>
                    <a:cubicBezTo>
                      <a:pt x="278" y="69"/>
                      <a:pt x="281" y="69"/>
                      <a:pt x="281" y="67"/>
                    </a:cubicBezTo>
                    <a:cubicBezTo>
                      <a:pt x="281" y="65"/>
                      <a:pt x="282" y="62"/>
                      <a:pt x="281" y="60"/>
                    </a:cubicBezTo>
                    <a:cubicBezTo>
                      <a:pt x="279" y="57"/>
                      <a:pt x="280" y="58"/>
                      <a:pt x="282" y="56"/>
                    </a:cubicBezTo>
                    <a:cubicBezTo>
                      <a:pt x="284" y="55"/>
                      <a:pt x="285" y="54"/>
                      <a:pt x="287" y="55"/>
                    </a:cubicBezTo>
                    <a:cubicBezTo>
                      <a:pt x="290" y="56"/>
                      <a:pt x="290" y="56"/>
                      <a:pt x="291" y="53"/>
                    </a:cubicBezTo>
                    <a:cubicBezTo>
                      <a:pt x="292" y="51"/>
                      <a:pt x="294" y="50"/>
                      <a:pt x="295" y="47"/>
                    </a:cubicBezTo>
                    <a:cubicBezTo>
                      <a:pt x="295" y="45"/>
                      <a:pt x="296" y="43"/>
                      <a:pt x="298" y="41"/>
                    </a:cubicBezTo>
                    <a:cubicBezTo>
                      <a:pt x="300" y="39"/>
                      <a:pt x="298" y="39"/>
                      <a:pt x="298" y="37"/>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39" name="Freeform 716">
                <a:extLst>
                  <a:ext uri="{FF2B5EF4-FFF2-40B4-BE49-F238E27FC236}">
                    <a16:creationId xmlns:a16="http://schemas.microsoft.com/office/drawing/2014/main" id="{6C12ACEF-7AA0-7B49-A88C-48FE1DD3DBE8}"/>
                  </a:ext>
                </a:extLst>
              </p:cNvPr>
              <p:cNvSpPr>
                <a:spLocks/>
              </p:cNvSpPr>
              <p:nvPr/>
            </p:nvSpPr>
            <p:spPr bwMode="auto">
              <a:xfrm>
                <a:off x="15747967" y="6357215"/>
                <a:ext cx="1464969" cy="637107"/>
              </a:xfrm>
              <a:custGeom>
                <a:avLst/>
                <a:gdLst>
                  <a:gd name="T0" fmla="*/ 0 w 157"/>
                  <a:gd name="T1" fmla="*/ 19 h 68"/>
                  <a:gd name="T2" fmla="*/ 7 w 157"/>
                  <a:gd name="T3" fmla="*/ 26 h 68"/>
                  <a:gd name="T4" fmla="*/ 12 w 157"/>
                  <a:gd name="T5" fmla="*/ 29 h 68"/>
                  <a:gd name="T6" fmla="*/ 15 w 157"/>
                  <a:gd name="T7" fmla="*/ 36 h 68"/>
                  <a:gd name="T8" fmla="*/ 15 w 157"/>
                  <a:gd name="T9" fmla="*/ 38 h 68"/>
                  <a:gd name="T10" fmla="*/ 15 w 157"/>
                  <a:gd name="T11" fmla="*/ 40 h 68"/>
                  <a:gd name="T12" fmla="*/ 16 w 157"/>
                  <a:gd name="T13" fmla="*/ 45 h 68"/>
                  <a:gd name="T14" fmla="*/ 28 w 157"/>
                  <a:gd name="T15" fmla="*/ 47 h 68"/>
                  <a:gd name="T16" fmla="*/ 36 w 157"/>
                  <a:gd name="T17" fmla="*/ 54 h 68"/>
                  <a:gd name="T18" fmla="*/ 39 w 157"/>
                  <a:gd name="T19" fmla="*/ 59 h 68"/>
                  <a:gd name="T20" fmla="*/ 44 w 157"/>
                  <a:gd name="T21" fmla="*/ 60 h 68"/>
                  <a:gd name="T22" fmla="*/ 56 w 157"/>
                  <a:gd name="T23" fmla="*/ 60 h 68"/>
                  <a:gd name="T24" fmla="*/ 64 w 157"/>
                  <a:gd name="T25" fmla="*/ 61 h 68"/>
                  <a:gd name="T26" fmla="*/ 69 w 157"/>
                  <a:gd name="T27" fmla="*/ 64 h 68"/>
                  <a:gd name="T28" fmla="*/ 76 w 157"/>
                  <a:gd name="T29" fmla="*/ 66 h 68"/>
                  <a:gd name="T30" fmla="*/ 81 w 157"/>
                  <a:gd name="T31" fmla="*/ 67 h 68"/>
                  <a:gd name="T32" fmla="*/ 93 w 157"/>
                  <a:gd name="T33" fmla="*/ 62 h 68"/>
                  <a:gd name="T34" fmla="*/ 106 w 157"/>
                  <a:gd name="T35" fmla="*/ 61 h 68"/>
                  <a:gd name="T36" fmla="*/ 113 w 157"/>
                  <a:gd name="T37" fmla="*/ 55 h 68"/>
                  <a:gd name="T38" fmla="*/ 114 w 157"/>
                  <a:gd name="T39" fmla="*/ 51 h 68"/>
                  <a:gd name="T40" fmla="*/ 115 w 157"/>
                  <a:gd name="T41" fmla="*/ 47 h 68"/>
                  <a:gd name="T42" fmla="*/ 126 w 157"/>
                  <a:gd name="T43" fmla="*/ 46 h 68"/>
                  <a:gd name="T44" fmla="*/ 130 w 157"/>
                  <a:gd name="T45" fmla="*/ 44 h 68"/>
                  <a:gd name="T46" fmla="*/ 137 w 157"/>
                  <a:gd name="T47" fmla="*/ 42 h 68"/>
                  <a:gd name="T48" fmla="*/ 139 w 157"/>
                  <a:gd name="T49" fmla="*/ 38 h 68"/>
                  <a:gd name="T50" fmla="*/ 143 w 157"/>
                  <a:gd name="T51" fmla="*/ 37 h 68"/>
                  <a:gd name="T52" fmla="*/ 154 w 157"/>
                  <a:gd name="T53" fmla="*/ 36 h 68"/>
                  <a:gd name="T54" fmla="*/ 150 w 157"/>
                  <a:gd name="T55" fmla="*/ 29 h 68"/>
                  <a:gd name="T56" fmla="*/ 145 w 157"/>
                  <a:gd name="T57" fmla="*/ 28 h 68"/>
                  <a:gd name="T58" fmla="*/ 141 w 157"/>
                  <a:gd name="T59" fmla="*/ 29 h 68"/>
                  <a:gd name="T60" fmla="*/ 136 w 157"/>
                  <a:gd name="T61" fmla="*/ 28 h 68"/>
                  <a:gd name="T62" fmla="*/ 134 w 157"/>
                  <a:gd name="T63" fmla="*/ 27 h 68"/>
                  <a:gd name="T64" fmla="*/ 137 w 157"/>
                  <a:gd name="T65" fmla="*/ 19 h 68"/>
                  <a:gd name="T66" fmla="*/ 137 w 157"/>
                  <a:gd name="T67" fmla="*/ 14 h 68"/>
                  <a:gd name="T68" fmla="*/ 131 w 157"/>
                  <a:gd name="T69" fmla="*/ 14 h 68"/>
                  <a:gd name="T70" fmla="*/ 124 w 157"/>
                  <a:gd name="T71" fmla="*/ 15 h 68"/>
                  <a:gd name="T72" fmla="*/ 114 w 157"/>
                  <a:gd name="T73" fmla="*/ 19 h 68"/>
                  <a:gd name="T74" fmla="*/ 103 w 157"/>
                  <a:gd name="T75" fmla="*/ 19 h 68"/>
                  <a:gd name="T76" fmla="*/ 98 w 157"/>
                  <a:gd name="T77" fmla="*/ 17 h 68"/>
                  <a:gd name="T78" fmla="*/ 94 w 157"/>
                  <a:gd name="T79" fmla="*/ 15 h 68"/>
                  <a:gd name="T80" fmla="*/ 83 w 157"/>
                  <a:gd name="T81" fmla="*/ 11 h 68"/>
                  <a:gd name="T82" fmla="*/ 77 w 157"/>
                  <a:gd name="T83" fmla="*/ 13 h 68"/>
                  <a:gd name="T84" fmla="*/ 71 w 157"/>
                  <a:gd name="T85" fmla="*/ 12 h 68"/>
                  <a:gd name="T86" fmla="*/ 68 w 157"/>
                  <a:gd name="T87" fmla="*/ 8 h 68"/>
                  <a:gd name="T88" fmla="*/ 64 w 157"/>
                  <a:gd name="T89" fmla="*/ 5 h 68"/>
                  <a:gd name="T90" fmla="*/ 58 w 157"/>
                  <a:gd name="T91" fmla="*/ 3 h 68"/>
                  <a:gd name="T92" fmla="*/ 52 w 157"/>
                  <a:gd name="T93" fmla="*/ 1 h 68"/>
                  <a:gd name="T94" fmla="*/ 45 w 157"/>
                  <a:gd name="T95" fmla="*/ 7 h 68"/>
                  <a:gd name="T96" fmla="*/ 47 w 157"/>
                  <a:gd name="T97" fmla="*/ 13 h 68"/>
                  <a:gd name="T98" fmla="*/ 41 w 157"/>
                  <a:gd name="T99" fmla="*/ 15 h 68"/>
                  <a:gd name="T100" fmla="*/ 37 w 157"/>
                  <a:gd name="T101" fmla="*/ 14 h 68"/>
                  <a:gd name="T102" fmla="*/ 34 w 157"/>
                  <a:gd name="T103" fmla="*/ 14 h 68"/>
                  <a:gd name="T104" fmla="*/ 28 w 157"/>
                  <a:gd name="T105" fmla="*/ 10 h 68"/>
                  <a:gd name="T106" fmla="*/ 21 w 157"/>
                  <a:gd name="T107" fmla="*/ 9 h 68"/>
                  <a:gd name="T108" fmla="*/ 13 w 157"/>
                  <a:gd name="T109" fmla="*/ 13 h 68"/>
                  <a:gd name="T110" fmla="*/ 7 w 157"/>
                  <a:gd name="T111" fmla="*/ 17 h 68"/>
                  <a:gd name="T112" fmla="*/ 0 w 157"/>
                  <a:gd name="T113" fmla="*/ 1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7" h="68">
                    <a:moveTo>
                      <a:pt x="0" y="19"/>
                    </a:moveTo>
                    <a:cubicBezTo>
                      <a:pt x="1" y="23"/>
                      <a:pt x="3" y="25"/>
                      <a:pt x="7" y="26"/>
                    </a:cubicBezTo>
                    <a:cubicBezTo>
                      <a:pt x="9" y="27"/>
                      <a:pt x="10" y="28"/>
                      <a:pt x="12" y="29"/>
                    </a:cubicBezTo>
                    <a:cubicBezTo>
                      <a:pt x="13" y="31"/>
                      <a:pt x="14" y="34"/>
                      <a:pt x="15" y="36"/>
                    </a:cubicBezTo>
                    <a:cubicBezTo>
                      <a:pt x="16" y="37"/>
                      <a:pt x="15" y="37"/>
                      <a:pt x="15" y="38"/>
                    </a:cubicBezTo>
                    <a:cubicBezTo>
                      <a:pt x="14" y="38"/>
                      <a:pt x="15" y="39"/>
                      <a:pt x="15" y="40"/>
                    </a:cubicBezTo>
                    <a:cubicBezTo>
                      <a:pt x="14" y="43"/>
                      <a:pt x="13" y="43"/>
                      <a:pt x="16" y="45"/>
                    </a:cubicBezTo>
                    <a:cubicBezTo>
                      <a:pt x="20" y="46"/>
                      <a:pt x="24" y="45"/>
                      <a:pt x="28" y="47"/>
                    </a:cubicBezTo>
                    <a:cubicBezTo>
                      <a:pt x="30" y="49"/>
                      <a:pt x="34" y="52"/>
                      <a:pt x="36" y="54"/>
                    </a:cubicBezTo>
                    <a:cubicBezTo>
                      <a:pt x="37" y="55"/>
                      <a:pt x="38" y="57"/>
                      <a:pt x="39" y="59"/>
                    </a:cubicBezTo>
                    <a:cubicBezTo>
                      <a:pt x="40" y="61"/>
                      <a:pt x="43" y="60"/>
                      <a:pt x="44" y="60"/>
                    </a:cubicBezTo>
                    <a:cubicBezTo>
                      <a:pt x="48" y="60"/>
                      <a:pt x="52" y="60"/>
                      <a:pt x="56" y="60"/>
                    </a:cubicBezTo>
                    <a:cubicBezTo>
                      <a:pt x="58" y="60"/>
                      <a:pt x="62" y="60"/>
                      <a:pt x="64" y="61"/>
                    </a:cubicBezTo>
                    <a:cubicBezTo>
                      <a:pt x="66" y="62"/>
                      <a:pt x="67" y="64"/>
                      <a:pt x="69" y="64"/>
                    </a:cubicBezTo>
                    <a:cubicBezTo>
                      <a:pt x="71" y="65"/>
                      <a:pt x="74" y="66"/>
                      <a:pt x="76" y="66"/>
                    </a:cubicBezTo>
                    <a:cubicBezTo>
                      <a:pt x="78" y="65"/>
                      <a:pt x="80" y="68"/>
                      <a:pt x="81" y="67"/>
                    </a:cubicBezTo>
                    <a:cubicBezTo>
                      <a:pt x="85" y="65"/>
                      <a:pt x="88" y="63"/>
                      <a:pt x="93" y="62"/>
                    </a:cubicBezTo>
                    <a:cubicBezTo>
                      <a:pt x="97" y="62"/>
                      <a:pt x="103" y="63"/>
                      <a:pt x="106" y="61"/>
                    </a:cubicBezTo>
                    <a:cubicBezTo>
                      <a:pt x="109" y="59"/>
                      <a:pt x="110" y="56"/>
                      <a:pt x="113" y="55"/>
                    </a:cubicBezTo>
                    <a:cubicBezTo>
                      <a:pt x="116" y="54"/>
                      <a:pt x="116" y="53"/>
                      <a:pt x="114" y="51"/>
                    </a:cubicBezTo>
                    <a:cubicBezTo>
                      <a:pt x="113" y="50"/>
                      <a:pt x="113" y="48"/>
                      <a:pt x="115" y="47"/>
                    </a:cubicBezTo>
                    <a:cubicBezTo>
                      <a:pt x="118" y="44"/>
                      <a:pt x="122" y="50"/>
                      <a:pt x="126" y="46"/>
                    </a:cubicBezTo>
                    <a:cubicBezTo>
                      <a:pt x="127" y="45"/>
                      <a:pt x="128" y="44"/>
                      <a:pt x="130" y="44"/>
                    </a:cubicBezTo>
                    <a:cubicBezTo>
                      <a:pt x="133" y="43"/>
                      <a:pt x="134" y="44"/>
                      <a:pt x="137" y="42"/>
                    </a:cubicBezTo>
                    <a:cubicBezTo>
                      <a:pt x="138" y="41"/>
                      <a:pt x="138" y="38"/>
                      <a:pt x="139" y="38"/>
                    </a:cubicBezTo>
                    <a:cubicBezTo>
                      <a:pt x="141" y="37"/>
                      <a:pt x="142" y="37"/>
                      <a:pt x="143" y="37"/>
                    </a:cubicBezTo>
                    <a:cubicBezTo>
                      <a:pt x="147" y="36"/>
                      <a:pt x="150" y="35"/>
                      <a:pt x="154" y="36"/>
                    </a:cubicBezTo>
                    <a:cubicBezTo>
                      <a:pt x="157" y="36"/>
                      <a:pt x="151" y="29"/>
                      <a:pt x="150" y="29"/>
                    </a:cubicBezTo>
                    <a:cubicBezTo>
                      <a:pt x="149" y="28"/>
                      <a:pt x="147" y="27"/>
                      <a:pt x="145" y="28"/>
                    </a:cubicBezTo>
                    <a:cubicBezTo>
                      <a:pt x="143" y="28"/>
                      <a:pt x="143" y="30"/>
                      <a:pt x="141" y="29"/>
                    </a:cubicBezTo>
                    <a:cubicBezTo>
                      <a:pt x="140" y="28"/>
                      <a:pt x="137" y="27"/>
                      <a:pt x="136" y="28"/>
                    </a:cubicBezTo>
                    <a:cubicBezTo>
                      <a:pt x="135" y="30"/>
                      <a:pt x="134" y="29"/>
                      <a:pt x="134" y="27"/>
                    </a:cubicBezTo>
                    <a:cubicBezTo>
                      <a:pt x="134" y="25"/>
                      <a:pt x="137" y="21"/>
                      <a:pt x="137" y="19"/>
                    </a:cubicBezTo>
                    <a:cubicBezTo>
                      <a:pt x="138" y="17"/>
                      <a:pt x="141" y="14"/>
                      <a:pt x="137" y="14"/>
                    </a:cubicBezTo>
                    <a:cubicBezTo>
                      <a:pt x="134" y="14"/>
                      <a:pt x="134" y="15"/>
                      <a:pt x="131" y="14"/>
                    </a:cubicBezTo>
                    <a:cubicBezTo>
                      <a:pt x="128" y="13"/>
                      <a:pt x="127" y="13"/>
                      <a:pt x="124" y="15"/>
                    </a:cubicBezTo>
                    <a:cubicBezTo>
                      <a:pt x="121" y="17"/>
                      <a:pt x="117" y="18"/>
                      <a:pt x="114" y="19"/>
                    </a:cubicBezTo>
                    <a:cubicBezTo>
                      <a:pt x="109" y="20"/>
                      <a:pt x="107" y="19"/>
                      <a:pt x="103" y="19"/>
                    </a:cubicBezTo>
                    <a:cubicBezTo>
                      <a:pt x="101" y="18"/>
                      <a:pt x="100" y="18"/>
                      <a:pt x="98" y="17"/>
                    </a:cubicBezTo>
                    <a:cubicBezTo>
                      <a:pt x="97" y="17"/>
                      <a:pt x="96" y="15"/>
                      <a:pt x="94" y="15"/>
                    </a:cubicBezTo>
                    <a:cubicBezTo>
                      <a:pt x="90" y="14"/>
                      <a:pt x="88" y="12"/>
                      <a:pt x="83" y="11"/>
                    </a:cubicBezTo>
                    <a:cubicBezTo>
                      <a:pt x="81" y="11"/>
                      <a:pt x="79" y="12"/>
                      <a:pt x="77" y="13"/>
                    </a:cubicBezTo>
                    <a:cubicBezTo>
                      <a:pt x="75" y="14"/>
                      <a:pt x="73" y="13"/>
                      <a:pt x="71" y="12"/>
                    </a:cubicBezTo>
                    <a:cubicBezTo>
                      <a:pt x="69" y="11"/>
                      <a:pt x="68" y="11"/>
                      <a:pt x="68" y="8"/>
                    </a:cubicBezTo>
                    <a:cubicBezTo>
                      <a:pt x="67" y="6"/>
                      <a:pt x="67" y="6"/>
                      <a:pt x="64" y="5"/>
                    </a:cubicBezTo>
                    <a:cubicBezTo>
                      <a:pt x="62" y="4"/>
                      <a:pt x="60" y="3"/>
                      <a:pt x="58" y="3"/>
                    </a:cubicBezTo>
                    <a:cubicBezTo>
                      <a:pt x="56" y="3"/>
                      <a:pt x="53" y="0"/>
                      <a:pt x="52" y="1"/>
                    </a:cubicBezTo>
                    <a:cubicBezTo>
                      <a:pt x="50" y="1"/>
                      <a:pt x="46" y="5"/>
                      <a:pt x="45" y="7"/>
                    </a:cubicBezTo>
                    <a:cubicBezTo>
                      <a:pt x="45" y="9"/>
                      <a:pt x="48" y="11"/>
                      <a:pt x="47" y="13"/>
                    </a:cubicBezTo>
                    <a:cubicBezTo>
                      <a:pt x="46" y="15"/>
                      <a:pt x="43" y="17"/>
                      <a:pt x="41" y="15"/>
                    </a:cubicBezTo>
                    <a:cubicBezTo>
                      <a:pt x="39" y="15"/>
                      <a:pt x="38" y="14"/>
                      <a:pt x="37" y="14"/>
                    </a:cubicBezTo>
                    <a:cubicBezTo>
                      <a:pt x="36" y="14"/>
                      <a:pt x="35" y="14"/>
                      <a:pt x="34" y="14"/>
                    </a:cubicBezTo>
                    <a:cubicBezTo>
                      <a:pt x="31" y="13"/>
                      <a:pt x="31" y="11"/>
                      <a:pt x="28" y="10"/>
                    </a:cubicBezTo>
                    <a:cubicBezTo>
                      <a:pt x="26" y="9"/>
                      <a:pt x="23" y="8"/>
                      <a:pt x="21" y="9"/>
                    </a:cubicBezTo>
                    <a:cubicBezTo>
                      <a:pt x="18" y="10"/>
                      <a:pt x="16" y="12"/>
                      <a:pt x="13" y="13"/>
                    </a:cubicBezTo>
                    <a:cubicBezTo>
                      <a:pt x="11" y="14"/>
                      <a:pt x="9" y="16"/>
                      <a:pt x="7" y="17"/>
                    </a:cubicBezTo>
                    <a:cubicBezTo>
                      <a:pt x="4" y="17"/>
                      <a:pt x="2" y="19"/>
                      <a:pt x="0"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0" name="Freeform 717">
                <a:extLst>
                  <a:ext uri="{FF2B5EF4-FFF2-40B4-BE49-F238E27FC236}">
                    <a16:creationId xmlns:a16="http://schemas.microsoft.com/office/drawing/2014/main" id="{96F8EE19-F4CD-814A-B7FF-E85961EE755E}"/>
                  </a:ext>
                </a:extLst>
              </p:cNvPr>
              <p:cNvSpPr>
                <a:spLocks/>
              </p:cNvSpPr>
              <p:nvPr/>
            </p:nvSpPr>
            <p:spPr bwMode="auto">
              <a:xfrm>
                <a:off x="12219302" y="5133964"/>
                <a:ext cx="585987" cy="1009821"/>
              </a:xfrm>
              <a:custGeom>
                <a:avLst/>
                <a:gdLst>
                  <a:gd name="T0" fmla="*/ 61 w 63"/>
                  <a:gd name="T1" fmla="*/ 25 h 108"/>
                  <a:gd name="T2" fmla="*/ 61 w 63"/>
                  <a:gd name="T3" fmla="*/ 20 h 108"/>
                  <a:gd name="T4" fmla="*/ 61 w 63"/>
                  <a:gd name="T5" fmla="*/ 16 h 108"/>
                  <a:gd name="T6" fmla="*/ 60 w 63"/>
                  <a:gd name="T7" fmla="*/ 13 h 108"/>
                  <a:gd name="T8" fmla="*/ 60 w 63"/>
                  <a:gd name="T9" fmla="*/ 11 h 108"/>
                  <a:gd name="T10" fmla="*/ 57 w 63"/>
                  <a:gd name="T11" fmla="*/ 7 h 108"/>
                  <a:gd name="T12" fmla="*/ 51 w 63"/>
                  <a:gd name="T13" fmla="*/ 5 h 108"/>
                  <a:gd name="T14" fmla="*/ 44 w 63"/>
                  <a:gd name="T15" fmla="*/ 1 h 108"/>
                  <a:gd name="T16" fmla="*/ 44 w 63"/>
                  <a:gd name="T17" fmla="*/ 5 h 108"/>
                  <a:gd name="T18" fmla="*/ 34 w 63"/>
                  <a:gd name="T19" fmla="*/ 5 h 108"/>
                  <a:gd name="T20" fmla="*/ 34 w 63"/>
                  <a:gd name="T21" fmla="*/ 10 h 108"/>
                  <a:gd name="T22" fmla="*/ 29 w 63"/>
                  <a:gd name="T23" fmla="*/ 10 h 108"/>
                  <a:gd name="T24" fmla="*/ 27 w 63"/>
                  <a:gd name="T25" fmla="*/ 12 h 108"/>
                  <a:gd name="T26" fmla="*/ 25 w 63"/>
                  <a:gd name="T27" fmla="*/ 15 h 108"/>
                  <a:gd name="T28" fmla="*/ 25 w 63"/>
                  <a:gd name="T29" fmla="*/ 18 h 108"/>
                  <a:gd name="T30" fmla="*/ 24 w 63"/>
                  <a:gd name="T31" fmla="*/ 20 h 108"/>
                  <a:gd name="T32" fmla="*/ 20 w 63"/>
                  <a:gd name="T33" fmla="*/ 25 h 108"/>
                  <a:gd name="T34" fmla="*/ 17 w 63"/>
                  <a:gd name="T35" fmla="*/ 27 h 108"/>
                  <a:gd name="T36" fmla="*/ 16 w 63"/>
                  <a:gd name="T37" fmla="*/ 33 h 108"/>
                  <a:gd name="T38" fmla="*/ 13 w 63"/>
                  <a:gd name="T39" fmla="*/ 38 h 108"/>
                  <a:gd name="T40" fmla="*/ 15 w 63"/>
                  <a:gd name="T41" fmla="*/ 42 h 108"/>
                  <a:gd name="T42" fmla="*/ 9 w 63"/>
                  <a:gd name="T43" fmla="*/ 44 h 108"/>
                  <a:gd name="T44" fmla="*/ 5 w 63"/>
                  <a:gd name="T45" fmla="*/ 51 h 108"/>
                  <a:gd name="T46" fmla="*/ 6 w 63"/>
                  <a:gd name="T47" fmla="*/ 57 h 108"/>
                  <a:gd name="T48" fmla="*/ 8 w 63"/>
                  <a:gd name="T49" fmla="*/ 63 h 108"/>
                  <a:gd name="T50" fmla="*/ 7 w 63"/>
                  <a:gd name="T51" fmla="*/ 67 h 108"/>
                  <a:gd name="T52" fmla="*/ 7 w 63"/>
                  <a:gd name="T53" fmla="*/ 74 h 108"/>
                  <a:gd name="T54" fmla="*/ 4 w 63"/>
                  <a:gd name="T55" fmla="*/ 78 h 108"/>
                  <a:gd name="T56" fmla="*/ 3 w 63"/>
                  <a:gd name="T57" fmla="*/ 83 h 108"/>
                  <a:gd name="T58" fmla="*/ 0 w 63"/>
                  <a:gd name="T59" fmla="*/ 82 h 108"/>
                  <a:gd name="T60" fmla="*/ 4 w 63"/>
                  <a:gd name="T61" fmla="*/ 90 h 108"/>
                  <a:gd name="T62" fmla="*/ 7 w 63"/>
                  <a:gd name="T63" fmla="*/ 97 h 108"/>
                  <a:gd name="T64" fmla="*/ 8 w 63"/>
                  <a:gd name="T65" fmla="*/ 102 h 108"/>
                  <a:gd name="T66" fmla="*/ 10 w 63"/>
                  <a:gd name="T67" fmla="*/ 107 h 108"/>
                  <a:gd name="T68" fmla="*/ 14 w 63"/>
                  <a:gd name="T69" fmla="*/ 108 h 108"/>
                  <a:gd name="T70" fmla="*/ 15 w 63"/>
                  <a:gd name="T71" fmla="*/ 105 h 108"/>
                  <a:gd name="T72" fmla="*/ 24 w 63"/>
                  <a:gd name="T73" fmla="*/ 101 h 108"/>
                  <a:gd name="T74" fmla="*/ 27 w 63"/>
                  <a:gd name="T75" fmla="*/ 92 h 108"/>
                  <a:gd name="T76" fmla="*/ 26 w 63"/>
                  <a:gd name="T77" fmla="*/ 87 h 108"/>
                  <a:gd name="T78" fmla="*/ 28 w 63"/>
                  <a:gd name="T79" fmla="*/ 84 h 108"/>
                  <a:gd name="T80" fmla="*/ 32 w 63"/>
                  <a:gd name="T81" fmla="*/ 82 h 108"/>
                  <a:gd name="T82" fmla="*/ 32 w 63"/>
                  <a:gd name="T83" fmla="*/ 81 h 108"/>
                  <a:gd name="T84" fmla="*/ 35 w 63"/>
                  <a:gd name="T85" fmla="*/ 80 h 108"/>
                  <a:gd name="T86" fmla="*/ 34 w 63"/>
                  <a:gd name="T87" fmla="*/ 78 h 108"/>
                  <a:gd name="T88" fmla="*/ 36 w 63"/>
                  <a:gd name="T89" fmla="*/ 77 h 108"/>
                  <a:gd name="T90" fmla="*/ 35 w 63"/>
                  <a:gd name="T91" fmla="*/ 73 h 108"/>
                  <a:gd name="T92" fmla="*/ 29 w 63"/>
                  <a:gd name="T93" fmla="*/ 66 h 108"/>
                  <a:gd name="T94" fmla="*/ 30 w 63"/>
                  <a:gd name="T95" fmla="*/ 60 h 108"/>
                  <a:gd name="T96" fmla="*/ 30 w 63"/>
                  <a:gd name="T97" fmla="*/ 56 h 108"/>
                  <a:gd name="T98" fmla="*/ 33 w 63"/>
                  <a:gd name="T99" fmla="*/ 53 h 108"/>
                  <a:gd name="T100" fmla="*/ 39 w 63"/>
                  <a:gd name="T101" fmla="*/ 48 h 108"/>
                  <a:gd name="T102" fmla="*/ 49 w 63"/>
                  <a:gd name="T103" fmla="*/ 41 h 108"/>
                  <a:gd name="T104" fmla="*/ 50 w 63"/>
                  <a:gd name="T105" fmla="*/ 35 h 108"/>
                  <a:gd name="T106" fmla="*/ 50 w 63"/>
                  <a:gd name="T107" fmla="*/ 32 h 108"/>
                  <a:gd name="T108" fmla="*/ 54 w 63"/>
                  <a:gd name="T109" fmla="*/ 30 h 108"/>
                  <a:gd name="T110" fmla="*/ 58 w 63"/>
                  <a:gd name="T111" fmla="*/ 29 h 108"/>
                  <a:gd name="T112" fmla="*/ 60 w 63"/>
                  <a:gd name="T113" fmla="*/ 28 h 108"/>
                  <a:gd name="T114" fmla="*/ 63 w 63"/>
                  <a:gd name="T115" fmla="*/ 28 h 108"/>
                  <a:gd name="T116" fmla="*/ 61 w 63"/>
                  <a:gd name="T117" fmla="*/ 25 h 108"/>
                  <a:gd name="T118" fmla="*/ 61 w 63"/>
                  <a:gd name="T119" fmla="*/ 2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 h="108">
                    <a:moveTo>
                      <a:pt x="61" y="25"/>
                    </a:moveTo>
                    <a:cubicBezTo>
                      <a:pt x="60" y="24"/>
                      <a:pt x="62" y="22"/>
                      <a:pt x="61" y="20"/>
                    </a:cubicBezTo>
                    <a:cubicBezTo>
                      <a:pt x="60" y="18"/>
                      <a:pt x="61" y="18"/>
                      <a:pt x="61" y="16"/>
                    </a:cubicBezTo>
                    <a:cubicBezTo>
                      <a:pt x="61" y="15"/>
                      <a:pt x="60" y="14"/>
                      <a:pt x="60" y="13"/>
                    </a:cubicBezTo>
                    <a:cubicBezTo>
                      <a:pt x="59" y="12"/>
                      <a:pt x="60" y="12"/>
                      <a:pt x="60" y="11"/>
                    </a:cubicBezTo>
                    <a:cubicBezTo>
                      <a:pt x="59" y="9"/>
                      <a:pt x="59" y="8"/>
                      <a:pt x="57" y="7"/>
                    </a:cubicBezTo>
                    <a:cubicBezTo>
                      <a:pt x="55" y="6"/>
                      <a:pt x="53" y="6"/>
                      <a:pt x="51" y="5"/>
                    </a:cubicBezTo>
                    <a:cubicBezTo>
                      <a:pt x="49" y="3"/>
                      <a:pt x="47" y="0"/>
                      <a:pt x="44" y="1"/>
                    </a:cubicBezTo>
                    <a:cubicBezTo>
                      <a:pt x="43" y="1"/>
                      <a:pt x="44" y="4"/>
                      <a:pt x="44" y="5"/>
                    </a:cubicBezTo>
                    <a:cubicBezTo>
                      <a:pt x="43" y="8"/>
                      <a:pt x="37" y="6"/>
                      <a:pt x="34" y="5"/>
                    </a:cubicBezTo>
                    <a:cubicBezTo>
                      <a:pt x="34" y="7"/>
                      <a:pt x="34" y="8"/>
                      <a:pt x="34" y="10"/>
                    </a:cubicBezTo>
                    <a:cubicBezTo>
                      <a:pt x="33" y="10"/>
                      <a:pt x="31" y="9"/>
                      <a:pt x="29" y="10"/>
                    </a:cubicBezTo>
                    <a:cubicBezTo>
                      <a:pt x="28" y="10"/>
                      <a:pt x="28" y="11"/>
                      <a:pt x="27" y="12"/>
                    </a:cubicBezTo>
                    <a:cubicBezTo>
                      <a:pt x="27" y="13"/>
                      <a:pt x="25" y="14"/>
                      <a:pt x="25" y="15"/>
                    </a:cubicBezTo>
                    <a:cubicBezTo>
                      <a:pt x="24" y="16"/>
                      <a:pt x="26" y="18"/>
                      <a:pt x="25" y="18"/>
                    </a:cubicBezTo>
                    <a:cubicBezTo>
                      <a:pt x="25" y="19"/>
                      <a:pt x="24" y="19"/>
                      <a:pt x="24" y="20"/>
                    </a:cubicBezTo>
                    <a:cubicBezTo>
                      <a:pt x="22" y="21"/>
                      <a:pt x="20" y="23"/>
                      <a:pt x="20" y="25"/>
                    </a:cubicBezTo>
                    <a:cubicBezTo>
                      <a:pt x="20" y="27"/>
                      <a:pt x="18" y="25"/>
                      <a:pt x="17" y="27"/>
                    </a:cubicBezTo>
                    <a:cubicBezTo>
                      <a:pt x="17" y="29"/>
                      <a:pt x="17" y="31"/>
                      <a:pt x="16" y="33"/>
                    </a:cubicBezTo>
                    <a:cubicBezTo>
                      <a:pt x="16" y="35"/>
                      <a:pt x="13" y="36"/>
                      <a:pt x="13" y="38"/>
                    </a:cubicBezTo>
                    <a:cubicBezTo>
                      <a:pt x="13" y="39"/>
                      <a:pt x="16" y="41"/>
                      <a:pt x="15" y="42"/>
                    </a:cubicBezTo>
                    <a:cubicBezTo>
                      <a:pt x="13" y="44"/>
                      <a:pt x="11" y="43"/>
                      <a:pt x="9" y="44"/>
                    </a:cubicBezTo>
                    <a:cubicBezTo>
                      <a:pt x="6" y="45"/>
                      <a:pt x="5" y="48"/>
                      <a:pt x="5" y="51"/>
                    </a:cubicBezTo>
                    <a:cubicBezTo>
                      <a:pt x="6" y="53"/>
                      <a:pt x="6" y="55"/>
                      <a:pt x="6" y="57"/>
                    </a:cubicBezTo>
                    <a:cubicBezTo>
                      <a:pt x="6" y="60"/>
                      <a:pt x="4" y="61"/>
                      <a:pt x="8" y="63"/>
                    </a:cubicBezTo>
                    <a:cubicBezTo>
                      <a:pt x="10" y="65"/>
                      <a:pt x="9" y="66"/>
                      <a:pt x="7" y="67"/>
                    </a:cubicBezTo>
                    <a:cubicBezTo>
                      <a:pt x="6" y="68"/>
                      <a:pt x="8" y="72"/>
                      <a:pt x="7" y="74"/>
                    </a:cubicBezTo>
                    <a:cubicBezTo>
                      <a:pt x="7" y="76"/>
                      <a:pt x="4" y="76"/>
                      <a:pt x="4" y="78"/>
                    </a:cubicBezTo>
                    <a:cubicBezTo>
                      <a:pt x="4" y="79"/>
                      <a:pt x="4" y="83"/>
                      <a:pt x="3" y="83"/>
                    </a:cubicBezTo>
                    <a:cubicBezTo>
                      <a:pt x="3" y="83"/>
                      <a:pt x="1" y="82"/>
                      <a:pt x="0" y="82"/>
                    </a:cubicBezTo>
                    <a:cubicBezTo>
                      <a:pt x="0" y="86"/>
                      <a:pt x="4" y="87"/>
                      <a:pt x="4" y="90"/>
                    </a:cubicBezTo>
                    <a:cubicBezTo>
                      <a:pt x="3" y="91"/>
                      <a:pt x="6" y="96"/>
                      <a:pt x="7" y="97"/>
                    </a:cubicBezTo>
                    <a:cubicBezTo>
                      <a:pt x="9" y="99"/>
                      <a:pt x="8" y="100"/>
                      <a:pt x="8" y="102"/>
                    </a:cubicBezTo>
                    <a:cubicBezTo>
                      <a:pt x="8" y="103"/>
                      <a:pt x="10" y="105"/>
                      <a:pt x="10" y="107"/>
                    </a:cubicBezTo>
                    <a:cubicBezTo>
                      <a:pt x="9" y="108"/>
                      <a:pt x="13" y="107"/>
                      <a:pt x="14" y="108"/>
                    </a:cubicBezTo>
                    <a:cubicBezTo>
                      <a:pt x="16" y="108"/>
                      <a:pt x="15" y="107"/>
                      <a:pt x="15" y="105"/>
                    </a:cubicBezTo>
                    <a:cubicBezTo>
                      <a:pt x="15" y="100"/>
                      <a:pt x="23" y="104"/>
                      <a:pt x="24" y="101"/>
                    </a:cubicBezTo>
                    <a:cubicBezTo>
                      <a:pt x="25" y="98"/>
                      <a:pt x="26" y="95"/>
                      <a:pt x="27" y="92"/>
                    </a:cubicBezTo>
                    <a:cubicBezTo>
                      <a:pt x="27" y="90"/>
                      <a:pt x="27" y="88"/>
                      <a:pt x="26" y="87"/>
                    </a:cubicBezTo>
                    <a:cubicBezTo>
                      <a:pt x="25" y="85"/>
                      <a:pt x="26" y="85"/>
                      <a:pt x="28" y="84"/>
                    </a:cubicBezTo>
                    <a:cubicBezTo>
                      <a:pt x="29" y="84"/>
                      <a:pt x="32" y="83"/>
                      <a:pt x="32" y="82"/>
                    </a:cubicBezTo>
                    <a:cubicBezTo>
                      <a:pt x="32" y="82"/>
                      <a:pt x="32" y="81"/>
                      <a:pt x="32" y="81"/>
                    </a:cubicBezTo>
                    <a:cubicBezTo>
                      <a:pt x="33" y="81"/>
                      <a:pt x="35" y="81"/>
                      <a:pt x="35" y="80"/>
                    </a:cubicBezTo>
                    <a:cubicBezTo>
                      <a:pt x="35" y="79"/>
                      <a:pt x="34" y="79"/>
                      <a:pt x="34" y="78"/>
                    </a:cubicBezTo>
                    <a:cubicBezTo>
                      <a:pt x="35" y="78"/>
                      <a:pt x="36" y="77"/>
                      <a:pt x="36" y="77"/>
                    </a:cubicBezTo>
                    <a:cubicBezTo>
                      <a:pt x="38" y="75"/>
                      <a:pt x="37" y="74"/>
                      <a:pt x="35" y="73"/>
                    </a:cubicBezTo>
                    <a:cubicBezTo>
                      <a:pt x="33" y="71"/>
                      <a:pt x="29" y="70"/>
                      <a:pt x="29" y="66"/>
                    </a:cubicBezTo>
                    <a:cubicBezTo>
                      <a:pt x="29" y="64"/>
                      <a:pt x="29" y="62"/>
                      <a:pt x="30" y="60"/>
                    </a:cubicBezTo>
                    <a:cubicBezTo>
                      <a:pt x="31" y="58"/>
                      <a:pt x="31" y="58"/>
                      <a:pt x="30" y="56"/>
                    </a:cubicBezTo>
                    <a:cubicBezTo>
                      <a:pt x="29" y="56"/>
                      <a:pt x="33" y="53"/>
                      <a:pt x="33" y="53"/>
                    </a:cubicBezTo>
                    <a:cubicBezTo>
                      <a:pt x="35" y="51"/>
                      <a:pt x="36" y="49"/>
                      <a:pt x="39" y="48"/>
                    </a:cubicBezTo>
                    <a:cubicBezTo>
                      <a:pt x="42" y="47"/>
                      <a:pt x="47" y="44"/>
                      <a:pt x="49" y="41"/>
                    </a:cubicBezTo>
                    <a:cubicBezTo>
                      <a:pt x="51" y="38"/>
                      <a:pt x="46" y="36"/>
                      <a:pt x="50" y="35"/>
                    </a:cubicBezTo>
                    <a:cubicBezTo>
                      <a:pt x="52" y="34"/>
                      <a:pt x="51" y="34"/>
                      <a:pt x="50" y="32"/>
                    </a:cubicBezTo>
                    <a:cubicBezTo>
                      <a:pt x="50" y="31"/>
                      <a:pt x="53" y="30"/>
                      <a:pt x="54" y="30"/>
                    </a:cubicBezTo>
                    <a:cubicBezTo>
                      <a:pt x="56" y="28"/>
                      <a:pt x="57" y="27"/>
                      <a:pt x="58" y="29"/>
                    </a:cubicBezTo>
                    <a:cubicBezTo>
                      <a:pt x="59" y="29"/>
                      <a:pt x="60" y="28"/>
                      <a:pt x="60" y="28"/>
                    </a:cubicBezTo>
                    <a:cubicBezTo>
                      <a:pt x="61" y="28"/>
                      <a:pt x="62" y="28"/>
                      <a:pt x="63" y="28"/>
                    </a:cubicBezTo>
                    <a:cubicBezTo>
                      <a:pt x="63" y="27"/>
                      <a:pt x="62" y="27"/>
                      <a:pt x="61" y="25"/>
                    </a:cubicBezTo>
                    <a:cubicBezTo>
                      <a:pt x="60" y="24"/>
                      <a:pt x="61" y="26"/>
                      <a:pt x="61"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1" name="Freeform 718">
                <a:extLst>
                  <a:ext uri="{FF2B5EF4-FFF2-40B4-BE49-F238E27FC236}">
                    <a16:creationId xmlns:a16="http://schemas.microsoft.com/office/drawing/2014/main" id="{49EABED3-E43D-9F48-B9ED-614B60677A4E}"/>
                  </a:ext>
                </a:extLst>
              </p:cNvPr>
              <p:cNvSpPr>
                <a:spLocks/>
              </p:cNvSpPr>
              <p:nvPr/>
            </p:nvSpPr>
            <p:spPr bwMode="auto">
              <a:xfrm>
                <a:off x="12649240" y="5057512"/>
                <a:ext cx="503186" cy="786831"/>
              </a:xfrm>
              <a:custGeom>
                <a:avLst/>
                <a:gdLst>
                  <a:gd name="T0" fmla="*/ 53 w 54"/>
                  <a:gd name="T1" fmla="*/ 59 h 84"/>
                  <a:gd name="T2" fmla="*/ 47 w 54"/>
                  <a:gd name="T3" fmla="*/ 55 h 84"/>
                  <a:gd name="T4" fmla="*/ 49 w 54"/>
                  <a:gd name="T5" fmla="*/ 51 h 84"/>
                  <a:gd name="T6" fmla="*/ 44 w 54"/>
                  <a:gd name="T7" fmla="*/ 44 h 84"/>
                  <a:gd name="T8" fmla="*/ 46 w 54"/>
                  <a:gd name="T9" fmla="*/ 43 h 84"/>
                  <a:gd name="T10" fmla="*/ 44 w 54"/>
                  <a:gd name="T11" fmla="*/ 38 h 84"/>
                  <a:gd name="T12" fmla="*/ 45 w 54"/>
                  <a:gd name="T13" fmla="*/ 36 h 84"/>
                  <a:gd name="T14" fmla="*/ 44 w 54"/>
                  <a:gd name="T15" fmla="*/ 32 h 84"/>
                  <a:gd name="T16" fmla="*/ 42 w 54"/>
                  <a:gd name="T17" fmla="*/ 26 h 84"/>
                  <a:gd name="T18" fmla="*/ 45 w 54"/>
                  <a:gd name="T19" fmla="*/ 23 h 84"/>
                  <a:gd name="T20" fmla="*/ 44 w 54"/>
                  <a:gd name="T21" fmla="*/ 19 h 84"/>
                  <a:gd name="T22" fmla="*/ 38 w 54"/>
                  <a:gd name="T23" fmla="*/ 13 h 84"/>
                  <a:gd name="T24" fmla="*/ 40 w 54"/>
                  <a:gd name="T25" fmla="*/ 12 h 84"/>
                  <a:gd name="T26" fmla="*/ 39 w 54"/>
                  <a:gd name="T27" fmla="*/ 10 h 84"/>
                  <a:gd name="T28" fmla="*/ 41 w 54"/>
                  <a:gd name="T29" fmla="*/ 3 h 84"/>
                  <a:gd name="T30" fmla="*/ 37 w 54"/>
                  <a:gd name="T31" fmla="*/ 1 h 84"/>
                  <a:gd name="T32" fmla="*/ 34 w 54"/>
                  <a:gd name="T33" fmla="*/ 0 h 84"/>
                  <a:gd name="T34" fmla="*/ 29 w 54"/>
                  <a:gd name="T35" fmla="*/ 1 h 84"/>
                  <a:gd name="T36" fmla="*/ 25 w 54"/>
                  <a:gd name="T37" fmla="*/ 5 h 84"/>
                  <a:gd name="T38" fmla="*/ 24 w 54"/>
                  <a:gd name="T39" fmla="*/ 10 h 84"/>
                  <a:gd name="T40" fmla="*/ 21 w 54"/>
                  <a:gd name="T41" fmla="*/ 13 h 84"/>
                  <a:gd name="T42" fmla="*/ 17 w 54"/>
                  <a:gd name="T43" fmla="*/ 11 h 84"/>
                  <a:gd name="T44" fmla="*/ 14 w 54"/>
                  <a:gd name="T45" fmla="*/ 12 h 84"/>
                  <a:gd name="T46" fmla="*/ 7 w 54"/>
                  <a:gd name="T47" fmla="*/ 10 h 84"/>
                  <a:gd name="T48" fmla="*/ 4 w 54"/>
                  <a:gd name="T49" fmla="*/ 7 h 84"/>
                  <a:gd name="T50" fmla="*/ 0 w 54"/>
                  <a:gd name="T51" fmla="*/ 9 h 84"/>
                  <a:gd name="T52" fmla="*/ 8 w 54"/>
                  <a:gd name="T53" fmla="*/ 14 h 84"/>
                  <a:gd name="T54" fmla="*/ 12 w 54"/>
                  <a:gd name="T55" fmla="*/ 16 h 84"/>
                  <a:gd name="T56" fmla="*/ 14 w 54"/>
                  <a:gd name="T57" fmla="*/ 19 h 84"/>
                  <a:gd name="T58" fmla="*/ 14 w 54"/>
                  <a:gd name="T59" fmla="*/ 21 h 84"/>
                  <a:gd name="T60" fmla="*/ 15 w 54"/>
                  <a:gd name="T61" fmla="*/ 24 h 84"/>
                  <a:gd name="T62" fmla="*/ 15 w 54"/>
                  <a:gd name="T63" fmla="*/ 27 h 84"/>
                  <a:gd name="T64" fmla="*/ 16 w 54"/>
                  <a:gd name="T65" fmla="*/ 29 h 84"/>
                  <a:gd name="T66" fmla="*/ 15 w 54"/>
                  <a:gd name="T67" fmla="*/ 33 h 84"/>
                  <a:gd name="T68" fmla="*/ 17 w 54"/>
                  <a:gd name="T69" fmla="*/ 36 h 84"/>
                  <a:gd name="T70" fmla="*/ 21 w 54"/>
                  <a:gd name="T71" fmla="*/ 38 h 84"/>
                  <a:gd name="T72" fmla="*/ 22 w 54"/>
                  <a:gd name="T73" fmla="*/ 41 h 84"/>
                  <a:gd name="T74" fmla="*/ 23 w 54"/>
                  <a:gd name="T75" fmla="*/ 44 h 84"/>
                  <a:gd name="T76" fmla="*/ 20 w 54"/>
                  <a:gd name="T77" fmla="*/ 44 h 84"/>
                  <a:gd name="T78" fmla="*/ 16 w 54"/>
                  <a:gd name="T79" fmla="*/ 49 h 84"/>
                  <a:gd name="T80" fmla="*/ 13 w 54"/>
                  <a:gd name="T81" fmla="*/ 51 h 84"/>
                  <a:gd name="T82" fmla="*/ 10 w 54"/>
                  <a:gd name="T83" fmla="*/ 54 h 84"/>
                  <a:gd name="T84" fmla="*/ 4 w 54"/>
                  <a:gd name="T85" fmla="*/ 57 h 84"/>
                  <a:gd name="T86" fmla="*/ 2 w 54"/>
                  <a:gd name="T87" fmla="*/ 62 h 84"/>
                  <a:gd name="T88" fmla="*/ 4 w 54"/>
                  <a:gd name="T89" fmla="*/ 67 h 84"/>
                  <a:gd name="T90" fmla="*/ 4 w 54"/>
                  <a:gd name="T91" fmla="*/ 73 h 84"/>
                  <a:gd name="T92" fmla="*/ 4 w 54"/>
                  <a:gd name="T93" fmla="*/ 78 h 84"/>
                  <a:gd name="T94" fmla="*/ 7 w 54"/>
                  <a:gd name="T95" fmla="*/ 80 h 84"/>
                  <a:gd name="T96" fmla="*/ 5 w 54"/>
                  <a:gd name="T97" fmla="*/ 81 h 84"/>
                  <a:gd name="T98" fmla="*/ 8 w 54"/>
                  <a:gd name="T99" fmla="*/ 79 h 84"/>
                  <a:gd name="T100" fmla="*/ 8 w 54"/>
                  <a:gd name="T101" fmla="*/ 83 h 84"/>
                  <a:gd name="T102" fmla="*/ 11 w 54"/>
                  <a:gd name="T103" fmla="*/ 80 h 84"/>
                  <a:gd name="T104" fmla="*/ 11 w 54"/>
                  <a:gd name="T105" fmla="*/ 83 h 84"/>
                  <a:gd name="T106" fmla="*/ 23 w 54"/>
                  <a:gd name="T107" fmla="*/ 80 h 84"/>
                  <a:gd name="T108" fmla="*/ 36 w 54"/>
                  <a:gd name="T109" fmla="*/ 78 h 84"/>
                  <a:gd name="T110" fmla="*/ 46 w 54"/>
                  <a:gd name="T111" fmla="*/ 68 h 84"/>
                  <a:gd name="T112" fmla="*/ 53 w 54"/>
                  <a:gd name="T113" fmla="*/ 59 h 84"/>
                  <a:gd name="T114" fmla="*/ 53 w 54"/>
                  <a:gd name="T115" fmla="*/ 5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4" h="84">
                    <a:moveTo>
                      <a:pt x="53" y="59"/>
                    </a:moveTo>
                    <a:cubicBezTo>
                      <a:pt x="52" y="57"/>
                      <a:pt x="49" y="56"/>
                      <a:pt x="47" y="55"/>
                    </a:cubicBezTo>
                    <a:cubicBezTo>
                      <a:pt x="44" y="53"/>
                      <a:pt x="48" y="53"/>
                      <a:pt x="49" y="51"/>
                    </a:cubicBezTo>
                    <a:cubicBezTo>
                      <a:pt x="49" y="51"/>
                      <a:pt x="45" y="45"/>
                      <a:pt x="44" y="44"/>
                    </a:cubicBezTo>
                    <a:cubicBezTo>
                      <a:pt x="44" y="44"/>
                      <a:pt x="46" y="43"/>
                      <a:pt x="46" y="43"/>
                    </a:cubicBezTo>
                    <a:cubicBezTo>
                      <a:pt x="46" y="42"/>
                      <a:pt x="44" y="39"/>
                      <a:pt x="44" y="38"/>
                    </a:cubicBezTo>
                    <a:cubicBezTo>
                      <a:pt x="44" y="37"/>
                      <a:pt x="45" y="37"/>
                      <a:pt x="45" y="36"/>
                    </a:cubicBezTo>
                    <a:cubicBezTo>
                      <a:pt x="46" y="35"/>
                      <a:pt x="44" y="33"/>
                      <a:pt x="44" y="32"/>
                    </a:cubicBezTo>
                    <a:cubicBezTo>
                      <a:pt x="42" y="30"/>
                      <a:pt x="40" y="28"/>
                      <a:pt x="42" y="26"/>
                    </a:cubicBezTo>
                    <a:cubicBezTo>
                      <a:pt x="43" y="25"/>
                      <a:pt x="45" y="24"/>
                      <a:pt x="45" y="23"/>
                    </a:cubicBezTo>
                    <a:cubicBezTo>
                      <a:pt x="46" y="21"/>
                      <a:pt x="44" y="20"/>
                      <a:pt x="44" y="19"/>
                    </a:cubicBezTo>
                    <a:cubicBezTo>
                      <a:pt x="43" y="18"/>
                      <a:pt x="36" y="15"/>
                      <a:pt x="38" y="13"/>
                    </a:cubicBezTo>
                    <a:cubicBezTo>
                      <a:pt x="38" y="13"/>
                      <a:pt x="40" y="12"/>
                      <a:pt x="40" y="12"/>
                    </a:cubicBezTo>
                    <a:cubicBezTo>
                      <a:pt x="40" y="12"/>
                      <a:pt x="37" y="10"/>
                      <a:pt x="39" y="10"/>
                    </a:cubicBezTo>
                    <a:cubicBezTo>
                      <a:pt x="42" y="10"/>
                      <a:pt x="44" y="5"/>
                      <a:pt x="41" y="3"/>
                    </a:cubicBezTo>
                    <a:cubicBezTo>
                      <a:pt x="40" y="2"/>
                      <a:pt x="38" y="2"/>
                      <a:pt x="37" y="1"/>
                    </a:cubicBezTo>
                    <a:cubicBezTo>
                      <a:pt x="36" y="0"/>
                      <a:pt x="35" y="0"/>
                      <a:pt x="34" y="0"/>
                    </a:cubicBezTo>
                    <a:cubicBezTo>
                      <a:pt x="32" y="1"/>
                      <a:pt x="31" y="0"/>
                      <a:pt x="29" y="1"/>
                    </a:cubicBezTo>
                    <a:cubicBezTo>
                      <a:pt x="28" y="2"/>
                      <a:pt x="26" y="4"/>
                      <a:pt x="25" y="5"/>
                    </a:cubicBezTo>
                    <a:cubicBezTo>
                      <a:pt x="25" y="6"/>
                      <a:pt x="25" y="10"/>
                      <a:pt x="24" y="10"/>
                    </a:cubicBezTo>
                    <a:cubicBezTo>
                      <a:pt x="23" y="11"/>
                      <a:pt x="22" y="12"/>
                      <a:pt x="21" y="13"/>
                    </a:cubicBezTo>
                    <a:cubicBezTo>
                      <a:pt x="20" y="13"/>
                      <a:pt x="18" y="11"/>
                      <a:pt x="17" y="11"/>
                    </a:cubicBezTo>
                    <a:cubicBezTo>
                      <a:pt x="16" y="11"/>
                      <a:pt x="15" y="12"/>
                      <a:pt x="14" y="12"/>
                    </a:cubicBezTo>
                    <a:cubicBezTo>
                      <a:pt x="11" y="13"/>
                      <a:pt x="9" y="12"/>
                      <a:pt x="7" y="10"/>
                    </a:cubicBezTo>
                    <a:cubicBezTo>
                      <a:pt x="7" y="9"/>
                      <a:pt x="5" y="7"/>
                      <a:pt x="4" y="7"/>
                    </a:cubicBezTo>
                    <a:cubicBezTo>
                      <a:pt x="3" y="7"/>
                      <a:pt x="1" y="9"/>
                      <a:pt x="0" y="9"/>
                    </a:cubicBezTo>
                    <a:cubicBezTo>
                      <a:pt x="2" y="11"/>
                      <a:pt x="5" y="13"/>
                      <a:pt x="8" y="14"/>
                    </a:cubicBezTo>
                    <a:cubicBezTo>
                      <a:pt x="9" y="14"/>
                      <a:pt x="11" y="15"/>
                      <a:pt x="12" y="16"/>
                    </a:cubicBezTo>
                    <a:cubicBezTo>
                      <a:pt x="13" y="17"/>
                      <a:pt x="13" y="18"/>
                      <a:pt x="14" y="19"/>
                    </a:cubicBezTo>
                    <a:cubicBezTo>
                      <a:pt x="14" y="20"/>
                      <a:pt x="13" y="20"/>
                      <a:pt x="14" y="21"/>
                    </a:cubicBezTo>
                    <a:cubicBezTo>
                      <a:pt x="14" y="22"/>
                      <a:pt x="16" y="23"/>
                      <a:pt x="15" y="24"/>
                    </a:cubicBezTo>
                    <a:cubicBezTo>
                      <a:pt x="15" y="25"/>
                      <a:pt x="14" y="26"/>
                      <a:pt x="15" y="27"/>
                    </a:cubicBezTo>
                    <a:cubicBezTo>
                      <a:pt x="15" y="27"/>
                      <a:pt x="16" y="29"/>
                      <a:pt x="16" y="29"/>
                    </a:cubicBezTo>
                    <a:cubicBezTo>
                      <a:pt x="15" y="30"/>
                      <a:pt x="15" y="32"/>
                      <a:pt x="15" y="33"/>
                    </a:cubicBezTo>
                    <a:cubicBezTo>
                      <a:pt x="15" y="33"/>
                      <a:pt x="17" y="36"/>
                      <a:pt x="17" y="36"/>
                    </a:cubicBezTo>
                    <a:cubicBezTo>
                      <a:pt x="18" y="37"/>
                      <a:pt x="20" y="38"/>
                      <a:pt x="21" y="38"/>
                    </a:cubicBezTo>
                    <a:cubicBezTo>
                      <a:pt x="22" y="39"/>
                      <a:pt x="22" y="40"/>
                      <a:pt x="22" y="41"/>
                    </a:cubicBezTo>
                    <a:cubicBezTo>
                      <a:pt x="22" y="42"/>
                      <a:pt x="23" y="43"/>
                      <a:pt x="23" y="44"/>
                    </a:cubicBezTo>
                    <a:cubicBezTo>
                      <a:pt x="23" y="45"/>
                      <a:pt x="21" y="44"/>
                      <a:pt x="20" y="44"/>
                    </a:cubicBezTo>
                    <a:cubicBezTo>
                      <a:pt x="19" y="44"/>
                      <a:pt x="16" y="48"/>
                      <a:pt x="16" y="49"/>
                    </a:cubicBezTo>
                    <a:cubicBezTo>
                      <a:pt x="15" y="50"/>
                      <a:pt x="14" y="50"/>
                      <a:pt x="13" y="51"/>
                    </a:cubicBezTo>
                    <a:cubicBezTo>
                      <a:pt x="12" y="52"/>
                      <a:pt x="11" y="53"/>
                      <a:pt x="10" y="54"/>
                    </a:cubicBezTo>
                    <a:cubicBezTo>
                      <a:pt x="9" y="54"/>
                      <a:pt x="4" y="58"/>
                      <a:pt x="4" y="57"/>
                    </a:cubicBezTo>
                    <a:cubicBezTo>
                      <a:pt x="4" y="59"/>
                      <a:pt x="2" y="60"/>
                      <a:pt x="2" y="62"/>
                    </a:cubicBezTo>
                    <a:cubicBezTo>
                      <a:pt x="3" y="64"/>
                      <a:pt x="2" y="67"/>
                      <a:pt x="4" y="67"/>
                    </a:cubicBezTo>
                    <a:cubicBezTo>
                      <a:pt x="5" y="67"/>
                      <a:pt x="4" y="72"/>
                      <a:pt x="4" y="73"/>
                    </a:cubicBezTo>
                    <a:cubicBezTo>
                      <a:pt x="4" y="75"/>
                      <a:pt x="2" y="77"/>
                      <a:pt x="4" y="78"/>
                    </a:cubicBezTo>
                    <a:cubicBezTo>
                      <a:pt x="4" y="78"/>
                      <a:pt x="8" y="79"/>
                      <a:pt x="7" y="80"/>
                    </a:cubicBezTo>
                    <a:cubicBezTo>
                      <a:pt x="7" y="80"/>
                      <a:pt x="5" y="81"/>
                      <a:pt x="5" y="81"/>
                    </a:cubicBezTo>
                    <a:cubicBezTo>
                      <a:pt x="7" y="81"/>
                      <a:pt x="7" y="79"/>
                      <a:pt x="8" y="79"/>
                    </a:cubicBezTo>
                    <a:cubicBezTo>
                      <a:pt x="10" y="78"/>
                      <a:pt x="8" y="83"/>
                      <a:pt x="8" y="83"/>
                    </a:cubicBezTo>
                    <a:cubicBezTo>
                      <a:pt x="8" y="83"/>
                      <a:pt x="11" y="80"/>
                      <a:pt x="11" y="80"/>
                    </a:cubicBezTo>
                    <a:cubicBezTo>
                      <a:pt x="12" y="79"/>
                      <a:pt x="11" y="83"/>
                      <a:pt x="11" y="83"/>
                    </a:cubicBezTo>
                    <a:cubicBezTo>
                      <a:pt x="14" y="84"/>
                      <a:pt x="20" y="81"/>
                      <a:pt x="23" y="80"/>
                    </a:cubicBezTo>
                    <a:cubicBezTo>
                      <a:pt x="27" y="79"/>
                      <a:pt x="31" y="79"/>
                      <a:pt x="36" y="78"/>
                    </a:cubicBezTo>
                    <a:cubicBezTo>
                      <a:pt x="39" y="74"/>
                      <a:pt x="43" y="71"/>
                      <a:pt x="46" y="68"/>
                    </a:cubicBezTo>
                    <a:cubicBezTo>
                      <a:pt x="48" y="66"/>
                      <a:pt x="54" y="62"/>
                      <a:pt x="53" y="59"/>
                    </a:cubicBezTo>
                    <a:cubicBezTo>
                      <a:pt x="52" y="57"/>
                      <a:pt x="54" y="62"/>
                      <a:pt x="53" y="5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2" name="Freeform 719">
                <a:extLst>
                  <a:ext uri="{FF2B5EF4-FFF2-40B4-BE49-F238E27FC236}">
                    <a16:creationId xmlns:a16="http://schemas.microsoft.com/office/drawing/2014/main" id="{D7523C75-68A9-B54F-A349-D56A8692C5A6}"/>
                  </a:ext>
                </a:extLst>
              </p:cNvPr>
              <p:cNvSpPr>
                <a:spLocks/>
              </p:cNvSpPr>
              <p:nvPr/>
            </p:nvSpPr>
            <p:spPr bwMode="auto">
              <a:xfrm>
                <a:off x="11929493" y="4965129"/>
                <a:ext cx="1194269" cy="1000263"/>
              </a:xfrm>
              <a:custGeom>
                <a:avLst/>
                <a:gdLst>
                  <a:gd name="T0" fmla="*/ 38 w 128"/>
                  <a:gd name="T1" fmla="*/ 87 h 107"/>
                  <a:gd name="T2" fmla="*/ 38 w 128"/>
                  <a:gd name="T3" fmla="*/ 63 h 107"/>
                  <a:gd name="T4" fmla="*/ 47 w 128"/>
                  <a:gd name="T5" fmla="*/ 52 h 107"/>
                  <a:gd name="T6" fmla="*/ 56 w 128"/>
                  <a:gd name="T7" fmla="*/ 34 h 107"/>
                  <a:gd name="T8" fmla="*/ 72 w 128"/>
                  <a:gd name="T9" fmla="*/ 25 h 107"/>
                  <a:gd name="T10" fmla="*/ 86 w 128"/>
                  <a:gd name="T11" fmla="*/ 22 h 107"/>
                  <a:gd name="T12" fmla="*/ 102 w 128"/>
                  <a:gd name="T13" fmla="*/ 20 h 107"/>
                  <a:gd name="T14" fmla="*/ 112 w 128"/>
                  <a:gd name="T15" fmla="*/ 10 h 107"/>
                  <a:gd name="T16" fmla="*/ 120 w 128"/>
                  <a:gd name="T17" fmla="*/ 13 h 107"/>
                  <a:gd name="T18" fmla="*/ 127 w 128"/>
                  <a:gd name="T19" fmla="*/ 6 h 107"/>
                  <a:gd name="T20" fmla="*/ 114 w 128"/>
                  <a:gd name="T21" fmla="*/ 5 h 107"/>
                  <a:gd name="T22" fmla="*/ 116 w 128"/>
                  <a:gd name="T23" fmla="*/ 2 h 107"/>
                  <a:gd name="T24" fmla="*/ 106 w 128"/>
                  <a:gd name="T25" fmla="*/ 3 h 107"/>
                  <a:gd name="T26" fmla="*/ 100 w 128"/>
                  <a:gd name="T27" fmla="*/ 1 h 107"/>
                  <a:gd name="T28" fmla="*/ 95 w 128"/>
                  <a:gd name="T29" fmla="*/ 3 h 107"/>
                  <a:gd name="T30" fmla="*/ 91 w 128"/>
                  <a:gd name="T31" fmla="*/ 6 h 107"/>
                  <a:gd name="T32" fmla="*/ 90 w 128"/>
                  <a:gd name="T33" fmla="*/ 11 h 107"/>
                  <a:gd name="T34" fmla="*/ 84 w 128"/>
                  <a:gd name="T35" fmla="*/ 10 h 107"/>
                  <a:gd name="T36" fmla="*/ 80 w 128"/>
                  <a:gd name="T37" fmla="*/ 13 h 107"/>
                  <a:gd name="T38" fmla="*/ 76 w 128"/>
                  <a:gd name="T39" fmla="*/ 15 h 107"/>
                  <a:gd name="T40" fmla="*/ 72 w 128"/>
                  <a:gd name="T41" fmla="*/ 16 h 107"/>
                  <a:gd name="T42" fmla="*/ 68 w 128"/>
                  <a:gd name="T43" fmla="*/ 10 h 107"/>
                  <a:gd name="T44" fmla="*/ 67 w 128"/>
                  <a:gd name="T45" fmla="*/ 14 h 107"/>
                  <a:gd name="T46" fmla="*/ 65 w 128"/>
                  <a:gd name="T47" fmla="*/ 14 h 107"/>
                  <a:gd name="T48" fmla="*/ 62 w 128"/>
                  <a:gd name="T49" fmla="*/ 18 h 107"/>
                  <a:gd name="T50" fmla="*/ 61 w 128"/>
                  <a:gd name="T51" fmla="*/ 21 h 107"/>
                  <a:gd name="T52" fmla="*/ 57 w 128"/>
                  <a:gd name="T53" fmla="*/ 20 h 107"/>
                  <a:gd name="T54" fmla="*/ 54 w 128"/>
                  <a:gd name="T55" fmla="*/ 20 h 107"/>
                  <a:gd name="T56" fmla="*/ 51 w 128"/>
                  <a:gd name="T57" fmla="*/ 22 h 107"/>
                  <a:gd name="T58" fmla="*/ 49 w 128"/>
                  <a:gd name="T59" fmla="*/ 23 h 107"/>
                  <a:gd name="T60" fmla="*/ 54 w 128"/>
                  <a:gd name="T61" fmla="*/ 25 h 107"/>
                  <a:gd name="T62" fmla="*/ 56 w 128"/>
                  <a:gd name="T63" fmla="*/ 25 h 107"/>
                  <a:gd name="T64" fmla="*/ 57 w 128"/>
                  <a:gd name="T65" fmla="*/ 28 h 107"/>
                  <a:gd name="T66" fmla="*/ 49 w 128"/>
                  <a:gd name="T67" fmla="*/ 31 h 107"/>
                  <a:gd name="T68" fmla="*/ 53 w 128"/>
                  <a:gd name="T69" fmla="*/ 33 h 107"/>
                  <a:gd name="T70" fmla="*/ 49 w 128"/>
                  <a:gd name="T71" fmla="*/ 35 h 107"/>
                  <a:gd name="T72" fmla="*/ 43 w 128"/>
                  <a:gd name="T73" fmla="*/ 40 h 107"/>
                  <a:gd name="T74" fmla="*/ 42 w 128"/>
                  <a:gd name="T75" fmla="*/ 43 h 107"/>
                  <a:gd name="T76" fmla="*/ 39 w 128"/>
                  <a:gd name="T77" fmla="*/ 45 h 107"/>
                  <a:gd name="T78" fmla="*/ 39 w 128"/>
                  <a:gd name="T79" fmla="*/ 49 h 107"/>
                  <a:gd name="T80" fmla="*/ 39 w 128"/>
                  <a:gd name="T81" fmla="*/ 52 h 107"/>
                  <a:gd name="T82" fmla="*/ 35 w 128"/>
                  <a:gd name="T83" fmla="*/ 56 h 107"/>
                  <a:gd name="T84" fmla="*/ 27 w 128"/>
                  <a:gd name="T85" fmla="*/ 62 h 107"/>
                  <a:gd name="T86" fmla="*/ 31 w 128"/>
                  <a:gd name="T87" fmla="*/ 64 h 107"/>
                  <a:gd name="T88" fmla="*/ 28 w 128"/>
                  <a:gd name="T89" fmla="*/ 66 h 107"/>
                  <a:gd name="T90" fmla="*/ 19 w 128"/>
                  <a:gd name="T91" fmla="*/ 68 h 107"/>
                  <a:gd name="T92" fmla="*/ 16 w 128"/>
                  <a:gd name="T93" fmla="*/ 72 h 107"/>
                  <a:gd name="T94" fmla="*/ 10 w 128"/>
                  <a:gd name="T95" fmla="*/ 73 h 107"/>
                  <a:gd name="T96" fmla="*/ 10 w 128"/>
                  <a:gd name="T97" fmla="*/ 74 h 107"/>
                  <a:gd name="T98" fmla="*/ 5 w 128"/>
                  <a:gd name="T99" fmla="*/ 75 h 107"/>
                  <a:gd name="T100" fmla="*/ 4 w 128"/>
                  <a:gd name="T101" fmla="*/ 81 h 107"/>
                  <a:gd name="T102" fmla="*/ 1 w 128"/>
                  <a:gd name="T103" fmla="*/ 86 h 107"/>
                  <a:gd name="T104" fmla="*/ 6 w 128"/>
                  <a:gd name="T105" fmla="*/ 92 h 107"/>
                  <a:gd name="T106" fmla="*/ 7 w 128"/>
                  <a:gd name="T107" fmla="*/ 94 h 107"/>
                  <a:gd name="T108" fmla="*/ 3 w 128"/>
                  <a:gd name="T109" fmla="*/ 93 h 107"/>
                  <a:gd name="T110" fmla="*/ 5 w 128"/>
                  <a:gd name="T111" fmla="*/ 97 h 107"/>
                  <a:gd name="T112" fmla="*/ 5 w 128"/>
                  <a:gd name="T113" fmla="*/ 103 h 107"/>
                  <a:gd name="T114" fmla="*/ 27 w 128"/>
                  <a:gd name="T115" fmla="*/ 99 h 107"/>
                  <a:gd name="T116" fmla="*/ 34 w 128"/>
                  <a:gd name="T117" fmla="*/ 10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7">
                    <a:moveTo>
                      <a:pt x="34" y="101"/>
                    </a:moveTo>
                    <a:cubicBezTo>
                      <a:pt x="34" y="101"/>
                      <a:pt x="35" y="98"/>
                      <a:pt x="35" y="97"/>
                    </a:cubicBezTo>
                    <a:cubicBezTo>
                      <a:pt x="35" y="95"/>
                      <a:pt x="36" y="94"/>
                      <a:pt x="38" y="93"/>
                    </a:cubicBezTo>
                    <a:cubicBezTo>
                      <a:pt x="40" y="91"/>
                      <a:pt x="38" y="88"/>
                      <a:pt x="38" y="87"/>
                    </a:cubicBezTo>
                    <a:cubicBezTo>
                      <a:pt x="38" y="84"/>
                      <a:pt x="42" y="84"/>
                      <a:pt x="39" y="82"/>
                    </a:cubicBezTo>
                    <a:cubicBezTo>
                      <a:pt x="37" y="80"/>
                      <a:pt x="36" y="80"/>
                      <a:pt x="37" y="77"/>
                    </a:cubicBezTo>
                    <a:cubicBezTo>
                      <a:pt x="38" y="75"/>
                      <a:pt x="37" y="73"/>
                      <a:pt x="37" y="71"/>
                    </a:cubicBezTo>
                    <a:cubicBezTo>
                      <a:pt x="36" y="68"/>
                      <a:pt x="35" y="65"/>
                      <a:pt x="38" y="63"/>
                    </a:cubicBezTo>
                    <a:cubicBezTo>
                      <a:pt x="39" y="62"/>
                      <a:pt x="41" y="62"/>
                      <a:pt x="42" y="61"/>
                    </a:cubicBezTo>
                    <a:cubicBezTo>
                      <a:pt x="43" y="61"/>
                      <a:pt x="44" y="62"/>
                      <a:pt x="45" y="61"/>
                    </a:cubicBezTo>
                    <a:cubicBezTo>
                      <a:pt x="46" y="59"/>
                      <a:pt x="45" y="58"/>
                      <a:pt x="44" y="57"/>
                    </a:cubicBezTo>
                    <a:cubicBezTo>
                      <a:pt x="44" y="55"/>
                      <a:pt x="46" y="54"/>
                      <a:pt x="47" y="52"/>
                    </a:cubicBezTo>
                    <a:cubicBezTo>
                      <a:pt x="47" y="51"/>
                      <a:pt x="48" y="48"/>
                      <a:pt x="48" y="46"/>
                    </a:cubicBezTo>
                    <a:cubicBezTo>
                      <a:pt x="48" y="44"/>
                      <a:pt x="52" y="44"/>
                      <a:pt x="51" y="43"/>
                    </a:cubicBezTo>
                    <a:cubicBezTo>
                      <a:pt x="51" y="41"/>
                      <a:pt x="53" y="40"/>
                      <a:pt x="54" y="38"/>
                    </a:cubicBezTo>
                    <a:cubicBezTo>
                      <a:pt x="56" y="36"/>
                      <a:pt x="56" y="37"/>
                      <a:pt x="56" y="34"/>
                    </a:cubicBezTo>
                    <a:cubicBezTo>
                      <a:pt x="55" y="33"/>
                      <a:pt x="59" y="28"/>
                      <a:pt x="60" y="28"/>
                    </a:cubicBezTo>
                    <a:cubicBezTo>
                      <a:pt x="61" y="27"/>
                      <a:pt x="64" y="28"/>
                      <a:pt x="65" y="28"/>
                    </a:cubicBezTo>
                    <a:cubicBezTo>
                      <a:pt x="65" y="26"/>
                      <a:pt x="65" y="25"/>
                      <a:pt x="65" y="23"/>
                    </a:cubicBezTo>
                    <a:cubicBezTo>
                      <a:pt x="68" y="24"/>
                      <a:pt x="70" y="24"/>
                      <a:pt x="72" y="25"/>
                    </a:cubicBezTo>
                    <a:cubicBezTo>
                      <a:pt x="76" y="25"/>
                      <a:pt x="74" y="21"/>
                      <a:pt x="75" y="19"/>
                    </a:cubicBezTo>
                    <a:cubicBezTo>
                      <a:pt x="75" y="19"/>
                      <a:pt x="77" y="19"/>
                      <a:pt x="78" y="19"/>
                    </a:cubicBezTo>
                    <a:cubicBezTo>
                      <a:pt x="79" y="18"/>
                      <a:pt x="81" y="16"/>
                      <a:pt x="82" y="18"/>
                    </a:cubicBezTo>
                    <a:cubicBezTo>
                      <a:pt x="84" y="19"/>
                      <a:pt x="84" y="21"/>
                      <a:pt x="86" y="22"/>
                    </a:cubicBezTo>
                    <a:cubicBezTo>
                      <a:pt x="87" y="22"/>
                      <a:pt x="89" y="22"/>
                      <a:pt x="90" y="22"/>
                    </a:cubicBezTo>
                    <a:cubicBezTo>
                      <a:pt x="91" y="22"/>
                      <a:pt x="92" y="21"/>
                      <a:pt x="94" y="21"/>
                    </a:cubicBezTo>
                    <a:cubicBezTo>
                      <a:pt x="95" y="21"/>
                      <a:pt x="96" y="23"/>
                      <a:pt x="98" y="23"/>
                    </a:cubicBezTo>
                    <a:cubicBezTo>
                      <a:pt x="98" y="22"/>
                      <a:pt x="102" y="20"/>
                      <a:pt x="102" y="20"/>
                    </a:cubicBezTo>
                    <a:cubicBezTo>
                      <a:pt x="102" y="17"/>
                      <a:pt x="102" y="16"/>
                      <a:pt x="103" y="14"/>
                    </a:cubicBezTo>
                    <a:cubicBezTo>
                      <a:pt x="104" y="13"/>
                      <a:pt x="106" y="11"/>
                      <a:pt x="107" y="11"/>
                    </a:cubicBezTo>
                    <a:cubicBezTo>
                      <a:pt x="108" y="11"/>
                      <a:pt x="109" y="11"/>
                      <a:pt x="110" y="11"/>
                    </a:cubicBezTo>
                    <a:cubicBezTo>
                      <a:pt x="111" y="11"/>
                      <a:pt x="111" y="10"/>
                      <a:pt x="112" y="10"/>
                    </a:cubicBezTo>
                    <a:cubicBezTo>
                      <a:pt x="113" y="10"/>
                      <a:pt x="115" y="12"/>
                      <a:pt x="116" y="12"/>
                    </a:cubicBezTo>
                    <a:cubicBezTo>
                      <a:pt x="118" y="13"/>
                      <a:pt x="119" y="14"/>
                      <a:pt x="119" y="17"/>
                    </a:cubicBezTo>
                    <a:cubicBezTo>
                      <a:pt x="121" y="17"/>
                      <a:pt x="126" y="14"/>
                      <a:pt x="124" y="12"/>
                    </a:cubicBezTo>
                    <a:cubicBezTo>
                      <a:pt x="126" y="13"/>
                      <a:pt x="121" y="13"/>
                      <a:pt x="120" y="13"/>
                    </a:cubicBezTo>
                    <a:cubicBezTo>
                      <a:pt x="125" y="12"/>
                      <a:pt x="118" y="9"/>
                      <a:pt x="117" y="10"/>
                    </a:cubicBezTo>
                    <a:cubicBezTo>
                      <a:pt x="118" y="9"/>
                      <a:pt x="119" y="10"/>
                      <a:pt x="119" y="10"/>
                    </a:cubicBezTo>
                    <a:cubicBezTo>
                      <a:pt x="121" y="10"/>
                      <a:pt x="123" y="10"/>
                      <a:pt x="124" y="9"/>
                    </a:cubicBezTo>
                    <a:cubicBezTo>
                      <a:pt x="125" y="9"/>
                      <a:pt x="128" y="7"/>
                      <a:pt x="127" y="6"/>
                    </a:cubicBezTo>
                    <a:cubicBezTo>
                      <a:pt x="125" y="5"/>
                      <a:pt x="122" y="4"/>
                      <a:pt x="119" y="3"/>
                    </a:cubicBezTo>
                    <a:cubicBezTo>
                      <a:pt x="118" y="2"/>
                      <a:pt x="117" y="4"/>
                      <a:pt x="116" y="5"/>
                    </a:cubicBezTo>
                    <a:cubicBezTo>
                      <a:pt x="116" y="5"/>
                      <a:pt x="114" y="8"/>
                      <a:pt x="114" y="7"/>
                    </a:cubicBezTo>
                    <a:cubicBezTo>
                      <a:pt x="114" y="7"/>
                      <a:pt x="114" y="6"/>
                      <a:pt x="114" y="5"/>
                    </a:cubicBezTo>
                    <a:cubicBezTo>
                      <a:pt x="114" y="5"/>
                      <a:pt x="112" y="5"/>
                      <a:pt x="112" y="5"/>
                    </a:cubicBezTo>
                    <a:cubicBezTo>
                      <a:pt x="113" y="4"/>
                      <a:pt x="115" y="5"/>
                      <a:pt x="115" y="4"/>
                    </a:cubicBezTo>
                    <a:cubicBezTo>
                      <a:pt x="115" y="4"/>
                      <a:pt x="112" y="4"/>
                      <a:pt x="112" y="4"/>
                    </a:cubicBezTo>
                    <a:cubicBezTo>
                      <a:pt x="112" y="3"/>
                      <a:pt x="116" y="3"/>
                      <a:pt x="116" y="2"/>
                    </a:cubicBezTo>
                    <a:cubicBezTo>
                      <a:pt x="115" y="1"/>
                      <a:pt x="109" y="0"/>
                      <a:pt x="110" y="2"/>
                    </a:cubicBezTo>
                    <a:cubicBezTo>
                      <a:pt x="111" y="3"/>
                      <a:pt x="111" y="3"/>
                      <a:pt x="110" y="4"/>
                    </a:cubicBezTo>
                    <a:cubicBezTo>
                      <a:pt x="109" y="5"/>
                      <a:pt x="107" y="7"/>
                      <a:pt x="106" y="7"/>
                    </a:cubicBezTo>
                    <a:cubicBezTo>
                      <a:pt x="105" y="7"/>
                      <a:pt x="106" y="3"/>
                      <a:pt x="106" y="3"/>
                    </a:cubicBezTo>
                    <a:cubicBezTo>
                      <a:pt x="106" y="2"/>
                      <a:pt x="101" y="9"/>
                      <a:pt x="100" y="9"/>
                    </a:cubicBezTo>
                    <a:cubicBezTo>
                      <a:pt x="97" y="9"/>
                      <a:pt x="100" y="5"/>
                      <a:pt x="101" y="4"/>
                    </a:cubicBezTo>
                    <a:cubicBezTo>
                      <a:pt x="102" y="4"/>
                      <a:pt x="103" y="2"/>
                      <a:pt x="103" y="2"/>
                    </a:cubicBezTo>
                    <a:cubicBezTo>
                      <a:pt x="102" y="1"/>
                      <a:pt x="100" y="0"/>
                      <a:pt x="100" y="1"/>
                    </a:cubicBezTo>
                    <a:cubicBezTo>
                      <a:pt x="100" y="1"/>
                      <a:pt x="101" y="2"/>
                      <a:pt x="101" y="2"/>
                    </a:cubicBezTo>
                    <a:cubicBezTo>
                      <a:pt x="101" y="2"/>
                      <a:pt x="99" y="2"/>
                      <a:pt x="98" y="2"/>
                    </a:cubicBezTo>
                    <a:cubicBezTo>
                      <a:pt x="97" y="3"/>
                      <a:pt x="98" y="2"/>
                      <a:pt x="97" y="1"/>
                    </a:cubicBezTo>
                    <a:cubicBezTo>
                      <a:pt x="97" y="1"/>
                      <a:pt x="95" y="3"/>
                      <a:pt x="95" y="3"/>
                    </a:cubicBezTo>
                    <a:cubicBezTo>
                      <a:pt x="95" y="4"/>
                      <a:pt x="97" y="5"/>
                      <a:pt x="96" y="5"/>
                    </a:cubicBezTo>
                    <a:cubicBezTo>
                      <a:pt x="95" y="5"/>
                      <a:pt x="95" y="5"/>
                      <a:pt x="95" y="5"/>
                    </a:cubicBezTo>
                    <a:cubicBezTo>
                      <a:pt x="94" y="5"/>
                      <a:pt x="94" y="6"/>
                      <a:pt x="94" y="7"/>
                    </a:cubicBezTo>
                    <a:cubicBezTo>
                      <a:pt x="95" y="5"/>
                      <a:pt x="91" y="6"/>
                      <a:pt x="91" y="6"/>
                    </a:cubicBezTo>
                    <a:cubicBezTo>
                      <a:pt x="91" y="6"/>
                      <a:pt x="93" y="5"/>
                      <a:pt x="93" y="4"/>
                    </a:cubicBezTo>
                    <a:cubicBezTo>
                      <a:pt x="93" y="5"/>
                      <a:pt x="89" y="6"/>
                      <a:pt x="88" y="6"/>
                    </a:cubicBezTo>
                    <a:cubicBezTo>
                      <a:pt x="87" y="6"/>
                      <a:pt x="91" y="9"/>
                      <a:pt x="91" y="9"/>
                    </a:cubicBezTo>
                    <a:cubicBezTo>
                      <a:pt x="91" y="9"/>
                      <a:pt x="90" y="11"/>
                      <a:pt x="90" y="11"/>
                    </a:cubicBezTo>
                    <a:cubicBezTo>
                      <a:pt x="90" y="11"/>
                      <a:pt x="87" y="8"/>
                      <a:pt x="87" y="8"/>
                    </a:cubicBezTo>
                    <a:cubicBezTo>
                      <a:pt x="87" y="8"/>
                      <a:pt x="85" y="11"/>
                      <a:pt x="85" y="8"/>
                    </a:cubicBezTo>
                    <a:cubicBezTo>
                      <a:pt x="84" y="7"/>
                      <a:pt x="81" y="9"/>
                      <a:pt x="80" y="8"/>
                    </a:cubicBezTo>
                    <a:cubicBezTo>
                      <a:pt x="81" y="9"/>
                      <a:pt x="84" y="9"/>
                      <a:pt x="84" y="10"/>
                    </a:cubicBezTo>
                    <a:cubicBezTo>
                      <a:pt x="84" y="10"/>
                      <a:pt x="83" y="10"/>
                      <a:pt x="83" y="11"/>
                    </a:cubicBezTo>
                    <a:cubicBezTo>
                      <a:pt x="83" y="12"/>
                      <a:pt x="84" y="12"/>
                      <a:pt x="84" y="13"/>
                    </a:cubicBezTo>
                    <a:cubicBezTo>
                      <a:pt x="84" y="13"/>
                      <a:pt x="81" y="12"/>
                      <a:pt x="81" y="11"/>
                    </a:cubicBezTo>
                    <a:cubicBezTo>
                      <a:pt x="80" y="11"/>
                      <a:pt x="80" y="12"/>
                      <a:pt x="80" y="13"/>
                    </a:cubicBezTo>
                    <a:cubicBezTo>
                      <a:pt x="79" y="13"/>
                      <a:pt x="79" y="12"/>
                      <a:pt x="79" y="11"/>
                    </a:cubicBezTo>
                    <a:cubicBezTo>
                      <a:pt x="79" y="11"/>
                      <a:pt x="77" y="13"/>
                      <a:pt x="77" y="13"/>
                    </a:cubicBezTo>
                    <a:cubicBezTo>
                      <a:pt x="76" y="14"/>
                      <a:pt x="78" y="14"/>
                      <a:pt x="78" y="15"/>
                    </a:cubicBezTo>
                    <a:cubicBezTo>
                      <a:pt x="78" y="15"/>
                      <a:pt x="76" y="15"/>
                      <a:pt x="76" y="15"/>
                    </a:cubicBezTo>
                    <a:cubicBezTo>
                      <a:pt x="75" y="14"/>
                      <a:pt x="76" y="13"/>
                      <a:pt x="76" y="12"/>
                    </a:cubicBezTo>
                    <a:cubicBezTo>
                      <a:pt x="76" y="12"/>
                      <a:pt x="73" y="14"/>
                      <a:pt x="73" y="14"/>
                    </a:cubicBezTo>
                    <a:cubicBezTo>
                      <a:pt x="73" y="14"/>
                      <a:pt x="73" y="14"/>
                      <a:pt x="74" y="14"/>
                    </a:cubicBezTo>
                    <a:cubicBezTo>
                      <a:pt x="73" y="14"/>
                      <a:pt x="72" y="16"/>
                      <a:pt x="72" y="16"/>
                    </a:cubicBezTo>
                    <a:cubicBezTo>
                      <a:pt x="71" y="15"/>
                      <a:pt x="73" y="14"/>
                      <a:pt x="72" y="14"/>
                    </a:cubicBezTo>
                    <a:cubicBezTo>
                      <a:pt x="71" y="13"/>
                      <a:pt x="70" y="13"/>
                      <a:pt x="70" y="12"/>
                    </a:cubicBezTo>
                    <a:cubicBezTo>
                      <a:pt x="70" y="12"/>
                      <a:pt x="72" y="12"/>
                      <a:pt x="72" y="12"/>
                    </a:cubicBezTo>
                    <a:cubicBezTo>
                      <a:pt x="72" y="11"/>
                      <a:pt x="69" y="10"/>
                      <a:pt x="68" y="10"/>
                    </a:cubicBezTo>
                    <a:cubicBezTo>
                      <a:pt x="68" y="11"/>
                      <a:pt x="69" y="13"/>
                      <a:pt x="69" y="13"/>
                    </a:cubicBezTo>
                    <a:cubicBezTo>
                      <a:pt x="69" y="13"/>
                      <a:pt x="65" y="14"/>
                      <a:pt x="66" y="14"/>
                    </a:cubicBezTo>
                    <a:cubicBezTo>
                      <a:pt x="66" y="14"/>
                      <a:pt x="68" y="14"/>
                      <a:pt x="68" y="14"/>
                    </a:cubicBezTo>
                    <a:cubicBezTo>
                      <a:pt x="68" y="14"/>
                      <a:pt x="67" y="14"/>
                      <a:pt x="67" y="14"/>
                    </a:cubicBezTo>
                    <a:cubicBezTo>
                      <a:pt x="68" y="16"/>
                      <a:pt x="70" y="14"/>
                      <a:pt x="69" y="14"/>
                    </a:cubicBezTo>
                    <a:cubicBezTo>
                      <a:pt x="70" y="15"/>
                      <a:pt x="69" y="16"/>
                      <a:pt x="69" y="16"/>
                    </a:cubicBezTo>
                    <a:cubicBezTo>
                      <a:pt x="69" y="17"/>
                      <a:pt x="67" y="15"/>
                      <a:pt x="67" y="15"/>
                    </a:cubicBezTo>
                    <a:cubicBezTo>
                      <a:pt x="66" y="15"/>
                      <a:pt x="66" y="14"/>
                      <a:pt x="65" y="14"/>
                    </a:cubicBezTo>
                    <a:cubicBezTo>
                      <a:pt x="65" y="14"/>
                      <a:pt x="64" y="16"/>
                      <a:pt x="63" y="15"/>
                    </a:cubicBezTo>
                    <a:cubicBezTo>
                      <a:pt x="63" y="14"/>
                      <a:pt x="60" y="16"/>
                      <a:pt x="60" y="16"/>
                    </a:cubicBezTo>
                    <a:cubicBezTo>
                      <a:pt x="60" y="16"/>
                      <a:pt x="60" y="19"/>
                      <a:pt x="60" y="19"/>
                    </a:cubicBezTo>
                    <a:cubicBezTo>
                      <a:pt x="60" y="20"/>
                      <a:pt x="61" y="17"/>
                      <a:pt x="62" y="18"/>
                    </a:cubicBezTo>
                    <a:cubicBezTo>
                      <a:pt x="62" y="18"/>
                      <a:pt x="64" y="19"/>
                      <a:pt x="64" y="18"/>
                    </a:cubicBezTo>
                    <a:cubicBezTo>
                      <a:pt x="64" y="19"/>
                      <a:pt x="63" y="19"/>
                      <a:pt x="63" y="20"/>
                    </a:cubicBezTo>
                    <a:cubicBezTo>
                      <a:pt x="62" y="20"/>
                      <a:pt x="63" y="22"/>
                      <a:pt x="62" y="22"/>
                    </a:cubicBezTo>
                    <a:cubicBezTo>
                      <a:pt x="62" y="23"/>
                      <a:pt x="61" y="21"/>
                      <a:pt x="61" y="21"/>
                    </a:cubicBezTo>
                    <a:cubicBezTo>
                      <a:pt x="60" y="21"/>
                      <a:pt x="60" y="23"/>
                      <a:pt x="59" y="23"/>
                    </a:cubicBezTo>
                    <a:cubicBezTo>
                      <a:pt x="59" y="23"/>
                      <a:pt x="59" y="21"/>
                      <a:pt x="59" y="21"/>
                    </a:cubicBezTo>
                    <a:cubicBezTo>
                      <a:pt x="58" y="21"/>
                      <a:pt x="58" y="22"/>
                      <a:pt x="57" y="22"/>
                    </a:cubicBezTo>
                    <a:cubicBezTo>
                      <a:pt x="57" y="22"/>
                      <a:pt x="57" y="20"/>
                      <a:pt x="57" y="20"/>
                    </a:cubicBezTo>
                    <a:cubicBezTo>
                      <a:pt x="57" y="19"/>
                      <a:pt x="56" y="22"/>
                      <a:pt x="55" y="22"/>
                    </a:cubicBezTo>
                    <a:cubicBezTo>
                      <a:pt x="53" y="23"/>
                      <a:pt x="56" y="17"/>
                      <a:pt x="56" y="17"/>
                    </a:cubicBezTo>
                    <a:cubicBezTo>
                      <a:pt x="55" y="17"/>
                      <a:pt x="53" y="18"/>
                      <a:pt x="53" y="18"/>
                    </a:cubicBezTo>
                    <a:cubicBezTo>
                      <a:pt x="52" y="19"/>
                      <a:pt x="54" y="20"/>
                      <a:pt x="54" y="20"/>
                    </a:cubicBezTo>
                    <a:cubicBezTo>
                      <a:pt x="53" y="20"/>
                      <a:pt x="53" y="20"/>
                      <a:pt x="52" y="20"/>
                    </a:cubicBezTo>
                    <a:cubicBezTo>
                      <a:pt x="52" y="20"/>
                      <a:pt x="52" y="21"/>
                      <a:pt x="51" y="22"/>
                    </a:cubicBezTo>
                    <a:cubicBezTo>
                      <a:pt x="52" y="21"/>
                      <a:pt x="47" y="21"/>
                      <a:pt x="49" y="22"/>
                    </a:cubicBezTo>
                    <a:cubicBezTo>
                      <a:pt x="49" y="23"/>
                      <a:pt x="51" y="22"/>
                      <a:pt x="51" y="22"/>
                    </a:cubicBezTo>
                    <a:cubicBezTo>
                      <a:pt x="51" y="22"/>
                      <a:pt x="50" y="23"/>
                      <a:pt x="51" y="23"/>
                    </a:cubicBezTo>
                    <a:cubicBezTo>
                      <a:pt x="51" y="23"/>
                      <a:pt x="52" y="23"/>
                      <a:pt x="52" y="22"/>
                    </a:cubicBezTo>
                    <a:cubicBezTo>
                      <a:pt x="52" y="22"/>
                      <a:pt x="52" y="24"/>
                      <a:pt x="51" y="24"/>
                    </a:cubicBezTo>
                    <a:cubicBezTo>
                      <a:pt x="50" y="24"/>
                      <a:pt x="50" y="23"/>
                      <a:pt x="49" y="23"/>
                    </a:cubicBezTo>
                    <a:cubicBezTo>
                      <a:pt x="48" y="24"/>
                      <a:pt x="48" y="26"/>
                      <a:pt x="47" y="26"/>
                    </a:cubicBezTo>
                    <a:cubicBezTo>
                      <a:pt x="47" y="26"/>
                      <a:pt x="44" y="26"/>
                      <a:pt x="44" y="26"/>
                    </a:cubicBezTo>
                    <a:cubicBezTo>
                      <a:pt x="44" y="29"/>
                      <a:pt x="51" y="25"/>
                      <a:pt x="51" y="25"/>
                    </a:cubicBezTo>
                    <a:cubicBezTo>
                      <a:pt x="52" y="25"/>
                      <a:pt x="53" y="24"/>
                      <a:pt x="54" y="25"/>
                    </a:cubicBezTo>
                    <a:cubicBezTo>
                      <a:pt x="56" y="25"/>
                      <a:pt x="55" y="23"/>
                      <a:pt x="54" y="23"/>
                    </a:cubicBezTo>
                    <a:cubicBezTo>
                      <a:pt x="55" y="23"/>
                      <a:pt x="55" y="23"/>
                      <a:pt x="55" y="23"/>
                    </a:cubicBezTo>
                    <a:cubicBezTo>
                      <a:pt x="56" y="25"/>
                      <a:pt x="57" y="23"/>
                      <a:pt x="58" y="23"/>
                    </a:cubicBezTo>
                    <a:cubicBezTo>
                      <a:pt x="57" y="23"/>
                      <a:pt x="57" y="25"/>
                      <a:pt x="56" y="25"/>
                    </a:cubicBezTo>
                    <a:cubicBezTo>
                      <a:pt x="57" y="25"/>
                      <a:pt x="58" y="25"/>
                      <a:pt x="58" y="25"/>
                    </a:cubicBezTo>
                    <a:cubicBezTo>
                      <a:pt x="58" y="25"/>
                      <a:pt x="56" y="26"/>
                      <a:pt x="56" y="27"/>
                    </a:cubicBezTo>
                    <a:cubicBezTo>
                      <a:pt x="56" y="27"/>
                      <a:pt x="61" y="25"/>
                      <a:pt x="61" y="26"/>
                    </a:cubicBezTo>
                    <a:cubicBezTo>
                      <a:pt x="60" y="27"/>
                      <a:pt x="57" y="26"/>
                      <a:pt x="57" y="28"/>
                    </a:cubicBezTo>
                    <a:cubicBezTo>
                      <a:pt x="56" y="31"/>
                      <a:pt x="54" y="27"/>
                      <a:pt x="54" y="27"/>
                    </a:cubicBezTo>
                    <a:cubicBezTo>
                      <a:pt x="54" y="26"/>
                      <a:pt x="54" y="29"/>
                      <a:pt x="54" y="29"/>
                    </a:cubicBezTo>
                    <a:cubicBezTo>
                      <a:pt x="54" y="29"/>
                      <a:pt x="53" y="27"/>
                      <a:pt x="52" y="27"/>
                    </a:cubicBezTo>
                    <a:cubicBezTo>
                      <a:pt x="51" y="28"/>
                      <a:pt x="49" y="30"/>
                      <a:pt x="49" y="31"/>
                    </a:cubicBezTo>
                    <a:cubicBezTo>
                      <a:pt x="49" y="31"/>
                      <a:pt x="51" y="30"/>
                      <a:pt x="51" y="30"/>
                    </a:cubicBezTo>
                    <a:cubicBezTo>
                      <a:pt x="51" y="31"/>
                      <a:pt x="53" y="30"/>
                      <a:pt x="53" y="31"/>
                    </a:cubicBezTo>
                    <a:cubicBezTo>
                      <a:pt x="53" y="30"/>
                      <a:pt x="50" y="31"/>
                      <a:pt x="50" y="32"/>
                    </a:cubicBezTo>
                    <a:cubicBezTo>
                      <a:pt x="51" y="33"/>
                      <a:pt x="54" y="31"/>
                      <a:pt x="53" y="33"/>
                    </a:cubicBezTo>
                    <a:cubicBezTo>
                      <a:pt x="54" y="31"/>
                      <a:pt x="47" y="34"/>
                      <a:pt x="47" y="34"/>
                    </a:cubicBezTo>
                    <a:cubicBezTo>
                      <a:pt x="47" y="33"/>
                      <a:pt x="53" y="35"/>
                      <a:pt x="52" y="35"/>
                    </a:cubicBezTo>
                    <a:cubicBezTo>
                      <a:pt x="51" y="36"/>
                      <a:pt x="50" y="34"/>
                      <a:pt x="49" y="35"/>
                    </a:cubicBezTo>
                    <a:cubicBezTo>
                      <a:pt x="49" y="35"/>
                      <a:pt x="49" y="35"/>
                      <a:pt x="49" y="35"/>
                    </a:cubicBezTo>
                    <a:cubicBezTo>
                      <a:pt x="49" y="36"/>
                      <a:pt x="46" y="34"/>
                      <a:pt x="45" y="36"/>
                    </a:cubicBezTo>
                    <a:cubicBezTo>
                      <a:pt x="45" y="36"/>
                      <a:pt x="48" y="36"/>
                      <a:pt x="48" y="36"/>
                    </a:cubicBezTo>
                    <a:cubicBezTo>
                      <a:pt x="46" y="38"/>
                      <a:pt x="44" y="36"/>
                      <a:pt x="45" y="39"/>
                    </a:cubicBezTo>
                    <a:cubicBezTo>
                      <a:pt x="45" y="39"/>
                      <a:pt x="43" y="40"/>
                      <a:pt x="43" y="40"/>
                    </a:cubicBezTo>
                    <a:cubicBezTo>
                      <a:pt x="42" y="41"/>
                      <a:pt x="42" y="41"/>
                      <a:pt x="42" y="41"/>
                    </a:cubicBezTo>
                    <a:cubicBezTo>
                      <a:pt x="42" y="42"/>
                      <a:pt x="41" y="42"/>
                      <a:pt x="41" y="42"/>
                    </a:cubicBezTo>
                    <a:cubicBezTo>
                      <a:pt x="41" y="43"/>
                      <a:pt x="42" y="42"/>
                      <a:pt x="42" y="42"/>
                    </a:cubicBezTo>
                    <a:cubicBezTo>
                      <a:pt x="43" y="42"/>
                      <a:pt x="42" y="43"/>
                      <a:pt x="42" y="43"/>
                    </a:cubicBezTo>
                    <a:cubicBezTo>
                      <a:pt x="43" y="43"/>
                      <a:pt x="45" y="44"/>
                      <a:pt x="46" y="43"/>
                    </a:cubicBezTo>
                    <a:cubicBezTo>
                      <a:pt x="44" y="44"/>
                      <a:pt x="44" y="44"/>
                      <a:pt x="42" y="44"/>
                    </a:cubicBezTo>
                    <a:cubicBezTo>
                      <a:pt x="41" y="44"/>
                      <a:pt x="38" y="44"/>
                      <a:pt x="38" y="45"/>
                    </a:cubicBezTo>
                    <a:cubicBezTo>
                      <a:pt x="38" y="45"/>
                      <a:pt x="39" y="45"/>
                      <a:pt x="39" y="45"/>
                    </a:cubicBezTo>
                    <a:cubicBezTo>
                      <a:pt x="39" y="45"/>
                      <a:pt x="38" y="46"/>
                      <a:pt x="38" y="46"/>
                    </a:cubicBezTo>
                    <a:cubicBezTo>
                      <a:pt x="38" y="46"/>
                      <a:pt x="40" y="45"/>
                      <a:pt x="40" y="46"/>
                    </a:cubicBezTo>
                    <a:cubicBezTo>
                      <a:pt x="40" y="46"/>
                      <a:pt x="38" y="48"/>
                      <a:pt x="38" y="48"/>
                    </a:cubicBezTo>
                    <a:cubicBezTo>
                      <a:pt x="38" y="48"/>
                      <a:pt x="39" y="48"/>
                      <a:pt x="39" y="49"/>
                    </a:cubicBezTo>
                    <a:cubicBezTo>
                      <a:pt x="39" y="49"/>
                      <a:pt x="37" y="49"/>
                      <a:pt x="37" y="49"/>
                    </a:cubicBezTo>
                    <a:cubicBezTo>
                      <a:pt x="37" y="49"/>
                      <a:pt x="39" y="50"/>
                      <a:pt x="39" y="50"/>
                    </a:cubicBezTo>
                    <a:cubicBezTo>
                      <a:pt x="38" y="50"/>
                      <a:pt x="37" y="50"/>
                      <a:pt x="37" y="50"/>
                    </a:cubicBezTo>
                    <a:cubicBezTo>
                      <a:pt x="37" y="51"/>
                      <a:pt x="38" y="52"/>
                      <a:pt x="39" y="52"/>
                    </a:cubicBezTo>
                    <a:cubicBezTo>
                      <a:pt x="37" y="52"/>
                      <a:pt x="35" y="52"/>
                      <a:pt x="34" y="54"/>
                    </a:cubicBezTo>
                    <a:cubicBezTo>
                      <a:pt x="34" y="55"/>
                      <a:pt x="30" y="54"/>
                      <a:pt x="30" y="54"/>
                    </a:cubicBezTo>
                    <a:cubicBezTo>
                      <a:pt x="30" y="57"/>
                      <a:pt x="36" y="54"/>
                      <a:pt x="37" y="54"/>
                    </a:cubicBezTo>
                    <a:cubicBezTo>
                      <a:pt x="36" y="54"/>
                      <a:pt x="35" y="56"/>
                      <a:pt x="35" y="56"/>
                    </a:cubicBezTo>
                    <a:cubicBezTo>
                      <a:pt x="32" y="56"/>
                      <a:pt x="34" y="57"/>
                      <a:pt x="33" y="58"/>
                    </a:cubicBezTo>
                    <a:cubicBezTo>
                      <a:pt x="32" y="59"/>
                      <a:pt x="30" y="57"/>
                      <a:pt x="29" y="58"/>
                    </a:cubicBezTo>
                    <a:cubicBezTo>
                      <a:pt x="29" y="59"/>
                      <a:pt x="26" y="61"/>
                      <a:pt x="26" y="61"/>
                    </a:cubicBezTo>
                    <a:cubicBezTo>
                      <a:pt x="26" y="62"/>
                      <a:pt x="27" y="62"/>
                      <a:pt x="27" y="62"/>
                    </a:cubicBezTo>
                    <a:cubicBezTo>
                      <a:pt x="27" y="63"/>
                      <a:pt x="24" y="63"/>
                      <a:pt x="24" y="63"/>
                    </a:cubicBezTo>
                    <a:cubicBezTo>
                      <a:pt x="24" y="63"/>
                      <a:pt x="25" y="64"/>
                      <a:pt x="25" y="65"/>
                    </a:cubicBezTo>
                    <a:cubicBezTo>
                      <a:pt x="25" y="66"/>
                      <a:pt x="27" y="65"/>
                      <a:pt x="28" y="65"/>
                    </a:cubicBezTo>
                    <a:cubicBezTo>
                      <a:pt x="29" y="64"/>
                      <a:pt x="30" y="65"/>
                      <a:pt x="31" y="64"/>
                    </a:cubicBezTo>
                    <a:cubicBezTo>
                      <a:pt x="31" y="64"/>
                      <a:pt x="30" y="63"/>
                      <a:pt x="30" y="62"/>
                    </a:cubicBezTo>
                    <a:cubicBezTo>
                      <a:pt x="30" y="62"/>
                      <a:pt x="32" y="63"/>
                      <a:pt x="33" y="64"/>
                    </a:cubicBezTo>
                    <a:cubicBezTo>
                      <a:pt x="33" y="64"/>
                      <a:pt x="30" y="66"/>
                      <a:pt x="30" y="66"/>
                    </a:cubicBezTo>
                    <a:cubicBezTo>
                      <a:pt x="29" y="66"/>
                      <a:pt x="28" y="67"/>
                      <a:pt x="28" y="66"/>
                    </a:cubicBezTo>
                    <a:cubicBezTo>
                      <a:pt x="27" y="65"/>
                      <a:pt x="26" y="67"/>
                      <a:pt x="25" y="67"/>
                    </a:cubicBezTo>
                    <a:cubicBezTo>
                      <a:pt x="24" y="66"/>
                      <a:pt x="24" y="63"/>
                      <a:pt x="23" y="66"/>
                    </a:cubicBezTo>
                    <a:cubicBezTo>
                      <a:pt x="21" y="70"/>
                      <a:pt x="20" y="65"/>
                      <a:pt x="21" y="65"/>
                    </a:cubicBezTo>
                    <a:cubicBezTo>
                      <a:pt x="19" y="65"/>
                      <a:pt x="21" y="69"/>
                      <a:pt x="19" y="68"/>
                    </a:cubicBezTo>
                    <a:cubicBezTo>
                      <a:pt x="15" y="68"/>
                      <a:pt x="18" y="70"/>
                      <a:pt x="17" y="71"/>
                    </a:cubicBezTo>
                    <a:cubicBezTo>
                      <a:pt x="16" y="71"/>
                      <a:pt x="16" y="69"/>
                      <a:pt x="16" y="69"/>
                    </a:cubicBezTo>
                    <a:cubicBezTo>
                      <a:pt x="14" y="69"/>
                      <a:pt x="12" y="70"/>
                      <a:pt x="11" y="71"/>
                    </a:cubicBezTo>
                    <a:cubicBezTo>
                      <a:pt x="11" y="72"/>
                      <a:pt x="15" y="72"/>
                      <a:pt x="16" y="72"/>
                    </a:cubicBezTo>
                    <a:cubicBezTo>
                      <a:pt x="16" y="72"/>
                      <a:pt x="19" y="71"/>
                      <a:pt x="19" y="71"/>
                    </a:cubicBezTo>
                    <a:cubicBezTo>
                      <a:pt x="20" y="72"/>
                      <a:pt x="15" y="72"/>
                      <a:pt x="15" y="72"/>
                    </a:cubicBezTo>
                    <a:cubicBezTo>
                      <a:pt x="14" y="72"/>
                      <a:pt x="14" y="73"/>
                      <a:pt x="13" y="73"/>
                    </a:cubicBezTo>
                    <a:cubicBezTo>
                      <a:pt x="12" y="73"/>
                      <a:pt x="11" y="73"/>
                      <a:pt x="10" y="73"/>
                    </a:cubicBezTo>
                    <a:cubicBezTo>
                      <a:pt x="8" y="72"/>
                      <a:pt x="7" y="73"/>
                      <a:pt x="9" y="74"/>
                    </a:cubicBezTo>
                    <a:cubicBezTo>
                      <a:pt x="10" y="74"/>
                      <a:pt x="12" y="74"/>
                      <a:pt x="12" y="76"/>
                    </a:cubicBezTo>
                    <a:cubicBezTo>
                      <a:pt x="12" y="76"/>
                      <a:pt x="11" y="78"/>
                      <a:pt x="11" y="77"/>
                    </a:cubicBezTo>
                    <a:cubicBezTo>
                      <a:pt x="10" y="77"/>
                      <a:pt x="12" y="75"/>
                      <a:pt x="10" y="74"/>
                    </a:cubicBezTo>
                    <a:cubicBezTo>
                      <a:pt x="7" y="74"/>
                      <a:pt x="9" y="75"/>
                      <a:pt x="8" y="76"/>
                    </a:cubicBezTo>
                    <a:cubicBezTo>
                      <a:pt x="8" y="76"/>
                      <a:pt x="8" y="73"/>
                      <a:pt x="7" y="73"/>
                    </a:cubicBezTo>
                    <a:cubicBezTo>
                      <a:pt x="7" y="72"/>
                      <a:pt x="5" y="78"/>
                      <a:pt x="6" y="77"/>
                    </a:cubicBezTo>
                    <a:cubicBezTo>
                      <a:pt x="5" y="77"/>
                      <a:pt x="5" y="75"/>
                      <a:pt x="5" y="75"/>
                    </a:cubicBezTo>
                    <a:cubicBezTo>
                      <a:pt x="4" y="75"/>
                      <a:pt x="4" y="77"/>
                      <a:pt x="4" y="77"/>
                    </a:cubicBezTo>
                    <a:cubicBezTo>
                      <a:pt x="3" y="78"/>
                      <a:pt x="1" y="77"/>
                      <a:pt x="1" y="78"/>
                    </a:cubicBezTo>
                    <a:cubicBezTo>
                      <a:pt x="1" y="79"/>
                      <a:pt x="0" y="80"/>
                      <a:pt x="1" y="80"/>
                    </a:cubicBezTo>
                    <a:cubicBezTo>
                      <a:pt x="2" y="80"/>
                      <a:pt x="3" y="80"/>
                      <a:pt x="4" y="81"/>
                    </a:cubicBezTo>
                    <a:cubicBezTo>
                      <a:pt x="4" y="81"/>
                      <a:pt x="0" y="82"/>
                      <a:pt x="1" y="83"/>
                    </a:cubicBezTo>
                    <a:cubicBezTo>
                      <a:pt x="1" y="84"/>
                      <a:pt x="3" y="84"/>
                      <a:pt x="3" y="84"/>
                    </a:cubicBezTo>
                    <a:cubicBezTo>
                      <a:pt x="3" y="84"/>
                      <a:pt x="6" y="83"/>
                      <a:pt x="6" y="84"/>
                    </a:cubicBezTo>
                    <a:cubicBezTo>
                      <a:pt x="5" y="85"/>
                      <a:pt x="2" y="84"/>
                      <a:pt x="1" y="86"/>
                    </a:cubicBezTo>
                    <a:cubicBezTo>
                      <a:pt x="0" y="87"/>
                      <a:pt x="6" y="87"/>
                      <a:pt x="4" y="89"/>
                    </a:cubicBezTo>
                    <a:cubicBezTo>
                      <a:pt x="4" y="89"/>
                      <a:pt x="3" y="87"/>
                      <a:pt x="2" y="88"/>
                    </a:cubicBezTo>
                    <a:cubicBezTo>
                      <a:pt x="1" y="89"/>
                      <a:pt x="1" y="90"/>
                      <a:pt x="2" y="91"/>
                    </a:cubicBezTo>
                    <a:cubicBezTo>
                      <a:pt x="3" y="91"/>
                      <a:pt x="5" y="92"/>
                      <a:pt x="6" y="92"/>
                    </a:cubicBezTo>
                    <a:cubicBezTo>
                      <a:pt x="7" y="91"/>
                      <a:pt x="8" y="89"/>
                      <a:pt x="9" y="90"/>
                    </a:cubicBezTo>
                    <a:cubicBezTo>
                      <a:pt x="8" y="90"/>
                      <a:pt x="7" y="91"/>
                      <a:pt x="7" y="91"/>
                    </a:cubicBezTo>
                    <a:cubicBezTo>
                      <a:pt x="7" y="92"/>
                      <a:pt x="6" y="92"/>
                      <a:pt x="5" y="92"/>
                    </a:cubicBezTo>
                    <a:cubicBezTo>
                      <a:pt x="5" y="92"/>
                      <a:pt x="7" y="93"/>
                      <a:pt x="7" y="94"/>
                    </a:cubicBezTo>
                    <a:cubicBezTo>
                      <a:pt x="7" y="94"/>
                      <a:pt x="4" y="92"/>
                      <a:pt x="5" y="94"/>
                    </a:cubicBezTo>
                    <a:cubicBezTo>
                      <a:pt x="5" y="95"/>
                      <a:pt x="8" y="96"/>
                      <a:pt x="8" y="96"/>
                    </a:cubicBezTo>
                    <a:cubicBezTo>
                      <a:pt x="8" y="97"/>
                      <a:pt x="5" y="95"/>
                      <a:pt x="4" y="96"/>
                    </a:cubicBezTo>
                    <a:cubicBezTo>
                      <a:pt x="2" y="96"/>
                      <a:pt x="4" y="93"/>
                      <a:pt x="3" y="93"/>
                    </a:cubicBezTo>
                    <a:cubicBezTo>
                      <a:pt x="3" y="93"/>
                      <a:pt x="1" y="95"/>
                      <a:pt x="2" y="96"/>
                    </a:cubicBezTo>
                    <a:cubicBezTo>
                      <a:pt x="3" y="96"/>
                      <a:pt x="2" y="98"/>
                      <a:pt x="2" y="98"/>
                    </a:cubicBezTo>
                    <a:cubicBezTo>
                      <a:pt x="3" y="99"/>
                      <a:pt x="4" y="97"/>
                      <a:pt x="5" y="96"/>
                    </a:cubicBezTo>
                    <a:cubicBezTo>
                      <a:pt x="5" y="96"/>
                      <a:pt x="5" y="97"/>
                      <a:pt x="5" y="97"/>
                    </a:cubicBezTo>
                    <a:cubicBezTo>
                      <a:pt x="6" y="97"/>
                      <a:pt x="6" y="96"/>
                      <a:pt x="7" y="96"/>
                    </a:cubicBezTo>
                    <a:cubicBezTo>
                      <a:pt x="7" y="96"/>
                      <a:pt x="7" y="98"/>
                      <a:pt x="6" y="98"/>
                    </a:cubicBezTo>
                    <a:cubicBezTo>
                      <a:pt x="4" y="99"/>
                      <a:pt x="8" y="101"/>
                      <a:pt x="8" y="100"/>
                    </a:cubicBezTo>
                    <a:cubicBezTo>
                      <a:pt x="8" y="102"/>
                      <a:pt x="1" y="100"/>
                      <a:pt x="5" y="103"/>
                    </a:cubicBezTo>
                    <a:cubicBezTo>
                      <a:pt x="7" y="104"/>
                      <a:pt x="8" y="105"/>
                      <a:pt x="10" y="105"/>
                    </a:cubicBezTo>
                    <a:cubicBezTo>
                      <a:pt x="10" y="105"/>
                      <a:pt x="13" y="107"/>
                      <a:pt x="14" y="107"/>
                    </a:cubicBezTo>
                    <a:cubicBezTo>
                      <a:pt x="17" y="107"/>
                      <a:pt x="21" y="104"/>
                      <a:pt x="23" y="102"/>
                    </a:cubicBezTo>
                    <a:cubicBezTo>
                      <a:pt x="24" y="100"/>
                      <a:pt x="25" y="100"/>
                      <a:pt x="27" y="99"/>
                    </a:cubicBezTo>
                    <a:cubicBezTo>
                      <a:pt x="28" y="98"/>
                      <a:pt x="28" y="95"/>
                      <a:pt x="29" y="95"/>
                    </a:cubicBezTo>
                    <a:cubicBezTo>
                      <a:pt x="29" y="95"/>
                      <a:pt x="29" y="98"/>
                      <a:pt x="30" y="98"/>
                    </a:cubicBezTo>
                    <a:cubicBezTo>
                      <a:pt x="32" y="99"/>
                      <a:pt x="31" y="99"/>
                      <a:pt x="31" y="100"/>
                    </a:cubicBezTo>
                    <a:cubicBezTo>
                      <a:pt x="32" y="100"/>
                      <a:pt x="33" y="100"/>
                      <a:pt x="34" y="101"/>
                    </a:cubicBezTo>
                    <a:cubicBezTo>
                      <a:pt x="34" y="102"/>
                      <a:pt x="33" y="100"/>
                      <a:pt x="34" y="10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3" name="Freeform 720">
                <a:extLst>
                  <a:ext uri="{FF2B5EF4-FFF2-40B4-BE49-F238E27FC236}">
                    <a16:creationId xmlns:a16="http://schemas.microsoft.com/office/drawing/2014/main" id="{B2B18723-2D82-184A-9DF5-10F7AB0673C3}"/>
                  </a:ext>
                </a:extLst>
              </p:cNvPr>
              <p:cNvSpPr>
                <a:spLocks noEditPoints="1"/>
              </p:cNvSpPr>
              <p:nvPr/>
            </p:nvSpPr>
            <p:spPr bwMode="auto">
              <a:xfrm>
                <a:off x="12945416" y="4366247"/>
                <a:ext cx="7563702" cy="2637633"/>
              </a:xfrm>
              <a:custGeom>
                <a:avLst/>
                <a:gdLst>
                  <a:gd name="T0" fmla="*/ 785 w 810"/>
                  <a:gd name="T1" fmla="*/ 109 h 282"/>
                  <a:gd name="T2" fmla="*/ 725 w 810"/>
                  <a:gd name="T3" fmla="*/ 77 h 282"/>
                  <a:gd name="T4" fmla="*/ 665 w 810"/>
                  <a:gd name="T5" fmla="*/ 80 h 282"/>
                  <a:gd name="T6" fmla="*/ 607 w 810"/>
                  <a:gd name="T7" fmla="*/ 65 h 282"/>
                  <a:gd name="T8" fmla="*/ 578 w 810"/>
                  <a:gd name="T9" fmla="*/ 56 h 282"/>
                  <a:gd name="T10" fmla="*/ 555 w 810"/>
                  <a:gd name="T11" fmla="*/ 61 h 282"/>
                  <a:gd name="T12" fmla="*/ 521 w 810"/>
                  <a:gd name="T13" fmla="*/ 59 h 282"/>
                  <a:gd name="T14" fmla="*/ 495 w 810"/>
                  <a:gd name="T15" fmla="*/ 44 h 282"/>
                  <a:gd name="T16" fmla="*/ 469 w 810"/>
                  <a:gd name="T17" fmla="*/ 49 h 282"/>
                  <a:gd name="T18" fmla="*/ 423 w 810"/>
                  <a:gd name="T19" fmla="*/ 43 h 282"/>
                  <a:gd name="T20" fmla="*/ 383 w 810"/>
                  <a:gd name="T21" fmla="*/ 50 h 282"/>
                  <a:gd name="T22" fmla="*/ 423 w 810"/>
                  <a:gd name="T23" fmla="*/ 17 h 282"/>
                  <a:gd name="T24" fmla="*/ 378 w 810"/>
                  <a:gd name="T25" fmla="*/ 7 h 282"/>
                  <a:gd name="T26" fmla="*/ 355 w 810"/>
                  <a:gd name="T27" fmla="*/ 17 h 282"/>
                  <a:gd name="T28" fmla="*/ 320 w 810"/>
                  <a:gd name="T29" fmla="*/ 22 h 282"/>
                  <a:gd name="T30" fmla="*/ 297 w 810"/>
                  <a:gd name="T31" fmla="*/ 32 h 282"/>
                  <a:gd name="T32" fmla="*/ 269 w 810"/>
                  <a:gd name="T33" fmla="*/ 49 h 282"/>
                  <a:gd name="T34" fmla="*/ 247 w 810"/>
                  <a:gd name="T35" fmla="*/ 58 h 282"/>
                  <a:gd name="T36" fmla="*/ 242 w 810"/>
                  <a:gd name="T37" fmla="*/ 50 h 282"/>
                  <a:gd name="T38" fmla="*/ 259 w 810"/>
                  <a:gd name="T39" fmla="*/ 97 h 282"/>
                  <a:gd name="T40" fmla="*/ 227 w 810"/>
                  <a:gd name="T41" fmla="*/ 107 h 282"/>
                  <a:gd name="T42" fmla="*/ 231 w 810"/>
                  <a:gd name="T43" fmla="*/ 88 h 282"/>
                  <a:gd name="T44" fmla="*/ 206 w 810"/>
                  <a:gd name="T45" fmla="*/ 60 h 282"/>
                  <a:gd name="T46" fmla="*/ 191 w 810"/>
                  <a:gd name="T47" fmla="*/ 83 h 282"/>
                  <a:gd name="T48" fmla="*/ 131 w 810"/>
                  <a:gd name="T49" fmla="*/ 90 h 282"/>
                  <a:gd name="T50" fmla="*/ 92 w 810"/>
                  <a:gd name="T51" fmla="*/ 100 h 282"/>
                  <a:gd name="T52" fmla="*/ 84 w 810"/>
                  <a:gd name="T53" fmla="*/ 107 h 282"/>
                  <a:gd name="T54" fmla="*/ 53 w 810"/>
                  <a:gd name="T55" fmla="*/ 120 h 282"/>
                  <a:gd name="T56" fmla="*/ 31 w 810"/>
                  <a:gd name="T57" fmla="*/ 102 h 282"/>
                  <a:gd name="T58" fmla="*/ 29 w 810"/>
                  <a:gd name="T59" fmla="*/ 84 h 282"/>
                  <a:gd name="T60" fmla="*/ 5 w 810"/>
                  <a:gd name="T61" fmla="*/ 88 h 282"/>
                  <a:gd name="T62" fmla="*/ 7 w 810"/>
                  <a:gd name="T63" fmla="*/ 152 h 282"/>
                  <a:gd name="T64" fmla="*/ 16 w 810"/>
                  <a:gd name="T65" fmla="*/ 187 h 282"/>
                  <a:gd name="T66" fmla="*/ 40 w 810"/>
                  <a:gd name="T67" fmla="*/ 223 h 282"/>
                  <a:gd name="T68" fmla="*/ 53 w 810"/>
                  <a:gd name="T69" fmla="*/ 244 h 282"/>
                  <a:gd name="T70" fmla="*/ 82 w 810"/>
                  <a:gd name="T71" fmla="*/ 272 h 282"/>
                  <a:gd name="T72" fmla="*/ 109 w 810"/>
                  <a:gd name="T73" fmla="*/ 250 h 282"/>
                  <a:gd name="T74" fmla="*/ 108 w 810"/>
                  <a:gd name="T75" fmla="*/ 222 h 282"/>
                  <a:gd name="T76" fmla="*/ 160 w 810"/>
                  <a:gd name="T77" fmla="*/ 223 h 282"/>
                  <a:gd name="T78" fmla="*/ 196 w 810"/>
                  <a:gd name="T79" fmla="*/ 196 h 282"/>
                  <a:gd name="T80" fmla="*/ 252 w 810"/>
                  <a:gd name="T81" fmla="*/ 204 h 282"/>
                  <a:gd name="T82" fmla="*/ 331 w 810"/>
                  <a:gd name="T83" fmla="*/ 226 h 282"/>
                  <a:gd name="T84" fmla="*/ 415 w 810"/>
                  <a:gd name="T85" fmla="*/ 231 h 282"/>
                  <a:gd name="T86" fmla="*/ 483 w 810"/>
                  <a:gd name="T87" fmla="*/ 207 h 282"/>
                  <a:gd name="T88" fmla="*/ 521 w 810"/>
                  <a:gd name="T89" fmla="*/ 258 h 282"/>
                  <a:gd name="T90" fmla="*/ 558 w 810"/>
                  <a:gd name="T91" fmla="*/ 226 h 282"/>
                  <a:gd name="T92" fmla="*/ 543 w 810"/>
                  <a:gd name="T93" fmla="*/ 199 h 282"/>
                  <a:gd name="T94" fmla="*/ 591 w 810"/>
                  <a:gd name="T95" fmla="*/ 162 h 282"/>
                  <a:gd name="T96" fmla="*/ 627 w 810"/>
                  <a:gd name="T97" fmla="*/ 165 h 282"/>
                  <a:gd name="T98" fmla="*/ 657 w 810"/>
                  <a:gd name="T99" fmla="*/ 153 h 282"/>
                  <a:gd name="T100" fmla="*/ 669 w 810"/>
                  <a:gd name="T101" fmla="*/ 154 h 282"/>
                  <a:gd name="T102" fmla="*/ 649 w 810"/>
                  <a:gd name="T103" fmla="*/ 210 h 282"/>
                  <a:gd name="T104" fmla="*/ 667 w 810"/>
                  <a:gd name="T105" fmla="*/ 171 h 282"/>
                  <a:gd name="T106" fmla="*/ 710 w 810"/>
                  <a:gd name="T107" fmla="*/ 156 h 282"/>
                  <a:gd name="T108" fmla="*/ 738 w 810"/>
                  <a:gd name="T109" fmla="*/ 121 h 282"/>
                  <a:gd name="T110" fmla="*/ 765 w 810"/>
                  <a:gd name="T111" fmla="*/ 116 h 282"/>
                  <a:gd name="T112" fmla="*/ 802 w 810"/>
                  <a:gd name="T113" fmla="*/ 115 h 282"/>
                  <a:gd name="T114" fmla="*/ 388 w 810"/>
                  <a:gd name="T115" fmla="*/ 21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0" h="282">
                    <a:moveTo>
                      <a:pt x="808" y="111"/>
                    </a:moveTo>
                    <a:cubicBezTo>
                      <a:pt x="806" y="109"/>
                      <a:pt x="803" y="108"/>
                      <a:pt x="801" y="106"/>
                    </a:cubicBezTo>
                    <a:cubicBezTo>
                      <a:pt x="800" y="105"/>
                      <a:pt x="799" y="104"/>
                      <a:pt x="797" y="103"/>
                    </a:cubicBezTo>
                    <a:cubicBezTo>
                      <a:pt x="796" y="103"/>
                      <a:pt x="794" y="103"/>
                      <a:pt x="793" y="102"/>
                    </a:cubicBezTo>
                    <a:cubicBezTo>
                      <a:pt x="793" y="103"/>
                      <a:pt x="794" y="103"/>
                      <a:pt x="794" y="103"/>
                    </a:cubicBezTo>
                    <a:cubicBezTo>
                      <a:pt x="795" y="103"/>
                      <a:pt x="792" y="104"/>
                      <a:pt x="791" y="103"/>
                    </a:cubicBezTo>
                    <a:cubicBezTo>
                      <a:pt x="791" y="103"/>
                      <a:pt x="792" y="103"/>
                      <a:pt x="792" y="102"/>
                    </a:cubicBezTo>
                    <a:cubicBezTo>
                      <a:pt x="791" y="101"/>
                      <a:pt x="786" y="103"/>
                      <a:pt x="785" y="102"/>
                    </a:cubicBezTo>
                    <a:cubicBezTo>
                      <a:pt x="787" y="103"/>
                      <a:pt x="787" y="103"/>
                      <a:pt x="787" y="106"/>
                    </a:cubicBezTo>
                    <a:cubicBezTo>
                      <a:pt x="786" y="107"/>
                      <a:pt x="788" y="109"/>
                      <a:pt x="788" y="109"/>
                    </a:cubicBezTo>
                    <a:cubicBezTo>
                      <a:pt x="787" y="109"/>
                      <a:pt x="787" y="108"/>
                      <a:pt x="787" y="108"/>
                    </a:cubicBezTo>
                    <a:cubicBezTo>
                      <a:pt x="786" y="107"/>
                      <a:pt x="786" y="109"/>
                      <a:pt x="785" y="109"/>
                    </a:cubicBezTo>
                    <a:cubicBezTo>
                      <a:pt x="785" y="109"/>
                      <a:pt x="783" y="105"/>
                      <a:pt x="783" y="105"/>
                    </a:cubicBezTo>
                    <a:cubicBezTo>
                      <a:pt x="783" y="104"/>
                      <a:pt x="783" y="104"/>
                      <a:pt x="783" y="104"/>
                    </a:cubicBezTo>
                    <a:cubicBezTo>
                      <a:pt x="783" y="103"/>
                      <a:pt x="782" y="102"/>
                      <a:pt x="783" y="101"/>
                    </a:cubicBezTo>
                    <a:cubicBezTo>
                      <a:pt x="784" y="99"/>
                      <a:pt x="782" y="100"/>
                      <a:pt x="781" y="99"/>
                    </a:cubicBezTo>
                    <a:cubicBezTo>
                      <a:pt x="781" y="98"/>
                      <a:pt x="779" y="97"/>
                      <a:pt x="778" y="97"/>
                    </a:cubicBezTo>
                    <a:cubicBezTo>
                      <a:pt x="771" y="93"/>
                      <a:pt x="765" y="89"/>
                      <a:pt x="758" y="87"/>
                    </a:cubicBezTo>
                    <a:cubicBezTo>
                      <a:pt x="756" y="86"/>
                      <a:pt x="755" y="85"/>
                      <a:pt x="754" y="84"/>
                    </a:cubicBezTo>
                    <a:cubicBezTo>
                      <a:pt x="753" y="83"/>
                      <a:pt x="751" y="82"/>
                      <a:pt x="749" y="82"/>
                    </a:cubicBezTo>
                    <a:cubicBezTo>
                      <a:pt x="746" y="81"/>
                      <a:pt x="743" y="80"/>
                      <a:pt x="739" y="78"/>
                    </a:cubicBezTo>
                    <a:cubicBezTo>
                      <a:pt x="736" y="78"/>
                      <a:pt x="732" y="78"/>
                      <a:pt x="730" y="78"/>
                    </a:cubicBezTo>
                    <a:cubicBezTo>
                      <a:pt x="728" y="78"/>
                      <a:pt x="727" y="78"/>
                      <a:pt x="726" y="78"/>
                    </a:cubicBezTo>
                    <a:cubicBezTo>
                      <a:pt x="726" y="78"/>
                      <a:pt x="725" y="77"/>
                      <a:pt x="725" y="77"/>
                    </a:cubicBezTo>
                    <a:cubicBezTo>
                      <a:pt x="724" y="78"/>
                      <a:pt x="724" y="79"/>
                      <a:pt x="723" y="78"/>
                    </a:cubicBezTo>
                    <a:cubicBezTo>
                      <a:pt x="720" y="78"/>
                      <a:pt x="717" y="77"/>
                      <a:pt x="714" y="76"/>
                    </a:cubicBezTo>
                    <a:cubicBezTo>
                      <a:pt x="713" y="76"/>
                      <a:pt x="710" y="75"/>
                      <a:pt x="710" y="77"/>
                    </a:cubicBezTo>
                    <a:cubicBezTo>
                      <a:pt x="709" y="79"/>
                      <a:pt x="708" y="79"/>
                      <a:pt x="710" y="80"/>
                    </a:cubicBezTo>
                    <a:cubicBezTo>
                      <a:pt x="712" y="82"/>
                      <a:pt x="714" y="86"/>
                      <a:pt x="709" y="87"/>
                    </a:cubicBezTo>
                    <a:cubicBezTo>
                      <a:pt x="708" y="88"/>
                      <a:pt x="705" y="88"/>
                      <a:pt x="704" y="86"/>
                    </a:cubicBezTo>
                    <a:cubicBezTo>
                      <a:pt x="703" y="85"/>
                      <a:pt x="703" y="84"/>
                      <a:pt x="700" y="84"/>
                    </a:cubicBezTo>
                    <a:cubicBezTo>
                      <a:pt x="697" y="83"/>
                      <a:pt x="699" y="82"/>
                      <a:pt x="698" y="81"/>
                    </a:cubicBezTo>
                    <a:cubicBezTo>
                      <a:pt x="698" y="80"/>
                      <a:pt x="695" y="79"/>
                      <a:pt x="694" y="80"/>
                    </a:cubicBezTo>
                    <a:cubicBezTo>
                      <a:pt x="691" y="83"/>
                      <a:pt x="686" y="80"/>
                      <a:pt x="682" y="80"/>
                    </a:cubicBezTo>
                    <a:cubicBezTo>
                      <a:pt x="678" y="80"/>
                      <a:pt x="674" y="79"/>
                      <a:pt x="670" y="79"/>
                    </a:cubicBezTo>
                    <a:cubicBezTo>
                      <a:pt x="668" y="79"/>
                      <a:pt x="667" y="79"/>
                      <a:pt x="665" y="80"/>
                    </a:cubicBezTo>
                    <a:cubicBezTo>
                      <a:pt x="663" y="81"/>
                      <a:pt x="664" y="84"/>
                      <a:pt x="664" y="86"/>
                    </a:cubicBezTo>
                    <a:cubicBezTo>
                      <a:pt x="664" y="86"/>
                      <a:pt x="664" y="86"/>
                      <a:pt x="664" y="86"/>
                    </a:cubicBezTo>
                    <a:cubicBezTo>
                      <a:pt x="663" y="86"/>
                      <a:pt x="662" y="81"/>
                      <a:pt x="661" y="80"/>
                    </a:cubicBezTo>
                    <a:cubicBezTo>
                      <a:pt x="660" y="80"/>
                      <a:pt x="656" y="80"/>
                      <a:pt x="655" y="78"/>
                    </a:cubicBezTo>
                    <a:cubicBezTo>
                      <a:pt x="655" y="75"/>
                      <a:pt x="659" y="74"/>
                      <a:pt x="655" y="71"/>
                    </a:cubicBezTo>
                    <a:cubicBezTo>
                      <a:pt x="653" y="70"/>
                      <a:pt x="651" y="69"/>
                      <a:pt x="648" y="68"/>
                    </a:cubicBezTo>
                    <a:cubicBezTo>
                      <a:pt x="642" y="66"/>
                      <a:pt x="635" y="68"/>
                      <a:pt x="629" y="69"/>
                    </a:cubicBezTo>
                    <a:cubicBezTo>
                      <a:pt x="626" y="69"/>
                      <a:pt x="623" y="69"/>
                      <a:pt x="619" y="69"/>
                    </a:cubicBezTo>
                    <a:cubicBezTo>
                      <a:pt x="618" y="69"/>
                      <a:pt x="618" y="69"/>
                      <a:pt x="617" y="69"/>
                    </a:cubicBezTo>
                    <a:cubicBezTo>
                      <a:pt x="615" y="68"/>
                      <a:pt x="617" y="68"/>
                      <a:pt x="618" y="67"/>
                    </a:cubicBezTo>
                    <a:cubicBezTo>
                      <a:pt x="618" y="66"/>
                      <a:pt x="613" y="65"/>
                      <a:pt x="613" y="65"/>
                    </a:cubicBezTo>
                    <a:cubicBezTo>
                      <a:pt x="612" y="64"/>
                      <a:pt x="608" y="65"/>
                      <a:pt x="607" y="65"/>
                    </a:cubicBezTo>
                    <a:cubicBezTo>
                      <a:pt x="607" y="65"/>
                      <a:pt x="611" y="64"/>
                      <a:pt x="610" y="63"/>
                    </a:cubicBezTo>
                    <a:cubicBezTo>
                      <a:pt x="609" y="63"/>
                      <a:pt x="608" y="64"/>
                      <a:pt x="607" y="64"/>
                    </a:cubicBezTo>
                    <a:cubicBezTo>
                      <a:pt x="606" y="63"/>
                      <a:pt x="604" y="62"/>
                      <a:pt x="604" y="62"/>
                    </a:cubicBezTo>
                    <a:cubicBezTo>
                      <a:pt x="603" y="62"/>
                      <a:pt x="600" y="60"/>
                      <a:pt x="602" y="60"/>
                    </a:cubicBezTo>
                    <a:cubicBezTo>
                      <a:pt x="603" y="60"/>
                      <a:pt x="605" y="60"/>
                      <a:pt x="606" y="60"/>
                    </a:cubicBezTo>
                    <a:cubicBezTo>
                      <a:pt x="609" y="60"/>
                      <a:pt x="605" y="57"/>
                      <a:pt x="604" y="57"/>
                    </a:cubicBezTo>
                    <a:cubicBezTo>
                      <a:pt x="602" y="55"/>
                      <a:pt x="597" y="56"/>
                      <a:pt x="594" y="55"/>
                    </a:cubicBezTo>
                    <a:cubicBezTo>
                      <a:pt x="592" y="55"/>
                      <a:pt x="591" y="57"/>
                      <a:pt x="589" y="59"/>
                    </a:cubicBezTo>
                    <a:cubicBezTo>
                      <a:pt x="589" y="59"/>
                      <a:pt x="582" y="63"/>
                      <a:pt x="582" y="60"/>
                    </a:cubicBezTo>
                    <a:cubicBezTo>
                      <a:pt x="583" y="58"/>
                      <a:pt x="584" y="60"/>
                      <a:pt x="586" y="59"/>
                    </a:cubicBezTo>
                    <a:cubicBezTo>
                      <a:pt x="586" y="59"/>
                      <a:pt x="585" y="56"/>
                      <a:pt x="584" y="56"/>
                    </a:cubicBezTo>
                    <a:cubicBezTo>
                      <a:pt x="584" y="56"/>
                      <a:pt x="578" y="56"/>
                      <a:pt x="578" y="56"/>
                    </a:cubicBezTo>
                    <a:cubicBezTo>
                      <a:pt x="579" y="55"/>
                      <a:pt x="581" y="54"/>
                      <a:pt x="583" y="54"/>
                    </a:cubicBezTo>
                    <a:cubicBezTo>
                      <a:pt x="584" y="55"/>
                      <a:pt x="591" y="55"/>
                      <a:pt x="591" y="55"/>
                    </a:cubicBezTo>
                    <a:cubicBezTo>
                      <a:pt x="591" y="54"/>
                      <a:pt x="585" y="54"/>
                      <a:pt x="584" y="53"/>
                    </a:cubicBezTo>
                    <a:cubicBezTo>
                      <a:pt x="582" y="53"/>
                      <a:pt x="580" y="53"/>
                      <a:pt x="578" y="53"/>
                    </a:cubicBezTo>
                    <a:cubicBezTo>
                      <a:pt x="574" y="52"/>
                      <a:pt x="570" y="52"/>
                      <a:pt x="566" y="51"/>
                    </a:cubicBezTo>
                    <a:cubicBezTo>
                      <a:pt x="565" y="51"/>
                      <a:pt x="561" y="50"/>
                      <a:pt x="561" y="50"/>
                    </a:cubicBezTo>
                    <a:cubicBezTo>
                      <a:pt x="561" y="51"/>
                      <a:pt x="562" y="52"/>
                      <a:pt x="561" y="52"/>
                    </a:cubicBezTo>
                    <a:cubicBezTo>
                      <a:pt x="560" y="53"/>
                      <a:pt x="559" y="53"/>
                      <a:pt x="558" y="53"/>
                    </a:cubicBezTo>
                    <a:cubicBezTo>
                      <a:pt x="557" y="53"/>
                      <a:pt x="552" y="54"/>
                      <a:pt x="553" y="56"/>
                    </a:cubicBezTo>
                    <a:cubicBezTo>
                      <a:pt x="554" y="58"/>
                      <a:pt x="556" y="55"/>
                      <a:pt x="557" y="56"/>
                    </a:cubicBezTo>
                    <a:cubicBezTo>
                      <a:pt x="557" y="56"/>
                      <a:pt x="554" y="57"/>
                      <a:pt x="555" y="59"/>
                    </a:cubicBezTo>
                    <a:cubicBezTo>
                      <a:pt x="556" y="59"/>
                      <a:pt x="555" y="60"/>
                      <a:pt x="555" y="61"/>
                    </a:cubicBezTo>
                    <a:cubicBezTo>
                      <a:pt x="556" y="61"/>
                      <a:pt x="557" y="62"/>
                      <a:pt x="557" y="63"/>
                    </a:cubicBezTo>
                    <a:cubicBezTo>
                      <a:pt x="557" y="63"/>
                      <a:pt x="553" y="63"/>
                      <a:pt x="552" y="63"/>
                    </a:cubicBezTo>
                    <a:cubicBezTo>
                      <a:pt x="550" y="63"/>
                      <a:pt x="552" y="62"/>
                      <a:pt x="552" y="62"/>
                    </a:cubicBezTo>
                    <a:cubicBezTo>
                      <a:pt x="551" y="61"/>
                      <a:pt x="548" y="62"/>
                      <a:pt x="548" y="62"/>
                    </a:cubicBezTo>
                    <a:cubicBezTo>
                      <a:pt x="546" y="63"/>
                      <a:pt x="544" y="62"/>
                      <a:pt x="543" y="62"/>
                    </a:cubicBezTo>
                    <a:cubicBezTo>
                      <a:pt x="542" y="62"/>
                      <a:pt x="546" y="63"/>
                      <a:pt x="546" y="63"/>
                    </a:cubicBezTo>
                    <a:cubicBezTo>
                      <a:pt x="549" y="64"/>
                      <a:pt x="546" y="66"/>
                      <a:pt x="545" y="65"/>
                    </a:cubicBezTo>
                    <a:cubicBezTo>
                      <a:pt x="544" y="65"/>
                      <a:pt x="544" y="64"/>
                      <a:pt x="544" y="63"/>
                    </a:cubicBezTo>
                    <a:cubicBezTo>
                      <a:pt x="543" y="63"/>
                      <a:pt x="542" y="63"/>
                      <a:pt x="541" y="63"/>
                    </a:cubicBezTo>
                    <a:cubicBezTo>
                      <a:pt x="539" y="62"/>
                      <a:pt x="537" y="61"/>
                      <a:pt x="534" y="62"/>
                    </a:cubicBezTo>
                    <a:cubicBezTo>
                      <a:pt x="531" y="62"/>
                      <a:pt x="529" y="65"/>
                      <a:pt x="526" y="63"/>
                    </a:cubicBezTo>
                    <a:cubicBezTo>
                      <a:pt x="524" y="62"/>
                      <a:pt x="522" y="61"/>
                      <a:pt x="521" y="59"/>
                    </a:cubicBezTo>
                    <a:cubicBezTo>
                      <a:pt x="520" y="58"/>
                      <a:pt x="518" y="62"/>
                      <a:pt x="517" y="62"/>
                    </a:cubicBezTo>
                    <a:cubicBezTo>
                      <a:pt x="516" y="64"/>
                      <a:pt x="515" y="70"/>
                      <a:pt x="512" y="69"/>
                    </a:cubicBezTo>
                    <a:cubicBezTo>
                      <a:pt x="510" y="68"/>
                      <a:pt x="508" y="68"/>
                      <a:pt x="506" y="66"/>
                    </a:cubicBezTo>
                    <a:cubicBezTo>
                      <a:pt x="505" y="65"/>
                      <a:pt x="503" y="63"/>
                      <a:pt x="502" y="62"/>
                    </a:cubicBezTo>
                    <a:cubicBezTo>
                      <a:pt x="501" y="60"/>
                      <a:pt x="499" y="59"/>
                      <a:pt x="498" y="58"/>
                    </a:cubicBezTo>
                    <a:cubicBezTo>
                      <a:pt x="496" y="56"/>
                      <a:pt x="500" y="57"/>
                      <a:pt x="501" y="57"/>
                    </a:cubicBezTo>
                    <a:cubicBezTo>
                      <a:pt x="502" y="57"/>
                      <a:pt x="504" y="56"/>
                      <a:pt x="504" y="55"/>
                    </a:cubicBezTo>
                    <a:cubicBezTo>
                      <a:pt x="504" y="55"/>
                      <a:pt x="499" y="52"/>
                      <a:pt x="499" y="52"/>
                    </a:cubicBezTo>
                    <a:cubicBezTo>
                      <a:pt x="499" y="52"/>
                      <a:pt x="502" y="52"/>
                      <a:pt x="502" y="51"/>
                    </a:cubicBezTo>
                    <a:cubicBezTo>
                      <a:pt x="501" y="50"/>
                      <a:pt x="499" y="50"/>
                      <a:pt x="499" y="50"/>
                    </a:cubicBezTo>
                    <a:cubicBezTo>
                      <a:pt x="499" y="48"/>
                      <a:pt x="504" y="47"/>
                      <a:pt x="499" y="46"/>
                    </a:cubicBezTo>
                    <a:cubicBezTo>
                      <a:pt x="498" y="46"/>
                      <a:pt x="497" y="44"/>
                      <a:pt x="495" y="44"/>
                    </a:cubicBezTo>
                    <a:cubicBezTo>
                      <a:pt x="494" y="44"/>
                      <a:pt x="492" y="43"/>
                      <a:pt x="491" y="44"/>
                    </a:cubicBezTo>
                    <a:cubicBezTo>
                      <a:pt x="490" y="44"/>
                      <a:pt x="490" y="45"/>
                      <a:pt x="489" y="45"/>
                    </a:cubicBezTo>
                    <a:cubicBezTo>
                      <a:pt x="488" y="44"/>
                      <a:pt x="488" y="44"/>
                      <a:pt x="487" y="44"/>
                    </a:cubicBezTo>
                    <a:cubicBezTo>
                      <a:pt x="486" y="44"/>
                      <a:pt x="484" y="44"/>
                      <a:pt x="483" y="43"/>
                    </a:cubicBezTo>
                    <a:cubicBezTo>
                      <a:pt x="482" y="43"/>
                      <a:pt x="481" y="43"/>
                      <a:pt x="480" y="41"/>
                    </a:cubicBezTo>
                    <a:cubicBezTo>
                      <a:pt x="479" y="41"/>
                      <a:pt x="480" y="40"/>
                      <a:pt x="478" y="41"/>
                    </a:cubicBezTo>
                    <a:cubicBezTo>
                      <a:pt x="478" y="41"/>
                      <a:pt x="477" y="42"/>
                      <a:pt x="476" y="42"/>
                    </a:cubicBezTo>
                    <a:cubicBezTo>
                      <a:pt x="475" y="42"/>
                      <a:pt x="475" y="41"/>
                      <a:pt x="474" y="42"/>
                    </a:cubicBezTo>
                    <a:cubicBezTo>
                      <a:pt x="474" y="43"/>
                      <a:pt x="473" y="44"/>
                      <a:pt x="473" y="45"/>
                    </a:cubicBezTo>
                    <a:cubicBezTo>
                      <a:pt x="473" y="46"/>
                      <a:pt x="475" y="46"/>
                      <a:pt x="474" y="47"/>
                    </a:cubicBezTo>
                    <a:cubicBezTo>
                      <a:pt x="473" y="48"/>
                      <a:pt x="474" y="48"/>
                      <a:pt x="473" y="48"/>
                    </a:cubicBezTo>
                    <a:cubicBezTo>
                      <a:pt x="472" y="48"/>
                      <a:pt x="470" y="48"/>
                      <a:pt x="469" y="49"/>
                    </a:cubicBezTo>
                    <a:cubicBezTo>
                      <a:pt x="470" y="48"/>
                      <a:pt x="473" y="50"/>
                      <a:pt x="473" y="50"/>
                    </a:cubicBezTo>
                    <a:cubicBezTo>
                      <a:pt x="472" y="51"/>
                      <a:pt x="469" y="49"/>
                      <a:pt x="467" y="49"/>
                    </a:cubicBezTo>
                    <a:cubicBezTo>
                      <a:pt x="465" y="49"/>
                      <a:pt x="462" y="49"/>
                      <a:pt x="459" y="49"/>
                    </a:cubicBezTo>
                    <a:cubicBezTo>
                      <a:pt x="458" y="49"/>
                      <a:pt x="458" y="48"/>
                      <a:pt x="457" y="48"/>
                    </a:cubicBezTo>
                    <a:cubicBezTo>
                      <a:pt x="456" y="47"/>
                      <a:pt x="453" y="48"/>
                      <a:pt x="452" y="48"/>
                    </a:cubicBezTo>
                    <a:cubicBezTo>
                      <a:pt x="451" y="47"/>
                      <a:pt x="449" y="47"/>
                      <a:pt x="448" y="46"/>
                    </a:cubicBezTo>
                    <a:cubicBezTo>
                      <a:pt x="448" y="45"/>
                      <a:pt x="450" y="45"/>
                      <a:pt x="450" y="44"/>
                    </a:cubicBezTo>
                    <a:cubicBezTo>
                      <a:pt x="451" y="43"/>
                      <a:pt x="442" y="43"/>
                      <a:pt x="441" y="43"/>
                    </a:cubicBezTo>
                    <a:cubicBezTo>
                      <a:pt x="436" y="42"/>
                      <a:pt x="432" y="43"/>
                      <a:pt x="427" y="43"/>
                    </a:cubicBezTo>
                    <a:cubicBezTo>
                      <a:pt x="424" y="43"/>
                      <a:pt x="425" y="43"/>
                      <a:pt x="426" y="45"/>
                    </a:cubicBezTo>
                    <a:cubicBezTo>
                      <a:pt x="426" y="46"/>
                      <a:pt x="424" y="45"/>
                      <a:pt x="424" y="45"/>
                    </a:cubicBezTo>
                    <a:cubicBezTo>
                      <a:pt x="422" y="45"/>
                      <a:pt x="423" y="44"/>
                      <a:pt x="423" y="43"/>
                    </a:cubicBezTo>
                    <a:cubicBezTo>
                      <a:pt x="423" y="41"/>
                      <a:pt x="422" y="38"/>
                      <a:pt x="420" y="40"/>
                    </a:cubicBezTo>
                    <a:cubicBezTo>
                      <a:pt x="420" y="42"/>
                      <a:pt x="416" y="42"/>
                      <a:pt x="414" y="41"/>
                    </a:cubicBezTo>
                    <a:cubicBezTo>
                      <a:pt x="413" y="40"/>
                      <a:pt x="415" y="38"/>
                      <a:pt x="411" y="39"/>
                    </a:cubicBezTo>
                    <a:cubicBezTo>
                      <a:pt x="410" y="39"/>
                      <a:pt x="409" y="39"/>
                      <a:pt x="408" y="39"/>
                    </a:cubicBezTo>
                    <a:cubicBezTo>
                      <a:pt x="407" y="38"/>
                      <a:pt x="406" y="39"/>
                      <a:pt x="404" y="40"/>
                    </a:cubicBezTo>
                    <a:cubicBezTo>
                      <a:pt x="402" y="42"/>
                      <a:pt x="407" y="41"/>
                      <a:pt x="407" y="42"/>
                    </a:cubicBezTo>
                    <a:cubicBezTo>
                      <a:pt x="407" y="44"/>
                      <a:pt x="403" y="43"/>
                      <a:pt x="402" y="44"/>
                    </a:cubicBezTo>
                    <a:cubicBezTo>
                      <a:pt x="401" y="45"/>
                      <a:pt x="399" y="45"/>
                      <a:pt x="397" y="46"/>
                    </a:cubicBezTo>
                    <a:cubicBezTo>
                      <a:pt x="395" y="47"/>
                      <a:pt x="393" y="47"/>
                      <a:pt x="390" y="47"/>
                    </a:cubicBezTo>
                    <a:cubicBezTo>
                      <a:pt x="388" y="47"/>
                      <a:pt x="388" y="47"/>
                      <a:pt x="387" y="49"/>
                    </a:cubicBezTo>
                    <a:cubicBezTo>
                      <a:pt x="386" y="50"/>
                      <a:pt x="382" y="51"/>
                      <a:pt x="381" y="51"/>
                    </a:cubicBezTo>
                    <a:cubicBezTo>
                      <a:pt x="381" y="50"/>
                      <a:pt x="383" y="50"/>
                      <a:pt x="383" y="50"/>
                    </a:cubicBezTo>
                    <a:cubicBezTo>
                      <a:pt x="385" y="49"/>
                      <a:pt x="385" y="47"/>
                      <a:pt x="386" y="46"/>
                    </a:cubicBezTo>
                    <a:cubicBezTo>
                      <a:pt x="387" y="44"/>
                      <a:pt x="388" y="46"/>
                      <a:pt x="389" y="45"/>
                    </a:cubicBezTo>
                    <a:cubicBezTo>
                      <a:pt x="390" y="45"/>
                      <a:pt x="390" y="44"/>
                      <a:pt x="391" y="44"/>
                    </a:cubicBezTo>
                    <a:cubicBezTo>
                      <a:pt x="394" y="42"/>
                      <a:pt x="398" y="41"/>
                      <a:pt x="401" y="39"/>
                    </a:cubicBezTo>
                    <a:cubicBezTo>
                      <a:pt x="403" y="38"/>
                      <a:pt x="405" y="37"/>
                      <a:pt x="407" y="36"/>
                    </a:cubicBezTo>
                    <a:cubicBezTo>
                      <a:pt x="411" y="33"/>
                      <a:pt x="416" y="31"/>
                      <a:pt x="420" y="29"/>
                    </a:cubicBezTo>
                    <a:cubicBezTo>
                      <a:pt x="423" y="28"/>
                      <a:pt x="426" y="26"/>
                      <a:pt x="423" y="23"/>
                    </a:cubicBezTo>
                    <a:cubicBezTo>
                      <a:pt x="422" y="22"/>
                      <a:pt x="422" y="24"/>
                      <a:pt x="421" y="23"/>
                    </a:cubicBezTo>
                    <a:cubicBezTo>
                      <a:pt x="420" y="22"/>
                      <a:pt x="419" y="22"/>
                      <a:pt x="418" y="21"/>
                    </a:cubicBezTo>
                    <a:cubicBezTo>
                      <a:pt x="418" y="20"/>
                      <a:pt x="423" y="22"/>
                      <a:pt x="423" y="22"/>
                    </a:cubicBezTo>
                    <a:cubicBezTo>
                      <a:pt x="424" y="22"/>
                      <a:pt x="427" y="22"/>
                      <a:pt x="425" y="20"/>
                    </a:cubicBezTo>
                    <a:cubicBezTo>
                      <a:pt x="424" y="19"/>
                      <a:pt x="424" y="18"/>
                      <a:pt x="423" y="17"/>
                    </a:cubicBezTo>
                    <a:cubicBezTo>
                      <a:pt x="422" y="15"/>
                      <a:pt x="421" y="19"/>
                      <a:pt x="420" y="19"/>
                    </a:cubicBezTo>
                    <a:cubicBezTo>
                      <a:pt x="420" y="18"/>
                      <a:pt x="420" y="17"/>
                      <a:pt x="420" y="17"/>
                    </a:cubicBezTo>
                    <a:cubicBezTo>
                      <a:pt x="420" y="16"/>
                      <a:pt x="420" y="16"/>
                      <a:pt x="419" y="15"/>
                    </a:cubicBezTo>
                    <a:cubicBezTo>
                      <a:pt x="419" y="14"/>
                      <a:pt x="417" y="13"/>
                      <a:pt x="416" y="13"/>
                    </a:cubicBezTo>
                    <a:cubicBezTo>
                      <a:pt x="414" y="12"/>
                      <a:pt x="413" y="12"/>
                      <a:pt x="411" y="11"/>
                    </a:cubicBezTo>
                    <a:cubicBezTo>
                      <a:pt x="409" y="11"/>
                      <a:pt x="409" y="11"/>
                      <a:pt x="406" y="12"/>
                    </a:cubicBezTo>
                    <a:cubicBezTo>
                      <a:pt x="404" y="12"/>
                      <a:pt x="397" y="9"/>
                      <a:pt x="396" y="12"/>
                    </a:cubicBezTo>
                    <a:cubicBezTo>
                      <a:pt x="395" y="13"/>
                      <a:pt x="389" y="14"/>
                      <a:pt x="388" y="13"/>
                    </a:cubicBezTo>
                    <a:cubicBezTo>
                      <a:pt x="388" y="13"/>
                      <a:pt x="394" y="9"/>
                      <a:pt x="392" y="8"/>
                    </a:cubicBezTo>
                    <a:cubicBezTo>
                      <a:pt x="392" y="8"/>
                      <a:pt x="385" y="9"/>
                      <a:pt x="384" y="8"/>
                    </a:cubicBezTo>
                    <a:cubicBezTo>
                      <a:pt x="384" y="7"/>
                      <a:pt x="386" y="7"/>
                      <a:pt x="386" y="7"/>
                    </a:cubicBezTo>
                    <a:cubicBezTo>
                      <a:pt x="386" y="6"/>
                      <a:pt x="378" y="7"/>
                      <a:pt x="378" y="7"/>
                    </a:cubicBezTo>
                    <a:cubicBezTo>
                      <a:pt x="379" y="5"/>
                      <a:pt x="383" y="6"/>
                      <a:pt x="384" y="5"/>
                    </a:cubicBezTo>
                    <a:cubicBezTo>
                      <a:pt x="385" y="4"/>
                      <a:pt x="387" y="5"/>
                      <a:pt x="386" y="4"/>
                    </a:cubicBezTo>
                    <a:cubicBezTo>
                      <a:pt x="386" y="3"/>
                      <a:pt x="386" y="2"/>
                      <a:pt x="385" y="2"/>
                    </a:cubicBezTo>
                    <a:cubicBezTo>
                      <a:pt x="382" y="2"/>
                      <a:pt x="381" y="1"/>
                      <a:pt x="378" y="1"/>
                    </a:cubicBezTo>
                    <a:cubicBezTo>
                      <a:pt x="376" y="0"/>
                      <a:pt x="374" y="1"/>
                      <a:pt x="372" y="2"/>
                    </a:cubicBezTo>
                    <a:cubicBezTo>
                      <a:pt x="368" y="3"/>
                      <a:pt x="364" y="6"/>
                      <a:pt x="362" y="8"/>
                    </a:cubicBezTo>
                    <a:cubicBezTo>
                      <a:pt x="361" y="9"/>
                      <a:pt x="361" y="9"/>
                      <a:pt x="362" y="10"/>
                    </a:cubicBezTo>
                    <a:cubicBezTo>
                      <a:pt x="363" y="10"/>
                      <a:pt x="362" y="11"/>
                      <a:pt x="362" y="12"/>
                    </a:cubicBezTo>
                    <a:cubicBezTo>
                      <a:pt x="362" y="14"/>
                      <a:pt x="366" y="13"/>
                      <a:pt x="366" y="14"/>
                    </a:cubicBezTo>
                    <a:cubicBezTo>
                      <a:pt x="366" y="13"/>
                      <a:pt x="361" y="14"/>
                      <a:pt x="360" y="14"/>
                    </a:cubicBezTo>
                    <a:cubicBezTo>
                      <a:pt x="359" y="14"/>
                      <a:pt x="353" y="13"/>
                      <a:pt x="352" y="14"/>
                    </a:cubicBezTo>
                    <a:cubicBezTo>
                      <a:pt x="352" y="13"/>
                      <a:pt x="355" y="17"/>
                      <a:pt x="355" y="17"/>
                    </a:cubicBezTo>
                    <a:cubicBezTo>
                      <a:pt x="356" y="18"/>
                      <a:pt x="351" y="16"/>
                      <a:pt x="350" y="16"/>
                    </a:cubicBezTo>
                    <a:cubicBezTo>
                      <a:pt x="349" y="16"/>
                      <a:pt x="347" y="17"/>
                      <a:pt x="345" y="18"/>
                    </a:cubicBezTo>
                    <a:cubicBezTo>
                      <a:pt x="345" y="18"/>
                      <a:pt x="345" y="18"/>
                      <a:pt x="344" y="18"/>
                    </a:cubicBezTo>
                    <a:cubicBezTo>
                      <a:pt x="342" y="18"/>
                      <a:pt x="344" y="18"/>
                      <a:pt x="343" y="17"/>
                    </a:cubicBezTo>
                    <a:cubicBezTo>
                      <a:pt x="343" y="18"/>
                      <a:pt x="338" y="20"/>
                      <a:pt x="338" y="20"/>
                    </a:cubicBezTo>
                    <a:cubicBezTo>
                      <a:pt x="338" y="19"/>
                      <a:pt x="340" y="18"/>
                      <a:pt x="340" y="18"/>
                    </a:cubicBezTo>
                    <a:cubicBezTo>
                      <a:pt x="340" y="17"/>
                      <a:pt x="335" y="18"/>
                      <a:pt x="334" y="17"/>
                    </a:cubicBezTo>
                    <a:cubicBezTo>
                      <a:pt x="334" y="17"/>
                      <a:pt x="336" y="16"/>
                      <a:pt x="336" y="16"/>
                    </a:cubicBezTo>
                    <a:cubicBezTo>
                      <a:pt x="335" y="17"/>
                      <a:pt x="330" y="18"/>
                      <a:pt x="328" y="18"/>
                    </a:cubicBezTo>
                    <a:cubicBezTo>
                      <a:pt x="323" y="19"/>
                      <a:pt x="329" y="19"/>
                      <a:pt x="330" y="20"/>
                    </a:cubicBezTo>
                    <a:cubicBezTo>
                      <a:pt x="329" y="19"/>
                      <a:pt x="324" y="21"/>
                      <a:pt x="323" y="21"/>
                    </a:cubicBezTo>
                    <a:cubicBezTo>
                      <a:pt x="322" y="21"/>
                      <a:pt x="321" y="21"/>
                      <a:pt x="320" y="22"/>
                    </a:cubicBezTo>
                    <a:cubicBezTo>
                      <a:pt x="319" y="23"/>
                      <a:pt x="317" y="22"/>
                      <a:pt x="315" y="22"/>
                    </a:cubicBezTo>
                    <a:cubicBezTo>
                      <a:pt x="314" y="22"/>
                      <a:pt x="313" y="24"/>
                      <a:pt x="311" y="24"/>
                    </a:cubicBezTo>
                    <a:cubicBezTo>
                      <a:pt x="309" y="25"/>
                      <a:pt x="308" y="24"/>
                      <a:pt x="307" y="25"/>
                    </a:cubicBezTo>
                    <a:cubicBezTo>
                      <a:pt x="306" y="26"/>
                      <a:pt x="305" y="27"/>
                      <a:pt x="304" y="27"/>
                    </a:cubicBezTo>
                    <a:cubicBezTo>
                      <a:pt x="302" y="27"/>
                      <a:pt x="300" y="27"/>
                      <a:pt x="299" y="27"/>
                    </a:cubicBezTo>
                    <a:cubicBezTo>
                      <a:pt x="299" y="27"/>
                      <a:pt x="302" y="29"/>
                      <a:pt x="302" y="29"/>
                    </a:cubicBezTo>
                    <a:cubicBezTo>
                      <a:pt x="301" y="30"/>
                      <a:pt x="295" y="30"/>
                      <a:pt x="295" y="30"/>
                    </a:cubicBezTo>
                    <a:cubicBezTo>
                      <a:pt x="295" y="30"/>
                      <a:pt x="299" y="30"/>
                      <a:pt x="299" y="30"/>
                    </a:cubicBezTo>
                    <a:cubicBezTo>
                      <a:pt x="299" y="30"/>
                      <a:pt x="297" y="30"/>
                      <a:pt x="296" y="30"/>
                    </a:cubicBezTo>
                    <a:cubicBezTo>
                      <a:pt x="297" y="30"/>
                      <a:pt x="299" y="31"/>
                      <a:pt x="299" y="31"/>
                    </a:cubicBezTo>
                    <a:cubicBezTo>
                      <a:pt x="298" y="31"/>
                      <a:pt x="298" y="31"/>
                      <a:pt x="297" y="31"/>
                    </a:cubicBezTo>
                    <a:cubicBezTo>
                      <a:pt x="298" y="31"/>
                      <a:pt x="297" y="32"/>
                      <a:pt x="297" y="32"/>
                    </a:cubicBezTo>
                    <a:cubicBezTo>
                      <a:pt x="297" y="33"/>
                      <a:pt x="294" y="32"/>
                      <a:pt x="294" y="32"/>
                    </a:cubicBezTo>
                    <a:cubicBezTo>
                      <a:pt x="294" y="33"/>
                      <a:pt x="296" y="33"/>
                      <a:pt x="296" y="34"/>
                    </a:cubicBezTo>
                    <a:cubicBezTo>
                      <a:pt x="297" y="34"/>
                      <a:pt x="295" y="34"/>
                      <a:pt x="295" y="34"/>
                    </a:cubicBezTo>
                    <a:cubicBezTo>
                      <a:pt x="295" y="36"/>
                      <a:pt x="299" y="34"/>
                      <a:pt x="298" y="36"/>
                    </a:cubicBezTo>
                    <a:cubicBezTo>
                      <a:pt x="296" y="38"/>
                      <a:pt x="301" y="39"/>
                      <a:pt x="298" y="40"/>
                    </a:cubicBezTo>
                    <a:cubicBezTo>
                      <a:pt x="296" y="40"/>
                      <a:pt x="294" y="40"/>
                      <a:pt x="292" y="40"/>
                    </a:cubicBezTo>
                    <a:cubicBezTo>
                      <a:pt x="291" y="41"/>
                      <a:pt x="291" y="42"/>
                      <a:pt x="289" y="41"/>
                    </a:cubicBezTo>
                    <a:cubicBezTo>
                      <a:pt x="288" y="41"/>
                      <a:pt x="287" y="41"/>
                      <a:pt x="286" y="41"/>
                    </a:cubicBezTo>
                    <a:cubicBezTo>
                      <a:pt x="282" y="42"/>
                      <a:pt x="278" y="42"/>
                      <a:pt x="274" y="42"/>
                    </a:cubicBezTo>
                    <a:cubicBezTo>
                      <a:pt x="272" y="42"/>
                      <a:pt x="270" y="42"/>
                      <a:pt x="269" y="43"/>
                    </a:cubicBezTo>
                    <a:cubicBezTo>
                      <a:pt x="268" y="44"/>
                      <a:pt x="267" y="45"/>
                      <a:pt x="267" y="46"/>
                    </a:cubicBezTo>
                    <a:cubicBezTo>
                      <a:pt x="267" y="47"/>
                      <a:pt x="269" y="48"/>
                      <a:pt x="269" y="49"/>
                    </a:cubicBezTo>
                    <a:cubicBezTo>
                      <a:pt x="268" y="51"/>
                      <a:pt x="268" y="52"/>
                      <a:pt x="269" y="53"/>
                    </a:cubicBezTo>
                    <a:cubicBezTo>
                      <a:pt x="271" y="55"/>
                      <a:pt x="274" y="54"/>
                      <a:pt x="276" y="56"/>
                    </a:cubicBezTo>
                    <a:cubicBezTo>
                      <a:pt x="276" y="56"/>
                      <a:pt x="278" y="60"/>
                      <a:pt x="278" y="60"/>
                    </a:cubicBezTo>
                    <a:cubicBezTo>
                      <a:pt x="274" y="60"/>
                      <a:pt x="273" y="60"/>
                      <a:pt x="270" y="58"/>
                    </a:cubicBezTo>
                    <a:cubicBezTo>
                      <a:pt x="267" y="56"/>
                      <a:pt x="262" y="54"/>
                      <a:pt x="258" y="54"/>
                    </a:cubicBezTo>
                    <a:cubicBezTo>
                      <a:pt x="256" y="54"/>
                      <a:pt x="257" y="53"/>
                      <a:pt x="255" y="52"/>
                    </a:cubicBezTo>
                    <a:cubicBezTo>
                      <a:pt x="254" y="52"/>
                      <a:pt x="250" y="52"/>
                      <a:pt x="250" y="54"/>
                    </a:cubicBezTo>
                    <a:cubicBezTo>
                      <a:pt x="250" y="55"/>
                      <a:pt x="254" y="55"/>
                      <a:pt x="254" y="55"/>
                    </a:cubicBezTo>
                    <a:cubicBezTo>
                      <a:pt x="254" y="55"/>
                      <a:pt x="251" y="56"/>
                      <a:pt x="252" y="56"/>
                    </a:cubicBezTo>
                    <a:cubicBezTo>
                      <a:pt x="254" y="57"/>
                      <a:pt x="255" y="56"/>
                      <a:pt x="256" y="58"/>
                    </a:cubicBezTo>
                    <a:cubicBezTo>
                      <a:pt x="256" y="60"/>
                      <a:pt x="253" y="59"/>
                      <a:pt x="252" y="59"/>
                    </a:cubicBezTo>
                    <a:cubicBezTo>
                      <a:pt x="250" y="58"/>
                      <a:pt x="249" y="57"/>
                      <a:pt x="247" y="58"/>
                    </a:cubicBezTo>
                    <a:cubicBezTo>
                      <a:pt x="245" y="58"/>
                      <a:pt x="246" y="61"/>
                      <a:pt x="247" y="62"/>
                    </a:cubicBezTo>
                    <a:cubicBezTo>
                      <a:pt x="248" y="63"/>
                      <a:pt x="250" y="63"/>
                      <a:pt x="251" y="63"/>
                    </a:cubicBezTo>
                    <a:cubicBezTo>
                      <a:pt x="253" y="64"/>
                      <a:pt x="255" y="64"/>
                      <a:pt x="256" y="65"/>
                    </a:cubicBezTo>
                    <a:cubicBezTo>
                      <a:pt x="257" y="66"/>
                      <a:pt x="257" y="67"/>
                      <a:pt x="257" y="67"/>
                    </a:cubicBezTo>
                    <a:cubicBezTo>
                      <a:pt x="258" y="67"/>
                      <a:pt x="259" y="67"/>
                      <a:pt x="260" y="67"/>
                    </a:cubicBezTo>
                    <a:cubicBezTo>
                      <a:pt x="260" y="67"/>
                      <a:pt x="257" y="68"/>
                      <a:pt x="257" y="68"/>
                    </a:cubicBezTo>
                    <a:cubicBezTo>
                      <a:pt x="255" y="68"/>
                      <a:pt x="255" y="67"/>
                      <a:pt x="254" y="66"/>
                    </a:cubicBezTo>
                    <a:cubicBezTo>
                      <a:pt x="252" y="65"/>
                      <a:pt x="249" y="65"/>
                      <a:pt x="246" y="65"/>
                    </a:cubicBezTo>
                    <a:cubicBezTo>
                      <a:pt x="245" y="65"/>
                      <a:pt x="240" y="64"/>
                      <a:pt x="242" y="62"/>
                    </a:cubicBezTo>
                    <a:cubicBezTo>
                      <a:pt x="243" y="62"/>
                      <a:pt x="242" y="61"/>
                      <a:pt x="242" y="60"/>
                    </a:cubicBezTo>
                    <a:cubicBezTo>
                      <a:pt x="241" y="59"/>
                      <a:pt x="242" y="58"/>
                      <a:pt x="242" y="57"/>
                    </a:cubicBezTo>
                    <a:cubicBezTo>
                      <a:pt x="243" y="55"/>
                      <a:pt x="244" y="51"/>
                      <a:pt x="242" y="50"/>
                    </a:cubicBezTo>
                    <a:cubicBezTo>
                      <a:pt x="238" y="49"/>
                      <a:pt x="241" y="54"/>
                      <a:pt x="240" y="56"/>
                    </a:cubicBezTo>
                    <a:cubicBezTo>
                      <a:pt x="238" y="58"/>
                      <a:pt x="235" y="59"/>
                      <a:pt x="233" y="61"/>
                    </a:cubicBezTo>
                    <a:cubicBezTo>
                      <a:pt x="230" y="64"/>
                      <a:pt x="231" y="63"/>
                      <a:pt x="233" y="65"/>
                    </a:cubicBezTo>
                    <a:cubicBezTo>
                      <a:pt x="234" y="66"/>
                      <a:pt x="237" y="69"/>
                      <a:pt x="237" y="71"/>
                    </a:cubicBezTo>
                    <a:cubicBezTo>
                      <a:pt x="237" y="71"/>
                      <a:pt x="236" y="73"/>
                      <a:pt x="235" y="73"/>
                    </a:cubicBezTo>
                    <a:cubicBezTo>
                      <a:pt x="234" y="75"/>
                      <a:pt x="233" y="77"/>
                      <a:pt x="233" y="79"/>
                    </a:cubicBezTo>
                    <a:cubicBezTo>
                      <a:pt x="233" y="79"/>
                      <a:pt x="234" y="84"/>
                      <a:pt x="235" y="84"/>
                    </a:cubicBezTo>
                    <a:cubicBezTo>
                      <a:pt x="237" y="84"/>
                      <a:pt x="239" y="84"/>
                      <a:pt x="241" y="83"/>
                    </a:cubicBezTo>
                    <a:cubicBezTo>
                      <a:pt x="243" y="82"/>
                      <a:pt x="246" y="83"/>
                      <a:pt x="248" y="84"/>
                    </a:cubicBezTo>
                    <a:cubicBezTo>
                      <a:pt x="251" y="84"/>
                      <a:pt x="253" y="86"/>
                      <a:pt x="254" y="89"/>
                    </a:cubicBezTo>
                    <a:cubicBezTo>
                      <a:pt x="255" y="91"/>
                      <a:pt x="251" y="94"/>
                      <a:pt x="253" y="95"/>
                    </a:cubicBezTo>
                    <a:cubicBezTo>
                      <a:pt x="253" y="95"/>
                      <a:pt x="259" y="97"/>
                      <a:pt x="259" y="97"/>
                    </a:cubicBezTo>
                    <a:cubicBezTo>
                      <a:pt x="259" y="98"/>
                      <a:pt x="252" y="96"/>
                      <a:pt x="251" y="96"/>
                    </a:cubicBezTo>
                    <a:cubicBezTo>
                      <a:pt x="251" y="96"/>
                      <a:pt x="250" y="93"/>
                      <a:pt x="250" y="93"/>
                    </a:cubicBezTo>
                    <a:cubicBezTo>
                      <a:pt x="251" y="91"/>
                      <a:pt x="252" y="90"/>
                      <a:pt x="250" y="89"/>
                    </a:cubicBezTo>
                    <a:cubicBezTo>
                      <a:pt x="248" y="88"/>
                      <a:pt x="249" y="86"/>
                      <a:pt x="247" y="85"/>
                    </a:cubicBezTo>
                    <a:cubicBezTo>
                      <a:pt x="245" y="85"/>
                      <a:pt x="243" y="86"/>
                      <a:pt x="241" y="86"/>
                    </a:cubicBezTo>
                    <a:cubicBezTo>
                      <a:pt x="241" y="86"/>
                      <a:pt x="237" y="87"/>
                      <a:pt x="237" y="88"/>
                    </a:cubicBezTo>
                    <a:cubicBezTo>
                      <a:pt x="238" y="88"/>
                      <a:pt x="239" y="88"/>
                      <a:pt x="238" y="88"/>
                    </a:cubicBezTo>
                    <a:cubicBezTo>
                      <a:pt x="238" y="89"/>
                      <a:pt x="236" y="90"/>
                      <a:pt x="237" y="91"/>
                    </a:cubicBezTo>
                    <a:cubicBezTo>
                      <a:pt x="241" y="93"/>
                      <a:pt x="238" y="96"/>
                      <a:pt x="236" y="98"/>
                    </a:cubicBezTo>
                    <a:cubicBezTo>
                      <a:pt x="235" y="99"/>
                      <a:pt x="234" y="101"/>
                      <a:pt x="234" y="102"/>
                    </a:cubicBezTo>
                    <a:cubicBezTo>
                      <a:pt x="233" y="103"/>
                      <a:pt x="231" y="104"/>
                      <a:pt x="229" y="104"/>
                    </a:cubicBezTo>
                    <a:cubicBezTo>
                      <a:pt x="228" y="105"/>
                      <a:pt x="227" y="105"/>
                      <a:pt x="227" y="107"/>
                    </a:cubicBezTo>
                    <a:cubicBezTo>
                      <a:pt x="226" y="109"/>
                      <a:pt x="224" y="108"/>
                      <a:pt x="223" y="108"/>
                    </a:cubicBezTo>
                    <a:cubicBezTo>
                      <a:pt x="220" y="107"/>
                      <a:pt x="218" y="108"/>
                      <a:pt x="216" y="107"/>
                    </a:cubicBezTo>
                    <a:cubicBezTo>
                      <a:pt x="215" y="107"/>
                      <a:pt x="214" y="106"/>
                      <a:pt x="213" y="106"/>
                    </a:cubicBezTo>
                    <a:cubicBezTo>
                      <a:pt x="211" y="106"/>
                      <a:pt x="211" y="105"/>
                      <a:pt x="210" y="104"/>
                    </a:cubicBezTo>
                    <a:cubicBezTo>
                      <a:pt x="210" y="104"/>
                      <a:pt x="212" y="103"/>
                      <a:pt x="212" y="104"/>
                    </a:cubicBezTo>
                    <a:cubicBezTo>
                      <a:pt x="213" y="106"/>
                      <a:pt x="215" y="106"/>
                      <a:pt x="215" y="105"/>
                    </a:cubicBezTo>
                    <a:cubicBezTo>
                      <a:pt x="216" y="104"/>
                      <a:pt x="221" y="107"/>
                      <a:pt x="223" y="105"/>
                    </a:cubicBezTo>
                    <a:cubicBezTo>
                      <a:pt x="223" y="104"/>
                      <a:pt x="221" y="103"/>
                      <a:pt x="223" y="103"/>
                    </a:cubicBezTo>
                    <a:cubicBezTo>
                      <a:pt x="224" y="102"/>
                      <a:pt x="226" y="101"/>
                      <a:pt x="227" y="100"/>
                    </a:cubicBezTo>
                    <a:cubicBezTo>
                      <a:pt x="228" y="98"/>
                      <a:pt x="227" y="98"/>
                      <a:pt x="230" y="97"/>
                    </a:cubicBezTo>
                    <a:cubicBezTo>
                      <a:pt x="233" y="95"/>
                      <a:pt x="229" y="93"/>
                      <a:pt x="231" y="91"/>
                    </a:cubicBezTo>
                    <a:cubicBezTo>
                      <a:pt x="233" y="90"/>
                      <a:pt x="233" y="89"/>
                      <a:pt x="231" y="88"/>
                    </a:cubicBezTo>
                    <a:cubicBezTo>
                      <a:pt x="230" y="88"/>
                      <a:pt x="229" y="87"/>
                      <a:pt x="228" y="86"/>
                    </a:cubicBezTo>
                    <a:cubicBezTo>
                      <a:pt x="227" y="84"/>
                      <a:pt x="228" y="81"/>
                      <a:pt x="228" y="79"/>
                    </a:cubicBezTo>
                    <a:cubicBezTo>
                      <a:pt x="228" y="77"/>
                      <a:pt x="227" y="75"/>
                      <a:pt x="228" y="73"/>
                    </a:cubicBezTo>
                    <a:cubicBezTo>
                      <a:pt x="228" y="71"/>
                      <a:pt x="230" y="71"/>
                      <a:pt x="230" y="69"/>
                    </a:cubicBezTo>
                    <a:cubicBezTo>
                      <a:pt x="229" y="67"/>
                      <a:pt x="227" y="66"/>
                      <a:pt x="226" y="65"/>
                    </a:cubicBezTo>
                    <a:cubicBezTo>
                      <a:pt x="225" y="64"/>
                      <a:pt x="224" y="63"/>
                      <a:pt x="225" y="62"/>
                    </a:cubicBezTo>
                    <a:cubicBezTo>
                      <a:pt x="227" y="61"/>
                      <a:pt x="227" y="59"/>
                      <a:pt x="228" y="57"/>
                    </a:cubicBezTo>
                    <a:cubicBezTo>
                      <a:pt x="229" y="56"/>
                      <a:pt x="230" y="53"/>
                      <a:pt x="229" y="52"/>
                    </a:cubicBezTo>
                    <a:cubicBezTo>
                      <a:pt x="229" y="51"/>
                      <a:pt x="225" y="50"/>
                      <a:pt x="223" y="49"/>
                    </a:cubicBezTo>
                    <a:cubicBezTo>
                      <a:pt x="221" y="49"/>
                      <a:pt x="219" y="49"/>
                      <a:pt x="217" y="49"/>
                    </a:cubicBezTo>
                    <a:cubicBezTo>
                      <a:pt x="216" y="49"/>
                      <a:pt x="213" y="48"/>
                      <a:pt x="212" y="49"/>
                    </a:cubicBezTo>
                    <a:cubicBezTo>
                      <a:pt x="209" y="51"/>
                      <a:pt x="209" y="58"/>
                      <a:pt x="206" y="60"/>
                    </a:cubicBezTo>
                    <a:cubicBezTo>
                      <a:pt x="204" y="63"/>
                      <a:pt x="198" y="64"/>
                      <a:pt x="198" y="68"/>
                    </a:cubicBezTo>
                    <a:cubicBezTo>
                      <a:pt x="198" y="69"/>
                      <a:pt x="201" y="68"/>
                      <a:pt x="201" y="68"/>
                    </a:cubicBezTo>
                    <a:cubicBezTo>
                      <a:pt x="202" y="69"/>
                      <a:pt x="201" y="73"/>
                      <a:pt x="201" y="73"/>
                    </a:cubicBezTo>
                    <a:cubicBezTo>
                      <a:pt x="200" y="75"/>
                      <a:pt x="202" y="76"/>
                      <a:pt x="199" y="76"/>
                    </a:cubicBezTo>
                    <a:cubicBezTo>
                      <a:pt x="199" y="77"/>
                      <a:pt x="198" y="77"/>
                      <a:pt x="198" y="78"/>
                    </a:cubicBezTo>
                    <a:cubicBezTo>
                      <a:pt x="199" y="79"/>
                      <a:pt x="200" y="79"/>
                      <a:pt x="201" y="79"/>
                    </a:cubicBezTo>
                    <a:cubicBezTo>
                      <a:pt x="202" y="79"/>
                      <a:pt x="206" y="79"/>
                      <a:pt x="206" y="80"/>
                    </a:cubicBezTo>
                    <a:cubicBezTo>
                      <a:pt x="206" y="82"/>
                      <a:pt x="206" y="84"/>
                      <a:pt x="208" y="85"/>
                    </a:cubicBezTo>
                    <a:cubicBezTo>
                      <a:pt x="210" y="86"/>
                      <a:pt x="212" y="85"/>
                      <a:pt x="210" y="87"/>
                    </a:cubicBezTo>
                    <a:cubicBezTo>
                      <a:pt x="209" y="88"/>
                      <a:pt x="209" y="90"/>
                      <a:pt x="208" y="91"/>
                    </a:cubicBezTo>
                    <a:cubicBezTo>
                      <a:pt x="207" y="93"/>
                      <a:pt x="202" y="88"/>
                      <a:pt x="201" y="87"/>
                    </a:cubicBezTo>
                    <a:cubicBezTo>
                      <a:pt x="198" y="85"/>
                      <a:pt x="194" y="84"/>
                      <a:pt x="191" y="83"/>
                    </a:cubicBezTo>
                    <a:cubicBezTo>
                      <a:pt x="189" y="82"/>
                      <a:pt x="188" y="81"/>
                      <a:pt x="186" y="80"/>
                    </a:cubicBezTo>
                    <a:cubicBezTo>
                      <a:pt x="185" y="80"/>
                      <a:pt x="183" y="79"/>
                      <a:pt x="182" y="79"/>
                    </a:cubicBezTo>
                    <a:cubicBezTo>
                      <a:pt x="179" y="79"/>
                      <a:pt x="176" y="78"/>
                      <a:pt x="173" y="78"/>
                    </a:cubicBezTo>
                    <a:cubicBezTo>
                      <a:pt x="169" y="78"/>
                      <a:pt x="165" y="78"/>
                      <a:pt x="168" y="83"/>
                    </a:cubicBezTo>
                    <a:cubicBezTo>
                      <a:pt x="170" y="84"/>
                      <a:pt x="169" y="86"/>
                      <a:pt x="167" y="87"/>
                    </a:cubicBezTo>
                    <a:cubicBezTo>
                      <a:pt x="166" y="88"/>
                      <a:pt x="163" y="86"/>
                      <a:pt x="164" y="89"/>
                    </a:cubicBezTo>
                    <a:cubicBezTo>
                      <a:pt x="165" y="90"/>
                      <a:pt x="157" y="90"/>
                      <a:pt x="161" y="87"/>
                    </a:cubicBezTo>
                    <a:cubicBezTo>
                      <a:pt x="162" y="86"/>
                      <a:pt x="159" y="84"/>
                      <a:pt x="158" y="85"/>
                    </a:cubicBezTo>
                    <a:cubicBezTo>
                      <a:pt x="156" y="85"/>
                      <a:pt x="154" y="86"/>
                      <a:pt x="153" y="87"/>
                    </a:cubicBezTo>
                    <a:cubicBezTo>
                      <a:pt x="150" y="89"/>
                      <a:pt x="147" y="87"/>
                      <a:pt x="144" y="88"/>
                    </a:cubicBezTo>
                    <a:cubicBezTo>
                      <a:pt x="141" y="89"/>
                      <a:pt x="139" y="91"/>
                      <a:pt x="137" y="91"/>
                    </a:cubicBezTo>
                    <a:cubicBezTo>
                      <a:pt x="136" y="91"/>
                      <a:pt x="130" y="91"/>
                      <a:pt x="131" y="90"/>
                    </a:cubicBezTo>
                    <a:cubicBezTo>
                      <a:pt x="133" y="90"/>
                      <a:pt x="133" y="90"/>
                      <a:pt x="133" y="89"/>
                    </a:cubicBezTo>
                    <a:cubicBezTo>
                      <a:pt x="133" y="86"/>
                      <a:pt x="135" y="87"/>
                      <a:pt x="135" y="85"/>
                    </a:cubicBezTo>
                    <a:cubicBezTo>
                      <a:pt x="136" y="84"/>
                      <a:pt x="129" y="86"/>
                      <a:pt x="129" y="86"/>
                    </a:cubicBezTo>
                    <a:cubicBezTo>
                      <a:pt x="128" y="86"/>
                      <a:pt x="127" y="86"/>
                      <a:pt x="127" y="87"/>
                    </a:cubicBezTo>
                    <a:cubicBezTo>
                      <a:pt x="127" y="88"/>
                      <a:pt x="127" y="89"/>
                      <a:pt x="127" y="90"/>
                    </a:cubicBezTo>
                    <a:cubicBezTo>
                      <a:pt x="126" y="90"/>
                      <a:pt x="124" y="89"/>
                      <a:pt x="123" y="89"/>
                    </a:cubicBezTo>
                    <a:cubicBezTo>
                      <a:pt x="121" y="89"/>
                      <a:pt x="118" y="90"/>
                      <a:pt x="116" y="91"/>
                    </a:cubicBezTo>
                    <a:cubicBezTo>
                      <a:pt x="113" y="92"/>
                      <a:pt x="110" y="94"/>
                      <a:pt x="107" y="95"/>
                    </a:cubicBezTo>
                    <a:cubicBezTo>
                      <a:pt x="105" y="95"/>
                      <a:pt x="104" y="96"/>
                      <a:pt x="103" y="98"/>
                    </a:cubicBezTo>
                    <a:cubicBezTo>
                      <a:pt x="103" y="99"/>
                      <a:pt x="103" y="102"/>
                      <a:pt x="101" y="102"/>
                    </a:cubicBezTo>
                    <a:cubicBezTo>
                      <a:pt x="99" y="102"/>
                      <a:pt x="97" y="103"/>
                      <a:pt x="95" y="103"/>
                    </a:cubicBezTo>
                    <a:cubicBezTo>
                      <a:pt x="94" y="103"/>
                      <a:pt x="93" y="101"/>
                      <a:pt x="92" y="100"/>
                    </a:cubicBezTo>
                    <a:cubicBezTo>
                      <a:pt x="90" y="98"/>
                      <a:pt x="87" y="99"/>
                      <a:pt x="89" y="96"/>
                    </a:cubicBezTo>
                    <a:cubicBezTo>
                      <a:pt x="90" y="94"/>
                      <a:pt x="93" y="95"/>
                      <a:pt x="94" y="94"/>
                    </a:cubicBezTo>
                    <a:cubicBezTo>
                      <a:pt x="96" y="94"/>
                      <a:pt x="98" y="95"/>
                      <a:pt x="97" y="93"/>
                    </a:cubicBezTo>
                    <a:cubicBezTo>
                      <a:pt x="96" y="92"/>
                      <a:pt x="95" y="90"/>
                      <a:pt x="94" y="89"/>
                    </a:cubicBezTo>
                    <a:cubicBezTo>
                      <a:pt x="92" y="87"/>
                      <a:pt x="89" y="88"/>
                      <a:pt x="87" y="88"/>
                    </a:cubicBezTo>
                    <a:cubicBezTo>
                      <a:pt x="86" y="88"/>
                      <a:pt x="80" y="87"/>
                      <a:pt x="80" y="87"/>
                    </a:cubicBezTo>
                    <a:cubicBezTo>
                      <a:pt x="80" y="87"/>
                      <a:pt x="83" y="88"/>
                      <a:pt x="83" y="88"/>
                    </a:cubicBezTo>
                    <a:cubicBezTo>
                      <a:pt x="84" y="89"/>
                      <a:pt x="84" y="90"/>
                      <a:pt x="84" y="91"/>
                    </a:cubicBezTo>
                    <a:cubicBezTo>
                      <a:pt x="84" y="92"/>
                      <a:pt x="84" y="94"/>
                      <a:pt x="84" y="95"/>
                    </a:cubicBezTo>
                    <a:cubicBezTo>
                      <a:pt x="83" y="96"/>
                      <a:pt x="82" y="97"/>
                      <a:pt x="82" y="98"/>
                    </a:cubicBezTo>
                    <a:cubicBezTo>
                      <a:pt x="83" y="100"/>
                      <a:pt x="87" y="100"/>
                      <a:pt x="86" y="103"/>
                    </a:cubicBezTo>
                    <a:cubicBezTo>
                      <a:pt x="85" y="104"/>
                      <a:pt x="84" y="106"/>
                      <a:pt x="84" y="107"/>
                    </a:cubicBezTo>
                    <a:cubicBezTo>
                      <a:pt x="84" y="107"/>
                      <a:pt x="84" y="111"/>
                      <a:pt x="84" y="111"/>
                    </a:cubicBezTo>
                    <a:cubicBezTo>
                      <a:pt x="84" y="111"/>
                      <a:pt x="83" y="108"/>
                      <a:pt x="83" y="108"/>
                    </a:cubicBezTo>
                    <a:cubicBezTo>
                      <a:pt x="82" y="108"/>
                      <a:pt x="81" y="110"/>
                      <a:pt x="80" y="109"/>
                    </a:cubicBezTo>
                    <a:cubicBezTo>
                      <a:pt x="80" y="109"/>
                      <a:pt x="82" y="108"/>
                      <a:pt x="82" y="107"/>
                    </a:cubicBezTo>
                    <a:cubicBezTo>
                      <a:pt x="81" y="106"/>
                      <a:pt x="79" y="106"/>
                      <a:pt x="78" y="106"/>
                    </a:cubicBezTo>
                    <a:cubicBezTo>
                      <a:pt x="77" y="106"/>
                      <a:pt x="76" y="105"/>
                      <a:pt x="75" y="106"/>
                    </a:cubicBezTo>
                    <a:cubicBezTo>
                      <a:pt x="73" y="106"/>
                      <a:pt x="72" y="108"/>
                      <a:pt x="70" y="108"/>
                    </a:cubicBezTo>
                    <a:cubicBezTo>
                      <a:pt x="68" y="110"/>
                      <a:pt x="67" y="110"/>
                      <a:pt x="65" y="112"/>
                    </a:cubicBezTo>
                    <a:cubicBezTo>
                      <a:pt x="63" y="114"/>
                      <a:pt x="61" y="114"/>
                      <a:pt x="64" y="116"/>
                    </a:cubicBezTo>
                    <a:cubicBezTo>
                      <a:pt x="65" y="117"/>
                      <a:pt x="67" y="120"/>
                      <a:pt x="66" y="121"/>
                    </a:cubicBezTo>
                    <a:cubicBezTo>
                      <a:pt x="65" y="122"/>
                      <a:pt x="59" y="120"/>
                      <a:pt x="58" y="120"/>
                    </a:cubicBezTo>
                    <a:cubicBezTo>
                      <a:pt x="57" y="119"/>
                      <a:pt x="54" y="120"/>
                      <a:pt x="53" y="120"/>
                    </a:cubicBezTo>
                    <a:cubicBezTo>
                      <a:pt x="54" y="119"/>
                      <a:pt x="49" y="115"/>
                      <a:pt x="48" y="117"/>
                    </a:cubicBezTo>
                    <a:cubicBezTo>
                      <a:pt x="43" y="121"/>
                      <a:pt x="54" y="122"/>
                      <a:pt x="54" y="124"/>
                    </a:cubicBezTo>
                    <a:cubicBezTo>
                      <a:pt x="53" y="128"/>
                      <a:pt x="50" y="126"/>
                      <a:pt x="47" y="126"/>
                    </a:cubicBezTo>
                    <a:cubicBezTo>
                      <a:pt x="44" y="125"/>
                      <a:pt x="43" y="123"/>
                      <a:pt x="40" y="122"/>
                    </a:cubicBezTo>
                    <a:cubicBezTo>
                      <a:pt x="38" y="121"/>
                      <a:pt x="38" y="120"/>
                      <a:pt x="37" y="118"/>
                    </a:cubicBezTo>
                    <a:cubicBezTo>
                      <a:pt x="37" y="116"/>
                      <a:pt x="36" y="116"/>
                      <a:pt x="35" y="115"/>
                    </a:cubicBezTo>
                    <a:cubicBezTo>
                      <a:pt x="35" y="114"/>
                      <a:pt x="38" y="112"/>
                      <a:pt x="38" y="112"/>
                    </a:cubicBezTo>
                    <a:cubicBezTo>
                      <a:pt x="39" y="109"/>
                      <a:pt x="34" y="107"/>
                      <a:pt x="32" y="107"/>
                    </a:cubicBezTo>
                    <a:cubicBezTo>
                      <a:pt x="30" y="106"/>
                      <a:pt x="30" y="104"/>
                      <a:pt x="28" y="104"/>
                    </a:cubicBezTo>
                    <a:cubicBezTo>
                      <a:pt x="29" y="103"/>
                      <a:pt x="24" y="99"/>
                      <a:pt x="24" y="99"/>
                    </a:cubicBezTo>
                    <a:cubicBezTo>
                      <a:pt x="26" y="98"/>
                      <a:pt x="28" y="101"/>
                      <a:pt x="29" y="102"/>
                    </a:cubicBezTo>
                    <a:cubicBezTo>
                      <a:pt x="30" y="103"/>
                      <a:pt x="31" y="103"/>
                      <a:pt x="31" y="102"/>
                    </a:cubicBezTo>
                    <a:cubicBezTo>
                      <a:pt x="32" y="102"/>
                      <a:pt x="33" y="103"/>
                      <a:pt x="33" y="103"/>
                    </a:cubicBezTo>
                    <a:cubicBezTo>
                      <a:pt x="36" y="104"/>
                      <a:pt x="38" y="105"/>
                      <a:pt x="41" y="105"/>
                    </a:cubicBezTo>
                    <a:cubicBezTo>
                      <a:pt x="43" y="106"/>
                      <a:pt x="46" y="106"/>
                      <a:pt x="49" y="107"/>
                    </a:cubicBezTo>
                    <a:cubicBezTo>
                      <a:pt x="54" y="109"/>
                      <a:pt x="58" y="109"/>
                      <a:pt x="63" y="106"/>
                    </a:cubicBezTo>
                    <a:cubicBezTo>
                      <a:pt x="65" y="105"/>
                      <a:pt x="66" y="104"/>
                      <a:pt x="68" y="103"/>
                    </a:cubicBezTo>
                    <a:cubicBezTo>
                      <a:pt x="71" y="101"/>
                      <a:pt x="69" y="100"/>
                      <a:pt x="69" y="97"/>
                    </a:cubicBezTo>
                    <a:cubicBezTo>
                      <a:pt x="69" y="94"/>
                      <a:pt x="62" y="93"/>
                      <a:pt x="60" y="91"/>
                    </a:cubicBezTo>
                    <a:cubicBezTo>
                      <a:pt x="57" y="89"/>
                      <a:pt x="53" y="87"/>
                      <a:pt x="50" y="86"/>
                    </a:cubicBezTo>
                    <a:cubicBezTo>
                      <a:pt x="47" y="84"/>
                      <a:pt x="43" y="82"/>
                      <a:pt x="40" y="82"/>
                    </a:cubicBezTo>
                    <a:cubicBezTo>
                      <a:pt x="39" y="81"/>
                      <a:pt x="39" y="82"/>
                      <a:pt x="38" y="82"/>
                    </a:cubicBezTo>
                    <a:cubicBezTo>
                      <a:pt x="37" y="82"/>
                      <a:pt x="36" y="81"/>
                      <a:pt x="35" y="81"/>
                    </a:cubicBezTo>
                    <a:cubicBezTo>
                      <a:pt x="33" y="80"/>
                      <a:pt x="31" y="84"/>
                      <a:pt x="29" y="84"/>
                    </a:cubicBezTo>
                    <a:cubicBezTo>
                      <a:pt x="29" y="83"/>
                      <a:pt x="33" y="80"/>
                      <a:pt x="29" y="80"/>
                    </a:cubicBezTo>
                    <a:cubicBezTo>
                      <a:pt x="28" y="80"/>
                      <a:pt x="24" y="78"/>
                      <a:pt x="24" y="78"/>
                    </a:cubicBezTo>
                    <a:cubicBezTo>
                      <a:pt x="25" y="77"/>
                      <a:pt x="29" y="80"/>
                      <a:pt x="29" y="78"/>
                    </a:cubicBezTo>
                    <a:cubicBezTo>
                      <a:pt x="29" y="77"/>
                      <a:pt x="25" y="75"/>
                      <a:pt x="24" y="75"/>
                    </a:cubicBezTo>
                    <a:cubicBezTo>
                      <a:pt x="23" y="76"/>
                      <a:pt x="20" y="78"/>
                      <a:pt x="20" y="78"/>
                    </a:cubicBezTo>
                    <a:cubicBezTo>
                      <a:pt x="20" y="77"/>
                      <a:pt x="20" y="77"/>
                      <a:pt x="19" y="76"/>
                    </a:cubicBezTo>
                    <a:cubicBezTo>
                      <a:pt x="17" y="76"/>
                      <a:pt x="17" y="77"/>
                      <a:pt x="16" y="78"/>
                    </a:cubicBezTo>
                    <a:cubicBezTo>
                      <a:pt x="16" y="78"/>
                      <a:pt x="16" y="78"/>
                      <a:pt x="16" y="77"/>
                    </a:cubicBezTo>
                    <a:cubicBezTo>
                      <a:pt x="15" y="78"/>
                      <a:pt x="14" y="80"/>
                      <a:pt x="13" y="80"/>
                    </a:cubicBezTo>
                    <a:cubicBezTo>
                      <a:pt x="12" y="81"/>
                      <a:pt x="10" y="81"/>
                      <a:pt x="10" y="81"/>
                    </a:cubicBezTo>
                    <a:cubicBezTo>
                      <a:pt x="9" y="83"/>
                      <a:pt x="5" y="83"/>
                      <a:pt x="6" y="85"/>
                    </a:cubicBezTo>
                    <a:cubicBezTo>
                      <a:pt x="9" y="87"/>
                      <a:pt x="5" y="85"/>
                      <a:pt x="5" y="88"/>
                    </a:cubicBezTo>
                    <a:cubicBezTo>
                      <a:pt x="5" y="90"/>
                      <a:pt x="9" y="91"/>
                      <a:pt x="10" y="92"/>
                    </a:cubicBezTo>
                    <a:cubicBezTo>
                      <a:pt x="12" y="93"/>
                      <a:pt x="14" y="95"/>
                      <a:pt x="13" y="97"/>
                    </a:cubicBezTo>
                    <a:cubicBezTo>
                      <a:pt x="12" y="99"/>
                      <a:pt x="9" y="100"/>
                      <a:pt x="9" y="102"/>
                    </a:cubicBezTo>
                    <a:cubicBezTo>
                      <a:pt x="10" y="104"/>
                      <a:pt x="12" y="106"/>
                      <a:pt x="13" y="108"/>
                    </a:cubicBezTo>
                    <a:cubicBezTo>
                      <a:pt x="14" y="110"/>
                      <a:pt x="12" y="110"/>
                      <a:pt x="12" y="112"/>
                    </a:cubicBezTo>
                    <a:cubicBezTo>
                      <a:pt x="12" y="114"/>
                      <a:pt x="15" y="116"/>
                      <a:pt x="13" y="117"/>
                    </a:cubicBezTo>
                    <a:cubicBezTo>
                      <a:pt x="11" y="118"/>
                      <a:pt x="14" y="121"/>
                      <a:pt x="14" y="122"/>
                    </a:cubicBezTo>
                    <a:cubicBezTo>
                      <a:pt x="16" y="124"/>
                      <a:pt x="18" y="124"/>
                      <a:pt x="15" y="126"/>
                    </a:cubicBezTo>
                    <a:cubicBezTo>
                      <a:pt x="13" y="128"/>
                      <a:pt x="14" y="128"/>
                      <a:pt x="15" y="129"/>
                    </a:cubicBezTo>
                    <a:cubicBezTo>
                      <a:pt x="20" y="132"/>
                      <a:pt x="23" y="134"/>
                      <a:pt x="18" y="138"/>
                    </a:cubicBezTo>
                    <a:cubicBezTo>
                      <a:pt x="13" y="143"/>
                      <a:pt x="8" y="147"/>
                      <a:pt x="4" y="152"/>
                    </a:cubicBezTo>
                    <a:cubicBezTo>
                      <a:pt x="6" y="152"/>
                      <a:pt x="6" y="151"/>
                      <a:pt x="7" y="152"/>
                    </a:cubicBezTo>
                    <a:cubicBezTo>
                      <a:pt x="8" y="154"/>
                      <a:pt x="10" y="154"/>
                      <a:pt x="11" y="155"/>
                    </a:cubicBezTo>
                    <a:cubicBezTo>
                      <a:pt x="17" y="157"/>
                      <a:pt x="9" y="157"/>
                      <a:pt x="7" y="157"/>
                    </a:cubicBezTo>
                    <a:cubicBezTo>
                      <a:pt x="5" y="157"/>
                      <a:pt x="4" y="158"/>
                      <a:pt x="4" y="160"/>
                    </a:cubicBezTo>
                    <a:cubicBezTo>
                      <a:pt x="4" y="162"/>
                      <a:pt x="2" y="163"/>
                      <a:pt x="1" y="165"/>
                    </a:cubicBezTo>
                    <a:cubicBezTo>
                      <a:pt x="0" y="166"/>
                      <a:pt x="1" y="168"/>
                      <a:pt x="2" y="170"/>
                    </a:cubicBezTo>
                    <a:cubicBezTo>
                      <a:pt x="2" y="172"/>
                      <a:pt x="0" y="174"/>
                      <a:pt x="1" y="175"/>
                    </a:cubicBezTo>
                    <a:cubicBezTo>
                      <a:pt x="3" y="176"/>
                      <a:pt x="3" y="176"/>
                      <a:pt x="3" y="178"/>
                    </a:cubicBezTo>
                    <a:cubicBezTo>
                      <a:pt x="2" y="180"/>
                      <a:pt x="4" y="181"/>
                      <a:pt x="4" y="183"/>
                    </a:cubicBezTo>
                    <a:cubicBezTo>
                      <a:pt x="4" y="184"/>
                      <a:pt x="7" y="186"/>
                      <a:pt x="8" y="186"/>
                    </a:cubicBezTo>
                    <a:cubicBezTo>
                      <a:pt x="8" y="186"/>
                      <a:pt x="9" y="185"/>
                      <a:pt x="10" y="185"/>
                    </a:cubicBezTo>
                    <a:cubicBezTo>
                      <a:pt x="11" y="185"/>
                      <a:pt x="11" y="187"/>
                      <a:pt x="12" y="187"/>
                    </a:cubicBezTo>
                    <a:cubicBezTo>
                      <a:pt x="14" y="186"/>
                      <a:pt x="14" y="185"/>
                      <a:pt x="16" y="187"/>
                    </a:cubicBezTo>
                    <a:cubicBezTo>
                      <a:pt x="18" y="188"/>
                      <a:pt x="18" y="188"/>
                      <a:pt x="18" y="190"/>
                    </a:cubicBezTo>
                    <a:cubicBezTo>
                      <a:pt x="17" y="195"/>
                      <a:pt x="21" y="199"/>
                      <a:pt x="24" y="201"/>
                    </a:cubicBezTo>
                    <a:cubicBezTo>
                      <a:pt x="26" y="202"/>
                      <a:pt x="27" y="203"/>
                      <a:pt x="25" y="204"/>
                    </a:cubicBezTo>
                    <a:cubicBezTo>
                      <a:pt x="24" y="206"/>
                      <a:pt x="23" y="205"/>
                      <a:pt x="21" y="205"/>
                    </a:cubicBezTo>
                    <a:cubicBezTo>
                      <a:pt x="19" y="205"/>
                      <a:pt x="22" y="214"/>
                      <a:pt x="24" y="213"/>
                    </a:cubicBezTo>
                    <a:cubicBezTo>
                      <a:pt x="25" y="212"/>
                      <a:pt x="26" y="209"/>
                      <a:pt x="27" y="210"/>
                    </a:cubicBezTo>
                    <a:cubicBezTo>
                      <a:pt x="28" y="210"/>
                      <a:pt x="29" y="211"/>
                      <a:pt x="31" y="211"/>
                    </a:cubicBezTo>
                    <a:cubicBezTo>
                      <a:pt x="33" y="211"/>
                      <a:pt x="35" y="212"/>
                      <a:pt x="35" y="214"/>
                    </a:cubicBezTo>
                    <a:cubicBezTo>
                      <a:pt x="35" y="215"/>
                      <a:pt x="34" y="215"/>
                      <a:pt x="34" y="215"/>
                    </a:cubicBezTo>
                    <a:cubicBezTo>
                      <a:pt x="33" y="216"/>
                      <a:pt x="34" y="218"/>
                      <a:pt x="35" y="218"/>
                    </a:cubicBezTo>
                    <a:cubicBezTo>
                      <a:pt x="36" y="219"/>
                      <a:pt x="38" y="218"/>
                      <a:pt x="39" y="219"/>
                    </a:cubicBezTo>
                    <a:cubicBezTo>
                      <a:pt x="40" y="220"/>
                      <a:pt x="40" y="222"/>
                      <a:pt x="40" y="223"/>
                    </a:cubicBezTo>
                    <a:cubicBezTo>
                      <a:pt x="40" y="224"/>
                      <a:pt x="43" y="223"/>
                      <a:pt x="44" y="223"/>
                    </a:cubicBezTo>
                    <a:cubicBezTo>
                      <a:pt x="45" y="224"/>
                      <a:pt x="47" y="227"/>
                      <a:pt x="48" y="225"/>
                    </a:cubicBezTo>
                    <a:cubicBezTo>
                      <a:pt x="49" y="223"/>
                      <a:pt x="50" y="224"/>
                      <a:pt x="51" y="225"/>
                    </a:cubicBezTo>
                    <a:cubicBezTo>
                      <a:pt x="53" y="227"/>
                      <a:pt x="53" y="226"/>
                      <a:pt x="55" y="226"/>
                    </a:cubicBezTo>
                    <a:cubicBezTo>
                      <a:pt x="56" y="226"/>
                      <a:pt x="57" y="229"/>
                      <a:pt x="58" y="228"/>
                    </a:cubicBezTo>
                    <a:cubicBezTo>
                      <a:pt x="60" y="227"/>
                      <a:pt x="62" y="229"/>
                      <a:pt x="63" y="230"/>
                    </a:cubicBezTo>
                    <a:cubicBezTo>
                      <a:pt x="65" y="231"/>
                      <a:pt x="62" y="232"/>
                      <a:pt x="62" y="232"/>
                    </a:cubicBezTo>
                    <a:cubicBezTo>
                      <a:pt x="60" y="233"/>
                      <a:pt x="63" y="234"/>
                      <a:pt x="63" y="234"/>
                    </a:cubicBezTo>
                    <a:cubicBezTo>
                      <a:pt x="63" y="234"/>
                      <a:pt x="60" y="234"/>
                      <a:pt x="61" y="236"/>
                    </a:cubicBezTo>
                    <a:cubicBezTo>
                      <a:pt x="63" y="237"/>
                      <a:pt x="62" y="238"/>
                      <a:pt x="61" y="239"/>
                    </a:cubicBezTo>
                    <a:cubicBezTo>
                      <a:pt x="61" y="240"/>
                      <a:pt x="58" y="240"/>
                      <a:pt x="57" y="240"/>
                    </a:cubicBezTo>
                    <a:cubicBezTo>
                      <a:pt x="55" y="240"/>
                      <a:pt x="54" y="242"/>
                      <a:pt x="53" y="244"/>
                    </a:cubicBezTo>
                    <a:cubicBezTo>
                      <a:pt x="54" y="244"/>
                      <a:pt x="58" y="244"/>
                      <a:pt x="58" y="245"/>
                    </a:cubicBezTo>
                    <a:cubicBezTo>
                      <a:pt x="58" y="246"/>
                      <a:pt x="53" y="247"/>
                      <a:pt x="53" y="248"/>
                    </a:cubicBezTo>
                    <a:cubicBezTo>
                      <a:pt x="53" y="249"/>
                      <a:pt x="55" y="249"/>
                      <a:pt x="55" y="251"/>
                    </a:cubicBezTo>
                    <a:cubicBezTo>
                      <a:pt x="55" y="251"/>
                      <a:pt x="52" y="252"/>
                      <a:pt x="52" y="252"/>
                    </a:cubicBezTo>
                    <a:cubicBezTo>
                      <a:pt x="51" y="253"/>
                      <a:pt x="51" y="254"/>
                      <a:pt x="50" y="255"/>
                    </a:cubicBezTo>
                    <a:cubicBezTo>
                      <a:pt x="50" y="256"/>
                      <a:pt x="48" y="255"/>
                      <a:pt x="48" y="257"/>
                    </a:cubicBezTo>
                    <a:cubicBezTo>
                      <a:pt x="47" y="258"/>
                      <a:pt x="49" y="260"/>
                      <a:pt x="51" y="260"/>
                    </a:cubicBezTo>
                    <a:cubicBezTo>
                      <a:pt x="53" y="261"/>
                      <a:pt x="55" y="262"/>
                      <a:pt x="58" y="264"/>
                    </a:cubicBezTo>
                    <a:cubicBezTo>
                      <a:pt x="59" y="265"/>
                      <a:pt x="60" y="266"/>
                      <a:pt x="61" y="266"/>
                    </a:cubicBezTo>
                    <a:cubicBezTo>
                      <a:pt x="62" y="268"/>
                      <a:pt x="62" y="267"/>
                      <a:pt x="64" y="266"/>
                    </a:cubicBezTo>
                    <a:cubicBezTo>
                      <a:pt x="67" y="266"/>
                      <a:pt x="70" y="269"/>
                      <a:pt x="73" y="269"/>
                    </a:cubicBezTo>
                    <a:cubicBezTo>
                      <a:pt x="76" y="269"/>
                      <a:pt x="79" y="271"/>
                      <a:pt x="82" y="272"/>
                    </a:cubicBezTo>
                    <a:cubicBezTo>
                      <a:pt x="85" y="273"/>
                      <a:pt x="87" y="272"/>
                      <a:pt x="90" y="272"/>
                    </a:cubicBezTo>
                    <a:cubicBezTo>
                      <a:pt x="91" y="273"/>
                      <a:pt x="92" y="274"/>
                      <a:pt x="92" y="275"/>
                    </a:cubicBezTo>
                    <a:cubicBezTo>
                      <a:pt x="92" y="276"/>
                      <a:pt x="93" y="276"/>
                      <a:pt x="94" y="276"/>
                    </a:cubicBezTo>
                    <a:cubicBezTo>
                      <a:pt x="97" y="277"/>
                      <a:pt x="99" y="282"/>
                      <a:pt x="103" y="280"/>
                    </a:cubicBezTo>
                    <a:cubicBezTo>
                      <a:pt x="104" y="279"/>
                      <a:pt x="106" y="278"/>
                      <a:pt x="105" y="277"/>
                    </a:cubicBezTo>
                    <a:cubicBezTo>
                      <a:pt x="104" y="276"/>
                      <a:pt x="103" y="275"/>
                      <a:pt x="102" y="274"/>
                    </a:cubicBezTo>
                    <a:cubicBezTo>
                      <a:pt x="100" y="272"/>
                      <a:pt x="99" y="270"/>
                      <a:pt x="100" y="267"/>
                    </a:cubicBezTo>
                    <a:cubicBezTo>
                      <a:pt x="100" y="265"/>
                      <a:pt x="99" y="263"/>
                      <a:pt x="97" y="262"/>
                    </a:cubicBezTo>
                    <a:cubicBezTo>
                      <a:pt x="95" y="261"/>
                      <a:pt x="98" y="259"/>
                      <a:pt x="99" y="258"/>
                    </a:cubicBezTo>
                    <a:cubicBezTo>
                      <a:pt x="100" y="256"/>
                      <a:pt x="100" y="254"/>
                      <a:pt x="103" y="254"/>
                    </a:cubicBezTo>
                    <a:cubicBezTo>
                      <a:pt x="104" y="254"/>
                      <a:pt x="105" y="253"/>
                      <a:pt x="106" y="252"/>
                    </a:cubicBezTo>
                    <a:cubicBezTo>
                      <a:pt x="107" y="251"/>
                      <a:pt x="108" y="251"/>
                      <a:pt x="109" y="250"/>
                    </a:cubicBezTo>
                    <a:cubicBezTo>
                      <a:pt x="108" y="250"/>
                      <a:pt x="106" y="249"/>
                      <a:pt x="106" y="248"/>
                    </a:cubicBezTo>
                    <a:cubicBezTo>
                      <a:pt x="106" y="247"/>
                      <a:pt x="108" y="248"/>
                      <a:pt x="108" y="248"/>
                    </a:cubicBezTo>
                    <a:cubicBezTo>
                      <a:pt x="108" y="247"/>
                      <a:pt x="106" y="244"/>
                      <a:pt x="105" y="243"/>
                    </a:cubicBezTo>
                    <a:cubicBezTo>
                      <a:pt x="104" y="241"/>
                      <a:pt x="103" y="241"/>
                      <a:pt x="101" y="241"/>
                    </a:cubicBezTo>
                    <a:cubicBezTo>
                      <a:pt x="98" y="241"/>
                      <a:pt x="100" y="239"/>
                      <a:pt x="98" y="238"/>
                    </a:cubicBezTo>
                    <a:cubicBezTo>
                      <a:pt x="97" y="237"/>
                      <a:pt x="94" y="237"/>
                      <a:pt x="96" y="235"/>
                    </a:cubicBezTo>
                    <a:cubicBezTo>
                      <a:pt x="97" y="233"/>
                      <a:pt x="99" y="232"/>
                      <a:pt x="97" y="231"/>
                    </a:cubicBezTo>
                    <a:cubicBezTo>
                      <a:pt x="96" y="229"/>
                      <a:pt x="98" y="228"/>
                      <a:pt x="99" y="227"/>
                    </a:cubicBezTo>
                    <a:cubicBezTo>
                      <a:pt x="99" y="226"/>
                      <a:pt x="101" y="223"/>
                      <a:pt x="101" y="224"/>
                    </a:cubicBezTo>
                    <a:cubicBezTo>
                      <a:pt x="102" y="225"/>
                      <a:pt x="103" y="227"/>
                      <a:pt x="104" y="228"/>
                    </a:cubicBezTo>
                    <a:cubicBezTo>
                      <a:pt x="106" y="228"/>
                      <a:pt x="107" y="227"/>
                      <a:pt x="107" y="226"/>
                    </a:cubicBezTo>
                    <a:cubicBezTo>
                      <a:pt x="106" y="224"/>
                      <a:pt x="106" y="223"/>
                      <a:pt x="108" y="222"/>
                    </a:cubicBezTo>
                    <a:cubicBezTo>
                      <a:pt x="110" y="221"/>
                      <a:pt x="110" y="219"/>
                      <a:pt x="112" y="219"/>
                    </a:cubicBezTo>
                    <a:cubicBezTo>
                      <a:pt x="114" y="218"/>
                      <a:pt x="116" y="215"/>
                      <a:pt x="118" y="216"/>
                    </a:cubicBezTo>
                    <a:cubicBezTo>
                      <a:pt x="120" y="216"/>
                      <a:pt x="120" y="218"/>
                      <a:pt x="122" y="216"/>
                    </a:cubicBezTo>
                    <a:cubicBezTo>
                      <a:pt x="124" y="215"/>
                      <a:pt x="124" y="216"/>
                      <a:pt x="126" y="217"/>
                    </a:cubicBezTo>
                    <a:cubicBezTo>
                      <a:pt x="128" y="217"/>
                      <a:pt x="130" y="217"/>
                      <a:pt x="132" y="218"/>
                    </a:cubicBezTo>
                    <a:cubicBezTo>
                      <a:pt x="134" y="219"/>
                      <a:pt x="134" y="221"/>
                      <a:pt x="136" y="223"/>
                    </a:cubicBezTo>
                    <a:cubicBezTo>
                      <a:pt x="136" y="223"/>
                      <a:pt x="136" y="220"/>
                      <a:pt x="138" y="221"/>
                    </a:cubicBezTo>
                    <a:cubicBezTo>
                      <a:pt x="139" y="221"/>
                      <a:pt x="140" y="223"/>
                      <a:pt x="142" y="223"/>
                    </a:cubicBezTo>
                    <a:cubicBezTo>
                      <a:pt x="143" y="224"/>
                      <a:pt x="144" y="222"/>
                      <a:pt x="145" y="221"/>
                    </a:cubicBezTo>
                    <a:cubicBezTo>
                      <a:pt x="147" y="219"/>
                      <a:pt x="148" y="221"/>
                      <a:pt x="150" y="221"/>
                    </a:cubicBezTo>
                    <a:cubicBezTo>
                      <a:pt x="152" y="221"/>
                      <a:pt x="153" y="219"/>
                      <a:pt x="155" y="220"/>
                    </a:cubicBezTo>
                    <a:cubicBezTo>
                      <a:pt x="157" y="221"/>
                      <a:pt x="158" y="222"/>
                      <a:pt x="160" y="223"/>
                    </a:cubicBezTo>
                    <a:cubicBezTo>
                      <a:pt x="162" y="224"/>
                      <a:pt x="161" y="223"/>
                      <a:pt x="163" y="222"/>
                    </a:cubicBezTo>
                    <a:cubicBezTo>
                      <a:pt x="164" y="221"/>
                      <a:pt x="168" y="222"/>
                      <a:pt x="169" y="222"/>
                    </a:cubicBezTo>
                    <a:cubicBezTo>
                      <a:pt x="170" y="222"/>
                      <a:pt x="172" y="220"/>
                      <a:pt x="172" y="219"/>
                    </a:cubicBezTo>
                    <a:cubicBezTo>
                      <a:pt x="172" y="217"/>
                      <a:pt x="169" y="217"/>
                      <a:pt x="168" y="216"/>
                    </a:cubicBezTo>
                    <a:cubicBezTo>
                      <a:pt x="161" y="213"/>
                      <a:pt x="171" y="214"/>
                      <a:pt x="169" y="210"/>
                    </a:cubicBezTo>
                    <a:cubicBezTo>
                      <a:pt x="168" y="209"/>
                      <a:pt x="166" y="209"/>
                      <a:pt x="169" y="208"/>
                    </a:cubicBezTo>
                    <a:cubicBezTo>
                      <a:pt x="170" y="207"/>
                      <a:pt x="172" y="208"/>
                      <a:pt x="173" y="207"/>
                    </a:cubicBezTo>
                    <a:cubicBezTo>
                      <a:pt x="177" y="207"/>
                      <a:pt x="166" y="202"/>
                      <a:pt x="171" y="200"/>
                    </a:cubicBezTo>
                    <a:cubicBezTo>
                      <a:pt x="172" y="200"/>
                      <a:pt x="174" y="200"/>
                      <a:pt x="175" y="200"/>
                    </a:cubicBezTo>
                    <a:cubicBezTo>
                      <a:pt x="178" y="200"/>
                      <a:pt x="180" y="200"/>
                      <a:pt x="183" y="199"/>
                    </a:cubicBezTo>
                    <a:cubicBezTo>
                      <a:pt x="185" y="198"/>
                      <a:pt x="187" y="198"/>
                      <a:pt x="189" y="198"/>
                    </a:cubicBezTo>
                    <a:cubicBezTo>
                      <a:pt x="191" y="197"/>
                      <a:pt x="193" y="196"/>
                      <a:pt x="196" y="196"/>
                    </a:cubicBezTo>
                    <a:cubicBezTo>
                      <a:pt x="200" y="195"/>
                      <a:pt x="204" y="194"/>
                      <a:pt x="208" y="192"/>
                    </a:cubicBezTo>
                    <a:cubicBezTo>
                      <a:pt x="211" y="190"/>
                      <a:pt x="217" y="190"/>
                      <a:pt x="219" y="194"/>
                    </a:cubicBezTo>
                    <a:cubicBezTo>
                      <a:pt x="220" y="196"/>
                      <a:pt x="219" y="196"/>
                      <a:pt x="220" y="198"/>
                    </a:cubicBezTo>
                    <a:cubicBezTo>
                      <a:pt x="220" y="201"/>
                      <a:pt x="224" y="198"/>
                      <a:pt x="226" y="199"/>
                    </a:cubicBezTo>
                    <a:cubicBezTo>
                      <a:pt x="227" y="199"/>
                      <a:pt x="226" y="200"/>
                      <a:pt x="227" y="200"/>
                    </a:cubicBezTo>
                    <a:cubicBezTo>
                      <a:pt x="228" y="201"/>
                      <a:pt x="228" y="200"/>
                      <a:pt x="228" y="200"/>
                    </a:cubicBezTo>
                    <a:cubicBezTo>
                      <a:pt x="229" y="199"/>
                      <a:pt x="230" y="200"/>
                      <a:pt x="231" y="201"/>
                    </a:cubicBezTo>
                    <a:cubicBezTo>
                      <a:pt x="232" y="201"/>
                      <a:pt x="232" y="201"/>
                      <a:pt x="231" y="202"/>
                    </a:cubicBezTo>
                    <a:cubicBezTo>
                      <a:pt x="230" y="205"/>
                      <a:pt x="237" y="203"/>
                      <a:pt x="239" y="202"/>
                    </a:cubicBezTo>
                    <a:cubicBezTo>
                      <a:pt x="239" y="202"/>
                      <a:pt x="248" y="197"/>
                      <a:pt x="248" y="198"/>
                    </a:cubicBezTo>
                    <a:cubicBezTo>
                      <a:pt x="248" y="199"/>
                      <a:pt x="246" y="201"/>
                      <a:pt x="248" y="202"/>
                    </a:cubicBezTo>
                    <a:cubicBezTo>
                      <a:pt x="250" y="202"/>
                      <a:pt x="251" y="203"/>
                      <a:pt x="252" y="204"/>
                    </a:cubicBezTo>
                    <a:cubicBezTo>
                      <a:pt x="255" y="207"/>
                      <a:pt x="256" y="210"/>
                      <a:pt x="258" y="213"/>
                    </a:cubicBezTo>
                    <a:cubicBezTo>
                      <a:pt x="260" y="216"/>
                      <a:pt x="261" y="219"/>
                      <a:pt x="263" y="221"/>
                    </a:cubicBezTo>
                    <a:cubicBezTo>
                      <a:pt x="266" y="224"/>
                      <a:pt x="266" y="217"/>
                      <a:pt x="269" y="220"/>
                    </a:cubicBezTo>
                    <a:cubicBezTo>
                      <a:pt x="273" y="224"/>
                      <a:pt x="275" y="222"/>
                      <a:pt x="280" y="221"/>
                    </a:cubicBezTo>
                    <a:cubicBezTo>
                      <a:pt x="282" y="220"/>
                      <a:pt x="283" y="223"/>
                      <a:pt x="284" y="224"/>
                    </a:cubicBezTo>
                    <a:cubicBezTo>
                      <a:pt x="285" y="226"/>
                      <a:pt x="287" y="226"/>
                      <a:pt x="288" y="228"/>
                    </a:cubicBezTo>
                    <a:cubicBezTo>
                      <a:pt x="289" y="230"/>
                      <a:pt x="291" y="230"/>
                      <a:pt x="293" y="230"/>
                    </a:cubicBezTo>
                    <a:cubicBezTo>
                      <a:pt x="296" y="229"/>
                      <a:pt x="295" y="230"/>
                      <a:pt x="296" y="231"/>
                    </a:cubicBezTo>
                    <a:cubicBezTo>
                      <a:pt x="298" y="235"/>
                      <a:pt x="304" y="230"/>
                      <a:pt x="307" y="230"/>
                    </a:cubicBezTo>
                    <a:cubicBezTo>
                      <a:pt x="310" y="229"/>
                      <a:pt x="313" y="226"/>
                      <a:pt x="316" y="225"/>
                    </a:cubicBezTo>
                    <a:cubicBezTo>
                      <a:pt x="320" y="222"/>
                      <a:pt x="322" y="222"/>
                      <a:pt x="327" y="223"/>
                    </a:cubicBezTo>
                    <a:cubicBezTo>
                      <a:pt x="329" y="223"/>
                      <a:pt x="329" y="224"/>
                      <a:pt x="331" y="226"/>
                    </a:cubicBezTo>
                    <a:cubicBezTo>
                      <a:pt x="332" y="227"/>
                      <a:pt x="334" y="227"/>
                      <a:pt x="336" y="227"/>
                    </a:cubicBezTo>
                    <a:cubicBezTo>
                      <a:pt x="338" y="227"/>
                      <a:pt x="339" y="228"/>
                      <a:pt x="341" y="228"/>
                    </a:cubicBezTo>
                    <a:cubicBezTo>
                      <a:pt x="343" y="230"/>
                      <a:pt x="344" y="228"/>
                      <a:pt x="346" y="227"/>
                    </a:cubicBezTo>
                    <a:cubicBezTo>
                      <a:pt x="349" y="224"/>
                      <a:pt x="344" y="222"/>
                      <a:pt x="346" y="219"/>
                    </a:cubicBezTo>
                    <a:cubicBezTo>
                      <a:pt x="347" y="217"/>
                      <a:pt x="351" y="213"/>
                      <a:pt x="353" y="214"/>
                    </a:cubicBezTo>
                    <a:cubicBezTo>
                      <a:pt x="357" y="216"/>
                      <a:pt x="362" y="216"/>
                      <a:pt x="366" y="218"/>
                    </a:cubicBezTo>
                    <a:cubicBezTo>
                      <a:pt x="368" y="219"/>
                      <a:pt x="367" y="221"/>
                      <a:pt x="368" y="222"/>
                    </a:cubicBezTo>
                    <a:cubicBezTo>
                      <a:pt x="369" y="225"/>
                      <a:pt x="371" y="225"/>
                      <a:pt x="374" y="226"/>
                    </a:cubicBezTo>
                    <a:cubicBezTo>
                      <a:pt x="378" y="227"/>
                      <a:pt x="382" y="224"/>
                      <a:pt x="386" y="225"/>
                    </a:cubicBezTo>
                    <a:cubicBezTo>
                      <a:pt x="387" y="225"/>
                      <a:pt x="389" y="225"/>
                      <a:pt x="390" y="226"/>
                    </a:cubicBezTo>
                    <a:cubicBezTo>
                      <a:pt x="392" y="227"/>
                      <a:pt x="394" y="227"/>
                      <a:pt x="396" y="229"/>
                    </a:cubicBezTo>
                    <a:cubicBezTo>
                      <a:pt x="401" y="233"/>
                      <a:pt x="409" y="233"/>
                      <a:pt x="415" y="231"/>
                    </a:cubicBezTo>
                    <a:cubicBezTo>
                      <a:pt x="419" y="230"/>
                      <a:pt x="422" y="228"/>
                      <a:pt x="426" y="227"/>
                    </a:cubicBezTo>
                    <a:cubicBezTo>
                      <a:pt x="428" y="225"/>
                      <a:pt x="431" y="227"/>
                      <a:pt x="433" y="227"/>
                    </a:cubicBezTo>
                    <a:cubicBezTo>
                      <a:pt x="435" y="228"/>
                      <a:pt x="436" y="226"/>
                      <a:pt x="438" y="227"/>
                    </a:cubicBezTo>
                    <a:cubicBezTo>
                      <a:pt x="439" y="228"/>
                      <a:pt x="443" y="231"/>
                      <a:pt x="445" y="230"/>
                    </a:cubicBezTo>
                    <a:cubicBezTo>
                      <a:pt x="446" y="230"/>
                      <a:pt x="448" y="229"/>
                      <a:pt x="449" y="228"/>
                    </a:cubicBezTo>
                    <a:cubicBezTo>
                      <a:pt x="452" y="227"/>
                      <a:pt x="453" y="227"/>
                      <a:pt x="453" y="225"/>
                    </a:cubicBezTo>
                    <a:cubicBezTo>
                      <a:pt x="453" y="221"/>
                      <a:pt x="456" y="217"/>
                      <a:pt x="458" y="215"/>
                    </a:cubicBezTo>
                    <a:cubicBezTo>
                      <a:pt x="459" y="214"/>
                      <a:pt x="460" y="212"/>
                      <a:pt x="459" y="211"/>
                    </a:cubicBezTo>
                    <a:cubicBezTo>
                      <a:pt x="458" y="210"/>
                      <a:pt x="455" y="210"/>
                      <a:pt x="457" y="208"/>
                    </a:cubicBezTo>
                    <a:cubicBezTo>
                      <a:pt x="460" y="205"/>
                      <a:pt x="465" y="205"/>
                      <a:pt x="470" y="204"/>
                    </a:cubicBezTo>
                    <a:cubicBezTo>
                      <a:pt x="472" y="204"/>
                      <a:pt x="474" y="204"/>
                      <a:pt x="476" y="205"/>
                    </a:cubicBezTo>
                    <a:cubicBezTo>
                      <a:pt x="478" y="206"/>
                      <a:pt x="481" y="206"/>
                      <a:pt x="483" y="207"/>
                    </a:cubicBezTo>
                    <a:cubicBezTo>
                      <a:pt x="486" y="208"/>
                      <a:pt x="487" y="212"/>
                      <a:pt x="489" y="215"/>
                    </a:cubicBezTo>
                    <a:cubicBezTo>
                      <a:pt x="490" y="218"/>
                      <a:pt x="492" y="221"/>
                      <a:pt x="493" y="224"/>
                    </a:cubicBezTo>
                    <a:cubicBezTo>
                      <a:pt x="493" y="225"/>
                      <a:pt x="493" y="227"/>
                      <a:pt x="494" y="229"/>
                    </a:cubicBezTo>
                    <a:cubicBezTo>
                      <a:pt x="494" y="230"/>
                      <a:pt x="497" y="230"/>
                      <a:pt x="498" y="230"/>
                    </a:cubicBezTo>
                    <a:cubicBezTo>
                      <a:pt x="502" y="231"/>
                      <a:pt x="507" y="233"/>
                      <a:pt x="508" y="237"/>
                    </a:cubicBezTo>
                    <a:cubicBezTo>
                      <a:pt x="509" y="240"/>
                      <a:pt x="510" y="242"/>
                      <a:pt x="514" y="242"/>
                    </a:cubicBezTo>
                    <a:cubicBezTo>
                      <a:pt x="515" y="242"/>
                      <a:pt x="517" y="242"/>
                      <a:pt x="518" y="242"/>
                    </a:cubicBezTo>
                    <a:cubicBezTo>
                      <a:pt x="520" y="242"/>
                      <a:pt x="520" y="240"/>
                      <a:pt x="522" y="240"/>
                    </a:cubicBezTo>
                    <a:cubicBezTo>
                      <a:pt x="525" y="240"/>
                      <a:pt x="528" y="237"/>
                      <a:pt x="530" y="241"/>
                    </a:cubicBezTo>
                    <a:cubicBezTo>
                      <a:pt x="530" y="243"/>
                      <a:pt x="530" y="243"/>
                      <a:pt x="529" y="244"/>
                    </a:cubicBezTo>
                    <a:cubicBezTo>
                      <a:pt x="527" y="246"/>
                      <a:pt x="527" y="247"/>
                      <a:pt x="526" y="249"/>
                    </a:cubicBezTo>
                    <a:cubicBezTo>
                      <a:pt x="525" y="252"/>
                      <a:pt x="523" y="255"/>
                      <a:pt x="521" y="258"/>
                    </a:cubicBezTo>
                    <a:cubicBezTo>
                      <a:pt x="520" y="260"/>
                      <a:pt x="519" y="259"/>
                      <a:pt x="518" y="258"/>
                    </a:cubicBezTo>
                    <a:cubicBezTo>
                      <a:pt x="516" y="257"/>
                      <a:pt x="516" y="258"/>
                      <a:pt x="514" y="259"/>
                    </a:cubicBezTo>
                    <a:cubicBezTo>
                      <a:pt x="513" y="259"/>
                      <a:pt x="511" y="260"/>
                      <a:pt x="511" y="260"/>
                    </a:cubicBezTo>
                    <a:cubicBezTo>
                      <a:pt x="510" y="261"/>
                      <a:pt x="513" y="265"/>
                      <a:pt x="513" y="267"/>
                    </a:cubicBezTo>
                    <a:cubicBezTo>
                      <a:pt x="512" y="268"/>
                      <a:pt x="512" y="270"/>
                      <a:pt x="512" y="271"/>
                    </a:cubicBezTo>
                    <a:cubicBezTo>
                      <a:pt x="511" y="273"/>
                      <a:pt x="509" y="272"/>
                      <a:pt x="509" y="274"/>
                    </a:cubicBezTo>
                    <a:cubicBezTo>
                      <a:pt x="511" y="273"/>
                      <a:pt x="512" y="274"/>
                      <a:pt x="514" y="272"/>
                    </a:cubicBezTo>
                    <a:cubicBezTo>
                      <a:pt x="515" y="270"/>
                      <a:pt x="517" y="272"/>
                      <a:pt x="519" y="272"/>
                    </a:cubicBezTo>
                    <a:cubicBezTo>
                      <a:pt x="523" y="274"/>
                      <a:pt x="527" y="272"/>
                      <a:pt x="531" y="269"/>
                    </a:cubicBezTo>
                    <a:cubicBezTo>
                      <a:pt x="534" y="266"/>
                      <a:pt x="537" y="262"/>
                      <a:pt x="540" y="259"/>
                    </a:cubicBezTo>
                    <a:cubicBezTo>
                      <a:pt x="543" y="255"/>
                      <a:pt x="546" y="251"/>
                      <a:pt x="549" y="247"/>
                    </a:cubicBezTo>
                    <a:cubicBezTo>
                      <a:pt x="554" y="240"/>
                      <a:pt x="559" y="235"/>
                      <a:pt x="558" y="226"/>
                    </a:cubicBezTo>
                    <a:cubicBezTo>
                      <a:pt x="558" y="222"/>
                      <a:pt x="559" y="220"/>
                      <a:pt x="561" y="217"/>
                    </a:cubicBezTo>
                    <a:cubicBezTo>
                      <a:pt x="562" y="215"/>
                      <a:pt x="562" y="214"/>
                      <a:pt x="563" y="212"/>
                    </a:cubicBezTo>
                    <a:cubicBezTo>
                      <a:pt x="563" y="212"/>
                      <a:pt x="563" y="211"/>
                      <a:pt x="563" y="210"/>
                    </a:cubicBezTo>
                    <a:cubicBezTo>
                      <a:pt x="563" y="209"/>
                      <a:pt x="561" y="208"/>
                      <a:pt x="561" y="207"/>
                    </a:cubicBezTo>
                    <a:cubicBezTo>
                      <a:pt x="561" y="207"/>
                      <a:pt x="563" y="208"/>
                      <a:pt x="563" y="207"/>
                    </a:cubicBezTo>
                    <a:cubicBezTo>
                      <a:pt x="562" y="206"/>
                      <a:pt x="562" y="205"/>
                      <a:pt x="561" y="205"/>
                    </a:cubicBezTo>
                    <a:cubicBezTo>
                      <a:pt x="560" y="204"/>
                      <a:pt x="558" y="201"/>
                      <a:pt x="557" y="200"/>
                    </a:cubicBezTo>
                    <a:cubicBezTo>
                      <a:pt x="556" y="200"/>
                      <a:pt x="551" y="198"/>
                      <a:pt x="550" y="199"/>
                    </a:cubicBezTo>
                    <a:cubicBezTo>
                      <a:pt x="550" y="200"/>
                      <a:pt x="551" y="201"/>
                      <a:pt x="550" y="201"/>
                    </a:cubicBezTo>
                    <a:cubicBezTo>
                      <a:pt x="548" y="201"/>
                      <a:pt x="548" y="203"/>
                      <a:pt x="547" y="203"/>
                    </a:cubicBezTo>
                    <a:cubicBezTo>
                      <a:pt x="545" y="205"/>
                      <a:pt x="544" y="202"/>
                      <a:pt x="544" y="201"/>
                    </a:cubicBezTo>
                    <a:cubicBezTo>
                      <a:pt x="544" y="199"/>
                      <a:pt x="546" y="198"/>
                      <a:pt x="543" y="199"/>
                    </a:cubicBezTo>
                    <a:cubicBezTo>
                      <a:pt x="540" y="200"/>
                      <a:pt x="544" y="202"/>
                      <a:pt x="540" y="202"/>
                    </a:cubicBezTo>
                    <a:cubicBezTo>
                      <a:pt x="539" y="202"/>
                      <a:pt x="541" y="197"/>
                      <a:pt x="540" y="196"/>
                    </a:cubicBezTo>
                    <a:cubicBezTo>
                      <a:pt x="540" y="197"/>
                      <a:pt x="529" y="197"/>
                      <a:pt x="534" y="194"/>
                    </a:cubicBezTo>
                    <a:cubicBezTo>
                      <a:pt x="538" y="191"/>
                      <a:pt x="542" y="188"/>
                      <a:pt x="546" y="185"/>
                    </a:cubicBezTo>
                    <a:cubicBezTo>
                      <a:pt x="547" y="184"/>
                      <a:pt x="548" y="182"/>
                      <a:pt x="549" y="181"/>
                    </a:cubicBezTo>
                    <a:cubicBezTo>
                      <a:pt x="552" y="179"/>
                      <a:pt x="555" y="177"/>
                      <a:pt x="557" y="175"/>
                    </a:cubicBezTo>
                    <a:cubicBezTo>
                      <a:pt x="558" y="174"/>
                      <a:pt x="559" y="172"/>
                      <a:pt x="561" y="171"/>
                    </a:cubicBezTo>
                    <a:cubicBezTo>
                      <a:pt x="563" y="169"/>
                      <a:pt x="565" y="167"/>
                      <a:pt x="567" y="165"/>
                    </a:cubicBezTo>
                    <a:cubicBezTo>
                      <a:pt x="571" y="162"/>
                      <a:pt x="577" y="162"/>
                      <a:pt x="582" y="162"/>
                    </a:cubicBezTo>
                    <a:cubicBezTo>
                      <a:pt x="583" y="162"/>
                      <a:pt x="584" y="162"/>
                      <a:pt x="585" y="162"/>
                    </a:cubicBezTo>
                    <a:cubicBezTo>
                      <a:pt x="586" y="163"/>
                      <a:pt x="586" y="164"/>
                      <a:pt x="587" y="164"/>
                    </a:cubicBezTo>
                    <a:cubicBezTo>
                      <a:pt x="588" y="163"/>
                      <a:pt x="590" y="163"/>
                      <a:pt x="591" y="162"/>
                    </a:cubicBezTo>
                    <a:cubicBezTo>
                      <a:pt x="592" y="162"/>
                      <a:pt x="593" y="163"/>
                      <a:pt x="594" y="163"/>
                    </a:cubicBezTo>
                    <a:cubicBezTo>
                      <a:pt x="595" y="163"/>
                      <a:pt x="596" y="163"/>
                      <a:pt x="597" y="163"/>
                    </a:cubicBezTo>
                    <a:cubicBezTo>
                      <a:pt x="597" y="162"/>
                      <a:pt x="598" y="163"/>
                      <a:pt x="599" y="163"/>
                    </a:cubicBezTo>
                    <a:cubicBezTo>
                      <a:pt x="601" y="163"/>
                      <a:pt x="601" y="160"/>
                      <a:pt x="604" y="160"/>
                    </a:cubicBezTo>
                    <a:cubicBezTo>
                      <a:pt x="605" y="160"/>
                      <a:pt x="607" y="160"/>
                      <a:pt x="608" y="160"/>
                    </a:cubicBezTo>
                    <a:cubicBezTo>
                      <a:pt x="609" y="161"/>
                      <a:pt x="610" y="162"/>
                      <a:pt x="611" y="162"/>
                    </a:cubicBezTo>
                    <a:cubicBezTo>
                      <a:pt x="612" y="163"/>
                      <a:pt x="616" y="161"/>
                      <a:pt x="616" y="164"/>
                    </a:cubicBezTo>
                    <a:cubicBezTo>
                      <a:pt x="616" y="164"/>
                      <a:pt x="613" y="164"/>
                      <a:pt x="613" y="165"/>
                    </a:cubicBezTo>
                    <a:cubicBezTo>
                      <a:pt x="612" y="167"/>
                      <a:pt x="616" y="166"/>
                      <a:pt x="616" y="166"/>
                    </a:cubicBezTo>
                    <a:cubicBezTo>
                      <a:pt x="618" y="166"/>
                      <a:pt x="620" y="166"/>
                      <a:pt x="621" y="166"/>
                    </a:cubicBezTo>
                    <a:cubicBezTo>
                      <a:pt x="622" y="165"/>
                      <a:pt x="622" y="165"/>
                      <a:pt x="623" y="164"/>
                    </a:cubicBezTo>
                    <a:cubicBezTo>
                      <a:pt x="624" y="164"/>
                      <a:pt x="625" y="165"/>
                      <a:pt x="627" y="165"/>
                    </a:cubicBezTo>
                    <a:cubicBezTo>
                      <a:pt x="628" y="165"/>
                      <a:pt x="635" y="163"/>
                      <a:pt x="631" y="162"/>
                    </a:cubicBezTo>
                    <a:cubicBezTo>
                      <a:pt x="629" y="162"/>
                      <a:pt x="628" y="163"/>
                      <a:pt x="628" y="160"/>
                    </a:cubicBezTo>
                    <a:cubicBezTo>
                      <a:pt x="628" y="159"/>
                      <a:pt x="630" y="156"/>
                      <a:pt x="631" y="155"/>
                    </a:cubicBezTo>
                    <a:cubicBezTo>
                      <a:pt x="633" y="154"/>
                      <a:pt x="634" y="153"/>
                      <a:pt x="636" y="151"/>
                    </a:cubicBezTo>
                    <a:cubicBezTo>
                      <a:pt x="637" y="150"/>
                      <a:pt x="639" y="150"/>
                      <a:pt x="640" y="148"/>
                    </a:cubicBezTo>
                    <a:cubicBezTo>
                      <a:pt x="641" y="146"/>
                      <a:pt x="642" y="145"/>
                      <a:pt x="644" y="145"/>
                    </a:cubicBezTo>
                    <a:cubicBezTo>
                      <a:pt x="646" y="145"/>
                      <a:pt x="649" y="144"/>
                      <a:pt x="651" y="144"/>
                    </a:cubicBezTo>
                    <a:cubicBezTo>
                      <a:pt x="653" y="144"/>
                      <a:pt x="654" y="146"/>
                      <a:pt x="655" y="146"/>
                    </a:cubicBezTo>
                    <a:cubicBezTo>
                      <a:pt x="656" y="145"/>
                      <a:pt x="657" y="143"/>
                      <a:pt x="658" y="144"/>
                    </a:cubicBezTo>
                    <a:cubicBezTo>
                      <a:pt x="659" y="145"/>
                      <a:pt x="656" y="148"/>
                      <a:pt x="656" y="149"/>
                    </a:cubicBezTo>
                    <a:cubicBezTo>
                      <a:pt x="656" y="151"/>
                      <a:pt x="657" y="149"/>
                      <a:pt x="659" y="150"/>
                    </a:cubicBezTo>
                    <a:cubicBezTo>
                      <a:pt x="659" y="150"/>
                      <a:pt x="657" y="152"/>
                      <a:pt x="657" y="153"/>
                    </a:cubicBezTo>
                    <a:cubicBezTo>
                      <a:pt x="657" y="154"/>
                      <a:pt x="664" y="149"/>
                      <a:pt x="664" y="149"/>
                    </a:cubicBezTo>
                    <a:cubicBezTo>
                      <a:pt x="665" y="148"/>
                      <a:pt x="666" y="147"/>
                      <a:pt x="668" y="146"/>
                    </a:cubicBezTo>
                    <a:cubicBezTo>
                      <a:pt x="669" y="145"/>
                      <a:pt x="672" y="147"/>
                      <a:pt x="672" y="145"/>
                    </a:cubicBezTo>
                    <a:cubicBezTo>
                      <a:pt x="671" y="143"/>
                      <a:pt x="672" y="139"/>
                      <a:pt x="675" y="139"/>
                    </a:cubicBezTo>
                    <a:cubicBezTo>
                      <a:pt x="676" y="138"/>
                      <a:pt x="678" y="137"/>
                      <a:pt x="679" y="138"/>
                    </a:cubicBezTo>
                    <a:cubicBezTo>
                      <a:pt x="680" y="138"/>
                      <a:pt x="682" y="140"/>
                      <a:pt x="683" y="139"/>
                    </a:cubicBezTo>
                    <a:cubicBezTo>
                      <a:pt x="681" y="140"/>
                      <a:pt x="678" y="139"/>
                      <a:pt x="677" y="142"/>
                    </a:cubicBezTo>
                    <a:cubicBezTo>
                      <a:pt x="677" y="143"/>
                      <a:pt x="677" y="144"/>
                      <a:pt x="677" y="145"/>
                    </a:cubicBezTo>
                    <a:cubicBezTo>
                      <a:pt x="677" y="146"/>
                      <a:pt x="675" y="146"/>
                      <a:pt x="676" y="147"/>
                    </a:cubicBezTo>
                    <a:cubicBezTo>
                      <a:pt x="676" y="148"/>
                      <a:pt x="677" y="148"/>
                      <a:pt x="676" y="149"/>
                    </a:cubicBezTo>
                    <a:cubicBezTo>
                      <a:pt x="675" y="149"/>
                      <a:pt x="674" y="150"/>
                      <a:pt x="675" y="151"/>
                    </a:cubicBezTo>
                    <a:cubicBezTo>
                      <a:pt x="675" y="151"/>
                      <a:pt x="669" y="153"/>
                      <a:pt x="669" y="154"/>
                    </a:cubicBezTo>
                    <a:cubicBezTo>
                      <a:pt x="667" y="155"/>
                      <a:pt x="666" y="157"/>
                      <a:pt x="664" y="158"/>
                    </a:cubicBezTo>
                    <a:cubicBezTo>
                      <a:pt x="662" y="160"/>
                      <a:pt x="660" y="161"/>
                      <a:pt x="658" y="163"/>
                    </a:cubicBezTo>
                    <a:cubicBezTo>
                      <a:pt x="654" y="166"/>
                      <a:pt x="651" y="173"/>
                      <a:pt x="646" y="173"/>
                    </a:cubicBezTo>
                    <a:cubicBezTo>
                      <a:pt x="645" y="173"/>
                      <a:pt x="641" y="174"/>
                      <a:pt x="641" y="175"/>
                    </a:cubicBezTo>
                    <a:cubicBezTo>
                      <a:pt x="641" y="178"/>
                      <a:pt x="641" y="179"/>
                      <a:pt x="638" y="181"/>
                    </a:cubicBezTo>
                    <a:cubicBezTo>
                      <a:pt x="634" y="184"/>
                      <a:pt x="634" y="190"/>
                      <a:pt x="635" y="195"/>
                    </a:cubicBezTo>
                    <a:cubicBezTo>
                      <a:pt x="636" y="200"/>
                      <a:pt x="635" y="206"/>
                      <a:pt x="638" y="210"/>
                    </a:cubicBezTo>
                    <a:cubicBezTo>
                      <a:pt x="639" y="212"/>
                      <a:pt x="639" y="215"/>
                      <a:pt x="639" y="217"/>
                    </a:cubicBezTo>
                    <a:cubicBezTo>
                      <a:pt x="639" y="217"/>
                      <a:pt x="639" y="219"/>
                      <a:pt x="640" y="219"/>
                    </a:cubicBezTo>
                    <a:cubicBezTo>
                      <a:pt x="641" y="219"/>
                      <a:pt x="639" y="222"/>
                      <a:pt x="640" y="222"/>
                    </a:cubicBezTo>
                    <a:cubicBezTo>
                      <a:pt x="640" y="222"/>
                      <a:pt x="645" y="218"/>
                      <a:pt x="645" y="217"/>
                    </a:cubicBezTo>
                    <a:cubicBezTo>
                      <a:pt x="647" y="215"/>
                      <a:pt x="648" y="213"/>
                      <a:pt x="649" y="210"/>
                    </a:cubicBezTo>
                    <a:cubicBezTo>
                      <a:pt x="650" y="208"/>
                      <a:pt x="654" y="206"/>
                      <a:pt x="655" y="206"/>
                    </a:cubicBezTo>
                    <a:cubicBezTo>
                      <a:pt x="658" y="208"/>
                      <a:pt x="655" y="202"/>
                      <a:pt x="656" y="201"/>
                    </a:cubicBezTo>
                    <a:cubicBezTo>
                      <a:pt x="658" y="198"/>
                      <a:pt x="659" y="197"/>
                      <a:pt x="662" y="197"/>
                    </a:cubicBezTo>
                    <a:cubicBezTo>
                      <a:pt x="665" y="197"/>
                      <a:pt x="669" y="197"/>
                      <a:pt x="667" y="194"/>
                    </a:cubicBezTo>
                    <a:cubicBezTo>
                      <a:pt x="664" y="191"/>
                      <a:pt x="666" y="188"/>
                      <a:pt x="669" y="186"/>
                    </a:cubicBezTo>
                    <a:cubicBezTo>
                      <a:pt x="670" y="185"/>
                      <a:pt x="670" y="187"/>
                      <a:pt x="671" y="187"/>
                    </a:cubicBezTo>
                    <a:cubicBezTo>
                      <a:pt x="673" y="187"/>
                      <a:pt x="673" y="184"/>
                      <a:pt x="673" y="183"/>
                    </a:cubicBezTo>
                    <a:cubicBezTo>
                      <a:pt x="671" y="181"/>
                      <a:pt x="669" y="180"/>
                      <a:pt x="671" y="177"/>
                    </a:cubicBezTo>
                    <a:cubicBezTo>
                      <a:pt x="671" y="177"/>
                      <a:pt x="674" y="176"/>
                      <a:pt x="673" y="175"/>
                    </a:cubicBezTo>
                    <a:cubicBezTo>
                      <a:pt x="672" y="175"/>
                      <a:pt x="671" y="173"/>
                      <a:pt x="670" y="173"/>
                    </a:cubicBezTo>
                    <a:cubicBezTo>
                      <a:pt x="669" y="173"/>
                      <a:pt x="670" y="174"/>
                      <a:pt x="669" y="174"/>
                    </a:cubicBezTo>
                    <a:cubicBezTo>
                      <a:pt x="667" y="174"/>
                      <a:pt x="666" y="173"/>
                      <a:pt x="667" y="171"/>
                    </a:cubicBezTo>
                    <a:cubicBezTo>
                      <a:pt x="668" y="169"/>
                      <a:pt x="670" y="168"/>
                      <a:pt x="672" y="165"/>
                    </a:cubicBezTo>
                    <a:cubicBezTo>
                      <a:pt x="673" y="163"/>
                      <a:pt x="673" y="160"/>
                      <a:pt x="676" y="158"/>
                    </a:cubicBezTo>
                    <a:cubicBezTo>
                      <a:pt x="677" y="157"/>
                      <a:pt x="677" y="159"/>
                      <a:pt x="677" y="159"/>
                    </a:cubicBezTo>
                    <a:cubicBezTo>
                      <a:pt x="679" y="159"/>
                      <a:pt x="679" y="157"/>
                      <a:pt x="680" y="158"/>
                    </a:cubicBezTo>
                    <a:cubicBezTo>
                      <a:pt x="681" y="158"/>
                      <a:pt x="681" y="159"/>
                      <a:pt x="682" y="158"/>
                    </a:cubicBezTo>
                    <a:cubicBezTo>
                      <a:pt x="684" y="157"/>
                      <a:pt x="685" y="156"/>
                      <a:pt x="687" y="155"/>
                    </a:cubicBezTo>
                    <a:cubicBezTo>
                      <a:pt x="690" y="154"/>
                      <a:pt x="686" y="158"/>
                      <a:pt x="688" y="159"/>
                    </a:cubicBezTo>
                    <a:cubicBezTo>
                      <a:pt x="688" y="160"/>
                      <a:pt x="692" y="156"/>
                      <a:pt x="693" y="156"/>
                    </a:cubicBezTo>
                    <a:cubicBezTo>
                      <a:pt x="695" y="155"/>
                      <a:pt x="697" y="154"/>
                      <a:pt x="700" y="154"/>
                    </a:cubicBezTo>
                    <a:cubicBezTo>
                      <a:pt x="702" y="154"/>
                      <a:pt x="704" y="154"/>
                      <a:pt x="705" y="156"/>
                    </a:cubicBezTo>
                    <a:cubicBezTo>
                      <a:pt x="706" y="156"/>
                      <a:pt x="707" y="157"/>
                      <a:pt x="708" y="158"/>
                    </a:cubicBezTo>
                    <a:cubicBezTo>
                      <a:pt x="709" y="159"/>
                      <a:pt x="709" y="156"/>
                      <a:pt x="710" y="156"/>
                    </a:cubicBezTo>
                    <a:cubicBezTo>
                      <a:pt x="718" y="149"/>
                      <a:pt x="727" y="146"/>
                      <a:pt x="736" y="142"/>
                    </a:cubicBezTo>
                    <a:cubicBezTo>
                      <a:pt x="738" y="141"/>
                      <a:pt x="741" y="140"/>
                      <a:pt x="742" y="138"/>
                    </a:cubicBezTo>
                    <a:cubicBezTo>
                      <a:pt x="743" y="136"/>
                      <a:pt x="743" y="139"/>
                      <a:pt x="745" y="139"/>
                    </a:cubicBezTo>
                    <a:cubicBezTo>
                      <a:pt x="746" y="139"/>
                      <a:pt x="748" y="139"/>
                      <a:pt x="749" y="139"/>
                    </a:cubicBezTo>
                    <a:cubicBezTo>
                      <a:pt x="750" y="140"/>
                      <a:pt x="751" y="141"/>
                      <a:pt x="752" y="141"/>
                    </a:cubicBezTo>
                    <a:cubicBezTo>
                      <a:pt x="755" y="141"/>
                      <a:pt x="755" y="137"/>
                      <a:pt x="754" y="135"/>
                    </a:cubicBezTo>
                    <a:cubicBezTo>
                      <a:pt x="754" y="134"/>
                      <a:pt x="750" y="132"/>
                      <a:pt x="751" y="131"/>
                    </a:cubicBezTo>
                    <a:cubicBezTo>
                      <a:pt x="751" y="130"/>
                      <a:pt x="749" y="125"/>
                      <a:pt x="748" y="126"/>
                    </a:cubicBezTo>
                    <a:cubicBezTo>
                      <a:pt x="748" y="127"/>
                      <a:pt x="746" y="125"/>
                      <a:pt x="745" y="125"/>
                    </a:cubicBezTo>
                    <a:cubicBezTo>
                      <a:pt x="744" y="124"/>
                      <a:pt x="745" y="123"/>
                      <a:pt x="744" y="122"/>
                    </a:cubicBezTo>
                    <a:cubicBezTo>
                      <a:pt x="744" y="121"/>
                      <a:pt x="741" y="122"/>
                      <a:pt x="741" y="122"/>
                    </a:cubicBezTo>
                    <a:cubicBezTo>
                      <a:pt x="740" y="123"/>
                      <a:pt x="737" y="122"/>
                      <a:pt x="738" y="121"/>
                    </a:cubicBezTo>
                    <a:cubicBezTo>
                      <a:pt x="738" y="120"/>
                      <a:pt x="741" y="121"/>
                      <a:pt x="742" y="121"/>
                    </a:cubicBezTo>
                    <a:cubicBezTo>
                      <a:pt x="742" y="120"/>
                      <a:pt x="739" y="120"/>
                      <a:pt x="739" y="120"/>
                    </a:cubicBezTo>
                    <a:cubicBezTo>
                      <a:pt x="739" y="117"/>
                      <a:pt x="747" y="122"/>
                      <a:pt x="748" y="122"/>
                    </a:cubicBezTo>
                    <a:cubicBezTo>
                      <a:pt x="750" y="123"/>
                      <a:pt x="756" y="121"/>
                      <a:pt x="758" y="119"/>
                    </a:cubicBezTo>
                    <a:cubicBezTo>
                      <a:pt x="759" y="118"/>
                      <a:pt x="757" y="118"/>
                      <a:pt x="757" y="117"/>
                    </a:cubicBezTo>
                    <a:cubicBezTo>
                      <a:pt x="757" y="117"/>
                      <a:pt x="761" y="117"/>
                      <a:pt x="761" y="115"/>
                    </a:cubicBezTo>
                    <a:cubicBezTo>
                      <a:pt x="760" y="114"/>
                      <a:pt x="758" y="113"/>
                      <a:pt x="759" y="112"/>
                    </a:cubicBezTo>
                    <a:cubicBezTo>
                      <a:pt x="759" y="111"/>
                      <a:pt x="761" y="109"/>
                      <a:pt x="761" y="109"/>
                    </a:cubicBezTo>
                    <a:cubicBezTo>
                      <a:pt x="762" y="109"/>
                      <a:pt x="766" y="110"/>
                      <a:pt x="766" y="109"/>
                    </a:cubicBezTo>
                    <a:cubicBezTo>
                      <a:pt x="765" y="110"/>
                      <a:pt x="762" y="111"/>
                      <a:pt x="763" y="112"/>
                    </a:cubicBezTo>
                    <a:cubicBezTo>
                      <a:pt x="764" y="113"/>
                      <a:pt x="765" y="114"/>
                      <a:pt x="765" y="114"/>
                    </a:cubicBezTo>
                    <a:cubicBezTo>
                      <a:pt x="765" y="115"/>
                      <a:pt x="764" y="116"/>
                      <a:pt x="765" y="116"/>
                    </a:cubicBezTo>
                    <a:cubicBezTo>
                      <a:pt x="767" y="116"/>
                      <a:pt x="769" y="115"/>
                      <a:pt x="771" y="115"/>
                    </a:cubicBezTo>
                    <a:cubicBezTo>
                      <a:pt x="773" y="115"/>
                      <a:pt x="775" y="115"/>
                      <a:pt x="777" y="116"/>
                    </a:cubicBezTo>
                    <a:cubicBezTo>
                      <a:pt x="778" y="117"/>
                      <a:pt x="778" y="117"/>
                      <a:pt x="778" y="119"/>
                    </a:cubicBezTo>
                    <a:cubicBezTo>
                      <a:pt x="778" y="120"/>
                      <a:pt x="782" y="121"/>
                      <a:pt x="783" y="121"/>
                    </a:cubicBezTo>
                    <a:cubicBezTo>
                      <a:pt x="784" y="122"/>
                      <a:pt x="790" y="126"/>
                      <a:pt x="791" y="124"/>
                    </a:cubicBezTo>
                    <a:cubicBezTo>
                      <a:pt x="790" y="127"/>
                      <a:pt x="796" y="124"/>
                      <a:pt x="796" y="124"/>
                    </a:cubicBezTo>
                    <a:cubicBezTo>
                      <a:pt x="796" y="123"/>
                      <a:pt x="792" y="123"/>
                      <a:pt x="793" y="122"/>
                    </a:cubicBezTo>
                    <a:cubicBezTo>
                      <a:pt x="793" y="120"/>
                      <a:pt x="796" y="122"/>
                      <a:pt x="796" y="122"/>
                    </a:cubicBezTo>
                    <a:cubicBezTo>
                      <a:pt x="796" y="120"/>
                      <a:pt x="795" y="122"/>
                      <a:pt x="796" y="119"/>
                    </a:cubicBezTo>
                    <a:cubicBezTo>
                      <a:pt x="796" y="118"/>
                      <a:pt x="796" y="117"/>
                      <a:pt x="796" y="116"/>
                    </a:cubicBezTo>
                    <a:cubicBezTo>
                      <a:pt x="795" y="115"/>
                      <a:pt x="794" y="115"/>
                      <a:pt x="794" y="114"/>
                    </a:cubicBezTo>
                    <a:cubicBezTo>
                      <a:pt x="794" y="114"/>
                      <a:pt x="801" y="116"/>
                      <a:pt x="802" y="115"/>
                    </a:cubicBezTo>
                    <a:cubicBezTo>
                      <a:pt x="802" y="115"/>
                      <a:pt x="801" y="114"/>
                      <a:pt x="800" y="114"/>
                    </a:cubicBezTo>
                    <a:cubicBezTo>
                      <a:pt x="801" y="114"/>
                      <a:pt x="804" y="115"/>
                      <a:pt x="805" y="114"/>
                    </a:cubicBezTo>
                    <a:cubicBezTo>
                      <a:pt x="805" y="113"/>
                      <a:pt x="805" y="112"/>
                      <a:pt x="806" y="111"/>
                    </a:cubicBezTo>
                    <a:cubicBezTo>
                      <a:pt x="806" y="111"/>
                      <a:pt x="809" y="111"/>
                      <a:pt x="809" y="111"/>
                    </a:cubicBezTo>
                    <a:cubicBezTo>
                      <a:pt x="809" y="111"/>
                      <a:pt x="808" y="111"/>
                      <a:pt x="808" y="111"/>
                    </a:cubicBezTo>
                    <a:cubicBezTo>
                      <a:pt x="807" y="110"/>
                      <a:pt x="810" y="111"/>
                      <a:pt x="808" y="111"/>
                    </a:cubicBezTo>
                    <a:close/>
                    <a:moveTo>
                      <a:pt x="405" y="192"/>
                    </a:moveTo>
                    <a:cubicBezTo>
                      <a:pt x="404" y="195"/>
                      <a:pt x="404" y="198"/>
                      <a:pt x="403" y="201"/>
                    </a:cubicBezTo>
                    <a:cubicBezTo>
                      <a:pt x="402" y="203"/>
                      <a:pt x="399" y="202"/>
                      <a:pt x="399" y="204"/>
                    </a:cubicBezTo>
                    <a:cubicBezTo>
                      <a:pt x="399" y="204"/>
                      <a:pt x="401" y="204"/>
                      <a:pt x="402" y="204"/>
                    </a:cubicBezTo>
                    <a:cubicBezTo>
                      <a:pt x="402" y="204"/>
                      <a:pt x="393" y="210"/>
                      <a:pt x="392" y="210"/>
                    </a:cubicBezTo>
                    <a:cubicBezTo>
                      <a:pt x="391" y="211"/>
                      <a:pt x="390" y="212"/>
                      <a:pt x="388" y="212"/>
                    </a:cubicBezTo>
                    <a:cubicBezTo>
                      <a:pt x="387" y="213"/>
                      <a:pt x="386" y="215"/>
                      <a:pt x="385" y="216"/>
                    </a:cubicBezTo>
                    <a:cubicBezTo>
                      <a:pt x="384" y="217"/>
                      <a:pt x="377" y="219"/>
                      <a:pt x="376" y="217"/>
                    </a:cubicBezTo>
                    <a:cubicBezTo>
                      <a:pt x="376" y="216"/>
                      <a:pt x="383" y="214"/>
                      <a:pt x="384" y="213"/>
                    </a:cubicBezTo>
                    <a:cubicBezTo>
                      <a:pt x="387" y="211"/>
                      <a:pt x="390" y="208"/>
                      <a:pt x="393" y="206"/>
                    </a:cubicBezTo>
                    <a:cubicBezTo>
                      <a:pt x="395" y="205"/>
                      <a:pt x="395" y="202"/>
                      <a:pt x="397" y="201"/>
                    </a:cubicBezTo>
                    <a:cubicBezTo>
                      <a:pt x="399" y="198"/>
                      <a:pt x="401" y="195"/>
                      <a:pt x="402" y="192"/>
                    </a:cubicBezTo>
                    <a:cubicBezTo>
                      <a:pt x="402" y="190"/>
                      <a:pt x="402" y="190"/>
                      <a:pt x="404" y="189"/>
                    </a:cubicBezTo>
                    <a:cubicBezTo>
                      <a:pt x="406" y="188"/>
                      <a:pt x="405" y="191"/>
                      <a:pt x="405" y="192"/>
                    </a:cubicBezTo>
                    <a:cubicBezTo>
                      <a:pt x="404" y="193"/>
                      <a:pt x="405" y="190"/>
                      <a:pt x="405" y="19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4" name="Freeform 721">
                <a:extLst>
                  <a:ext uri="{FF2B5EF4-FFF2-40B4-BE49-F238E27FC236}">
                    <a16:creationId xmlns:a16="http://schemas.microsoft.com/office/drawing/2014/main" id="{4625E99D-CA63-004D-A931-BE19646C25CC}"/>
                  </a:ext>
                </a:extLst>
              </p:cNvPr>
              <p:cNvSpPr>
                <a:spLocks/>
              </p:cNvSpPr>
              <p:nvPr/>
            </p:nvSpPr>
            <p:spPr bwMode="auto">
              <a:xfrm>
                <a:off x="18193828" y="6226607"/>
                <a:ext cx="140127" cy="299442"/>
              </a:xfrm>
              <a:custGeom>
                <a:avLst/>
                <a:gdLst>
                  <a:gd name="T0" fmla="*/ 13 w 15"/>
                  <a:gd name="T1" fmla="*/ 26 h 32"/>
                  <a:gd name="T2" fmla="*/ 10 w 15"/>
                  <a:gd name="T3" fmla="*/ 13 h 32"/>
                  <a:gd name="T4" fmla="*/ 9 w 15"/>
                  <a:gd name="T5" fmla="*/ 4 h 32"/>
                  <a:gd name="T6" fmla="*/ 9 w 15"/>
                  <a:gd name="T7" fmla="*/ 1 h 32"/>
                  <a:gd name="T8" fmla="*/ 6 w 15"/>
                  <a:gd name="T9" fmla="*/ 0 h 32"/>
                  <a:gd name="T10" fmla="*/ 7 w 15"/>
                  <a:gd name="T11" fmla="*/ 3 h 32"/>
                  <a:gd name="T12" fmla="*/ 6 w 15"/>
                  <a:gd name="T13" fmla="*/ 5 h 32"/>
                  <a:gd name="T14" fmla="*/ 4 w 15"/>
                  <a:gd name="T15" fmla="*/ 7 h 32"/>
                  <a:gd name="T16" fmla="*/ 4 w 15"/>
                  <a:gd name="T17" fmla="*/ 9 h 32"/>
                  <a:gd name="T18" fmla="*/ 2 w 15"/>
                  <a:gd name="T19" fmla="*/ 14 h 32"/>
                  <a:gd name="T20" fmla="*/ 5 w 15"/>
                  <a:gd name="T21" fmla="*/ 20 h 32"/>
                  <a:gd name="T22" fmla="*/ 6 w 15"/>
                  <a:gd name="T23" fmla="*/ 32 h 32"/>
                  <a:gd name="T24" fmla="*/ 15 w 15"/>
                  <a:gd name="T25" fmla="*/ 32 h 32"/>
                  <a:gd name="T26" fmla="*/ 13 w 15"/>
                  <a:gd name="T27" fmla="*/ 26 h 32"/>
                  <a:gd name="T28" fmla="*/ 13 w 15"/>
                  <a:gd name="T2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32">
                    <a:moveTo>
                      <a:pt x="13" y="26"/>
                    </a:moveTo>
                    <a:cubicBezTo>
                      <a:pt x="13" y="22"/>
                      <a:pt x="9" y="17"/>
                      <a:pt x="10" y="13"/>
                    </a:cubicBezTo>
                    <a:cubicBezTo>
                      <a:pt x="11" y="10"/>
                      <a:pt x="10" y="7"/>
                      <a:pt x="9" y="4"/>
                    </a:cubicBezTo>
                    <a:cubicBezTo>
                      <a:pt x="9" y="3"/>
                      <a:pt x="9" y="2"/>
                      <a:pt x="9" y="1"/>
                    </a:cubicBezTo>
                    <a:cubicBezTo>
                      <a:pt x="9" y="0"/>
                      <a:pt x="6" y="0"/>
                      <a:pt x="6" y="0"/>
                    </a:cubicBezTo>
                    <a:cubicBezTo>
                      <a:pt x="6" y="1"/>
                      <a:pt x="7" y="2"/>
                      <a:pt x="7" y="3"/>
                    </a:cubicBezTo>
                    <a:cubicBezTo>
                      <a:pt x="8" y="4"/>
                      <a:pt x="7" y="5"/>
                      <a:pt x="6" y="5"/>
                    </a:cubicBezTo>
                    <a:cubicBezTo>
                      <a:pt x="5" y="6"/>
                      <a:pt x="4" y="5"/>
                      <a:pt x="4" y="7"/>
                    </a:cubicBezTo>
                    <a:cubicBezTo>
                      <a:pt x="4" y="8"/>
                      <a:pt x="4" y="8"/>
                      <a:pt x="4" y="9"/>
                    </a:cubicBezTo>
                    <a:cubicBezTo>
                      <a:pt x="3" y="11"/>
                      <a:pt x="3" y="13"/>
                      <a:pt x="2" y="14"/>
                    </a:cubicBezTo>
                    <a:cubicBezTo>
                      <a:pt x="0" y="15"/>
                      <a:pt x="4" y="18"/>
                      <a:pt x="5" y="20"/>
                    </a:cubicBezTo>
                    <a:cubicBezTo>
                      <a:pt x="6" y="22"/>
                      <a:pt x="4" y="32"/>
                      <a:pt x="6" y="32"/>
                    </a:cubicBezTo>
                    <a:cubicBezTo>
                      <a:pt x="9" y="32"/>
                      <a:pt x="12" y="32"/>
                      <a:pt x="15" y="32"/>
                    </a:cubicBezTo>
                    <a:cubicBezTo>
                      <a:pt x="15" y="30"/>
                      <a:pt x="14" y="28"/>
                      <a:pt x="13" y="26"/>
                    </a:cubicBezTo>
                    <a:cubicBezTo>
                      <a:pt x="13" y="24"/>
                      <a:pt x="13" y="27"/>
                      <a:pt x="13" y="2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5" name="Freeform 722">
                <a:extLst>
                  <a:ext uri="{FF2B5EF4-FFF2-40B4-BE49-F238E27FC236}">
                    <a16:creationId xmlns:a16="http://schemas.microsoft.com/office/drawing/2014/main" id="{F0EEF004-35B8-A541-B07C-66B0CA517A7A}"/>
                  </a:ext>
                </a:extLst>
              </p:cNvPr>
              <p:cNvSpPr>
                <a:spLocks/>
              </p:cNvSpPr>
              <p:nvPr/>
            </p:nvSpPr>
            <p:spPr bwMode="auto">
              <a:xfrm>
                <a:off x="18222490" y="6516489"/>
                <a:ext cx="140127" cy="216615"/>
              </a:xfrm>
              <a:custGeom>
                <a:avLst/>
                <a:gdLst>
                  <a:gd name="T0" fmla="*/ 12 w 15"/>
                  <a:gd name="T1" fmla="*/ 1 h 23"/>
                  <a:gd name="T2" fmla="*/ 7 w 15"/>
                  <a:gd name="T3" fmla="*/ 1 h 23"/>
                  <a:gd name="T4" fmla="*/ 2 w 15"/>
                  <a:gd name="T5" fmla="*/ 2 h 23"/>
                  <a:gd name="T6" fmla="*/ 1 w 15"/>
                  <a:gd name="T7" fmla="*/ 7 h 23"/>
                  <a:gd name="T8" fmla="*/ 2 w 15"/>
                  <a:gd name="T9" fmla="*/ 11 h 23"/>
                  <a:gd name="T10" fmla="*/ 1 w 15"/>
                  <a:gd name="T11" fmla="*/ 23 h 23"/>
                  <a:gd name="T12" fmla="*/ 4 w 15"/>
                  <a:gd name="T13" fmla="*/ 20 h 23"/>
                  <a:gd name="T14" fmla="*/ 7 w 15"/>
                  <a:gd name="T15" fmla="*/ 20 h 23"/>
                  <a:gd name="T16" fmla="*/ 9 w 15"/>
                  <a:gd name="T17" fmla="*/ 23 h 23"/>
                  <a:gd name="T18" fmla="*/ 9 w 15"/>
                  <a:gd name="T19" fmla="*/ 20 h 23"/>
                  <a:gd name="T20" fmla="*/ 6 w 15"/>
                  <a:gd name="T21" fmla="*/ 16 h 23"/>
                  <a:gd name="T22" fmla="*/ 4 w 15"/>
                  <a:gd name="T23" fmla="*/ 7 h 23"/>
                  <a:gd name="T24" fmla="*/ 9 w 15"/>
                  <a:gd name="T25" fmla="*/ 3 h 23"/>
                  <a:gd name="T26" fmla="*/ 15 w 15"/>
                  <a:gd name="T27" fmla="*/ 6 h 23"/>
                  <a:gd name="T28" fmla="*/ 12 w 15"/>
                  <a:gd name="T29"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23">
                    <a:moveTo>
                      <a:pt x="12" y="1"/>
                    </a:moveTo>
                    <a:cubicBezTo>
                      <a:pt x="11" y="1"/>
                      <a:pt x="9" y="1"/>
                      <a:pt x="7" y="1"/>
                    </a:cubicBezTo>
                    <a:cubicBezTo>
                      <a:pt x="5" y="1"/>
                      <a:pt x="3" y="0"/>
                      <a:pt x="2" y="2"/>
                    </a:cubicBezTo>
                    <a:cubicBezTo>
                      <a:pt x="2" y="4"/>
                      <a:pt x="1" y="5"/>
                      <a:pt x="1" y="7"/>
                    </a:cubicBezTo>
                    <a:cubicBezTo>
                      <a:pt x="1" y="8"/>
                      <a:pt x="2" y="9"/>
                      <a:pt x="2" y="11"/>
                    </a:cubicBezTo>
                    <a:cubicBezTo>
                      <a:pt x="2" y="12"/>
                      <a:pt x="0" y="23"/>
                      <a:pt x="1" y="23"/>
                    </a:cubicBezTo>
                    <a:cubicBezTo>
                      <a:pt x="3" y="22"/>
                      <a:pt x="1" y="19"/>
                      <a:pt x="4" y="20"/>
                    </a:cubicBezTo>
                    <a:cubicBezTo>
                      <a:pt x="5" y="20"/>
                      <a:pt x="7" y="19"/>
                      <a:pt x="7" y="20"/>
                    </a:cubicBezTo>
                    <a:cubicBezTo>
                      <a:pt x="8" y="20"/>
                      <a:pt x="8" y="23"/>
                      <a:pt x="9" y="23"/>
                    </a:cubicBezTo>
                    <a:cubicBezTo>
                      <a:pt x="9" y="23"/>
                      <a:pt x="9" y="20"/>
                      <a:pt x="9" y="20"/>
                    </a:cubicBezTo>
                    <a:cubicBezTo>
                      <a:pt x="9" y="18"/>
                      <a:pt x="7" y="17"/>
                      <a:pt x="6" y="16"/>
                    </a:cubicBezTo>
                    <a:cubicBezTo>
                      <a:pt x="5" y="14"/>
                      <a:pt x="2" y="9"/>
                      <a:pt x="4" y="7"/>
                    </a:cubicBezTo>
                    <a:cubicBezTo>
                      <a:pt x="7" y="5"/>
                      <a:pt x="6" y="4"/>
                      <a:pt x="9" y="3"/>
                    </a:cubicBezTo>
                    <a:cubicBezTo>
                      <a:pt x="11" y="2"/>
                      <a:pt x="14" y="4"/>
                      <a:pt x="15" y="6"/>
                    </a:cubicBezTo>
                    <a:cubicBezTo>
                      <a:pt x="14" y="4"/>
                      <a:pt x="13" y="2"/>
                      <a:pt x="1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6" name="Freeform 723">
                <a:extLst>
                  <a:ext uri="{FF2B5EF4-FFF2-40B4-BE49-F238E27FC236}">
                    <a16:creationId xmlns:a16="http://schemas.microsoft.com/office/drawing/2014/main" id="{674C18CC-C490-2342-BB16-8F14F1B15FD9}"/>
                  </a:ext>
                </a:extLst>
              </p:cNvPr>
              <p:cNvSpPr>
                <a:spLocks/>
              </p:cNvSpPr>
              <p:nvPr/>
            </p:nvSpPr>
            <p:spPr bwMode="auto">
              <a:xfrm>
                <a:off x="17483637" y="7153601"/>
                <a:ext cx="197453" cy="235731"/>
              </a:xfrm>
              <a:custGeom>
                <a:avLst/>
                <a:gdLst>
                  <a:gd name="T0" fmla="*/ 5 w 21"/>
                  <a:gd name="T1" fmla="*/ 1 h 25"/>
                  <a:gd name="T2" fmla="*/ 4 w 21"/>
                  <a:gd name="T3" fmla="*/ 7 h 25"/>
                  <a:gd name="T4" fmla="*/ 1 w 21"/>
                  <a:gd name="T5" fmla="*/ 9 h 25"/>
                  <a:gd name="T6" fmla="*/ 3 w 21"/>
                  <a:gd name="T7" fmla="*/ 11 h 25"/>
                  <a:gd name="T8" fmla="*/ 2 w 21"/>
                  <a:gd name="T9" fmla="*/ 14 h 25"/>
                  <a:gd name="T10" fmla="*/ 3 w 21"/>
                  <a:gd name="T11" fmla="*/ 16 h 25"/>
                  <a:gd name="T12" fmla="*/ 1 w 21"/>
                  <a:gd name="T13" fmla="*/ 20 h 25"/>
                  <a:gd name="T14" fmla="*/ 3 w 21"/>
                  <a:gd name="T15" fmla="*/ 21 h 25"/>
                  <a:gd name="T16" fmla="*/ 0 w 21"/>
                  <a:gd name="T17" fmla="*/ 24 h 25"/>
                  <a:gd name="T18" fmla="*/ 2 w 21"/>
                  <a:gd name="T19" fmla="*/ 23 h 25"/>
                  <a:gd name="T20" fmla="*/ 3 w 21"/>
                  <a:gd name="T21" fmla="*/ 24 h 25"/>
                  <a:gd name="T22" fmla="*/ 6 w 21"/>
                  <a:gd name="T23" fmla="*/ 22 h 25"/>
                  <a:gd name="T24" fmla="*/ 8 w 21"/>
                  <a:gd name="T25" fmla="*/ 22 h 25"/>
                  <a:gd name="T26" fmla="*/ 9 w 21"/>
                  <a:gd name="T27" fmla="*/ 22 h 25"/>
                  <a:gd name="T28" fmla="*/ 12 w 21"/>
                  <a:gd name="T29" fmla="*/ 21 h 25"/>
                  <a:gd name="T30" fmla="*/ 14 w 21"/>
                  <a:gd name="T31" fmla="*/ 20 h 25"/>
                  <a:gd name="T32" fmla="*/ 17 w 21"/>
                  <a:gd name="T33" fmla="*/ 18 h 25"/>
                  <a:gd name="T34" fmla="*/ 20 w 21"/>
                  <a:gd name="T35" fmla="*/ 20 h 25"/>
                  <a:gd name="T36" fmla="*/ 19 w 21"/>
                  <a:gd name="T37" fmla="*/ 16 h 25"/>
                  <a:gd name="T38" fmla="*/ 17 w 21"/>
                  <a:gd name="T39" fmla="*/ 12 h 25"/>
                  <a:gd name="T40" fmla="*/ 12 w 21"/>
                  <a:gd name="T41" fmla="*/ 0 h 25"/>
                  <a:gd name="T42" fmla="*/ 5 w 21"/>
                  <a:gd name="T43" fmla="*/ 1 h 25"/>
                  <a:gd name="T44" fmla="*/ 5 w 21"/>
                  <a:gd name="T45" fmla="*/ 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5">
                    <a:moveTo>
                      <a:pt x="5" y="1"/>
                    </a:moveTo>
                    <a:cubicBezTo>
                      <a:pt x="3" y="2"/>
                      <a:pt x="2" y="6"/>
                      <a:pt x="4" y="7"/>
                    </a:cubicBezTo>
                    <a:cubicBezTo>
                      <a:pt x="7" y="10"/>
                      <a:pt x="2" y="9"/>
                      <a:pt x="1" y="9"/>
                    </a:cubicBezTo>
                    <a:cubicBezTo>
                      <a:pt x="1" y="9"/>
                      <a:pt x="3" y="11"/>
                      <a:pt x="3" y="11"/>
                    </a:cubicBezTo>
                    <a:cubicBezTo>
                      <a:pt x="3" y="13"/>
                      <a:pt x="3" y="13"/>
                      <a:pt x="2" y="14"/>
                    </a:cubicBezTo>
                    <a:cubicBezTo>
                      <a:pt x="2" y="14"/>
                      <a:pt x="3" y="15"/>
                      <a:pt x="3" y="16"/>
                    </a:cubicBezTo>
                    <a:cubicBezTo>
                      <a:pt x="2" y="17"/>
                      <a:pt x="1" y="20"/>
                      <a:pt x="1" y="20"/>
                    </a:cubicBezTo>
                    <a:cubicBezTo>
                      <a:pt x="1" y="20"/>
                      <a:pt x="3" y="20"/>
                      <a:pt x="3" y="21"/>
                    </a:cubicBezTo>
                    <a:cubicBezTo>
                      <a:pt x="3" y="21"/>
                      <a:pt x="0" y="23"/>
                      <a:pt x="0" y="24"/>
                    </a:cubicBezTo>
                    <a:cubicBezTo>
                      <a:pt x="0" y="24"/>
                      <a:pt x="1" y="23"/>
                      <a:pt x="2" y="23"/>
                    </a:cubicBezTo>
                    <a:cubicBezTo>
                      <a:pt x="2" y="23"/>
                      <a:pt x="2" y="25"/>
                      <a:pt x="3" y="24"/>
                    </a:cubicBezTo>
                    <a:cubicBezTo>
                      <a:pt x="3" y="23"/>
                      <a:pt x="5" y="22"/>
                      <a:pt x="6" y="22"/>
                    </a:cubicBezTo>
                    <a:cubicBezTo>
                      <a:pt x="7" y="21"/>
                      <a:pt x="6" y="25"/>
                      <a:pt x="8" y="22"/>
                    </a:cubicBezTo>
                    <a:cubicBezTo>
                      <a:pt x="9" y="20"/>
                      <a:pt x="8" y="21"/>
                      <a:pt x="9" y="22"/>
                    </a:cubicBezTo>
                    <a:cubicBezTo>
                      <a:pt x="9" y="22"/>
                      <a:pt x="12" y="21"/>
                      <a:pt x="12" y="21"/>
                    </a:cubicBezTo>
                    <a:cubicBezTo>
                      <a:pt x="14" y="21"/>
                      <a:pt x="13" y="20"/>
                      <a:pt x="14" y="20"/>
                    </a:cubicBezTo>
                    <a:cubicBezTo>
                      <a:pt x="16" y="20"/>
                      <a:pt x="16" y="19"/>
                      <a:pt x="17" y="18"/>
                    </a:cubicBezTo>
                    <a:cubicBezTo>
                      <a:pt x="18" y="16"/>
                      <a:pt x="19" y="19"/>
                      <a:pt x="20" y="20"/>
                    </a:cubicBezTo>
                    <a:cubicBezTo>
                      <a:pt x="21" y="20"/>
                      <a:pt x="19" y="16"/>
                      <a:pt x="19" y="16"/>
                    </a:cubicBezTo>
                    <a:cubicBezTo>
                      <a:pt x="18" y="15"/>
                      <a:pt x="17" y="14"/>
                      <a:pt x="17" y="12"/>
                    </a:cubicBezTo>
                    <a:cubicBezTo>
                      <a:pt x="17" y="7"/>
                      <a:pt x="14" y="4"/>
                      <a:pt x="12" y="0"/>
                    </a:cubicBezTo>
                    <a:cubicBezTo>
                      <a:pt x="10" y="2"/>
                      <a:pt x="8" y="1"/>
                      <a:pt x="5" y="1"/>
                    </a:cubicBezTo>
                    <a:cubicBezTo>
                      <a:pt x="5" y="2"/>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7" name="Freeform 724">
                <a:extLst>
                  <a:ext uri="{FF2B5EF4-FFF2-40B4-BE49-F238E27FC236}">
                    <a16:creationId xmlns:a16="http://schemas.microsoft.com/office/drawing/2014/main" id="{F36952B0-71B6-5344-AA27-7B54A51197F0}"/>
                  </a:ext>
                </a:extLst>
              </p:cNvPr>
              <p:cNvSpPr>
                <a:spLocks/>
              </p:cNvSpPr>
              <p:nvPr/>
            </p:nvSpPr>
            <p:spPr bwMode="auto">
              <a:xfrm>
                <a:off x="17400836" y="6901941"/>
                <a:ext cx="299364" cy="289887"/>
              </a:xfrm>
              <a:custGeom>
                <a:avLst/>
                <a:gdLst>
                  <a:gd name="T0" fmla="*/ 32 w 32"/>
                  <a:gd name="T1" fmla="*/ 3 h 31"/>
                  <a:gd name="T2" fmla="*/ 29 w 32"/>
                  <a:gd name="T3" fmla="*/ 1 h 31"/>
                  <a:gd name="T4" fmla="*/ 27 w 32"/>
                  <a:gd name="T5" fmla="*/ 4 h 31"/>
                  <a:gd name="T6" fmla="*/ 25 w 32"/>
                  <a:gd name="T7" fmla="*/ 5 h 31"/>
                  <a:gd name="T8" fmla="*/ 20 w 32"/>
                  <a:gd name="T9" fmla="*/ 6 h 31"/>
                  <a:gd name="T10" fmla="*/ 20 w 32"/>
                  <a:gd name="T11" fmla="*/ 10 h 31"/>
                  <a:gd name="T12" fmla="*/ 13 w 32"/>
                  <a:gd name="T13" fmla="*/ 9 h 31"/>
                  <a:gd name="T14" fmla="*/ 10 w 32"/>
                  <a:gd name="T15" fmla="*/ 12 h 31"/>
                  <a:gd name="T16" fmla="*/ 0 w 32"/>
                  <a:gd name="T17" fmla="*/ 19 h 31"/>
                  <a:gd name="T18" fmla="*/ 6 w 32"/>
                  <a:gd name="T19" fmla="*/ 21 h 31"/>
                  <a:gd name="T20" fmla="*/ 5 w 32"/>
                  <a:gd name="T21" fmla="*/ 24 h 31"/>
                  <a:gd name="T22" fmla="*/ 6 w 32"/>
                  <a:gd name="T23" fmla="*/ 26 h 31"/>
                  <a:gd name="T24" fmla="*/ 3 w 32"/>
                  <a:gd name="T25" fmla="*/ 29 h 31"/>
                  <a:gd name="T26" fmla="*/ 5 w 32"/>
                  <a:gd name="T27" fmla="*/ 30 h 31"/>
                  <a:gd name="T28" fmla="*/ 5 w 32"/>
                  <a:gd name="T29" fmla="*/ 31 h 31"/>
                  <a:gd name="T30" fmla="*/ 9 w 32"/>
                  <a:gd name="T31" fmla="*/ 31 h 31"/>
                  <a:gd name="T32" fmla="*/ 12 w 32"/>
                  <a:gd name="T33" fmla="*/ 31 h 31"/>
                  <a:gd name="T34" fmla="*/ 14 w 32"/>
                  <a:gd name="T35" fmla="*/ 28 h 31"/>
                  <a:gd name="T36" fmla="*/ 21 w 32"/>
                  <a:gd name="T37" fmla="*/ 27 h 31"/>
                  <a:gd name="T38" fmla="*/ 16 w 32"/>
                  <a:gd name="T39" fmla="*/ 22 h 31"/>
                  <a:gd name="T40" fmla="*/ 20 w 32"/>
                  <a:gd name="T41" fmla="*/ 19 h 31"/>
                  <a:gd name="T42" fmla="*/ 27 w 32"/>
                  <a:gd name="T43" fmla="*/ 14 h 31"/>
                  <a:gd name="T44" fmla="*/ 27 w 32"/>
                  <a:gd name="T45" fmla="*/ 8 h 31"/>
                  <a:gd name="T46" fmla="*/ 32 w 32"/>
                  <a:gd name="T47" fmla="*/ 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31">
                    <a:moveTo>
                      <a:pt x="32" y="3"/>
                    </a:moveTo>
                    <a:cubicBezTo>
                      <a:pt x="31" y="2"/>
                      <a:pt x="30" y="0"/>
                      <a:pt x="29" y="1"/>
                    </a:cubicBezTo>
                    <a:cubicBezTo>
                      <a:pt x="28" y="1"/>
                      <a:pt x="28" y="3"/>
                      <a:pt x="27" y="4"/>
                    </a:cubicBezTo>
                    <a:cubicBezTo>
                      <a:pt x="27" y="4"/>
                      <a:pt x="26" y="3"/>
                      <a:pt x="25" y="5"/>
                    </a:cubicBezTo>
                    <a:cubicBezTo>
                      <a:pt x="24" y="6"/>
                      <a:pt x="22" y="6"/>
                      <a:pt x="20" y="6"/>
                    </a:cubicBezTo>
                    <a:cubicBezTo>
                      <a:pt x="18" y="7"/>
                      <a:pt x="22" y="9"/>
                      <a:pt x="20" y="10"/>
                    </a:cubicBezTo>
                    <a:cubicBezTo>
                      <a:pt x="17" y="11"/>
                      <a:pt x="16" y="9"/>
                      <a:pt x="13" y="9"/>
                    </a:cubicBezTo>
                    <a:cubicBezTo>
                      <a:pt x="12" y="8"/>
                      <a:pt x="10" y="11"/>
                      <a:pt x="10" y="12"/>
                    </a:cubicBezTo>
                    <a:cubicBezTo>
                      <a:pt x="7" y="15"/>
                      <a:pt x="1" y="15"/>
                      <a:pt x="0" y="19"/>
                    </a:cubicBezTo>
                    <a:cubicBezTo>
                      <a:pt x="0" y="19"/>
                      <a:pt x="6" y="21"/>
                      <a:pt x="6" y="21"/>
                    </a:cubicBezTo>
                    <a:cubicBezTo>
                      <a:pt x="6" y="22"/>
                      <a:pt x="5" y="24"/>
                      <a:pt x="5" y="24"/>
                    </a:cubicBezTo>
                    <a:cubicBezTo>
                      <a:pt x="5" y="26"/>
                      <a:pt x="6" y="25"/>
                      <a:pt x="6" y="26"/>
                    </a:cubicBezTo>
                    <a:cubicBezTo>
                      <a:pt x="6" y="25"/>
                      <a:pt x="2" y="28"/>
                      <a:pt x="3" y="29"/>
                    </a:cubicBezTo>
                    <a:cubicBezTo>
                      <a:pt x="3" y="29"/>
                      <a:pt x="5" y="30"/>
                      <a:pt x="5" y="30"/>
                    </a:cubicBezTo>
                    <a:cubicBezTo>
                      <a:pt x="6" y="30"/>
                      <a:pt x="5" y="30"/>
                      <a:pt x="5" y="31"/>
                    </a:cubicBezTo>
                    <a:cubicBezTo>
                      <a:pt x="5" y="30"/>
                      <a:pt x="9" y="30"/>
                      <a:pt x="9" y="31"/>
                    </a:cubicBezTo>
                    <a:cubicBezTo>
                      <a:pt x="10" y="31"/>
                      <a:pt x="11" y="31"/>
                      <a:pt x="12" y="31"/>
                    </a:cubicBezTo>
                    <a:cubicBezTo>
                      <a:pt x="12" y="31"/>
                      <a:pt x="13" y="29"/>
                      <a:pt x="14" y="28"/>
                    </a:cubicBezTo>
                    <a:cubicBezTo>
                      <a:pt x="17" y="28"/>
                      <a:pt x="19" y="29"/>
                      <a:pt x="21" y="27"/>
                    </a:cubicBezTo>
                    <a:cubicBezTo>
                      <a:pt x="21" y="25"/>
                      <a:pt x="16" y="23"/>
                      <a:pt x="16" y="22"/>
                    </a:cubicBezTo>
                    <a:cubicBezTo>
                      <a:pt x="17" y="21"/>
                      <a:pt x="18" y="20"/>
                      <a:pt x="20" y="19"/>
                    </a:cubicBezTo>
                    <a:cubicBezTo>
                      <a:pt x="22" y="17"/>
                      <a:pt x="24" y="15"/>
                      <a:pt x="27" y="14"/>
                    </a:cubicBezTo>
                    <a:cubicBezTo>
                      <a:pt x="29" y="12"/>
                      <a:pt x="26" y="9"/>
                      <a:pt x="27" y="8"/>
                    </a:cubicBezTo>
                    <a:cubicBezTo>
                      <a:pt x="29" y="6"/>
                      <a:pt x="30" y="4"/>
                      <a:pt x="32"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8" name="Freeform 725">
                <a:extLst>
                  <a:ext uri="{FF2B5EF4-FFF2-40B4-BE49-F238E27FC236}">
                    <a16:creationId xmlns:a16="http://schemas.microsoft.com/office/drawing/2014/main" id="{1FBA6964-C1AA-564B-9546-2FAD6A6757A2}"/>
                  </a:ext>
                </a:extLst>
              </p:cNvPr>
              <p:cNvSpPr>
                <a:spLocks/>
              </p:cNvSpPr>
              <p:nvPr/>
            </p:nvSpPr>
            <p:spPr bwMode="auto">
              <a:xfrm>
                <a:off x="11209749" y="6162893"/>
                <a:ext cx="222932" cy="232543"/>
              </a:xfrm>
              <a:custGeom>
                <a:avLst/>
                <a:gdLst>
                  <a:gd name="T0" fmla="*/ 21 w 24"/>
                  <a:gd name="T1" fmla="*/ 8 h 25"/>
                  <a:gd name="T2" fmla="*/ 18 w 24"/>
                  <a:gd name="T3" fmla="*/ 5 h 25"/>
                  <a:gd name="T4" fmla="*/ 15 w 24"/>
                  <a:gd name="T5" fmla="*/ 6 h 25"/>
                  <a:gd name="T6" fmla="*/ 16 w 24"/>
                  <a:gd name="T7" fmla="*/ 1 h 25"/>
                  <a:gd name="T8" fmla="*/ 10 w 24"/>
                  <a:gd name="T9" fmla="*/ 1 h 25"/>
                  <a:gd name="T10" fmla="*/ 10 w 24"/>
                  <a:gd name="T11" fmla="*/ 2 h 25"/>
                  <a:gd name="T12" fmla="*/ 9 w 24"/>
                  <a:gd name="T13" fmla="*/ 3 h 25"/>
                  <a:gd name="T14" fmla="*/ 11 w 24"/>
                  <a:gd name="T15" fmla="*/ 4 h 25"/>
                  <a:gd name="T16" fmla="*/ 9 w 24"/>
                  <a:gd name="T17" fmla="*/ 5 h 25"/>
                  <a:gd name="T18" fmla="*/ 2 w 24"/>
                  <a:gd name="T19" fmla="*/ 6 h 25"/>
                  <a:gd name="T20" fmla="*/ 3 w 24"/>
                  <a:gd name="T21" fmla="*/ 7 h 25"/>
                  <a:gd name="T22" fmla="*/ 2 w 24"/>
                  <a:gd name="T23" fmla="*/ 8 h 25"/>
                  <a:gd name="T24" fmla="*/ 2 w 24"/>
                  <a:gd name="T25" fmla="*/ 8 h 25"/>
                  <a:gd name="T26" fmla="*/ 1 w 24"/>
                  <a:gd name="T27" fmla="*/ 8 h 25"/>
                  <a:gd name="T28" fmla="*/ 3 w 24"/>
                  <a:gd name="T29" fmla="*/ 10 h 25"/>
                  <a:gd name="T30" fmla="*/ 6 w 24"/>
                  <a:gd name="T31" fmla="*/ 13 h 25"/>
                  <a:gd name="T32" fmla="*/ 5 w 24"/>
                  <a:gd name="T33" fmla="*/ 17 h 25"/>
                  <a:gd name="T34" fmla="*/ 1 w 24"/>
                  <a:gd name="T35" fmla="*/ 20 h 25"/>
                  <a:gd name="T36" fmla="*/ 3 w 24"/>
                  <a:gd name="T37" fmla="*/ 20 h 25"/>
                  <a:gd name="T38" fmla="*/ 0 w 24"/>
                  <a:gd name="T39" fmla="*/ 22 h 25"/>
                  <a:gd name="T40" fmla="*/ 3 w 24"/>
                  <a:gd name="T41" fmla="*/ 21 h 25"/>
                  <a:gd name="T42" fmla="*/ 2 w 24"/>
                  <a:gd name="T43" fmla="*/ 24 h 25"/>
                  <a:gd name="T44" fmla="*/ 4 w 24"/>
                  <a:gd name="T45" fmla="*/ 23 h 25"/>
                  <a:gd name="T46" fmla="*/ 4 w 24"/>
                  <a:gd name="T47" fmla="*/ 25 h 25"/>
                  <a:gd name="T48" fmla="*/ 8 w 24"/>
                  <a:gd name="T49" fmla="*/ 24 h 25"/>
                  <a:gd name="T50" fmla="*/ 17 w 24"/>
                  <a:gd name="T51" fmla="*/ 20 h 25"/>
                  <a:gd name="T52" fmla="*/ 22 w 24"/>
                  <a:gd name="T53" fmla="*/ 16 h 25"/>
                  <a:gd name="T54" fmla="*/ 21 w 24"/>
                  <a:gd name="T55" fmla="*/ 8 h 25"/>
                  <a:gd name="T56" fmla="*/ 21 w 24"/>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 h="25">
                    <a:moveTo>
                      <a:pt x="21" y="8"/>
                    </a:moveTo>
                    <a:cubicBezTo>
                      <a:pt x="20" y="8"/>
                      <a:pt x="19" y="5"/>
                      <a:pt x="18" y="5"/>
                    </a:cubicBezTo>
                    <a:cubicBezTo>
                      <a:pt x="16" y="6"/>
                      <a:pt x="17" y="7"/>
                      <a:pt x="15" y="6"/>
                    </a:cubicBezTo>
                    <a:cubicBezTo>
                      <a:pt x="11" y="5"/>
                      <a:pt x="15" y="3"/>
                      <a:pt x="16" y="1"/>
                    </a:cubicBezTo>
                    <a:cubicBezTo>
                      <a:pt x="14" y="1"/>
                      <a:pt x="11" y="0"/>
                      <a:pt x="10" y="1"/>
                    </a:cubicBezTo>
                    <a:cubicBezTo>
                      <a:pt x="10" y="1"/>
                      <a:pt x="12" y="1"/>
                      <a:pt x="10" y="2"/>
                    </a:cubicBezTo>
                    <a:cubicBezTo>
                      <a:pt x="10" y="2"/>
                      <a:pt x="8" y="3"/>
                      <a:pt x="9" y="3"/>
                    </a:cubicBezTo>
                    <a:cubicBezTo>
                      <a:pt x="9" y="4"/>
                      <a:pt x="11" y="3"/>
                      <a:pt x="11" y="4"/>
                    </a:cubicBezTo>
                    <a:cubicBezTo>
                      <a:pt x="12" y="5"/>
                      <a:pt x="9" y="5"/>
                      <a:pt x="9" y="5"/>
                    </a:cubicBezTo>
                    <a:cubicBezTo>
                      <a:pt x="7" y="6"/>
                      <a:pt x="3" y="5"/>
                      <a:pt x="2" y="6"/>
                    </a:cubicBezTo>
                    <a:cubicBezTo>
                      <a:pt x="2" y="6"/>
                      <a:pt x="3" y="6"/>
                      <a:pt x="3" y="7"/>
                    </a:cubicBezTo>
                    <a:cubicBezTo>
                      <a:pt x="3" y="7"/>
                      <a:pt x="1" y="7"/>
                      <a:pt x="2" y="8"/>
                    </a:cubicBezTo>
                    <a:cubicBezTo>
                      <a:pt x="2" y="8"/>
                      <a:pt x="2" y="8"/>
                      <a:pt x="2" y="8"/>
                    </a:cubicBezTo>
                    <a:cubicBezTo>
                      <a:pt x="3" y="8"/>
                      <a:pt x="1" y="8"/>
                      <a:pt x="1" y="8"/>
                    </a:cubicBezTo>
                    <a:cubicBezTo>
                      <a:pt x="1" y="9"/>
                      <a:pt x="5" y="9"/>
                      <a:pt x="3" y="10"/>
                    </a:cubicBezTo>
                    <a:cubicBezTo>
                      <a:pt x="0" y="12"/>
                      <a:pt x="4" y="13"/>
                      <a:pt x="6" y="13"/>
                    </a:cubicBezTo>
                    <a:cubicBezTo>
                      <a:pt x="7" y="13"/>
                      <a:pt x="5" y="16"/>
                      <a:pt x="5" y="17"/>
                    </a:cubicBezTo>
                    <a:cubicBezTo>
                      <a:pt x="4" y="17"/>
                      <a:pt x="2" y="21"/>
                      <a:pt x="1" y="20"/>
                    </a:cubicBezTo>
                    <a:cubicBezTo>
                      <a:pt x="1" y="20"/>
                      <a:pt x="3" y="20"/>
                      <a:pt x="3" y="20"/>
                    </a:cubicBezTo>
                    <a:cubicBezTo>
                      <a:pt x="2" y="21"/>
                      <a:pt x="1" y="20"/>
                      <a:pt x="0" y="22"/>
                    </a:cubicBezTo>
                    <a:cubicBezTo>
                      <a:pt x="0" y="22"/>
                      <a:pt x="3" y="21"/>
                      <a:pt x="3" y="21"/>
                    </a:cubicBezTo>
                    <a:cubicBezTo>
                      <a:pt x="3" y="21"/>
                      <a:pt x="2" y="23"/>
                      <a:pt x="2" y="24"/>
                    </a:cubicBezTo>
                    <a:cubicBezTo>
                      <a:pt x="2" y="24"/>
                      <a:pt x="4" y="23"/>
                      <a:pt x="4" y="23"/>
                    </a:cubicBezTo>
                    <a:cubicBezTo>
                      <a:pt x="4" y="23"/>
                      <a:pt x="4" y="24"/>
                      <a:pt x="4" y="25"/>
                    </a:cubicBezTo>
                    <a:cubicBezTo>
                      <a:pt x="5" y="25"/>
                      <a:pt x="7" y="24"/>
                      <a:pt x="8" y="24"/>
                    </a:cubicBezTo>
                    <a:cubicBezTo>
                      <a:pt x="11" y="23"/>
                      <a:pt x="14" y="20"/>
                      <a:pt x="17" y="20"/>
                    </a:cubicBezTo>
                    <a:cubicBezTo>
                      <a:pt x="21" y="20"/>
                      <a:pt x="20" y="19"/>
                      <a:pt x="22" y="16"/>
                    </a:cubicBezTo>
                    <a:cubicBezTo>
                      <a:pt x="24" y="13"/>
                      <a:pt x="21" y="11"/>
                      <a:pt x="21" y="8"/>
                    </a:cubicBezTo>
                    <a:cubicBezTo>
                      <a:pt x="20" y="8"/>
                      <a:pt x="21" y="9"/>
                      <a:pt x="21"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49" name="Freeform 726">
                <a:extLst>
                  <a:ext uri="{FF2B5EF4-FFF2-40B4-BE49-F238E27FC236}">
                    <a16:creationId xmlns:a16="http://schemas.microsoft.com/office/drawing/2014/main" id="{0E1FCD5C-46E9-2E46-945A-D7B688376EBE}"/>
                  </a:ext>
                </a:extLst>
              </p:cNvPr>
              <p:cNvSpPr>
                <a:spLocks/>
              </p:cNvSpPr>
              <p:nvPr/>
            </p:nvSpPr>
            <p:spPr bwMode="auto">
              <a:xfrm>
                <a:off x="11321211" y="6153340"/>
                <a:ext cx="149682" cy="92380"/>
              </a:xfrm>
              <a:custGeom>
                <a:avLst/>
                <a:gdLst>
                  <a:gd name="T0" fmla="*/ 1 w 16"/>
                  <a:gd name="T1" fmla="*/ 6 h 10"/>
                  <a:gd name="T2" fmla="*/ 4 w 16"/>
                  <a:gd name="T3" fmla="*/ 8 h 10"/>
                  <a:gd name="T4" fmla="*/ 5 w 16"/>
                  <a:gd name="T5" fmla="*/ 7 h 10"/>
                  <a:gd name="T6" fmla="*/ 8 w 16"/>
                  <a:gd name="T7" fmla="*/ 8 h 10"/>
                  <a:gd name="T8" fmla="*/ 11 w 16"/>
                  <a:gd name="T9" fmla="*/ 4 h 10"/>
                  <a:gd name="T10" fmla="*/ 11 w 16"/>
                  <a:gd name="T11" fmla="*/ 2 h 10"/>
                  <a:gd name="T12" fmla="*/ 7 w 16"/>
                  <a:gd name="T13" fmla="*/ 1 h 10"/>
                  <a:gd name="T14" fmla="*/ 4 w 16"/>
                  <a:gd name="T15" fmla="*/ 2 h 10"/>
                  <a:gd name="T16" fmla="*/ 1 w 16"/>
                  <a:gd name="T17" fmla="*/ 6 h 10"/>
                  <a:gd name="T18" fmla="*/ 1 w 16"/>
                  <a:gd name="T1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0">
                    <a:moveTo>
                      <a:pt x="1" y="6"/>
                    </a:moveTo>
                    <a:cubicBezTo>
                      <a:pt x="0" y="7"/>
                      <a:pt x="3" y="8"/>
                      <a:pt x="4" y="8"/>
                    </a:cubicBezTo>
                    <a:cubicBezTo>
                      <a:pt x="4" y="8"/>
                      <a:pt x="5" y="7"/>
                      <a:pt x="5" y="7"/>
                    </a:cubicBezTo>
                    <a:cubicBezTo>
                      <a:pt x="6" y="6"/>
                      <a:pt x="7" y="7"/>
                      <a:pt x="8" y="8"/>
                    </a:cubicBezTo>
                    <a:cubicBezTo>
                      <a:pt x="10" y="10"/>
                      <a:pt x="16" y="5"/>
                      <a:pt x="11" y="4"/>
                    </a:cubicBezTo>
                    <a:cubicBezTo>
                      <a:pt x="12" y="4"/>
                      <a:pt x="11" y="2"/>
                      <a:pt x="11" y="2"/>
                    </a:cubicBezTo>
                    <a:cubicBezTo>
                      <a:pt x="10" y="0"/>
                      <a:pt x="9" y="0"/>
                      <a:pt x="7" y="1"/>
                    </a:cubicBezTo>
                    <a:cubicBezTo>
                      <a:pt x="6" y="1"/>
                      <a:pt x="4" y="1"/>
                      <a:pt x="4" y="2"/>
                    </a:cubicBezTo>
                    <a:cubicBezTo>
                      <a:pt x="3" y="3"/>
                      <a:pt x="1" y="4"/>
                      <a:pt x="1" y="6"/>
                    </a:cubicBezTo>
                    <a:cubicBezTo>
                      <a:pt x="1" y="6"/>
                      <a:pt x="1" y="5"/>
                      <a:pt x="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0" name="Freeform 727">
                <a:extLst>
                  <a:ext uri="{FF2B5EF4-FFF2-40B4-BE49-F238E27FC236}">
                    <a16:creationId xmlns:a16="http://schemas.microsoft.com/office/drawing/2014/main" id="{3A484815-E2C4-5144-8757-CD815675F753}"/>
                  </a:ext>
                </a:extLst>
              </p:cNvPr>
              <p:cNvSpPr>
                <a:spLocks/>
              </p:cNvSpPr>
              <p:nvPr/>
            </p:nvSpPr>
            <p:spPr bwMode="auto">
              <a:xfrm>
                <a:off x="11267072" y="6854158"/>
                <a:ext cx="585987" cy="430050"/>
              </a:xfrm>
              <a:custGeom>
                <a:avLst/>
                <a:gdLst>
                  <a:gd name="T0" fmla="*/ 58 w 63"/>
                  <a:gd name="T1" fmla="*/ 8 h 46"/>
                  <a:gd name="T2" fmla="*/ 52 w 63"/>
                  <a:gd name="T3" fmla="*/ 6 h 46"/>
                  <a:gd name="T4" fmla="*/ 49 w 63"/>
                  <a:gd name="T5" fmla="*/ 6 h 46"/>
                  <a:gd name="T6" fmla="*/ 45 w 63"/>
                  <a:gd name="T7" fmla="*/ 6 h 46"/>
                  <a:gd name="T8" fmla="*/ 40 w 63"/>
                  <a:gd name="T9" fmla="*/ 4 h 46"/>
                  <a:gd name="T10" fmla="*/ 38 w 63"/>
                  <a:gd name="T11" fmla="*/ 2 h 46"/>
                  <a:gd name="T12" fmla="*/ 35 w 63"/>
                  <a:gd name="T13" fmla="*/ 2 h 46"/>
                  <a:gd name="T14" fmla="*/ 31 w 63"/>
                  <a:gd name="T15" fmla="*/ 2 h 46"/>
                  <a:gd name="T16" fmla="*/ 27 w 63"/>
                  <a:gd name="T17" fmla="*/ 2 h 46"/>
                  <a:gd name="T18" fmla="*/ 17 w 63"/>
                  <a:gd name="T19" fmla="*/ 1 h 46"/>
                  <a:gd name="T20" fmla="*/ 8 w 63"/>
                  <a:gd name="T21" fmla="*/ 0 h 46"/>
                  <a:gd name="T22" fmla="*/ 2 w 63"/>
                  <a:gd name="T23" fmla="*/ 3 h 46"/>
                  <a:gd name="T24" fmla="*/ 2 w 63"/>
                  <a:gd name="T25" fmla="*/ 6 h 46"/>
                  <a:gd name="T26" fmla="*/ 2 w 63"/>
                  <a:gd name="T27" fmla="*/ 11 h 46"/>
                  <a:gd name="T28" fmla="*/ 5 w 63"/>
                  <a:gd name="T29" fmla="*/ 10 h 46"/>
                  <a:gd name="T30" fmla="*/ 7 w 63"/>
                  <a:gd name="T31" fmla="*/ 12 h 46"/>
                  <a:gd name="T32" fmla="*/ 12 w 63"/>
                  <a:gd name="T33" fmla="*/ 11 h 46"/>
                  <a:gd name="T34" fmla="*/ 14 w 63"/>
                  <a:gd name="T35" fmla="*/ 14 h 46"/>
                  <a:gd name="T36" fmla="*/ 13 w 63"/>
                  <a:gd name="T37" fmla="*/ 20 h 46"/>
                  <a:gd name="T38" fmla="*/ 12 w 63"/>
                  <a:gd name="T39" fmla="*/ 25 h 46"/>
                  <a:gd name="T40" fmla="*/ 12 w 63"/>
                  <a:gd name="T41" fmla="*/ 28 h 46"/>
                  <a:gd name="T42" fmla="*/ 10 w 63"/>
                  <a:gd name="T43" fmla="*/ 33 h 46"/>
                  <a:gd name="T44" fmla="*/ 10 w 63"/>
                  <a:gd name="T45" fmla="*/ 38 h 46"/>
                  <a:gd name="T46" fmla="*/ 17 w 63"/>
                  <a:gd name="T47" fmla="*/ 44 h 46"/>
                  <a:gd name="T48" fmla="*/ 20 w 63"/>
                  <a:gd name="T49" fmla="*/ 45 h 46"/>
                  <a:gd name="T50" fmla="*/ 21 w 63"/>
                  <a:gd name="T51" fmla="*/ 43 h 46"/>
                  <a:gd name="T52" fmla="*/ 24 w 63"/>
                  <a:gd name="T53" fmla="*/ 42 h 46"/>
                  <a:gd name="T54" fmla="*/ 36 w 63"/>
                  <a:gd name="T55" fmla="*/ 41 h 46"/>
                  <a:gd name="T56" fmla="*/ 39 w 63"/>
                  <a:gd name="T57" fmla="*/ 38 h 46"/>
                  <a:gd name="T58" fmla="*/ 43 w 63"/>
                  <a:gd name="T59" fmla="*/ 35 h 46"/>
                  <a:gd name="T60" fmla="*/ 47 w 63"/>
                  <a:gd name="T61" fmla="*/ 30 h 46"/>
                  <a:gd name="T62" fmla="*/ 45 w 63"/>
                  <a:gd name="T63" fmla="*/ 26 h 46"/>
                  <a:gd name="T64" fmla="*/ 48 w 63"/>
                  <a:gd name="T65" fmla="*/ 21 h 46"/>
                  <a:gd name="T66" fmla="*/ 50 w 63"/>
                  <a:gd name="T67" fmla="*/ 19 h 46"/>
                  <a:gd name="T68" fmla="*/ 51 w 63"/>
                  <a:gd name="T69" fmla="*/ 17 h 46"/>
                  <a:gd name="T70" fmla="*/ 60 w 63"/>
                  <a:gd name="T71" fmla="*/ 13 h 46"/>
                  <a:gd name="T72" fmla="*/ 63 w 63"/>
                  <a:gd name="T73" fmla="*/ 9 h 46"/>
                  <a:gd name="T74" fmla="*/ 58 w 63"/>
                  <a:gd name="T75" fmla="*/ 8 h 46"/>
                  <a:gd name="T76" fmla="*/ 58 w 63"/>
                  <a:gd name="T77"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 h="46">
                    <a:moveTo>
                      <a:pt x="58" y="8"/>
                    </a:moveTo>
                    <a:cubicBezTo>
                      <a:pt x="55" y="8"/>
                      <a:pt x="54" y="7"/>
                      <a:pt x="52" y="6"/>
                    </a:cubicBezTo>
                    <a:cubicBezTo>
                      <a:pt x="51" y="5"/>
                      <a:pt x="50" y="6"/>
                      <a:pt x="49" y="6"/>
                    </a:cubicBezTo>
                    <a:cubicBezTo>
                      <a:pt x="48" y="6"/>
                      <a:pt x="46" y="6"/>
                      <a:pt x="45" y="6"/>
                    </a:cubicBezTo>
                    <a:cubicBezTo>
                      <a:pt x="43" y="5"/>
                      <a:pt x="41" y="4"/>
                      <a:pt x="40" y="4"/>
                    </a:cubicBezTo>
                    <a:cubicBezTo>
                      <a:pt x="39" y="3"/>
                      <a:pt x="39" y="3"/>
                      <a:pt x="38" y="2"/>
                    </a:cubicBezTo>
                    <a:cubicBezTo>
                      <a:pt x="37" y="3"/>
                      <a:pt x="36" y="2"/>
                      <a:pt x="35" y="2"/>
                    </a:cubicBezTo>
                    <a:cubicBezTo>
                      <a:pt x="33" y="1"/>
                      <a:pt x="32" y="2"/>
                      <a:pt x="31" y="2"/>
                    </a:cubicBezTo>
                    <a:cubicBezTo>
                      <a:pt x="29" y="2"/>
                      <a:pt x="28" y="2"/>
                      <a:pt x="27" y="2"/>
                    </a:cubicBezTo>
                    <a:cubicBezTo>
                      <a:pt x="24" y="2"/>
                      <a:pt x="21" y="1"/>
                      <a:pt x="17" y="1"/>
                    </a:cubicBezTo>
                    <a:cubicBezTo>
                      <a:pt x="15" y="1"/>
                      <a:pt x="11" y="0"/>
                      <a:pt x="8" y="0"/>
                    </a:cubicBezTo>
                    <a:cubicBezTo>
                      <a:pt x="7" y="1"/>
                      <a:pt x="4" y="2"/>
                      <a:pt x="2" y="3"/>
                    </a:cubicBezTo>
                    <a:cubicBezTo>
                      <a:pt x="0" y="4"/>
                      <a:pt x="1" y="5"/>
                      <a:pt x="2" y="6"/>
                    </a:cubicBezTo>
                    <a:cubicBezTo>
                      <a:pt x="2" y="8"/>
                      <a:pt x="2" y="9"/>
                      <a:pt x="2" y="11"/>
                    </a:cubicBezTo>
                    <a:cubicBezTo>
                      <a:pt x="3" y="11"/>
                      <a:pt x="5" y="10"/>
                      <a:pt x="5" y="10"/>
                    </a:cubicBezTo>
                    <a:cubicBezTo>
                      <a:pt x="6" y="10"/>
                      <a:pt x="5" y="12"/>
                      <a:pt x="7" y="12"/>
                    </a:cubicBezTo>
                    <a:cubicBezTo>
                      <a:pt x="9" y="12"/>
                      <a:pt x="10" y="11"/>
                      <a:pt x="12" y="11"/>
                    </a:cubicBezTo>
                    <a:cubicBezTo>
                      <a:pt x="14" y="10"/>
                      <a:pt x="16" y="13"/>
                      <a:pt x="14" y="14"/>
                    </a:cubicBezTo>
                    <a:cubicBezTo>
                      <a:pt x="12" y="16"/>
                      <a:pt x="13" y="17"/>
                      <a:pt x="13" y="20"/>
                    </a:cubicBezTo>
                    <a:cubicBezTo>
                      <a:pt x="12" y="21"/>
                      <a:pt x="13" y="24"/>
                      <a:pt x="12" y="25"/>
                    </a:cubicBezTo>
                    <a:cubicBezTo>
                      <a:pt x="9" y="25"/>
                      <a:pt x="10" y="26"/>
                      <a:pt x="12" y="28"/>
                    </a:cubicBezTo>
                    <a:cubicBezTo>
                      <a:pt x="13" y="29"/>
                      <a:pt x="10" y="31"/>
                      <a:pt x="10" y="33"/>
                    </a:cubicBezTo>
                    <a:cubicBezTo>
                      <a:pt x="12" y="35"/>
                      <a:pt x="10" y="36"/>
                      <a:pt x="10" y="38"/>
                    </a:cubicBezTo>
                    <a:cubicBezTo>
                      <a:pt x="13" y="37"/>
                      <a:pt x="15" y="42"/>
                      <a:pt x="17" y="44"/>
                    </a:cubicBezTo>
                    <a:cubicBezTo>
                      <a:pt x="17" y="45"/>
                      <a:pt x="19" y="46"/>
                      <a:pt x="20" y="45"/>
                    </a:cubicBezTo>
                    <a:cubicBezTo>
                      <a:pt x="20" y="45"/>
                      <a:pt x="21" y="44"/>
                      <a:pt x="21" y="43"/>
                    </a:cubicBezTo>
                    <a:cubicBezTo>
                      <a:pt x="22" y="43"/>
                      <a:pt x="24" y="42"/>
                      <a:pt x="24" y="42"/>
                    </a:cubicBezTo>
                    <a:cubicBezTo>
                      <a:pt x="28" y="41"/>
                      <a:pt x="32" y="42"/>
                      <a:pt x="36" y="41"/>
                    </a:cubicBezTo>
                    <a:cubicBezTo>
                      <a:pt x="37" y="40"/>
                      <a:pt x="37" y="39"/>
                      <a:pt x="39" y="38"/>
                    </a:cubicBezTo>
                    <a:cubicBezTo>
                      <a:pt x="41" y="37"/>
                      <a:pt x="42" y="36"/>
                      <a:pt x="43" y="35"/>
                    </a:cubicBezTo>
                    <a:cubicBezTo>
                      <a:pt x="44" y="32"/>
                      <a:pt x="45" y="31"/>
                      <a:pt x="47" y="30"/>
                    </a:cubicBezTo>
                    <a:cubicBezTo>
                      <a:pt x="48" y="29"/>
                      <a:pt x="46" y="27"/>
                      <a:pt x="45" y="26"/>
                    </a:cubicBezTo>
                    <a:cubicBezTo>
                      <a:pt x="45" y="25"/>
                      <a:pt x="47" y="22"/>
                      <a:pt x="48" y="21"/>
                    </a:cubicBezTo>
                    <a:cubicBezTo>
                      <a:pt x="48" y="21"/>
                      <a:pt x="49" y="20"/>
                      <a:pt x="50" y="19"/>
                    </a:cubicBezTo>
                    <a:cubicBezTo>
                      <a:pt x="50" y="19"/>
                      <a:pt x="50" y="17"/>
                      <a:pt x="51" y="17"/>
                    </a:cubicBezTo>
                    <a:cubicBezTo>
                      <a:pt x="54" y="15"/>
                      <a:pt x="57" y="14"/>
                      <a:pt x="60" y="13"/>
                    </a:cubicBezTo>
                    <a:cubicBezTo>
                      <a:pt x="61" y="12"/>
                      <a:pt x="63" y="11"/>
                      <a:pt x="63" y="9"/>
                    </a:cubicBezTo>
                    <a:cubicBezTo>
                      <a:pt x="62" y="7"/>
                      <a:pt x="60" y="9"/>
                      <a:pt x="58" y="8"/>
                    </a:cubicBezTo>
                    <a:cubicBezTo>
                      <a:pt x="55" y="8"/>
                      <a:pt x="60" y="9"/>
                      <a:pt x="58" y="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1" name="Freeform 728">
                <a:extLst>
                  <a:ext uri="{FF2B5EF4-FFF2-40B4-BE49-F238E27FC236}">
                    <a16:creationId xmlns:a16="http://schemas.microsoft.com/office/drawing/2014/main" id="{B21E3AA6-455A-8844-A14D-FF3FBE493E80}"/>
                  </a:ext>
                </a:extLst>
              </p:cNvPr>
              <p:cNvSpPr>
                <a:spLocks/>
              </p:cNvSpPr>
              <p:nvPr/>
            </p:nvSpPr>
            <p:spPr bwMode="auto">
              <a:xfrm>
                <a:off x="11267072" y="6946541"/>
                <a:ext cx="149682" cy="283516"/>
              </a:xfrm>
              <a:custGeom>
                <a:avLst/>
                <a:gdLst>
                  <a:gd name="T0" fmla="*/ 11 w 16"/>
                  <a:gd name="T1" fmla="*/ 25 h 30"/>
                  <a:gd name="T2" fmla="*/ 11 w 16"/>
                  <a:gd name="T3" fmla="*/ 21 h 30"/>
                  <a:gd name="T4" fmla="*/ 10 w 16"/>
                  <a:gd name="T5" fmla="*/ 16 h 30"/>
                  <a:gd name="T6" fmla="*/ 12 w 16"/>
                  <a:gd name="T7" fmla="*/ 14 h 30"/>
                  <a:gd name="T8" fmla="*/ 13 w 16"/>
                  <a:gd name="T9" fmla="*/ 9 h 30"/>
                  <a:gd name="T10" fmla="*/ 14 w 16"/>
                  <a:gd name="T11" fmla="*/ 4 h 30"/>
                  <a:gd name="T12" fmla="*/ 12 w 16"/>
                  <a:gd name="T13" fmla="*/ 1 h 30"/>
                  <a:gd name="T14" fmla="*/ 7 w 16"/>
                  <a:gd name="T15" fmla="*/ 2 h 30"/>
                  <a:gd name="T16" fmla="*/ 5 w 16"/>
                  <a:gd name="T17" fmla="*/ 0 h 30"/>
                  <a:gd name="T18" fmla="*/ 4 w 16"/>
                  <a:gd name="T19" fmla="*/ 0 h 30"/>
                  <a:gd name="T20" fmla="*/ 3 w 16"/>
                  <a:gd name="T21" fmla="*/ 4 h 30"/>
                  <a:gd name="T22" fmla="*/ 3 w 16"/>
                  <a:gd name="T23" fmla="*/ 8 h 30"/>
                  <a:gd name="T24" fmla="*/ 2 w 16"/>
                  <a:gd name="T25" fmla="*/ 13 h 30"/>
                  <a:gd name="T26" fmla="*/ 0 w 16"/>
                  <a:gd name="T27" fmla="*/ 20 h 30"/>
                  <a:gd name="T28" fmla="*/ 2 w 16"/>
                  <a:gd name="T29" fmla="*/ 22 h 30"/>
                  <a:gd name="T30" fmla="*/ 2 w 16"/>
                  <a:gd name="T31" fmla="*/ 28 h 30"/>
                  <a:gd name="T32" fmla="*/ 6 w 16"/>
                  <a:gd name="T33" fmla="*/ 30 h 30"/>
                  <a:gd name="T34" fmla="*/ 11 w 16"/>
                  <a:gd name="T35" fmla="*/ 25 h 30"/>
                  <a:gd name="T36" fmla="*/ 11 w 16"/>
                  <a:gd name="T37"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30">
                    <a:moveTo>
                      <a:pt x="11" y="25"/>
                    </a:moveTo>
                    <a:cubicBezTo>
                      <a:pt x="12" y="23"/>
                      <a:pt x="10" y="22"/>
                      <a:pt x="11" y="21"/>
                    </a:cubicBezTo>
                    <a:cubicBezTo>
                      <a:pt x="12" y="18"/>
                      <a:pt x="12" y="18"/>
                      <a:pt x="10" y="16"/>
                    </a:cubicBezTo>
                    <a:cubicBezTo>
                      <a:pt x="9" y="14"/>
                      <a:pt x="11" y="15"/>
                      <a:pt x="12" y="14"/>
                    </a:cubicBezTo>
                    <a:cubicBezTo>
                      <a:pt x="13" y="13"/>
                      <a:pt x="13" y="10"/>
                      <a:pt x="13" y="9"/>
                    </a:cubicBezTo>
                    <a:cubicBezTo>
                      <a:pt x="13" y="6"/>
                      <a:pt x="12" y="6"/>
                      <a:pt x="14" y="4"/>
                    </a:cubicBezTo>
                    <a:cubicBezTo>
                      <a:pt x="16" y="3"/>
                      <a:pt x="14" y="0"/>
                      <a:pt x="12" y="1"/>
                    </a:cubicBezTo>
                    <a:cubicBezTo>
                      <a:pt x="10" y="1"/>
                      <a:pt x="9" y="2"/>
                      <a:pt x="7" y="2"/>
                    </a:cubicBezTo>
                    <a:cubicBezTo>
                      <a:pt x="5" y="2"/>
                      <a:pt x="6" y="0"/>
                      <a:pt x="5" y="0"/>
                    </a:cubicBezTo>
                    <a:cubicBezTo>
                      <a:pt x="6" y="0"/>
                      <a:pt x="3" y="0"/>
                      <a:pt x="4" y="0"/>
                    </a:cubicBezTo>
                    <a:cubicBezTo>
                      <a:pt x="2" y="1"/>
                      <a:pt x="3" y="2"/>
                      <a:pt x="3" y="4"/>
                    </a:cubicBezTo>
                    <a:cubicBezTo>
                      <a:pt x="3" y="5"/>
                      <a:pt x="3" y="7"/>
                      <a:pt x="3" y="8"/>
                    </a:cubicBezTo>
                    <a:cubicBezTo>
                      <a:pt x="2" y="10"/>
                      <a:pt x="2" y="12"/>
                      <a:pt x="2" y="13"/>
                    </a:cubicBezTo>
                    <a:cubicBezTo>
                      <a:pt x="1" y="16"/>
                      <a:pt x="0" y="17"/>
                      <a:pt x="0" y="20"/>
                    </a:cubicBezTo>
                    <a:cubicBezTo>
                      <a:pt x="1" y="21"/>
                      <a:pt x="2" y="20"/>
                      <a:pt x="2" y="22"/>
                    </a:cubicBezTo>
                    <a:cubicBezTo>
                      <a:pt x="3" y="23"/>
                      <a:pt x="2" y="26"/>
                      <a:pt x="2" y="28"/>
                    </a:cubicBezTo>
                    <a:cubicBezTo>
                      <a:pt x="2" y="30"/>
                      <a:pt x="4" y="30"/>
                      <a:pt x="6" y="30"/>
                    </a:cubicBezTo>
                    <a:cubicBezTo>
                      <a:pt x="10" y="30"/>
                      <a:pt x="9" y="27"/>
                      <a:pt x="11" y="25"/>
                    </a:cubicBezTo>
                    <a:cubicBezTo>
                      <a:pt x="12" y="23"/>
                      <a:pt x="10" y="26"/>
                      <a:pt x="11"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2" name="Freeform 729">
                <a:extLst>
                  <a:ext uri="{FF2B5EF4-FFF2-40B4-BE49-F238E27FC236}">
                    <a16:creationId xmlns:a16="http://schemas.microsoft.com/office/drawing/2014/main" id="{E6FA442C-8597-3C47-B6CE-EDB9989F42D9}"/>
                  </a:ext>
                </a:extLst>
              </p:cNvPr>
              <p:cNvSpPr>
                <a:spLocks/>
              </p:cNvSpPr>
              <p:nvPr/>
            </p:nvSpPr>
            <p:spPr bwMode="auto">
              <a:xfrm>
                <a:off x="13069621" y="9510902"/>
                <a:ext cx="493633" cy="825058"/>
              </a:xfrm>
              <a:custGeom>
                <a:avLst/>
                <a:gdLst>
                  <a:gd name="T0" fmla="*/ 52 w 53"/>
                  <a:gd name="T1" fmla="*/ 23 h 88"/>
                  <a:gd name="T2" fmla="*/ 50 w 53"/>
                  <a:gd name="T3" fmla="*/ 3 h 88"/>
                  <a:gd name="T4" fmla="*/ 46 w 53"/>
                  <a:gd name="T5" fmla="*/ 3 h 88"/>
                  <a:gd name="T6" fmla="*/ 41 w 53"/>
                  <a:gd name="T7" fmla="*/ 6 h 88"/>
                  <a:gd name="T8" fmla="*/ 38 w 53"/>
                  <a:gd name="T9" fmla="*/ 7 h 88"/>
                  <a:gd name="T10" fmla="*/ 32 w 53"/>
                  <a:gd name="T11" fmla="*/ 7 h 88"/>
                  <a:gd name="T12" fmla="*/ 28 w 53"/>
                  <a:gd name="T13" fmla="*/ 7 h 88"/>
                  <a:gd name="T14" fmla="*/ 23 w 53"/>
                  <a:gd name="T15" fmla="*/ 7 h 88"/>
                  <a:gd name="T16" fmla="*/ 24 w 53"/>
                  <a:gd name="T17" fmla="*/ 18 h 88"/>
                  <a:gd name="T18" fmla="*/ 25 w 53"/>
                  <a:gd name="T19" fmla="*/ 20 h 88"/>
                  <a:gd name="T20" fmla="*/ 27 w 53"/>
                  <a:gd name="T21" fmla="*/ 22 h 88"/>
                  <a:gd name="T22" fmla="*/ 27 w 53"/>
                  <a:gd name="T23" fmla="*/ 28 h 88"/>
                  <a:gd name="T24" fmla="*/ 25 w 53"/>
                  <a:gd name="T25" fmla="*/ 31 h 88"/>
                  <a:gd name="T26" fmla="*/ 24 w 53"/>
                  <a:gd name="T27" fmla="*/ 35 h 88"/>
                  <a:gd name="T28" fmla="*/ 20 w 53"/>
                  <a:gd name="T29" fmla="*/ 31 h 88"/>
                  <a:gd name="T30" fmla="*/ 21 w 53"/>
                  <a:gd name="T31" fmla="*/ 25 h 88"/>
                  <a:gd name="T32" fmla="*/ 16 w 53"/>
                  <a:gd name="T33" fmla="*/ 22 h 88"/>
                  <a:gd name="T34" fmla="*/ 13 w 53"/>
                  <a:gd name="T35" fmla="*/ 20 h 88"/>
                  <a:gd name="T36" fmla="*/ 2 w 53"/>
                  <a:gd name="T37" fmla="*/ 24 h 88"/>
                  <a:gd name="T38" fmla="*/ 0 w 53"/>
                  <a:gd name="T39" fmla="*/ 26 h 88"/>
                  <a:gd name="T40" fmla="*/ 1 w 53"/>
                  <a:gd name="T41" fmla="*/ 30 h 88"/>
                  <a:gd name="T42" fmla="*/ 12 w 53"/>
                  <a:gd name="T43" fmla="*/ 35 h 88"/>
                  <a:gd name="T44" fmla="*/ 13 w 53"/>
                  <a:gd name="T45" fmla="*/ 44 h 88"/>
                  <a:gd name="T46" fmla="*/ 12 w 53"/>
                  <a:gd name="T47" fmla="*/ 52 h 88"/>
                  <a:gd name="T48" fmla="*/ 6 w 53"/>
                  <a:gd name="T49" fmla="*/ 62 h 88"/>
                  <a:gd name="T50" fmla="*/ 6 w 53"/>
                  <a:gd name="T51" fmla="*/ 69 h 88"/>
                  <a:gd name="T52" fmla="*/ 8 w 53"/>
                  <a:gd name="T53" fmla="*/ 78 h 88"/>
                  <a:gd name="T54" fmla="*/ 9 w 53"/>
                  <a:gd name="T55" fmla="*/ 87 h 88"/>
                  <a:gd name="T56" fmla="*/ 12 w 53"/>
                  <a:gd name="T57" fmla="*/ 86 h 88"/>
                  <a:gd name="T58" fmla="*/ 13 w 53"/>
                  <a:gd name="T59" fmla="*/ 83 h 88"/>
                  <a:gd name="T60" fmla="*/ 11 w 53"/>
                  <a:gd name="T61" fmla="*/ 83 h 88"/>
                  <a:gd name="T62" fmla="*/ 16 w 53"/>
                  <a:gd name="T63" fmla="*/ 77 h 88"/>
                  <a:gd name="T64" fmla="*/ 25 w 53"/>
                  <a:gd name="T65" fmla="*/ 72 h 88"/>
                  <a:gd name="T66" fmla="*/ 25 w 53"/>
                  <a:gd name="T67" fmla="*/ 64 h 88"/>
                  <a:gd name="T68" fmla="*/ 21 w 53"/>
                  <a:gd name="T69" fmla="*/ 48 h 88"/>
                  <a:gd name="T70" fmla="*/ 24 w 53"/>
                  <a:gd name="T71" fmla="*/ 48 h 88"/>
                  <a:gd name="T72" fmla="*/ 29 w 53"/>
                  <a:gd name="T73" fmla="*/ 44 h 88"/>
                  <a:gd name="T74" fmla="*/ 35 w 53"/>
                  <a:gd name="T75" fmla="*/ 38 h 88"/>
                  <a:gd name="T76" fmla="*/ 40 w 53"/>
                  <a:gd name="T77" fmla="*/ 36 h 88"/>
                  <a:gd name="T78" fmla="*/ 46 w 53"/>
                  <a:gd name="T79" fmla="*/ 32 h 88"/>
                  <a:gd name="T80" fmla="*/ 52 w 53"/>
                  <a:gd name="T81" fmla="*/ 23 h 88"/>
                  <a:gd name="T82" fmla="*/ 52 w 53"/>
                  <a:gd name="T83" fmla="*/ 23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 h="88">
                    <a:moveTo>
                      <a:pt x="52" y="23"/>
                    </a:moveTo>
                    <a:cubicBezTo>
                      <a:pt x="49" y="17"/>
                      <a:pt x="50" y="9"/>
                      <a:pt x="50" y="3"/>
                    </a:cubicBezTo>
                    <a:cubicBezTo>
                      <a:pt x="50" y="0"/>
                      <a:pt x="48" y="2"/>
                      <a:pt x="46" y="3"/>
                    </a:cubicBezTo>
                    <a:cubicBezTo>
                      <a:pt x="45" y="4"/>
                      <a:pt x="43" y="6"/>
                      <a:pt x="41" y="6"/>
                    </a:cubicBezTo>
                    <a:cubicBezTo>
                      <a:pt x="40" y="6"/>
                      <a:pt x="38" y="5"/>
                      <a:pt x="38" y="7"/>
                    </a:cubicBezTo>
                    <a:cubicBezTo>
                      <a:pt x="36" y="10"/>
                      <a:pt x="34" y="7"/>
                      <a:pt x="32" y="7"/>
                    </a:cubicBezTo>
                    <a:cubicBezTo>
                      <a:pt x="30" y="7"/>
                      <a:pt x="30" y="9"/>
                      <a:pt x="28" y="7"/>
                    </a:cubicBezTo>
                    <a:cubicBezTo>
                      <a:pt x="27" y="7"/>
                      <a:pt x="24" y="7"/>
                      <a:pt x="23" y="7"/>
                    </a:cubicBezTo>
                    <a:cubicBezTo>
                      <a:pt x="20" y="7"/>
                      <a:pt x="21" y="16"/>
                      <a:pt x="24" y="18"/>
                    </a:cubicBezTo>
                    <a:cubicBezTo>
                      <a:pt x="24" y="18"/>
                      <a:pt x="24" y="20"/>
                      <a:pt x="25" y="20"/>
                    </a:cubicBezTo>
                    <a:cubicBezTo>
                      <a:pt x="25" y="21"/>
                      <a:pt x="26" y="21"/>
                      <a:pt x="27" y="22"/>
                    </a:cubicBezTo>
                    <a:cubicBezTo>
                      <a:pt x="27" y="24"/>
                      <a:pt x="27" y="27"/>
                      <a:pt x="27" y="28"/>
                    </a:cubicBezTo>
                    <a:cubicBezTo>
                      <a:pt x="27" y="30"/>
                      <a:pt x="28" y="31"/>
                      <a:pt x="25" y="31"/>
                    </a:cubicBezTo>
                    <a:cubicBezTo>
                      <a:pt x="24" y="31"/>
                      <a:pt x="24" y="34"/>
                      <a:pt x="24" y="35"/>
                    </a:cubicBezTo>
                    <a:cubicBezTo>
                      <a:pt x="23" y="34"/>
                      <a:pt x="21" y="32"/>
                      <a:pt x="20" y="31"/>
                    </a:cubicBezTo>
                    <a:cubicBezTo>
                      <a:pt x="19" y="29"/>
                      <a:pt x="21" y="27"/>
                      <a:pt x="21" y="25"/>
                    </a:cubicBezTo>
                    <a:cubicBezTo>
                      <a:pt x="22" y="20"/>
                      <a:pt x="19" y="24"/>
                      <a:pt x="16" y="22"/>
                    </a:cubicBezTo>
                    <a:cubicBezTo>
                      <a:pt x="15" y="21"/>
                      <a:pt x="15" y="19"/>
                      <a:pt x="13" y="20"/>
                    </a:cubicBezTo>
                    <a:cubicBezTo>
                      <a:pt x="9" y="22"/>
                      <a:pt x="6" y="23"/>
                      <a:pt x="2" y="24"/>
                    </a:cubicBezTo>
                    <a:cubicBezTo>
                      <a:pt x="1" y="25"/>
                      <a:pt x="0" y="25"/>
                      <a:pt x="0" y="26"/>
                    </a:cubicBezTo>
                    <a:cubicBezTo>
                      <a:pt x="0" y="27"/>
                      <a:pt x="1" y="29"/>
                      <a:pt x="1" y="30"/>
                    </a:cubicBezTo>
                    <a:cubicBezTo>
                      <a:pt x="4" y="30"/>
                      <a:pt x="12" y="32"/>
                      <a:pt x="12" y="35"/>
                    </a:cubicBezTo>
                    <a:cubicBezTo>
                      <a:pt x="13" y="38"/>
                      <a:pt x="13" y="41"/>
                      <a:pt x="13" y="44"/>
                    </a:cubicBezTo>
                    <a:cubicBezTo>
                      <a:pt x="12" y="46"/>
                      <a:pt x="14" y="49"/>
                      <a:pt x="12" y="52"/>
                    </a:cubicBezTo>
                    <a:cubicBezTo>
                      <a:pt x="10" y="55"/>
                      <a:pt x="8" y="59"/>
                      <a:pt x="6" y="62"/>
                    </a:cubicBezTo>
                    <a:cubicBezTo>
                      <a:pt x="4" y="64"/>
                      <a:pt x="6" y="68"/>
                      <a:pt x="6" y="69"/>
                    </a:cubicBezTo>
                    <a:cubicBezTo>
                      <a:pt x="8" y="73"/>
                      <a:pt x="8" y="75"/>
                      <a:pt x="8" y="78"/>
                    </a:cubicBezTo>
                    <a:cubicBezTo>
                      <a:pt x="8" y="81"/>
                      <a:pt x="8" y="84"/>
                      <a:pt x="9" y="87"/>
                    </a:cubicBezTo>
                    <a:cubicBezTo>
                      <a:pt x="9" y="88"/>
                      <a:pt x="12" y="87"/>
                      <a:pt x="12" y="86"/>
                    </a:cubicBezTo>
                    <a:cubicBezTo>
                      <a:pt x="13" y="85"/>
                      <a:pt x="13" y="83"/>
                      <a:pt x="13" y="83"/>
                    </a:cubicBezTo>
                    <a:cubicBezTo>
                      <a:pt x="12" y="83"/>
                      <a:pt x="11" y="83"/>
                      <a:pt x="11" y="83"/>
                    </a:cubicBezTo>
                    <a:cubicBezTo>
                      <a:pt x="11" y="80"/>
                      <a:pt x="14" y="78"/>
                      <a:pt x="16" y="77"/>
                    </a:cubicBezTo>
                    <a:cubicBezTo>
                      <a:pt x="19" y="76"/>
                      <a:pt x="23" y="75"/>
                      <a:pt x="25" y="72"/>
                    </a:cubicBezTo>
                    <a:cubicBezTo>
                      <a:pt x="25" y="71"/>
                      <a:pt x="25" y="66"/>
                      <a:pt x="25" y="64"/>
                    </a:cubicBezTo>
                    <a:cubicBezTo>
                      <a:pt x="25" y="62"/>
                      <a:pt x="21" y="48"/>
                      <a:pt x="21" y="48"/>
                    </a:cubicBezTo>
                    <a:cubicBezTo>
                      <a:pt x="22" y="47"/>
                      <a:pt x="22" y="50"/>
                      <a:pt x="24" y="48"/>
                    </a:cubicBezTo>
                    <a:cubicBezTo>
                      <a:pt x="26" y="46"/>
                      <a:pt x="27" y="45"/>
                      <a:pt x="29" y="44"/>
                    </a:cubicBezTo>
                    <a:cubicBezTo>
                      <a:pt x="31" y="43"/>
                      <a:pt x="32" y="37"/>
                      <a:pt x="35" y="38"/>
                    </a:cubicBezTo>
                    <a:cubicBezTo>
                      <a:pt x="36" y="38"/>
                      <a:pt x="38" y="36"/>
                      <a:pt x="40" y="36"/>
                    </a:cubicBezTo>
                    <a:cubicBezTo>
                      <a:pt x="42" y="35"/>
                      <a:pt x="44" y="34"/>
                      <a:pt x="46" y="32"/>
                    </a:cubicBezTo>
                    <a:cubicBezTo>
                      <a:pt x="47" y="31"/>
                      <a:pt x="53" y="25"/>
                      <a:pt x="52" y="23"/>
                    </a:cubicBezTo>
                    <a:cubicBezTo>
                      <a:pt x="51" y="22"/>
                      <a:pt x="52" y="24"/>
                      <a:pt x="52" y="2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3" name="Freeform 730">
                <a:extLst>
                  <a:ext uri="{FF2B5EF4-FFF2-40B4-BE49-F238E27FC236}">
                    <a16:creationId xmlns:a16="http://schemas.microsoft.com/office/drawing/2014/main" id="{A4494551-A1B8-0440-A2B0-F7693125B984}"/>
                  </a:ext>
                </a:extLst>
              </p:cNvPr>
              <p:cNvSpPr>
                <a:spLocks/>
              </p:cNvSpPr>
              <p:nvPr/>
            </p:nvSpPr>
            <p:spPr bwMode="auto">
              <a:xfrm>
                <a:off x="13181086" y="9485418"/>
                <a:ext cx="149682" cy="353598"/>
              </a:xfrm>
              <a:custGeom>
                <a:avLst/>
                <a:gdLst>
                  <a:gd name="T0" fmla="*/ 4 w 16"/>
                  <a:gd name="T1" fmla="*/ 25 h 38"/>
                  <a:gd name="T2" fmla="*/ 9 w 16"/>
                  <a:gd name="T3" fmla="*/ 26 h 38"/>
                  <a:gd name="T4" fmla="*/ 8 w 16"/>
                  <a:gd name="T5" fmla="*/ 31 h 38"/>
                  <a:gd name="T6" fmla="*/ 12 w 16"/>
                  <a:gd name="T7" fmla="*/ 38 h 38"/>
                  <a:gd name="T8" fmla="*/ 12 w 16"/>
                  <a:gd name="T9" fmla="*/ 34 h 38"/>
                  <a:gd name="T10" fmla="*/ 15 w 16"/>
                  <a:gd name="T11" fmla="*/ 33 h 38"/>
                  <a:gd name="T12" fmla="*/ 15 w 16"/>
                  <a:gd name="T13" fmla="*/ 27 h 38"/>
                  <a:gd name="T14" fmla="*/ 12 w 16"/>
                  <a:gd name="T15" fmla="*/ 22 h 38"/>
                  <a:gd name="T16" fmla="*/ 8 w 16"/>
                  <a:gd name="T17" fmla="*/ 20 h 38"/>
                  <a:gd name="T18" fmla="*/ 8 w 16"/>
                  <a:gd name="T19" fmla="*/ 16 h 38"/>
                  <a:gd name="T20" fmla="*/ 7 w 16"/>
                  <a:gd name="T21" fmla="*/ 14 h 38"/>
                  <a:gd name="T22" fmla="*/ 8 w 16"/>
                  <a:gd name="T23" fmla="*/ 8 h 38"/>
                  <a:gd name="T24" fmla="*/ 7 w 16"/>
                  <a:gd name="T25" fmla="*/ 3 h 38"/>
                  <a:gd name="T26" fmla="*/ 7 w 16"/>
                  <a:gd name="T27" fmla="*/ 1 h 38"/>
                  <a:gd name="T28" fmla="*/ 2 w 16"/>
                  <a:gd name="T29" fmla="*/ 0 h 38"/>
                  <a:gd name="T30" fmla="*/ 4 w 16"/>
                  <a:gd name="T31" fmla="*/ 6 h 38"/>
                  <a:gd name="T32" fmla="*/ 4 w 16"/>
                  <a:gd name="T33" fmla="*/ 14 h 38"/>
                  <a:gd name="T34" fmla="*/ 2 w 16"/>
                  <a:gd name="T35" fmla="*/ 16 h 38"/>
                  <a:gd name="T36" fmla="*/ 1 w 16"/>
                  <a:gd name="T37" fmla="*/ 20 h 38"/>
                  <a:gd name="T38" fmla="*/ 4 w 16"/>
                  <a:gd name="T39" fmla="*/ 25 h 38"/>
                  <a:gd name="T40" fmla="*/ 4 w 16"/>
                  <a:gd name="T41"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38">
                    <a:moveTo>
                      <a:pt x="4" y="25"/>
                    </a:moveTo>
                    <a:cubicBezTo>
                      <a:pt x="6" y="26"/>
                      <a:pt x="9" y="24"/>
                      <a:pt x="9" y="26"/>
                    </a:cubicBezTo>
                    <a:cubicBezTo>
                      <a:pt x="10" y="28"/>
                      <a:pt x="9" y="29"/>
                      <a:pt x="8" y="31"/>
                    </a:cubicBezTo>
                    <a:cubicBezTo>
                      <a:pt x="6" y="33"/>
                      <a:pt x="10" y="36"/>
                      <a:pt x="12" y="38"/>
                    </a:cubicBezTo>
                    <a:cubicBezTo>
                      <a:pt x="13" y="37"/>
                      <a:pt x="12" y="35"/>
                      <a:pt x="12" y="34"/>
                    </a:cubicBezTo>
                    <a:cubicBezTo>
                      <a:pt x="13" y="33"/>
                      <a:pt x="16" y="35"/>
                      <a:pt x="15" y="33"/>
                    </a:cubicBezTo>
                    <a:cubicBezTo>
                      <a:pt x="15" y="31"/>
                      <a:pt x="15" y="29"/>
                      <a:pt x="15" y="27"/>
                    </a:cubicBezTo>
                    <a:cubicBezTo>
                      <a:pt x="14" y="25"/>
                      <a:pt x="13" y="24"/>
                      <a:pt x="12" y="22"/>
                    </a:cubicBezTo>
                    <a:cubicBezTo>
                      <a:pt x="11" y="25"/>
                      <a:pt x="8" y="21"/>
                      <a:pt x="8" y="20"/>
                    </a:cubicBezTo>
                    <a:cubicBezTo>
                      <a:pt x="8" y="18"/>
                      <a:pt x="8" y="17"/>
                      <a:pt x="8" y="16"/>
                    </a:cubicBezTo>
                    <a:cubicBezTo>
                      <a:pt x="8" y="14"/>
                      <a:pt x="8" y="15"/>
                      <a:pt x="7" y="14"/>
                    </a:cubicBezTo>
                    <a:cubicBezTo>
                      <a:pt x="6" y="14"/>
                      <a:pt x="8" y="8"/>
                      <a:pt x="8" y="8"/>
                    </a:cubicBezTo>
                    <a:cubicBezTo>
                      <a:pt x="8" y="6"/>
                      <a:pt x="7" y="5"/>
                      <a:pt x="7" y="3"/>
                    </a:cubicBezTo>
                    <a:cubicBezTo>
                      <a:pt x="6" y="2"/>
                      <a:pt x="5" y="0"/>
                      <a:pt x="7" y="1"/>
                    </a:cubicBezTo>
                    <a:cubicBezTo>
                      <a:pt x="6" y="0"/>
                      <a:pt x="3" y="0"/>
                      <a:pt x="2" y="0"/>
                    </a:cubicBezTo>
                    <a:cubicBezTo>
                      <a:pt x="2" y="1"/>
                      <a:pt x="6" y="5"/>
                      <a:pt x="4" y="6"/>
                    </a:cubicBezTo>
                    <a:cubicBezTo>
                      <a:pt x="1" y="7"/>
                      <a:pt x="2" y="12"/>
                      <a:pt x="4" y="14"/>
                    </a:cubicBezTo>
                    <a:cubicBezTo>
                      <a:pt x="4" y="15"/>
                      <a:pt x="2" y="15"/>
                      <a:pt x="2" y="16"/>
                    </a:cubicBezTo>
                    <a:cubicBezTo>
                      <a:pt x="1" y="16"/>
                      <a:pt x="1" y="19"/>
                      <a:pt x="1" y="20"/>
                    </a:cubicBezTo>
                    <a:cubicBezTo>
                      <a:pt x="0" y="22"/>
                      <a:pt x="3" y="24"/>
                      <a:pt x="4" y="25"/>
                    </a:cubicBezTo>
                    <a:cubicBezTo>
                      <a:pt x="5" y="26"/>
                      <a:pt x="4" y="24"/>
                      <a:pt x="4" y="2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4" name="Freeform 731">
                <a:extLst>
                  <a:ext uri="{FF2B5EF4-FFF2-40B4-BE49-F238E27FC236}">
                    <a16:creationId xmlns:a16="http://schemas.microsoft.com/office/drawing/2014/main" id="{05A977E8-9833-9144-B3A3-D6BF2D0E4583}"/>
                  </a:ext>
                </a:extLst>
              </p:cNvPr>
              <p:cNvSpPr>
                <a:spLocks/>
              </p:cNvSpPr>
              <p:nvPr/>
            </p:nvSpPr>
            <p:spPr bwMode="auto">
              <a:xfrm>
                <a:off x="12674715" y="9418522"/>
                <a:ext cx="560509" cy="468277"/>
              </a:xfrm>
              <a:custGeom>
                <a:avLst/>
                <a:gdLst>
                  <a:gd name="T0" fmla="*/ 56 w 60"/>
                  <a:gd name="T1" fmla="*/ 30 h 50"/>
                  <a:gd name="T2" fmla="*/ 55 w 60"/>
                  <a:gd name="T3" fmla="*/ 24 h 50"/>
                  <a:gd name="T4" fmla="*/ 57 w 60"/>
                  <a:gd name="T5" fmla="*/ 22 h 50"/>
                  <a:gd name="T6" fmla="*/ 57 w 60"/>
                  <a:gd name="T7" fmla="*/ 19 h 50"/>
                  <a:gd name="T8" fmla="*/ 58 w 60"/>
                  <a:gd name="T9" fmla="*/ 13 h 50"/>
                  <a:gd name="T10" fmla="*/ 56 w 60"/>
                  <a:gd name="T11" fmla="*/ 8 h 50"/>
                  <a:gd name="T12" fmla="*/ 51 w 60"/>
                  <a:gd name="T13" fmla="*/ 5 h 50"/>
                  <a:gd name="T14" fmla="*/ 48 w 60"/>
                  <a:gd name="T15" fmla="*/ 3 h 50"/>
                  <a:gd name="T16" fmla="*/ 45 w 60"/>
                  <a:gd name="T17" fmla="*/ 0 h 50"/>
                  <a:gd name="T18" fmla="*/ 38 w 60"/>
                  <a:gd name="T19" fmla="*/ 1 h 50"/>
                  <a:gd name="T20" fmla="*/ 34 w 60"/>
                  <a:gd name="T21" fmla="*/ 4 h 50"/>
                  <a:gd name="T22" fmla="*/ 35 w 60"/>
                  <a:gd name="T23" fmla="*/ 10 h 50"/>
                  <a:gd name="T24" fmla="*/ 33 w 60"/>
                  <a:gd name="T25" fmla="*/ 17 h 50"/>
                  <a:gd name="T26" fmla="*/ 37 w 60"/>
                  <a:gd name="T27" fmla="*/ 21 h 50"/>
                  <a:gd name="T28" fmla="*/ 40 w 60"/>
                  <a:gd name="T29" fmla="*/ 23 h 50"/>
                  <a:gd name="T30" fmla="*/ 39 w 60"/>
                  <a:gd name="T31" fmla="*/ 26 h 50"/>
                  <a:gd name="T32" fmla="*/ 35 w 60"/>
                  <a:gd name="T33" fmla="*/ 26 h 50"/>
                  <a:gd name="T34" fmla="*/ 31 w 60"/>
                  <a:gd name="T35" fmla="*/ 22 h 50"/>
                  <a:gd name="T36" fmla="*/ 27 w 60"/>
                  <a:gd name="T37" fmla="*/ 17 h 50"/>
                  <a:gd name="T38" fmla="*/ 20 w 60"/>
                  <a:gd name="T39" fmla="*/ 18 h 50"/>
                  <a:gd name="T40" fmla="*/ 16 w 60"/>
                  <a:gd name="T41" fmla="*/ 16 h 50"/>
                  <a:gd name="T42" fmla="*/ 14 w 60"/>
                  <a:gd name="T43" fmla="*/ 16 h 50"/>
                  <a:gd name="T44" fmla="*/ 11 w 60"/>
                  <a:gd name="T45" fmla="*/ 14 h 50"/>
                  <a:gd name="T46" fmla="*/ 11 w 60"/>
                  <a:gd name="T47" fmla="*/ 20 h 50"/>
                  <a:gd name="T48" fmla="*/ 10 w 60"/>
                  <a:gd name="T49" fmla="*/ 24 h 50"/>
                  <a:gd name="T50" fmla="*/ 2 w 60"/>
                  <a:gd name="T51" fmla="*/ 24 h 50"/>
                  <a:gd name="T52" fmla="*/ 1 w 60"/>
                  <a:gd name="T53" fmla="*/ 29 h 50"/>
                  <a:gd name="T54" fmla="*/ 3 w 60"/>
                  <a:gd name="T55" fmla="*/ 43 h 50"/>
                  <a:gd name="T56" fmla="*/ 8 w 60"/>
                  <a:gd name="T57" fmla="*/ 48 h 50"/>
                  <a:gd name="T58" fmla="*/ 16 w 60"/>
                  <a:gd name="T59" fmla="*/ 50 h 50"/>
                  <a:gd name="T60" fmla="*/ 18 w 60"/>
                  <a:gd name="T61" fmla="*/ 50 h 50"/>
                  <a:gd name="T62" fmla="*/ 22 w 60"/>
                  <a:gd name="T63" fmla="*/ 50 h 50"/>
                  <a:gd name="T64" fmla="*/ 28 w 60"/>
                  <a:gd name="T65" fmla="*/ 47 h 50"/>
                  <a:gd name="T66" fmla="*/ 31 w 60"/>
                  <a:gd name="T67" fmla="*/ 44 h 50"/>
                  <a:gd name="T68" fmla="*/ 35 w 60"/>
                  <a:gd name="T69" fmla="*/ 41 h 50"/>
                  <a:gd name="T70" fmla="*/ 37 w 60"/>
                  <a:gd name="T71" fmla="*/ 38 h 50"/>
                  <a:gd name="T72" fmla="*/ 43 w 60"/>
                  <a:gd name="T73" fmla="*/ 38 h 50"/>
                  <a:gd name="T74" fmla="*/ 42 w 60"/>
                  <a:gd name="T75" fmla="*/ 35 h 50"/>
                  <a:gd name="T76" fmla="*/ 46 w 60"/>
                  <a:gd name="T77" fmla="*/ 33 h 50"/>
                  <a:gd name="T78" fmla="*/ 56 w 60"/>
                  <a:gd name="T79" fmla="*/ 30 h 50"/>
                  <a:gd name="T80" fmla="*/ 56 w 60"/>
                  <a:gd name="T81" fmla="*/ 3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50">
                    <a:moveTo>
                      <a:pt x="56" y="30"/>
                    </a:moveTo>
                    <a:cubicBezTo>
                      <a:pt x="54" y="27"/>
                      <a:pt x="56" y="27"/>
                      <a:pt x="55" y="24"/>
                    </a:cubicBezTo>
                    <a:cubicBezTo>
                      <a:pt x="55" y="23"/>
                      <a:pt x="56" y="23"/>
                      <a:pt x="57" y="22"/>
                    </a:cubicBezTo>
                    <a:cubicBezTo>
                      <a:pt x="58" y="21"/>
                      <a:pt x="57" y="20"/>
                      <a:pt x="57" y="19"/>
                    </a:cubicBezTo>
                    <a:cubicBezTo>
                      <a:pt x="56" y="17"/>
                      <a:pt x="56" y="14"/>
                      <a:pt x="58" y="13"/>
                    </a:cubicBezTo>
                    <a:cubicBezTo>
                      <a:pt x="60" y="12"/>
                      <a:pt x="57" y="9"/>
                      <a:pt x="56" y="8"/>
                    </a:cubicBezTo>
                    <a:cubicBezTo>
                      <a:pt x="55" y="6"/>
                      <a:pt x="53" y="5"/>
                      <a:pt x="51" y="5"/>
                    </a:cubicBezTo>
                    <a:cubicBezTo>
                      <a:pt x="50" y="4"/>
                      <a:pt x="49" y="3"/>
                      <a:pt x="48" y="3"/>
                    </a:cubicBezTo>
                    <a:cubicBezTo>
                      <a:pt x="47" y="2"/>
                      <a:pt x="46" y="1"/>
                      <a:pt x="45" y="0"/>
                    </a:cubicBezTo>
                    <a:cubicBezTo>
                      <a:pt x="45" y="0"/>
                      <a:pt x="39" y="1"/>
                      <a:pt x="38" y="1"/>
                    </a:cubicBezTo>
                    <a:cubicBezTo>
                      <a:pt x="36" y="1"/>
                      <a:pt x="36" y="3"/>
                      <a:pt x="34" y="4"/>
                    </a:cubicBezTo>
                    <a:cubicBezTo>
                      <a:pt x="33" y="6"/>
                      <a:pt x="34" y="9"/>
                      <a:pt x="35" y="10"/>
                    </a:cubicBezTo>
                    <a:cubicBezTo>
                      <a:pt x="35" y="13"/>
                      <a:pt x="33" y="14"/>
                      <a:pt x="33" y="17"/>
                    </a:cubicBezTo>
                    <a:cubicBezTo>
                      <a:pt x="33" y="18"/>
                      <a:pt x="35" y="21"/>
                      <a:pt x="37" y="21"/>
                    </a:cubicBezTo>
                    <a:cubicBezTo>
                      <a:pt x="39" y="21"/>
                      <a:pt x="40" y="20"/>
                      <a:pt x="40" y="23"/>
                    </a:cubicBezTo>
                    <a:cubicBezTo>
                      <a:pt x="40" y="25"/>
                      <a:pt x="40" y="26"/>
                      <a:pt x="39" y="26"/>
                    </a:cubicBezTo>
                    <a:cubicBezTo>
                      <a:pt x="37" y="27"/>
                      <a:pt x="36" y="28"/>
                      <a:pt x="35" y="26"/>
                    </a:cubicBezTo>
                    <a:cubicBezTo>
                      <a:pt x="34" y="24"/>
                      <a:pt x="33" y="22"/>
                      <a:pt x="31" y="22"/>
                    </a:cubicBezTo>
                    <a:cubicBezTo>
                      <a:pt x="29" y="21"/>
                      <a:pt x="28" y="19"/>
                      <a:pt x="27" y="17"/>
                    </a:cubicBezTo>
                    <a:cubicBezTo>
                      <a:pt x="25" y="21"/>
                      <a:pt x="23" y="19"/>
                      <a:pt x="20" y="18"/>
                    </a:cubicBezTo>
                    <a:cubicBezTo>
                      <a:pt x="18" y="18"/>
                      <a:pt x="18" y="16"/>
                      <a:pt x="16" y="16"/>
                    </a:cubicBezTo>
                    <a:cubicBezTo>
                      <a:pt x="16" y="16"/>
                      <a:pt x="15" y="17"/>
                      <a:pt x="14" y="16"/>
                    </a:cubicBezTo>
                    <a:cubicBezTo>
                      <a:pt x="13" y="16"/>
                      <a:pt x="13" y="14"/>
                      <a:pt x="11" y="14"/>
                    </a:cubicBezTo>
                    <a:cubicBezTo>
                      <a:pt x="11" y="16"/>
                      <a:pt x="11" y="18"/>
                      <a:pt x="11" y="20"/>
                    </a:cubicBezTo>
                    <a:cubicBezTo>
                      <a:pt x="11" y="22"/>
                      <a:pt x="12" y="24"/>
                      <a:pt x="10" y="24"/>
                    </a:cubicBezTo>
                    <a:cubicBezTo>
                      <a:pt x="7" y="24"/>
                      <a:pt x="4" y="24"/>
                      <a:pt x="2" y="24"/>
                    </a:cubicBezTo>
                    <a:cubicBezTo>
                      <a:pt x="1" y="24"/>
                      <a:pt x="1" y="28"/>
                      <a:pt x="1" y="29"/>
                    </a:cubicBezTo>
                    <a:cubicBezTo>
                      <a:pt x="1" y="33"/>
                      <a:pt x="0" y="40"/>
                      <a:pt x="3" y="43"/>
                    </a:cubicBezTo>
                    <a:cubicBezTo>
                      <a:pt x="4" y="44"/>
                      <a:pt x="7" y="48"/>
                      <a:pt x="8" y="48"/>
                    </a:cubicBezTo>
                    <a:cubicBezTo>
                      <a:pt x="10" y="47"/>
                      <a:pt x="19" y="47"/>
                      <a:pt x="16" y="50"/>
                    </a:cubicBezTo>
                    <a:cubicBezTo>
                      <a:pt x="18" y="50"/>
                      <a:pt x="17" y="50"/>
                      <a:pt x="18" y="50"/>
                    </a:cubicBezTo>
                    <a:cubicBezTo>
                      <a:pt x="20" y="49"/>
                      <a:pt x="21" y="50"/>
                      <a:pt x="22" y="50"/>
                    </a:cubicBezTo>
                    <a:cubicBezTo>
                      <a:pt x="25" y="50"/>
                      <a:pt x="27" y="50"/>
                      <a:pt x="28" y="47"/>
                    </a:cubicBezTo>
                    <a:cubicBezTo>
                      <a:pt x="29" y="46"/>
                      <a:pt x="30" y="45"/>
                      <a:pt x="31" y="44"/>
                    </a:cubicBezTo>
                    <a:cubicBezTo>
                      <a:pt x="32" y="43"/>
                      <a:pt x="34" y="43"/>
                      <a:pt x="35" y="41"/>
                    </a:cubicBezTo>
                    <a:cubicBezTo>
                      <a:pt x="36" y="40"/>
                      <a:pt x="36" y="39"/>
                      <a:pt x="37" y="38"/>
                    </a:cubicBezTo>
                    <a:cubicBezTo>
                      <a:pt x="39" y="38"/>
                      <a:pt x="41" y="38"/>
                      <a:pt x="43" y="38"/>
                    </a:cubicBezTo>
                    <a:cubicBezTo>
                      <a:pt x="42" y="37"/>
                      <a:pt x="42" y="35"/>
                      <a:pt x="42" y="35"/>
                    </a:cubicBezTo>
                    <a:cubicBezTo>
                      <a:pt x="44" y="34"/>
                      <a:pt x="45" y="34"/>
                      <a:pt x="46" y="33"/>
                    </a:cubicBezTo>
                    <a:cubicBezTo>
                      <a:pt x="49" y="32"/>
                      <a:pt x="53" y="31"/>
                      <a:pt x="56" y="30"/>
                    </a:cubicBezTo>
                    <a:cubicBezTo>
                      <a:pt x="55" y="29"/>
                      <a:pt x="55" y="30"/>
                      <a:pt x="56" y="3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5" name="Freeform 732">
                <a:extLst>
                  <a:ext uri="{FF2B5EF4-FFF2-40B4-BE49-F238E27FC236}">
                    <a16:creationId xmlns:a16="http://schemas.microsoft.com/office/drawing/2014/main" id="{6B98B36D-DD03-8347-BB13-66D465A0855C}"/>
                  </a:ext>
                </a:extLst>
              </p:cNvPr>
              <p:cNvSpPr>
                <a:spLocks/>
              </p:cNvSpPr>
              <p:nvPr/>
            </p:nvSpPr>
            <p:spPr bwMode="auto">
              <a:xfrm>
                <a:off x="12247966" y="9839014"/>
                <a:ext cx="595542" cy="589329"/>
              </a:xfrm>
              <a:custGeom>
                <a:avLst/>
                <a:gdLst>
                  <a:gd name="T0" fmla="*/ 33 w 64"/>
                  <a:gd name="T1" fmla="*/ 5 h 63"/>
                  <a:gd name="T2" fmla="*/ 31 w 64"/>
                  <a:gd name="T3" fmla="*/ 2 h 63"/>
                  <a:gd name="T4" fmla="*/ 28 w 64"/>
                  <a:gd name="T5" fmla="*/ 2 h 63"/>
                  <a:gd name="T6" fmla="*/ 18 w 64"/>
                  <a:gd name="T7" fmla="*/ 2 h 63"/>
                  <a:gd name="T8" fmla="*/ 10 w 64"/>
                  <a:gd name="T9" fmla="*/ 2 h 63"/>
                  <a:gd name="T10" fmla="*/ 7 w 64"/>
                  <a:gd name="T11" fmla="*/ 0 h 63"/>
                  <a:gd name="T12" fmla="*/ 4 w 64"/>
                  <a:gd name="T13" fmla="*/ 2 h 63"/>
                  <a:gd name="T14" fmla="*/ 1 w 64"/>
                  <a:gd name="T15" fmla="*/ 2 h 63"/>
                  <a:gd name="T16" fmla="*/ 6 w 64"/>
                  <a:gd name="T17" fmla="*/ 14 h 63"/>
                  <a:gd name="T18" fmla="*/ 9 w 64"/>
                  <a:gd name="T19" fmla="*/ 21 h 63"/>
                  <a:gd name="T20" fmla="*/ 13 w 64"/>
                  <a:gd name="T21" fmla="*/ 29 h 63"/>
                  <a:gd name="T22" fmla="*/ 13 w 64"/>
                  <a:gd name="T23" fmla="*/ 34 h 63"/>
                  <a:gd name="T24" fmla="*/ 14 w 64"/>
                  <a:gd name="T25" fmla="*/ 42 h 63"/>
                  <a:gd name="T26" fmla="*/ 16 w 64"/>
                  <a:gd name="T27" fmla="*/ 51 h 63"/>
                  <a:gd name="T28" fmla="*/ 22 w 64"/>
                  <a:gd name="T29" fmla="*/ 61 h 63"/>
                  <a:gd name="T30" fmla="*/ 28 w 64"/>
                  <a:gd name="T31" fmla="*/ 62 h 63"/>
                  <a:gd name="T32" fmla="*/ 33 w 64"/>
                  <a:gd name="T33" fmla="*/ 62 h 63"/>
                  <a:gd name="T34" fmla="*/ 38 w 64"/>
                  <a:gd name="T35" fmla="*/ 58 h 63"/>
                  <a:gd name="T36" fmla="*/ 38 w 64"/>
                  <a:gd name="T37" fmla="*/ 40 h 63"/>
                  <a:gd name="T38" fmla="*/ 38 w 64"/>
                  <a:gd name="T39" fmla="*/ 28 h 63"/>
                  <a:gd name="T40" fmla="*/ 39 w 64"/>
                  <a:gd name="T41" fmla="*/ 26 h 63"/>
                  <a:gd name="T42" fmla="*/ 43 w 64"/>
                  <a:gd name="T43" fmla="*/ 26 h 63"/>
                  <a:gd name="T44" fmla="*/ 43 w 64"/>
                  <a:gd name="T45" fmla="*/ 7 h 63"/>
                  <a:gd name="T46" fmla="*/ 51 w 64"/>
                  <a:gd name="T47" fmla="*/ 6 h 63"/>
                  <a:gd name="T48" fmla="*/ 53 w 64"/>
                  <a:gd name="T49" fmla="*/ 5 h 63"/>
                  <a:gd name="T50" fmla="*/ 56 w 64"/>
                  <a:gd name="T51" fmla="*/ 8 h 63"/>
                  <a:gd name="T52" fmla="*/ 58 w 64"/>
                  <a:gd name="T53" fmla="*/ 6 h 63"/>
                  <a:gd name="T54" fmla="*/ 62 w 64"/>
                  <a:gd name="T55" fmla="*/ 5 h 63"/>
                  <a:gd name="T56" fmla="*/ 59 w 64"/>
                  <a:gd name="T57" fmla="*/ 2 h 63"/>
                  <a:gd name="T58" fmla="*/ 45 w 64"/>
                  <a:gd name="T59" fmla="*/ 5 h 63"/>
                  <a:gd name="T60" fmla="*/ 33 w 64"/>
                  <a:gd name="T61" fmla="*/ 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4" h="63">
                    <a:moveTo>
                      <a:pt x="33" y="5"/>
                    </a:moveTo>
                    <a:cubicBezTo>
                      <a:pt x="32" y="5"/>
                      <a:pt x="31" y="2"/>
                      <a:pt x="31" y="2"/>
                    </a:cubicBezTo>
                    <a:cubicBezTo>
                      <a:pt x="30" y="2"/>
                      <a:pt x="29" y="2"/>
                      <a:pt x="28" y="2"/>
                    </a:cubicBezTo>
                    <a:cubicBezTo>
                      <a:pt x="25" y="2"/>
                      <a:pt x="21" y="2"/>
                      <a:pt x="18" y="2"/>
                    </a:cubicBezTo>
                    <a:cubicBezTo>
                      <a:pt x="15" y="2"/>
                      <a:pt x="13" y="2"/>
                      <a:pt x="10" y="2"/>
                    </a:cubicBezTo>
                    <a:cubicBezTo>
                      <a:pt x="9" y="2"/>
                      <a:pt x="9" y="0"/>
                      <a:pt x="7" y="0"/>
                    </a:cubicBezTo>
                    <a:cubicBezTo>
                      <a:pt x="6" y="0"/>
                      <a:pt x="5" y="2"/>
                      <a:pt x="4" y="2"/>
                    </a:cubicBezTo>
                    <a:cubicBezTo>
                      <a:pt x="3" y="2"/>
                      <a:pt x="2" y="2"/>
                      <a:pt x="1" y="2"/>
                    </a:cubicBezTo>
                    <a:cubicBezTo>
                      <a:pt x="0" y="7"/>
                      <a:pt x="4" y="9"/>
                      <a:pt x="6" y="14"/>
                    </a:cubicBezTo>
                    <a:cubicBezTo>
                      <a:pt x="7" y="16"/>
                      <a:pt x="8" y="19"/>
                      <a:pt x="9" y="21"/>
                    </a:cubicBezTo>
                    <a:cubicBezTo>
                      <a:pt x="10" y="24"/>
                      <a:pt x="12" y="26"/>
                      <a:pt x="13" y="29"/>
                    </a:cubicBezTo>
                    <a:cubicBezTo>
                      <a:pt x="13" y="30"/>
                      <a:pt x="13" y="33"/>
                      <a:pt x="13" y="34"/>
                    </a:cubicBezTo>
                    <a:cubicBezTo>
                      <a:pt x="13" y="37"/>
                      <a:pt x="14" y="39"/>
                      <a:pt x="14" y="42"/>
                    </a:cubicBezTo>
                    <a:cubicBezTo>
                      <a:pt x="15" y="45"/>
                      <a:pt x="15" y="48"/>
                      <a:pt x="16" y="51"/>
                    </a:cubicBezTo>
                    <a:cubicBezTo>
                      <a:pt x="17" y="55"/>
                      <a:pt x="20" y="58"/>
                      <a:pt x="22" y="61"/>
                    </a:cubicBezTo>
                    <a:cubicBezTo>
                      <a:pt x="25" y="58"/>
                      <a:pt x="25" y="60"/>
                      <a:pt x="28" y="62"/>
                    </a:cubicBezTo>
                    <a:cubicBezTo>
                      <a:pt x="29" y="63"/>
                      <a:pt x="32" y="63"/>
                      <a:pt x="33" y="62"/>
                    </a:cubicBezTo>
                    <a:cubicBezTo>
                      <a:pt x="36" y="62"/>
                      <a:pt x="38" y="61"/>
                      <a:pt x="38" y="58"/>
                    </a:cubicBezTo>
                    <a:cubicBezTo>
                      <a:pt x="38" y="52"/>
                      <a:pt x="38" y="46"/>
                      <a:pt x="38" y="40"/>
                    </a:cubicBezTo>
                    <a:cubicBezTo>
                      <a:pt x="38" y="36"/>
                      <a:pt x="38" y="32"/>
                      <a:pt x="38" y="28"/>
                    </a:cubicBezTo>
                    <a:cubicBezTo>
                      <a:pt x="38" y="27"/>
                      <a:pt x="38" y="26"/>
                      <a:pt x="39" y="26"/>
                    </a:cubicBezTo>
                    <a:cubicBezTo>
                      <a:pt x="39" y="26"/>
                      <a:pt x="43" y="26"/>
                      <a:pt x="43" y="26"/>
                    </a:cubicBezTo>
                    <a:cubicBezTo>
                      <a:pt x="43" y="20"/>
                      <a:pt x="43" y="13"/>
                      <a:pt x="43" y="7"/>
                    </a:cubicBezTo>
                    <a:cubicBezTo>
                      <a:pt x="46" y="8"/>
                      <a:pt x="48" y="6"/>
                      <a:pt x="51" y="6"/>
                    </a:cubicBezTo>
                    <a:cubicBezTo>
                      <a:pt x="51" y="5"/>
                      <a:pt x="52" y="5"/>
                      <a:pt x="53" y="5"/>
                    </a:cubicBezTo>
                    <a:cubicBezTo>
                      <a:pt x="53" y="5"/>
                      <a:pt x="55" y="8"/>
                      <a:pt x="56" y="8"/>
                    </a:cubicBezTo>
                    <a:cubicBezTo>
                      <a:pt x="57" y="7"/>
                      <a:pt x="56" y="6"/>
                      <a:pt x="58" y="6"/>
                    </a:cubicBezTo>
                    <a:cubicBezTo>
                      <a:pt x="59" y="6"/>
                      <a:pt x="60" y="5"/>
                      <a:pt x="62" y="5"/>
                    </a:cubicBezTo>
                    <a:cubicBezTo>
                      <a:pt x="64" y="4"/>
                      <a:pt x="60" y="2"/>
                      <a:pt x="59" y="2"/>
                    </a:cubicBezTo>
                    <a:cubicBezTo>
                      <a:pt x="54" y="2"/>
                      <a:pt x="50" y="5"/>
                      <a:pt x="45" y="5"/>
                    </a:cubicBezTo>
                    <a:cubicBezTo>
                      <a:pt x="41" y="5"/>
                      <a:pt x="37" y="5"/>
                      <a:pt x="33"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6" name="Freeform 733">
                <a:extLst>
                  <a:ext uri="{FF2B5EF4-FFF2-40B4-BE49-F238E27FC236}">
                    <a16:creationId xmlns:a16="http://schemas.microsoft.com/office/drawing/2014/main" id="{A04FF41E-395C-5F4B-9641-71ECD5C1FA01}"/>
                  </a:ext>
                </a:extLst>
              </p:cNvPr>
              <p:cNvSpPr>
                <a:spLocks/>
              </p:cNvSpPr>
              <p:nvPr/>
            </p:nvSpPr>
            <p:spPr bwMode="auto">
              <a:xfrm>
                <a:off x="12263888" y="8781415"/>
                <a:ext cx="850321" cy="888769"/>
              </a:xfrm>
              <a:custGeom>
                <a:avLst/>
                <a:gdLst>
                  <a:gd name="T0" fmla="*/ 89 w 91"/>
                  <a:gd name="T1" fmla="*/ 10 h 95"/>
                  <a:gd name="T2" fmla="*/ 83 w 91"/>
                  <a:gd name="T3" fmla="*/ 4 h 95"/>
                  <a:gd name="T4" fmla="*/ 77 w 91"/>
                  <a:gd name="T5" fmla="*/ 6 h 95"/>
                  <a:gd name="T6" fmla="*/ 72 w 91"/>
                  <a:gd name="T7" fmla="*/ 1 h 95"/>
                  <a:gd name="T8" fmla="*/ 65 w 91"/>
                  <a:gd name="T9" fmla="*/ 1 h 95"/>
                  <a:gd name="T10" fmla="*/ 57 w 91"/>
                  <a:gd name="T11" fmla="*/ 2 h 95"/>
                  <a:gd name="T12" fmla="*/ 48 w 91"/>
                  <a:gd name="T13" fmla="*/ 6 h 95"/>
                  <a:gd name="T14" fmla="*/ 35 w 91"/>
                  <a:gd name="T15" fmla="*/ 2 h 95"/>
                  <a:gd name="T16" fmla="*/ 30 w 91"/>
                  <a:gd name="T17" fmla="*/ 12 h 95"/>
                  <a:gd name="T18" fmla="*/ 19 w 91"/>
                  <a:gd name="T19" fmla="*/ 35 h 95"/>
                  <a:gd name="T20" fmla="*/ 17 w 91"/>
                  <a:gd name="T21" fmla="*/ 48 h 95"/>
                  <a:gd name="T22" fmla="*/ 10 w 91"/>
                  <a:gd name="T23" fmla="*/ 49 h 95"/>
                  <a:gd name="T24" fmla="*/ 2 w 91"/>
                  <a:gd name="T25" fmla="*/ 55 h 95"/>
                  <a:gd name="T26" fmla="*/ 1 w 91"/>
                  <a:gd name="T27" fmla="*/ 59 h 95"/>
                  <a:gd name="T28" fmla="*/ 18 w 91"/>
                  <a:gd name="T29" fmla="*/ 57 h 95"/>
                  <a:gd name="T30" fmla="*/ 26 w 91"/>
                  <a:gd name="T31" fmla="*/ 68 h 95"/>
                  <a:gd name="T32" fmla="*/ 35 w 91"/>
                  <a:gd name="T33" fmla="*/ 63 h 95"/>
                  <a:gd name="T34" fmla="*/ 41 w 91"/>
                  <a:gd name="T35" fmla="*/ 64 h 95"/>
                  <a:gd name="T36" fmla="*/ 46 w 91"/>
                  <a:gd name="T37" fmla="*/ 70 h 95"/>
                  <a:gd name="T38" fmla="*/ 47 w 91"/>
                  <a:gd name="T39" fmla="*/ 78 h 95"/>
                  <a:gd name="T40" fmla="*/ 53 w 91"/>
                  <a:gd name="T41" fmla="*/ 82 h 95"/>
                  <a:gd name="T42" fmla="*/ 60 w 91"/>
                  <a:gd name="T43" fmla="*/ 84 h 95"/>
                  <a:gd name="T44" fmla="*/ 66 w 91"/>
                  <a:gd name="T45" fmla="*/ 87 h 95"/>
                  <a:gd name="T46" fmla="*/ 76 w 91"/>
                  <a:gd name="T47" fmla="*/ 90 h 95"/>
                  <a:gd name="T48" fmla="*/ 84 w 91"/>
                  <a:gd name="T49" fmla="*/ 94 h 95"/>
                  <a:gd name="T50" fmla="*/ 77 w 91"/>
                  <a:gd name="T51" fmla="*/ 85 h 95"/>
                  <a:gd name="T52" fmla="*/ 78 w 91"/>
                  <a:gd name="T53" fmla="*/ 73 h 95"/>
                  <a:gd name="T54" fmla="*/ 80 w 91"/>
                  <a:gd name="T55" fmla="*/ 70 h 95"/>
                  <a:gd name="T56" fmla="*/ 84 w 91"/>
                  <a:gd name="T57" fmla="*/ 63 h 95"/>
                  <a:gd name="T58" fmla="*/ 81 w 91"/>
                  <a:gd name="T59" fmla="*/ 55 h 95"/>
                  <a:gd name="T60" fmla="*/ 81 w 91"/>
                  <a:gd name="T61" fmla="*/ 45 h 95"/>
                  <a:gd name="T62" fmla="*/ 83 w 91"/>
                  <a:gd name="T63" fmla="*/ 28 h 95"/>
                  <a:gd name="T64" fmla="*/ 90 w 91"/>
                  <a:gd name="T65" fmla="*/ 18 h 95"/>
                  <a:gd name="T66" fmla="*/ 90 w 91"/>
                  <a:gd name="T67" fmla="*/ 1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95">
                    <a:moveTo>
                      <a:pt x="90" y="15"/>
                    </a:moveTo>
                    <a:cubicBezTo>
                      <a:pt x="89" y="14"/>
                      <a:pt x="89" y="12"/>
                      <a:pt x="89" y="10"/>
                    </a:cubicBezTo>
                    <a:cubicBezTo>
                      <a:pt x="89" y="9"/>
                      <a:pt x="87" y="8"/>
                      <a:pt x="86" y="7"/>
                    </a:cubicBezTo>
                    <a:cubicBezTo>
                      <a:pt x="86" y="6"/>
                      <a:pt x="84" y="4"/>
                      <a:pt x="83" y="4"/>
                    </a:cubicBezTo>
                    <a:cubicBezTo>
                      <a:pt x="82" y="4"/>
                      <a:pt x="82" y="6"/>
                      <a:pt x="80" y="5"/>
                    </a:cubicBezTo>
                    <a:cubicBezTo>
                      <a:pt x="78" y="4"/>
                      <a:pt x="79" y="5"/>
                      <a:pt x="77" y="6"/>
                    </a:cubicBezTo>
                    <a:cubicBezTo>
                      <a:pt x="77" y="6"/>
                      <a:pt x="75" y="5"/>
                      <a:pt x="75" y="4"/>
                    </a:cubicBezTo>
                    <a:cubicBezTo>
                      <a:pt x="74" y="3"/>
                      <a:pt x="73" y="2"/>
                      <a:pt x="72" y="1"/>
                    </a:cubicBezTo>
                    <a:cubicBezTo>
                      <a:pt x="71" y="0"/>
                      <a:pt x="70" y="2"/>
                      <a:pt x="69" y="2"/>
                    </a:cubicBezTo>
                    <a:cubicBezTo>
                      <a:pt x="68" y="3"/>
                      <a:pt x="66" y="2"/>
                      <a:pt x="65" y="1"/>
                    </a:cubicBezTo>
                    <a:cubicBezTo>
                      <a:pt x="63" y="0"/>
                      <a:pt x="63" y="1"/>
                      <a:pt x="61" y="2"/>
                    </a:cubicBezTo>
                    <a:cubicBezTo>
                      <a:pt x="60" y="3"/>
                      <a:pt x="58" y="2"/>
                      <a:pt x="57" y="2"/>
                    </a:cubicBezTo>
                    <a:cubicBezTo>
                      <a:pt x="56" y="3"/>
                      <a:pt x="53" y="3"/>
                      <a:pt x="52" y="3"/>
                    </a:cubicBezTo>
                    <a:cubicBezTo>
                      <a:pt x="49" y="1"/>
                      <a:pt x="51" y="6"/>
                      <a:pt x="48" y="6"/>
                    </a:cubicBezTo>
                    <a:cubicBezTo>
                      <a:pt x="46" y="7"/>
                      <a:pt x="42" y="6"/>
                      <a:pt x="40" y="5"/>
                    </a:cubicBezTo>
                    <a:cubicBezTo>
                      <a:pt x="38" y="4"/>
                      <a:pt x="37" y="2"/>
                      <a:pt x="35" y="2"/>
                    </a:cubicBezTo>
                    <a:cubicBezTo>
                      <a:pt x="34" y="1"/>
                      <a:pt x="32" y="3"/>
                      <a:pt x="31" y="4"/>
                    </a:cubicBezTo>
                    <a:cubicBezTo>
                      <a:pt x="29" y="6"/>
                      <a:pt x="31" y="9"/>
                      <a:pt x="30" y="12"/>
                    </a:cubicBezTo>
                    <a:cubicBezTo>
                      <a:pt x="27" y="17"/>
                      <a:pt x="27" y="23"/>
                      <a:pt x="24" y="27"/>
                    </a:cubicBezTo>
                    <a:cubicBezTo>
                      <a:pt x="22" y="30"/>
                      <a:pt x="21" y="32"/>
                      <a:pt x="19" y="35"/>
                    </a:cubicBezTo>
                    <a:cubicBezTo>
                      <a:pt x="18" y="37"/>
                      <a:pt x="18" y="39"/>
                      <a:pt x="18" y="41"/>
                    </a:cubicBezTo>
                    <a:cubicBezTo>
                      <a:pt x="18" y="44"/>
                      <a:pt x="19" y="46"/>
                      <a:pt x="17" y="48"/>
                    </a:cubicBezTo>
                    <a:cubicBezTo>
                      <a:pt x="16" y="48"/>
                      <a:pt x="11" y="51"/>
                      <a:pt x="11" y="51"/>
                    </a:cubicBezTo>
                    <a:cubicBezTo>
                      <a:pt x="10" y="51"/>
                      <a:pt x="12" y="48"/>
                      <a:pt x="10" y="49"/>
                    </a:cubicBezTo>
                    <a:cubicBezTo>
                      <a:pt x="7" y="51"/>
                      <a:pt x="7" y="53"/>
                      <a:pt x="5" y="50"/>
                    </a:cubicBezTo>
                    <a:cubicBezTo>
                      <a:pt x="4" y="51"/>
                      <a:pt x="2" y="53"/>
                      <a:pt x="2" y="55"/>
                    </a:cubicBezTo>
                    <a:cubicBezTo>
                      <a:pt x="2" y="55"/>
                      <a:pt x="2" y="56"/>
                      <a:pt x="1" y="56"/>
                    </a:cubicBezTo>
                    <a:cubicBezTo>
                      <a:pt x="0" y="57"/>
                      <a:pt x="1" y="58"/>
                      <a:pt x="1" y="59"/>
                    </a:cubicBezTo>
                    <a:cubicBezTo>
                      <a:pt x="5" y="56"/>
                      <a:pt x="8" y="57"/>
                      <a:pt x="13" y="57"/>
                    </a:cubicBezTo>
                    <a:cubicBezTo>
                      <a:pt x="15" y="57"/>
                      <a:pt x="16" y="57"/>
                      <a:pt x="18" y="57"/>
                    </a:cubicBezTo>
                    <a:cubicBezTo>
                      <a:pt x="20" y="57"/>
                      <a:pt x="21" y="60"/>
                      <a:pt x="22" y="62"/>
                    </a:cubicBezTo>
                    <a:cubicBezTo>
                      <a:pt x="23" y="64"/>
                      <a:pt x="24" y="67"/>
                      <a:pt x="26" y="68"/>
                    </a:cubicBezTo>
                    <a:cubicBezTo>
                      <a:pt x="27" y="69"/>
                      <a:pt x="31" y="68"/>
                      <a:pt x="33" y="67"/>
                    </a:cubicBezTo>
                    <a:cubicBezTo>
                      <a:pt x="34" y="67"/>
                      <a:pt x="34" y="64"/>
                      <a:pt x="35" y="63"/>
                    </a:cubicBezTo>
                    <a:cubicBezTo>
                      <a:pt x="35" y="61"/>
                      <a:pt x="38" y="62"/>
                      <a:pt x="39" y="62"/>
                    </a:cubicBezTo>
                    <a:cubicBezTo>
                      <a:pt x="39" y="64"/>
                      <a:pt x="39" y="64"/>
                      <a:pt x="41" y="64"/>
                    </a:cubicBezTo>
                    <a:cubicBezTo>
                      <a:pt x="42" y="64"/>
                      <a:pt x="45" y="63"/>
                      <a:pt x="45" y="65"/>
                    </a:cubicBezTo>
                    <a:cubicBezTo>
                      <a:pt x="45" y="67"/>
                      <a:pt x="46" y="68"/>
                      <a:pt x="46" y="70"/>
                    </a:cubicBezTo>
                    <a:cubicBezTo>
                      <a:pt x="46" y="71"/>
                      <a:pt x="46" y="72"/>
                      <a:pt x="45" y="74"/>
                    </a:cubicBezTo>
                    <a:cubicBezTo>
                      <a:pt x="45" y="75"/>
                      <a:pt x="46" y="77"/>
                      <a:pt x="47" y="78"/>
                    </a:cubicBezTo>
                    <a:cubicBezTo>
                      <a:pt x="48" y="79"/>
                      <a:pt x="47" y="81"/>
                      <a:pt x="47" y="82"/>
                    </a:cubicBezTo>
                    <a:cubicBezTo>
                      <a:pt x="47" y="85"/>
                      <a:pt x="52" y="82"/>
                      <a:pt x="53" y="82"/>
                    </a:cubicBezTo>
                    <a:cubicBezTo>
                      <a:pt x="55" y="82"/>
                      <a:pt x="56" y="82"/>
                      <a:pt x="57" y="83"/>
                    </a:cubicBezTo>
                    <a:cubicBezTo>
                      <a:pt x="59" y="85"/>
                      <a:pt x="58" y="84"/>
                      <a:pt x="60" y="84"/>
                    </a:cubicBezTo>
                    <a:cubicBezTo>
                      <a:pt x="62" y="84"/>
                      <a:pt x="62" y="85"/>
                      <a:pt x="63" y="86"/>
                    </a:cubicBezTo>
                    <a:cubicBezTo>
                      <a:pt x="64" y="86"/>
                      <a:pt x="65" y="87"/>
                      <a:pt x="66" y="87"/>
                    </a:cubicBezTo>
                    <a:cubicBezTo>
                      <a:pt x="69" y="88"/>
                      <a:pt x="70" y="88"/>
                      <a:pt x="71" y="85"/>
                    </a:cubicBezTo>
                    <a:cubicBezTo>
                      <a:pt x="72" y="88"/>
                      <a:pt x="73" y="89"/>
                      <a:pt x="76" y="90"/>
                    </a:cubicBezTo>
                    <a:cubicBezTo>
                      <a:pt x="78" y="91"/>
                      <a:pt x="78" y="94"/>
                      <a:pt x="80" y="95"/>
                    </a:cubicBezTo>
                    <a:cubicBezTo>
                      <a:pt x="80" y="95"/>
                      <a:pt x="84" y="94"/>
                      <a:pt x="84" y="94"/>
                    </a:cubicBezTo>
                    <a:cubicBezTo>
                      <a:pt x="84" y="92"/>
                      <a:pt x="85" y="88"/>
                      <a:pt x="83" y="89"/>
                    </a:cubicBezTo>
                    <a:cubicBezTo>
                      <a:pt x="80" y="90"/>
                      <a:pt x="78" y="88"/>
                      <a:pt x="77" y="85"/>
                    </a:cubicBezTo>
                    <a:cubicBezTo>
                      <a:pt x="77" y="83"/>
                      <a:pt x="79" y="80"/>
                      <a:pt x="78" y="77"/>
                    </a:cubicBezTo>
                    <a:cubicBezTo>
                      <a:pt x="78" y="76"/>
                      <a:pt x="77" y="74"/>
                      <a:pt x="78" y="73"/>
                    </a:cubicBezTo>
                    <a:cubicBezTo>
                      <a:pt x="78" y="73"/>
                      <a:pt x="78" y="72"/>
                      <a:pt x="79" y="72"/>
                    </a:cubicBezTo>
                    <a:cubicBezTo>
                      <a:pt x="80" y="72"/>
                      <a:pt x="79" y="70"/>
                      <a:pt x="80" y="70"/>
                    </a:cubicBezTo>
                    <a:cubicBezTo>
                      <a:pt x="81" y="68"/>
                      <a:pt x="86" y="68"/>
                      <a:pt x="87" y="68"/>
                    </a:cubicBezTo>
                    <a:cubicBezTo>
                      <a:pt x="85" y="67"/>
                      <a:pt x="86" y="64"/>
                      <a:pt x="84" y="63"/>
                    </a:cubicBezTo>
                    <a:cubicBezTo>
                      <a:pt x="83" y="62"/>
                      <a:pt x="82" y="61"/>
                      <a:pt x="82" y="60"/>
                    </a:cubicBezTo>
                    <a:cubicBezTo>
                      <a:pt x="82" y="58"/>
                      <a:pt x="82" y="56"/>
                      <a:pt x="81" y="55"/>
                    </a:cubicBezTo>
                    <a:cubicBezTo>
                      <a:pt x="81" y="53"/>
                      <a:pt x="80" y="52"/>
                      <a:pt x="80" y="50"/>
                    </a:cubicBezTo>
                    <a:cubicBezTo>
                      <a:pt x="80" y="49"/>
                      <a:pt x="80" y="44"/>
                      <a:pt x="81" y="45"/>
                    </a:cubicBezTo>
                    <a:cubicBezTo>
                      <a:pt x="80" y="41"/>
                      <a:pt x="80" y="39"/>
                      <a:pt x="82" y="35"/>
                    </a:cubicBezTo>
                    <a:cubicBezTo>
                      <a:pt x="83" y="32"/>
                      <a:pt x="83" y="31"/>
                      <a:pt x="83" y="28"/>
                    </a:cubicBezTo>
                    <a:cubicBezTo>
                      <a:pt x="83" y="25"/>
                      <a:pt x="85" y="23"/>
                      <a:pt x="87" y="21"/>
                    </a:cubicBezTo>
                    <a:cubicBezTo>
                      <a:pt x="88" y="20"/>
                      <a:pt x="89" y="19"/>
                      <a:pt x="90" y="18"/>
                    </a:cubicBezTo>
                    <a:cubicBezTo>
                      <a:pt x="91" y="17"/>
                      <a:pt x="91" y="17"/>
                      <a:pt x="90" y="15"/>
                    </a:cubicBezTo>
                    <a:cubicBezTo>
                      <a:pt x="89" y="15"/>
                      <a:pt x="91" y="16"/>
                      <a:pt x="90" y="1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7" name="Freeform 734">
                <a:extLst>
                  <a:ext uri="{FF2B5EF4-FFF2-40B4-BE49-F238E27FC236}">
                    <a16:creationId xmlns:a16="http://schemas.microsoft.com/office/drawing/2014/main" id="{8D543E20-F844-984B-9C56-E34CC9E0CB3D}"/>
                  </a:ext>
                </a:extLst>
              </p:cNvPr>
              <p:cNvSpPr>
                <a:spLocks/>
              </p:cNvSpPr>
              <p:nvPr/>
            </p:nvSpPr>
            <p:spPr bwMode="auto">
              <a:xfrm>
                <a:off x="12254333" y="9307030"/>
                <a:ext cx="525479" cy="589329"/>
              </a:xfrm>
              <a:custGeom>
                <a:avLst/>
                <a:gdLst>
                  <a:gd name="T0" fmla="*/ 51 w 56"/>
                  <a:gd name="T1" fmla="*/ 27 h 63"/>
                  <a:gd name="T2" fmla="*/ 48 w 56"/>
                  <a:gd name="T3" fmla="*/ 26 h 63"/>
                  <a:gd name="T4" fmla="*/ 47 w 56"/>
                  <a:gd name="T5" fmla="*/ 21 h 63"/>
                  <a:gd name="T6" fmla="*/ 46 w 56"/>
                  <a:gd name="T7" fmla="*/ 12 h 63"/>
                  <a:gd name="T8" fmla="*/ 46 w 56"/>
                  <a:gd name="T9" fmla="*/ 8 h 63"/>
                  <a:gd name="T10" fmla="*/ 43 w 56"/>
                  <a:gd name="T11" fmla="*/ 8 h 63"/>
                  <a:gd name="T12" fmla="*/ 40 w 56"/>
                  <a:gd name="T13" fmla="*/ 6 h 63"/>
                  <a:gd name="T14" fmla="*/ 35 w 56"/>
                  <a:gd name="T15" fmla="*/ 8 h 63"/>
                  <a:gd name="T16" fmla="*/ 34 w 56"/>
                  <a:gd name="T17" fmla="*/ 11 h 63"/>
                  <a:gd name="T18" fmla="*/ 29 w 56"/>
                  <a:gd name="T19" fmla="*/ 12 h 63"/>
                  <a:gd name="T20" fmla="*/ 18 w 56"/>
                  <a:gd name="T21" fmla="*/ 1 h 63"/>
                  <a:gd name="T22" fmla="*/ 3 w 56"/>
                  <a:gd name="T23" fmla="*/ 2 h 63"/>
                  <a:gd name="T24" fmla="*/ 6 w 56"/>
                  <a:gd name="T25" fmla="*/ 12 h 63"/>
                  <a:gd name="T26" fmla="*/ 6 w 56"/>
                  <a:gd name="T27" fmla="*/ 16 h 63"/>
                  <a:gd name="T28" fmla="*/ 6 w 56"/>
                  <a:gd name="T29" fmla="*/ 20 h 63"/>
                  <a:gd name="T30" fmla="*/ 8 w 56"/>
                  <a:gd name="T31" fmla="*/ 33 h 63"/>
                  <a:gd name="T32" fmla="*/ 3 w 56"/>
                  <a:gd name="T33" fmla="*/ 41 h 63"/>
                  <a:gd name="T34" fmla="*/ 0 w 56"/>
                  <a:gd name="T35" fmla="*/ 50 h 63"/>
                  <a:gd name="T36" fmla="*/ 0 w 56"/>
                  <a:gd name="T37" fmla="*/ 55 h 63"/>
                  <a:gd name="T38" fmla="*/ 0 w 56"/>
                  <a:gd name="T39" fmla="*/ 59 h 63"/>
                  <a:gd name="T40" fmla="*/ 3 w 56"/>
                  <a:gd name="T41" fmla="*/ 59 h 63"/>
                  <a:gd name="T42" fmla="*/ 8 w 56"/>
                  <a:gd name="T43" fmla="*/ 58 h 63"/>
                  <a:gd name="T44" fmla="*/ 9 w 56"/>
                  <a:gd name="T45" fmla="*/ 59 h 63"/>
                  <a:gd name="T46" fmla="*/ 16 w 56"/>
                  <a:gd name="T47" fmla="*/ 59 h 63"/>
                  <a:gd name="T48" fmla="*/ 25 w 56"/>
                  <a:gd name="T49" fmla="*/ 59 h 63"/>
                  <a:gd name="T50" fmla="*/ 30 w 56"/>
                  <a:gd name="T51" fmla="*/ 59 h 63"/>
                  <a:gd name="T52" fmla="*/ 39 w 56"/>
                  <a:gd name="T53" fmla="*/ 62 h 63"/>
                  <a:gd name="T54" fmla="*/ 53 w 56"/>
                  <a:gd name="T55" fmla="*/ 60 h 63"/>
                  <a:gd name="T56" fmla="*/ 46 w 56"/>
                  <a:gd name="T57" fmla="*/ 51 h 63"/>
                  <a:gd name="T58" fmla="*/ 46 w 56"/>
                  <a:gd name="T59" fmla="*/ 37 h 63"/>
                  <a:gd name="T60" fmla="*/ 56 w 56"/>
                  <a:gd name="T61" fmla="*/ 35 h 63"/>
                  <a:gd name="T62" fmla="*/ 56 w 56"/>
                  <a:gd name="T63" fmla="*/ 27 h 63"/>
                  <a:gd name="T64" fmla="*/ 51 w 56"/>
                  <a:gd name="T65"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63">
                    <a:moveTo>
                      <a:pt x="51" y="27"/>
                    </a:moveTo>
                    <a:cubicBezTo>
                      <a:pt x="49" y="27"/>
                      <a:pt x="48" y="28"/>
                      <a:pt x="48" y="26"/>
                    </a:cubicBezTo>
                    <a:cubicBezTo>
                      <a:pt x="48" y="24"/>
                      <a:pt x="48" y="23"/>
                      <a:pt x="47" y="21"/>
                    </a:cubicBezTo>
                    <a:cubicBezTo>
                      <a:pt x="45" y="18"/>
                      <a:pt x="48" y="15"/>
                      <a:pt x="46" y="12"/>
                    </a:cubicBezTo>
                    <a:cubicBezTo>
                      <a:pt x="46" y="11"/>
                      <a:pt x="46" y="8"/>
                      <a:pt x="46" y="8"/>
                    </a:cubicBezTo>
                    <a:cubicBezTo>
                      <a:pt x="46" y="8"/>
                      <a:pt x="43" y="8"/>
                      <a:pt x="43" y="8"/>
                    </a:cubicBezTo>
                    <a:cubicBezTo>
                      <a:pt x="40" y="8"/>
                      <a:pt x="40" y="9"/>
                      <a:pt x="40" y="6"/>
                    </a:cubicBezTo>
                    <a:cubicBezTo>
                      <a:pt x="37" y="6"/>
                      <a:pt x="36" y="5"/>
                      <a:pt x="35" y="8"/>
                    </a:cubicBezTo>
                    <a:cubicBezTo>
                      <a:pt x="35" y="8"/>
                      <a:pt x="35" y="11"/>
                      <a:pt x="34" y="11"/>
                    </a:cubicBezTo>
                    <a:cubicBezTo>
                      <a:pt x="33" y="12"/>
                      <a:pt x="31" y="12"/>
                      <a:pt x="29" y="12"/>
                    </a:cubicBezTo>
                    <a:cubicBezTo>
                      <a:pt x="22" y="13"/>
                      <a:pt x="24" y="1"/>
                      <a:pt x="18" y="1"/>
                    </a:cubicBezTo>
                    <a:cubicBezTo>
                      <a:pt x="13" y="1"/>
                      <a:pt x="7" y="0"/>
                      <a:pt x="3" y="2"/>
                    </a:cubicBezTo>
                    <a:cubicBezTo>
                      <a:pt x="1" y="4"/>
                      <a:pt x="6" y="10"/>
                      <a:pt x="6" y="12"/>
                    </a:cubicBezTo>
                    <a:cubicBezTo>
                      <a:pt x="7" y="13"/>
                      <a:pt x="7" y="15"/>
                      <a:pt x="6" y="16"/>
                    </a:cubicBezTo>
                    <a:cubicBezTo>
                      <a:pt x="4" y="17"/>
                      <a:pt x="6" y="19"/>
                      <a:pt x="6" y="20"/>
                    </a:cubicBezTo>
                    <a:cubicBezTo>
                      <a:pt x="9" y="24"/>
                      <a:pt x="11" y="29"/>
                      <a:pt x="8" y="33"/>
                    </a:cubicBezTo>
                    <a:cubicBezTo>
                      <a:pt x="6" y="36"/>
                      <a:pt x="4" y="38"/>
                      <a:pt x="3" y="41"/>
                    </a:cubicBezTo>
                    <a:cubicBezTo>
                      <a:pt x="2" y="44"/>
                      <a:pt x="1" y="47"/>
                      <a:pt x="0" y="50"/>
                    </a:cubicBezTo>
                    <a:cubicBezTo>
                      <a:pt x="0" y="52"/>
                      <a:pt x="0" y="54"/>
                      <a:pt x="0" y="55"/>
                    </a:cubicBezTo>
                    <a:cubicBezTo>
                      <a:pt x="0" y="56"/>
                      <a:pt x="0" y="58"/>
                      <a:pt x="0" y="59"/>
                    </a:cubicBezTo>
                    <a:cubicBezTo>
                      <a:pt x="1" y="59"/>
                      <a:pt x="2" y="59"/>
                      <a:pt x="3" y="59"/>
                    </a:cubicBezTo>
                    <a:cubicBezTo>
                      <a:pt x="5" y="59"/>
                      <a:pt x="5" y="56"/>
                      <a:pt x="8" y="58"/>
                    </a:cubicBezTo>
                    <a:cubicBezTo>
                      <a:pt x="8" y="58"/>
                      <a:pt x="9" y="59"/>
                      <a:pt x="9" y="59"/>
                    </a:cubicBezTo>
                    <a:cubicBezTo>
                      <a:pt x="12" y="59"/>
                      <a:pt x="14" y="59"/>
                      <a:pt x="16" y="59"/>
                    </a:cubicBezTo>
                    <a:cubicBezTo>
                      <a:pt x="19" y="59"/>
                      <a:pt x="22" y="59"/>
                      <a:pt x="25" y="59"/>
                    </a:cubicBezTo>
                    <a:cubicBezTo>
                      <a:pt x="26" y="59"/>
                      <a:pt x="29" y="59"/>
                      <a:pt x="30" y="59"/>
                    </a:cubicBezTo>
                    <a:cubicBezTo>
                      <a:pt x="32" y="63"/>
                      <a:pt x="36" y="62"/>
                      <a:pt x="39" y="62"/>
                    </a:cubicBezTo>
                    <a:cubicBezTo>
                      <a:pt x="44" y="62"/>
                      <a:pt x="48" y="61"/>
                      <a:pt x="53" y="60"/>
                    </a:cubicBezTo>
                    <a:cubicBezTo>
                      <a:pt x="50" y="57"/>
                      <a:pt x="46" y="55"/>
                      <a:pt x="46" y="51"/>
                    </a:cubicBezTo>
                    <a:cubicBezTo>
                      <a:pt x="46" y="46"/>
                      <a:pt x="46" y="41"/>
                      <a:pt x="46" y="37"/>
                    </a:cubicBezTo>
                    <a:cubicBezTo>
                      <a:pt x="46" y="36"/>
                      <a:pt x="56" y="38"/>
                      <a:pt x="56" y="35"/>
                    </a:cubicBezTo>
                    <a:cubicBezTo>
                      <a:pt x="56" y="33"/>
                      <a:pt x="56" y="30"/>
                      <a:pt x="56" y="27"/>
                    </a:cubicBezTo>
                    <a:cubicBezTo>
                      <a:pt x="56" y="24"/>
                      <a:pt x="53" y="27"/>
                      <a:pt x="51" y="2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8" name="Freeform 735">
                <a:extLst>
                  <a:ext uri="{FF2B5EF4-FFF2-40B4-BE49-F238E27FC236}">
                    <a16:creationId xmlns:a16="http://schemas.microsoft.com/office/drawing/2014/main" id="{E71A0716-0E5C-3C44-861E-7195AC22BDE4}"/>
                  </a:ext>
                </a:extLst>
              </p:cNvPr>
              <p:cNvSpPr>
                <a:spLocks/>
              </p:cNvSpPr>
              <p:nvPr/>
            </p:nvSpPr>
            <p:spPr bwMode="auto">
              <a:xfrm>
                <a:off x="12591915" y="9867685"/>
                <a:ext cx="429938" cy="449163"/>
              </a:xfrm>
              <a:custGeom>
                <a:avLst/>
                <a:gdLst>
                  <a:gd name="T0" fmla="*/ 25 w 46"/>
                  <a:gd name="T1" fmla="*/ 2 h 48"/>
                  <a:gd name="T2" fmla="*/ 21 w 46"/>
                  <a:gd name="T3" fmla="*/ 3 h 48"/>
                  <a:gd name="T4" fmla="*/ 18 w 46"/>
                  <a:gd name="T5" fmla="*/ 4 h 48"/>
                  <a:gd name="T6" fmla="*/ 6 w 46"/>
                  <a:gd name="T7" fmla="*/ 4 h 48"/>
                  <a:gd name="T8" fmla="*/ 6 w 46"/>
                  <a:gd name="T9" fmla="*/ 18 h 48"/>
                  <a:gd name="T10" fmla="*/ 6 w 46"/>
                  <a:gd name="T11" fmla="*/ 23 h 48"/>
                  <a:gd name="T12" fmla="*/ 1 w 46"/>
                  <a:gd name="T13" fmla="*/ 24 h 48"/>
                  <a:gd name="T14" fmla="*/ 1 w 46"/>
                  <a:gd name="T15" fmla="*/ 31 h 48"/>
                  <a:gd name="T16" fmla="*/ 1 w 46"/>
                  <a:gd name="T17" fmla="*/ 38 h 48"/>
                  <a:gd name="T18" fmla="*/ 4 w 46"/>
                  <a:gd name="T19" fmla="*/ 47 h 48"/>
                  <a:gd name="T20" fmla="*/ 8 w 46"/>
                  <a:gd name="T21" fmla="*/ 48 h 48"/>
                  <a:gd name="T22" fmla="*/ 13 w 46"/>
                  <a:gd name="T23" fmla="*/ 44 h 48"/>
                  <a:gd name="T24" fmla="*/ 19 w 46"/>
                  <a:gd name="T25" fmla="*/ 41 h 48"/>
                  <a:gd name="T26" fmla="*/ 29 w 46"/>
                  <a:gd name="T27" fmla="*/ 39 h 48"/>
                  <a:gd name="T28" fmla="*/ 31 w 46"/>
                  <a:gd name="T29" fmla="*/ 37 h 48"/>
                  <a:gd name="T30" fmla="*/ 34 w 46"/>
                  <a:gd name="T31" fmla="*/ 34 h 48"/>
                  <a:gd name="T32" fmla="*/ 43 w 46"/>
                  <a:gd name="T33" fmla="*/ 26 h 48"/>
                  <a:gd name="T34" fmla="*/ 44 w 46"/>
                  <a:gd name="T35" fmla="*/ 22 h 48"/>
                  <a:gd name="T36" fmla="*/ 40 w 46"/>
                  <a:gd name="T37" fmla="*/ 21 h 48"/>
                  <a:gd name="T38" fmla="*/ 38 w 46"/>
                  <a:gd name="T39" fmla="*/ 17 h 48"/>
                  <a:gd name="T40" fmla="*/ 39 w 46"/>
                  <a:gd name="T41" fmla="*/ 15 h 48"/>
                  <a:gd name="T42" fmla="*/ 36 w 46"/>
                  <a:gd name="T43" fmla="*/ 14 h 48"/>
                  <a:gd name="T44" fmla="*/ 36 w 46"/>
                  <a:gd name="T45" fmla="*/ 13 h 48"/>
                  <a:gd name="T46" fmla="*/ 34 w 46"/>
                  <a:gd name="T47" fmla="*/ 12 h 48"/>
                  <a:gd name="T48" fmla="*/ 30 w 46"/>
                  <a:gd name="T49" fmla="*/ 7 h 48"/>
                  <a:gd name="T50" fmla="*/ 25 w 46"/>
                  <a:gd name="T51" fmla="*/ 2 h 48"/>
                  <a:gd name="T52" fmla="*/ 25 w 46"/>
                  <a:gd name="T53" fmla="*/ 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8">
                    <a:moveTo>
                      <a:pt x="25" y="2"/>
                    </a:moveTo>
                    <a:cubicBezTo>
                      <a:pt x="24" y="3"/>
                      <a:pt x="22" y="3"/>
                      <a:pt x="21" y="3"/>
                    </a:cubicBezTo>
                    <a:cubicBezTo>
                      <a:pt x="19" y="3"/>
                      <a:pt x="20" y="6"/>
                      <a:pt x="18" y="4"/>
                    </a:cubicBezTo>
                    <a:cubicBezTo>
                      <a:pt x="15" y="0"/>
                      <a:pt x="10" y="5"/>
                      <a:pt x="6" y="4"/>
                    </a:cubicBezTo>
                    <a:cubicBezTo>
                      <a:pt x="6" y="9"/>
                      <a:pt x="6" y="14"/>
                      <a:pt x="6" y="18"/>
                    </a:cubicBezTo>
                    <a:cubicBezTo>
                      <a:pt x="6" y="19"/>
                      <a:pt x="7" y="23"/>
                      <a:pt x="6" y="23"/>
                    </a:cubicBezTo>
                    <a:cubicBezTo>
                      <a:pt x="5" y="24"/>
                      <a:pt x="1" y="22"/>
                      <a:pt x="1" y="24"/>
                    </a:cubicBezTo>
                    <a:cubicBezTo>
                      <a:pt x="1" y="26"/>
                      <a:pt x="1" y="29"/>
                      <a:pt x="1" y="31"/>
                    </a:cubicBezTo>
                    <a:cubicBezTo>
                      <a:pt x="1" y="33"/>
                      <a:pt x="0" y="36"/>
                      <a:pt x="1" y="38"/>
                    </a:cubicBezTo>
                    <a:cubicBezTo>
                      <a:pt x="5" y="39"/>
                      <a:pt x="6" y="44"/>
                      <a:pt x="4" y="47"/>
                    </a:cubicBezTo>
                    <a:cubicBezTo>
                      <a:pt x="4" y="48"/>
                      <a:pt x="8" y="48"/>
                      <a:pt x="8" y="48"/>
                    </a:cubicBezTo>
                    <a:cubicBezTo>
                      <a:pt x="10" y="48"/>
                      <a:pt x="11" y="46"/>
                      <a:pt x="13" y="44"/>
                    </a:cubicBezTo>
                    <a:cubicBezTo>
                      <a:pt x="15" y="42"/>
                      <a:pt x="15" y="39"/>
                      <a:pt x="19" y="41"/>
                    </a:cubicBezTo>
                    <a:cubicBezTo>
                      <a:pt x="23" y="43"/>
                      <a:pt x="27" y="44"/>
                      <a:pt x="29" y="39"/>
                    </a:cubicBezTo>
                    <a:cubicBezTo>
                      <a:pt x="29" y="38"/>
                      <a:pt x="29" y="37"/>
                      <a:pt x="31" y="37"/>
                    </a:cubicBezTo>
                    <a:cubicBezTo>
                      <a:pt x="33" y="37"/>
                      <a:pt x="34" y="35"/>
                      <a:pt x="34" y="34"/>
                    </a:cubicBezTo>
                    <a:cubicBezTo>
                      <a:pt x="36" y="31"/>
                      <a:pt x="40" y="28"/>
                      <a:pt x="43" y="26"/>
                    </a:cubicBezTo>
                    <a:cubicBezTo>
                      <a:pt x="45" y="25"/>
                      <a:pt x="46" y="24"/>
                      <a:pt x="44" y="22"/>
                    </a:cubicBezTo>
                    <a:cubicBezTo>
                      <a:pt x="43" y="21"/>
                      <a:pt x="40" y="22"/>
                      <a:pt x="40" y="21"/>
                    </a:cubicBezTo>
                    <a:cubicBezTo>
                      <a:pt x="39" y="20"/>
                      <a:pt x="38" y="19"/>
                      <a:pt x="38" y="17"/>
                    </a:cubicBezTo>
                    <a:cubicBezTo>
                      <a:pt x="38" y="17"/>
                      <a:pt x="39" y="16"/>
                      <a:pt x="39" y="15"/>
                    </a:cubicBezTo>
                    <a:cubicBezTo>
                      <a:pt x="38" y="15"/>
                      <a:pt x="37" y="15"/>
                      <a:pt x="36" y="14"/>
                    </a:cubicBezTo>
                    <a:cubicBezTo>
                      <a:pt x="36" y="14"/>
                      <a:pt x="37" y="13"/>
                      <a:pt x="36" y="13"/>
                    </a:cubicBezTo>
                    <a:cubicBezTo>
                      <a:pt x="35" y="13"/>
                      <a:pt x="35" y="12"/>
                      <a:pt x="34" y="12"/>
                    </a:cubicBezTo>
                    <a:cubicBezTo>
                      <a:pt x="32" y="11"/>
                      <a:pt x="31" y="10"/>
                      <a:pt x="30" y="7"/>
                    </a:cubicBezTo>
                    <a:cubicBezTo>
                      <a:pt x="30" y="6"/>
                      <a:pt x="27" y="2"/>
                      <a:pt x="25" y="2"/>
                    </a:cubicBezTo>
                    <a:cubicBezTo>
                      <a:pt x="25" y="2"/>
                      <a:pt x="26" y="2"/>
                      <a:pt x="25"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59" name="Freeform 736">
                <a:extLst>
                  <a:ext uri="{FF2B5EF4-FFF2-40B4-BE49-F238E27FC236}">
                    <a16:creationId xmlns:a16="http://schemas.microsoft.com/office/drawing/2014/main" id="{1346F1FD-394F-F04A-B502-ECD9F6342B67}"/>
                  </a:ext>
                </a:extLst>
              </p:cNvPr>
              <p:cNvSpPr>
                <a:spLocks/>
              </p:cNvSpPr>
              <p:nvPr/>
            </p:nvSpPr>
            <p:spPr bwMode="auto">
              <a:xfrm>
                <a:off x="12824398" y="9775302"/>
                <a:ext cx="366243" cy="324926"/>
              </a:xfrm>
              <a:custGeom>
                <a:avLst/>
                <a:gdLst>
                  <a:gd name="T0" fmla="*/ 39 w 39"/>
                  <a:gd name="T1" fmla="*/ 22 h 35"/>
                  <a:gd name="T2" fmla="*/ 38 w 39"/>
                  <a:gd name="T3" fmla="*/ 18 h 35"/>
                  <a:gd name="T4" fmla="*/ 39 w 39"/>
                  <a:gd name="T5" fmla="*/ 14 h 35"/>
                  <a:gd name="T6" fmla="*/ 38 w 39"/>
                  <a:gd name="T7" fmla="*/ 7 h 35"/>
                  <a:gd name="T8" fmla="*/ 27 w 39"/>
                  <a:gd name="T9" fmla="*/ 2 h 35"/>
                  <a:gd name="T10" fmla="*/ 24 w 39"/>
                  <a:gd name="T11" fmla="*/ 0 h 35"/>
                  <a:gd name="T12" fmla="*/ 19 w 39"/>
                  <a:gd name="T13" fmla="*/ 3 h 35"/>
                  <a:gd name="T14" fmla="*/ 13 w 39"/>
                  <a:gd name="T15" fmla="*/ 7 h 35"/>
                  <a:gd name="T16" fmla="*/ 9 w 39"/>
                  <a:gd name="T17" fmla="*/ 12 h 35"/>
                  <a:gd name="T18" fmla="*/ 2 w 39"/>
                  <a:gd name="T19" fmla="*/ 12 h 35"/>
                  <a:gd name="T20" fmla="*/ 5 w 39"/>
                  <a:gd name="T21" fmla="*/ 16 h 35"/>
                  <a:gd name="T22" fmla="*/ 8 w 39"/>
                  <a:gd name="T23" fmla="*/ 21 h 35"/>
                  <a:gd name="T24" fmla="*/ 11 w 39"/>
                  <a:gd name="T25" fmla="*/ 23 h 35"/>
                  <a:gd name="T26" fmla="*/ 11 w 39"/>
                  <a:gd name="T27" fmla="*/ 24 h 35"/>
                  <a:gd name="T28" fmla="*/ 14 w 39"/>
                  <a:gd name="T29" fmla="*/ 25 h 35"/>
                  <a:gd name="T30" fmla="*/ 13 w 39"/>
                  <a:gd name="T31" fmla="*/ 28 h 35"/>
                  <a:gd name="T32" fmla="*/ 15 w 39"/>
                  <a:gd name="T33" fmla="*/ 31 h 35"/>
                  <a:gd name="T34" fmla="*/ 20 w 39"/>
                  <a:gd name="T35" fmla="*/ 34 h 35"/>
                  <a:gd name="T36" fmla="*/ 25 w 39"/>
                  <a:gd name="T37" fmla="*/ 35 h 35"/>
                  <a:gd name="T38" fmla="*/ 27 w 39"/>
                  <a:gd name="T39" fmla="*/ 35 h 35"/>
                  <a:gd name="T40" fmla="*/ 34 w 39"/>
                  <a:gd name="T41" fmla="*/ 31 h 35"/>
                  <a:gd name="T42" fmla="*/ 36 w 39"/>
                  <a:gd name="T43" fmla="*/ 27 h 35"/>
                  <a:gd name="T44" fmla="*/ 39 w 39"/>
                  <a:gd name="T45" fmla="*/ 2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35">
                    <a:moveTo>
                      <a:pt x="39" y="22"/>
                    </a:moveTo>
                    <a:cubicBezTo>
                      <a:pt x="39" y="21"/>
                      <a:pt x="38" y="19"/>
                      <a:pt x="38" y="18"/>
                    </a:cubicBezTo>
                    <a:cubicBezTo>
                      <a:pt x="38" y="16"/>
                      <a:pt x="39" y="15"/>
                      <a:pt x="39" y="14"/>
                    </a:cubicBezTo>
                    <a:cubicBezTo>
                      <a:pt x="39" y="11"/>
                      <a:pt x="39" y="9"/>
                      <a:pt x="38" y="7"/>
                    </a:cubicBezTo>
                    <a:cubicBezTo>
                      <a:pt x="38" y="4"/>
                      <a:pt x="29" y="2"/>
                      <a:pt x="27" y="2"/>
                    </a:cubicBezTo>
                    <a:cubicBezTo>
                      <a:pt x="27" y="0"/>
                      <a:pt x="27" y="0"/>
                      <a:pt x="24" y="0"/>
                    </a:cubicBezTo>
                    <a:cubicBezTo>
                      <a:pt x="21" y="0"/>
                      <a:pt x="21" y="1"/>
                      <a:pt x="19" y="3"/>
                    </a:cubicBezTo>
                    <a:cubicBezTo>
                      <a:pt x="18" y="5"/>
                      <a:pt x="15" y="6"/>
                      <a:pt x="13" y="7"/>
                    </a:cubicBezTo>
                    <a:cubicBezTo>
                      <a:pt x="12" y="9"/>
                      <a:pt x="11" y="12"/>
                      <a:pt x="9" y="12"/>
                    </a:cubicBezTo>
                    <a:cubicBezTo>
                      <a:pt x="7" y="12"/>
                      <a:pt x="5" y="11"/>
                      <a:pt x="2" y="12"/>
                    </a:cubicBezTo>
                    <a:cubicBezTo>
                      <a:pt x="0" y="13"/>
                      <a:pt x="4" y="15"/>
                      <a:pt x="5" y="16"/>
                    </a:cubicBezTo>
                    <a:cubicBezTo>
                      <a:pt x="6" y="18"/>
                      <a:pt x="6" y="20"/>
                      <a:pt x="8" y="21"/>
                    </a:cubicBezTo>
                    <a:cubicBezTo>
                      <a:pt x="9" y="22"/>
                      <a:pt x="10" y="23"/>
                      <a:pt x="11" y="23"/>
                    </a:cubicBezTo>
                    <a:cubicBezTo>
                      <a:pt x="12" y="23"/>
                      <a:pt x="11" y="24"/>
                      <a:pt x="11" y="24"/>
                    </a:cubicBezTo>
                    <a:cubicBezTo>
                      <a:pt x="12" y="24"/>
                      <a:pt x="13" y="25"/>
                      <a:pt x="14" y="25"/>
                    </a:cubicBezTo>
                    <a:cubicBezTo>
                      <a:pt x="14" y="26"/>
                      <a:pt x="13" y="27"/>
                      <a:pt x="13" y="28"/>
                    </a:cubicBezTo>
                    <a:cubicBezTo>
                      <a:pt x="13" y="29"/>
                      <a:pt x="14" y="31"/>
                      <a:pt x="15" y="31"/>
                    </a:cubicBezTo>
                    <a:cubicBezTo>
                      <a:pt x="18" y="31"/>
                      <a:pt x="19" y="31"/>
                      <a:pt x="20" y="34"/>
                    </a:cubicBezTo>
                    <a:cubicBezTo>
                      <a:pt x="21" y="35"/>
                      <a:pt x="23" y="34"/>
                      <a:pt x="25" y="35"/>
                    </a:cubicBezTo>
                    <a:cubicBezTo>
                      <a:pt x="26" y="35"/>
                      <a:pt x="26" y="35"/>
                      <a:pt x="27" y="35"/>
                    </a:cubicBezTo>
                    <a:cubicBezTo>
                      <a:pt x="31" y="35"/>
                      <a:pt x="32" y="34"/>
                      <a:pt x="34" y="31"/>
                    </a:cubicBezTo>
                    <a:cubicBezTo>
                      <a:pt x="35" y="30"/>
                      <a:pt x="36" y="28"/>
                      <a:pt x="36" y="27"/>
                    </a:cubicBezTo>
                    <a:cubicBezTo>
                      <a:pt x="37" y="25"/>
                      <a:pt x="39" y="24"/>
                      <a:pt x="39"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0" name="Freeform 737">
                <a:extLst>
                  <a:ext uri="{FF2B5EF4-FFF2-40B4-BE49-F238E27FC236}">
                    <a16:creationId xmlns:a16="http://schemas.microsoft.com/office/drawing/2014/main" id="{B85BD7B7-C8D5-8846-A1D3-24463648288A}"/>
                  </a:ext>
                </a:extLst>
              </p:cNvPr>
              <p:cNvSpPr>
                <a:spLocks/>
              </p:cNvSpPr>
              <p:nvPr/>
            </p:nvSpPr>
            <p:spPr bwMode="auto">
              <a:xfrm>
                <a:off x="13069621" y="10259505"/>
                <a:ext cx="92356" cy="105124"/>
              </a:xfrm>
              <a:custGeom>
                <a:avLst/>
                <a:gdLst>
                  <a:gd name="T0" fmla="*/ 5 w 10"/>
                  <a:gd name="T1" fmla="*/ 1 h 11"/>
                  <a:gd name="T2" fmla="*/ 7 w 10"/>
                  <a:gd name="T3" fmla="*/ 9 h 11"/>
                  <a:gd name="T4" fmla="*/ 5 w 10"/>
                  <a:gd name="T5" fmla="*/ 1 h 11"/>
                  <a:gd name="T6" fmla="*/ 5 w 10"/>
                  <a:gd name="T7" fmla="*/ 1 h 11"/>
                </a:gdLst>
                <a:ahLst/>
                <a:cxnLst>
                  <a:cxn ang="0">
                    <a:pos x="T0" y="T1"/>
                  </a:cxn>
                  <a:cxn ang="0">
                    <a:pos x="T2" y="T3"/>
                  </a:cxn>
                  <a:cxn ang="0">
                    <a:pos x="T4" y="T5"/>
                  </a:cxn>
                  <a:cxn ang="0">
                    <a:pos x="T6" y="T7"/>
                  </a:cxn>
                </a:cxnLst>
                <a:rect l="0" t="0" r="r" b="b"/>
                <a:pathLst>
                  <a:path w="10" h="11">
                    <a:moveTo>
                      <a:pt x="5" y="1"/>
                    </a:moveTo>
                    <a:cubicBezTo>
                      <a:pt x="0" y="2"/>
                      <a:pt x="3" y="11"/>
                      <a:pt x="7" y="9"/>
                    </a:cubicBezTo>
                    <a:cubicBezTo>
                      <a:pt x="10" y="8"/>
                      <a:pt x="9" y="0"/>
                      <a:pt x="5" y="1"/>
                    </a:cubicBezTo>
                    <a:cubicBezTo>
                      <a:pt x="3" y="1"/>
                      <a:pt x="6"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1" name="Freeform 738">
                <a:extLst>
                  <a:ext uri="{FF2B5EF4-FFF2-40B4-BE49-F238E27FC236}">
                    <a16:creationId xmlns:a16="http://schemas.microsoft.com/office/drawing/2014/main" id="{E2F0BFB0-2BA6-8E44-BCB2-FFE460A005BC}"/>
                  </a:ext>
                </a:extLst>
              </p:cNvPr>
              <p:cNvSpPr>
                <a:spLocks noEditPoints="1"/>
              </p:cNvSpPr>
              <p:nvPr/>
            </p:nvSpPr>
            <p:spPr bwMode="auto">
              <a:xfrm>
                <a:off x="12442232" y="10090673"/>
                <a:ext cx="738853" cy="646665"/>
              </a:xfrm>
              <a:custGeom>
                <a:avLst/>
                <a:gdLst>
                  <a:gd name="T0" fmla="*/ 74 w 79"/>
                  <a:gd name="T1" fmla="*/ 27 h 69"/>
                  <a:gd name="T2" fmla="*/ 69 w 79"/>
                  <a:gd name="T3" fmla="*/ 22 h 69"/>
                  <a:gd name="T4" fmla="*/ 72 w 79"/>
                  <a:gd name="T5" fmla="*/ 19 h 69"/>
                  <a:gd name="T6" fmla="*/ 75 w 79"/>
                  <a:gd name="T7" fmla="*/ 20 h 69"/>
                  <a:gd name="T8" fmla="*/ 75 w 79"/>
                  <a:gd name="T9" fmla="*/ 11 h 69"/>
                  <a:gd name="T10" fmla="*/ 73 w 79"/>
                  <a:gd name="T11" fmla="*/ 7 h 69"/>
                  <a:gd name="T12" fmla="*/ 72 w 79"/>
                  <a:gd name="T13" fmla="*/ 1 h 69"/>
                  <a:gd name="T14" fmla="*/ 66 w 79"/>
                  <a:gd name="T15" fmla="*/ 1 h 69"/>
                  <a:gd name="T16" fmla="*/ 60 w 79"/>
                  <a:gd name="T17" fmla="*/ 2 h 69"/>
                  <a:gd name="T18" fmla="*/ 55 w 79"/>
                  <a:gd name="T19" fmla="*/ 5 h 69"/>
                  <a:gd name="T20" fmla="*/ 51 w 79"/>
                  <a:gd name="T21" fmla="*/ 8 h 69"/>
                  <a:gd name="T22" fmla="*/ 49 w 79"/>
                  <a:gd name="T23" fmla="*/ 12 h 69"/>
                  <a:gd name="T24" fmla="*/ 45 w 79"/>
                  <a:gd name="T25" fmla="*/ 14 h 69"/>
                  <a:gd name="T26" fmla="*/ 44 w 79"/>
                  <a:gd name="T27" fmla="*/ 17 h 69"/>
                  <a:gd name="T28" fmla="*/ 34 w 79"/>
                  <a:gd name="T29" fmla="*/ 17 h 69"/>
                  <a:gd name="T30" fmla="*/ 28 w 79"/>
                  <a:gd name="T31" fmla="*/ 21 h 69"/>
                  <a:gd name="T32" fmla="*/ 24 w 79"/>
                  <a:gd name="T33" fmla="*/ 24 h 69"/>
                  <a:gd name="T34" fmla="*/ 20 w 79"/>
                  <a:gd name="T35" fmla="*/ 23 h 69"/>
                  <a:gd name="T36" fmla="*/ 17 w 79"/>
                  <a:gd name="T37" fmla="*/ 14 h 69"/>
                  <a:gd name="T38" fmla="*/ 17 w 79"/>
                  <a:gd name="T39" fmla="*/ 29 h 69"/>
                  <a:gd name="T40" fmla="*/ 17 w 79"/>
                  <a:gd name="T41" fmla="*/ 33 h 69"/>
                  <a:gd name="T42" fmla="*/ 9 w 79"/>
                  <a:gd name="T43" fmla="*/ 35 h 69"/>
                  <a:gd name="T44" fmla="*/ 6 w 79"/>
                  <a:gd name="T45" fmla="*/ 34 h 69"/>
                  <a:gd name="T46" fmla="*/ 2 w 79"/>
                  <a:gd name="T47" fmla="*/ 33 h 69"/>
                  <a:gd name="T48" fmla="*/ 3 w 79"/>
                  <a:gd name="T49" fmla="*/ 40 h 69"/>
                  <a:gd name="T50" fmla="*/ 5 w 79"/>
                  <a:gd name="T51" fmla="*/ 45 h 69"/>
                  <a:gd name="T52" fmla="*/ 9 w 79"/>
                  <a:gd name="T53" fmla="*/ 56 h 69"/>
                  <a:gd name="T54" fmla="*/ 8 w 79"/>
                  <a:gd name="T55" fmla="*/ 60 h 69"/>
                  <a:gd name="T56" fmla="*/ 9 w 79"/>
                  <a:gd name="T57" fmla="*/ 62 h 69"/>
                  <a:gd name="T58" fmla="*/ 10 w 79"/>
                  <a:gd name="T59" fmla="*/ 66 h 69"/>
                  <a:gd name="T60" fmla="*/ 11 w 79"/>
                  <a:gd name="T61" fmla="*/ 64 h 69"/>
                  <a:gd name="T62" fmla="*/ 15 w 79"/>
                  <a:gd name="T63" fmla="*/ 68 h 69"/>
                  <a:gd name="T64" fmla="*/ 21 w 79"/>
                  <a:gd name="T65" fmla="*/ 66 h 69"/>
                  <a:gd name="T66" fmla="*/ 26 w 79"/>
                  <a:gd name="T67" fmla="*/ 65 h 69"/>
                  <a:gd name="T68" fmla="*/ 31 w 79"/>
                  <a:gd name="T69" fmla="*/ 64 h 69"/>
                  <a:gd name="T70" fmla="*/ 38 w 79"/>
                  <a:gd name="T71" fmla="*/ 64 h 69"/>
                  <a:gd name="T72" fmla="*/ 39 w 79"/>
                  <a:gd name="T73" fmla="*/ 64 h 69"/>
                  <a:gd name="T74" fmla="*/ 41 w 79"/>
                  <a:gd name="T75" fmla="*/ 63 h 69"/>
                  <a:gd name="T76" fmla="*/ 42 w 79"/>
                  <a:gd name="T77" fmla="*/ 62 h 69"/>
                  <a:gd name="T78" fmla="*/ 44 w 79"/>
                  <a:gd name="T79" fmla="*/ 65 h 69"/>
                  <a:gd name="T80" fmla="*/ 46 w 79"/>
                  <a:gd name="T81" fmla="*/ 62 h 69"/>
                  <a:gd name="T82" fmla="*/ 57 w 79"/>
                  <a:gd name="T83" fmla="*/ 56 h 69"/>
                  <a:gd name="T84" fmla="*/ 65 w 79"/>
                  <a:gd name="T85" fmla="*/ 48 h 69"/>
                  <a:gd name="T86" fmla="*/ 72 w 79"/>
                  <a:gd name="T87" fmla="*/ 37 h 69"/>
                  <a:gd name="T88" fmla="*/ 77 w 79"/>
                  <a:gd name="T89" fmla="*/ 33 h 69"/>
                  <a:gd name="T90" fmla="*/ 79 w 79"/>
                  <a:gd name="T91" fmla="*/ 25 h 69"/>
                  <a:gd name="T92" fmla="*/ 76 w 79"/>
                  <a:gd name="T93" fmla="*/ 25 h 69"/>
                  <a:gd name="T94" fmla="*/ 74 w 79"/>
                  <a:gd name="T95" fmla="*/ 27 h 69"/>
                  <a:gd name="T96" fmla="*/ 62 w 79"/>
                  <a:gd name="T97" fmla="*/ 39 h 69"/>
                  <a:gd name="T98" fmla="*/ 61 w 79"/>
                  <a:gd name="T99" fmla="*/ 41 h 69"/>
                  <a:gd name="T100" fmla="*/ 57 w 79"/>
                  <a:gd name="T101" fmla="*/ 43 h 69"/>
                  <a:gd name="T102" fmla="*/ 55 w 79"/>
                  <a:gd name="T103" fmla="*/ 44 h 69"/>
                  <a:gd name="T104" fmla="*/ 52 w 79"/>
                  <a:gd name="T105" fmla="*/ 41 h 69"/>
                  <a:gd name="T106" fmla="*/ 56 w 79"/>
                  <a:gd name="T107" fmla="*/ 35 h 69"/>
                  <a:gd name="T108" fmla="*/ 60 w 79"/>
                  <a:gd name="T109" fmla="*/ 35 h 69"/>
                  <a:gd name="T110" fmla="*/ 62 w 79"/>
                  <a:gd name="T111" fmla="*/ 39 h 69"/>
                  <a:gd name="T112" fmla="*/ 62 w 79"/>
                  <a:gd name="T11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 h="69">
                    <a:moveTo>
                      <a:pt x="74" y="27"/>
                    </a:moveTo>
                    <a:cubicBezTo>
                      <a:pt x="71" y="27"/>
                      <a:pt x="68" y="24"/>
                      <a:pt x="69" y="22"/>
                    </a:cubicBezTo>
                    <a:cubicBezTo>
                      <a:pt x="69" y="20"/>
                      <a:pt x="71" y="19"/>
                      <a:pt x="72" y="19"/>
                    </a:cubicBezTo>
                    <a:cubicBezTo>
                      <a:pt x="73" y="19"/>
                      <a:pt x="74" y="20"/>
                      <a:pt x="75" y="20"/>
                    </a:cubicBezTo>
                    <a:cubicBezTo>
                      <a:pt x="75" y="17"/>
                      <a:pt x="76" y="14"/>
                      <a:pt x="75" y="11"/>
                    </a:cubicBezTo>
                    <a:cubicBezTo>
                      <a:pt x="74" y="10"/>
                      <a:pt x="73" y="8"/>
                      <a:pt x="73" y="7"/>
                    </a:cubicBezTo>
                    <a:cubicBezTo>
                      <a:pt x="72" y="5"/>
                      <a:pt x="72" y="3"/>
                      <a:pt x="72" y="1"/>
                    </a:cubicBezTo>
                    <a:cubicBezTo>
                      <a:pt x="70" y="2"/>
                      <a:pt x="67" y="1"/>
                      <a:pt x="66" y="1"/>
                    </a:cubicBezTo>
                    <a:cubicBezTo>
                      <a:pt x="63" y="0"/>
                      <a:pt x="61" y="0"/>
                      <a:pt x="60" y="2"/>
                    </a:cubicBezTo>
                    <a:cubicBezTo>
                      <a:pt x="58" y="3"/>
                      <a:pt x="56" y="3"/>
                      <a:pt x="55" y="5"/>
                    </a:cubicBezTo>
                    <a:cubicBezTo>
                      <a:pt x="54" y="6"/>
                      <a:pt x="52" y="7"/>
                      <a:pt x="51" y="8"/>
                    </a:cubicBezTo>
                    <a:cubicBezTo>
                      <a:pt x="50" y="9"/>
                      <a:pt x="50" y="11"/>
                      <a:pt x="49" y="12"/>
                    </a:cubicBezTo>
                    <a:cubicBezTo>
                      <a:pt x="48" y="14"/>
                      <a:pt x="46" y="12"/>
                      <a:pt x="45" y="14"/>
                    </a:cubicBezTo>
                    <a:cubicBezTo>
                      <a:pt x="44" y="15"/>
                      <a:pt x="45" y="16"/>
                      <a:pt x="44" y="17"/>
                    </a:cubicBezTo>
                    <a:cubicBezTo>
                      <a:pt x="42" y="21"/>
                      <a:pt x="37" y="18"/>
                      <a:pt x="34" y="17"/>
                    </a:cubicBezTo>
                    <a:cubicBezTo>
                      <a:pt x="31" y="15"/>
                      <a:pt x="30" y="19"/>
                      <a:pt x="28" y="21"/>
                    </a:cubicBezTo>
                    <a:cubicBezTo>
                      <a:pt x="27" y="22"/>
                      <a:pt x="26" y="24"/>
                      <a:pt x="24" y="24"/>
                    </a:cubicBezTo>
                    <a:cubicBezTo>
                      <a:pt x="24" y="24"/>
                      <a:pt x="20" y="24"/>
                      <a:pt x="20" y="23"/>
                    </a:cubicBezTo>
                    <a:cubicBezTo>
                      <a:pt x="22" y="20"/>
                      <a:pt x="21" y="15"/>
                      <a:pt x="17" y="14"/>
                    </a:cubicBezTo>
                    <a:cubicBezTo>
                      <a:pt x="17" y="19"/>
                      <a:pt x="17" y="24"/>
                      <a:pt x="17" y="29"/>
                    </a:cubicBezTo>
                    <a:cubicBezTo>
                      <a:pt x="17" y="29"/>
                      <a:pt x="18" y="32"/>
                      <a:pt x="17" y="33"/>
                    </a:cubicBezTo>
                    <a:cubicBezTo>
                      <a:pt x="14" y="35"/>
                      <a:pt x="13" y="36"/>
                      <a:pt x="9" y="35"/>
                    </a:cubicBezTo>
                    <a:cubicBezTo>
                      <a:pt x="8" y="35"/>
                      <a:pt x="7" y="35"/>
                      <a:pt x="6" y="34"/>
                    </a:cubicBezTo>
                    <a:cubicBezTo>
                      <a:pt x="5" y="32"/>
                      <a:pt x="4" y="31"/>
                      <a:pt x="2" y="33"/>
                    </a:cubicBezTo>
                    <a:cubicBezTo>
                      <a:pt x="0" y="35"/>
                      <a:pt x="2" y="38"/>
                      <a:pt x="3" y="40"/>
                    </a:cubicBezTo>
                    <a:cubicBezTo>
                      <a:pt x="4" y="41"/>
                      <a:pt x="5" y="43"/>
                      <a:pt x="5" y="45"/>
                    </a:cubicBezTo>
                    <a:cubicBezTo>
                      <a:pt x="7" y="49"/>
                      <a:pt x="11" y="51"/>
                      <a:pt x="9" y="56"/>
                    </a:cubicBezTo>
                    <a:cubicBezTo>
                      <a:pt x="8" y="58"/>
                      <a:pt x="7" y="58"/>
                      <a:pt x="8" y="60"/>
                    </a:cubicBezTo>
                    <a:cubicBezTo>
                      <a:pt x="9" y="61"/>
                      <a:pt x="9" y="62"/>
                      <a:pt x="9" y="62"/>
                    </a:cubicBezTo>
                    <a:cubicBezTo>
                      <a:pt x="10" y="63"/>
                      <a:pt x="9" y="65"/>
                      <a:pt x="10" y="66"/>
                    </a:cubicBezTo>
                    <a:cubicBezTo>
                      <a:pt x="10" y="66"/>
                      <a:pt x="10" y="64"/>
                      <a:pt x="11" y="64"/>
                    </a:cubicBezTo>
                    <a:cubicBezTo>
                      <a:pt x="11" y="64"/>
                      <a:pt x="14" y="67"/>
                      <a:pt x="15" y="68"/>
                    </a:cubicBezTo>
                    <a:cubicBezTo>
                      <a:pt x="17" y="69"/>
                      <a:pt x="19" y="66"/>
                      <a:pt x="21" y="66"/>
                    </a:cubicBezTo>
                    <a:cubicBezTo>
                      <a:pt x="23" y="65"/>
                      <a:pt x="25" y="67"/>
                      <a:pt x="26" y="65"/>
                    </a:cubicBezTo>
                    <a:cubicBezTo>
                      <a:pt x="28" y="64"/>
                      <a:pt x="29" y="64"/>
                      <a:pt x="31" y="64"/>
                    </a:cubicBezTo>
                    <a:cubicBezTo>
                      <a:pt x="33" y="64"/>
                      <a:pt x="35" y="64"/>
                      <a:pt x="38" y="64"/>
                    </a:cubicBezTo>
                    <a:cubicBezTo>
                      <a:pt x="38" y="64"/>
                      <a:pt x="39" y="64"/>
                      <a:pt x="39" y="64"/>
                    </a:cubicBezTo>
                    <a:cubicBezTo>
                      <a:pt x="40" y="64"/>
                      <a:pt x="40" y="63"/>
                      <a:pt x="41" y="63"/>
                    </a:cubicBezTo>
                    <a:cubicBezTo>
                      <a:pt x="41" y="63"/>
                      <a:pt x="41" y="62"/>
                      <a:pt x="42" y="62"/>
                    </a:cubicBezTo>
                    <a:cubicBezTo>
                      <a:pt x="42" y="63"/>
                      <a:pt x="42" y="65"/>
                      <a:pt x="44" y="65"/>
                    </a:cubicBezTo>
                    <a:cubicBezTo>
                      <a:pt x="44" y="65"/>
                      <a:pt x="43" y="61"/>
                      <a:pt x="46" y="62"/>
                    </a:cubicBezTo>
                    <a:cubicBezTo>
                      <a:pt x="50" y="63"/>
                      <a:pt x="54" y="59"/>
                      <a:pt x="57" y="56"/>
                    </a:cubicBezTo>
                    <a:cubicBezTo>
                      <a:pt x="60" y="54"/>
                      <a:pt x="62" y="51"/>
                      <a:pt x="65" y="48"/>
                    </a:cubicBezTo>
                    <a:cubicBezTo>
                      <a:pt x="68" y="45"/>
                      <a:pt x="69" y="41"/>
                      <a:pt x="72" y="37"/>
                    </a:cubicBezTo>
                    <a:cubicBezTo>
                      <a:pt x="73" y="36"/>
                      <a:pt x="76" y="35"/>
                      <a:pt x="77" y="33"/>
                    </a:cubicBezTo>
                    <a:cubicBezTo>
                      <a:pt x="78" y="31"/>
                      <a:pt x="79" y="27"/>
                      <a:pt x="79" y="25"/>
                    </a:cubicBezTo>
                    <a:cubicBezTo>
                      <a:pt x="78" y="25"/>
                      <a:pt x="77" y="25"/>
                      <a:pt x="76" y="25"/>
                    </a:cubicBezTo>
                    <a:cubicBezTo>
                      <a:pt x="75" y="25"/>
                      <a:pt x="75" y="27"/>
                      <a:pt x="74" y="27"/>
                    </a:cubicBezTo>
                    <a:close/>
                    <a:moveTo>
                      <a:pt x="62" y="39"/>
                    </a:moveTo>
                    <a:cubicBezTo>
                      <a:pt x="61" y="39"/>
                      <a:pt x="61" y="41"/>
                      <a:pt x="61" y="41"/>
                    </a:cubicBezTo>
                    <a:cubicBezTo>
                      <a:pt x="60" y="43"/>
                      <a:pt x="58" y="42"/>
                      <a:pt x="57" y="43"/>
                    </a:cubicBezTo>
                    <a:cubicBezTo>
                      <a:pt x="56" y="43"/>
                      <a:pt x="56" y="44"/>
                      <a:pt x="55" y="44"/>
                    </a:cubicBezTo>
                    <a:cubicBezTo>
                      <a:pt x="53" y="44"/>
                      <a:pt x="52" y="42"/>
                      <a:pt x="52" y="41"/>
                    </a:cubicBezTo>
                    <a:cubicBezTo>
                      <a:pt x="51" y="39"/>
                      <a:pt x="54" y="36"/>
                      <a:pt x="56" y="35"/>
                    </a:cubicBezTo>
                    <a:cubicBezTo>
                      <a:pt x="57" y="34"/>
                      <a:pt x="59" y="34"/>
                      <a:pt x="60" y="35"/>
                    </a:cubicBezTo>
                    <a:cubicBezTo>
                      <a:pt x="61" y="36"/>
                      <a:pt x="64" y="38"/>
                      <a:pt x="62" y="39"/>
                    </a:cubicBezTo>
                    <a:cubicBezTo>
                      <a:pt x="61" y="39"/>
                      <a:pt x="63" y="38"/>
                      <a:pt x="62" y="39"/>
                    </a:cubicBezTo>
                    <a:close/>
                  </a:path>
                </a:pathLst>
              </a:custGeom>
              <a:grpFill/>
              <a:ln w="9525"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2" name="Freeform 739">
                <a:extLst>
                  <a:ext uri="{FF2B5EF4-FFF2-40B4-BE49-F238E27FC236}">
                    <a16:creationId xmlns:a16="http://schemas.microsoft.com/office/drawing/2014/main" id="{33415000-4A3C-B341-A141-BA2697DAAC4E}"/>
                  </a:ext>
                </a:extLst>
              </p:cNvPr>
              <p:cNvSpPr>
                <a:spLocks/>
              </p:cNvSpPr>
              <p:nvPr/>
            </p:nvSpPr>
            <p:spPr bwMode="auto">
              <a:xfrm>
                <a:off x="12919938" y="10399671"/>
                <a:ext cx="121018" cy="124237"/>
              </a:xfrm>
              <a:custGeom>
                <a:avLst/>
                <a:gdLst>
                  <a:gd name="T0" fmla="*/ 11 w 13"/>
                  <a:gd name="T1" fmla="*/ 4 h 13"/>
                  <a:gd name="T2" fmla="*/ 3 w 13"/>
                  <a:gd name="T3" fmla="*/ 3 h 13"/>
                  <a:gd name="T4" fmla="*/ 2 w 13"/>
                  <a:gd name="T5" fmla="*/ 9 h 13"/>
                  <a:gd name="T6" fmla="*/ 7 w 13"/>
                  <a:gd name="T7" fmla="*/ 9 h 13"/>
                  <a:gd name="T8" fmla="*/ 11 w 13"/>
                  <a:gd name="T9" fmla="*/ 4 h 13"/>
                  <a:gd name="T10" fmla="*/ 11 w 13"/>
                  <a:gd name="T11" fmla="*/ 4 h 13"/>
                </a:gdLst>
                <a:ahLst/>
                <a:cxnLst>
                  <a:cxn ang="0">
                    <a:pos x="T0" y="T1"/>
                  </a:cxn>
                  <a:cxn ang="0">
                    <a:pos x="T2" y="T3"/>
                  </a:cxn>
                  <a:cxn ang="0">
                    <a:pos x="T4" y="T5"/>
                  </a:cxn>
                  <a:cxn ang="0">
                    <a:pos x="T6" y="T7"/>
                  </a:cxn>
                  <a:cxn ang="0">
                    <a:pos x="T8" y="T9"/>
                  </a:cxn>
                  <a:cxn ang="0">
                    <a:pos x="T10" y="T11"/>
                  </a:cxn>
                </a:cxnLst>
                <a:rect l="0" t="0" r="r" b="b"/>
                <a:pathLst>
                  <a:path w="13" h="13">
                    <a:moveTo>
                      <a:pt x="11" y="4"/>
                    </a:moveTo>
                    <a:cubicBezTo>
                      <a:pt x="9" y="2"/>
                      <a:pt x="5" y="0"/>
                      <a:pt x="3" y="3"/>
                    </a:cubicBezTo>
                    <a:cubicBezTo>
                      <a:pt x="1" y="5"/>
                      <a:pt x="0" y="7"/>
                      <a:pt x="2" y="9"/>
                    </a:cubicBezTo>
                    <a:cubicBezTo>
                      <a:pt x="4" y="13"/>
                      <a:pt x="5" y="9"/>
                      <a:pt x="7" y="9"/>
                    </a:cubicBezTo>
                    <a:cubicBezTo>
                      <a:pt x="10" y="9"/>
                      <a:pt x="13" y="5"/>
                      <a:pt x="11" y="4"/>
                    </a:cubicBezTo>
                    <a:cubicBezTo>
                      <a:pt x="10" y="3"/>
                      <a:pt x="12" y="4"/>
                      <a:pt x="11"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3" name="Freeform 740">
                <a:extLst>
                  <a:ext uri="{FF2B5EF4-FFF2-40B4-BE49-F238E27FC236}">
                    <a16:creationId xmlns:a16="http://schemas.microsoft.com/office/drawing/2014/main" id="{296AE222-D986-C040-8098-CF31E687DAE9}"/>
                  </a:ext>
                </a:extLst>
              </p:cNvPr>
              <p:cNvSpPr>
                <a:spLocks/>
              </p:cNvSpPr>
              <p:nvPr/>
            </p:nvSpPr>
            <p:spPr bwMode="auto">
              <a:xfrm>
                <a:off x="12263888" y="9240129"/>
                <a:ext cx="47770" cy="76452"/>
              </a:xfrm>
              <a:custGeom>
                <a:avLst/>
                <a:gdLst>
                  <a:gd name="T0" fmla="*/ 2 w 5"/>
                  <a:gd name="T1" fmla="*/ 5 h 8"/>
                  <a:gd name="T2" fmla="*/ 5 w 5"/>
                  <a:gd name="T3" fmla="*/ 1 h 8"/>
                  <a:gd name="T4" fmla="*/ 1 w 5"/>
                  <a:gd name="T5" fmla="*/ 3 h 8"/>
                  <a:gd name="T6" fmla="*/ 0 w 5"/>
                  <a:gd name="T7" fmla="*/ 8 h 8"/>
                  <a:gd name="T8" fmla="*/ 2 w 5"/>
                  <a:gd name="T9" fmla="*/ 5 h 8"/>
                </a:gdLst>
                <a:ahLst/>
                <a:cxnLst>
                  <a:cxn ang="0">
                    <a:pos x="T0" y="T1"/>
                  </a:cxn>
                  <a:cxn ang="0">
                    <a:pos x="T2" y="T3"/>
                  </a:cxn>
                  <a:cxn ang="0">
                    <a:pos x="T4" y="T5"/>
                  </a:cxn>
                  <a:cxn ang="0">
                    <a:pos x="T6" y="T7"/>
                  </a:cxn>
                  <a:cxn ang="0">
                    <a:pos x="T8" y="T9"/>
                  </a:cxn>
                </a:cxnLst>
                <a:rect l="0" t="0" r="r" b="b"/>
                <a:pathLst>
                  <a:path w="5" h="8">
                    <a:moveTo>
                      <a:pt x="2" y="5"/>
                    </a:moveTo>
                    <a:cubicBezTo>
                      <a:pt x="2" y="4"/>
                      <a:pt x="4" y="2"/>
                      <a:pt x="5" y="1"/>
                    </a:cubicBezTo>
                    <a:cubicBezTo>
                      <a:pt x="4" y="0"/>
                      <a:pt x="2" y="2"/>
                      <a:pt x="1" y="3"/>
                    </a:cubicBezTo>
                    <a:cubicBezTo>
                      <a:pt x="0" y="4"/>
                      <a:pt x="0" y="6"/>
                      <a:pt x="0" y="8"/>
                    </a:cubicBezTo>
                    <a:cubicBezTo>
                      <a:pt x="2" y="7"/>
                      <a:pt x="2" y="6"/>
                      <a:pt x="2"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4" name="Freeform 741">
                <a:extLst>
                  <a:ext uri="{FF2B5EF4-FFF2-40B4-BE49-F238E27FC236}">
                    <a16:creationId xmlns:a16="http://schemas.microsoft.com/office/drawing/2014/main" id="{DB6F0340-4F23-7F4D-B17F-BFC7DB593DAB}"/>
                  </a:ext>
                </a:extLst>
              </p:cNvPr>
              <p:cNvSpPr>
                <a:spLocks/>
              </p:cNvSpPr>
              <p:nvPr/>
            </p:nvSpPr>
            <p:spPr bwMode="auto">
              <a:xfrm>
                <a:off x="12219300" y="8857867"/>
                <a:ext cx="324842" cy="420492"/>
              </a:xfrm>
              <a:custGeom>
                <a:avLst/>
                <a:gdLst>
                  <a:gd name="T0" fmla="*/ 11 w 35"/>
                  <a:gd name="T1" fmla="*/ 44 h 45"/>
                  <a:gd name="T2" fmla="*/ 15 w 35"/>
                  <a:gd name="T3" fmla="*/ 41 h 45"/>
                  <a:gd name="T4" fmla="*/ 16 w 35"/>
                  <a:gd name="T5" fmla="*/ 43 h 45"/>
                  <a:gd name="T6" fmla="*/ 23 w 35"/>
                  <a:gd name="T7" fmla="*/ 37 h 45"/>
                  <a:gd name="T8" fmla="*/ 25 w 35"/>
                  <a:gd name="T9" fmla="*/ 26 h 45"/>
                  <a:gd name="T10" fmla="*/ 31 w 35"/>
                  <a:gd name="T11" fmla="*/ 16 h 45"/>
                  <a:gd name="T12" fmla="*/ 33 w 35"/>
                  <a:gd name="T13" fmla="*/ 8 h 45"/>
                  <a:gd name="T14" fmla="*/ 35 w 35"/>
                  <a:gd name="T15" fmla="*/ 2 h 45"/>
                  <a:gd name="T16" fmla="*/ 29 w 35"/>
                  <a:gd name="T17" fmla="*/ 1 h 45"/>
                  <a:gd name="T18" fmla="*/ 26 w 35"/>
                  <a:gd name="T19" fmla="*/ 2 h 45"/>
                  <a:gd name="T20" fmla="*/ 25 w 35"/>
                  <a:gd name="T21" fmla="*/ 6 h 45"/>
                  <a:gd name="T22" fmla="*/ 20 w 35"/>
                  <a:gd name="T23" fmla="*/ 10 h 45"/>
                  <a:gd name="T24" fmla="*/ 10 w 35"/>
                  <a:gd name="T25" fmla="*/ 8 h 45"/>
                  <a:gd name="T26" fmla="*/ 13 w 35"/>
                  <a:gd name="T27" fmla="*/ 13 h 45"/>
                  <a:gd name="T28" fmla="*/ 14 w 35"/>
                  <a:gd name="T29" fmla="*/ 19 h 45"/>
                  <a:gd name="T30" fmla="*/ 15 w 35"/>
                  <a:gd name="T31" fmla="*/ 22 h 45"/>
                  <a:gd name="T32" fmla="*/ 16 w 35"/>
                  <a:gd name="T33" fmla="*/ 25 h 45"/>
                  <a:gd name="T34" fmla="*/ 15 w 35"/>
                  <a:gd name="T35" fmla="*/ 32 h 45"/>
                  <a:gd name="T36" fmla="*/ 13 w 35"/>
                  <a:gd name="T37" fmla="*/ 31 h 45"/>
                  <a:gd name="T38" fmla="*/ 10 w 35"/>
                  <a:gd name="T39" fmla="*/ 32 h 45"/>
                  <a:gd name="T40" fmla="*/ 8 w 35"/>
                  <a:gd name="T41" fmla="*/ 29 h 45"/>
                  <a:gd name="T42" fmla="*/ 6 w 35"/>
                  <a:gd name="T43" fmla="*/ 32 h 45"/>
                  <a:gd name="T44" fmla="*/ 4 w 35"/>
                  <a:gd name="T45" fmla="*/ 32 h 45"/>
                  <a:gd name="T46" fmla="*/ 3 w 35"/>
                  <a:gd name="T47" fmla="*/ 35 h 45"/>
                  <a:gd name="T48" fmla="*/ 0 w 35"/>
                  <a:gd name="T49" fmla="*/ 39 h 45"/>
                  <a:gd name="T50" fmla="*/ 5 w 35"/>
                  <a:gd name="T51" fmla="*/ 45 h 45"/>
                  <a:gd name="T52" fmla="*/ 8 w 35"/>
                  <a:gd name="T53" fmla="*/ 42 h 45"/>
                  <a:gd name="T54" fmla="*/ 11 w 35"/>
                  <a:gd name="T55" fmla="*/ 44 h 45"/>
                  <a:gd name="T56" fmla="*/ 11 w 35"/>
                  <a:gd name="T57" fmla="*/ 44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45">
                    <a:moveTo>
                      <a:pt x="11" y="44"/>
                    </a:moveTo>
                    <a:cubicBezTo>
                      <a:pt x="12" y="44"/>
                      <a:pt x="14" y="42"/>
                      <a:pt x="15" y="41"/>
                    </a:cubicBezTo>
                    <a:cubicBezTo>
                      <a:pt x="17" y="40"/>
                      <a:pt x="15" y="43"/>
                      <a:pt x="16" y="43"/>
                    </a:cubicBezTo>
                    <a:cubicBezTo>
                      <a:pt x="16" y="43"/>
                      <a:pt x="23" y="39"/>
                      <a:pt x="23" y="37"/>
                    </a:cubicBezTo>
                    <a:cubicBezTo>
                      <a:pt x="23" y="33"/>
                      <a:pt x="23" y="29"/>
                      <a:pt x="25" y="26"/>
                    </a:cubicBezTo>
                    <a:cubicBezTo>
                      <a:pt x="27" y="22"/>
                      <a:pt x="30" y="19"/>
                      <a:pt x="31" y="16"/>
                    </a:cubicBezTo>
                    <a:cubicBezTo>
                      <a:pt x="32" y="13"/>
                      <a:pt x="32" y="11"/>
                      <a:pt x="33" y="8"/>
                    </a:cubicBezTo>
                    <a:cubicBezTo>
                      <a:pt x="33" y="6"/>
                      <a:pt x="35" y="4"/>
                      <a:pt x="35" y="2"/>
                    </a:cubicBezTo>
                    <a:cubicBezTo>
                      <a:pt x="33" y="2"/>
                      <a:pt x="31" y="0"/>
                      <a:pt x="29" y="1"/>
                    </a:cubicBezTo>
                    <a:cubicBezTo>
                      <a:pt x="28" y="1"/>
                      <a:pt x="26" y="1"/>
                      <a:pt x="26" y="2"/>
                    </a:cubicBezTo>
                    <a:cubicBezTo>
                      <a:pt x="25" y="4"/>
                      <a:pt x="25" y="5"/>
                      <a:pt x="25" y="6"/>
                    </a:cubicBezTo>
                    <a:cubicBezTo>
                      <a:pt x="24" y="9"/>
                      <a:pt x="23" y="10"/>
                      <a:pt x="20" y="10"/>
                    </a:cubicBezTo>
                    <a:cubicBezTo>
                      <a:pt x="17" y="9"/>
                      <a:pt x="13" y="8"/>
                      <a:pt x="10" y="8"/>
                    </a:cubicBezTo>
                    <a:cubicBezTo>
                      <a:pt x="10" y="10"/>
                      <a:pt x="9" y="14"/>
                      <a:pt x="13" y="13"/>
                    </a:cubicBezTo>
                    <a:cubicBezTo>
                      <a:pt x="17" y="11"/>
                      <a:pt x="14" y="17"/>
                      <a:pt x="14" y="19"/>
                    </a:cubicBezTo>
                    <a:cubicBezTo>
                      <a:pt x="14" y="20"/>
                      <a:pt x="14" y="21"/>
                      <a:pt x="15" y="22"/>
                    </a:cubicBezTo>
                    <a:cubicBezTo>
                      <a:pt x="16" y="23"/>
                      <a:pt x="16" y="24"/>
                      <a:pt x="16" y="25"/>
                    </a:cubicBezTo>
                    <a:cubicBezTo>
                      <a:pt x="16" y="27"/>
                      <a:pt x="16" y="30"/>
                      <a:pt x="15" y="32"/>
                    </a:cubicBezTo>
                    <a:cubicBezTo>
                      <a:pt x="15" y="33"/>
                      <a:pt x="13" y="31"/>
                      <a:pt x="13" y="31"/>
                    </a:cubicBezTo>
                    <a:cubicBezTo>
                      <a:pt x="11" y="31"/>
                      <a:pt x="11" y="33"/>
                      <a:pt x="10" y="32"/>
                    </a:cubicBezTo>
                    <a:cubicBezTo>
                      <a:pt x="10" y="31"/>
                      <a:pt x="9" y="30"/>
                      <a:pt x="8" y="29"/>
                    </a:cubicBezTo>
                    <a:cubicBezTo>
                      <a:pt x="7" y="29"/>
                      <a:pt x="7" y="31"/>
                      <a:pt x="6" y="32"/>
                    </a:cubicBezTo>
                    <a:cubicBezTo>
                      <a:pt x="6" y="32"/>
                      <a:pt x="4" y="32"/>
                      <a:pt x="4" y="32"/>
                    </a:cubicBezTo>
                    <a:cubicBezTo>
                      <a:pt x="2" y="32"/>
                      <a:pt x="3" y="34"/>
                      <a:pt x="3" y="35"/>
                    </a:cubicBezTo>
                    <a:cubicBezTo>
                      <a:pt x="4" y="38"/>
                      <a:pt x="3" y="37"/>
                      <a:pt x="0" y="39"/>
                    </a:cubicBezTo>
                    <a:cubicBezTo>
                      <a:pt x="2" y="41"/>
                      <a:pt x="4" y="42"/>
                      <a:pt x="5" y="45"/>
                    </a:cubicBezTo>
                    <a:cubicBezTo>
                      <a:pt x="6" y="44"/>
                      <a:pt x="7" y="43"/>
                      <a:pt x="8" y="42"/>
                    </a:cubicBezTo>
                    <a:cubicBezTo>
                      <a:pt x="10" y="41"/>
                      <a:pt x="10" y="43"/>
                      <a:pt x="11" y="44"/>
                    </a:cubicBezTo>
                    <a:cubicBezTo>
                      <a:pt x="12" y="44"/>
                      <a:pt x="10" y="43"/>
                      <a:pt x="11" y="4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5" name="Freeform 742">
                <a:extLst>
                  <a:ext uri="{FF2B5EF4-FFF2-40B4-BE49-F238E27FC236}">
                    <a16:creationId xmlns:a16="http://schemas.microsoft.com/office/drawing/2014/main" id="{D077FE35-B410-D04A-AD67-5B613F188040}"/>
                  </a:ext>
                </a:extLst>
              </p:cNvPr>
              <p:cNvSpPr>
                <a:spLocks/>
              </p:cNvSpPr>
              <p:nvPr/>
            </p:nvSpPr>
            <p:spPr bwMode="auto">
              <a:xfrm>
                <a:off x="12359429" y="8520197"/>
                <a:ext cx="595542" cy="420492"/>
              </a:xfrm>
              <a:custGeom>
                <a:avLst/>
                <a:gdLst>
                  <a:gd name="T0" fmla="*/ 12 w 64"/>
                  <a:gd name="T1" fmla="*/ 37 h 45"/>
                  <a:gd name="T2" fmla="*/ 17 w 64"/>
                  <a:gd name="T3" fmla="*/ 37 h 45"/>
                  <a:gd name="T4" fmla="*/ 20 w 64"/>
                  <a:gd name="T5" fmla="*/ 38 h 45"/>
                  <a:gd name="T6" fmla="*/ 21 w 64"/>
                  <a:gd name="T7" fmla="*/ 33 h 45"/>
                  <a:gd name="T8" fmla="*/ 25 w 64"/>
                  <a:gd name="T9" fmla="*/ 30 h 45"/>
                  <a:gd name="T10" fmla="*/ 30 w 64"/>
                  <a:gd name="T11" fmla="*/ 33 h 45"/>
                  <a:gd name="T12" fmla="*/ 36 w 64"/>
                  <a:gd name="T13" fmla="*/ 34 h 45"/>
                  <a:gd name="T14" fmla="*/ 39 w 64"/>
                  <a:gd name="T15" fmla="*/ 34 h 45"/>
                  <a:gd name="T16" fmla="*/ 41 w 64"/>
                  <a:gd name="T17" fmla="*/ 30 h 45"/>
                  <a:gd name="T18" fmla="*/ 45 w 64"/>
                  <a:gd name="T19" fmla="*/ 31 h 45"/>
                  <a:gd name="T20" fmla="*/ 50 w 64"/>
                  <a:gd name="T21" fmla="*/ 31 h 45"/>
                  <a:gd name="T22" fmla="*/ 55 w 64"/>
                  <a:gd name="T23" fmla="*/ 29 h 45"/>
                  <a:gd name="T24" fmla="*/ 60 w 64"/>
                  <a:gd name="T25" fmla="*/ 30 h 45"/>
                  <a:gd name="T26" fmla="*/ 58 w 64"/>
                  <a:gd name="T27" fmla="*/ 24 h 45"/>
                  <a:gd name="T28" fmla="*/ 55 w 64"/>
                  <a:gd name="T29" fmla="*/ 20 h 45"/>
                  <a:gd name="T30" fmla="*/ 51 w 64"/>
                  <a:gd name="T31" fmla="*/ 16 h 45"/>
                  <a:gd name="T32" fmla="*/ 47 w 64"/>
                  <a:gd name="T33" fmla="*/ 13 h 45"/>
                  <a:gd name="T34" fmla="*/ 46 w 64"/>
                  <a:gd name="T35" fmla="*/ 12 h 45"/>
                  <a:gd name="T36" fmla="*/ 44 w 64"/>
                  <a:gd name="T37" fmla="*/ 12 h 45"/>
                  <a:gd name="T38" fmla="*/ 44 w 64"/>
                  <a:gd name="T39" fmla="*/ 6 h 45"/>
                  <a:gd name="T40" fmla="*/ 41 w 64"/>
                  <a:gd name="T41" fmla="*/ 1 h 45"/>
                  <a:gd name="T42" fmla="*/ 41 w 64"/>
                  <a:gd name="T43" fmla="*/ 0 h 45"/>
                  <a:gd name="T44" fmla="*/ 38 w 64"/>
                  <a:gd name="T45" fmla="*/ 0 h 45"/>
                  <a:gd name="T46" fmla="*/ 35 w 64"/>
                  <a:gd name="T47" fmla="*/ 3 h 45"/>
                  <a:gd name="T48" fmla="*/ 26 w 64"/>
                  <a:gd name="T49" fmla="*/ 10 h 45"/>
                  <a:gd name="T50" fmla="*/ 22 w 64"/>
                  <a:gd name="T51" fmla="*/ 11 h 45"/>
                  <a:gd name="T52" fmla="*/ 19 w 64"/>
                  <a:gd name="T53" fmla="*/ 15 h 45"/>
                  <a:gd name="T54" fmla="*/ 13 w 64"/>
                  <a:gd name="T55" fmla="*/ 17 h 45"/>
                  <a:gd name="T56" fmla="*/ 9 w 64"/>
                  <a:gd name="T57" fmla="*/ 17 h 45"/>
                  <a:gd name="T58" fmla="*/ 6 w 64"/>
                  <a:gd name="T59" fmla="*/ 18 h 45"/>
                  <a:gd name="T60" fmla="*/ 3 w 64"/>
                  <a:gd name="T61" fmla="*/ 23 h 45"/>
                  <a:gd name="T62" fmla="*/ 4 w 64"/>
                  <a:gd name="T63" fmla="*/ 34 h 45"/>
                  <a:gd name="T64" fmla="*/ 6 w 64"/>
                  <a:gd name="T65" fmla="*/ 39 h 45"/>
                  <a:gd name="T66" fmla="*/ 9 w 64"/>
                  <a:gd name="T67" fmla="*/ 45 h 45"/>
                  <a:gd name="T68" fmla="*/ 12 w 64"/>
                  <a:gd name="T69"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45">
                    <a:moveTo>
                      <a:pt x="12" y="37"/>
                    </a:moveTo>
                    <a:cubicBezTo>
                      <a:pt x="13" y="37"/>
                      <a:pt x="16" y="36"/>
                      <a:pt x="17" y="37"/>
                    </a:cubicBezTo>
                    <a:cubicBezTo>
                      <a:pt x="17" y="38"/>
                      <a:pt x="20" y="38"/>
                      <a:pt x="20" y="38"/>
                    </a:cubicBezTo>
                    <a:cubicBezTo>
                      <a:pt x="21" y="36"/>
                      <a:pt x="20" y="34"/>
                      <a:pt x="21" y="33"/>
                    </a:cubicBezTo>
                    <a:cubicBezTo>
                      <a:pt x="21" y="32"/>
                      <a:pt x="23" y="29"/>
                      <a:pt x="25" y="30"/>
                    </a:cubicBezTo>
                    <a:cubicBezTo>
                      <a:pt x="27" y="30"/>
                      <a:pt x="28" y="32"/>
                      <a:pt x="30" y="33"/>
                    </a:cubicBezTo>
                    <a:cubicBezTo>
                      <a:pt x="32" y="34"/>
                      <a:pt x="34" y="34"/>
                      <a:pt x="36" y="34"/>
                    </a:cubicBezTo>
                    <a:cubicBezTo>
                      <a:pt x="37" y="34"/>
                      <a:pt x="39" y="35"/>
                      <a:pt x="39" y="34"/>
                    </a:cubicBezTo>
                    <a:cubicBezTo>
                      <a:pt x="40" y="33"/>
                      <a:pt x="40" y="29"/>
                      <a:pt x="41" y="30"/>
                    </a:cubicBezTo>
                    <a:cubicBezTo>
                      <a:pt x="43" y="31"/>
                      <a:pt x="43" y="31"/>
                      <a:pt x="45" y="31"/>
                    </a:cubicBezTo>
                    <a:cubicBezTo>
                      <a:pt x="47" y="30"/>
                      <a:pt x="48" y="31"/>
                      <a:pt x="50" y="31"/>
                    </a:cubicBezTo>
                    <a:cubicBezTo>
                      <a:pt x="52" y="31"/>
                      <a:pt x="53" y="28"/>
                      <a:pt x="55" y="29"/>
                    </a:cubicBezTo>
                    <a:cubicBezTo>
                      <a:pt x="56" y="29"/>
                      <a:pt x="58" y="31"/>
                      <a:pt x="60" y="30"/>
                    </a:cubicBezTo>
                    <a:cubicBezTo>
                      <a:pt x="64" y="28"/>
                      <a:pt x="59" y="26"/>
                      <a:pt x="58" y="24"/>
                    </a:cubicBezTo>
                    <a:cubicBezTo>
                      <a:pt x="57" y="22"/>
                      <a:pt x="57" y="21"/>
                      <a:pt x="55" y="20"/>
                    </a:cubicBezTo>
                    <a:cubicBezTo>
                      <a:pt x="53" y="19"/>
                      <a:pt x="52" y="18"/>
                      <a:pt x="51" y="16"/>
                    </a:cubicBezTo>
                    <a:cubicBezTo>
                      <a:pt x="51" y="14"/>
                      <a:pt x="49" y="14"/>
                      <a:pt x="47" y="13"/>
                    </a:cubicBezTo>
                    <a:cubicBezTo>
                      <a:pt x="47" y="13"/>
                      <a:pt x="47" y="12"/>
                      <a:pt x="46" y="12"/>
                    </a:cubicBezTo>
                    <a:cubicBezTo>
                      <a:pt x="46" y="12"/>
                      <a:pt x="44" y="12"/>
                      <a:pt x="44" y="12"/>
                    </a:cubicBezTo>
                    <a:cubicBezTo>
                      <a:pt x="43" y="11"/>
                      <a:pt x="44" y="7"/>
                      <a:pt x="44" y="6"/>
                    </a:cubicBezTo>
                    <a:cubicBezTo>
                      <a:pt x="44" y="4"/>
                      <a:pt x="42" y="3"/>
                      <a:pt x="41" y="1"/>
                    </a:cubicBezTo>
                    <a:cubicBezTo>
                      <a:pt x="41" y="1"/>
                      <a:pt x="41" y="0"/>
                      <a:pt x="41" y="0"/>
                    </a:cubicBezTo>
                    <a:cubicBezTo>
                      <a:pt x="40" y="0"/>
                      <a:pt x="39" y="0"/>
                      <a:pt x="38" y="0"/>
                    </a:cubicBezTo>
                    <a:cubicBezTo>
                      <a:pt x="36" y="1"/>
                      <a:pt x="36" y="1"/>
                      <a:pt x="35" y="3"/>
                    </a:cubicBezTo>
                    <a:cubicBezTo>
                      <a:pt x="35" y="6"/>
                      <a:pt x="28" y="10"/>
                      <a:pt x="26" y="10"/>
                    </a:cubicBezTo>
                    <a:cubicBezTo>
                      <a:pt x="25" y="10"/>
                      <a:pt x="21" y="10"/>
                      <a:pt x="22" y="11"/>
                    </a:cubicBezTo>
                    <a:cubicBezTo>
                      <a:pt x="23" y="13"/>
                      <a:pt x="20" y="15"/>
                      <a:pt x="19" y="15"/>
                    </a:cubicBezTo>
                    <a:cubicBezTo>
                      <a:pt x="17" y="16"/>
                      <a:pt x="15" y="17"/>
                      <a:pt x="13" y="17"/>
                    </a:cubicBezTo>
                    <a:cubicBezTo>
                      <a:pt x="11" y="18"/>
                      <a:pt x="11" y="16"/>
                      <a:pt x="9" y="17"/>
                    </a:cubicBezTo>
                    <a:cubicBezTo>
                      <a:pt x="7" y="18"/>
                      <a:pt x="6" y="17"/>
                      <a:pt x="6" y="18"/>
                    </a:cubicBezTo>
                    <a:cubicBezTo>
                      <a:pt x="5" y="20"/>
                      <a:pt x="4" y="22"/>
                      <a:pt x="3" y="23"/>
                    </a:cubicBezTo>
                    <a:cubicBezTo>
                      <a:pt x="0" y="27"/>
                      <a:pt x="2" y="30"/>
                      <a:pt x="4" y="34"/>
                    </a:cubicBezTo>
                    <a:cubicBezTo>
                      <a:pt x="5" y="36"/>
                      <a:pt x="5" y="37"/>
                      <a:pt x="6" y="39"/>
                    </a:cubicBezTo>
                    <a:cubicBezTo>
                      <a:pt x="8" y="41"/>
                      <a:pt x="9" y="42"/>
                      <a:pt x="9" y="45"/>
                    </a:cubicBezTo>
                    <a:cubicBezTo>
                      <a:pt x="9" y="44"/>
                      <a:pt x="10" y="37"/>
                      <a:pt x="12" y="3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6" name="Freeform 743">
                <a:extLst>
                  <a:ext uri="{FF2B5EF4-FFF2-40B4-BE49-F238E27FC236}">
                    <a16:creationId xmlns:a16="http://schemas.microsoft.com/office/drawing/2014/main" id="{795956D7-F719-F147-815C-1855236AD7F4}"/>
                  </a:ext>
                </a:extLst>
              </p:cNvPr>
              <p:cNvSpPr>
                <a:spLocks/>
              </p:cNvSpPr>
              <p:nvPr/>
            </p:nvSpPr>
            <p:spPr bwMode="auto">
              <a:xfrm>
                <a:off x="11697008" y="7921315"/>
                <a:ext cx="1092359" cy="767717"/>
              </a:xfrm>
              <a:custGeom>
                <a:avLst/>
                <a:gdLst>
                  <a:gd name="T0" fmla="*/ 83 w 117"/>
                  <a:gd name="T1" fmla="*/ 82 h 82"/>
                  <a:gd name="T2" fmla="*/ 93 w 117"/>
                  <a:gd name="T3" fmla="*/ 76 h 82"/>
                  <a:gd name="T4" fmla="*/ 105 w 117"/>
                  <a:gd name="T5" fmla="*/ 68 h 82"/>
                  <a:gd name="T6" fmla="*/ 112 w 117"/>
                  <a:gd name="T7" fmla="*/ 64 h 82"/>
                  <a:gd name="T8" fmla="*/ 107 w 117"/>
                  <a:gd name="T9" fmla="*/ 55 h 82"/>
                  <a:gd name="T10" fmla="*/ 110 w 117"/>
                  <a:gd name="T11" fmla="*/ 46 h 82"/>
                  <a:gd name="T12" fmla="*/ 114 w 117"/>
                  <a:gd name="T13" fmla="*/ 40 h 82"/>
                  <a:gd name="T14" fmla="*/ 117 w 117"/>
                  <a:gd name="T15" fmla="*/ 21 h 82"/>
                  <a:gd name="T16" fmla="*/ 81 w 117"/>
                  <a:gd name="T17" fmla="*/ 1 h 82"/>
                  <a:gd name="T18" fmla="*/ 75 w 117"/>
                  <a:gd name="T19" fmla="*/ 2 h 82"/>
                  <a:gd name="T20" fmla="*/ 67 w 117"/>
                  <a:gd name="T21" fmla="*/ 2 h 82"/>
                  <a:gd name="T22" fmla="*/ 59 w 117"/>
                  <a:gd name="T23" fmla="*/ 1 h 82"/>
                  <a:gd name="T24" fmla="*/ 29 w 117"/>
                  <a:gd name="T25" fmla="*/ 21 h 82"/>
                  <a:gd name="T26" fmla="*/ 22 w 117"/>
                  <a:gd name="T27" fmla="*/ 25 h 82"/>
                  <a:gd name="T28" fmla="*/ 19 w 117"/>
                  <a:gd name="T29" fmla="*/ 42 h 82"/>
                  <a:gd name="T30" fmla="*/ 8 w 117"/>
                  <a:gd name="T31" fmla="*/ 43 h 82"/>
                  <a:gd name="T32" fmla="*/ 5 w 117"/>
                  <a:gd name="T33" fmla="*/ 51 h 82"/>
                  <a:gd name="T34" fmla="*/ 11 w 117"/>
                  <a:gd name="T35" fmla="*/ 56 h 82"/>
                  <a:gd name="T36" fmla="*/ 19 w 117"/>
                  <a:gd name="T37" fmla="*/ 62 h 82"/>
                  <a:gd name="T38" fmla="*/ 21 w 117"/>
                  <a:gd name="T39" fmla="*/ 55 h 82"/>
                  <a:gd name="T40" fmla="*/ 28 w 117"/>
                  <a:gd name="T41" fmla="*/ 50 h 82"/>
                  <a:gd name="T42" fmla="*/ 35 w 117"/>
                  <a:gd name="T43" fmla="*/ 53 h 82"/>
                  <a:gd name="T44" fmla="*/ 46 w 117"/>
                  <a:gd name="T45" fmla="*/ 55 h 82"/>
                  <a:gd name="T46" fmla="*/ 64 w 117"/>
                  <a:gd name="T47" fmla="*/ 53 h 82"/>
                  <a:gd name="T48" fmla="*/ 68 w 117"/>
                  <a:gd name="T49" fmla="*/ 47 h 82"/>
                  <a:gd name="T50" fmla="*/ 77 w 117"/>
                  <a:gd name="T51" fmla="*/ 31 h 82"/>
                  <a:gd name="T52" fmla="*/ 79 w 117"/>
                  <a:gd name="T53" fmla="*/ 16 h 82"/>
                  <a:gd name="T54" fmla="*/ 75 w 117"/>
                  <a:gd name="T55" fmla="*/ 2 h 82"/>
                  <a:gd name="T56" fmla="*/ 78 w 117"/>
                  <a:gd name="T57" fmla="*/ 16 h 82"/>
                  <a:gd name="T58" fmla="*/ 77 w 117"/>
                  <a:gd name="T59" fmla="*/ 35 h 82"/>
                  <a:gd name="T60" fmla="*/ 68 w 117"/>
                  <a:gd name="T61" fmla="*/ 46 h 82"/>
                  <a:gd name="T62" fmla="*/ 72 w 117"/>
                  <a:gd name="T63" fmla="*/ 55 h 82"/>
                  <a:gd name="T64" fmla="*/ 75 w 117"/>
                  <a:gd name="T65" fmla="*/ 65 h 82"/>
                  <a:gd name="T66" fmla="*/ 72 w 117"/>
                  <a:gd name="T67" fmla="*/ 74 h 82"/>
                  <a:gd name="T68" fmla="*/ 77 w 117"/>
                  <a:gd name="T69" fmla="*/ 81 h 82"/>
                  <a:gd name="T70" fmla="*/ 80 w 117"/>
                  <a:gd name="T71"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7" h="82">
                    <a:moveTo>
                      <a:pt x="80" y="81"/>
                    </a:moveTo>
                    <a:cubicBezTo>
                      <a:pt x="81" y="80"/>
                      <a:pt x="82" y="82"/>
                      <a:pt x="83" y="82"/>
                    </a:cubicBezTo>
                    <a:cubicBezTo>
                      <a:pt x="85" y="81"/>
                      <a:pt x="87" y="80"/>
                      <a:pt x="89" y="79"/>
                    </a:cubicBezTo>
                    <a:cubicBezTo>
                      <a:pt x="90" y="79"/>
                      <a:pt x="93" y="78"/>
                      <a:pt x="93" y="76"/>
                    </a:cubicBezTo>
                    <a:cubicBezTo>
                      <a:pt x="93" y="74"/>
                      <a:pt x="94" y="75"/>
                      <a:pt x="96" y="74"/>
                    </a:cubicBezTo>
                    <a:cubicBezTo>
                      <a:pt x="99" y="74"/>
                      <a:pt x="103" y="71"/>
                      <a:pt x="105" y="68"/>
                    </a:cubicBezTo>
                    <a:cubicBezTo>
                      <a:pt x="106" y="67"/>
                      <a:pt x="106" y="66"/>
                      <a:pt x="107" y="65"/>
                    </a:cubicBezTo>
                    <a:cubicBezTo>
                      <a:pt x="108" y="64"/>
                      <a:pt x="110" y="64"/>
                      <a:pt x="112" y="64"/>
                    </a:cubicBezTo>
                    <a:cubicBezTo>
                      <a:pt x="112" y="62"/>
                      <a:pt x="110" y="61"/>
                      <a:pt x="109" y="59"/>
                    </a:cubicBezTo>
                    <a:cubicBezTo>
                      <a:pt x="109" y="58"/>
                      <a:pt x="110" y="55"/>
                      <a:pt x="107" y="55"/>
                    </a:cubicBezTo>
                    <a:cubicBezTo>
                      <a:pt x="106" y="55"/>
                      <a:pt x="109" y="53"/>
                      <a:pt x="108" y="52"/>
                    </a:cubicBezTo>
                    <a:cubicBezTo>
                      <a:pt x="108" y="49"/>
                      <a:pt x="109" y="48"/>
                      <a:pt x="110" y="46"/>
                    </a:cubicBezTo>
                    <a:cubicBezTo>
                      <a:pt x="110" y="44"/>
                      <a:pt x="112" y="44"/>
                      <a:pt x="112" y="42"/>
                    </a:cubicBezTo>
                    <a:cubicBezTo>
                      <a:pt x="112" y="41"/>
                      <a:pt x="113" y="40"/>
                      <a:pt x="114" y="40"/>
                    </a:cubicBezTo>
                    <a:cubicBezTo>
                      <a:pt x="117" y="40"/>
                      <a:pt x="117" y="40"/>
                      <a:pt x="117" y="38"/>
                    </a:cubicBezTo>
                    <a:cubicBezTo>
                      <a:pt x="117" y="32"/>
                      <a:pt x="117" y="27"/>
                      <a:pt x="117" y="21"/>
                    </a:cubicBezTo>
                    <a:cubicBezTo>
                      <a:pt x="117" y="19"/>
                      <a:pt x="113" y="18"/>
                      <a:pt x="111" y="17"/>
                    </a:cubicBezTo>
                    <a:cubicBezTo>
                      <a:pt x="101" y="12"/>
                      <a:pt x="91" y="6"/>
                      <a:pt x="81" y="1"/>
                    </a:cubicBezTo>
                    <a:cubicBezTo>
                      <a:pt x="80" y="1"/>
                      <a:pt x="80" y="0"/>
                      <a:pt x="79" y="0"/>
                    </a:cubicBezTo>
                    <a:cubicBezTo>
                      <a:pt x="78" y="1"/>
                      <a:pt x="76" y="2"/>
                      <a:pt x="75" y="2"/>
                    </a:cubicBezTo>
                    <a:cubicBezTo>
                      <a:pt x="74" y="3"/>
                      <a:pt x="72" y="5"/>
                      <a:pt x="71" y="5"/>
                    </a:cubicBezTo>
                    <a:cubicBezTo>
                      <a:pt x="70" y="5"/>
                      <a:pt x="69" y="3"/>
                      <a:pt x="67" y="2"/>
                    </a:cubicBezTo>
                    <a:cubicBezTo>
                      <a:pt x="66" y="1"/>
                      <a:pt x="65" y="1"/>
                      <a:pt x="64" y="1"/>
                    </a:cubicBezTo>
                    <a:cubicBezTo>
                      <a:pt x="62" y="0"/>
                      <a:pt x="61" y="0"/>
                      <a:pt x="59" y="1"/>
                    </a:cubicBezTo>
                    <a:cubicBezTo>
                      <a:pt x="52" y="5"/>
                      <a:pt x="45" y="10"/>
                      <a:pt x="38" y="14"/>
                    </a:cubicBezTo>
                    <a:cubicBezTo>
                      <a:pt x="35" y="16"/>
                      <a:pt x="32" y="18"/>
                      <a:pt x="29" y="21"/>
                    </a:cubicBezTo>
                    <a:cubicBezTo>
                      <a:pt x="28" y="22"/>
                      <a:pt x="27" y="22"/>
                      <a:pt x="26" y="22"/>
                    </a:cubicBezTo>
                    <a:cubicBezTo>
                      <a:pt x="23" y="22"/>
                      <a:pt x="22" y="22"/>
                      <a:pt x="22" y="25"/>
                    </a:cubicBezTo>
                    <a:cubicBezTo>
                      <a:pt x="22" y="28"/>
                      <a:pt x="22" y="31"/>
                      <a:pt x="22" y="34"/>
                    </a:cubicBezTo>
                    <a:cubicBezTo>
                      <a:pt x="22" y="37"/>
                      <a:pt x="21" y="40"/>
                      <a:pt x="19" y="42"/>
                    </a:cubicBezTo>
                    <a:cubicBezTo>
                      <a:pt x="18" y="43"/>
                      <a:pt x="15" y="43"/>
                      <a:pt x="14" y="43"/>
                    </a:cubicBezTo>
                    <a:cubicBezTo>
                      <a:pt x="12" y="43"/>
                      <a:pt x="10" y="43"/>
                      <a:pt x="8" y="43"/>
                    </a:cubicBezTo>
                    <a:cubicBezTo>
                      <a:pt x="6" y="43"/>
                      <a:pt x="4" y="44"/>
                      <a:pt x="2" y="44"/>
                    </a:cubicBezTo>
                    <a:cubicBezTo>
                      <a:pt x="0" y="44"/>
                      <a:pt x="5" y="51"/>
                      <a:pt x="5" y="51"/>
                    </a:cubicBezTo>
                    <a:cubicBezTo>
                      <a:pt x="6" y="54"/>
                      <a:pt x="7" y="56"/>
                      <a:pt x="10" y="57"/>
                    </a:cubicBezTo>
                    <a:cubicBezTo>
                      <a:pt x="10" y="57"/>
                      <a:pt x="11" y="56"/>
                      <a:pt x="11" y="56"/>
                    </a:cubicBezTo>
                    <a:cubicBezTo>
                      <a:pt x="12" y="57"/>
                      <a:pt x="12" y="60"/>
                      <a:pt x="14" y="58"/>
                    </a:cubicBezTo>
                    <a:cubicBezTo>
                      <a:pt x="16" y="56"/>
                      <a:pt x="18" y="61"/>
                      <a:pt x="19" y="62"/>
                    </a:cubicBezTo>
                    <a:cubicBezTo>
                      <a:pt x="19" y="61"/>
                      <a:pt x="20" y="59"/>
                      <a:pt x="20" y="58"/>
                    </a:cubicBezTo>
                    <a:cubicBezTo>
                      <a:pt x="20" y="57"/>
                      <a:pt x="21" y="56"/>
                      <a:pt x="21" y="55"/>
                    </a:cubicBezTo>
                    <a:cubicBezTo>
                      <a:pt x="22" y="52"/>
                      <a:pt x="22" y="52"/>
                      <a:pt x="25" y="51"/>
                    </a:cubicBezTo>
                    <a:cubicBezTo>
                      <a:pt x="26" y="50"/>
                      <a:pt x="27" y="50"/>
                      <a:pt x="28" y="50"/>
                    </a:cubicBezTo>
                    <a:cubicBezTo>
                      <a:pt x="29" y="49"/>
                      <a:pt x="30" y="51"/>
                      <a:pt x="31" y="51"/>
                    </a:cubicBezTo>
                    <a:cubicBezTo>
                      <a:pt x="33" y="51"/>
                      <a:pt x="34" y="52"/>
                      <a:pt x="35" y="53"/>
                    </a:cubicBezTo>
                    <a:cubicBezTo>
                      <a:pt x="36" y="54"/>
                      <a:pt x="37" y="54"/>
                      <a:pt x="39" y="54"/>
                    </a:cubicBezTo>
                    <a:cubicBezTo>
                      <a:pt x="42" y="52"/>
                      <a:pt x="43" y="55"/>
                      <a:pt x="46" y="55"/>
                    </a:cubicBezTo>
                    <a:cubicBezTo>
                      <a:pt x="49" y="55"/>
                      <a:pt x="52" y="53"/>
                      <a:pt x="55" y="53"/>
                    </a:cubicBezTo>
                    <a:cubicBezTo>
                      <a:pt x="57" y="53"/>
                      <a:pt x="61" y="54"/>
                      <a:pt x="64" y="53"/>
                    </a:cubicBezTo>
                    <a:cubicBezTo>
                      <a:pt x="65" y="53"/>
                      <a:pt x="66" y="52"/>
                      <a:pt x="67" y="51"/>
                    </a:cubicBezTo>
                    <a:cubicBezTo>
                      <a:pt x="69" y="50"/>
                      <a:pt x="68" y="49"/>
                      <a:pt x="68" y="47"/>
                    </a:cubicBezTo>
                    <a:cubicBezTo>
                      <a:pt x="68" y="42"/>
                      <a:pt x="73" y="39"/>
                      <a:pt x="77" y="35"/>
                    </a:cubicBezTo>
                    <a:cubicBezTo>
                      <a:pt x="78" y="34"/>
                      <a:pt x="77" y="32"/>
                      <a:pt x="77" y="31"/>
                    </a:cubicBezTo>
                    <a:cubicBezTo>
                      <a:pt x="77" y="28"/>
                      <a:pt x="77" y="26"/>
                      <a:pt x="77" y="23"/>
                    </a:cubicBezTo>
                    <a:cubicBezTo>
                      <a:pt x="78" y="21"/>
                      <a:pt x="79" y="18"/>
                      <a:pt x="79" y="16"/>
                    </a:cubicBezTo>
                    <a:cubicBezTo>
                      <a:pt x="78" y="14"/>
                      <a:pt x="77" y="12"/>
                      <a:pt x="76" y="11"/>
                    </a:cubicBezTo>
                    <a:cubicBezTo>
                      <a:pt x="74" y="8"/>
                      <a:pt x="75" y="5"/>
                      <a:pt x="75" y="2"/>
                    </a:cubicBezTo>
                    <a:cubicBezTo>
                      <a:pt x="75" y="5"/>
                      <a:pt x="75" y="7"/>
                      <a:pt x="75" y="9"/>
                    </a:cubicBezTo>
                    <a:cubicBezTo>
                      <a:pt x="75" y="11"/>
                      <a:pt x="78" y="14"/>
                      <a:pt x="78" y="16"/>
                    </a:cubicBezTo>
                    <a:cubicBezTo>
                      <a:pt x="79" y="19"/>
                      <a:pt x="77" y="23"/>
                      <a:pt x="77" y="26"/>
                    </a:cubicBezTo>
                    <a:cubicBezTo>
                      <a:pt x="77" y="28"/>
                      <a:pt x="78" y="32"/>
                      <a:pt x="77" y="35"/>
                    </a:cubicBezTo>
                    <a:cubicBezTo>
                      <a:pt x="76" y="37"/>
                      <a:pt x="72" y="39"/>
                      <a:pt x="71" y="41"/>
                    </a:cubicBezTo>
                    <a:cubicBezTo>
                      <a:pt x="69" y="42"/>
                      <a:pt x="68" y="44"/>
                      <a:pt x="68" y="46"/>
                    </a:cubicBezTo>
                    <a:cubicBezTo>
                      <a:pt x="67" y="49"/>
                      <a:pt x="69" y="50"/>
                      <a:pt x="70" y="53"/>
                    </a:cubicBezTo>
                    <a:cubicBezTo>
                      <a:pt x="70" y="54"/>
                      <a:pt x="71" y="54"/>
                      <a:pt x="72" y="55"/>
                    </a:cubicBezTo>
                    <a:cubicBezTo>
                      <a:pt x="74" y="56"/>
                      <a:pt x="75" y="57"/>
                      <a:pt x="75" y="59"/>
                    </a:cubicBezTo>
                    <a:cubicBezTo>
                      <a:pt x="75" y="61"/>
                      <a:pt x="75" y="63"/>
                      <a:pt x="75" y="65"/>
                    </a:cubicBezTo>
                    <a:cubicBezTo>
                      <a:pt x="75" y="66"/>
                      <a:pt x="76" y="68"/>
                      <a:pt x="77" y="70"/>
                    </a:cubicBezTo>
                    <a:cubicBezTo>
                      <a:pt x="74" y="70"/>
                      <a:pt x="67" y="70"/>
                      <a:pt x="72" y="74"/>
                    </a:cubicBezTo>
                    <a:cubicBezTo>
                      <a:pt x="74" y="75"/>
                      <a:pt x="75" y="76"/>
                      <a:pt x="76" y="78"/>
                    </a:cubicBezTo>
                    <a:cubicBezTo>
                      <a:pt x="76" y="79"/>
                      <a:pt x="77" y="80"/>
                      <a:pt x="77" y="81"/>
                    </a:cubicBezTo>
                    <a:cubicBezTo>
                      <a:pt x="77" y="82"/>
                      <a:pt x="80" y="81"/>
                      <a:pt x="80" y="81"/>
                    </a:cubicBezTo>
                    <a:cubicBezTo>
                      <a:pt x="82" y="80"/>
                      <a:pt x="80" y="81"/>
                      <a:pt x="80" y="8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7" name="Freeform 744">
                <a:extLst>
                  <a:ext uri="{FF2B5EF4-FFF2-40B4-BE49-F238E27FC236}">
                    <a16:creationId xmlns:a16="http://schemas.microsoft.com/office/drawing/2014/main" id="{1CDDE763-FEB3-8B4C-9947-99455FC89D97}"/>
                  </a:ext>
                </a:extLst>
              </p:cNvPr>
              <p:cNvSpPr>
                <a:spLocks/>
              </p:cNvSpPr>
              <p:nvPr/>
            </p:nvSpPr>
            <p:spPr bwMode="auto">
              <a:xfrm>
                <a:off x="12684268" y="7940429"/>
                <a:ext cx="767517" cy="946107"/>
              </a:xfrm>
              <a:custGeom>
                <a:avLst/>
                <a:gdLst>
                  <a:gd name="T0" fmla="*/ 6 w 82"/>
                  <a:gd name="T1" fmla="*/ 39 h 101"/>
                  <a:gd name="T2" fmla="*/ 6 w 82"/>
                  <a:gd name="T3" fmla="*/ 41 h 101"/>
                  <a:gd name="T4" fmla="*/ 4 w 82"/>
                  <a:gd name="T5" fmla="*/ 43 h 101"/>
                  <a:gd name="T6" fmla="*/ 2 w 82"/>
                  <a:gd name="T7" fmla="*/ 49 h 101"/>
                  <a:gd name="T8" fmla="*/ 2 w 82"/>
                  <a:gd name="T9" fmla="*/ 51 h 101"/>
                  <a:gd name="T10" fmla="*/ 1 w 82"/>
                  <a:gd name="T11" fmla="*/ 53 h 101"/>
                  <a:gd name="T12" fmla="*/ 4 w 82"/>
                  <a:gd name="T13" fmla="*/ 58 h 101"/>
                  <a:gd name="T14" fmla="*/ 6 w 82"/>
                  <a:gd name="T15" fmla="*/ 60 h 101"/>
                  <a:gd name="T16" fmla="*/ 6 w 82"/>
                  <a:gd name="T17" fmla="*/ 63 h 101"/>
                  <a:gd name="T18" fmla="*/ 9 w 82"/>
                  <a:gd name="T19" fmla="*/ 68 h 101"/>
                  <a:gd name="T20" fmla="*/ 9 w 82"/>
                  <a:gd name="T21" fmla="*/ 74 h 101"/>
                  <a:gd name="T22" fmla="*/ 15 w 82"/>
                  <a:gd name="T23" fmla="*/ 76 h 101"/>
                  <a:gd name="T24" fmla="*/ 18 w 82"/>
                  <a:gd name="T25" fmla="*/ 81 h 101"/>
                  <a:gd name="T26" fmla="*/ 22 w 82"/>
                  <a:gd name="T27" fmla="*/ 84 h 101"/>
                  <a:gd name="T28" fmla="*/ 26 w 82"/>
                  <a:gd name="T29" fmla="*/ 88 h 101"/>
                  <a:gd name="T30" fmla="*/ 26 w 82"/>
                  <a:gd name="T31" fmla="*/ 91 h 101"/>
                  <a:gd name="T32" fmla="*/ 28 w 82"/>
                  <a:gd name="T33" fmla="*/ 92 h 101"/>
                  <a:gd name="T34" fmla="*/ 32 w 82"/>
                  <a:gd name="T35" fmla="*/ 96 h 101"/>
                  <a:gd name="T36" fmla="*/ 35 w 82"/>
                  <a:gd name="T37" fmla="*/ 95 h 101"/>
                  <a:gd name="T38" fmla="*/ 39 w 82"/>
                  <a:gd name="T39" fmla="*/ 94 h 101"/>
                  <a:gd name="T40" fmla="*/ 44 w 82"/>
                  <a:gd name="T41" fmla="*/ 100 h 101"/>
                  <a:gd name="T42" fmla="*/ 51 w 82"/>
                  <a:gd name="T43" fmla="*/ 100 h 101"/>
                  <a:gd name="T44" fmla="*/ 55 w 82"/>
                  <a:gd name="T45" fmla="*/ 98 h 101"/>
                  <a:gd name="T46" fmla="*/ 59 w 82"/>
                  <a:gd name="T47" fmla="*/ 97 h 101"/>
                  <a:gd name="T48" fmla="*/ 69 w 82"/>
                  <a:gd name="T49" fmla="*/ 94 h 101"/>
                  <a:gd name="T50" fmla="*/ 69 w 82"/>
                  <a:gd name="T51" fmla="*/ 91 h 101"/>
                  <a:gd name="T52" fmla="*/ 66 w 82"/>
                  <a:gd name="T53" fmla="*/ 90 h 101"/>
                  <a:gd name="T54" fmla="*/ 61 w 82"/>
                  <a:gd name="T55" fmla="*/ 83 h 101"/>
                  <a:gd name="T56" fmla="*/ 59 w 82"/>
                  <a:gd name="T57" fmla="*/ 80 h 101"/>
                  <a:gd name="T58" fmla="*/ 56 w 82"/>
                  <a:gd name="T59" fmla="*/ 78 h 101"/>
                  <a:gd name="T60" fmla="*/ 59 w 82"/>
                  <a:gd name="T61" fmla="*/ 75 h 101"/>
                  <a:gd name="T62" fmla="*/ 61 w 82"/>
                  <a:gd name="T63" fmla="*/ 67 h 101"/>
                  <a:gd name="T64" fmla="*/ 62 w 82"/>
                  <a:gd name="T65" fmla="*/ 64 h 101"/>
                  <a:gd name="T66" fmla="*/ 65 w 82"/>
                  <a:gd name="T67" fmla="*/ 62 h 101"/>
                  <a:gd name="T68" fmla="*/ 65 w 82"/>
                  <a:gd name="T69" fmla="*/ 58 h 101"/>
                  <a:gd name="T70" fmla="*/ 67 w 82"/>
                  <a:gd name="T71" fmla="*/ 55 h 101"/>
                  <a:gd name="T72" fmla="*/ 71 w 82"/>
                  <a:gd name="T73" fmla="*/ 52 h 101"/>
                  <a:gd name="T74" fmla="*/ 72 w 82"/>
                  <a:gd name="T75" fmla="*/ 45 h 101"/>
                  <a:gd name="T76" fmla="*/ 72 w 82"/>
                  <a:gd name="T77" fmla="*/ 42 h 101"/>
                  <a:gd name="T78" fmla="*/ 74 w 82"/>
                  <a:gd name="T79" fmla="*/ 37 h 101"/>
                  <a:gd name="T80" fmla="*/ 79 w 82"/>
                  <a:gd name="T81" fmla="*/ 29 h 101"/>
                  <a:gd name="T82" fmla="*/ 82 w 82"/>
                  <a:gd name="T83" fmla="*/ 27 h 101"/>
                  <a:gd name="T84" fmla="*/ 79 w 82"/>
                  <a:gd name="T85" fmla="*/ 23 h 101"/>
                  <a:gd name="T86" fmla="*/ 76 w 82"/>
                  <a:gd name="T87" fmla="*/ 17 h 101"/>
                  <a:gd name="T88" fmla="*/ 76 w 82"/>
                  <a:gd name="T89" fmla="*/ 11 h 101"/>
                  <a:gd name="T90" fmla="*/ 75 w 82"/>
                  <a:gd name="T91" fmla="*/ 9 h 101"/>
                  <a:gd name="T92" fmla="*/ 74 w 82"/>
                  <a:gd name="T93" fmla="*/ 5 h 101"/>
                  <a:gd name="T94" fmla="*/ 68 w 82"/>
                  <a:gd name="T95" fmla="*/ 0 h 101"/>
                  <a:gd name="T96" fmla="*/ 64 w 82"/>
                  <a:gd name="T97" fmla="*/ 2 h 101"/>
                  <a:gd name="T98" fmla="*/ 60 w 82"/>
                  <a:gd name="T99" fmla="*/ 5 h 101"/>
                  <a:gd name="T100" fmla="*/ 56 w 82"/>
                  <a:gd name="T101" fmla="*/ 5 h 101"/>
                  <a:gd name="T102" fmla="*/ 46 w 82"/>
                  <a:gd name="T103" fmla="*/ 5 h 101"/>
                  <a:gd name="T104" fmla="*/ 17 w 82"/>
                  <a:gd name="T105" fmla="*/ 5 h 101"/>
                  <a:gd name="T106" fmla="*/ 16 w 82"/>
                  <a:gd name="T107" fmla="*/ 14 h 101"/>
                  <a:gd name="T108" fmla="*/ 13 w 82"/>
                  <a:gd name="T109" fmla="*/ 16 h 101"/>
                  <a:gd name="T110" fmla="*/ 11 w 82"/>
                  <a:gd name="T111" fmla="*/ 18 h 101"/>
                  <a:gd name="T112" fmla="*/ 11 w 82"/>
                  <a:gd name="T113" fmla="*/ 32 h 101"/>
                  <a:gd name="T114" fmla="*/ 11 w 82"/>
                  <a:gd name="T115" fmla="*/ 37 h 101"/>
                  <a:gd name="T116" fmla="*/ 6 w 82"/>
                  <a:gd name="T117" fmla="*/ 3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2" h="101">
                    <a:moveTo>
                      <a:pt x="6" y="39"/>
                    </a:moveTo>
                    <a:cubicBezTo>
                      <a:pt x="6" y="39"/>
                      <a:pt x="6" y="40"/>
                      <a:pt x="6" y="41"/>
                    </a:cubicBezTo>
                    <a:cubicBezTo>
                      <a:pt x="5" y="42"/>
                      <a:pt x="4" y="42"/>
                      <a:pt x="4" y="43"/>
                    </a:cubicBezTo>
                    <a:cubicBezTo>
                      <a:pt x="4" y="45"/>
                      <a:pt x="2" y="47"/>
                      <a:pt x="2" y="49"/>
                    </a:cubicBezTo>
                    <a:cubicBezTo>
                      <a:pt x="2" y="50"/>
                      <a:pt x="3" y="51"/>
                      <a:pt x="2" y="51"/>
                    </a:cubicBezTo>
                    <a:cubicBezTo>
                      <a:pt x="2" y="52"/>
                      <a:pt x="0" y="53"/>
                      <a:pt x="1" y="53"/>
                    </a:cubicBezTo>
                    <a:cubicBezTo>
                      <a:pt x="4" y="53"/>
                      <a:pt x="3" y="57"/>
                      <a:pt x="4" y="58"/>
                    </a:cubicBezTo>
                    <a:cubicBezTo>
                      <a:pt x="4" y="59"/>
                      <a:pt x="5" y="59"/>
                      <a:pt x="6" y="60"/>
                    </a:cubicBezTo>
                    <a:cubicBezTo>
                      <a:pt x="6" y="61"/>
                      <a:pt x="6" y="62"/>
                      <a:pt x="6" y="63"/>
                    </a:cubicBezTo>
                    <a:cubicBezTo>
                      <a:pt x="7" y="65"/>
                      <a:pt x="9" y="66"/>
                      <a:pt x="9" y="68"/>
                    </a:cubicBezTo>
                    <a:cubicBezTo>
                      <a:pt x="9" y="69"/>
                      <a:pt x="8" y="74"/>
                      <a:pt x="9" y="74"/>
                    </a:cubicBezTo>
                    <a:cubicBezTo>
                      <a:pt x="12" y="74"/>
                      <a:pt x="13" y="75"/>
                      <a:pt x="15" y="76"/>
                    </a:cubicBezTo>
                    <a:cubicBezTo>
                      <a:pt x="17" y="77"/>
                      <a:pt x="16" y="80"/>
                      <a:pt x="18" y="81"/>
                    </a:cubicBezTo>
                    <a:cubicBezTo>
                      <a:pt x="19" y="82"/>
                      <a:pt x="22" y="82"/>
                      <a:pt x="22" y="84"/>
                    </a:cubicBezTo>
                    <a:cubicBezTo>
                      <a:pt x="22" y="86"/>
                      <a:pt x="25" y="87"/>
                      <a:pt x="26" y="88"/>
                    </a:cubicBezTo>
                    <a:cubicBezTo>
                      <a:pt x="26" y="89"/>
                      <a:pt x="26" y="90"/>
                      <a:pt x="26" y="91"/>
                    </a:cubicBezTo>
                    <a:cubicBezTo>
                      <a:pt x="27" y="91"/>
                      <a:pt x="28" y="92"/>
                      <a:pt x="28" y="92"/>
                    </a:cubicBezTo>
                    <a:cubicBezTo>
                      <a:pt x="29" y="93"/>
                      <a:pt x="30" y="95"/>
                      <a:pt x="32" y="96"/>
                    </a:cubicBezTo>
                    <a:cubicBezTo>
                      <a:pt x="33" y="97"/>
                      <a:pt x="33" y="93"/>
                      <a:pt x="35" y="95"/>
                    </a:cubicBezTo>
                    <a:cubicBezTo>
                      <a:pt x="37" y="96"/>
                      <a:pt x="37" y="94"/>
                      <a:pt x="39" y="94"/>
                    </a:cubicBezTo>
                    <a:cubicBezTo>
                      <a:pt x="41" y="95"/>
                      <a:pt x="42" y="98"/>
                      <a:pt x="44" y="100"/>
                    </a:cubicBezTo>
                    <a:cubicBezTo>
                      <a:pt x="46" y="95"/>
                      <a:pt x="49" y="101"/>
                      <a:pt x="51" y="100"/>
                    </a:cubicBezTo>
                    <a:cubicBezTo>
                      <a:pt x="52" y="99"/>
                      <a:pt x="53" y="98"/>
                      <a:pt x="55" y="98"/>
                    </a:cubicBezTo>
                    <a:cubicBezTo>
                      <a:pt x="56" y="98"/>
                      <a:pt x="58" y="98"/>
                      <a:pt x="59" y="97"/>
                    </a:cubicBezTo>
                    <a:cubicBezTo>
                      <a:pt x="61" y="93"/>
                      <a:pt x="65" y="91"/>
                      <a:pt x="69" y="94"/>
                    </a:cubicBezTo>
                    <a:cubicBezTo>
                      <a:pt x="69" y="93"/>
                      <a:pt x="69" y="92"/>
                      <a:pt x="69" y="91"/>
                    </a:cubicBezTo>
                    <a:cubicBezTo>
                      <a:pt x="69" y="90"/>
                      <a:pt x="66" y="90"/>
                      <a:pt x="66" y="90"/>
                    </a:cubicBezTo>
                    <a:cubicBezTo>
                      <a:pt x="64" y="88"/>
                      <a:pt x="63" y="85"/>
                      <a:pt x="61" y="83"/>
                    </a:cubicBezTo>
                    <a:cubicBezTo>
                      <a:pt x="60" y="82"/>
                      <a:pt x="60" y="81"/>
                      <a:pt x="59" y="80"/>
                    </a:cubicBezTo>
                    <a:cubicBezTo>
                      <a:pt x="58" y="79"/>
                      <a:pt x="57" y="79"/>
                      <a:pt x="56" y="78"/>
                    </a:cubicBezTo>
                    <a:cubicBezTo>
                      <a:pt x="53" y="75"/>
                      <a:pt x="59" y="75"/>
                      <a:pt x="59" y="75"/>
                    </a:cubicBezTo>
                    <a:cubicBezTo>
                      <a:pt x="61" y="74"/>
                      <a:pt x="60" y="69"/>
                      <a:pt x="61" y="67"/>
                    </a:cubicBezTo>
                    <a:cubicBezTo>
                      <a:pt x="61" y="66"/>
                      <a:pt x="61" y="64"/>
                      <a:pt x="62" y="64"/>
                    </a:cubicBezTo>
                    <a:cubicBezTo>
                      <a:pt x="63" y="63"/>
                      <a:pt x="65" y="63"/>
                      <a:pt x="65" y="62"/>
                    </a:cubicBezTo>
                    <a:cubicBezTo>
                      <a:pt x="65" y="61"/>
                      <a:pt x="65" y="60"/>
                      <a:pt x="65" y="58"/>
                    </a:cubicBezTo>
                    <a:cubicBezTo>
                      <a:pt x="65" y="57"/>
                      <a:pt x="66" y="56"/>
                      <a:pt x="67" y="55"/>
                    </a:cubicBezTo>
                    <a:cubicBezTo>
                      <a:pt x="68" y="53"/>
                      <a:pt x="70" y="54"/>
                      <a:pt x="71" y="52"/>
                    </a:cubicBezTo>
                    <a:cubicBezTo>
                      <a:pt x="71" y="50"/>
                      <a:pt x="72" y="48"/>
                      <a:pt x="72" y="45"/>
                    </a:cubicBezTo>
                    <a:cubicBezTo>
                      <a:pt x="72" y="44"/>
                      <a:pt x="72" y="43"/>
                      <a:pt x="72" y="42"/>
                    </a:cubicBezTo>
                    <a:cubicBezTo>
                      <a:pt x="72" y="40"/>
                      <a:pt x="74" y="38"/>
                      <a:pt x="74" y="37"/>
                    </a:cubicBezTo>
                    <a:cubicBezTo>
                      <a:pt x="74" y="33"/>
                      <a:pt x="75" y="30"/>
                      <a:pt x="79" y="29"/>
                    </a:cubicBezTo>
                    <a:cubicBezTo>
                      <a:pt x="80" y="29"/>
                      <a:pt x="81" y="29"/>
                      <a:pt x="82" y="27"/>
                    </a:cubicBezTo>
                    <a:cubicBezTo>
                      <a:pt x="82" y="26"/>
                      <a:pt x="80" y="24"/>
                      <a:pt x="79" y="23"/>
                    </a:cubicBezTo>
                    <a:cubicBezTo>
                      <a:pt x="77" y="21"/>
                      <a:pt x="76" y="19"/>
                      <a:pt x="76" y="17"/>
                    </a:cubicBezTo>
                    <a:cubicBezTo>
                      <a:pt x="76" y="16"/>
                      <a:pt x="75" y="11"/>
                      <a:pt x="76" y="11"/>
                    </a:cubicBezTo>
                    <a:cubicBezTo>
                      <a:pt x="77" y="10"/>
                      <a:pt x="76" y="10"/>
                      <a:pt x="75" y="9"/>
                    </a:cubicBezTo>
                    <a:cubicBezTo>
                      <a:pt x="74" y="8"/>
                      <a:pt x="74" y="7"/>
                      <a:pt x="74" y="5"/>
                    </a:cubicBezTo>
                    <a:cubicBezTo>
                      <a:pt x="72" y="3"/>
                      <a:pt x="69" y="2"/>
                      <a:pt x="68" y="0"/>
                    </a:cubicBezTo>
                    <a:cubicBezTo>
                      <a:pt x="67" y="0"/>
                      <a:pt x="65" y="1"/>
                      <a:pt x="64" y="2"/>
                    </a:cubicBezTo>
                    <a:cubicBezTo>
                      <a:pt x="63" y="5"/>
                      <a:pt x="61" y="3"/>
                      <a:pt x="60" y="5"/>
                    </a:cubicBezTo>
                    <a:cubicBezTo>
                      <a:pt x="59" y="9"/>
                      <a:pt x="58" y="5"/>
                      <a:pt x="56" y="5"/>
                    </a:cubicBezTo>
                    <a:cubicBezTo>
                      <a:pt x="52" y="5"/>
                      <a:pt x="49" y="5"/>
                      <a:pt x="46" y="5"/>
                    </a:cubicBezTo>
                    <a:cubicBezTo>
                      <a:pt x="37" y="5"/>
                      <a:pt x="27" y="5"/>
                      <a:pt x="17" y="5"/>
                    </a:cubicBezTo>
                    <a:cubicBezTo>
                      <a:pt x="15" y="5"/>
                      <a:pt x="16" y="12"/>
                      <a:pt x="16" y="14"/>
                    </a:cubicBezTo>
                    <a:cubicBezTo>
                      <a:pt x="16" y="16"/>
                      <a:pt x="15" y="16"/>
                      <a:pt x="13" y="16"/>
                    </a:cubicBezTo>
                    <a:cubicBezTo>
                      <a:pt x="10" y="16"/>
                      <a:pt x="11" y="16"/>
                      <a:pt x="11" y="18"/>
                    </a:cubicBezTo>
                    <a:cubicBezTo>
                      <a:pt x="11" y="23"/>
                      <a:pt x="11" y="27"/>
                      <a:pt x="11" y="32"/>
                    </a:cubicBezTo>
                    <a:cubicBezTo>
                      <a:pt x="11" y="34"/>
                      <a:pt x="11" y="36"/>
                      <a:pt x="11" y="37"/>
                    </a:cubicBezTo>
                    <a:cubicBezTo>
                      <a:pt x="11" y="39"/>
                      <a:pt x="7" y="38"/>
                      <a:pt x="6" y="3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8" name="Freeform 745">
                <a:extLst>
                  <a:ext uri="{FF2B5EF4-FFF2-40B4-BE49-F238E27FC236}">
                    <a16:creationId xmlns:a16="http://schemas.microsoft.com/office/drawing/2014/main" id="{6A6287A0-E383-2240-B550-AD9EB39BAD0C}"/>
                  </a:ext>
                </a:extLst>
              </p:cNvPr>
              <p:cNvSpPr>
                <a:spLocks/>
              </p:cNvSpPr>
              <p:nvPr/>
            </p:nvSpPr>
            <p:spPr bwMode="auto">
              <a:xfrm>
                <a:off x="13356248" y="8182530"/>
                <a:ext cx="299364" cy="270773"/>
              </a:xfrm>
              <a:custGeom>
                <a:avLst/>
                <a:gdLst>
                  <a:gd name="T0" fmla="*/ 3 w 32"/>
                  <a:gd name="T1" fmla="*/ 19 h 29"/>
                  <a:gd name="T2" fmla="*/ 7 w 32"/>
                  <a:gd name="T3" fmla="*/ 20 h 29"/>
                  <a:gd name="T4" fmla="*/ 7 w 32"/>
                  <a:gd name="T5" fmla="*/ 17 h 29"/>
                  <a:gd name="T6" fmla="*/ 10 w 32"/>
                  <a:gd name="T7" fmla="*/ 19 h 29"/>
                  <a:gd name="T8" fmla="*/ 12 w 32"/>
                  <a:gd name="T9" fmla="*/ 18 h 29"/>
                  <a:gd name="T10" fmla="*/ 14 w 32"/>
                  <a:gd name="T11" fmla="*/ 18 h 29"/>
                  <a:gd name="T12" fmla="*/ 29 w 32"/>
                  <a:gd name="T13" fmla="*/ 29 h 29"/>
                  <a:gd name="T14" fmla="*/ 32 w 32"/>
                  <a:gd name="T15" fmla="*/ 27 h 29"/>
                  <a:gd name="T16" fmla="*/ 24 w 32"/>
                  <a:gd name="T17" fmla="*/ 19 h 29"/>
                  <a:gd name="T18" fmla="*/ 19 w 32"/>
                  <a:gd name="T19" fmla="*/ 16 h 29"/>
                  <a:gd name="T20" fmla="*/ 17 w 32"/>
                  <a:gd name="T21" fmla="*/ 14 h 29"/>
                  <a:gd name="T22" fmla="*/ 17 w 32"/>
                  <a:gd name="T23" fmla="*/ 16 h 29"/>
                  <a:gd name="T24" fmla="*/ 16 w 32"/>
                  <a:gd name="T25" fmla="*/ 14 h 29"/>
                  <a:gd name="T26" fmla="*/ 14 w 32"/>
                  <a:gd name="T27" fmla="*/ 9 h 29"/>
                  <a:gd name="T28" fmla="*/ 10 w 32"/>
                  <a:gd name="T29" fmla="*/ 0 h 29"/>
                  <a:gd name="T30" fmla="*/ 2 w 32"/>
                  <a:gd name="T31" fmla="*/ 7 h 29"/>
                  <a:gd name="T32" fmla="*/ 1 w 32"/>
                  <a:gd name="T33" fmla="*/ 13 h 29"/>
                  <a:gd name="T34" fmla="*/ 0 w 32"/>
                  <a:gd name="T35" fmla="*/ 20 h 29"/>
                  <a:gd name="T36" fmla="*/ 3 w 32"/>
                  <a:gd name="T3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29">
                    <a:moveTo>
                      <a:pt x="3" y="19"/>
                    </a:moveTo>
                    <a:cubicBezTo>
                      <a:pt x="4" y="19"/>
                      <a:pt x="6" y="21"/>
                      <a:pt x="7" y="20"/>
                    </a:cubicBezTo>
                    <a:cubicBezTo>
                      <a:pt x="7" y="19"/>
                      <a:pt x="6" y="17"/>
                      <a:pt x="7" y="17"/>
                    </a:cubicBezTo>
                    <a:cubicBezTo>
                      <a:pt x="9" y="17"/>
                      <a:pt x="9" y="19"/>
                      <a:pt x="10" y="19"/>
                    </a:cubicBezTo>
                    <a:cubicBezTo>
                      <a:pt x="11" y="19"/>
                      <a:pt x="12" y="18"/>
                      <a:pt x="12" y="18"/>
                    </a:cubicBezTo>
                    <a:cubicBezTo>
                      <a:pt x="13" y="17"/>
                      <a:pt x="14" y="18"/>
                      <a:pt x="14" y="18"/>
                    </a:cubicBezTo>
                    <a:cubicBezTo>
                      <a:pt x="22" y="18"/>
                      <a:pt x="25" y="24"/>
                      <a:pt x="29" y="29"/>
                    </a:cubicBezTo>
                    <a:cubicBezTo>
                      <a:pt x="30" y="29"/>
                      <a:pt x="31" y="28"/>
                      <a:pt x="32" y="27"/>
                    </a:cubicBezTo>
                    <a:cubicBezTo>
                      <a:pt x="29" y="25"/>
                      <a:pt x="26" y="22"/>
                      <a:pt x="24" y="19"/>
                    </a:cubicBezTo>
                    <a:cubicBezTo>
                      <a:pt x="23" y="17"/>
                      <a:pt x="21" y="17"/>
                      <a:pt x="19" y="16"/>
                    </a:cubicBezTo>
                    <a:cubicBezTo>
                      <a:pt x="18" y="16"/>
                      <a:pt x="18" y="14"/>
                      <a:pt x="17" y="14"/>
                    </a:cubicBezTo>
                    <a:cubicBezTo>
                      <a:pt x="16" y="14"/>
                      <a:pt x="17" y="15"/>
                      <a:pt x="17" y="16"/>
                    </a:cubicBezTo>
                    <a:cubicBezTo>
                      <a:pt x="17" y="16"/>
                      <a:pt x="16" y="14"/>
                      <a:pt x="16" y="14"/>
                    </a:cubicBezTo>
                    <a:cubicBezTo>
                      <a:pt x="15" y="12"/>
                      <a:pt x="14" y="11"/>
                      <a:pt x="14" y="9"/>
                    </a:cubicBezTo>
                    <a:cubicBezTo>
                      <a:pt x="13" y="6"/>
                      <a:pt x="13" y="3"/>
                      <a:pt x="10" y="0"/>
                    </a:cubicBezTo>
                    <a:cubicBezTo>
                      <a:pt x="9" y="4"/>
                      <a:pt x="4" y="4"/>
                      <a:pt x="2" y="7"/>
                    </a:cubicBezTo>
                    <a:cubicBezTo>
                      <a:pt x="1" y="9"/>
                      <a:pt x="2" y="11"/>
                      <a:pt x="1" y="13"/>
                    </a:cubicBezTo>
                    <a:cubicBezTo>
                      <a:pt x="0" y="15"/>
                      <a:pt x="0" y="17"/>
                      <a:pt x="0" y="20"/>
                    </a:cubicBezTo>
                    <a:cubicBezTo>
                      <a:pt x="1" y="19"/>
                      <a:pt x="2" y="19"/>
                      <a:pt x="3" y="1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69" name="Freeform 746">
                <a:extLst>
                  <a:ext uri="{FF2B5EF4-FFF2-40B4-BE49-F238E27FC236}">
                    <a16:creationId xmlns:a16="http://schemas.microsoft.com/office/drawing/2014/main" id="{20A4EE98-E57C-4A4B-8230-E298551ED9D6}"/>
                  </a:ext>
                </a:extLst>
              </p:cNvPr>
              <p:cNvSpPr>
                <a:spLocks/>
              </p:cNvSpPr>
              <p:nvPr/>
            </p:nvSpPr>
            <p:spPr bwMode="auto">
              <a:xfrm>
                <a:off x="13200194" y="8313140"/>
                <a:ext cx="691083" cy="573398"/>
              </a:xfrm>
              <a:custGeom>
                <a:avLst/>
                <a:gdLst>
                  <a:gd name="T0" fmla="*/ 70 w 74"/>
                  <a:gd name="T1" fmla="*/ 38 h 61"/>
                  <a:gd name="T2" fmla="*/ 57 w 74"/>
                  <a:gd name="T3" fmla="*/ 33 h 61"/>
                  <a:gd name="T4" fmla="*/ 51 w 74"/>
                  <a:gd name="T5" fmla="*/ 29 h 61"/>
                  <a:gd name="T6" fmla="*/ 48 w 74"/>
                  <a:gd name="T7" fmla="*/ 24 h 61"/>
                  <a:gd name="T8" fmla="*/ 51 w 74"/>
                  <a:gd name="T9" fmla="*/ 20 h 61"/>
                  <a:gd name="T10" fmla="*/ 45 w 74"/>
                  <a:gd name="T11" fmla="*/ 23 h 61"/>
                  <a:gd name="T12" fmla="*/ 44 w 74"/>
                  <a:gd name="T13" fmla="*/ 18 h 61"/>
                  <a:gd name="T14" fmla="*/ 44 w 74"/>
                  <a:gd name="T15" fmla="*/ 12 h 61"/>
                  <a:gd name="T16" fmla="*/ 37 w 74"/>
                  <a:gd name="T17" fmla="*/ 5 h 61"/>
                  <a:gd name="T18" fmla="*/ 28 w 74"/>
                  <a:gd name="T19" fmla="*/ 4 h 61"/>
                  <a:gd name="T20" fmla="*/ 24 w 74"/>
                  <a:gd name="T21" fmla="*/ 5 h 61"/>
                  <a:gd name="T22" fmla="*/ 21 w 74"/>
                  <a:gd name="T23" fmla="*/ 5 h 61"/>
                  <a:gd name="T24" fmla="*/ 18 w 74"/>
                  <a:gd name="T25" fmla="*/ 5 h 61"/>
                  <a:gd name="T26" fmla="*/ 17 w 74"/>
                  <a:gd name="T27" fmla="*/ 8 h 61"/>
                  <a:gd name="T28" fmla="*/ 15 w 74"/>
                  <a:gd name="T29" fmla="*/ 13 h 61"/>
                  <a:gd name="T30" fmla="*/ 12 w 74"/>
                  <a:gd name="T31" fmla="*/ 14 h 61"/>
                  <a:gd name="T32" fmla="*/ 10 w 74"/>
                  <a:gd name="T33" fmla="*/ 18 h 61"/>
                  <a:gd name="T34" fmla="*/ 10 w 74"/>
                  <a:gd name="T35" fmla="*/ 23 h 61"/>
                  <a:gd name="T36" fmla="*/ 5 w 74"/>
                  <a:gd name="T37" fmla="*/ 34 h 61"/>
                  <a:gd name="T38" fmla="*/ 1 w 74"/>
                  <a:gd name="T39" fmla="*/ 35 h 61"/>
                  <a:gd name="T40" fmla="*/ 2 w 74"/>
                  <a:gd name="T41" fmla="*/ 38 h 61"/>
                  <a:gd name="T42" fmla="*/ 9 w 74"/>
                  <a:gd name="T43" fmla="*/ 47 h 61"/>
                  <a:gd name="T44" fmla="*/ 13 w 74"/>
                  <a:gd name="T45" fmla="*/ 50 h 61"/>
                  <a:gd name="T46" fmla="*/ 14 w 74"/>
                  <a:gd name="T47" fmla="*/ 54 h 61"/>
                  <a:gd name="T48" fmla="*/ 20 w 74"/>
                  <a:gd name="T49" fmla="*/ 55 h 61"/>
                  <a:gd name="T50" fmla="*/ 25 w 74"/>
                  <a:gd name="T51" fmla="*/ 59 h 61"/>
                  <a:gd name="T52" fmla="*/ 33 w 74"/>
                  <a:gd name="T53" fmla="*/ 60 h 61"/>
                  <a:gd name="T54" fmla="*/ 39 w 74"/>
                  <a:gd name="T55" fmla="*/ 57 h 61"/>
                  <a:gd name="T56" fmla="*/ 47 w 74"/>
                  <a:gd name="T57" fmla="*/ 56 h 61"/>
                  <a:gd name="T58" fmla="*/ 54 w 74"/>
                  <a:gd name="T59" fmla="*/ 53 h 61"/>
                  <a:gd name="T60" fmla="*/ 59 w 74"/>
                  <a:gd name="T61" fmla="*/ 53 h 61"/>
                  <a:gd name="T62" fmla="*/ 74 w 74"/>
                  <a:gd name="T63" fmla="*/ 38 h 61"/>
                  <a:gd name="T64" fmla="*/ 70 w 74"/>
                  <a:gd name="T65"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61">
                    <a:moveTo>
                      <a:pt x="70" y="38"/>
                    </a:moveTo>
                    <a:cubicBezTo>
                      <a:pt x="65" y="36"/>
                      <a:pt x="61" y="35"/>
                      <a:pt x="57" y="33"/>
                    </a:cubicBezTo>
                    <a:cubicBezTo>
                      <a:pt x="54" y="32"/>
                      <a:pt x="53" y="31"/>
                      <a:pt x="51" y="29"/>
                    </a:cubicBezTo>
                    <a:cubicBezTo>
                      <a:pt x="50" y="28"/>
                      <a:pt x="49" y="26"/>
                      <a:pt x="48" y="24"/>
                    </a:cubicBezTo>
                    <a:cubicBezTo>
                      <a:pt x="48" y="23"/>
                      <a:pt x="51" y="21"/>
                      <a:pt x="51" y="20"/>
                    </a:cubicBezTo>
                    <a:cubicBezTo>
                      <a:pt x="49" y="21"/>
                      <a:pt x="47" y="22"/>
                      <a:pt x="45" y="23"/>
                    </a:cubicBezTo>
                    <a:cubicBezTo>
                      <a:pt x="43" y="23"/>
                      <a:pt x="43" y="19"/>
                      <a:pt x="44" y="18"/>
                    </a:cubicBezTo>
                    <a:cubicBezTo>
                      <a:pt x="47" y="15"/>
                      <a:pt x="46" y="15"/>
                      <a:pt x="44" y="12"/>
                    </a:cubicBezTo>
                    <a:cubicBezTo>
                      <a:pt x="42" y="10"/>
                      <a:pt x="40" y="6"/>
                      <a:pt x="37" y="5"/>
                    </a:cubicBezTo>
                    <a:cubicBezTo>
                      <a:pt x="35" y="5"/>
                      <a:pt x="30" y="3"/>
                      <a:pt x="28" y="4"/>
                    </a:cubicBezTo>
                    <a:cubicBezTo>
                      <a:pt x="26" y="7"/>
                      <a:pt x="24" y="0"/>
                      <a:pt x="24" y="5"/>
                    </a:cubicBezTo>
                    <a:cubicBezTo>
                      <a:pt x="24" y="7"/>
                      <a:pt x="22" y="6"/>
                      <a:pt x="21" y="5"/>
                    </a:cubicBezTo>
                    <a:cubicBezTo>
                      <a:pt x="20" y="5"/>
                      <a:pt x="19" y="5"/>
                      <a:pt x="18" y="5"/>
                    </a:cubicBezTo>
                    <a:cubicBezTo>
                      <a:pt x="16" y="6"/>
                      <a:pt x="17" y="6"/>
                      <a:pt x="17" y="8"/>
                    </a:cubicBezTo>
                    <a:cubicBezTo>
                      <a:pt x="17" y="9"/>
                      <a:pt x="16" y="12"/>
                      <a:pt x="15" y="13"/>
                    </a:cubicBezTo>
                    <a:cubicBezTo>
                      <a:pt x="15" y="14"/>
                      <a:pt x="12" y="13"/>
                      <a:pt x="12" y="14"/>
                    </a:cubicBezTo>
                    <a:cubicBezTo>
                      <a:pt x="12" y="16"/>
                      <a:pt x="10" y="17"/>
                      <a:pt x="10" y="18"/>
                    </a:cubicBezTo>
                    <a:cubicBezTo>
                      <a:pt x="10" y="19"/>
                      <a:pt x="11" y="22"/>
                      <a:pt x="10" y="23"/>
                    </a:cubicBezTo>
                    <a:cubicBezTo>
                      <a:pt x="4" y="24"/>
                      <a:pt x="6" y="30"/>
                      <a:pt x="5" y="34"/>
                    </a:cubicBezTo>
                    <a:cubicBezTo>
                      <a:pt x="4" y="35"/>
                      <a:pt x="3" y="35"/>
                      <a:pt x="1" y="35"/>
                    </a:cubicBezTo>
                    <a:cubicBezTo>
                      <a:pt x="0" y="36"/>
                      <a:pt x="0" y="38"/>
                      <a:pt x="2" y="38"/>
                    </a:cubicBezTo>
                    <a:cubicBezTo>
                      <a:pt x="5" y="39"/>
                      <a:pt x="8" y="45"/>
                      <a:pt x="9" y="47"/>
                    </a:cubicBezTo>
                    <a:cubicBezTo>
                      <a:pt x="10" y="49"/>
                      <a:pt x="11" y="49"/>
                      <a:pt x="13" y="50"/>
                    </a:cubicBezTo>
                    <a:cubicBezTo>
                      <a:pt x="14" y="51"/>
                      <a:pt x="13" y="53"/>
                      <a:pt x="14" y="54"/>
                    </a:cubicBezTo>
                    <a:cubicBezTo>
                      <a:pt x="16" y="56"/>
                      <a:pt x="18" y="54"/>
                      <a:pt x="20" y="55"/>
                    </a:cubicBezTo>
                    <a:cubicBezTo>
                      <a:pt x="21" y="56"/>
                      <a:pt x="23" y="58"/>
                      <a:pt x="25" y="59"/>
                    </a:cubicBezTo>
                    <a:cubicBezTo>
                      <a:pt x="27" y="59"/>
                      <a:pt x="31" y="61"/>
                      <a:pt x="33" y="60"/>
                    </a:cubicBezTo>
                    <a:cubicBezTo>
                      <a:pt x="35" y="58"/>
                      <a:pt x="36" y="56"/>
                      <a:pt x="39" y="57"/>
                    </a:cubicBezTo>
                    <a:cubicBezTo>
                      <a:pt x="42" y="58"/>
                      <a:pt x="45" y="57"/>
                      <a:pt x="47" y="56"/>
                    </a:cubicBezTo>
                    <a:cubicBezTo>
                      <a:pt x="49" y="54"/>
                      <a:pt x="51" y="53"/>
                      <a:pt x="54" y="53"/>
                    </a:cubicBezTo>
                    <a:cubicBezTo>
                      <a:pt x="55" y="53"/>
                      <a:pt x="59" y="53"/>
                      <a:pt x="59" y="53"/>
                    </a:cubicBezTo>
                    <a:cubicBezTo>
                      <a:pt x="64" y="48"/>
                      <a:pt x="69" y="43"/>
                      <a:pt x="74" y="38"/>
                    </a:cubicBezTo>
                    <a:cubicBezTo>
                      <a:pt x="73" y="38"/>
                      <a:pt x="71" y="38"/>
                      <a:pt x="70" y="3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0" name="Freeform 747">
                <a:extLst>
                  <a:ext uri="{FF2B5EF4-FFF2-40B4-BE49-F238E27FC236}">
                    <a16:creationId xmlns:a16="http://schemas.microsoft.com/office/drawing/2014/main" id="{87BB8123-8783-6F46-AB72-043E210EFD7A}"/>
                  </a:ext>
                </a:extLst>
              </p:cNvPr>
              <p:cNvSpPr>
                <a:spLocks/>
              </p:cNvSpPr>
              <p:nvPr/>
            </p:nvSpPr>
            <p:spPr bwMode="auto">
              <a:xfrm>
                <a:off x="13235227" y="8481973"/>
                <a:ext cx="812103" cy="777272"/>
              </a:xfrm>
              <a:custGeom>
                <a:avLst/>
                <a:gdLst>
                  <a:gd name="T0" fmla="*/ 86 w 87"/>
                  <a:gd name="T1" fmla="*/ 1 h 83"/>
                  <a:gd name="T2" fmla="*/ 83 w 87"/>
                  <a:gd name="T3" fmla="*/ 0 h 83"/>
                  <a:gd name="T4" fmla="*/ 79 w 87"/>
                  <a:gd name="T5" fmla="*/ 3 h 83"/>
                  <a:gd name="T6" fmla="*/ 71 w 87"/>
                  <a:gd name="T7" fmla="*/ 3 h 83"/>
                  <a:gd name="T8" fmla="*/ 69 w 87"/>
                  <a:gd name="T9" fmla="*/ 4 h 83"/>
                  <a:gd name="T10" fmla="*/ 68 w 87"/>
                  <a:gd name="T11" fmla="*/ 3 h 83"/>
                  <a:gd name="T12" fmla="*/ 63 w 87"/>
                  <a:gd name="T13" fmla="*/ 6 h 83"/>
                  <a:gd name="T14" fmla="*/ 58 w 87"/>
                  <a:gd name="T15" fmla="*/ 5 h 83"/>
                  <a:gd name="T16" fmla="*/ 53 w 87"/>
                  <a:gd name="T17" fmla="*/ 7 h 83"/>
                  <a:gd name="T18" fmla="*/ 47 w 87"/>
                  <a:gd name="T19" fmla="*/ 2 h 83"/>
                  <a:gd name="T20" fmla="*/ 44 w 87"/>
                  <a:gd name="T21" fmla="*/ 6 h 83"/>
                  <a:gd name="T22" fmla="*/ 48 w 87"/>
                  <a:gd name="T23" fmla="*/ 12 h 83"/>
                  <a:gd name="T24" fmla="*/ 56 w 87"/>
                  <a:gd name="T25" fmla="*/ 16 h 83"/>
                  <a:gd name="T26" fmla="*/ 70 w 87"/>
                  <a:gd name="T27" fmla="*/ 20 h 83"/>
                  <a:gd name="T28" fmla="*/ 63 w 87"/>
                  <a:gd name="T29" fmla="*/ 27 h 83"/>
                  <a:gd name="T30" fmla="*/ 58 w 87"/>
                  <a:gd name="T31" fmla="*/ 33 h 83"/>
                  <a:gd name="T32" fmla="*/ 55 w 87"/>
                  <a:gd name="T33" fmla="*/ 35 h 83"/>
                  <a:gd name="T34" fmla="*/ 48 w 87"/>
                  <a:gd name="T35" fmla="*/ 35 h 83"/>
                  <a:gd name="T36" fmla="*/ 42 w 87"/>
                  <a:gd name="T37" fmla="*/ 38 h 83"/>
                  <a:gd name="T38" fmla="*/ 36 w 87"/>
                  <a:gd name="T39" fmla="*/ 39 h 83"/>
                  <a:gd name="T40" fmla="*/ 32 w 87"/>
                  <a:gd name="T41" fmla="*/ 39 h 83"/>
                  <a:gd name="T42" fmla="*/ 26 w 87"/>
                  <a:gd name="T43" fmla="*/ 42 h 83"/>
                  <a:gd name="T44" fmla="*/ 21 w 87"/>
                  <a:gd name="T45" fmla="*/ 41 h 83"/>
                  <a:gd name="T46" fmla="*/ 16 w 87"/>
                  <a:gd name="T47" fmla="*/ 37 h 83"/>
                  <a:gd name="T48" fmla="*/ 11 w 87"/>
                  <a:gd name="T49" fmla="*/ 37 h 83"/>
                  <a:gd name="T50" fmla="*/ 7 w 87"/>
                  <a:gd name="T51" fmla="*/ 34 h 83"/>
                  <a:gd name="T52" fmla="*/ 0 w 87"/>
                  <a:gd name="T53" fmla="*/ 39 h 83"/>
                  <a:gd name="T54" fmla="*/ 3 w 87"/>
                  <a:gd name="T55" fmla="*/ 41 h 83"/>
                  <a:gd name="T56" fmla="*/ 4 w 87"/>
                  <a:gd name="T57" fmla="*/ 45 h 83"/>
                  <a:gd name="T58" fmla="*/ 3 w 87"/>
                  <a:gd name="T59" fmla="*/ 54 h 83"/>
                  <a:gd name="T60" fmla="*/ 0 w 87"/>
                  <a:gd name="T61" fmla="*/ 58 h 83"/>
                  <a:gd name="T62" fmla="*/ 3 w 87"/>
                  <a:gd name="T63" fmla="*/ 60 h 83"/>
                  <a:gd name="T64" fmla="*/ 1 w 87"/>
                  <a:gd name="T65" fmla="*/ 65 h 83"/>
                  <a:gd name="T66" fmla="*/ 4 w 87"/>
                  <a:gd name="T67" fmla="*/ 66 h 83"/>
                  <a:gd name="T68" fmla="*/ 15 w 87"/>
                  <a:gd name="T69" fmla="*/ 73 h 83"/>
                  <a:gd name="T70" fmla="*/ 19 w 87"/>
                  <a:gd name="T71" fmla="*/ 77 h 83"/>
                  <a:gd name="T72" fmla="*/ 26 w 87"/>
                  <a:gd name="T73" fmla="*/ 83 h 83"/>
                  <a:gd name="T74" fmla="*/ 30 w 87"/>
                  <a:gd name="T75" fmla="*/ 76 h 83"/>
                  <a:gd name="T76" fmla="*/ 33 w 87"/>
                  <a:gd name="T77" fmla="*/ 72 h 83"/>
                  <a:gd name="T78" fmla="*/ 35 w 87"/>
                  <a:gd name="T79" fmla="*/ 69 h 83"/>
                  <a:gd name="T80" fmla="*/ 40 w 87"/>
                  <a:gd name="T81" fmla="*/ 65 h 83"/>
                  <a:gd name="T82" fmla="*/ 59 w 87"/>
                  <a:gd name="T83" fmla="*/ 48 h 83"/>
                  <a:gd name="T84" fmla="*/ 77 w 87"/>
                  <a:gd name="T85" fmla="*/ 24 h 83"/>
                  <a:gd name="T86" fmla="*/ 84 w 87"/>
                  <a:gd name="T87" fmla="*/ 14 h 83"/>
                  <a:gd name="T88" fmla="*/ 86 w 87"/>
                  <a:gd name="T89" fmla="*/ 7 h 83"/>
                  <a:gd name="T90" fmla="*/ 86 w 87"/>
                  <a:gd name="T91" fmla="*/ 1 h 83"/>
                  <a:gd name="T92" fmla="*/ 86 w 87"/>
                  <a:gd name="T93" fmla="*/ 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83">
                    <a:moveTo>
                      <a:pt x="86" y="1"/>
                    </a:moveTo>
                    <a:cubicBezTo>
                      <a:pt x="87" y="0"/>
                      <a:pt x="84" y="0"/>
                      <a:pt x="83" y="0"/>
                    </a:cubicBezTo>
                    <a:cubicBezTo>
                      <a:pt x="82" y="1"/>
                      <a:pt x="81" y="2"/>
                      <a:pt x="79" y="3"/>
                    </a:cubicBezTo>
                    <a:cubicBezTo>
                      <a:pt x="77" y="3"/>
                      <a:pt x="74" y="3"/>
                      <a:pt x="71" y="3"/>
                    </a:cubicBezTo>
                    <a:cubicBezTo>
                      <a:pt x="71" y="4"/>
                      <a:pt x="70" y="4"/>
                      <a:pt x="69" y="4"/>
                    </a:cubicBezTo>
                    <a:cubicBezTo>
                      <a:pt x="68" y="4"/>
                      <a:pt x="68" y="3"/>
                      <a:pt x="68" y="3"/>
                    </a:cubicBezTo>
                    <a:cubicBezTo>
                      <a:pt x="66" y="4"/>
                      <a:pt x="65" y="6"/>
                      <a:pt x="63" y="6"/>
                    </a:cubicBezTo>
                    <a:cubicBezTo>
                      <a:pt x="61" y="6"/>
                      <a:pt x="61" y="5"/>
                      <a:pt x="58" y="5"/>
                    </a:cubicBezTo>
                    <a:cubicBezTo>
                      <a:pt x="57" y="6"/>
                      <a:pt x="55" y="8"/>
                      <a:pt x="53" y="7"/>
                    </a:cubicBezTo>
                    <a:cubicBezTo>
                      <a:pt x="50" y="6"/>
                      <a:pt x="49" y="5"/>
                      <a:pt x="47" y="2"/>
                    </a:cubicBezTo>
                    <a:cubicBezTo>
                      <a:pt x="47" y="3"/>
                      <a:pt x="44" y="5"/>
                      <a:pt x="44" y="6"/>
                    </a:cubicBezTo>
                    <a:cubicBezTo>
                      <a:pt x="45" y="8"/>
                      <a:pt x="46" y="10"/>
                      <a:pt x="48" y="12"/>
                    </a:cubicBezTo>
                    <a:cubicBezTo>
                      <a:pt x="50" y="14"/>
                      <a:pt x="53" y="15"/>
                      <a:pt x="56" y="16"/>
                    </a:cubicBezTo>
                    <a:cubicBezTo>
                      <a:pt x="61" y="18"/>
                      <a:pt x="65" y="20"/>
                      <a:pt x="70" y="20"/>
                    </a:cubicBezTo>
                    <a:cubicBezTo>
                      <a:pt x="68" y="22"/>
                      <a:pt x="65" y="25"/>
                      <a:pt x="63" y="27"/>
                    </a:cubicBezTo>
                    <a:cubicBezTo>
                      <a:pt x="61" y="29"/>
                      <a:pt x="59" y="31"/>
                      <a:pt x="58" y="33"/>
                    </a:cubicBezTo>
                    <a:cubicBezTo>
                      <a:pt x="57" y="33"/>
                      <a:pt x="56" y="35"/>
                      <a:pt x="55" y="35"/>
                    </a:cubicBezTo>
                    <a:cubicBezTo>
                      <a:pt x="53" y="36"/>
                      <a:pt x="50" y="34"/>
                      <a:pt x="48" y="35"/>
                    </a:cubicBezTo>
                    <a:cubicBezTo>
                      <a:pt x="46" y="35"/>
                      <a:pt x="44" y="37"/>
                      <a:pt x="42" y="38"/>
                    </a:cubicBezTo>
                    <a:cubicBezTo>
                      <a:pt x="40" y="39"/>
                      <a:pt x="38" y="40"/>
                      <a:pt x="36" y="39"/>
                    </a:cubicBezTo>
                    <a:cubicBezTo>
                      <a:pt x="35" y="39"/>
                      <a:pt x="33" y="38"/>
                      <a:pt x="32" y="39"/>
                    </a:cubicBezTo>
                    <a:cubicBezTo>
                      <a:pt x="29" y="41"/>
                      <a:pt x="29" y="43"/>
                      <a:pt x="26" y="42"/>
                    </a:cubicBezTo>
                    <a:cubicBezTo>
                      <a:pt x="24" y="41"/>
                      <a:pt x="22" y="41"/>
                      <a:pt x="21" y="41"/>
                    </a:cubicBezTo>
                    <a:cubicBezTo>
                      <a:pt x="19" y="40"/>
                      <a:pt x="17" y="38"/>
                      <a:pt x="16" y="37"/>
                    </a:cubicBezTo>
                    <a:cubicBezTo>
                      <a:pt x="15" y="37"/>
                      <a:pt x="12" y="38"/>
                      <a:pt x="11" y="37"/>
                    </a:cubicBezTo>
                    <a:cubicBezTo>
                      <a:pt x="10" y="36"/>
                      <a:pt x="8" y="34"/>
                      <a:pt x="7" y="34"/>
                    </a:cubicBezTo>
                    <a:cubicBezTo>
                      <a:pt x="3" y="35"/>
                      <a:pt x="2" y="36"/>
                      <a:pt x="0" y="39"/>
                    </a:cubicBezTo>
                    <a:cubicBezTo>
                      <a:pt x="0" y="40"/>
                      <a:pt x="3" y="40"/>
                      <a:pt x="3" y="41"/>
                    </a:cubicBezTo>
                    <a:cubicBezTo>
                      <a:pt x="3" y="43"/>
                      <a:pt x="3" y="44"/>
                      <a:pt x="4" y="45"/>
                    </a:cubicBezTo>
                    <a:cubicBezTo>
                      <a:pt x="6" y="47"/>
                      <a:pt x="5" y="52"/>
                      <a:pt x="3" y="54"/>
                    </a:cubicBezTo>
                    <a:cubicBezTo>
                      <a:pt x="2" y="55"/>
                      <a:pt x="1" y="56"/>
                      <a:pt x="0" y="58"/>
                    </a:cubicBezTo>
                    <a:cubicBezTo>
                      <a:pt x="0" y="61"/>
                      <a:pt x="2" y="59"/>
                      <a:pt x="3" y="60"/>
                    </a:cubicBezTo>
                    <a:cubicBezTo>
                      <a:pt x="3" y="60"/>
                      <a:pt x="0" y="64"/>
                      <a:pt x="1" y="65"/>
                    </a:cubicBezTo>
                    <a:cubicBezTo>
                      <a:pt x="2" y="65"/>
                      <a:pt x="3" y="66"/>
                      <a:pt x="4" y="66"/>
                    </a:cubicBezTo>
                    <a:cubicBezTo>
                      <a:pt x="8" y="69"/>
                      <a:pt x="12" y="71"/>
                      <a:pt x="15" y="73"/>
                    </a:cubicBezTo>
                    <a:cubicBezTo>
                      <a:pt x="18" y="74"/>
                      <a:pt x="19" y="74"/>
                      <a:pt x="19" y="77"/>
                    </a:cubicBezTo>
                    <a:cubicBezTo>
                      <a:pt x="19" y="79"/>
                      <a:pt x="25" y="82"/>
                      <a:pt x="26" y="83"/>
                    </a:cubicBezTo>
                    <a:cubicBezTo>
                      <a:pt x="28" y="80"/>
                      <a:pt x="29" y="78"/>
                      <a:pt x="30" y="76"/>
                    </a:cubicBezTo>
                    <a:cubicBezTo>
                      <a:pt x="30" y="74"/>
                      <a:pt x="31" y="72"/>
                      <a:pt x="33" y="72"/>
                    </a:cubicBezTo>
                    <a:cubicBezTo>
                      <a:pt x="34" y="71"/>
                      <a:pt x="34" y="70"/>
                      <a:pt x="35" y="69"/>
                    </a:cubicBezTo>
                    <a:cubicBezTo>
                      <a:pt x="37" y="68"/>
                      <a:pt x="38" y="67"/>
                      <a:pt x="40" y="65"/>
                    </a:cubicBezTo>
                    <a:cubicBezTo>
                      <a:pt x="45" y="57"/>
                      <a:pt x="52" y="53"/>
                      <a:pt x="59" y="48"/>
                    </a:cubicBezTo>
                    <a:cubicBezTo>
                      <a:pt x="68" y="42"/>
                      <a:pt x="73" y="33"/>
                      <a:pt x="77" y="24"/>
                    </a:cubicBezTo>
                    <a:cubicBezTo>
                      <a:pt x="79" y="20"/>
                      <a:pt x="82" y="18"/>
                      <a:pt x="84" y="14"/>
                    </a:cubicBezTo>
                    <a:cubicBezTo>
                      <a:pt x="85" y="12"/>
                      <a:pt x="85" y="9"/>
                      <a:pt x="86" y="7"/>
                    </a:cubicBezTo>
                    <a:cubicBezTo>
                      <a:pt x="86" y="6"/>
                      <a:pt x="85" y="2"/>
                      <a:pt x="86" y="1"/>
                    </a:cubicBezTo>
                    <a:cubicBezTo>
                      <a:pt x="86" y="1"/>
                      <a:pt x="86" y="1"/>
                      <a:pt x="86"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1" name="Freeform 748">
                <a:extLst>
                  <a:ext uri="{FF2B5EF4-FFF2-40B4-BE49-F238E27FC236}">
                    <a16:creationId xmlns:a16="http://schemas.microsoft.com/office/drawing/2014/main" id="{16F734A0-0A5E-3A46-AAA5-82F9600FD4BF}"/>
                  </a:ext>
                </a:extLst>
              </p:cNvPr>
              <p:cNvSpPr>
                <a:spLocks/>
              </p:cNvSpPr>
              <p:nvPr/>
            </p:nvSpPr>
            <p:spPr bwMode="auto">
              <a:xfrm>
                <a:off x="13601471" y="8437375"/>
                <a:ext cx="82803" cy="101936"/>
              </a:xfrm>
              <a:custGeom>
                <a:avLst/>
                <a:gdLst>
                  <a:gd name="T0" fmla="*/ 3 w 9"/>
                  <a:gd name="T1" fmla="*/ 2 h 11"/>
                  <a:gd name="T2" fmla="*/ 1 w 9"/>
                  <a:gd name="T3" fmla="*/ 5 h 11"/>
                  <a:gd name="T4" fmla="*/ 0 w 9"/>
                  <a:gd name="T5" fmla="*/ 10 h 11"/>
                  <a:gd name="T6" fmla="*/ 8 w 9"/>
                  <a:gd name="T7" fmla="*/ 7 h 11"/>
                  <a:gd name="T8" fmla="*/ 4 w 9"/>
                  <a:gd name="T9" fmla="*/ 6 h 11"/>
                  <a:gd name="T10" fmla="*/ 8 w 9"/>
                  <a:gd name="T11" fmla="*/ 3 h 11"/>
                  <a:gd name="T12" fmla="*/ 3 w 9"/>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2"/>
                    </a:moveTo>
                    <a:cubicBezTo>
                      <a:pt x="2" y="3"/>
                      <a:pt x="1" y="4"/>
                      <a:pt x="1" y="5"/>
                    </a:cubicBezTo>
                    <a:cubicBezTo>
                      <a:pt x="0" y="5"/>
                      <a:pt x="0" y="9"/>
                      <a:pt x="0" y="10"/>
                    </a:cubicBezTo>
                    <a:cubicBezTo>
                      <a:pt x="2" y="11"/>
                      <a:pt x="7" y="7"/>
                      <a:pt x="8" y="7"/>
                    </a:cubicBezTo>
                    <a:cubicBezTo>
                      <a:pt x="8" y="6"/>
                      <a:pt x="5" y="5"/>
                      <a:pt x="4" y="6"/>
                    </a:cubicBezTo>
                    <a:cubicBezTo>
                      <a:pt x="5" y="5"/>
                      <a:pt x="9" y="4"/>
                      <a:pt x="8" y="3"/>
                    </a:cubicBezTo>
                    <a:cubicBezTo>
                      <a:pt x="7" y="0"/>
                      <a:pt x="5" y="0"/>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2" name="Freeform 749">
                <a:extLst>
                  <a:ext uri="{FF2B5EF4-FFF2-40B4-BE49-F238E27FC236}">
                    <a16:creationId xmlns:a16="http://schemas.microsoft.com/office/drawing/2014/main" id="{02981D75-C1C5-174C-A8E6-DC0BB9FC20B5}"/>
                  </a:ext>
                </a:extLst>
              </p:cNvPr>
              <p:cNvSpPr>
                <a:spLocks/>
              </p:cNvSpPr>
              <p:nvPr/>
            </p:nvSpPr>
            <p:spPr bwMode="auto">
              <a:xfrm>
                <a:off x="13040961" y="8848311"/>
                <a:ext cx="242036" cy="261215"/>
              </a:xfrm>
              <a:custGeom>
                <a:avLst/>
                <a:gdLst>
                  <a:gd name="T0" fmla="*/ 22 w 26"/>
                  <a:gd name="T1" fmla="*/ 18 h 28"/>
                  <a:gd name="T2" fmla="*/ 25 w 26"/>
                  <a:gd name="T3" fmla="*/ 14 h 28"/>
                  <a:gd name="T4" fmla="*/ 26 w 26"/>
                  <a:gd name="T5" fmla="*/ 8 h 28"/>
                  <a:gd name="T6" fmla="*/ 24 w 26"/>
                  <a:gd name="T7" fmla="*/ 3 h 28"/>
                  <a:gd name="T8" fmla="*/ 21 w 26"/>
                  <a:gd name="T9" fmla="*/ 0 h 28"/>
                  <a:gd name="T10" fmla="*/ 16 w 26"/>
                  <a:gd name="T11" fmla="*/ 1 h 28"/>
                  <a:gd name="T12" fmla="*/ 12 w 26"/>
                  <a:gd name="T13" fmla="*/ 3 h 28"/>
                  <a:gd name="T14" fmla="*/ 6 w 26"/>
                  <a:gd name="T15" fmla="*/ 2 h 28"/>
                  <a:gd name="T16" fmla="*/ 7 w 26"/>
                  <a:gd name="T17" fmla="*/ 8 h 28"/>
                  <a:gd name="T18" fmla="*/ 6 w 26"/>
                  <a:gd name="T19" fmla="*/ 12 h 28"/>
                  <a:gd name="T20" fmla="*/ 2 w 26"/>
                  <a:gd name="T21" fmla="*/ 16 h 28"/>
                  <a:gd name="T22" fmla="*/ 0 w 26"/>
                  <a:gd name="T23" fmla="*/ 22 h 28"/>
                  <a:gd name="T24" fmla="*/ 0 w 26"/>
                  <a:gd name="T25" fmla="*/ 27 h 28"/>
                  <a:gd name="T26" fmla="*/ 4 w 26"/>
                  <a:gd name="T27" fmla="*/ 26 h 28"/>
                  <a:gd name="T28" fmla="*/ 11 w 26"/>
                  <a:gd name="T29" fmla="*/ 25 h 28"/>
                  <a:gd name="T30" fmla="*/ 14 w 26"/>
                  <a:gd name="T31" fmla="*/ 20 h 28"/>
                  <a:gd name="T32" fmla="*/ 21 w 26"/>
                  <a:gd name="T33" fmla="*/ 20 h 28"/>
                  <a:gd name="T34" fmla="*/ 22 w 26"/>
                  <a:gd name="T35" fmla="*/ 18 h 28"/>
                  <a:gd name="T36" fmla="*/ 22 w 26"/>
                  <a:gd name="T37"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22" y="18"/>
                    </a:moveTo>
                    <a:cubicBezTo>
                      <a:pt x="22" y="16"/>
                      <a:pt x="24" y="15"/>
                      <a:pt x="25" y="14"/>
                    </a:cubicBezTo>
                    <a:cubicBezTo>
                      <a:pt x="26" y="13"/>
                      <a:pt x="26" y="10"/>
                      <a:pt x="26" y="8"/>
                    </a:cubicBezTo>
                    <a:cubicBezTo>
                      <a:pt x="26" y="6"/>
                      <a:pt x="24" y="5"/>
                      <a:pt x="24" y="3"/>
                    </a:cubicBezTo>
                    <a:cubicBezTo>
                      <a:pt x="24" y="1"/>
                      <a:pt x="22" y="1"/>
                      <a:pt x="21" y="0"/>
                    </a:cubicBezTo>
                    <a:cubicBezTo>
                      <a:pt x="20" y="1"/>
                      <a:pt x="18" y="0"/>
                      <a:pt x="16" y="1"/>
                    </a:cubicBezTo>
                    <a:cubicBezTo>
                      <a:pt x="15" y="2"/>
                      <a:pt x="13" y="4"/>
                      <a:pt x="12" y="3"/>
                    </a:cubicBezTo>
                    <a:cubicBezTo>
                      <a:pt x="10" y="1"/>
                      <a:pt x="7" y="0"/>
                      <a:pt x="6" y="2"/>
                    </a:cubicBezTo>
                    <a:cubicBezTo>
                      <a:pt x="5" y="4"/>
                      <a:pt x="6" y="7"/>
                      <a:pt x="7" y="8"/>
                    </a:cubicBezTo>
                    <a:cubicBezTo>
                      <a:pt x="8" y="10"/>
                      <a:pt x="7" y="10"/>
                      <a:pt x="6" y="12"/>
                    </a:cubicBezTo>
                    <a:cubicBezTo>
                      <a:pt x="5" y="14"/>
                      <a:pt x="3" y="15"/>
                      <a:pt x="2" y="16"/>
                    </a:cubicBezTo>
                    <a:cubicBezTo>
                      <a:pt x="1" y="18"/>
                      <a:pt x="0" y="19"/>
                      <a:pt x="0" y="22"/>
                    </a:cubicBezTo>
                    <a:cubicBezTo>
                      <a:pt x="0" y="23"/>
                      <a:pt x="1" y="25"/>
                      <a:pt x="0" y="27"/>
                    </a:cubicBezTo>
                    <a:cubicBezTo>
                      <a:pt x="2" y="28"/>
                      <a:pt x="2" y="27"/>
                      <a:pt x="4" y="26"/>
                    </a:cubicBezTo>
                    <a:cubicBezTo>
                      <a:pt x="6" y="25"/>
                      <a:pt x="9" y="25"/>
                      <a:pt x="11" y="25"/>
                    </a:cubicBezTo>
                    <a:cubicBezTo>
                      <a:pt x="10" y="22"/>
                      <a:pt x="12" y="21"/>
                      <a:pt x="14" y="20"/>
                    </a:cubicBezTo>
                    <a:cubicBezTo>
                      <a:pt x="16" y="19"/>
                      <a:pt x="20" y="17"/>
                      <a:pt x="21" y="20"/>
                    </a:cubicBezTo>
                    <a:cubicBezTo>
                      <a:pt x="21" y="19"/>
                      <a:pt x="21" y="18"/>
                      <a:pt x="22" y="18"/>
                    </a:cubicBezTo>
                    <a:cubicBezTo>
                      <a:pt x="22" y="16"/>
                      <a:pt x="21" y="18"/>
                      <a:pt x="22" y="18"/>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3" name="Freeform 750">
                <a:extLst>
                  <a:ext uri="{FF2B5EF4-FFF2-40B4-BE49-F238E27FC236}">
                    <a16:creationId xmlns:a16="http://schemas.microsoft.com/office/drawing/2014/main" id="{31B75900-439E-924F-87E7-85406009F97F}"/>
                  </a:ext>
                </a:extLst>
              </p:cNvPr>
              <p:cNvSpPr>
                <a:spLocks/>
              </p:cNvSpPr>
              <p:nvPr/>
            </p:nvSpPr>
            <p:spPr bwMode="auto">
              <a:xfrm>
                <a:off x="13012297" y="9147751"/>
                <a:ext cx="92356" cy="92380"/>
              </a:xfrm>
              <a:custGeom>
                <a:avLst/>
                <a:gdLst>
                  <a:gd name="T0" fmla="*/ 1 w 10"/>
                  <a:gd name="T1" fmla="*/ 6 h 10"/>
                  <a:gd name="T2" fmla="*/ 3 w 10"/>
                  <a:gd name="T3" fmla="*/ 10 h 10"/>
                  <a:gd name="T4" fmla="*/ 9 w 10"/>
                  <a:gd name="T5" fmla="*/ 5 h 10"/>
                  <a:gd name="T6" fmla="*/ 8 w 10"/>
                  <a:gd name="T7" fmla="*/ 0 h 10"/>
                  <a:gd name="T8" fmla="*/ 4 w 10"/>
                  <a:gd name="T9" fmla="*/ 1 h 10"/>
                  <a:gd name="T10" fmla="*/ 0 w 10"/>
                  <a:gd name="T11" fmla="*/ 1 h 10"/>
                  <a:gd name="T12" fmla="*/ 1 w 10"/>
                  <a:gd name="T13" fmla="*/ 6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1" y="6"/>
                    </a:moveTo>
                    <a:cubicBezTo>
                      <a:pt x="2" y="7"/>
                      <a:pt x="2" y="9"/>
                      <a:pt x="3" y="10"/>
                    </a:cubicBezTo>
                    <a:cubicBezTo>
                      <a:pt x="5" y="9"/>
                      <a:pt x="7" y="7"/>
                      <a:pt x="9" y="5"/>
                    </a:cubicBezTo>
                    <a:cubicBezTo>
                      <a:pt x="10" y="3"/>
                      <a:pt x="5" y="4"/>
                      <a:pt x="8" y="0"/>
                    </a:cubicBezTo>
                    <a:cubicBezTo>
                      <a:pt x="7" y="0"/>
                      <a:pt x="3" y="0"/>
                      <a:pt x="4" y="1"/>
                    </a:cubicBezTo>
                    <a:cubicBezTo>
                      <a:pt x="5" y="3"/>
                      <a:pt x="1" y="2"/>
                      <a:pt x="0" y="1"/>
                    </a:cubicBezTo>
                    <a:cubicBezTo>
                      <a:pt x="0" y="3"/>
                      <a:pt x="1" y="4"/>
                      <a:pt x="1"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4" name="Freeform 751">
                <a:extLst>
                  <a:ext uri="{FF2B5EF4-FFF2-40B4-BE49-F238E27FC236}">
                    <a16:creationId xmlns:a16="http://schemas.microsoft.com/office/drawing/2014/main" id="{9D0A6CE2-40D5-7C49-AB00-777F3CC16DA3}"/>
                  </a:ext>
                </a:extLst>
              </p:cNvPr>
              <p:cNvSpPr>
                <a:spLocks/>
              </p:cNvSpPr>
              <p:nvPr/>
            </p:nvSpPr>
            <p:spPr bwMode="auto">
              <a:xfrm>
                <a:off x="13012297" y="9090413"/>
                <a:ext cx="101909" cy="86010"/>
              </a:xfrm>
              <a:custGeom>
                <a:avLst/>
                <a:gdLst>
                  <a:gd name="T0" fmla="*/ 3 w 11"/>
                  <a:gd name="T1" fmla="*/ 1 h 9"/>
                  <a:gd name="T2" fmla="*/ 0 w 11"/>
                  <a:gd name="T3" fmla="*/ 7 h 9"/>
                  <a:gd name="T4" fmla="*/ 4 w 11"/>
                  <a:gd name="T5" fmla="*/ 7 h 9"/>
                  <a:gd name="T6" fmla="*/ 8 w 11"/>
                  <a:gd name="T7" fmla="*/ 6 h 9"/>
                  <a:gd name="T8" fmla="*/ 7 w 11"/>
                  <a:gd name="T9" fmla="*/ 0 h 9"/>
                  <a:gd name="T10" fmla="*/ 3 w 11"/>
                  <a:gd name="T11" fmla="*/ 1 h 9"/>
                  <a:gd name="T12" fmla="*/ 3 w 11"/>
                  <a:gd name="T13" fmla="*/ 1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3" y="1"/>
                    </a:moveTo>
                    <a:cubicBezTo>
                      <a:pt x="1" y="2"/>
                      <a:pt x="0" y="5"/>
                      <a:pt x="0" y="7"/>
                    </a:cubicBezTo>
                    <a:cubicBezTo>
                      <a:pt x="1" y="8"/>
                      <a:pt x="5" y="9"/>
                      <a:pt x="4" y="7"/>
                    </a:cubicBezTo>
                    <a:cubicBezTo>
                      <a:pt x="3" y="6"/>
                      <a:pt x="7" y="6"/>
                      <a:pt x="8" y="6"/>
                    </a:cubicBezTo>
                    <a:cubicBezTo>
                      <a:pt x="11" y="5"/>
                      <a:pt x="8" y="1"/>
                      <a:pt x="7" y="0"/>
                    </a:cubicBezTo>
                    <a:cubicBezTo>
                      <a:pt x="5" y="1"/>
                      <a:pt x="5" y="2"/>
                      <a:pt x="3" y="1"/>
                    </a:cubicBezTo>
                    <a:cubicBezTo>
                      <a:pt x="2" y="1"/>
                      <a:pt x="4" y="1"/>
                      <a:pt x="3"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5" name="Freeform 752">
                <a:extLst>
                  <a:ext uri="{FF2B5EF4-FFF2-40B4-BE49-F238E27FC236}">
                    <a16:creationId xmlns:a16="http://schemas.microsoft.com/office/drawing/2014/main" id="{41808E06-58BA-5E49-BD83-51D28CEE8D05}"/>
                  </a:ext>
                </a:extLst>
              </p:cNvPr>
              <p:cNvSpPr>
                <a:spLocks/>
              </p:cNvSpPr>
              <p:nvPr/>
            </p:nvSpPr>
            <p:spPr bwMode="auto">
              <a:xfrm>
                <a:off x="13031406" y="9061741"/>
                <a:ext cx="503186" cy="544729"/>
              </a:xfrm>
              <a:custGeom>
                <a:avLst/>
                <a:gdLst>
                  <a:gd name="T0" fmla="*/ 41 w 54"/>
                  <a:gd name="T1" fmla="*/ 13 h 58"/>
                  <a:gd name="T2" fmla="*/ 23 w 54"/>
                  <a:gd name="T3" fmla="*/ 3 h 58"/>
                  <a:gd name="T4" fmla="*/ 17 w 54"/>
                  <a:gd name="T5" fmla="*/ 7 h 58"/>
                  <a:gd name="T6" fmla="*/ 21 w 54"/>
                  <a:gd name="T7" fmla="*/ 9 h 58"/>
                  <a:gd name="T8" fmla="*/ 17 w 54"/>
                  <a:gd name="T9" fmla="*/ 9 h 58"/>
                  <a:gd name="T10" fmla="*/ 13 w 54"/>
                  <a:gd name="T11" fmla="*/ 10 h 58"/>
                  <a:gd name="T12" fmla="*/ 11 w 54"/>
                  <a:gd name="T13" fmla="*/ 8 h 58"/>
                  <a:gd name="T14" fmla="*/ 12 w 54"/>
                  <a:gd name="T15" fmla="*/ 4 h 58"/>
                  <a:gd name="T16" fmla="*/ 5 w 54"/>
                  <a:gd name="T17" fmla="*/ 3 h 58"/>
                  <a:gd name="T18" fmla="*/ 7 w 54"/>
                  <a:gd name="T19" fmla="*/ 8 h 58"/>
                  <a:gd name="T20" fmla="*/ 5 w 54"/>
                  <a:gd name="T21" fmla="*/ 12 h 58"/>
                  <a:gd name="T22" fmla="*/ 6 w 54"/>
                  <a:gd name="T23" fmla="*/ 16 h 58"/>
                  <a:gd name="T24" fmla="*/ 2 w 54"/>
                  <a:gd name="T25" fmla="*/ 18 h 58"/>
                  <a:gd name="T26" fmla="*/ 1 w 54"/>
                  <a:gd name="T27" fmla="*/ 21 h 58"/>
                  <a:gd name="T28" fmla="*/ 5 w 54"/>
                  <a:gd name="T29" fmla="*/ 33 h 58"/>
                  <a:gd name="T30" fmla="*/ 12 w 54"/>
                  <a:gd name="T31" fmla="*/ 42 h 58"/>
                  <a:gd name="T32" fmla="*/ 15 w 54"/>
                  <a:gd name="T33" fmla="*/ 43 h 58"/>
                  <a:gd name="T34" fmla="*/ 17 w 54"/>
                  <a:gd name="T35" fmla="*/ 45 h 58"/>
                  <a:gd name="T36" fmla="*/ 24 w 54"/>
                  <a:gd name="T37" fmla="*/ 47 h 58"/>
                  <a:gd name="T38" fmla="*/ 25 w 54"/>
                  <a:gd name="T39" fmla="*/ 53 h 58"/>
                  <a:gd name="T40" fmla="*/ 27 w 54"/>
                  <a:gd name="T41" fmla="*/ 55 h 58"/>
                  <a:gd name="T42" fmla="*/ 30 w 54"/>
                  <a:gd name="T43" fmla="*/ 55 h 58"/>
                  <a:gd name="T44" fmla="*/ 33 w 54"/>
                  <a:gd name="T45" fmla="*/ 56 h 58"/>
                  <a:gd name="T46" fmla="*/ 36 w 54"/>
                  <a:gd name="T47" fmla="*/ 55 h 58"/>
                  <a:gd name="T48" fmla="*/ 42 w 54"/>
                  <a:gd name="T49" fmla="*/ 55 h 58"/>
                  <a:gd name="T50" fmla="*/ 46 w 54"/>
                  <a:gd name="T51" fmla="*/ 54 h 58"/>
                  <a:gd name="T52" fmla="*/ 54 w 54"/>
                  <a:gd name="T53" fmla="*/ 49 h 58"/>
                  <a:gd name="T54" fmla="*/ 49 w 54"/>
                  <a:gd name="T55" fmla="*/ 36 h 58"/>
                  <a:gd name="T56" fmla="*/ 49 w 54"/>
                  <a:gd name="T57" fmla="*/ 32 h 58"/>
                  <a:gd name="T58" fmla="*/ 46 w 54"/>
                  <a:gd name="T59" fmla="*/ 28 h 58"/>
                  <a:gd name="T60" fmla="*/ 48 w 54"/>
                  <a:gd name="T61" fmla="*/ 20 h 58"/>
                  <a:gd name="T62" fmla="*/ 45 w 54"/>
                  <a:gd name="T63" fmla="*/ 18 h 58"/>
                  <a:gd name="T64" fmla="*/ 41 w 54"/>
                  <a:gd name="T65" fmla="*/ 16 h 58"/>
                  <a:gd name="T66" fmla="*/ 41 w 54"/>
                  <a:gd name="T67" fmla="*/ 1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58">
                    <a:moveTo>
                      <a:pt x="41" y="13"/>
                    </a:moveTo>
                    <a:cubicBezTo>
                      <a:pt x="35" y="9"/>
                      <a:pt x="29" y="6"/>
                      <a:pt x="23" y="3"/>
                    </a:cubicBezTo>
                    <a:cubicBezTo>
                      <a:pt x="22" y="5"/>
                      <a:pt x="19" y="7"/>
                      <a:pt x="17" y="7"/>
                    </a:cubicBezTo>
                    <a:cubicBezTo>
                      <a:pt x="17" y="7"/>
                      <a:pt x="21" y="8"/>
                      <a:pt x="21" y="9"/>
                    </a:cubicBezTo>
                    <a:cubicBezTo>
                      <a:pt x="20" y="10"/>
                      <a:pt x="18" y="9"/>
                      <a:pt x="17" y="9"/>
                    </a:cubicBezTo>
                    <a:cubicBezTo>
                      <a:pt x="15" y="8"/>
                      <a:pt x="15" y="9"/>
                      <a:pt x="13" y="10"/>
                    </a:cubicBezTo>
                    <a:cubicBezTo>
                      <a:pt x="13" y="10"/>
                      <a:pt x="11" y="9"/>
                      <a:pt x="11" y="8"/>
                    </a:cubicBezTo>
                    <a:cubicBezTo>
                      <a:pt x="10" y="7"/>
                      <a:pt x="11" y="5"/>
                      <a:pt x="12" y="4"/>
                    </a:cubicBezTo>
                    <a:cubicBezTo>
                      <a:pt x="13" y="0"/>
                      <a:pt x="7" y="2"/>
                      <a:pt x="5" y="3"/>
                    </a:cubicBezTo>
                    <a:cubicBezTo>
                      <a:pt x="6" y="4"/>
                      <a:pt x="8" y="7"/>
                      <a:pt x="7" y="8"/>
                    </a:cubicBezTo>
                    <a:cubicBezTo>
                      <a:pt x="7" y="9"/>
                      <a:pt x="3" y="12"/>
                      <a:pt x="5" y="12"/>
                    </a:cubicBezTo>
                    <a:cubicBezTo>
                      <a:pt x="8" y="13"/>
                      <a:pt x="7" y="14"/>
                      <a:pt x="6" y="16"/>
                    </a:cubicBezTo>
                    <a:cubicBezTo>
                      <a:pt x="5" y="16"/>
                      <a:pt x="3" y="17"/>
                      <a:pt x="2" y="18"/>
                    </a:cubicBezTo>
                    <a:cubicBezTo>
                      <a:pt x="0" y="19"/>
                      <a:pt x="1" y="19"/>
                      <a:pt x="1" y="21"/>
                    </a:cubicBezTo>
                    <a:cubicBezTo>
                      <a:pt x="2" y="26"/>
                      <a:pt x="4" y="29"/>
                      <a:pt x="5" y="33"/>
                    </a:cubicBezTo>
                    <a:cubicBezTo>
                      <a:pt x="5" y="38"/>
                      <a:pt x="9" y="40"/>
                      <a:pt x="12" y="42"/>
                    </a:cubicBezTo>
                    <a:cubicBezTo>
                      <a:pt x="13" y="43"/>
                      <a:pt x="14" y="43"/>
                      <a:pt x="15" y="43"/>
                    </a:cubicBezTo>
                    <a:cubicBezTo>
                      <a:pt x="16" y="43"/>
                      <a:pt x="16" y="44"/>
                      <a:pt x="17" y="45"/>
                    </a:cubicBezTo>
                    <a:cubicBezTo>
                      <a:pt x="19" y="45"/>
                      <a:pt x="22" y="45"/>
                      <a:pt x="24" y="47"/>
                    </a:cubicBezTo>
                    <a:cubicBezTo>
                      <a:pt x="25" y="48"/>
                      <a:pt x="25" y="51"/>
                      <a:pt x="25" y="53"/>
                    </a:cubicBezTo>
                    <a:cubicBezTo>
                      <a:pt x="26" y="54"/>
                      <a:pt x="25" y="55"/>
                      <a:pt x="27" y="55"/>
                    </a:cubicBezTo>
                    <a:cubicBezTo>
                      <a:pt x="28" y="55"/>
                      <a:pt x="29" y="55"/>
                      <a:pt x="30" y="55"/>
                    </a:cubicBezTo>
                    <a:cubicBezTo>
                      <a:pt x="31" y="55"/>
                      <a:pt x="32" y="55"/>
                      <a:pt x="33" y="56"/>
                    </a:cubicBezTo>
                    <a:cubicBezTo>
                      <a:pt x="34" y="57"/>
                      <a:pt x="35" y="56"/>
                      <a:pt x="36" y="55"/>
                    </a:cubicBezTo>
                    <a:cubicBezTo>
                      <a:pt x="38" y="54"/>
                      <a:pt x="40" y="58"/>
                      <a:pt x="42" y="55"/>
                    </a:cubicBezTo>
                    <a:cubicBezTo>
                      <a:pt x="42" y="53"/>
                      <a:pt x="45" y="54"/>
                      <a:pt x="46" y="54"/>
                    </a:cubicBezTo>
                    <a:cubicBezTo>
                      <a:pt x="49" y="53"/>
                      <a:pt x="51" y="51"/>
                      <a:pt x="54" y="49"/>
                    </a:cubicBezTo>
                    <a:cubicBezTo>
                      <a:pt x="49" y="46"/>
                      <a:pt x="49" y="42"/>
                      <a:pt x="49" y="36"/>
                    </a:cubicBezTo>
                    <a:cubicBezTo>
                      <a:pt x="48" y="35"/>
                      <a:pt x="50" y="33"/>
                      <a:pt x="49" y="32"/>
                    </a:cubicBezTo>
                    <a:cubicBezTo>
                      <a:pt x="48" y="31"/>
                      <a:pt x="46" y="30"/>
                      <a:pt x="46" y="28"/>
                    </a:cubicBezTo>
                    <a:cubicBezTo>
                      <a:pt x="46" y="27"/>
                      <a:pt x="48" y="20"/>
                      <a:pt x="48" y="20"/>
                    </a:cubicBezTo>
                    <a:cubicBezTo>
                      <a:pt x="47" y="20"/>
                      <a:pt x="46" y="19"/>
                      <a:pt x="45" y="18"/>
                    </a:cubicBezTo>
                    <a:cubicBezTo>
                      <a:pt x="44" y="17"/>
                      <a:pt x="43" y="17"/>
                      <a:pt x="41" y="16"/>
                    </a:cubicBezTo>
                    <a:cubicBezTo>
                      <a:pt x="41" y="15"/>
                      <a:pt x="41" y="14"/>
                      <a:pt x="41"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6" name="Freeform 753">
                <a:extLst>
                  <a:ext uri="{FF2B5EF4-FFF2-40B4-BE49-F238E27FC236}">
                    <a16:creationId xmlns:a16="http://schemas.microsoft.com/office/drawing/2014/main" id="{EDC3FCAB-4630-3A41-AD23-7F0FB41EF76D}"/>
                  </a:ext>
                </a:extLst>
              </p:cNvPr>
              <p:cNvSpPr>
                <a:spLocks/>
              </p:cNvSpPr>
              <p:nvPr/>
            </p:nvSpPr>
            <p:spPr bwMode="auto">
              <a:xfrm>
                <a:off x="12117393" y="8931134"/>
                <a:ext cx="251592" cy="289887"/>
              </a:xfrm>
              <a:custGeom>
                <a:avLst/>
                <a:gdLst>
                  <a:gd name="T0" fmla="*/ 15 w 27"/>
                  <a:gd name="T1" fmla="*/ 29 h 31"/>
                  <a:gd name="T2" fmla="*/ 15 w 27"/>
                  <a:gd name="T3" fmla="*/ 24 h 31"/>
                  <a:gd name="T4" fmla="*/ 17 w 27"/>
                  <a:gd name="T5" fmla="*/ 24 h 31"/>
                  <a:gd name="T6" fmla="*/ 19 w 27"/>
                  <a:gd name="T7" fmla="*/ 21 h 31"/>
                  <a:gd name="T8" fmla="*/ 21 w 27"/>
                  <a:gd name="T9" fmla="*/ 24 h 31"/>
                  <a:gd name="T10" fmla="*/ 24 w 27"/>
                  <a:gd name="T11" fmla="*/ 23 h 31"/>
                  <a:gd name="T12" fmla="*/ 26 w 27"/>
                  <a:gd name="T13" fmla="*/ 24 h 31"/>
                  <a:gd name="T14" fmla="*/ 26 w 27"/>
                  <a:gd name="T15" fmla="*/ 21 h 31"/>
                  <a:gd name="T16" fmla="*/ 26 w 27"/>
                  <a:gd name="T17" fmla="*/ 14 h 31"/>
                  <a:gd name="T18" fmla="*/ 25 w 27"/>
                  <a:gd name="T19" fmla="*/ 11 h 31"/>
                  <a:gd name="T20" fmla="*/ 26 w 27"/>
                  <a:gd name="T21" fmla="*/ 6 h 31"/>
                  <a:gd name="T22" fmla="*/ 21 w 27"/>
                  <a:gd name="T23" fmla="*/ 4 h 31"/>
                  <a:gd name="T24" fmla="*/ 19 w 27"/>
                  <a:gd name="T25" fmla="*/ 0 h 31"/>
                  <a:gd name="T26" fmla="*/ 14 w 27"/>
                  <a:gd name="T27" fmla="*/ 0 h 31"/>
                  <a:gd name="T28" fmla="*/ 11 w 27"/>
                  <a:gd name="T29" fmla="*/ 7 h 31"/>
                  <a:gd name="T30" fmla="*/ 5 w 27"/>
                  <a:gd name="T31" fmla="*/ 7 h 31"/>
                  <a:gd name="T32" fmla="*/ 4 w 27"/>
                  <a:gd name="T33" fmla="*/ 7 h 31"/>
                  <a:gd name="T34" fmla="*/ 4 w 27"/>
                  <a:gd name="T35" fmla="*/ 10 h 31"/>
                  <a:gd name="T36" fmla="*/ 0 w 27"/>
                  <a:gd name="T37" fmla="*/ 16 h 31"/>
                  <a:gd name="T38" fmla="*/ 4 w 27"/>
                  <a:gd name="T39" fmla="*/ 23 h 31"/>
                  <a:gd name="T40" fmla="*/ 9 w 27"/>
                  <a:gd name="T41" fmla="*/ 28 h 31"/>
                  <a:gd name="T42" fmla="*/ 11 w 27"/>
                  <a:gd name="T43" fmla="*/ 31 h 31"/>
                  <a:gd name="T44" fmla="*/ 15 w 27"/>
                  <a:gd name="T45" fmla="*/ 29 h 31"/>
                  <a:gd name="T46" fmla="*/ 15 w 27"/>
                  <a:gd name="T4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31">
                    <a:moveTo>
                      <a:pt x="15" y="29"/>
                    </a:moveTo>
                    <a:cubicBezTo>
                      <a:pt x="15" y="28"/>
                      <a:pt x="13" y="24"/>
                      <a:pt x="15" y="24"/>
                    </a:cubicBezTo>
                    <a:cubicBezTo>
                      <a:pt x="15" y="24"/>
                      <a:pt x="17" y="24"/>
                      <a:pt x="17" y="24"/>
                    </a:cubicBezTo>
                    <a:cubicBezTo>
                      <a:pt x="18" y="23"/>
                      <a:pt x="18" y="21"/>
                      <a:pt x="19" y="21"/>
                    </a:cubicBezTo>
                    <a:cubicBezTo>
                      <a:pt x="20" y="22"/>
                      <a:pt x="21" y="23"/>
                      <a:pt x="21" y="24"/>
                    </a:cubicBezTo>
                    <a:cubicBezTo>
                      <a:pt x="22" y="25"/>
                      <a:pt x="22" y="23"/>
                      <a:pt x="24" y="23"/>
                    </a:cubicBezTo>
                    <a:cubicBezTo>
                      <a:pt x="24" y="23"/>
                      <a:pt x="26" y="25"/>
                      <a:pt x="26" y="24"/>
                    </a:cubicBezTo>
                    <a:cubicBezTo>
                      <a:pt x="26" y="23"/>
                      <a:pt x="26" y="22"/>
                      <a:pt x="26" y="21"/>
                    </a:cubicBezTo>
                    <a:cubicBezTo>
                      <a:pt x="27" y="19"/>
                      <a:pt x="27" y="16"/>
                      <a:pt x="26" y="14"/>
                    </a:cubicBezTo>
                    <a:cubicBezTo>
                      <a:pt x="25" y="13"/>
                      <a:pt x="25" y="12"/>
                      <a:pt x="25" y="11"/>
                    </a:cubicBezTo>
                    <a:cubicBezTo>
                      <a:pt x="25" y="9"/>
                      <a:pt x="27" y="8"/>
                      <a:pt x="26" y="6"/>
                    </a:cubicBezTo>
                    <a:cubicBezTo>
                      <a:pt x="25" y="3"/>
                      <a:pt x="21" y="7"/>
                      <a:pt x="21" y="4"/>
                    </a:cubicBezTo>
                    <a:cubicBezTo>
                      <a:pt x="21" y="2"/>
                      <a:pt x="22" y="0"/>
                      <a:pt x="19" y="0"/>
                    </a:cubicBezTo>
                    <a:cubicBezTo>
                      <a:pt x="18" y="0"/>
                      <a:pt x="16" y="0"/>
                      <a:pt x="14" y="0"/>
                    </a:cubicBezTo>
                    <a:cubicBezTo>
                      <a:pt x="10" y="0"/>
                      <a:pt x="15" y="7"/>
                      <a:pt x="11" y="7"/>
                    </a:cubicBezTo>
                    <a:cubicBezTo>
                      <a:pt x="9" y="7"/>
                      <a:pt x="7" y="7"/>
                      <a:pt x="5" y="7"/>
                    </a:cubicBezTo>
                    <a:cubicBezTo>
                      <a:pt x="4" y="7"/>
                      <a:pt x="4" y="7"/>
                      <a:pt x="4" y="7"/>
                    </a:cubicBezTo>
                    <a:cubicBezTo>
                      <a:pt x="2" y="9"/>
                      <a:pt x="4" y="9"/>
                      <a:pt x="4" y="10"/>
                    </a:cubicBezTo>
                    <a:cubicBezTo>
                      <a:pt x="4" y="12"/>
                      <a:pt x="0" y="14"/>
                      <a:pt x="0" y="16"/>
                    </a:cubicBezTo>
                    <a:cubicBezTo>
                      <a:pt x="1" y="18"/>
                      <a:pt x="3" y="21"/>
                      <a:pt x="4" y="23"/>
                    </a:cubicBezTo>
                    <a:cubicBezTo>
                      <a:pt x="6" y="24"/>
                      <a:pt x="7" y="26"/>
                      <a:pt x="9" y="28"/>
                    </a:cubicBezTo>
                    <a:cubicBezTo>
                      <a:pt x="10" y="29"/>
                      <a:pt x="11" y="30"/>
                      <a:pt x="11" y="31"/>
                    </a:cubicBezTo>
                    <a:cubicBezTo>
                      <a:pt x="12" y="30"/>
                      <a:pt x="14" y="30"/>
                      <a:pt x="15" y="29"/>
                    </a:cubicBezTo>
                    <a:cubicBezTo>
                      <a:pt x="15" y="29"/>
                      <a:pt x="14" y="30"/>
                      <a:pt x="15" y="29"/>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7" name="Freeform 754">
                <a:extLst>
                  <a:ext uri="{FF2B5EF4-FFF2-40B4-BE49-F238E27FC236}">
                    <a16:creationId xmlns:a16="http://schemas.microsoft.com/office/drawing/2014/main" id="{E317F0CA-59F7-2B45-8BEE-5DA7BF052631}"/>
                  </a:ext>
                </a:extLst>
              </p:cNvPr>
              <p:cNvSpPr>
                <a:spLocks/>
              </p:cNvSpPr>
              <p:nvPr/>
            </p:nvSpPr>
            <p:spPr bwMode="auto">
              <a:xfrm>
                <a:off x="12133315" y="8931134"/>
                <a:ext cx="105096" cy="66896"/>
              </a:xfrm>
              <a:custGeom>
                <a:avLst/>
                <a:gdLst>
                  <a:gd name="T0" fmla="*/ 11 w 11"/>
                  <a:gd name="T1" fmla="*/ 7 h 7"/>
                  <a:gd name="T2" fmla="*/ 11 w 11"/>
                  <a:gd name="T3" fmla="*/ 0 h 7"/>
                  <a:gd name="T4" fmla="*/ 3 w 11"/>
                  <a:gd name="T5" fmla="*/ 1 h 7"/>
                  <a:gd name="T6" fmla="*/ 0 w 11"/>
                  <a:gd name="T7" fmla="*/ 4 h 7"/>
                  <a:gd name="T8" fmla="*/ 2 w 11"/>
                  <a:gd name="T9" fmla="*/ 7 h 7"/>
                  <a:gd name="T10" fmla="*/ 11 w 11"/>
                  <a:gd name="T11" fmla="*/ 7 h 7"/>
                </a:gdLst>
                <a:ahLst/>
                <a:cxnLst>
                  <a:cxn ang="0">
                    <a:pos x="T0" y="T1"/>
                  </a:cxn>
                  <a:cxn ang="0">
                    <a:pos x="T2" y="T3"/>
                  </a:cxn>
                  <a:cxn ang="0">
                    <a:pos x="T4" y="T5"/>
                  </a:cxn>
                  <a:cxn ang="0">
                    <a:pos x="T6" y="T7"/>
                  </a:cxn>
                  <a:cxn ang="0">
                    <a:pos x="T8" y="T9"/>
                  </a:cxn>
                  <a:cxn ang="0">
                    <a:pos x="T10" y="T11"/>
                  </a:cxn>
                </a:cxnLst>
                <a:rect l="0" t="0" r="r" b="b"/>
                <a:pathLst>
                  <a:path w="11" h="7">
                    <a:moveTo>
                      <a:pt x="11" y="7"/>
                    </a:moveTo>
                    <a:cubicBezTo>
                      <a:pt x="11" y="5"/>
                      <a:pt x="11" y="2"/>
                      <a:pt x="11" y="0"/>
                    </a:cubicBezTo>
                    <a:cubicBezTo>
                      <a:pt x="8" y="0"/>
                      <a:pt x="6" y="1"/>
                      <a:pt x="3" y="1"/>
                    </a:cubicBezTo>
                    <a:cubicBezTo>
                      <a:pt x="4" y="2"/>
                      <a:pt x="1" y="3"/>
                      <a:pt x="0" y="4"/>
                    </a:cubicBezTo>
                    <a:cubicBezTo>
                      <a:pt x="0" y="5"/>
                      <a:pt x="2" y="6"/>
                      <a:pt x="2" y="7"/>
                    </a:cubicBezTo>
                    <a:lnTo>
                      <a:pt x="11" y="7"/>
                    </a:ln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8" name="Freeform 755">
                <a:extLst>
                  <a:ext uri="{FF2B5EF4-FFF2-40B4-BE49-F238E27FC236}">
                    <a16:creationId xmlns:a16="http://schemas.microsoft.com/office/drawing/2014/main" id="{D6B14FE0-5274-E048-97A6-EB0AA162B4BD}"/>
                  </a:ext>
                </a:extLst>
              </p:cNvPr>
              <p:cNvSpPr>
                <a:spLocks/>
              </p:cNvSpPr>
              <p:nvPr/>
            </p:nvSpPr>
            <p:spPr bwMode="auto">
              <a:xfrm>
                <a:off x="12098282" y="8427819"/>
                <a:ext cx="343950" cy="531986"/>
              </a:xfrm>
              <a:custGeom>
                <a:avLst/>
                <a:gdLst>
                  <a:gd name="T0" fmla="*/ 29 w 37"/>
                  <a:gd name="T1" fmla="*/ 55 h 57"/>
                  <a:gd name="T2" fmla="*/ 37 w 37"/>
                  <a:gd name="T3" fmla="*/ 55 h 57"/>
                  <a:gd name="T4" fmla="*/ 33 w 37"/>
                  <a:gd name="T5" fmla="*/ 48 h 57"/>
                  <a:gd name="T6" fmla="*/ 32 w 37"/>
                  <a:gd name="T7" fmla="*/ 44 h 57"/>
                  <a:gd name="T8" fmla="*/ 30 w 37"/>
                  <a:gd name="T9" fmla="*/ 40 h 57"/>
                  <a:gd name="T10" fmla="*/ 32 w 37"/>
                  <a:gd name="T11" fmla="*/ 32 h 57"/>
                  <a:gd name="T12" fmla="*/ 34 w 37"/>
                  <a:gd name="T13" fmla="*/ 27 h 57"/>
                  <a:gd name="T14" fmla="*/ 31 w 37"/>
                  <a:gd name="T15" fmla="*/ 21 h 57"/>
                  <a:gd name="T16" fmla="*/ 28 w 37"/>
                  <a:gd name="T17" fmla="*/ 16 h 57"/>
                  <a:gd name="T18" fmla="*/ 34 w 37"/>
                  <a:gd name="T19" fmla="*/ 16 h 57"/>
                  <a:gd name="T20" fmla="*/ 32 w 37"/>
                  <a:gd name="T21" fmla="*/ 6 h 57"/>
                  <a:gd name="T22" fmla="*/ 30 w 37"/>
                  <a:gd name="T23" fmla="*/ 2 h 57"/>
                  <a:gd name="T24" fmla="*/ 27 w 37"/>
                  <a:gd name="T25" fmla="*/ 0 h 57"/>
                  <a:gd name="T26" fmla="*/ 28 w 37"/>
                  <a:gd name="T27" fmla="*/ 9 h 57"/>
                  <a:gd name="T28" fmla="*/ 23 w 37"/>
                  <a:gd name="T29" fmla="*/ 18 h 57"/>
                  <a:gd name="T30" fmla="*/ 21 w 37"/>
                  <a:gd name="T31" fmla="*/ 22 h 57"/>
                  <a:gd name="T32" fmla="*/ 18 w 37"/>
                  <a:gd name="T33" fmla="*/ 27 h 57"/>
                  <a:gd name="T34" fmla="*/ 15 w 37"/>
                  <a:gd name="T35" fmla="*/ 33 h 57"/>
                  <a:gd name="T36" fmla="*/ 11 w 37"/>
                  <a:gd name="T37" fmla="*/ 31 h 57"/>
                  <a:gd name="T38" fmla="*/ 2 w 37"/>
                  <a:gd name="T39" fmla="*/ 39 h 57"/>
                  <a:gd name="T40" fmla="*/ 1 w 37"/>
                  <a:gd name="T41" fmla="*/ 42 h 57"/>
                  <a:gd name="T42" fmla="*/ 4 w 37"/>
                  <a:gd name="T43" fmla="*/ 45 h 57"/>
                  <a:gd name="T44" fmla="*/ 5 w 37"/>
                  <a:gd name="T45" fmla="*/ 45 h 57"/>
                  <a:gd name="T46" fmla="*/ 7 w 37"/>
                  <a:gd name="T47" fmla="*/ 48 h 57"/>
                  <a:gd name="T48" fmla="*/ 7 w 37"/>
                  <a:gd name="T49" fmla="*/ 55 h 57"/>
                  <a:gd name="T50" fmla="*/ 16 w 37"/>
                  <a:gd name="T51" fmla="*/ 54 h 57"/>
                  <a:gd name="T52" fmla="*/ 29 w 37"/>
                  <a:gd name="T53" fmla="*/ 5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57">
                    <a:moveTo>
                      <a:pt x="29" y="55"/>
                    </a:moveTo>
                    <a:cubicBezTo>
                      <a:pt x="32" y="55"/>
                      <a:pt x="35" y="57"/>
                      <a:pt x="37" y="55"/>
                    </a:cubicBezTo>
                    <a:cubicBezTo>
                      <a:pt x="37" y="51"/>
                      <a:pt x="35" y="50"/>
                      <a:pt x="33" y="48"/>
                    </a:cubicBezTo>
                    <a:cubicBezTo>
                      <a:pt x="32" y="47"/>
                      <a:pt x="32" y="46"/>
                      <a:pt x="32" y="44"/>
                    </a:cubicBezTo>
                    <a:cubicBezTo>
                      <a:pt x="31" y="43"/>
                      <a:pt x="30" y="42"/>
                      <a:pt x="30" y="40"/>
                    </a:cubicBezTo>
                    <a:cubicBezTo>
                      <a:pt x="29" y="36"/>
                      <a:pt x="31" y="35"/>
                      <a:pt x="32" y="32"/>
                    </a:cubicBezTo>
                    <a:cubicBezTo>
                      <a:pt x="33" y="30"/>
                      <a:pt x="34" y="29"/>
                      <a:pt x="34" y="27"/>
                    </a:cubicBezTo>
                    <a:cubicBezTo>
                      <a:pt x="33" y="25"/>
                      <a:pt x="33" y="23"/>
                      <a:pt x="31" y="21"/>
                    </a:cubicBezTo>
                    <a:cubicBezTo>
                      <a:pt x="31" y="21"/>
                      <a:pt x="26" y="18"/>
                      <a:pt x="28" y="16"/>
                    </a:cubicBezTo>
                    <a:cubicBezTo>
                      <a:pt x="29" y="15"/>
                      <a:pt x="32" y="16"/>
                      <a:pt x="34" y="16"/>
                    </a:cubicBezTo>
                    <a:cubicBezTo>
                      <a:pt x="32" y="12"/>
                      <a:pt x="32" y="10"/>
                      <a:pt x="32" y="6"/>
                    </a:cubicBezTo>
                    <a:cubicBezTo>
                      <a:pt x="32" y="5"/>
                      <a:pt x="32" y="3"/>
                      <a:pt x="30" y="2"/>
                    </a:cubicBezTo>
                    <a:cubicBezTo>
                      <a:pt x="30" y="1"/>
                      <a:pt x="27" y="0"/>
                      <a:pt x="27" y="0"/>
                    </a:cubicBezTo>
                    <a:cubicBezTo>
                      <a:pt x="27" y="2"/>
                      <a:pt x="33" y="7"/>
                      <a:pt x="28" y="9"/>
                    </a:cubicBezTo>
                    <a:cubicBezTo>
                      <a:pt x="25" y="11"/>
                      <a:pt x="24" y="14"/>
                      <a:pt x="23" y="18"/>
                    </a:cubicBezTo>
                    <a:cubicBezTo>
                      <a:pt x="22" y="19"/>
                      <a:pt x="22" y="22"/>
                      <a:pt x="21" y="22"/>
                    </a:cubicBezTo>
                    <a:cubicBezTo>
                      <a:pt x="19" y="23"/>
                      <a:pt x="19" y="25"/>
                      <a:pt x="18" y="27"/>
                    </a:cubicBezTo>
                    <a:cubicBezTo>
                      <a:pt x="17" y="29"/>
                      <a:pt x="16" y="31"/>
                      <a:pt x="15" y="33"/>
                    </a:cubicBezTo>
                    <a:cubicBezTo>
                      <a:pt x="13" y="35"/>
                      <a:pt x="12" y="31"/>
                      <a:pt x="11" y="31"/>
                    </a:cubicBezTo>
                    <a:cubicBezTo>
                      <a:pt x="6" y="31"/>
                      <a:pt x="3" y="35"/>
                      <a:pt x="2" y="39"/>
                    </a:cubicBezTo>
                    <a:cubicBezTo>
                      <a:pt x="2" y="40"/>
                      <a:pt x="0" y="41"/>
                      <a:pt x="1" y="42"/>
                    </a:cubicBezTo>
                    <a:cubicBezTo>
                      <a:pt x="2" y="43"/>
                      <a:pt x="3" y="44"/>
                      <a:pt x="4" y="45"/>
                    </a:cubicBezTo>
                    <a:cubicBezTo>
                      <a:pt x="4" y="46"/>
                      <a:pt x="5" y="44"/>
                      <a:pt x="5" y="45"/>
                    </a:cubicBezTo>
                    <a:cubicBezTo>
                      <a:pt x="6" y="46"/>
                      <a:pt x="7" y="47"/>
                      <a:pt x="7" y="48"/>
                    </a:cubicBezTo>
                    <a:cubicBezTo>
                      <a:pt x="8" y="50"/>
                      <a:pt x="7" y="53"/>
                      <a:pt x="7" y="55"/>
                    </a:cubicBezTo>
                    <a:cubicBezTo>
                      <a:pt x="10" y="54"/>
                      <a:pt x="13" y="54"/>
                      <a:pt x="16" y="54"/>
                    </a:cubicBezTo>
                    <a:cubicBezTo>
                      <a:pt x="20" y="54"/>
                      <a:pt x="25" y="55"/>
                      <a:pt x="29"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79" name="Freeform 756">
                <a:extLst>
                  <a:ext uri="{FF2B5EF4-FFF2-40B4-BE49-F238E27FC236}">
                    <a16:creationId xmlns:a16="http://schemas.microsoft.com/office/drawing/2014/main" id="{106F5E11-51CD-BE42-A4AE-842A400520CD}"/>
                  </a:ext>
                </a:extLst>
              </p:cNvPr>
              <p:cNvSpPr>
                <a:spLocks/>
              </p:cNvSpPr>
              <p:nvPr/>
            </p:nvSpPr>
            <p:spPr bwMode="auto">
              <a:xfrm>
                <a:off x="11732043" y="8453303"/>
                <a:ext cx="140127" cy="289887"/>
              </a:xfrm>
              <a:custGeom>
                <a:avLst/>
                <a:gdLst>
                  <a:gd name="T0" fmla="*/ 11 w 15"/>
                  <a:gd name="T1" fmla="*/ 0 h 31"/>
                  <a:gd name="T2" fmla="*/ 9 w 15"/>
                  <a:gd name="T3" fmla="*/ 4 h 31"/>
                  <a:gd name="T4" fmla="*/ 4 w 15"/>
                  <a:gd name="T5" fmla="*/ 5 h 31"/>
                  <a:gd name="T6" fmla="*/ 1 w 15"/>
                  <a:gd name="T7" fmla="*/ 8 h 31"/>
                  <a:gd name="T8" fmla="*/ 3 w 15"/>
                  <a:gd name="T9" fmla="*/ 13 h 31"/>
                  <a:gd name="T10" fmla="*/ 6 w 15"/>
                  <a:gd name="T11" fmla="*/ 31 h 31"/>
                  <a:gd name="T12" fmla="*/ 11 w 15"/>
                  <a:gd name="T13" fmla="*/ 30 h 31"/>
                  <a:gd name="T14" fmla="*/ 11 w 15"/>
                  <a:gd name="T15" fmla="*/ 27 h 31"/>
                  <a:gd name="T16" fmla="*/ 11 w 15"/>
                  <a:gd name="T17" fmla="*/ 18 h 31"/>
                  <a:gd name="T18" fmla="*/ 15 w 15"/>
                  <a:gd name="T19" fmla="*/ 9 h 31"/>
                  <a:gd name="T20" fmla="*/ 14 w 15"/>
                  <a:gd name="T21" fmla="*/ 3 h 31"/>
                  <a:gd name="T22" fmla="*/ 11 w 15"/>
                  <a:gd name="T23" fmla="*/ 0 h 31"/>
                  <a:gd name="T24" fmla="*/ 11 w 15"/>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31">
                    <a:moveTo>
                      <a:pt x="11" y="0"/>
                    </a:moveTo>
                    <a:cubicBezTo>
                      <a:pt x="9" y="2"/>
                      <a:pt x="10" y="2"/>
                      <a:pt x="9" y="4"/>
                    </a:cubicBezTo>
                    <a:cubicBezTo>
                      <a:pt x="8" y="6"/>
                      <a:pt x="6" y="5"/>
                      <a:pt x="4" y="5"/>
                    </a:cubicBezTo>
                    <a:cubicBezTo>
                      <a:pt x="4" y="5"/>
                      <a:pt x="2" y="7"/>
                      <a:pt x="1" y="8"/>
                    </a:cubicBezTo>
                    <a:cubicBezTo>
                      <a:pt x="0" y="9"/>
                      <a:pt x="2" y="11"/>
                      <a:pt x="3" y="13"/>
                    </a:cubicBezTo>
                    <a:cubicBezTo>
                      <a:pt x="7" y="18"/>
                      <a:pt x="4" y="25"/>
                      <a:pt x="6" y="31"/>
                    </a:cubicBezTo>
                    <a:cubicBezTo>
                      <a:pt x="7" y="31"/>
                      <a:pt x="9" y="31"/>
                      <a:pt x="11" y="30"/>
                    </a:cubicBezTo>
                    <a:cubicBezTo>
                      <a:pt x="12" y="30"/>
                      <a:pt x="12" y="29"/>
                      <a:pt x="11" y="27"/>
                    </a:cubicBezTo>
                    <a:cubicBezTo>
                      <a:pt x="11" y="24"/>
                      <a:pt x="11" y="21"/>
                      <a:pt x="11" y="18"/>
                    </a:cubicBezTo>
                    <a:cubicBezTo>
                      <a:pt x="11" y="14"/>
                      <a:pt x="14" y="12"/>
                      <a:pt x="15" y="9"/>
                    </a:cubicBezTo>
                    <a:cubicBezTo>
                      <a:pt x="15" y="6"/>
                      <a:pt x="15" y="5"/>
                      <a:pt x="14" y="3"/>
                    </a:cubicBezTo>
                    <a:cubicBezTo>
                      <a:pt x="14" y="3"/>
                      <a:pt x="11" y="0"/>
                      <a:pt x="11" y="0"/>
                    </a:cubicBezTo>
                    <a:cubicBezTo>
                      <a:pt x="10" y="1"/>
                      <a:pt x="11" y="0"/>
                      <a:pt x="1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0" name="Freeform 757">
                <a:extLst>
                  <a:ext uri="{FF2B5EF4-FFF2-40B4-BE49-F238E27FC236}">
                    <a16:creationId xmlns:a16="http://schemas.microsoft.com/office/drawing/2014/main" id="{795C9C68-2900-4648-A5CF-15010F2E08A0}"/>
                  </a:ext>
                </a:extLst>
              </p:cNvPr>
              <p:cNvSpPr>
                <a:spLocks/>
              </p:cNvSpPr>
              <p:nvPr/>
            </p:nvSpPr>
            <p:spPr bwMode="auto">
              <a:xfrm>
                <a:off x="11827584" y="8380032"/>
                <a:ext cx="550956" cy="477833"/>
              </a:xfrm>
              <a:custGeom>
                <a:avLst/>
                <a:gdLst>
                  <a:gd name="T0" fmla="*/ 31 w 59"/>
                  <a:gd name="T1" fmla="*/ 42 h 51"/>
                  <a:gd name="T2" fmla="*/ 37 w 59"/>
                  <a:gd name="T3" fmla="*/ 37 h 51"/>
                  <a:gd name="T4" fmla="*/ 40 w 59"/>
                  <a:gd name="T5" fmla="*/ 36 h 51"/>
                  <a:gd name="T6" fmla="*/ 43 w 59"/>
                  <a:gd name="T7" fmla="*/ 38 h 51"/>
                  <a:gd name="T8" fmla="*/ 47 w 59"/>
                  <a:gd name="T9" fmla="*/ 32 h 51"/>
                  <a:gd name="T10" fmla="*/ 48 w 59"/>
                  <a:gd name="T11" fmla="*/ 28 h 51"/>
                  <a:gd name="T12" fmla="*/ 51 w 59"/>
                  <a:gd name="T13" fmla="*/ 27 h 51"/>
                  <a:gd name="T14" fmla="*/ 56 w 59"/>
                  <a:gd name="T15" fmla="*/ 14 h 51"/>
                  <a:gd name="T16" fmla="*/ 59 w 59"/>
                  <a:gd name="T17" fmla="*/ 11 h 51"/>
                  <a:gd name="T18" fmla="*/ 57 w 59"/>
                  <a:gd name="T19" fmla="*/ 8 h 51"/>
                  <a:gd name="T20" fmla="*/ 56 w 59"/>
                  <a:gd name="T21" fmla="*/ 6 h 51"/>
                  <a:gd name="T22" fmla="*/ 54 w 59"/>
                  <a:gd name="T23" fmla="*/ 1 h 51"/>
                  <a:gd name="T24" fmla="*/ 48 w 59"/>
                  <a:gd name="T25" fmla="*/ 5 h 51"/>
                  <a:gd name="T26" fmla="*/ 40 w 59"/>
                  <a:gd name="T27" fmla="*/ 4 h 51"/>
                  <a:gd name="T28" fmla="*/ 32 w 59"/>
                  <a:gd name="T29" fmla="*/ 6 h 51"/>
                  <a:gd name="T30" fmla="*/ 26 w 59"/>
                  <a:gd name="T31" fmla="*/ 4 h 51"/>
                  <a:gd name="T32" fmla="*/ 19 w 59"/>
                  <a:gd name="T33" fmla="*/ 3 h 51"/>
                  <a:gd name="T34" fmla="*/ 13 w 59"/>
                  <a:gd name="T35" fmla="*/ 1 h 51"/>
                  <a:gd name="T36" fmla="*/ 8 w 59"/>
                  <a:gd name="T37" fmla="*/ 3 h 51"/>
                  <a:gd name="T38" fmla="*/ 7 w 59"/>
                  <a:gd name="T39" fmla="*/ 6 h 51"/>
                  <a:gd name="T40" fmla="*/ 6 w 59"/>
                  <a:gd name="T41" fmla="*/ 10 h 51"/>
                  <a:gd name="T42" fmla="*/ 5 w 59"/>
                  <a:gd name="T43" fmla="*/ 16 h 51"/>
                  <a:gd name="T44" fmla="*/ 1 w 59"/>
                  <a:gd name="T45" fmla="*/ 24 h 51"/>
                  <a:gd name="T46" fmla="*/ 2 w 59"/>
                  <a:gd name="T47" fmla="*/ 38 h 51"/>
                  <a:gd name="T48" fmla="*/ 5 w 59"/>
                  <a:gd name="T49" fmla="*/ 38 h 51"/>
                  <a:gd name="T50" fmla="*/ 9 w 59"/>
                  <a:gd name="T51" fmla="*/ 39 h 51"/>
                  <a:gd name="T52" fmla="*/ 14 w 59"/>
                  <a:gd name="T53" fmla="*/ 43 h 51"/>
                  <a:gd name="T54" fmla="*/ 14 w 59"/>
                  <a:gd name="T55" fmla="*/ 45 h 51"/>
                  <a:gd name="T56" fmla="*/ 16 w 59"/>
                  <a:gd name="T57" fmla="*/ 48 h 51"/>
                  <a:gd name="T58" fmla="*/ 23 w 59"/>
                  <a:gd name="T59" fmla="*/ 47 h 51"/>
                  <a:gd name="T60" fmla="*/ 22 w 59"/>
                  <a:gd name="T61" fmla="*/ 48 h 51"/>
                  <a:gd name="T62" fmla="*/ 27 w 59"/>
                  <a:gd name="T63" fmla="*/ 47 h 51"/>
                  <a:gd name="T64" fmla="*/ 30 w 59"/>
                  <a:gd name="T65" fmla="*/ 47 h 51"/>
                  <a:gd name="T66" fmla="*/ 31 w 59"/>
                  <a:gd name="T67" fmla="*/ 42 h 51"/>
                  <a:gd name="T68" fmla="*/ 31 w 59"/>
                  <a:gd name="T69"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 h="51">
                    <a:moveTo>
                      <a:pt x="31" y="42"/>
                    </a:moveTo>
                    <a:cubicBezTo>
                      <a:pt x="32" y="40"/>
                      <a:pt x="35" y="37"/>
                      <a:pt x="37" y="37"/>
                    </a:cubicBezTo>
                    <a:cubicBezTo>
                      <a:pt x="38" y="36"/>
                      <a:pt x="40" y="36"/>
                      <a:pt x="40" y="36"/>
                    </a:cubicBezTo>
                    <a:cubicBezTo>
                      <a:pt x="41" y="37"/>
                      <a:pt x="42" y="39"/>
                      <a:pt x="43" y="38"/>
                    </a:cubicBezTo>
                    <a:cubicBezTo>
                      <a:pt x="45" y="37"/>
                      <a:pt x="46" y="34"/>
                      <a:pt x="47" y="32"/>
                    </a:cubicBezTo>
                    <a:cubicBezTo>
                      <a:pt x="47" y="31"/>
                      <a:pt x="48" y="29"/>
                      <a:pt x="48" y="28"/>
                    </a:cubicBezTo>
                    <a:cubicBezTo>
                      <a:pt x="49" y="27"/>
                      <a:pt x="50" y="28"/>
                      <a:pt x="51" y="27"/>
                    </a:cubicBezTo>
                    <a:cubicBezTo>
                      <a:pt x="51" y="25"/>
                      <a:pt x="53" y="14"/>
                      <a:pt x="56" y="14"/>
                    </a:cubicBezTo>
                    <a:cubicBezTo>
                      <a:pt x="58" y="14"/>
                      <a:pt x="59" y="12"/>
                      <a:pt x="59" y="11"/>
                    </a:cubicBezTo>
                    <a:cubicBezTo>
                      <a:pt x="59" y="9"/>
                      <a:pt x="57" y="9"/>
                      <a:pt x="57" y="8"/>
                    </a:cubicBezTo>
                    <a:cubicBezTo>
                      <a:pt x="57" y="7"/>
                      <a:pt x="56" y="7"/>
                      <a:pt x="56" y="6"/>
                    </a:cubicBezTo>
                    <a:cubicBezTo>
                      <a:pt x="55" y="4"/>
                      <a:pt x="55" y="3"/>
                      <a:pt x="54" y="1"/>
                    </a:cubicBezTo>
                    <a:cubicBezTo>
                      <a:pt x="53" y="2"/>
                      <a:pt x="50" y="5"/>
                      <a:pt x="48" y="5"/>
                    </a:cubicBezTo>
                    <a:cubicBezTo>
                      <a:pt x="45" y="4"/>
                      <a:pt x="43" y="4"/>
                      <a:pt x="40" y="4"/>
                    </a:cubicBezTo>
                    <a:cubicBezTo>
                      <a:pt x="37" y="4"/>
                      <a:pt x="35" y="6"/>
                      <a:pt x="32" y="6"/>
                    </a:cubicBezTo>
                    <a:cubicBezTo>
                      <a:pt x="30" y="6"/>
                      <a:pt x="28" y="3"/>
                      <a:pt x="26" y="4"/>
                    </a:cubicBezTo>
                    <a:cubicBezTo>
                      <a:pt x="22" y="6"/>
                      <a:pt x="21" y="5"/>
                      <a:pt x="19" y="3"/>
                    </a:cubicBezTo>
                    <a:cubicBezTo>
                      <a:pt x="18" y="2"/>
                      <a:pt x="15" y="0"/>
                      <a:pt x="13" y="1"/>
                    </a:cubicBezTo>
                    <a:cubicBezTo>
                      <a:pt x="12" y="1"/>
                      <a:pt x="9" y="2"/>
                      <a:pt x="8" y="3"/>
                    </a:cubicBezTo>
                    <a:cubicBezTo>
                      <a:pt x="7" y="4"/>
                      <a:pt x="8" y="5"/>
                      <a:pt x="7" y="6"/>
                    </a:cubicBezTo>
                    <a:cubicBezTo>
                      <a:pt x="7" y="7"/>
                      <a:pt x="6" y="9"/>
                      <a:pt x="6" y="10"/>
                    </a:cubicBezTo>
                    <a:cubicBezTo>
                      <a:pt x="5" y="12"/>
                      <a:pt x="5" y="14"/>
                      <a:pt x="5" y="16"/>
                    </a:cubicBezTo>
                    <a:cubicBezTo>
                      <a:pt x="5" y="19"/>
                      <a:pt x="2" y="21"/>
                      <a:pt x="1" y="24"/>
                    </a:cubicBezTo>
                    <a:cubicBezTo>
                      <a:pt x="0" y="27"/>
                      <a:pt x="1" y="34"/>
                      <a:pt x="2" y="38"/>
                    </a:cubicBezTo>
                    <a:cubicBezTo>
                      <a:pt x="2" y="39"/>
                      <a:pt x="4" y="38"/>
                      <a:pt x="5" y="38"/>
                    </a:cubicBezTo>
                    <a:cubicBezTo>
                      <a:pt x="6" y="38"/>
                      <a:pt x="8" y="39"/>
                      <a:pt x="9" y="39"/>
                    </a:cubicBezTo>
                    <a:cubicBezTo>
                      <a:pt x="10" y="40"/>
                      <a:pt x="14" y="42"/>
                      <a:pt x="14" y="43"/>
                    </a:cubicBezTo>
                    <a:cubicBezTo>
                      <a:pt x="14" y="44"/>
                      <a:pt x="14" y="44"/>
                      <a:pt x="14" y="45"/>
                    </a:cubicBezTo>
                    <a:cubicBezTo>
                      <a:pt x="14" y="46"/>
                      <a:pt x="15" y="47"/>
                      <a:pt x="16" y="48"/>
                    </a:cubicBezTo>
                    <a:cubicBezTo>
                      <a:pt x="18" y="51"/>
                      <a:pt x="21" y="46"/>
                      <a:pt x="23" y="47"/>
                    </a:cubicBezTo>
                    <a:cubicBezTo>
                      <a:pt x="23" y="47"/>
                      <a:pt x="22" y="48"/>
                      <a:pt x="22" y="48"/>
                    </a:cubicBezTo>
                    <a:cubicBezTo>
                      <a:pt x="22" y="47"/>
                      <a:pt x="27" y="47"/>
                      <a:pt x="27" y="47"/>
                    </a:cubicBezTo>
                    <a:cubicBezTo>
                      <a:pt x="29" y="47"/>
                      <a:pt x="29" y="45"/>
                      <a:pt x="30" y="47"/>
                    </a:cubicBezTo>
                    <a:cubicBezTo>
                      <a:pt x="31" y="45"/>
                      <a:pt x="31" y="44"/>
                      <a:pt x="31" y="42"/>
                    </a:cubicBezTo>
                    <a:cubicBezTo>
                      <a:pt x="32" y="41"/>
                      <a:pt x="31" y="43"/>
                      <a:pt x="31" y="4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1" name="Freeform 758">
                <a:extLst>
                  <a:ext uri="{FF2B5EF4-FFF2-40B4-BE49-F238E27FC236}">
                    <a16:creationId xmlns:a16="http://schemas.microsoft.com/office/drawing/2014/main" id="{FD9C28B7-89B8-9642-B49A-E0CA4CDF13E3}"/>
                  </a:ext>
                </a:extLst>
              </p:cNvPr>
              <p:cNvSpPr>
                <a:spLocks/>
              </p:cNvSpPr>
              <p:nvPr/>
            </p:nvSpPr>
            <p:spPr bwMode="auto">
              <a:xfrm>
                <a:off x="11432679" y="8322691"/>
                <a:ext cx="394905" cy="280329"/>
              </a:xfrm>
              <a:custGeom>
                <a:avLst/>
                <a:gdLst>
                  <a:gd name="T0" fmla="*/ 35 w 42"/>
                  <a:gd name="T1" fmla="*/ 20 h 30"/>
                  <a:gd name="T2" fmla="*/ 41 w 42"/>
                  <a:gd name="T3" fmla="*/ 17 h 30"/>
                  <a:gd name="T4" fmla="*/ 38 w 42"/>
                  <a:gd name="T5" fmla="*/ 13 h 30"/>
                  <a:gd name="T6" fmla="*/ 33 w 42"/>
                  <a:gd name="T7" fmla="*/ 10 h 30"/>
                  <a:gd name="T8" fmla="*/ 32 w 42"/>
                  <a:gd name="T9" fmla="*/ 7 h 30"/>
                  <a:gd name="T10" fmla="*/ 30 w 42"/>
                  <a:gd name="T11" fmla="*/ 1 h 30"/>
                  <a:gd name="T12" fmla="*/ 26 w 42"/>
                  <a:gd name="T13" fmla="*/ 0 h 30"/>
                  <a:gd name="T14" fmla="*/ 22 w 42"/>
                  <a:gd name="T15" fmla="*/ 2 h 30"/>
                  <a:gd name="T16" fmla="*/ 19 w 42"/>
                  <a:gd name="T17" fmla="*/ 4 h 30"/>
                  <a:gd name="T18" fmla="*/ 17 w 42"/>
                  <a:gd name="T19" fmla="*/ 5 h 30"/>
                  <a:gd name="T20" fmla="*/ 11 w 42"/>
                  <a:gd name="T21" fmla="*/ 10 h 30"/>
                  <a:gd name="T22" fmla="*/ 9 w 42"/>
                  <a:gd name="T23" fmla="*/ 10 h 30"/>
                  <a:gd name="T24" fmla="*/ 7 w 42"/>
                  <a:gd name="T25" fmla="*/ 14 h 30"/>
                  <a:gd name="T26" fmla="*/ 5 w 42"/>
                  <a:gd name="T27" fmla="*/ 16 h 30"/>
                  <a:gd name="T28" fmla="*/ 2 w 42"/>
                  <a:gd name="T29" fmla="*/ 18 h 30"/>
                  <a:gd name="T30" fmla="*/ 1 w 42"/>
                  <a:gd name="T31" fmla="*/ 24 h 30"/>
                  <a:gd name="T32" fmla="*/ 8 w 42"/>
                  <a:gd name="T33" fmla="*/ 28 h 30"/>
                  <a:gd name="T34" fmla="*/ 16 w 42"/>
                  <a:gd name="T35" fmla="*/ 30 h 30"/>
                  <a:gd name="T36" fmla="*/ 15 w 42"/>
                  <a:gd name="T37" fmla="*/ 22 h 30"/>
                  <a:gd name="T38" fmla="*/ 26 w 42"/>
                  <a:gd name="T39" fmla="*/ 22 h 30"/>
                  <a:gd name="T40" fmla="*/ 35 w 42"/>
                  <a:gd name="T41" fmla="*/ 20 h 30"/>
                  <a:gd name="T42" fmla="*/ 35 w 42"/>
                  <a:gd name="T43" fmla="*/ 2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30">
                    <a:moveTo>
                      <a:pt x="35" y="20"/>
                    </a:moveTo>
                    <a:cubicBezTo>
                      <a:pt x="37" y="17"/>
                      <a:pt x="40" y="20"/>
                      <a:pt x="41" y="17"/>
                    </a:cubicBezTo>
                    <a:cubicBezTo>
                      <a:pt x="42" y="16"/>
                      <a:pt x="39" y="13"/>
                      <a:pt x="38" y="13"/>
                    </a:cubicBezTo>
                    <a:cubicBezTo>
                      <a:pt x="37" y="15"/>
                      <a:pt x="34" y="11"/>
                      <a:pt x="33" y="10"/>
                    </a:cubicBezTo>
                    <a:cubicBezTo>
                      <a:pt x="33" y="9"/>
                      <a:pt x="33" y="8"/>
                      <a:pt x="32" y="7"/>
                    </a:cubicBezTo>
                    <a:cubicBezTo>
                      <a:pt x="30" y="5"/>
                      <a:pt x="30" y="4"/>
                      <a:pt x="30" y="1"/>
                    </a:cubicBezTo>
                    <a:cubicBezTo>
                      <a:pt x="29" y="1"/>
                      <a:pt x="27" y="0"/>
                      <a:pt x="26" y="0"/>
                    </a:cubicBezTo>
                    <a:cubicBezTo>
                      <a:pt x="24" y="1"/>
                      <a:pt x="23" y="2"/>
                      <a:pt x="22" y="2"/>
                    </a:cubicBezTo>
                    <a:cubicBezTo>
                      <a:pt x="21" y="3"/>
                      <a:pt x="20" y="4"/>
                      <a:pt x="19" y="4"/>
                    </a:cubicBezTo>
                    <a:cubicBezTo>
                      <a:pt x="18" y="6"/>
                      <a:pt x="18" y="4"/>
                      <a:pt x="17" y="5"/>
                    </a:cubicBezTo>
                    <a:cubicBezTo>
                      <a:pt x="15" y="6"/>
                      <a:pt x="13" y="11"/>
                      <a:pt x="11" y="10"/>
                    </a:cubicBezTo>
                    <a:cubicBezTo>
                      <a:pt x="10" y="10"/>
                      <a:pt x="9" y="8"/>
                      <a:pt x="9" y="10"/>
                    </a:cubicBezTo>
                    <a:cubicBezTo>
                      <a:pt x="8" y="11"/>
                      <a:pt x="8" y="13"/>
                      <a:pt x="7" y="14"/>
                    </a:cubicBezTo>
                    <a:cubicBezTo>
                      <a:pt x="7" y="15"/>
                      <a:pt x="7" y="16"/>
                      <a:pt x="5" y="16"/>
                    </a:cubicBezTo>
                    <a:cubicBezTo>
                      <a:pt x="5" y="16"/>
                      <a:pt x="1" y="17"/>
                      <a:pt x="2" y="18"/>
                    </a:cubicBezTo>
                    <a:cubicBezTo>
                      <a:pt x="5" y="20"/>
                      <a:pt x="0" y="23"/>
                      <a:pt x="1" y="24"/>
                    </a:cubicBezTo>
                    <a:cubicBezTo>
                      <a:pt x="3" y="25"/>
                      <a:pt x="5" y="30"/>
                      <a:pt x="8" y="28"/>
                    </a:cubicBezTo>
                    <a:cubicBezTo>
                      <a:pt x="11" y="26"/>
                      <a:pt x="13" y="27"/>
                      <a:pt x="16" y="30"/>
                    </a:cubicBezTo>
                    <a:cubicBezTo>
                      <a:pt x="15" y="27"/>
                      <a:pt x="15" y="24"/>
                      <a:pt x="15" y="22"/>
                    </a:cubicBezTo>
                    <a:cubicBezTo>
                      <a:pt x="19" y="22"/>
                      <a:pt x="22" y="22"/>
                      <a:pt x="26" y="22"/>
                    </a:cubicBezTo>
                    <a:cubicBezTo>
                      <a:pt x="29" y="22"/>
                      <a:pt x="34" y="23"/>
                      <a:pt x="35" y="20"/>
                    </a:cubicBezTo>
                    <a:cubicBezTo>
                      <a:pt x="36" y="18"/>
                      <a:pt x="35" y="20"/>
                      <a:pt x="35" y="2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2" name="Freeform 759">
                <a:extLst>
                  <a:ext uri="{FF2B5EF4-FFF2-40B4-BE49-F238E27FC236}">
                    <a16:creationId xmlns:a16="http://schemas.microsoft.com/office/drawing/2014/main" id="{B78AAB46-F487-994E-8C0A-BE8216509FDF}"/>
                  </a:ext>
                </a:extLst>
              </p:cNvPr>
              <p:cNvSpPr>
                <a:spLocks/>
              </p:cNvSpPr>
              <p:nvPr/>
            </p:nvSpPr>
            <p:spPr bwMode="auto">
              <a:xfrm>
                <a:off x="11697010" y="8529753"/>
                <a:ext cx="92356" cy="222990"/>
              </a:xfrm>
              <a:custGeom>
                <a:avLst/>
                <a:gdLst>
                  <a:gd name="T0" fmla="*/ 9 w 10"/>
                  <a:gd name="T1" fmla="*/ 10 h 24"/>
                  <a:gd name="T2" fmla="*/ 8 w 10"/>
                  <a:gd name="T3" fmla="*/ 6 h 24"/>
                  <a:gd name="T4" fmla="*/ 5 w 10"/>
                  <a:gd name="T5" fmla="*/ 0 h 24"/>
                  <a:gd name="T6" fmla="*/ 2 w 10"/>
                  <a:gd name="T7" fmla="*/ 0 h 24"/>
                  <a:gd name="T8" fmla="*/ 2 w 10"/>
                  <a:gd name="T9" fmla="*/ 3 h 24"/>
                  <a:gd name="T10" fmla="*/ 2 w 10"/>
                  <a:gd name="T11" fmla="*/ 9 h 24"/>
                  <a:gd name="T12" fmla="*/ 4 w 10"/>
                  <a:gd name="T13" fmla="*/ 15 h 24"/>
                  <a:gd name="T14" fmla="*/ 4 w 10"/>
                  <a:gd name="T15" fmla="*/ 21 h 24"/>
                  <a:gd name="T16" fmla="*/ 6 w 10"/>
                  <a:gd name="T17" fmla="*/ 23 h 24"/>
                  <a:gd name="T18" fmla="*/ 9 w 10"/>
                  <a:gd name="T19" fmla="*/ 23 h 24"/>
                  <a:gd name="T20" fmla="*/ 9 w 10"/>
                  <a:gd name="T21" fmla="*/ 10 h 24"/>
                  <a:gd name="T22" fmla="*/ 9 w 10"/>
                  <a:gd name="T23" fmla="*/ 1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24">
                    <a:moveTo>
                      <a:pt x="9" y="10"/>
                    </a:moveTo>
                    <a:cubicBezTo>
                      <a:pt x="9" y="9"/>
                      <a:pt x="9" y="7"/>
                      <a:pt x="8" y="6"/>
                    </a:cubicBezTo>
                    <a:cubicBezTo>
                      <a:pt x="7" y="5"/>
                      <a:pt x="4" y="1"/>
                      <a:pt x="5" y="0"/>
                    </a:cubicBezTo>
                    <a:cubicBezTo>
                      <a:pt x="4" y="0"/>
                      <a:pt x="3" y="0"/>
                      <a:pt x="2" y="0"/>
                    </a:cubicBezTo>
                    <a:cubicBezTo>
                      <a:pt x="0" y="0"/>
                      <a:pt x="2" y="2"/>
                      <a:pt x="2" y="3"/>
                    </a:cubicBezTo>
                    <a:cubicBezTo>
                      <a:pt x="3" y="5"/>
                      <a:pt x="2" y="7"/>
                      <a:pt x="2" y="9"/>
                    </a:cubicBezTo>
                    <a:cubicBezTo>
                      <a:pt x="1" y="12"/>
                      <a:pt x="3" y="12"/>
                      <a:pt x="4" y="15"/>
                    </a:cubicBezTo>
                    <a:cubicBezTo>
                      <a:pt x="4" y="17"/>
                      <a:pt x="3" y="19"/>
                      <a:pt x="4" y="21"/>
                    </a:cubicBezTo>
                    <a:cubicBezTo>
                      <a:pt x="4" y="22"/>
                      <a:pt x="5" y="23"/>
                      <a:pt x="6" y="23"/>
                    </a:cubicBezTo>
                    <a:cubicBezTo>
                      <a:pt x="7" y="24"/>
                      <a:pt x="10" y="24"/>
                      <a:pt x="9" y="23"/>
                    </a:cubicBezTo>
                    <a:cubicBezTo>
                      <a:pt x="9" y="19"/>
                      <a:pt x="9" y="15"/>
                      <a:pt x="9" y="10"/>
                    </a:cubicBezTo>
                    <a:cubicBezTo>
                      <a:pt x="9" y="7"/>
                      <a:pt x="9" y="13"/>
                      <a:pt x="9" y="1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3" name="Freeform 760">
                <a:extLst>
                  <a:ext uri="{FF2B5EF4-FFF2-40B4-BE49-F238E27FC236}">
                    <a16:creationId xmlns:a16="http://schemas.microsoft.com/office/drawing/2014/main" id="{654EEF9B-3652-BD4C-BF40-8A5FF98F829E}"/>
                  </a:ext>
                </a:extLst>
              </p:cNvPr>
              <p:cNvSpPr>
                <a:spLocks/>
              </p:cNvSpPr>
              <p:nvPr/>
            </p:nvSpPr>
            <p:spPr bwMode="auto">
              <a:xfrm>
                <a:off x="11295734" y="8539311"/>
                <a:ext cx="296178" cy="289887"/>
              </a:xfrm>
              <a:custGeom>
                <a:avLst/>
                <a:gdLst>
                  <a:gd name="T0" fmla="*/ 26 w 32"/>
                  <a:gd name="T1" fmla="*/ 4 h 31"/>
                  <a:gd name="T2" fmla="*/ 21 w 32"/>
                  <a:gd name="T3" fmla="*/ 5 h 31"/>
                  <a:gd name="T4" fmla="*/ 15 w 32"/>
                  <a:gd name="T5" fmla="*/ 1 h 31"/>
                  <a:gd name="T6" fmla="*/ 13 w 32"/>
                  <a:gd name="T7" fmla="*/ 1 h 31"/>
                  <a:gd name="T8" fmla="*/ 10 w 32"/>
                  <a:gd name="T9" fmla="*/ 2 h 31"/>
                  <a:gd name="T10" fmla="*/ 6 w 32"/>
                  <a:gd name="T11" fmla="*/ 2 h 31"/>
                  <a:gd name="T12" fmla="*/ 4 w 32"/>
                  <a:gd name="T13" fmla="*/ 3 h 31"/>
                  <a:gd name="T14" fmla="*/ 3 w 32"/>
                  <a:gd name="T15" fmla="*/ 6 h 31"/>
                  <a:gd name="T16" fmla="*/ 5 w 32"/>
                  <a:gd name="T17" fmla="*/ 7 h 31"/>
                  <a:gd name="T18" fmla="*/ 3 w 32"/>
                  <a:gd name="T19" fmla="*/ 9 h 31"/>
                  <a:gd name="T20" fmla="*/ 5 w 32"/>
                  <a:gd name="T21" fmla="*/ 12 h 31"/>
                  <a:gd name="T22" fmla="*/ 3 w 32"/>
                  <a:gd name="T23" fmla="*/ 13 h 31"/>
                  <a:gd name="T24" fmla="*/ 2 w 32"/>
                  <a:gd name="T25" fmla="*/ 16 h 31"/>
                  <a:gd name="T26" fmla="*/ 2 w 32"/>
                  <a:gd name="T27" fmla="*/ 19 h 31"/>
                  <a:gd name="T28" fmla="*/ 3 w 32"/>
                  <a:gd name="T29" fmla="*/ 23 h 31"/>
                  <a:gd name="T30" fmla="*/ 7 w 32"/>
                  <a:gd name="T31" fmla="*/ 26 h 31"/>
                  <a:gd name="T32" fmla="*/ 7 w 32"/>
                  <a:gd name="T33" fmla="*/ 31 h 31"/>
                  <a:gd name="T34" fmla="*/ 19 w 32"/>
                  <a:gd name="T35" fmla="*/ 28 h 31"/>
                  <a:gd name="T36" fmla="*/ 26 w 32"/>
                  <a:gd name="T37" fmla="*/ 28 h 31"/>
                  <a:gd name="T38" fmla="*/ 30 w 32"/>
                  <a:gd name="T39" fmla="*/ 26 h 31"/>
                  <a:gd name="T40" fmla="*/ 28 w 32"/>
                  <a:gd name="T41" fmla="*/ 21 h 31"/>
                  <a:gd name="T42" fmla="*/ 30 w 32"/>
                  <a:gd name="T43" fmla="*/ 15 h 31"/>
                  <a:gd name="T44" fmla="*/ 26 w 32"/>
                  <a:gd name="T45"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31">
                    <a:moveTo>
                      <a:pt x="26" y="4"/>
                    </a:moveTo>
                    <a:cubicBezTo>
                      <a:pt x="24" y="4"/>
                      <a:pt x="23" y="6"/>
                      <a:pt x="21" y="5"/>
                    </a:cubicBezTo>
                    <a:cubicBezTo>
                      <a:pt x="19" y="5"/>
                      <a:pt x="17" y="0"/>
                      <a:pt x="15" y="1"/>
                    </a:cubicBezTo>
                    <a:cubicBezTo>
                      <a:pt x="14" y="2"/>
                      <a:pt x="13" y="2"/>
                      <a:pt x="13" y="1"/>
                    </a:cubicBezTo>
                    <a:cubicBezTo>
                      <a:pt x="12" y="0"/>
                      <a:pt x="11" y="2"/>
                      <a:pt x="10" y="2"/>
                    </a:cubicBezTo>
                    <a:cubicBezTo>
                      <a:pt x="8" y="3"/>
                      <a:pt x="7" y="2"/>
                      <a:pt x="6" y="2"/>
                    </a:cubicBezTo>
                    <a:cubicBezTo>
                      <a:pt x="5" y="1"/>
                      <a:pt x="5" y="3"/>
                      <a:pt x="4" y="3"/>
                    </a:cubicBezTo>
                    <a:cubicBezTo>
                      <a:pt x="3" y="3"/>
                      <a:pt x="2" y="5"/>
                      <a:pt x="3" y="6"/>
                    </a:cubicBezTo>
                    <a:cubicBezTo>
                      <a:pt x="3" y="7"/>
                      <a:pt x="5" y="7"/>
                      <a:pt x="5" y="7"/>
                    </a:cubicBezTo>
                    <a:cubicBezTo>
                      <a:pt x="5" y="8"/>
                      <a:pt x="3" y="9"/>
                      <a:pt x="3" y="9"/>
                    </a:cubicBezTo>
                    <a:cubicBezTo>
                      <a:pt x="3" y="10"/>
                      <a:pt x="5" y="11"/>
                      <a:pt x="5" y="12"/>
                    </a:cubicBezTo>
                    <a:cubicBezTo>
                      <a:pt x="5" y="12"/>
                      <a:pt x="3" y="11"/>
                      <a:pt x="3" y="13"/>
                    </a:cubicBezTo>
                    <a:cubicBezTo>
                      <a:pt x="3" y="14"/>
                      <a:pt x="4" y="16"/>
                      <a:pt x="2" y="16"/>
                    </a:cubicBezTo>
                    <a:cubicBezTo>
                      <a:pt x="3" y="17"/>
                      <a:pt x="3" y="18"/>
                      <a:pt x="2" y="19"/>
                    </a:cubicBezTo>
                    <a:cubicBezTo>
                      <a:pt x="2" y="21"/>
                      <a:pt x="0" y="21"/>
                      <a:pt x="3" y="23"/>
                    </a:cubicBezTo>
                    <a:cubicBezTo>
                      <a:pt x="4" y="23"/>
                      <a:pt x="6" y="24"/>
                      <a:pt x="7" y="26"/>
                    </a:cubicBezTo>
                    <a:cubicBezTo>
                      <a:pt x="8" y="27"/>
                      <a:pt x="7" y="29"/>
                      <a:pt x="7" y="31"/>
                    </a:cubicBezTo>
                    <a:cubicBezTo>
                      <a:pt x="11" y="30"/>
                      <a:pt x="14" y="28"/>
                      <a:pt x="19" y="28"/>
                    </a:cubicBezTo>
                    <a:cubicBezTo>
                      <a:pt x="21" y="27"/>
                      <a:pt x="24" y="28"/>
                      <a:pt x="26" y="28"/>
                    </a:cubicBezTo>
                    <a:cubicBezTo>
                      <a:pt x="28" y="28"/>
                      <a:pt x="31" y="29"/>
                      <a:pt x="30" y="26"/>
                    </a:cubicBezTo>
                    <a:cubicBezTo>
                      <a:pt x="30" y="24"/>
                      <a:pt x="29" y="23"/>
                      <a:pt x="28" y="21"/>
                    </a:cubicBezTo>
                    <a:cubicBezTo>
                      <a:pt x="28" y="19"/>
                      <a:pt x="29" y="17"/>
                      <a:pt x="30" y="15"/>
                    </a:cubicBezTo>
                    <a:cubicBezTo>
                      <a:pt x="31" y="11"/>
                      <a:pt x="32" y="4"/>
                      <a:pt x="26"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4" name="Freeform 761">
                <a:extLst>
                  <a:ext uri="{FF2B5EF4-FFF2-40B4-BE49-F238E27FC236}">
                    <a16:creationId xmlns:a16="http://schemas.microsoft.com/office/drawing/2014/main" id="{140D5C22-B774-1948-ABCF-B9D45B0CDE77}"/>
                  </a:ext>
                </a:extLst>
              </p:cNvPr>
              <p:cNvSpPr>
                <a:spLocks/>
              </p:cNvSpPr>
              <p:nvPr/>
            </p:nvSpPr>
            <p:spPr bwMode="auto">
              <a:xfrm>
                <a:off x="11547328" y="8529753"/>
                <a:ext cx="213379" cy="280329"/>
              </a:xfrm>
              <a:custGeom>
                <a:avLst/>
                <a:gdLst>
                  <a:gd name="T0" fmla="*/ 19 w 23"/>
                  <a:gd name="T1" fmla="*/ 13 h 30"/>
                  <a:gd name="T2" fmla="*/ 18 w 23"/>
                  <a:gd name="T3" fmla="*/ 6 h 30"/>
                  <a:gd name="T4" fmla="*/ 17 w 23"/>
                  <a:gd name="T5" fmla="*/ 0 h 30"/>
                  <a:gd name="T6" fmla="*/ 3 w 23"/>
                  <a:gd name="T7" fmla="*/ 0 h 30"/>
                  <a:gd name="T8" fmla="*/ 4 w 23"/>
                  <a:gd name="T9" fmla="*/ 11 h 30"/>
                  <a:gd name="T10" fmla="*/ 1 w 23"/>
                  <a:gd name="T11" fmla="*/ 22 h 30"/>
                  <a:gd name="T12" fmla="*/ 3 w 23"/>
                  <a:gd name="T13" fmla="*/ 30 h 30"/>
                  <a:gd name="T14" fmla="*/ 10 w 23"/>
                  <a:gd name="T15" fmla="*/ 29 h 30"/>
                  <a:gd name="T16" fmla="*/ 23 w 23"/>
                  <a:gd name="T17" fmla="*/ 24 h 30"/>
                  <a:gd name="T18" fmla="*/ 20 w 23"/>
                  <a:gd name="T19" fmla="*/ 19 h 30"/>
                  <a:gd name="T20" fmla="*/ 19 w 23"/>
                  <a:gd name="T21" fmla="*/ 13 h 30"/>
                  <a:gd name="T22" fmla="*/ 19 w 23"/>
                  <a:gd name="T23"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30">
                    <a:moveTo>
                      <a:pt x="19" y="13"/>
                    </a:moveTo>
                    <a:cubicBezTo>
                      <a:pt x="17" y="11"/>
                      <a:pt x="18" y="8"/>
                      <a:pt x="18" y="6"/>
                    </a:cubicBezTo>
                    <a:cubicBezTo>
                      <a:pt x="19" y="4"/>
                      <a:pt x="16" y="2"/>
                      <a:pt x="17" y="0"/>
                    </a:cubicBezTo>
                    <a:cubicBezTo>
                      <a:pt x="12" y="0"/>
                      <a:pt x="8" y="0"/>
                      <a:pt x="3" y="0"/>
                    </a:cubicBezTo>
                    <a:cubicBezTo>
                      <a:pt x="3" y="3"/>
                      <a:pt x="4" y="7"/>
                      <a:pt x="4" y="11"/>
                    </a:cubicBezTo>
                    <a:cubicBezTo>
                      <a:pt x="4" y="15"/>
                      <a:pt x="0" y="18"/>
                      <a:pt x="1" y="22"/>
                    </a:cubicBezTo>
                    <a:cubicBezTo>
                      <a:pt x="2" y="25"/>
                      <a:pt x="4" y="26"/>
                      <a:pt x="3" y="30"/>
                    </a:cubicBezTo>
                    <a:cubicBezTo>
                      <a:pt x="6" y="30"/>
                      <a:pt x="7" y="30"/>
                      <a:pt x="10" y="29"/>
                    </a:cubicBezTo>
                    <a:cubicBezTo>
                      <a:pt x="15" y="28"/>
                      <a:pt x="19" y="26"/>
                      <a:pt x="23" y="24"/>
                    </a:cubicBezTo>
                    <a:cubicBezTo>
                      <a:pt x="21" y="23"/>
                      <a:pt x="20" y="21"/>
                      <a:pt x="20" y="19"/>
                    </a:cubicBezTo>
                    <a:cubicBezTo>
                      <a:pt x="20" y="17"/>
                      <a:pt x="20" y="15"/>
                      <a:pt x="19" y="13"/>
                    </a:cubicBezTo>
                    <a:cubicBezTo>
                      <a:pt x="17" y="11"/>
                      <a:pt x="20" y="15"/>
                      <a:pt x="19" y="1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5" name="Freeform 762">
                <a:extLst>
                  <a:ext uri="{FF2B5EF4-FFF2-40B4-BE49-F238E27FC236}">
                    <a16:creationId xmlns:a16="http://schemas.microsoft.com/office/drawing/2014/main" id="{B46929C8-44A3-D44B-A4BD-24C4671ED1B0}"/>
                  </a:ext>
                </a:extLst>
              </p:cNvPr>
              <p:cNvSpPr>
                <a:spLocks/>
              </p:cNvSpPr>
              <p:nvPr/>
            </p:nvSpPr>
            <p:spPr bwMode="auto">
              <a:xfrm>
                <a:off x="11079175" y="8558422"/>
                <a:ext cx="140127" cy="168835"/>
              </a:xfrm>
              <a:custGeom>
                <a:avLst/>
                <a:gdLst>
                  <a:gd name="T0" fmla="*/ 12 w 15"/>
                  <a:gd name="T1" fmla="*/ 14 h 18"/>
                  <a:gd name="T2" fmla="*/ 14 w 15"/>
                  <a:gd name="T3" fmla="*/ 6 h 18"/>
                  <a:gd name="T4" fmla="*/ 5 w 15"/>
                  <a:gd name="T5" fmla="*/ 3 h 18"/>
                  <a:gd name="T6" fmla="*/ 1 w 15"/>
                  <a:gd name="T7" fmla="*/ 8 h 18"/>
                  <a:gd name="T8" fmla="*/ 4 w 15"/>
                  <a:gd name="T9" fmla="*/ 12 h 18"/>
                  <a:gd name="T10" fmla="*/ 7 w 15"/>
                  <a:gd name="T11" fmla="*/ 16 h 18"/>
                  <a:gd name="T12" fmla="*/ 10 w 15"/>
                  <a:gd name="T13" fmla="*/ 16 h 18"/>
                  <a:gd name="T14" fmla="*/ 12 w 15"/>
                  <a:gd name="T15" fmla="*/ 14 h 18"/>
                  <a:gd name="T16" fmla="*/ 12 w 15"/>
                  <a:gd name="T1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12" y="14"/>
                    </a:moveTo>
                    <a:cubicBezTo>
                      <a:pt x="15" y="13"/>
                      <a:pt x="15" y="8"/>
                      <a:pt x="14" y="6"/>
                    </a:cubicBezTo>
                    <a:cubicBezTo>
                      <a:pt x="12" y="2"/>
                      <a:pt x="8" y="0"/>
                      <a:pt x="5" y="3"/>
                    </a:cubicBezTo>
                    <a:cubicBezTo>
                      <a:pt x="3" y="4"/>
                      <a:pt x="0" y="6"/>
                      <a:pt x="1" y="8"/>
                    </a:cubicBezTo>
                    <a:cubicBezTo>
                      <a:pt x="2" y="10"/>
                      <a:pt x="2" y="11"/>
                      <a:pt x="4" y="12"/>
                    </a:cubicBezTo>
                    <a:cubicBezTo>
                      <a:pt x="5" y="14"/>
                      <a:pt x="5" y="15"/>
                      <a:pt x="7" y="16"/>
                    </a:cubicBezTo>
                    <a:cubicBezTo>
                      <a:pt x="8" y="17"/>
                      <a:pt x="9" y="18"/>
                      <a:pt x="10" y="16"/>
                    </a:cubicBezTo>
                    <a:cubicBezTo>
                      <a:pt x="10" y="15"/>
                      <a:pt x="11" y="15"/>
                      <a:pt x="12" y="14"/>
                    </a:cubicBezTo>
                    <a:cubicBezTo>
                      <a:pt x="14" y="13"/>
                      <a:pt x="11" y="15"/>
                      <a:pt x="12" y="1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6" name="Freeform 763">
                <a:extLst>
                  <a:ext uri="{FF2B5EF4-FFF2-40B4-BE49-F238E27FC236}">
                    <a16:creationId xmlns:a16="http://schemas.microsoft.com/office/drawing/2014/main" id="{B67E5888-A08B-EB4B-983A-C98672DA95FF}"/>
                  </a:ext>
                </a:extLst>
              </p:cNvPr>
              <p:cNvSpPr>
                <a:spLocks/>
              </p:cNvSpPr>
              <p:nvPr/>
            </p:nvSpPr>
            <p:spPr bwMode="auto">
              <a:xfrm>
                <a:off x="11161976" y="8631691"/>
                <a:ext cx="207006" cy="197506"/>
              </a:xfrm>
              <a:custGeom>
                <a:avLst/>
                <a:gdLst>
                  <a:gd name="T0" fmla="*/ 21 w 22"/>
                  <a:gd name="T1" fmla="*/ 17 h 21"/>
                  <a:gd name="T2" fmla="*/ 19 w 22"/>
                  <a:gd name="T3" fmla="*/ 13 h 21"/>
                  <a:gd name="T4" fmla="*/ 16 w 22"/>
                  <a:gd name="T5" fmla="*/ 11 h 21"/>
                  <a:gd name="T6" fmla="*/ 16 w 22"/>
                  <a:gd name="T7" fmla="*/ 6 h 21"/>
                  <a:gd name="T8" fmla="*/ 13 w 22"/>
                  <a:gd name="T9" fmla="*/ 8 h 21"/>
                  <a:gd name="T10" fmla="*/ 9 w 22"/>
                  <a:gd name="T11" fmla="*/ 1 h 21"/>
                  <a:gd name="T12" fmla="*/ 5 w 22"/>
                  <a:gd name="T13" fmla="*/ 4 h 21"/>
                  <a:gd name="T14" fmla="*/ 0 w 22"/>
                  <a:gd name="T15" fmla="*/ 9 h 21"/>
                  <a:gd name="T16" fmla="*/ 12 w 22"/>
                  <a:gd name="T17" fmla="*/ 18 h 21"/>
                  <a:gd name="T18" fmla="*/ 19 w 22"/>
                  <a:gd name="T19" fmla="*/ 21 h 21"/>
                  <a:gd name="T20" fmla="*/ 21 w 22"/>
                  <a:gd name="T21" fmla="*/ 17 h 21"/>
                  <a:gd name="T22" fmla="*/ 21 w 22"/>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1">
                    <a:moveTo>
                      <a:pt x="21" y="17"/>
                    </a:moveTo>
                    <a:cubicBezTo>
                      <a:pt x="22" y="15"/>
                      <a:pt x="20" y="14"/>
                      <a:pt x="19" y="13"/>
                    </a:cubicBezTo>
                    <a:cubicBezTo>
                      <a:pt x="18" y="13"/>
                      <a:pt x="14" y="12"/>
                      <a:pt x="16" y="11"/>
                    </a:cubicBezTo>
                    <a:cubicBezTo>
                      <a:pt x="17" y="10"/>
                      <a:pt x="17" y="7"/>
                      <a:pt x="16" y="6"/>
                    </a:cubicBezTo>
                    <a:cubicBezTo>
                      <a:pt x="15" y="4"/>
                      <a:pt x="14" y="8"/>
                      <a:pt x="13" y="8"/>
                    </a:cubicBezTo>
                    <a:cubicBezTo>
                      <a:pt x="10" y="8"/>
                      <a:pt x="11" y="0"/>
                      <a:pt x="9" y="1"/>
                    </a:cubicBezTo>
                    <a:cubicBezTo>
                      <a:pt x="8" y="2"/>
                      <a:pt x="6" y="3"/>
                      <a:pt x="5" y="4"/>
                    </a:cubicBezTo>
                    <a:cubicBezTo>
                      <a:pt x="4" y="6"/>
                      <a:pt x="2" y="7"/>
                      <a:pt x="0" y="9"/>
                    </a:cubicBezTo>
                    <a:cubicBezTo>
                      <a:pt x="5" y="12"/>
                      <a:pt x="8" y="15"/>
                      <a:pt x="12" y="18"/>
                    </a:cubicBezTo>
                    <a:cubicBezTo>
                      <a:pt x="14" y="20"/>
                      <a:pt x="16" y="21"/>
                      <a:pt x="19" y="21"/>
                    </a:cubicBezTo>
                    <a:cubicBezTo>
                      <a:pt x="22" y="21"/>
                      <a:pt x="20" y="19"/>
                      <a:pt x="21" y="17"/>
                    </a:cubicBezTo>
                    <a:cubicBezTo>
                      <a:pt x="22" y="15"/>
                      <a:pt x="21" y="19"/>
                      <a:pt x="21" y="1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7" name="Freeform 764">
                <a:extLst>
                  <a:ext uri="{FF2B5EF4-FFF2-40B4-BE49-F238E27FC236}">
                    <a16:creationId xmlns:a16="http://schemas.microsoft.com/office/drawing/2014/main" id="{4C161053-4F4A-5D43-9644-6F413723712B}"/>
                  </a:ext>
                </a:extLst>
              </p:cNvPr>
              <p:cNvSpPr>
                <a:spLocks/>
              </p:cNvSpPr>
              <p:nvPr/>
            </p:nvSpPr>
            <p:spPr bwMode="auto">
              <a:xfrm>
                <a:off x="11015478" y="8443745"/>
                <a:ext cx="324842" cy="273958"/>
              </a:xfrm>
              <a:custGeom>
                <a:avLst/>
                <a:gdLst>
                  <a:gd name="T0" fmla="*/ 10 w 35"/>
                  <a:gd name="T1" fmla="*/ 16 h 29"/>
                  <a:gd name="T2" fmla="*/ 20 w 35"/>
                  <a:gd name="T3" fmla="*/ 17 h 29"/>
                  <a:gd name="T4" fmla="*/ 21 w 35"/>
                  <a:gd name="T5" fmla="*/ 23 h 29"/>
                  <a:gd name="T6" fmla="*/ 25 w 35"/>
                  <a:gd name="T7" fmla="*/ 21 h 29"/>
                  <a:gd name="T8" fmla="*/ 29 w 35"/>
                  <a:gd name="T9" fmla="*/ 27 h 29"/>
                  <a:gd name="T10" fmla="*/ 31 w 35"/>
                  <a:gd name="T11" fmla="*/ 26 h 29"/>
                  <a:gd name="T12" fmla="*/ 33 w 35"/>
                  <a:gd name="T13" fmla="*/ 25 h 29"/>
                  <a:gd name="T14" fmla="*/ 33 w 35"/>
                  <a:gd name="T15" fmla="*/ 23 h 29"/>
                  <a:gd name="T16" fmla="*/ 35 w 35"/>
                  <a:gd name="T17" fmla="*/ 22 h 29"/>
                  <a:gd name="T18" fmla="*/ 34 w 35"/>
                  <a:gd name="T19" fmla="*/ 19 h 29"/>
                  <a:gd name="T20" fmla="*/ 33 w 35"/>
                  <a:gd name="T21" fmla="*/ 16 h 29"/>
                  <a:gd name="T22" fmla="*/ 33 w 35"/>
                  <a:gd name="T23" fmla="*/ 12 h 29"/>
                  <a:gd name="T24" fmla="*/ 32 w 35"/>
                  <a:gd name="T25" fmla="*/ 8 h 29"/>
                  <a:gd name="T26" fmla="*/ 26 w 35"/>
                  <a:gd name="T27" fmla="*/ 2 h 29"/>
                  <a:gd name="T28" fmla="*/ 24 w 35"/>
                  <a:gd name="T29" fmla="*/ 3 h 29"/>
                  <a:gd name="T30" fmla="*/ 22 w 35"/>
                  <a:gd name="T31" fmla="*/ 3 h 29"/>
                  <a:gd name="T32" fmla="*/ 19 w 35"/>
                  <a:gd name="T33" fmla="*/ 3 h 29"/>
                  <a:gd name="T34" fmla="*/ 18 w 35"/>
                  <a:gd name="T35" fmla="*/ 3 h 29"/>
                  <a:gd name="T36" fmla="*/ 15 w 35"/>
                  <a:gd name="T37" fmla="*/ 2 h 29"/>
                  <a:gd name="T38" fmla="*/ 10 w 35"/>
                  <a:gd name="T39" fmla="*/ 1 h 29"/>
                  <a:gd name="T40" fmla="*/ 5 w 35"/>
                  <a:gd name="T41" fmla="*/ 1 h 29"/>
                  <a:gd name="T42" fmla="*/ 5 w 35"/>
                  <a:gd name="T43" fmla="*/ 4 h 29"/>
                  <a:gd name="T44" fmla="*/ 3 w 35"/>
                  <a:gd name="T45" fmla="*/ 6 h 29"/>
                  <a:gd name="T46" fmla="*/ 0 w 35"/>
                  <a:gd name="T47" fmla="*/ 8 h 29"/>
                  <a:gd name="T48" fmla="*/ 3 w 35"/>
                  <a:gd name="T49" fmla="*/ 13 h 29"/>
                  <a:gd name="T50" fmla="*/ 8 w 35"/>
                  <a:gd name="T51" fmla="*/ 19 h 29"/>
                  <a:gd name="T52" fmla="*/ 10 w 35"/>
                  <a:gd name="T53" fmla="*/ 16 h 29"/>
                  <a:gd name="T54" fmla="*/ 10 w 35"/>
                  <a:gd name="T55" fmla="*/ 1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29">
                    <a:moveTo>
                      <a:pt x="10" y="16"/>
                    </a:moveTo>
                    <a:cubicBezTo>
                      <a:pt x="14" y="14"/>
                      <a:pt x="18" y="12"/>
                      <a:pt x="20" y="17"/>
                    </a:cubicBezTo>
                    <a:cubicBezTo>
                      <a:pt x="22" y="19"/>
                      <a:pt x="21" y="20"/>
                      <a:pt x="21" y="23"/>
                    </a:cubicBezTo>
                    <a:cubicBezTo>
                      <a:pt x="22" y="24"/>
                      <a:pt x="24" y="21"/>
                      <a:pt x="25" y="21"/>
                    </a:cubicBezTo>
                    <a:cubicBezTo>
                      <a:pt x="27" y="20"/>
                      <a:pt x="27" y="29"/>
                      <a:pt x="29" y="27"/>
                    </a:cubicBezTo>
                    <a:cubicBezTo>
                      <a:pt x="30" y="27"/>
                      <a:pt x="30" y="26"/>
                      <a:pt x="31" y="26"/>
                    </a:cubicBezTo>
                    <a:cubicBezTo>
                      <a:pt x="31" y="25"/>
                      <a:pt x="33" y="26"/>
                      <a:pt x="33" y="25"/>
                    </a:cubicBezTo>
                    <a:cubicBezTo>
                      <a:pt x="34" y="24"/>
                      <a:pt x="33" y="23"/>
                      <a:pt x="33" y="23"/>
                    </a:cubicBezTo>
                    <a:cubicBezTo>
                      <a:pt x="33" y="21"/>
                      <a:pt x="35" y="22"/>
                      <a:pt x="35" y="22"/>
                    </a:cubicBezTo>
                    <a:cubicBezTo>
                      <a:pt x="35" y="21"/>
                      <a:pt x="32" y="20"/>
                      <a:pt x="34" y="19"/>
                    </a:cubicBezTo>
                    <a:cubicBezTo>
                      <a:pt x="35" y="18"/>
                      <a:pt x="35" y="17"/>
                      <a:pt x="33" y="16"/>
                    </a:cubicBezTo>
                    <a:cubicBezTo>
                      <a:pt x="32" y="15"/>
                      <a:pt x="34" y="13"/>
                      <a:pt x="33" y="12"/>
                    </a:cubicBezTo>
                    <a:cubicBezTo>
                      <a:pt x="32" y="11"/>
                      <a:pt x="33" y="10"/>
                      <a:pt x="32" y="8"/>
                    </a:cubicBezTo>
                    <a:cubicBezTo>
                      <a:pt x="31" y="7"/>
                      <a:pt x="29" y="0"/>
                      <a:pt x="26" y="2"/>
                    </a:cubicBezTo>
                    <a:cubicBezTo>
                      <a:pt x="26" y="2"/>
                      <a:pt x="25" y="3"/>
                      <a:pt x="24" y="3"/>
                    </a:cubicBezTo>
                    <a:cubicBezTo>
                      <a:pt x="23" y="3"/>
                      <a:pt x="23" y="3"/>
                      <a:pt x="22" y="3"/>
                    </a:cubicBezTo>
                    <a:cubicBezTo>
                      <a:pt x="21" y="4"/>
                      <a:pt x="20" y="3"/>
                      <a:pt x="19" y="3"/>
                    </a:cubicBezTo>
                    <a:cubicBezTo>
                      <a:pt x="18" y="3"/>
                      <a:pt x="18" y="4"/>
                      <a:pt x="18" y="3"/>
                    </a:cubicBezTo>
                    <a:cubicBezTo>
                      <a:pt x="16" y="2"/>
                      <a:pt x="17" y="2"/>
                      <a:pt x="15" y="2"/>
                    </a:cubicBezTo>
                    <a:cubicBezTo>
                      <a:pt x="12" y="3"/>
                      <a:pt x="12" y="1"/>
                      <a:pt x="10" y="1"/>
                    </a:cubicBezTo>
                    <a:cubicBezTo>
                      <a:pt x="8" y="0"/>
                      <a:pt x="6" y="0"/>
                      <a:pt x="5" y="1"/>
                    </a:cubicBezTo>
                    <a:cubicBezTo>
                      <a:pt x="5" y="2"/>
                      <a:pt x="3" y="3"/>
                      <a:pt x="5" y="4"/>
                    </a:cubicBezTo>
                    <a:cubicBezTo>
                      <a:pt x="6" y="5"/>
                      <a:pt x="5" y="6"/>
                      <a:pt x="3" y="6"/>
                    </a:cubicBezTo>
                    <a:cubicBezTo>
                      <a:pt x="1" y="6"/>
                      <a:pt x="0" y="6"/>
                      <a:pt x="0" y="8"/>
                    </a:cubicBezTo>
                    <a:cubicBezTo>
                      <a:pt x="1" y="10"/>
                      <a:pt x="2" y="11"/>
                      <a:pt x="3" y="13"/>
                    </a:cubicBezTo>
                    <a:cubicBezTo>
                      <a:pt x="5" y="15"/>
                      <a:pt x="6" y="16"/>
                      <a:pt x="8" y="19"/>
                    </a:cubicBezTo>
                    <a:cubicBezTo>
                      <a:pt x="9" y="18"/>
                      <a:pt x="9" y="17"/>
                      <a:pt x="10" y="16"/>
                    </a:cubicBezTo>
                    <a:cubicBezTo>
                      <a:pt x="11" y="16"/>
                      <a:pt x="10" y="17"/>
                      <a:pt x="10" y="1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8" name="Freeform 765">
                <a:extLst>
                  <a:ext uri="{FF2B5EF4-FFF2-40B4-BE49-F238E27FC236}">
                    <a16:creationId xmlns:a16="http://schemas.microsoft.com/office/drawing/2014/main" id="{B021E607-B922-004B-AFA0-C6749FC59FBB}"/>
                  </a:ext>
                </a:extLst>
              </p:cNvPr>
              <p:cNvSpPr>
                <a:spLocks/>
              </p:cNvSpPr>
              <p:nvPr/>
            </p:nvSpPr>
            <p:spPr bwMode="auto">
              <a:xfrm>
                <a:off x="10929493" y="8453303"/>
                <a:ext cx="149682" cy="66896"/>
              </a:xfrm>
              <a:custGeom>
                <a:avLst/>
                <a:gdLst>
                  <a:gd name="T0" fmla="*/ 10 w 16"/>
                  <a:gd name="T1" fmla="*/ 5 h 7"/>
                  <a:gd name="T2" fmla="*/ 14 w 16"/>
                  <a:gd name="T3" fmla="*/ 3 h 7"/>
                  <a:gd name="T4" fmla="*/ 14 w 16"/>
                  <a:gd name="T5" fmla="*/ 0 h 7"/>
                  <a:gd name="T6" fmla="*/ 7 w 16"/>
                  <a:gd name="T7" fmla="*/ 0 h 7"/>
                  <a:gd name="T8" fmla="*/ 4 w 16"/>
                  <a:gd name="T9" fmla="*/ 0 h 7"/>
                  <a:gd name="T10" fmla="*/ 0 w 16"/>
                  <a:gd name="T11" fmla="*/ 1 h 7"/>
                  <a:gd name="T12" fmla="*/ 3 w 16"/>
                  <a:gd name="T13" fmla="*/ 3 h 7"/>
                  <a:gd name="T14" fmla="*/ 7 w 16"/>
                  <a:gd name="T15" fmla="*/ 3 h 7"/>
                  <a:gd name="T16" fmla="*/ 9 w 16"/>
                  <a:gd name="T17" fmla="*/ 7 h 7"/>
                  <a:gd name="T18" fmla="*/ 10 w 16"/>
                  <a:gd name="T19"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7">
                    <a:moveTo>
                      <a:pt x="10" y="5"/>
                    </a:moveTo>
                    <a:cubicBezTo>
                      <a:pt x="11" y="5"/>
                      <a:pt x="16" y="5"/>
                      <a:pt x="14" y="3"/>
                    </a:cubicBezTo>
                    <a:cubicBezTo>
                      <a:pt x="12" y="2"/>
                      <a:pt x="14" y="1"/>
                      <a:pt x="14" y="0"/>
                    </a:cubicBezTo>
                    <a:cubicBezTo>
                      <a:pt x="12" y="0"/>
                      <a:pt x="9" y="0"/>
                      <a:pt x="7" y="0"/>
                    </a:cubicBezTo>
                    <a:cubicBezTo>
                      <a:pt x="5" y="0"/>
                      <a:pt x="5" y="1"/>
                      <a:pt x="4" y="0"/>
                    </a:cubicBezTo>
                    <a:cubicBezTo>
                      <a:pt x="2" y="0"/>
                      <a:pt x="2" y="0"/>
                      <a:pt x="0" y="1"/>
                    </a:cubicBezTo>
                    <a:cubicBezTo>
                      <a:pt x="1" y="2"/>
                      <a:pt x="1" y="3"/>
                      <a:pt x="3" y="3"/>
                    </a:cubicBezTo>
                    <a:cubicBezTo>
                      <a:pt x="4" y="3"/>
                      <a:pt x="7" y="3"/>
                      <a:pt x="7" y="3"/>
                    </a:cubicBezTo>
                    <a:cubicBezTo>
                      <a:pt x="5" y="5"/>
                      <a:pt x="7" y="6"/>
                      <a:pt x="9" y="7"/>
                    </a:cubicBezTo>
                    <a:cubicBezTo>
                      <a:pt x="9" y="7"/>
                      <a:pt x="9" y="5"/>
                      <a:pt x="10" y="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89" name="Freeform 766">
                <a:extLst>
                  <a:ext uri="{FF2B5EF4-FFF2-40B4-BE49-F238E27FC236}">
                    <a16:creationId xmlns:a16="http://schemas.microsoft.com/office/drawing/2014/main" id="{A0BEEFAB-1BB4-4143-8F4F-EBDD7D60D73A}"/>
                  </a:ext>
                </a:extLst>
              </p:cNvPr>
              <p:cNvSpPr>
                <a:spLocks/>
              </p:cNvSpPr>
              <p:nvPr/>
            </p:nvSpPr>
            <p:spPr bwMode="auto">
              <a:xfrm>
                <a:off x="10919937" y="8389590"/>
                <a:ext cx="140127" cy="38227"/>
              </a:xfrm>
              <a:custGeom>
                <a:avLst/>
                <a:gdLst>
                  <a:gd name="T0" fmla="*/ 4 w 15"/>
                  <a:gd name="T1" fmla="*/ 4 h 4"/>
                  <a:gd name="T2" fmla="*/ 9 w 15"/>
                  <a:gd name="T3" fmla="*/ 3 h 4"/>
                  <a:gd name="T4" fmla="*/ 15 w 15"/>
                  <a:gd name="T5" fmla="*/ 2 h 4"/>
                  <a:gd name="T6" fmla="*/ 8 w 15"/>
                  <a:gd name="T7" fmla="*/ 1 h 4"/>
                  <a:gd name="T8" fmla="*/ 0 w 15"/>
                  <a:gd name="T9" fmla="*/ 4 h 4"/>
                  <a:gd name="T10" fmla="*/ 4 w 15"/>
                  <a:gd name="T11" fmla="*/ 4 h 4"/>
                  <a:gd name="T12" fmla="*/ 4 w 15"/>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5" h="4">
                    <a:moveTo>
                      <a:pt x="4" y="4"/>
                    </a:moveTo>
                    <a:cubicBezTo>
                      <a:pt x="6" y="3"/>
                      <a:pt x="7" y="2"/>
                      <a:pt x="9" y="3"/>
                    </a:cubicBezTo>
                    <a:cubicBezTo>
                      <a:pt x="10" y="3"/>
                      <a:pt x="14" y="4"/>
                      <a:pt x="15" y="2"/>
                    </a:cubicBezTo>
                    <a:cubicBezTo>
                      <a:pt x="15" y="3"/>
                      <a:pt x="9" y="0"/>
                      <a:pt x="8" y="1"/>
                    </a:cubicBezTo>
                    <a:cubicBezTo>
                      <a:pt x="5" y="2"/>
                      <a:pt x="1" y="0"/>
                      <a:pt x="0" y="4"/>
                    </a:cubicBezTo>
                    <a:cubicBezTo>
                      <a:pt x="2" y="4"/>
                      <a:pt x="3" y="4"/>
                      <a:pt x="4" y="4"/>
                    </a:cubicBezTo>
                    <a:cubicBezTo>
                      <a:pt x="5" y="4"/>
                      <a:pt x="4" y="4"/>
                      <a:pt x="4"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0" name="Freeform 767">
                <a:extLst>
                  <a:ext uri="{FF2B5EF4-FFF2-40B4-BE49-F238E27FC236}">
                    <a16:creationId xmlns:a16="http://schemas.microsoft.com/office/drawing/2014/main" id="{3DAF049E-1D11-D446-ABA9-A1F68084A920}"/>
                  </a:ext>
                </a:extLst>
              </p:cNvPr>
              <p:cNvSpPr>
                <a:spLocks/>
              </p:cNvSpPr>
              <p:nvPr/>
            </p:nvSpPr>
            <p:spPr bwMode="auto">
              <a:xfrm>
                <a:off x="10900829" y="7733369"/>
                <a:ext cx="560509" cy="637107"/>
              </a:xfrm>
              <a:custGeom>
                <a:avLst/>
                <a:gdLst>
                  <a:gd name="T0" fmla="*/ 5 w 60"/>
                  <a:gd name="T1" fmla="*/ 57 h 68"/>
                  <a:gd name="T2" fmla="*/ 15 w 60"/>
                  <a:gd name="T3" fmla="*/ 57 h 68"/>
                  <a:gd name="T4" fmla="*/ 18 w 60"/>
                  <a:gd name="T5" fmla="*/ 59 h 68"/>
                  <a:gd name="T6" fmla="*/ 21 w 60"/>
                  <a:gd name="T7" fmla="*/ 63 h 68"/>
                  <a:gd name="T8" fmla="*/ 27 w 60"/>
                  <a:gd name="T9" fmla="*/ 64 h 68"/>
                  <a:gd name="T10" fmla="*/ 32 w 60"/>
                  <a:gd name="T11" fmla="*/ 64 h 68"/>
                  <a:gd name="T12" fmla="*/ 35 w 60"/>
                  <a:gd name="T13" fmla="*/ 62 h 68"/>
                  <a:gd name="T14" fmla="*/ 39 w 60"/>
                  <a:gd name="T15" fmla="*/ 62 h 68"/>
                  <a:gd name="T16" fmla="*/ 44 w 60"/>
                  <a:gd name="T17" fmla="*/ 61 h 68"/>
                  <a:gd name="T18" fmla="*/ 53 w 60"/>
                  <a:gd name="T19" fmla="*/ 61 h 68"/>
                  <a:gd name="T20" fmla="*/ 58 w 60"/>
                  <a:gd name="T21" fmla="*/ 61 h 68"/>
                  <a:gd name="T22" fmla="*/ 58 w 60"/>
                  <a:gd name="T23" fmla="*/ 54 h 68"/>
                  <a:gd name="T24" fmla="*/ 56 w 60"/>
                  <a:gd name="T25" fmla="*/ 38 h 68"/>
                  <a:gd name="T26" fmla="*/ 52 w 60"/>
                  <a:gd name="T27" fmla="*/ 12 h 68"/>
                  <a:gd name="T28" fmla="*/ 60 w 60"/>
                  <a:gd name="T29" fmla="*/ 12 h 68"/>
                  <a:gd name="T30" fmla="*/ 43 w 60"/>
                  <a:gd name="T31" fmla="*/ 0 h 68"/>
                  <a:gd name="T32" fmla="*/ 42 w 60"/>
                  <a:gd name="T33" fmla="*/ 7 h 68"/>
                  <a:gd name="T34" fmla="*/ 37 w 60"/>
                  <a:gd name="T35" fmla="*/ 7 h 68"/>
                  <a:gd name="T36" fmla="*/ 29 w 60"/>
                  <a:gd name="T37" fmla="*/ 7 h 68"/>
                  <a:gd name="T38" fmla="*/ 26 w 60"/>
                  <a:gd name="T39" fmla="*/ 7 h 68"/>
                  <a:gd name="T40" fmla="*/ 26 w 60"/>
                  <a:gd name="T41" fmla="*/ 12 h 68"/>
                  <a:gd name="T42" fmla="*/ 26 w 60"/>
                  <a:gd name="T43" fmla="*/ 19 h 68"/>
                  <a:gd name="T44" fmla="*/ 20 w 60"/>
                  <a:gd name="T45" fmla="*/ 25 h 68"/>
                  <a:gd name="T46" fmla="*/ 20 w 60"/>
                  <a:gd name="T47" fmla="*/ 32 h 68"/>
                  <a:gd name="T48" fmla="*/ 16 w 60"/>
                  <a:gd name="T49" fmla="*/ 32 h 68"/>
                  <a:gd name="T50" fmla="*/ 3 w 60"/>
                  <a:gd name="T51" fmla="*/ 32 h 68"/>
                  <a:gd name="T52" fmla="*/ 1 w 60"/>
                  <a:gd name="T53" fmla="*/ 33 h 68"/>
                  <a:gd name="T54" fmla="*/ 4 w 60"/>
                  <a:gd name="T55" fmla="*/ 36 h 68"/>
                  <a:gd name="T56" fmla="*/ 3 w 60"/>
                  <a:gd name="T57" fmla="*/ 41 h 68"/>
                  <a:gd name="T58" fmla="*/ 6 w 60"/>
                  <a:gd name="T59" fmla="*/ 48 h 68"/>
                  <a:gd name="T60" fmla="*/ 3 w 60"/>
                  <a:gd name="T61" fmla="*/ 58 h 68"/>
                  <a:gd name="T62" fmla="*/ 5 w 60"/>
                  <a:gd name="T63" fmla="*/ 57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8">
                    <a:moveTo>
                      <a:pt x="5" y="57"/>
                    </a:moveTo>
                    <a:cubicBezTo>
                      <a:pt x="7" y="57"/>
                      <a:pt x="13" y="55"/>
                      <a:pt x="15" y="57"/>
                    </a:cubicBezTo>
                    <a:cubicBezTo>
                      <a:pt x="16" y="58"/>
                      <a:pt x="17" y="58"/>
                      <a:pt x="18" y="59"/>
                    </a:cubicBezTo>
                    <a:cubicBezTo>
                      <a:pt x="19" y="61"/>
                      <a:pt x="20" y="62"/>
                      <a:pt x="21" y="63"/>
                    </a:cubicBezTo>
                    <a:cubicBezTo>
                      <a:pt x="22" y="64"/>
                      <a:pt x="26" y="68"/>
                      <a:pt x="27" y="64"/>
                    </a:cubicBezTo>
                    <a:cubicBezTo>
                      <a:pt x="28" y="58"/>
                      <a:pt x="30" y="65"/>
                      <a:pt x="32" y="64"/>
                    </a:cubicBezTo>
                    <a:cubicBezTo>
                      <a:pt x="33" y="62"/>
                      <a:pt x="33" y="62"/>
                      <a:pt x="35" y="62"/>
                    </a:cubicBezTo>
                    <a:cubicBezTo>
                      <a:pt x="37" y="62"/>
                      <a:pt x="38" y="62"/>
                      <a:pt x="39" y="62"/>
                    </a:cubicBezTo>
                    <a:cubicBezTo>
                      <a:pt x="41" y="61"/>
                      <a:pt x="43" y="61"/>
                      <a:pt x="44" y="61"/>
                    </a:cubicBezTo>
                    <a:cubicBezTo>
                      <a:pt x="47" y="61"/>
                      <a:pt x="50" y="61"/>
                      <a:pt x="53" y="61"/>
                    </a:cubicBezTo>
                    <a:cubicBezTo>
                      <a:pt x="54" y="61"/>
                      <a:pt x="57" y="62"/>
                      <a:pt x="58" y="61"/>
                    </a:cubicBezTo>
                    <a:cubicBezTo>
                      <a:pt x="59" y="61"/>
                      <a:pt x="58" y="55"/>
                      <a:pt x="58" y="54"/>
                    </a:cubicBezTo>
                    <a:cubicBezTo>
                      <a:pt x="57" y="48"/>
                      <a:pt x="56" y="43"/>
                      <a:pt x="56" y="38"/>
                    </a:cubicBezTo>
                    <a:cubicBezTo>
                      <a:pt x="55" y="29"/>
                      <a:pt x="53" y="21"/>
                      <a:pt x="52" y="12"/>
                    </a:cubicBezTo>
                    <a:cubicBezTo>
                      <a:pt x="55" y="12"/>
                      <a:pt x="58" y="12"/>
                      <a:pt x="60" y="12"/>
                    </a:cubicBezTo>
                    <a:cubicBezTo>
                      <a:pt x="54" y="8"/>
                      <a:pt x="48" y="4"/>
                      <a:pt x="43" y="0"/>
                    </a:cubicBezTo>
                    <a:cubicBezTo>
                      <a:pt x="43" y="1"/>
                      <a:pt x="43" y="7"/>
                      <a:pt x="42" y="7"/>
                    </a:cubicBezTo>
                    <a:cubicBezTo>
                      <a:pt x="41" y="7"/>
                      <a:pt x="39" y="7"/>
                      <a:pt x="37" y="7"/>
                    </a:cubicBezTo>
                    <a:cubicBezTo>
                      <a:pt x="35" y="7"/>
                      <a:pt x="32" y="7"/>
                      <a:pt x="29" y="7"/>
                    </a:cubicBezTo>
                    <a:cubicBezTo>
                      <a:pt x="29" y="7"/>
                      <a:pt x="26" y="7"/>
                      <a:pt x="26" y="7"/>
                    </a:cubicBezTo>
                    <a:cubicBezTo>
                      <a:pt x="25" y="8"/>
                      <a:pt x="26" y="11"/>
                      <a:pt x="26" y="12"/>
                    </a:cubicBezTo>
                    <a:cubicBezTo>
                      <a:pt x="26" y="14"/>
                      <a:pt x="26" y="17"/>
                      <a:pt x="26" y="19"/>
                    </a:cubicBezTo>
                    <a:cubicBezTo>
                      <a:pt x="26" y="22"/>
                      <a:pt x="20" y="21"/>
                      <a:pt x="20" y="25"/>
                    </a:cubicBezTo>
                    <a:cubicBezTo>
                      <a:pt x="20" y="26"/>
                      <a:pt x="21" y="31"/>
                      <a:pt x="20" y="32"/>
                    </a:cubicBezTo>
                    <a:cubicBezTo>
                      <a:pt x="20" y="32"/>
                      <a:pt x="17" y="32"/>
                      <a:pt x="16" y="32"/>
                    </a:cubicBezTo>
                    <a:cubicBezTo>
                      <a:pt x="12" y="32"/>
                      <a:pt x="7" y="32"/>
                      <a:pt x="3" y="32"/>
                    </a:cubicBezTo>
                    <a:cubicBezTo>
                      <a:pt x="2" y="32"/>
                      <a:pt x="0" y="31"/>
                      <a:pt x="1" y="33"/>
                    </a:cubicBezTo>
                    <a:cubicBezTo>
                      <a:pt x="2" y="34"/>
                      <a:pt x="3" y="35"/>
                      <a:pt x="4" y="36"/>
                    </a:cubicBezTo>
                    <a:cubicBezTo>
                      <a:pt x="5" y="38"/>
                      <a:pt x="4" y="40"/>
                      <a:pt x="3" y="41"/>
                    </a:cubicBezTo>
                    <a:cubicBezTo>
                      <a:pt x="3" y="44"/>
                      <a:pt x="6" y="45"/>
                      <a:pt x="6" y="48"/>
                    </a:cubicBezTo>
                    <a:cubicBezTo>
                      <a:pt x="7" y="51"/>
                      <a:pt x="4" y="55"/>
                      <a:pt x="3" y="58"/>
                    </a:cubicBezTo>
                    <a:cubicBezTo>
                      <a:pt x="4" y="58"/>
                      <a:pt x="4" y="57"/>
                      <a:pt x="5" y="5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1" name="Freeform 768">
                <a:extLst>
                  <a:ext uri="{FF2B5EF4-FFF2-40B4-BE49-F238E27FC236}">
                    <a16:creationId xmlns:a16="http://schemas.microsoft.com/office/drawing/2014/main" id="{5CC6D78E-3059-0145-9EC3-9DFB3963B2B8}"/>
                  </a:ext>
                </a:extLst>
              </p:cNvPr>
              <p:cNvSpPr>
                <a:spLocks/>
              </p:cNvSpPr>
              <p:nvPr/>
            </p:nvSpPr>
            <p:spPr bwMode="auto">
              <a:xfrm>
                <a:off x="10900829" y="8258982"/>
                <a:ext cx="270700" cy="213435"/>
              </a:xfrm>
              <a:custGeom>
                <a:avLst/>
                <a:gdLst>
                  <a:gd name="T0" fmla="*/ 8 w 29"/>
                  <a:gd name="T1" fmla="*/ 22 h 23"/>
                  <a:gd name="T2" fmla="*/ 10 w 29"/>
                  <a:gd name="T3" fmla="*/ 21 h 23"/>
                  <a:gd name="T4" fmla="*/ 15 w 29"/>
                  <a:gd name="T5" fmla="*/ 21 h 23"/>
                  <a:gd name="T6" fmla="*/ 23 w 29"/>
                  <a:gd name="T7" fmla="*/ 21 h 23"/>
                  <a:gd name="T8" fmla="*/ 27 w 29"/>
                  <a:gd name="T9" fmla="*/ 22 h 23"/>
                  <a:gd name="T10" fmla="*/ 29 w 29"/>
                  <a:gd name="T11" fmla="*/ 19 h 23"/>
                  <a:gd name="T12" fmla="*/ 25 w 29"/>
                  <a:gd name="T13" fmla="*/ 14 h 23"/>
                  <a:gd name="T14" fmla="*/ 25 w 29"/>
                  <a:gd name="T15" fmla="*/ 10 h 23"/>
                  <a:gd name="T16" fmla="*/ 19 w 29"/>
                  <a:gd name="T17" fmla="*/ 4 h 23"/>
                  <a:gd name="T18" fmla="*/ 9 w 29"/>
                  <a:gd name="T19" fmla="*/ 1 h 23"/>
                  <a:gd name="T20" fmla="*/ 5 w 29"/>
                  <a:gd name="T21" fmla="*/ 1 h 23"/>
                  <a:gd name="T22" fmla="*/ 2 w 29"/>
                  <a:gd name="T23" fmla="*/ 6 h 23"/>
                  <a:gd name="T24" fmla="*/ 1 w 29"/>
                  <a:gd name="T25" fmla="*/ 10 h 23"/>
                  <a:gd name="T26" fmla="*/ 2 w 29"/>
                  <a:gd name="T27" fmla="*/ 12 h 23"/>
                  <a:gd name="T28" fmla="*/ 2 w 29"/>
                  <a:gd name="T29" fmla="*/ 14 h 23"/>
                  <a:gd name="T30" fmla="*/ 4 w 29"/>
                  <a:gd name="T31" fmla="*/ 15 h 23"/>
                  <a:gd name="T32" fmla="*/ 9 w 29"/>
                  <a:gd name="T33" fmla="*/ 15 h 23"/>
                  <a:gd name="T34" fmla="*/ 10 w 29"/>
                  <a:gd name="T35" fmla="*/ 14 h 23"/>
                  <a:gd name="T36" fmla="*/ 17 w 29"/>
                  <a:gd name="T37" fmla="*/ 16 h 23"/>
                  <a:gd name="T38" fmla="*/ 11 w 29"/>
                  <a:gd name="T39" fmla="*/ 17 h 23"/>
                  <a:gd name="T40" fmla="*/ 6 w 29"/>
                  <a:gd name="T41" fmla="*/ 18 h 23"/>
                  <a:gd name="T42" fmla="*/ 3 w 29"/>
                  <a:gd name="T43" fmla="*/ 21 h 23"/>
                  <a:gd name="T44" fmla="*/ 5 w 29"/>
                  <a:gd name="T45" fmla="*/ 21 h 23"/>
                  <a:gd name="T46" fmla="*/ 8 w 29"/>
                  <a:gd name="T47" fmla="*/ 2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 h="23">
                    <a:moveTo>
                      <a:pt x="8" y="22"/>
                    </a:moveTo>
                    <a:cubicBezTo>
                      <a:pt x="9" y="22"/>
                      <a:pt x="9" y="21"/>
                      <a:pt x="10" y="21"/>
                    </a:cubicBezTo>
                    <a:cubicBezTo>
                      <a:pt x="12" y="21"/>
                      <a:pt x="13" y="21"/>
                      <a:pt x="15" y="21"/>
                    </a:cubicBezTo>
                    <a:cubicBezTo>
                      <a:pt x="17" y="21"/>
                      <a:pt x="20" y="20"/>
                      <a:pt x="23" y="21"/>
                    </a:cubicBezTo>
                    <a:cubicBezTo>
                      <a:pt x="24" y="22"/>
                      <a:pt x="25" y="23"/>
                      <a:pt x="27" y="22"/>
                    </a:cubicBezTo>
                    <a:cubicBezTo>
                      <a:pt x="29" y="22"/>
                      <a:pt x="29" y="21"/>
                      <a:pt x="29" y="19"/>
                    </a:cubicBezTo>
                    <a:cubicBezTo>
                      <a:pt x="29" y="17"/>
                      <a:pt x="25" y="16"/>
                      <a:pt x="25" y="14"/>
                    </a:cubicBezTo>
                    <a:cubicBezTo>
                      <a:pt x="25" y="14"/>
                      <a:pt x="25" y="10"/>
                      <a:pt x="25" y="10"/>
                    </a:cubicBezTo>
                    <a:cubicBezTo>
                      <a:pt x="24" y="10"/>
                      <a:pt x="20" y="5"/>
                      <a:pt x="19" y="4"/>
                    </a:cubicBezTo>
                    <a:cubicBezTo>
                      <a:pt x="16" y="1"/>
                      <a:pt x="13" y="0"/>
                      <a:pt x="9" y="1"/>
                    </a:cubicBezTo>
                    <a:cubicBezTo>
                      <a:pt x="8" y="1"/>
                      <a:pt x="5" y="0"/>
                      <a:pt x="5" y="1"/>
                    </a:cubicBezTo>
                    <a:cubicBezTo>
                      <a:pt x="4" y="2"/>
                      <a:pt x="2" y="4"/>
                      <a:pt x="2" y="6"/>
                    </a:cubicBezTo>
                    <a:cubicBezTo>
                      <a:pt x="3" y="8"/>
                      <a:pt x="3" y="9"/>
                      <a:pt x="1" y="10"/>
                    </a:cubicBezTo>
                    <a:cubicBezTo>
                      <a:pt x="0" y="10"/>
                      <a:pt x="3" y="12"/>
                      <a:pt x="2" y="12"/>
                    </a:cubicBezTo>
                    <a:cubicBezTo>
                      <a:pt x="4" y="13"/>
                      <a:pt x="2" y="13"/>
                      <a:pt x="2" y="14"/>
                    </a:cubicBezTo>
                    <a:cubicBezTo>
                      <a:pt x="2" y="14"/>
                      <a:pt x="3" y="15"/>
                      <a:pt x="4" y="15"/>
                    </a:cubicBezTo>
                    <a:cubicBezTo>
                      <a:pt x="4" y="16"/>
                      <a:pt x="8" y="15"/>
                      <a:pt x="9" y="15"/>
                    </a:cubicBezTo>
                    <a:cubicBezTo>
                      <a:pt x="10" y="15"/>
                      <a:pt x="10" y="14"/>
                      <a:pt x="10" y="14"/>
                    </a:cubicBezTo>
                    <a:cubicBezTo>
                      <a:pt x="11" y="14"/>
                      <a:pt x="17" y="17"/>
                      <a:pt x="17" y="16"/>
                    </a:cubicBezTo>
                    <a:cubicBezTo>
                      <a:pt x="16" y="18"/>
                      <a:pt x="12" y="17"/>
                      <a:pt x="11" y="17"/>
                    </a:cubicBezTo>
                    <a:cubicBezTo>
                      <a:pt x="9" y="16"/>
                      <a:pt x="8" y="18"/>
                      <a:pt x="6" y="18"/>
                    </a:cubicBezTo>
                    <a:cubicBezTo>
                      <a:pt x="3" y="18"/>
                      <a:pt x="1" y="18"/>
                      <a:pt x="3" y="21"/>
                    </a:cubicBezTo>
                    <a:cubicBezTo>
                      <a:pt x="3" y="22"/>
                      <a:pt x="4" y="21"/>
                      <a:pt x="5" y="21"/>
                    </a:cubicBezTo>
                    <a:cubicBezTo>
                      <a:pt x="6" y="21"/>
                      <a:pt x="7" y="22"/>
                      <a:pt x="8"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2" name="Freeform 769">
                <a:extLst>
                  <a:ext uri="{FF2B5EF4-FFF2-40B4-BE49-F238E27FC236}">
                    <a16:creationId xmlns:a16="http://schemas.microsoft.com/office/drawing/2014/main" id="{5D5F436A-604C-7B47-AF23-C27EA6B321B0}"/>
                  </a:ext>
                </a:extLst>
              </p:cNvPr>
              <p:cNvSpPr>
                <a:spLocks/>
              </p:cNvSpPr>
              <p:nvPr/>
            </p:nvSpPr>
            <p:spPr bwMode="auto">
              <a:xfrm>
                <a:off x="11136499" y="7838490"/>
                <a:ext cx="783439" cy="729492"/>
              </a:xfrm>
              <a:custGeom>
                <a:avLst/>
                <a:gdLst>
                  <a:gd name="T0" fmla="*/ 27 w 84"/>
                  <a:gd name="T1" fmla="*/ 1 h 78"/>
                  <a:gd name="T2" fmla="*/ 33 w 84"/>
                  <a:gd name="T3" fmla="*/ 45 h 78"/>
                  <a:gd name="T4" fmla="*/ 32 w 84"/>
                  <a:gd name="T5" fmla="*/ 50 h 78"/>
                  <a:gd name="T6" fmla="*/ 19 w 84"/>
                  <a:gd name="T7" fmla="*/ 50 h 78"/>
                  <a:gd name="T8" fmla="*/ 15 w 84"/>
                  <a:gd name="T9" fmla="*/ 50 h 78"/>
                  <a:gd name="T10" fmla="*/ 12 w 84"/>
                  <a:gd name="T11" fmla="*/ 51 h 78"/>
                  <a:gd name="T12" fmla="*/ 8 w 84"/>
                  <a:gd name="T13" fmla="*/ 51 h 78"/>
                  <a:gd name="T14" fmla="*/ 6 w 84"/>
                  <a:gd name="T15" fmla="*/ 52 h 78"/>
                  <a:gd name="T16" fmla="*/ 3 w 84"/>
                  <a:gd name="T17" fmla="*/ 50 h 78"/>
                  <a:gd name="T18" fmla="*/ 0 w 84"/>
                  <a:gd name="T19" fmla="*/ 55 h 78"/>
                  <a:gd name="T20" fmla="*/ 0 w 84"/>
                  <a:gd name="T21" fmla="*/ 59 h 78"/>
                  <a:gd name="T22" fmla="*/ 3 w 84"/>
                  <a:gd name="T23" fmla="*/ 63 h 78"/>
                  <a:gd name="T24" fmla="*/ 4 w 84"/>
                  <a:gd name="T25" fmla="*/ 67 h 78"/>
                  <a:gd name="T26" fmla="*/ 7 w 84"/>
                  <a:gd name="T27" fmla="*/ 68 h 78"/>
                  <a:gd name="T28" fmla="*/ 11 w 84"/>
                  <a:gd name="T29" fmla="*/ 68 h 78"/>
                  <a:gd name="T30" fmla="*/ 15 w 84"/>
                  <a:gd name="T31" fmla="*/ 66 h 78"/>
                  <a:gd name="T32" fmla="*/ 20 w 84"/>
                  <a:gd name="T33" fmla="*/ 75 h 78"/>
                  <a:gd name="T34" fmla="*/ 20 w 84"/>
                  <a:gd name="T35" fmla="*/ 77 h 78"/>
                  <a:gd name="T36" fmla="*/ 23 w 84"/>
                  <a:gd name="T37" fmla="*/ 77 h 78"/>
                  <a:gd name="T38" fmla="*/ 27 w 84"/>
                  <a:gd name="T39" fmla="*/ 77 h 78"/>
                  <a:gd name="T40" fmla="*/ 30 w 84"/>
                  <a:gd name="T41" fmla="*/ 77 h 78"/>
                  <a:gd name="T42" fmla="*/ 35 w 84"/>
                  <a:gd name="T43" fmla="*/ 71 h 78"/>
                  <a:gd name="T44" fmla="*/ 35 w 84"/>
                  <a:gd name="T45" fmla="*/ 69 h 78"/>
                  <a:gd name="T46" fmla="*/ 39 w 84"/>
                  <a:gd name="T47" fmla="*/ 67 h 78"/>
                  <a:gd name="T48" fmla="*/ 40 w 84"/>
                  <a:gd name="T49" fmla="*/ 63 h 78"/>
                  <a:gd name="T50" fmla="*/ 42 w 84"/>
                  <a:gd name="T51" fmla="*/ 62 h 78"/>
                  <a:gd name="T52" fmla="*/ 49 w 84"/>
                  <a:gd name="T53" fmla="*/ 57 h 78"/>
                  <a:gd name="T54" fmla="*/ 51 w 84"/>
                  <a:gd name="T55" fmla="*/ 57 h 78"/>
                  <a:gd name="T56" fmla="*/ 52 w 84"/>
                  <a:gd name="T57" fmla="*/ 56 h 78"/>
                  <a:gd name="T58" fmla="*/ 55 w 84"/>
                  <a:gd name="T59" fmla="*/ 54 h 78"/>
                  <a:gd name="T60" fmla="*/ 65 w 84"/>
                  <a:gd name="T61" fmla="*/ 53 h 78"/>
                  <a:gd name="T62" fmla="*/ 70 w 84"/>
                  <a:gd name="T63" fmla="*/ 52 h 78"/>
                  <a:gd name="T64" fmla="*/ 78 w 84"/>
                  <a:gd name="T65" fmla="*/ 51 h 78"/>
                  <a:gd name="T66" fmla="*/ 82 w 84"/>
                  <a:gd name="T67" fmla="*/ 31 h 78"/>
                  <a:gd name="T68" fmla="*/ 77 w 84"/>
                  <a:gd name="T69" fmla="*/ 32 h 78"/>
                  <a:gd name="T70" fmla="*/ 77 w 84"/>
                  <a:gd name="T71" fmla="*/ 28 h 78"/>
                  <a:gd name="T72" fmla="*/ 70 w 84"/>
                  <a:gd name="T73" fmla="*/ 26 h 78"/>
                  <a:gd name="T74" fmla="*/ 66 w 84"/>
                  <a:gd name="T75" fmla="*/ 22 h 78"/>
                  <a:gd name="T76" fmla="*/ 63 w 84"/>
                  <a:gd name="T77" fmla="*/ 20 h 78"/>
                  <a:gd name="T78" fmla="*/ 56 w 84"/>
                  <a:gd name="T79" fmla="*/ 14 h 78"/>
                  <a:gd name="T80" fmla="*/ 39 w 84"/>
                  <a:gd name="T81" fmla="*/ 3 h 78"/>
                  <a:gd name="T82" fmla="*/ 35 w 84"/>
                  <a:gd name="T83" fmla="*/ 1 h 78"/>
                  <a:gd name="T84" fmla="*/ 27 w 84"/>
                  <a:gd name="T85" fmla="*/ 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4" h="78">
                    <a:moveTo>
                      <a:pt x="27" y="1"/>
                    </a:moveTo>
                    <a:cubicBezTo>
                      <a:pt x="29" y="16"/>
                      <a:pt x="31" y="31"/>
                      <a:pt x="33" y="45"/>
                    </a:cubicBezTo>
                    <a:cubicBezTo>
                      <a:pt x="33" y="47"/>
                      <a:pt x="35" y="50"/>
                      <a:pt x="32" y="50"/>
                    </a:cubicBezTo>
                    <a:cubicBezTo>
                      <a:pt x="28" y="50"/>
                      <a:pt x="23" y="50"/>
                      <a:pt x="19" y="50"/>
                    </a:cubicBezTo>
                    <a:cubicBezTo>
                      <a:pt x="17" y="50"/>
                      <a:pt x="16" y="50"/>
                      <a:pt x="15" y="50"/>
                    </a:cubicBezTo>
                    <a:cubicBezTo>
                      <a:pt x="14" y="50"/>
                      <a:pt x="13" y="51"/>
                      <a:pt x="12" y="51"/>
                    </a:cubicBezTo>
                    <a:cubicBezTo>
                      <a:pt x="11" y="52"/>
                      <a:pt x="10" y="51"/>
                      <a:pt x="8" y="51"/>
                    </a:cubicBezTo>
                    <a:cubicBezTo>
                      <a:pt x="7" y="51"/>
                      <a:pt x="7" y="53"/>
                      <a:pt x="6" y="52"/>
                    </a:cubicBezTo>
                    <a:cubicBezTo>
                      <a:pt x="5" y="52"/>
                      <a:pt x="4" y="50"/>
                      <a:pt x="3" y="50"/>
                    </a:cubicBezTo>
                    <a:cubicBezTo>
                      <a:pt x="2" y="50"/>
                      <a:pt x="2" y="56"/>
                      <a:pt x="0" y="55"/>
                    </a:cubicBezTo>
                    <a:cubicBezTo>
                      <a:pt x="0" y="56"/>
                      <a:pt x="0" y="58"/>
                      <a:pt x="0" y="59"/>
                    </a:cubicBezTo>
                    <a:cubicBezTo>
                      <a:pt x="0" y="61"/>
                      <a:pt x="2" y="61"/>
                      <a:pt x="3" y="63"/>
                    </a:cubicBezTo>
                    <a:cubicBezTo>
                      <a:pt x="4" y="64"/>
                      <a:pt x="3" y="66"/>
                      <a:pt x="4" y="67"/>
                    </a:cubicBezTo>
                    <a:cubicBezTo>
                      <a:pt x="5" y="69"/>
                      <a:pt x="6" y="67"/>
                      <a:pt x="7" y="68"/>
                    </a:cubicBezTo>
                    <a:cubicBezTo>
                      <a:pt x="7" y="69"/>
                      <a:pt x="10" y="68"/>
                      <a:pt x="11" y="68"/>
                    </a:cubicBezTo>
                    <a:cubicBezTo>
                      <a:pt x="12" y="68"/>
                      <a:pt x="14" y="66"/>
                      <a:pt x="15" y="66"/>
                    </a:cubicBezTo>
                    <a:cubicBezTo>
                      <a:pt x="17" y="68"/>
                      <a:pt x="18" y="73"/>
                      <a:pt x="20" y="75"/>
                    </a:cubicBezTo>
                    <a:cubicBezTo>
                      <a:pt x="20" y="75"/>
                      <a:pt x="19" y="77"/>
                      <a:pt x="20" y="77"/>
                    </a:cubicBezTo>
                    <a:cubicBezTo>
                      <a:pt x="21" y="78"/>
                      <a:pt x="22" y="76"/>
                      <a:pt x="23" y="77"/>
                    </a:cubicBezTo>
                    <a:cubicBezTo>
                      <a:pt x="24" y="78"/>
                      <a:pt x="26" y="78"/>
                      <a:pt x="27" y="77"/>
                    </a:cubicBezTo>
                    <a:cubicBezTo>
                      <a:pt x="29" y="75"/>
                      <a:pt x="29" y="77"/>
                      <a:pt x="30" y="77"/>
                    </a:cubicBezTo>
                    <a:cubicBezTo>
                      <a:pt x="33" y="77"/>
                      <a:pt x="35" y="73"/>
                      <a:pt x="35" y="71"/>
                    </a:cubicBezTo>
                    <a:cubicBezTo>
                      <a:pt x="35" y="70"/>
                      <a:pt x="33" y="70"/>
                      <a:pt x="35" y="69"/>
                    </a:cubicBezTo>
                    <a:cubicBezTo>
                      <a:pt x="36" y="68"/>
                      <a:pt x="38" y="69"/>
                      <a:pt x="39" y="67"/>
                    </a:cubicBezTo>
                    <a:cubicBezTo>
                      <a:pt x="39" y="66"/>
                      <a:pt x="40" y="64"/>
                      <a:pt x="40" y="63"/>
                    </a:cubicBezTo>
                    <a:cubicBezTo>
                      <a:pt x="41" y="61"/>
                      <a:pt x="41" y="60"/>
                      <a:pt x="42" y="62"/>
                    </a:cubicBezTo>
                    <a:cubicBezTo>
                      <a:pt x="45" y="64"/>
                      <a:pt x="47" y="56"/>
                      <a:pt x="49" y="57"/>
                    </a:cubicBezTo>
                    <a:cubicBezTo>
                      <a:pt x="50" y="57"/>
                      <a:pt x="50" y="57"/>
                      <a:pt x="51" y="57"/>
                    </a:cubicBezTo>
                    <a:cubicBezTo>
                      <a:pt x="51" y="57"/>
                      <a:pt x="52" y="56"/>
                      <a:pt x="52" y="56"/>
                    </a:cubicBezTo>
                    <a:cubicBezTo>
                      <a:pt x="53" y="55"/>
                      <a:pt x="54" y="55"/>
                      <a:pt x="55" y="54"/>
                    </a:cubicBezTo>
                    <a:cubicBezTo>
                      <a:pt x="58" y="51"/>
                      <a:pt x="61" y="54"/>
                      <a:pt x="65" y="53"/>
                    </a:cubicBezTo>
                    <a:cubicBezTo>
                      <a:pt x="67" y="53"/>
                      <a:pt x="68" y="52"/>
                      <a:pt x="70" y="52"/>
                    </a:cubicBezTo>
                    <a:cubicBezTo>
                      <a:pt x="73" y="52"/>
                      <a:pt x="76" y="52"/>
                      <a:pt x="78" y="51"/>
                    </a:cubicBezTo>
                    <a:cubicBezTo>
                      <a:pt x="84" y="49"/>
                      <a:pt x="82" y="36"/>
                      <a:pt x="82" y="31"/>
                    </a:cubicBezTo>
                    <a:cubicBezTo>
                      <a:pt x="81" y="32"/>
                      <a:pt x="78" y="34"/>
                      <a:pt x="77" y="32"/>
                    </a:cubicBezTo>
                    <a:cubicBezTo>
                      <a:pt x="76" y="31"/>
                      <a:pt x="78" y="29"/>
                      <a:pt x="77" y="28"/>
                    </a:cubicBezTo>
                    <a:cubicBezTo>
                      <a:pt x="76" y="26"/>
                      <a:pt x="72" y="27"/>
                      <a:pt x="70" y="26"/>
                    </a:cubicBezTo>
                    <a:cubicBezTo>
                      <a:pt x="68" y="26"/>
                      <a:pt x="67" y="23"/>
                      <a:pt x="66" y="22"/>
                    </a:cubicBezTo>
                    <a:cubicBezTo>
                      <a:pt x="66" y="21"/>
                      <a:pt x="65" y="20"/>
                      <a:pt x="63" y="20"/>
                    </a:cubicBezTo>
                    <a:cubicBezTo>
                      <a:pt x="61" y="18"/>
                      <a:pt x="58" y="16"/>
                      <a:pt x="56" y="14"/>
                    </a:cubicBezTo>
                    <a:cubicBezTo>
                      <a:pt x="50" y="11"/>
                      <a:pt x="44" y="7"/>
                      <a:pt x="39" y="3"/>
                    </a:cubicBezTo>
                    <a:cubicBezTo>
                      <a:pt x="38" y="3"/>
                      <a:pt x="36" y="1"/>
                      <a:pt x="35" y="1"/>
                    </a:cubicBezTo>
                    <a:cubicBezTo>
                      <a:pt x="33" y="0"/>
                      <a:pt x="30" y="1"/>
                      <a:pt x="27"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3" name="Freeform 770">
                <a:extLst>
                  <a:ext uri="{FF2B5EF4-FFF2-40B4-BE49-F238E27FC236}">
                    <a16:creationId xmlns:a16="http://schemas.microsoft.com/office/drawing/2014/main" id="{C6177C6B-877A-AE4E-8271-215CC84043C8}"/>
                  </a:ext>
                </a:extLst>
              </p:cNvPr>
              <p:cNvSpPr>
                <a:spLocks/>
              </p:cNvSpPr>
              <p:nvPr/>
            </p:nvSpPr>
            <p:spPr bwMode="auto">
              <a:xfrm>
                <a:off x="12814845" y="7500821"/>
                <a:ext cx="515923" cy="503317"/>
              </a:xfrm>
              <a:custGeom>
                <a:avLst/>
                <a:gdLst>
                  <a:gd name="T0" fmla="*/ 45 w 55"/>
                  <a:gd name="T1" fmla="*/ 54 h 54"/>
                  <a:gd name="T2" fmla="*/ 48 w 55"/>
                  <a:gd name="T3" fmla="*/ 51 h 54"/>
                  <a:gd name="T4" fmla="*/ 51 w 55"/>
                  <a:gd name="T5" fmla="*/ 48 h 54"/>
                  <a:gd name="T6" fmla="*/ 54 w 55"/>
                  <a:gd name="T7" fmla="*/ 44 h 54"/>
                  <a:gd name="T8" fmla="*/ 55 w 55"/>
                  <a:gd name="T9" fmla="*/ 42 h 54"/>
                  <a:gd name="T10" fmla="*/ 50 w 55"/>
                  <a:gd name="T11" fmla="*/ 36 h 54"/>
                  <a:gd name="T12" fmla="*/ 45 w 55"/>
                  <a:gd name="T13" fmla="*/ 25 h 54"/>
                  <a:gd name="T14" fmla="*/ 40 w 55"/>
                  <a:gd name="T15" fmla="*/ 16 h 54"/>
                  <a:gd name="T16" fmla="*/ 38 w 55"/>
                  <a:gd name="T17" fmla="*/ 8 h 54"/>
                  <a:gd name="T18" fmla="*/ 47 w 55"/>
                  <a:gd name="T19" fmla="*/ 22 h 54"/>
                  <a:gd name="T20" fmla="*/ 49 w 55"/>
                  <a:gd name="T21" fmla="*/ 19 h 54"/>
                  <a:gd name="T22" fmla="*/ 48 w 55"/>
                  <a:gd name="T23" fmla="*/ 14 h 54"/>
                  <a:gd name="T24" fmla="*/ 47 w 55"/>
                  <a:gd name="T25" fmla="*/ 2 h 54"/>
                  <a:gd name="T26" fmla="*/ 38 w 55"/>
                  <a:gd name="T27" fmla="*/ 2 h 54"/>
                  <a:gd name="T28" fmla="*/ 25 w 55"/>
                  <a:gd name="T29" fmla="*/ 3 h 54"/>
                  <a:gd name="T30" fmla="*/ 16 w 55"/>
                  <a:gd name="T31" fmla="*/ 3 h 54"/>
                  <a:gd name="T32" fmla="*/ 4 w 55"/>
                  <a:gd name="T33" fmla="*/ 1 h 54"/>
                  <a:gd name="T34" fmla="*/ 3 w 55"/>
                  <a:gd name="T35" fmla="*/ 0 h 54"/>
                  <a:gd name="T36" fmla="*/ 1 w 55"/>
                  <a:gd name="T37" fmla="*/ 3 h 54"/>
                  <a:gd name="T38" fmla="*/ 2 w 55"/>
                  <a:gd name="T39" fmla="*/ 7 h 54"/>
                  <a:gd name="T40" fmla="*/ 1 w 55"/>
                  <a:gd name="T41" fmla="*/ 11 h 54"/>
                  <a:gd name="T42" fmla="*/ 2 w 55"/>
                  <a:gd name="T43" fmla="*/ 13 h 54"/>
                  <a:gd name="T44" fmla="*/ 2 w 55"/>
                  <a:gd name="T45" fmla="*/ 25 h 54"/>
                  <a:gd name="T46" fmla="*/ 2 w 55"/>
                  <a:gd name="T47" fmla="*/ 52 h 54"/>
                  <a:gd name="T48" fmla="*/ 34 w 55"/>
                  <a:gd name="T49" fmla="*/ 52 h 54"/>
                  <a:gd name="T50" fmla="*/ 40 w 55"/>
                  <a:gd name="T51" fmla="*/ 52 h 54"/>
                  <a:gd name="T52" fmla="*/ 45 w 55"/>
                  <a:gd name="T5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5" h="54">
                    <a:moveTo>
                      <a:pt x="45" y="54"/>
                    </a:moveTo>
                    <a:cubicBezTo>
                      <a:pt x="46" y="54"/>
                      <a:pt x="46" y="51"/>
                      <a:pt x="48" y="51"/>
                    </a:cubicBezTo>
                    <a:cubicBezTo>
                      <a:pt x="51" y="51"/>
                      <a:pt x="49" y="49"/>
                      <a:pt x="51" y="48"/>
                    </a:cubicBezTo>
                    <a:cubicBezTo>
                      <a:pt x="54" y="47"/>
                      <a:pt x="54" y="47"/>
                      <a:pt x="54" y="44"/>
                    </a:cubicBezTo>
                    <a:cubicBezTo>
                      <a:pt x="53" y="42"/>
                      <a:pt x="53" y="42"/>
                      <a:pt x="55" y="42"/>
                    </a:cubicBezTo>
                    <a:cubicBezTo>
                      <a:pt x="54" y="42"/>
                      <a:pt x="51" y="37"/>
                      <a:pt x="50" y="36"/>
                    </a:cubicBezTo>
                    <a:cubicBezTo>
                      <a:pt x="49" y="32"/>
                      <a:pt x="47" y="28"/>
                      <a:pt x="45" y="25"/>
                    </a:cubicBezTo>
                    <a:cubicBezTo>
                      <a:pt x="43" y="22"/>
                      <a:pt x="42" y="18"/>
                      <a:pt x="40" y="16"/>
                    </a:cubicBezTo>
                    <a:cubicBezTo>
                      <a:pt x="39" y="15"/>
                      <a:pt x="37" y="9"/>
                      <a:pt x="38" y="8"/>
                    </a:cubicBezTo>
                    <a:cubicBezTo>
                      <a:pt x="38" y="8"/>
                      <a:pt x="46" y="22"/>
                      <a:pt x="47" y="22"/>
                    </a:cubicBezTo>
                    <a:cubicBezTo>
                      <a:pt x="48" y="22"/>
                      <a:pt x="49" y="19"/>
                      <a:pt x="49" y="19"/>
                    </a:cubicBezTo>
                    <a:cubicBezTo>
                      <a:pt x="49" y="17"/>
                      <a:pt x="49" y="15"/>
                      <a:pt x="48" y="14"/>
                    </a:cubicBezTo>
                    <a:cubicBezTo>
                      <a:pt x="48" y="10"/>
                      <a:pt x="47" y="6"/>
                      <a:pt x="47" y="2"/>
                    </a:cubicBezTo>
                    <a:cubicBezTo>
                      <a:pt x="45" y="4"/>
                      <a:pt x="40" y="4"/>
                      <a:pt x="38" y="2"/>
                    </a:cubicBezTo>
                    <a:cubicBezTo>
                      <a:pt x="34" y="0"/>
                      <a:pt x="29" y="1"/>
                      <a:pt x="25" y="3"/>
                    </a:cubicBezTo>
                    <a:cubicBezTo>
                      <a:pt x="22" y="5"/>
                      <a:pt x="19" y="4"/>
                      <a:pt x="16" y="3"/>
                    </a:cubicBezTo>
                    <a:cubicBezTo>
                      <a:pt x="12" y="2"/>
                      <a:pt x="8" y="2"/>
                      <a:pt x="4" y="1"/>
                    </a:cubicBezTo>
                    <a:cubicBezTo>
                      <a:pt x="4" y="1"/>
                      <a:pt x="3" y="0"/>
                      <a:pt x="3" y="0"/>
                    </a:cubicBezTo>
                    <a:cubicBezTo>
                      <a:pt x="2" y="1"/>
                      <a:pt x="2" y="2"/>
                      <a:pt x="1" y="3"/>
                    </a:cubicBezTo>
                    <a:cubicBezTo>
                      <a:pt x="0" y="4"/>
                      <a:pt x="3" y="5"/>
                      <a:pt x="2" y="7"/>
                    </a:cubicBezTo>
                    <a:cubicBezTo>
                      <a:pt x="1" y="8"/>
                      <a:pt x="1" y="9"/>
                      <a:pt x="1" y="11"/>
                    </a:cubicBezTo>
                    <a:cubicBezTo>
                      <a:pt x="2" y="11"/>
                      <a:pt x="2" y="12"/>
                      <a:pt x="2" y="13"/>
                    </a:cubicBezTo>
                    <a:cubicBezTo>
                      <a:pt x="2" y="17"/>
                      <a:pt x="2" y="21"/>
                      <a:pt x="2" y="25"/>
                    </a:cubicBezTo>
                    <a:cubicBezTo>
                      <a:pt x="2" y="28"/>
                      <a:pt x="2" y="52"/>
                      <a:pt x="2" y="52"/>
                    </a:cubicBezTo>
                    <a:cubicBezTo>
                      <a:pt x="13" y="52"/>
                      <a:pt x="23" y="52"/>
                      <a:pt x="34" y="52"/>
                    </a:cubicBezTo>
                    <a:cubicBezTo>
                      <a:pt x="36" y="52"/>
                      <a:pt x="38" y="52"/>
                      <a:pt x="40" y="52"/>
                    </a:cubicBezTo>
                    <a:cubicBezTo>
                      <a:pt x="42" y="52"/>
                      <a:pt x="43" y="54"/>
                      <a:pt x="45" y="5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4" name="Freeform 771">
                <a:extLst>
                  <a:ext uri="{FF2B5EF4-FFF2-40B4-BE49-F238E27FC236}">
                    <a16:creationId xmlns:a16="http://schemas.microsoft.com/office/drawing/2014/main" id="{D7072BDF-1605-A846-BF2A-C7AAA3149638}"/>
                  </a:ext>
                </a:extLst>
              </p:cNvPr>
              <p:cNvSpPr>
                <a:spLocks/>
              </p:cNvSpPr>
              <p:nvPr/>
            </p:nvSpPr>
            <p:spPr bwMode="auto">
              <a:xfrm>
                <a:off x="12050511" y="7210939"/>
                <a:ext cx="187902" cy="363153"/>
              </a:xfrm>
              <a:custGeom>
                <a:avLst/>
                <a:gdLst>
                  <a:gd name="T0" fmla="*/ 14 w 20"/>
                  <a:gd name="T1" fmla="*/ 34 h 39"/>
                  <a:gd name="T2" fmla="*/ 17 w 20"/>
                  <a:gd name="T3" fmla="*/ 30 h 39"/>
                  <a:gd name="T4" fmla="*/ 20 w 20"/>
                  <a:gd name="T5" fmla="*/ 27 h 39"/>
                  <a:gd name="T6" fmla="*/ 20 w 20"/>
                  <a:gd name="T7" fmla="*/ 24 h 39"/>
                  <a:gd name="T8" fmla="*/ 19 w 20"/>
                  <a:gd name="T9" fmla="*/ 23 h 39"/>
                  <a:gd name="T10" fmla="*/ 17 w 20"/>
                  <a:gd name="T11" fmla="*/ 20 h 39"/>
                  <a:gd name="T12" fmla="*/ 14 w 20"/>
                  <a:gd name="T13" fmla="*/ 20 h 39"/>
                  <a:gd name="T14" fmla="*/ 16 w 20"/>
                  <a:gd name="T15" fmla="*/ 16 h 39"/>
                  <a:gd name="T16" fmla="*/ 17 w 20"/>
                  <a:gd name="T17" fmla="*/ 10 h 39"/>
                  <a:gd name="T18" fmla="*/ 15 w 20"/>
                  <a:gd name="T19" fmla="*/ 6 h 39"/>
                  <a:gd name="T20" fmla="*/ 18 w 20"/>
                  <a:gd name="T21" fmla="*/ 4 h 39"/>
                  <a:gd name="T22" fmla="*/ 18 w 20"/>
                  <a:gd name="T23" fmla="*/ 1 h 39"/>
                  <a:gd name="T24" fmla="*/ 15 w 20"/>
                  <a:gd name="T25" fmla="*/ 3 h 39"/>
                  <a:gd name="T26" fmla="*/ 14 w 20"/>
                  <a:gd name="T27" fmla="*/ 2 h 39"/>
                  <a:gd name="T28" fmla="*/ 11 w 20"/>
                  <a:gd name="T29" fmla="*/ 0 h 39"/>
                  <a:gd name="T30" fmla="*/ 5 w 20"/>
                  <a:gd name="T31" fmla="*/ 4 h 39"/>
                  <a:gd name="T32" fmla="*/ 2 w 20"/>
                  <a:gd name="T33" fmla="*/ 17 h 39"/>
                  <a:gd name="T34" fmla="*/ 1 w 20"/>
                  <a:gd name="T35" fmla="*/ 21 h 39"/>
                  <a:gd name="T36" fmla="*/ 4 w 20"/>
                  <a:gd name="T37" fmla="*/ 26 h 39"/>
                  <a:gd name="T38" fmla="*/ 8 w 20"/>
                  <a:gd name="T39" fmla="*/ 30 h 39"/>
                  <a:gd name="T40" fmla="*/ 10 w 20"/>
                  <a:gd name="T41" fmla="*/ 39 h 39"/>
                  <a:gd name="T42" fmla="*/ 14 w 20"/>
                  <a:gd name="T43" fmla="*/ 34 h 39"/>
                  <a:gd name="T44" fmla="*/ 14 w 20"/>
                  <a:gd name="T45"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39">
                    <a:moveTo>
                      <a:pt x="14" y="34"/>
                    </a:moveTo>
                    <a:cubicBezTo>
                      <a:pt x="12" y="32"/>
                      <a:pt x="16" y="30"/>
                      <a:pt x="17" y="30"/>
                    </a:cubicBezTo>
                    <a:cubicBezTo>
                      <a:pt x="19" y="29"/>
                      <a:pt x="20" y="28"/>
                      <a:pt x="20" y="27"/>
                    </a:cubicBezTo>
                    <a:cubicBezTo>
                      <a:pt x="20" y="26"/>
                      <a:pt x="20" y="25"/>
                      <a:pt x="20" y="24"/>
                    </a:cubicBezTo>
                    <a:cubicBezTo>
                      <a:pt x="20" y="23"/>
                      <a:pt x="19" y="23"/>
                      <a:pt x="19" y="23"/>
                    </a:cubicBezTo>
                    <a:cubicBezTo>
                      <a:pt x="18" y="22"/>
                      <a:pt x="18" y="21"/>
                      <a:pt x="17" y="20"/>
                    </a:cubicBezTo>
                    <a:cubicBezTo>
                      <a:pt x="16" y="20"/>
                      <a:pt x="15" y="21"/>
                      <a:pt x="14" y="20"/>
                    </a:cubicBezTo>
                    <a:cubicBezTo>
                      <a:pt x="11" y="18"/>
                      <a:pt x="14" y="17"/>
                      <a:pt x="16" y="16"/>
                    </a:cubicBezTo>
                    <a:cubicBezTo>
                      <a:pt x="18" y="15"/>
                      <a:pt x="19" y="12"/>
                      <a:pt x="17" y="10"/>
                    </a:cubicBezTo>
                    <a:cubicBezTo>
                      <a:pt x="17" y="9"/>
                      <a:pt x="14" y="7"/>
                      <a:pt x="15" y="6"/>
                    </a:cubicBezTo>
                    <a:cubicBezTo>
                      <a:pt x="16" y="5"/>
                      <a:pt x="17" y="5"/>
                      <a:pt x="18" y="4"/>
                    </a:cubicBezTo>
                    <a:cubicBezTo>
                      <a:pt x="18" y="4"/>
                      <a:pt x="18" y="1"/>
                      <a:pt x="18" y="1"/>
                    </a:cubicBezTo>
                    <a:cubicBezTo>
                      <a:pt x="17" y="1"/>
                      <a:pt x="16" y="4"/>
                      <a:pt x="15" y="3"/>
                    </a:cubicBezTo>
                    <a:cubicBezTo>
                      <a:pt x="15" y="3"/>
                      <a:pt x="14" y="2"/>
                      <a:pt x="14" y="2"/>
                    </a:cubicBezTo>
                    <a:cubicBezTo>
                      <a:pt x="13" y="1"/>
                      <a:pt x="12" y="0"/>
                      <a:pt x="11" y="0"/>
                    </a:cubicBezTo>
                    <a:cubicBezTo>
                      <a:pt x="9" y="1"/>
                      <a:pt x="6" y="2"/>
                      <a:pt x="5" y="4"/>
                    </a:cubicBezTo>
                    <a:cubicBezTo>
                      <a:pt x="3" y="8"/>
                      <a:pt x="5" y="14"/>
                      <a:pt x="2" y="17"/>
                    </a:cubicBezTo>
                    <a:cubicBezTo>
                      <a:pt x="0" y="19"/>
                      <a:pt x="0" y="19"/>
                      <a:pt x="1" y="21"/>
                    </a:cubicBezTo>
                    <a:cubicBezTo>
                      <a:pt x="1" y="23"/>
                      <a:pt x="4" y="24"/>
                      <a:pt x="4" y="26"/>
                    </a:cubicBezTo>
                    <a:cubicBezTo>
                      <a:pt x="5" y="28"/>
                      <a:pt x="8" y="29"/>
                      <a:pt x="8" y="30"/>
                    </a:cubicBezTo>
                    <a:cubicBezTo>
                      <a:pt x="9" y="33"/>
                      <a:pt x="10" y="37"/>
                      <a:pt x="10" y="39"/>
                    </a:cubicBezTo>
                    <a:cubicBezTo>
                      <a:pt x="12" y="39"/>
                      <a:pt x="16" y="37"/>
                      <a:pt x="14" y="34"/>
                    </a:cubicBezTo>
                    <a:cubicBezTo>
                      <a:pt x="13" y="33"/>
                      <a:pt x="15" y="35"/>
                      <a:pt x="14" y="3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5" name="Freeform 772">
                <a:extLst>
                  <a:ext uri="{FF2B5EF4-FFF2-40B4-BE49-F238E27FC236}">
                    <a16:creationId xmlns:a16="http://schemas.microsoft.com/office/drawing/2014/main" id="{C8DF286C-5073-3D4C-9BEB-C7DDD429A30D}"/>
                  </a:ext>
                </a:extLst>
              </p:cNvPr>
              <p:cNvSpPr>
                <a:spLocks/>
              </p:cNvSpPr>
              <p:nvPr/>
            </p:nvSpPr>
            <p:spPr bwMode="auto">
              <a:xfrm>
                <a:off x="12133317" y="7424369"/>
                <a:ext cx="710194" cy="684895"/>
              </a:xfrm>
              <a:custGeom>
                <a:avLst/>
                <a:gdLst>
                  <a:gd name="T0" fmla="*/ 21 w 76"/>
                  <a:gd name="T1" fmla="*/ 55 h 73"/>
                  <a:gd name="T2" fmla="*/ 25 w 76"/>
                  <a:gd name="T3" fmla="*/ 57 h 73"/>
                  <a:gd name="T4" fmla="*/ 28 w 76"/>
                  <a:gd name="T5" fmla="*/ 55 h 73"/>
                  <a:gd name="T6" fmla="*/ 33 w 76"/>
                  <a:gd name="T7" fmla="*/ 53 h 73"/>
                  <a:gd name="T8" fmla="*/ 44 w 76"/>
                  <a:gd name="T9" fmla="*/ 59 h 73"/>
                  <a:gd name="T10" fmla="*/ 70 w 76"/>
                  <a:gd name="T11" fmla="*/ 73 h 73"/>
                  <a:gd name="T12" fmla="*/ 71 w 76"/>
                  <a:gd name="T13" fmla="*/ 71 h 73"/>
                  <a:gd name="T14" fmla="*/ 75 w 76"/>
                  <a:gd name="T15" fmla="*/ 71 h 73"/>
                  <a:gd name="T16" fmla="*/ 75 w 76"/>
                  <a:gd name="T17" fmla="*/ 66 h 73"/>
                  <a:gd name="T18" fmla="*/ 75 w 76"/>
                  <a:gd name="T19" fmla="*/ 44 h 73"/>
                  <a:gd name="T20" fmla="*/ 75 w 76"/>
                  <a:gd name="T21" fmla="*/ 24 h 73"/>
                  <a:gd name="T22" fmla="*/ 75 w 76"/>
                  <a:gd name="T23" fmla="*/ 20 h 73"/>
                  <a:gd name="T24" fmla="*/ 74 w 76"/>
                  <a:gd name="T25" fmla="*/ 17 h 73"/>
                  <a:gd name="T26" fmla="*/ 76 w 76"/>
                  <a:gd name="T27" fmla="*/ 14 h 73"/>
                  <a:gd name="T28" fmla="*/ 74 w 76"/>
                  <a:gd name="T29" fmla="*/ 11 h 73"/>
                  <a:gd name="T30" fmla="*/ 76 w 76"/>
                  <a:gd name="T31" fmla="*/ 8 h 73"/>
                  <a:gd name="T32" fmla="*/ 67 w 76"/>
                  <a:gd name="T33" fmla="*/ 5 h 73"/>
                  <a:gd name="T34" fmla="*/ 61 w 76"/>
                  <a:gd name="T35" fmla="*/ 2 h 73"/>
                  <a:gd name="T36" fmla="*/ 51 w 76"/>
                  <a:gd name="T37" fmla="*/ 6 h 73"/>
                  <a:gd name="T38" fmla="*/ 51 w 76"/>
                  <a:gd name="T39" fmla="*/ 9 h 73"/>
                  <a:gd name="T40" fmla="*/ 50 w 76"/>
                  <a:gd name="T41" fmla="*/ 14 h 73"/>
                  <a:gd name="T42" fmla="*/ 41 w 76"/>
                  <a:gd name="T43" fmla="*/ 13 h 73"/>
                  <a:gd name="T44" fmla="*/ 36 w 76"/>
                  <a:gd name="T45" fmla="*/ 12 h 73"/>
                  <a:gd name="T46" fmla="*/ 31 w 76"/>
                  <a:gd name="T47" fmla="*/ 10 h 73"/>
                  <a:gd name="T48" fmla="*/ 29 w 76"/>
                  <a:gd name="T49" fmla="*/ 6 h 73"/>
                  <a:gd name="T50" fmla="*/ 23 w 76"/>
                  <a:gd name="T51" fmla="*/ 3 h 73"/>
                  <a:gd name="T52" fmla="*/ 17 w 76"/>
                  <a:gd name="T53" fmla="*/ 2 h 73"/>
                  <a:gd name="T54" fmla="*/ 11 w 76"/>
                  <a:gd name="T55" fmla="*/ 0 h 73"/>
                  <a:gd name="T56" fmla="*/ 11 w 76"/>
                  <a:gd name="T57" fmla="*/ 4 h 73"/>
                  <a:gd name="T58" fmla="*/ 9 w 76"/>
                  <a:gd name="T59" fmla="*/ 6 h 73"/>
                  <a:gd name="T60" fmla="*/ 5 w 76"/>
                  <a:gd name="T61" fmla="*/ 8 h 73"/>
                  <a:gd name="T62" fmla="*/ 5 w 76"/>
                  <a:gd name="T63" fmla="*/ 14 h 73"/>
                  <a:gd name="T64" fmla="*/ 1 w 76"/>
                  <a:gd name="T65" fmla="*/ 17 h 73"/>
                  <a:gd name="T66" fmla="*/ 3 w 76"/>
                  <a:gd name="T67" fmla="*/ 21 h 73"/>
                  <a:gd name="T68" fmla="*/ 3 w 76"/>
                  <a:gd name="T69" fmla="*/ 26 h 73"/>
                  <a:gd name="T70" fmla="*/ 3 w 76"/>
                  <a:gd name="T71" fmla="*/ 31 h 73"/>
                  <a:gd name="T72" fmla="*/ 3 w 76"/>
                  <a:gd name="T73" fmla="*/ 34 h 73"/>
                  <a:gd name="T74" fmla="*/ 3 w 76"/>
                  <a:gd name="T75" fmla="*/ 37 h 73"/>
                  <a:gd name="T76" fmla="*/ 1 w 76"/>
                  <a:gd name="T77" fmla="*/ 40 h 73"/>
                  <a:gd name="T78" fmla="*/ 4 w 76"/>
                  <a:gd name="T79" fmla="*/ 46 h 73"/>
                  <a:gd name="T80" fmla="*/ 7 w 76"/>
                  <a:gd name="T81" fmla="*/ 48 h 73"/>
                  <a:gd name="T82" fmla="*/ 11 w 76"/>
                  <a:gd name="T83" fmla="*/ 49 h 73"/>
                  <a:gd name="T84" fmla="*/ 14 w 76"/>
                  <a:gd name="T85" fmla="*/ 53 h 73"/>
                  <a:gd name="T86" fmla="*/ 21 w 76"/>
                  <a:gd name="T87" fmla="*/ 55 h 73"/>
                  <a:gd name="T88" fmla="*/ 21 w 76"/>
                  <a:gd name="T89" fmla="*/ 5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73">
                    <a:moveTo>
                      <a:pt x="21" y="55"/>
                    </a:moveTo>
                    <a:cubicBezTo>
                      <a:pt x="21" y="56"/>
                      <a:pt x="24" y="58"/>
                      <a:pt x="25" y="57"/>
                    </a:cubicBezTo>
                    <a:cubicBezTo>
                      <a:pt x="26" y="56"/>
                      <a:pt x="27" y="56"/>
                      <a:pt x="28" y="55"/>
                    </a:cubicBezTo>
                    <a:cubicBezTo>
                      <a:pt x="29" y="55"/>
                      <a:pt x="32" y="53"/>
                      <a:pt x="33" y="53"/>
                    </a:cubicBezTo>
                    <a:cubicBezTo>
                      <a:pt x="37" y="55"/>
                      <a:pt x="40" y="57"/>
                      <a:pt x="44" y="59"/>
                    </a:cubicBezTo>
                    <a:cubicBezTo>
                      <a:pt x="53" y="64"/>
                      <a:pt x="61" y="69"/>
                      <a:pt x="70" y="73"/>
                    </a:cubicBezTo>
                    <a:cubicBezTo>
                      <a:pt x="70" y="71"/>
                      <a:pt x="69" y="71"/>
                      <a:pt x="71" y="71"/>
                    </a:cubicBezTo>
                    <a:cubicBezTo>
                      <a:pt x="71" y="71"/>
                      <a:pt x="75" y="71"/>
                      <a:pt x="75" y="71"/>
                    </a:cubicBezTo>
                    <a:cubicBezTo>
                      <a:pt x="75" y="69"/>
                      <a:pt x="75" y="68"/>
                      <a:pt x="75" y="66"/>
                    </a:cubicBezTo>
                    <a:cubicBezTo>
                      <a:pt x="75" y="59"/>
                      <a:pt x="75" y="52"/>
                      <a:pt x="75" y="44"/>
                    </a:cubicBezTo>
                    <a:cubicBezTo>
                      <a:pt x="75" y="37"/>
                      <a:pt x="75" y="30"/>
                      <a:pt x="75" y="24"/>
                    </a:cubicBezTo>
                    <a:cubicBezTo>
                      <a:pt x="75" y="22"/>
                      <a:pt x="75" y="21"/>
                      <a:pt x="75" y="20"/>
                    </a:cubicBezTo>
                    <a:cubicBezTo>
                      <a:pt x="74" y="19"/>
                      <a:pt x="74" y="18"/>
                      <a:pt x="74" y="17"/>
                    </a:cubicBezTo>
                    <a:cubicBezTo>
                      <a:pt x="74" y="16"/>
                      <a:pt x="76" y="15"/>
                      <a:pt x="76" y="14"/>
                    </a:cubicBezTo>
                    <a:cubicBezTo>
                      <a:pt x="76" y="13"/>
                      <a:pt x="74" y="12"/>
                      <a:pt x="74" y="11"/>
                    </a:cubicBezTo>
                    <a:cubicBezTo>
                      <a:pt x="74" y="10"/>
                      <a:pt x="75" y="9"/>
                      <a:pt x="76" y="8"/>
                    </a:cubicBezTo>
                    <a:cubicBezTo>
                      <a:pt x="73" y="6"/>
                      <a:pt x="70" y="7"/>
                      <a:pt x="67" y="5"/>
                    </a:cubicBezTo>
                    <a:cubicBezTo>
                      <a:pt x="65" y="4"/>
                      <a:pt x="64" y="2"/>
                      <a:pt x="61" y="2"/>
                    </a:cubicBezTo>
                    <a:cubicBezTo>
                      <a:pt x="57" y="2"/>
                      <a:pt x="53" y="3"/>
                      <a:pt x="51" y="6"/>
                    </a:cubicBezTo>
                    <a:cubicBezTo>
                      <a:pt x="50" y="7"/>
                      <a:pt x="50" y="8"/>
                      <a:pt x="51" y="9"/>
                    </a:cubicBezTo>
                    <a:cubicBezTo>
                      <a:pt x="52" y="11"/>
                      <a:pt x="51" y="12"/>
                      <a:pt x="50" y="14"/>
                    </a:cubicBezTo>
                    <a:cubicBezTo>
                      <a:pt x="48" y="17"/>
                      <a:pt x="44" y="15"/>
                      <a:pt x="41" y="13"/>
                    </a:cubicBezTo>
                    <a:cubicBezTo>
                      <a:pt x="39" y="13"/>
                      <a:pt x="38" y="12"/>
                      <a:pt x="36" y="12"/>
                    </a:cubicBezTo>
                    <a:cubicBezTo>
                      <a:pt x="34" y="11"/>
                      <a:pt x="32" y="12"/>
                      <a:pt x="31" y="10"/>
                    </a:cubicBezTo>
                    <a:cubicBezTo>
                      <a:pt x="30" y="9"/>
                      <a:pt x="30" y="7"/>
                      <a:pt x="29" y="6"/>
                    </a:cubicBezTo>
                    <a:cubicBezTo>
                      <a:pt x="28" y="4"/>
                      <a:pt x="25" y="4"/>
                      <a:pt x="23" y="3"/>
                    </a:cubicBezTo>
                    <a:cubicBezTo>
                      <a:pt x="21" y="2"/>
                      <a:pt x="19" y="2"/>
                      <a:pt x="17" y="2"/>
                    </a:cubicBezTo>
                    <a:cubicBezTo>
                      <a:pt x="15" y="2"/>
                      <a:pt x="14" y="1"/>
                      <a:pt x="11" y="0"/>
                    </a:cubicBezTo>
                    <a:cubicBezTo>
                      <a:pt x="11" y="1"/>
                      <a:pt x="11" y="2"/>
                      <a:pt x="11" y="4"/>
                    </a:cubicBezTo>
                    <a:cubicBezTo>
                      <a:pt x="11" y="5"/>
                      <a:pt x="11" y="4"/>
                      <a:pt x="9" y="6"/>
                    </a:cubicBezTo>
                    <a:cubicBezTo>
                      <a:pt x="8" y="7"/>
                      <a:pt x="7" y="7"/>
                      <a:pt x="5" y="8"/>
                    </a:cubicBezTo>
                    <a:cubicBezTo>
                      <a:pt x="3" y="10"/>
                      <a:pt x="6" y="12"/>
                      <a:pt x="5" y="14"/>
                    </a:cubicBezTo>
                    <a:cubicBezTo>
                      <a:pt x="4" y="16"/>
                      <a:pt x="1" y="16"/>
                      <a:pt x="1" y="17"/>
                    </a:cubicBezTo>
                    <a:cubicBezTo>
                      <a:pt x="1" y="19"/>
                      <a:pt x="2" y="20"/>
                      <a:pt x="3" y="21"/>
                    </a:cubicBezTo>
                    <a:cubicBezTo>
                      <a:pt x="3" y="23"/>
                      <a:pt x="3" y="25"/>
                      <a:pt x="3" y="26"/>
                    </a:cubicBezTo>
                    <a:cubicBezTo>
                      <a:pt x="3" y="28"/>
                      <a:pt x="4" y="29"/>
                      <a:pt x="3" y="31"/>
                    </a:cubicBezTo>
                    <a:cubicBezTo>
                      <a:pt x="3" y="32"/>
                      <a:pt x="3" y="33"/>
                      <a:pt x="3" y="34"/>
                    </a:cubicBezTo>
                    <a:cubicBezTo>
                      <a:pt x="3" y="35"/>
                      <a:pt x="4" y="36"/>
                      <a:pt x="3" y="37"/>
                    </a:cubicBezTo>
                    <a:cubicBezTo>
                      <a:pt x="3" y="38"/>
                      <a:pt x="0" y="38"/>
                      <a:pt x="1" y="40"/>
                    </a:cubicBezTo>
                    <a:cubicBezTo>
                      <a:pt x="3" y="42"/>
                      <a:pt x="4" y="43"/>
                      <a:pt x="4" y="46"/>
                    </a:cubicBezTo>
                    <a:cubicBezTo>
                      <a:pt x="4" y="48"/>
                      <a:pt x="6" y="47"/>
                      <a:pt x="7" y="48"/>
                    </a:cubicBezTo>
                    <a:cubicBezTo>
                      <a:pt x="9" y="48"/>
                      <a:pt x="10" y="48"/>
                      <a:pt x="11" y="49"/>
                    </a:cubicBezTo>
                    <a:cubicBezTo>
                      <a:pt x="12" y="50"/>
                      <a:pt x="13" y="52"/>
                      <a:pt x="14" y="53"/>
                    </a:cubicBezTo>
                    <a:cubicBezTo>
                      <a:pt x="16" y="54"/>
                      <a:pt x="19" y="53"/>
                      <a:pt x="21" y="55"/>
                    </a:cubicBezTo>
                    <a:cubicBezTo>
                      <a:pt x="22" y="56"/>
                      <a:pt x="20" y="54"/>
                      <a:pt x="21" y="55"/>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6" name="Freeform 773">
                <a:extLst>
                  <a:ext uri="{FF2B5EF4-FFF2-40B4-BE49-F238E27FC236}">
                    <a16:creationId xmlns:a16="http://schemas.microsoft.com/office/drawing/2014/main" id="{6E823DE3-E8E3-3846-9417-4BFCD4CC3144}"/>
                  </a:ext>
                </a:extLst>
              </p:cNvPr>
              <p:cNvSpPr>
                <a:spLocks/>
              </p:cNvSpPr>
              <p:nvPr/>
            </p:nvSpPr>
            <p:spPr bwMode="auto">
              <a:xfrm>
                <a:off x="10910384" y="7714256"/>
                <a:ext cx="391721" cy="318556"/>
              </a:xfrm>
              <a:custGeom>
                <a:avLst/>
                <a:gdLst>
                  <a:gd name="T0" fmla="*/ 19 w 42"/>
                  <a:gd name="T1" fmla="*/ 34 h 34"/>
                  <a:gd name="T2" fmla="*/ 20 w 42"/>
                  <a:gd name="T3" fmla="*/ 25 h 34"/>
                  <a:gd name="T4" fmla="*/ 24 w 42"/>
                  <a:gd name="T5" fmla="*/ 22 h 34"/>
                  <a:gd name="T6" fmla="*/ 25 w 42"/>
                  <a:gd name="T7" fmla="*/ 20 h 34"/>
                  <a:gd name="T8" fmla="*/ 25 w 42"/>
                  <a:gd name="T9" fmla="*/ 9 h 34"/>
                  <a:gd name="T10" fmla="*/ 32 w 42"/>
                  <a:gd name="T11" fmla="*/ 9 h 34"/>
                  <a:gd name="T12" fmla="*/ 41 w 42"/>
                  <a:gd name="T13" fmla="*/ 9 h 34"/>
                  <a:gd name="T14" fmla="*/ 42 w 42"/>
                  <a:gd name="T15" fmla="*/ 2 h 34"/>
                  <a:gd name="T16" fmla="*/ 40 w 42"/>
                  <a:gd name="T17" fmla="*/ 0 h 34"/>
                  <a:gd name="T18" fmla="*/ 20 w 42"/>
                  <a:gd name="T19" fmla="*/ 0 h 34"/>
                  <a:gd name="T20" fmla="*/ 15 w 42"/>
                  <a:gd name="T21" fmla="*/ 6 h 34"/>
                  <a:gd name="T22" fmla="*/ 10 w 42"/>
                  <a:gd name="T23" fmla="*/ 17 h 34"/>
                  <a:gd name="T24" fmla="*/ 8 w 42"/>
                  <a:gd name="T25" fmla="*/ 18 h 34"/>
                  <a:gd name="T26" fmla="*/ 4 w 42"/>
                  <a:gd name="T27" fmla="*/ 25 h 34"/>
                  <a:gd name="T28" fmla="*/ 0 w 42"/>
                  <a:gd name="T29" fmla="*/ 34 h 34"/>
                  <a:gd name="T30" fmla="*/ 19 w 42"/>
                  <a:gd name="T3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 h="34">
                    <a:moveTo>
                      <a:pt x="19" y="34"/>
                    </a:moveTo>
                    <a:cubicBezTo>
                      <a:pt x="19" y="31"/>
                      <a:pt x="18" y="26"/>
                      <a:pt x="20" y="25"/>
                    </a:cubicBezTo>
                    <a:cubicBezTo>
                      <a:pt x="21" y="24"/>
                      <a:pt x="23" y="23"/>
                      <a:pt x="24" y="22"/>
                    </a:cubicBezTo>
                    <a:cubicBezTo>
                      <a:pt x="25" y="22"/>
                      <a:pt x="25" y="20"/>
                      <a:pt x="25" y="20"/>
                    </a:cubicBezTo>
                    <a:cubicBezTo>
                      <a:pt x="25" y="16"/>
                      <a:pt x="25" y="13"/>
                      <a:pt x="25" y="9"/>
                    </a:cubicBezTo>
                    <a:cubicBezTo>
                      <a:pt x="25" y="9"/>
                      <a:pt x="31" y="9"/>
                      <a:pt x="32" y="9"/>
                    </a:cubicBezTo>
                    <a:cubicBezTo>
                      <a:pt x="35" y="9"/>
                      <a:pt x="38" y="9"/>
                      <a:pt x="41" y="9"/>
                    </a:cubicBezTo>
                    <a:cubicBezTo>
                      <a:pt x="42" y="9"/>
                      <a:pt x="42" y="3"/>
                      <a:pt x="42" y="2"/>
                    </a:cubicBezTo>
                    <a:cubicBezTo>
                      <a:pt x="42" y="0"/>
                      <a:pt x="42" y="0"/>
                      <a:pt x="40" y="0"/>
                    </a:cubicBezTo>
                    <a:cubicBezTo>
                      <a:pt x="33" y="0"/>
                      <a:pt x="27" y="0"/>
                      <a:pt x="20" y="0"/>
                    </a:cubicBezTo>
                    <a:cubicBezTo>
                      <a:pt x="18" y="2"/>
                      <a:pt x="17" y="4"/>
                      <a:pt x="15" y="6"/>
                    </a:cubicBezTo>
                    <a:cubicBezTo>
                      <a:pt x="11" y="9"/>
                      <a:pt x="11" y="12"/>
                      <a:pt x="10" y="17"/>
                    </a:cubicBezTo>
                    <a:cubicBezTo>
                      <a:pt x="10" y="17"/>
                      <a:pt x="9" y="18"/>
                      <a:pt x="8" y="18"/>
                    </a:cubicBezTo>
                    <a:cubicBezTo>
                      <a:pt x="6" y="20"/>
                      <a:pt x="5" y="22"/>
                      <a:pt x="4" y="25"/>
                    </a:cubicBezTo>
                    <a:cubicBezTo>
                      <a:pt x="2" y="28"/>
                      <a:pt x="0" y="30"/>
                      <a:pt x="0" y="34"/>
                    </a:cubicBezTo>
                    <a:cubicBezTo>
                      <a:pt x="6" y="34"/>
                      <a:pt x="13" y="34"/>
                      <a:pt x="19" y="3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7" name="Freeform 774">
                <a:extLst>
                  <a:ext uri="{FF2B5EF4-FFF2-40B4-BE49-F238E27FC236}">
                    <a16:creationId xmlns:a16="http://schemas.microsoft.com/office/drawing/2014/main" id="{6952871D-7A73-9C41-8618-45CEBD0A53DC}"/>
                  </a:ext>
                </a:extLst>
              </p:cNvPr>
              <p:cNvSpPr>
                <a:spLocks/>
              </p:cNvSpPr>
              <p:nvPr/>
            </p:nvSpPr>
            <p:spPr bwMode="auto">
              <a:xfrm>
                <a:off x="11098281" y="7265092"/>
                <a:ext cx="560509" cy="449163"/>
              </a:xfrm>
              <a:custGeom>
                <a:avLst/>
                <a:gdLst>
                  <a:gd name="T0" fmla="*/ 22 w 60"/>
                  <a:gd name="T1" fmla="*/ 48 h 48"/>
                  <a:gd name="T2" fmla="*/ 23 w 60"/>
                  <a:gd name="T3" fmla="*/ 41 h 48"/>
                  <a:gd name="T4" fmla="*/ 29 w 60"/>
                  <a:gd name="T5" fmla="*/ 37 h 48"/>
                  <a:gd name="T6" fmla="*/ 33 w 60"/>
                  <a:gd name="T7" fmla="*/ 37 h 48"/>
                  <a:gd name="T8" fmla="*/ 38 w 60"/>
                  <a:gd name="T9" fmla="*/ 35 h 48"/>
                  <a:gd name="T10" fmla="*/ 40 w 60"/>
                  <a:gd name="T11" fmla="*/ 32 h 48"/>
                  <a:gd name="T12" fmla="*/ 45 w 60"/>
                  <a:gd name="T13" fmla="*/ 31 h 48"/>
                  <a:gd name="T14" fmla="*/ 46 w 60"/>
                  <a:gd name="T15" fmla="*/ 28 h 48"/>
                  <a:gd name="T16" fmla="*/ 50 w 60"/>
                  <a:gd name="T17" fmla="*/ 25 h 48"/>
                  <a:gd name="T18" fmla="*/ 53 w 60"/>
                  <a:gd name="T19" fmla="*/ 23 h 48"/>
                  <a:gd name="T20" fmla="*/ 58 w 60"/>
                  <a:gd name="T21" fmla="*/ 24 h 48"/>
                  <a:gd name="T22" fmla="*/ 56 w 60"/>
                  <a:gd name="T23" fmla="*/ 16 h 48"/>
                  <a:gd name="T24" fmla="*/ 56 w 60"/>
                  <a:gd name="T25" fmla="*/ 10 h 48"/>
                  <a:gd name="T26" fmla="*/ 55 w 60"/>
                  <a:gd name="T27" fmla="*/ 7 h 48"/>
                  <a:gd name="T28" fmla="*/ 51 w 60"/>
                  <a:gd name="T29" fmla="*/ 6 h 48"/>
                  <a:gd name="T30" fmla="*/ 47 w 60"/>
                  <a:gd name="T31" fmla="*/ 6 h 48"/>
                  <a:gd name="T32" fmla="*/ 42 w 60"/>
                  <a:gd name="T33" fmla="*/ 6 h 48"/>
                  <a:gd name="T34" fmla="*/ 35 w 60"/>
                  <a:gd name="T35" fmla="*/ 4 h 48"/>
                  <a:gd name="T36" fmla="*/ 30 w 60"/>
                  <a:gd name="T37" fmla="*/ 13 h 48"/>
                  <a:gd name="T38" fmla="*/ 20 w 60"/>
                  <a:gd name="T39" fmla="*/ 19 h 48"/>
                  <a:gd name="T40" fmla="*/ 16 w 60"/>
                  <a:gd name="T41" fmla="*/ 27 h 48"/>
                  <a:gd name="T42" fmla="*/ 16 w 60"/>
                  <a:gd name="T43" fmla="*/ 35 h 48"/>
                  <a:gd name="T44" fmla="*/ 14 w 60"/>
                  <a:gd name="T45" fmla="*/ 39 h 48"/>
                  <a:gd name="T46" fmla="*/ 9 w 60"/>
                  <a:gd name="T47" fmla="*/ 42 h 48"/>
                  <a:gd name="T48" fmla="*/ 5 w 60"/>
                  <a:gd name="T49" fmla="*/ 45 h 48"/>
                  <a:gd name="T50" fmla="*/ 0 w 60"/>
                  <a:gd name="T51" fmla="*/ 48 h 48"/>
                  <a:gd name="T52" fmla="*/ 22 w 60"/>
                  <a:gd name="T5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48">
                    <a:moveTo>
                      <a:pt x="22" y="48"/>
                    </a:moveTo>
                    <a:cubicBezTo>
                      <a:pt x="22" y="45"/>
                      <a:pt x="21" y="43"/>
                      <a:pt x="23" y="41"/>
                    </a:cubicBezTo>
                    <a:cubicBezTo>
                      <a:pt x="25" y="40"/>
                      <a:pt x="28" y="39"/>
                      <a:pt x="29" y="37"/>
                    </a:cubicBezTo>
                    <a:cubicBezTo>
                      <a:pt x="30" y="37"/>
                      <a:pt x="32" y="37"/>
                      <a:pt x="33" y="37"/>
                    </a:cubicBezTo>
                    <a:cubicBezTo>
                      <a:pt x="34" y="36"/>
                      <a:pt x="36" y="36"/>
                      <a:pt x="38" y="35"/>
                    </a:cubicBezTo>
                    <a:cubicBezTo>
                      <a:pt x="39" y="34"/>
                      <a:pt x="39" y="33"/>
                      <a:pt x="40" y="32"/>
                    </a:cubicBezTo>
                    <a:cubicBezTo>
                      <a:pt x="41" y="31"/>
                      <a:pt x="44" y="32"/>
                      <a:pt x="45" y="31"/>
                    </a:cubicBezTo>
                    <a:cubicBezTo>
                      <a:pt x="46" y="30"/>
                      <a:pt x="46" y="29"/>
                      <a:pt x="46" y="28"/>
                    </a:cubicBezTo>
                    <a:cubicBezTo>
                      <a:pt x="46" y="26"/>
                      <a:pt x="49" y="26"/>
                      <a:pt x="50" y="25"/>
                    </a:cubicBezTo>
                    <a:cubicBezTo>
                      <a:pt x="51" y="24"/>
                      <a:pt x="51" y="23"/>
                      <a:pt x="53" y="23"/>
                    </a:cubicBezTo>
                    <a:cubicBezTo>
                      <a:pt x="54" y="23"/>
                      <a:pt x="57" y="24"/>
                      <a:pt x="58" y="24"/>
                    </a:cubicBezTo>
                    <a:cubicBezTo>
                      <a:pt x="60" y="23"/>
                      <a:pt x="56" y="17"/>
                      <a:pt x="56" y="16"/>
                    </a:cubicBezTo>
                    <a:cubicBezTo>
                      <a:pt x="56" y="14"/>
                      <a:pt x="56" y="12"/>
                      <a:pt x="56" y="10"/>
                    </a:cubicBezTo>
                    <a:cubicBezTo>
                      <a:pt x="55" y="9"/>
                      <a:pt x="55" y="8"/>
                      <a:pt x="55" y="7"/>
                    </a:cubicBezTo>
                    <a:cubicBezTo>
                      <a:pt x="53" y="7"/>
                      <a:pt x="52" y="6"/>
                      <a:pt x="51" y="6"/>
                    </a:cubicBezTo>
                    <a:cubicBezTo>
                      <a:pt x="50" y="5"/>
                      <a:pt x="48" y="6"/>
                      <a:pt x="47" y="6"/>
                    </a:cubicBezTo>
                    <a:cubicBezTo>
                      <a:pt x="46" y="5"/>
                      <a:pt x="44" y="6"/>
                      <a:pt x="42" y="6"/>
                    </a:cubicBezTo>
                    <a:cubicBezTo>
                      <a:pt x="40" y="6"/>
                      <a:pt x="36" y="0"/>
                      <a:pt x="35" y="4"/>
                    </a:cubicBezTo>
                    <a:cubicBezTo>
                      <a:pt x="34" y="7"/>
                      <a:pt x="33" y="10"/>
                      <a:pt x="30" y="13"/>
                    </a:cubicBezTo>
                    <a:cubicBezTo>
                      <a:pt x="27" y="16"/>
                      <a:pt x="23" y="16"/>
                      <a:pt x="20" y="19"/>
                    </a:cubicBezTo>
                    <a:cubicBezTo>
                      <a:pt x="18" y="21"/>
                      <a:pt x="17" y="24"/>
                      <a:pt x="16" y="27"/>
                    </a:cubicBezTo>
                    <a:cubicBezTo>
                      <a:pt x="16" y="29"/>
                      <a:pt x="17" y="32"/>
                      <a:pt x="16" y="35"/>
                    </a:cubicBezTo>
                    <a:cubicBezTo>
                      <a:pt x="15" y="36"/>
                      <a:pt x="14" y="38"/>
                      <a:pt x="14" y="39"/>
                    </a:cubicBezTo>
                    <a:cubicBezTo>
                      <a:pt x="13" y="41"/>
                      <a:pt x="11" y="41"/>
                      <a:pt x="9" y="42"/>
                    </a:cubicBezTo>
                    <a:cubicBezTo>
                      <a:pt x="8" y="43"/>
                      <a:pt x="7" y="44"/>
                      <a:pt x="5" y="45"/>
                    </a:cubicBezTo>
                    <a:cubicBezTo>
                      <a:pt x="4" y="46"/>
                      <a:pt x="2" y="46"/>
                      <a:pt x="0" y="48"/>
                    </a:cubicBezTo>
                    <a:lnTo>
                      <a:pt x="22" y="48"/>
                    </a:ln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8" name="Freeform 775">
                <a:extLst>
                  <a:ext uri="{FF2B5EF4-FFF2-40B4-BE49-F238E27FC236}">
                    <a16:creationId xmlns:a16="http://schemas.microsoft.com/office/drawing/2014/main" id="{33B3FB99-E1AE-1341-86F1-0AACA41D5C95}"/>
                  </a:ext>
                </a:extLst>
              </p:cNvPr>
              <p:cNvSpPr>
                <a:spLocks/>
              </p:cNvSpPr>
              <p:nvPr/>
            </p:nvSpPr>
            <p:spPr bwMode="auto">
              <a:xfrm>
                <a:off x="11295736" y="7220495"/>
                <a:ext cx="968154" cy="923808"/>
              </a:xfrm>
              <a:custGeom>
                <a:avLst/>
                <a:gdLst>
                  <a:gd name="T0" fmla="*/ 35 w 104"/>
                  <a:gd name="T1" fmla="*/ 22 h 99"/>
                  <a:gd name="T2" fmla="*/ 36 w 104"/>
                  <a:gd name="T3" fmla="*/ 29 h 99"/>
                  <a:gd name="T4" fmla="*/ 31 w 104"/>
                  <a:gd name="T5" fmla="*/ 28 h 99"/>
                  <a:gd name="T6" fmla="*/ 29 w 104"/>
                  <a:gd name="T7" fmla="*/ 30 h 99"/>
                  <a:gd name="T8" fmla="*/ 26 w 104"/>
                  <a:gd name="T9" fmla="*/ 31 h 99"/>
                  <a:gd name="T10" fmla="*/ 24 w 104"/>
                  <a:gd name="T11" fmla="*/ 35 h 99"/>
                  <a:gd name="T12" fmla="*/ 20 w 104"/>
                  <a:gd name="T13" fmla="*/ 37 h 99"/>
                  <a:gd name="T14" fmla="*/ 17 w 104"/>
                  <a:gd name="T15" fmla="*/ 40 h 99"/>
                  <a:gd name="T16" fmla="*/ 11 w 104"/>
                  <a:gd name="T17" fmla="*/ 42 h 99"/>
                  <a:gd name="T18" fmla="*/ 8 w 104"/>
                  <a:gd name="T19" fmla="*/ 43 h 99"/>
                  <a:gd name="T20" fmla="*/ 4 w 104"/>
                  <a:gd name="T21" fmla="*/ 45 h 99"/>
                  <a:gd name="T22" fmla="*/ 1 w 104"/>
                  <a:gd name="T23" fmla="*/ 52 h 99"/>
                  <a:gd name="T24" fmla="*/ 2 w 104"/>
                  <a:gd name="T25" fmla="*/ 56 h 99"/>
                  <a:gd name="T26" fmla="*/ 6 w 104"/>
                  <a:gd name="T27" fmla="*/ 59 h 99"/>
                  <a:gd name="T28" fmla="*/ 37 w 104"/>
                  <a:gd name="T29" fmla="*/ 79 h 99"/>
                  <a:gd name="T30" fmla="*/ 48 w 104"/>
                  <a:gd name="T31" fmla="*/ 86 h 99"/>
                  <a:gd name="T32" fmla="*/ 49 w 104"/>
                  <a:gd name="T33" fmla="*/ 87 h 99"/>
                  <a:gd name="T34" fmla="*/ 58 w 104"/>
                  <a:gd name="T35" fmla="*/ 93 h 99"/>
                  <a:gd name="T36" fmla="*/ 61 w 104"/>
                  <a:gd name="T37" fmla="*/ 99 h 99"/>
                  <a:gd name="T38" fmla="*/ 67 w 104"/>
                  <a:gd name="T39" fmla="*/ 97 h 99"/>
                  <a:gd name="T40" fmla="*/ 72 w 104"/>
                  <a:gd name="T41" fmla="*/ 96 h 99"/>
                  <a:gd name="T42" fmla="*/ 85 w 104"/>
                  <a:gd name="T43" fmla="*/ 87 h 99"/>
                  <a:gd name="T44" fmla="*/ 100 w 104"/>
                  <a:gd name="T45" fmla="*/ 77 h 99"/>
                  <a:gd name="T46" fmla="*/ 104 w 104"/>
                  <a:gd name="T47" fmla="*/ 75 h 99"/>
                  <a:gd name="T48" fmla="*/ 97 w 104"/>
                  <a:gd name="T49" fmla="*/ 69 h 99"/>
                  <a:gd name="T50" fmla="*/ 94 w 104"/>
                  <a:gd name="T51" fmla="*/ 69 h 99"/>
                  <a:gd name="T52" fmla="*/ 92 w 104"/>
                  <a:gd name="T53" fmla="*/ 63 h 99"/>
                  <a:gd name="T54" fmla="*/ 92 w 104"/>
                  <a:gd name="T55" fmla="*/ 60 h 99"/>
                  <a:gd name="T56" fmla="*/ 93 w 104"/>
                  <a:gd name="T57" fmla="*/ 55 h 99"/>
                  <a:gd name="T58" fmla="*/ 93 w 104"/>
                  <a:gd name="T59" fmla="*/ 50 h 99"/>
                  <a:gd name="T60" fmla="*/ 93 w 104"/>
                  <a:gd name="T61" fmla="*/ 46 h 99"/>
                  <a:gd name="T62" fmla="*/ 92 w 104"/>
                  <a:gd name="T63" fmla="*/ 42 h 99"/>
                  <a:gd name="T64" fmla="*/ 91 w 104"/>
                  <a:gd name="T65" fmla="*/ 37 h 99"/>
                  <a:gd name="T66" fmla="*/ 87 w 104"/>
                  <a:gd name="T67" fmla="*/ 27 h 99"/>
                  <a:gd name="T68" fmla="*/ 82 w 104"/>
                  <a:gd name="T69" fmla="*/ 20 h 99"/>
                  <a:gd name="T70" fmla="*/ 85 w 104"/>
                  <a:gd name="T71" fmla="*/ 13 h 99"/>
                  <a:gd name="T72" fmla="*/ 86 w 104"/>
                  <a:gd name="T73" fmla="*/ 2 h 99"/>
                  <a:gd name="T74" fmla="*/ 84 w 104"/>
                  <a:gd name="T75" fmla="*/ 1 h 99"/>
                  <a:gd name="T76" fmla="*/ 81 w 104"/>
                  <a:gd name="T77" fmla="*/ 0 h 99"/>
                  <a:gd name="T78" fmla="*/ 79 w 104"/>
                  <a:gd name="T79" fmla="*/ 1 h 99"/>
                  <a:gd name="T80" fmla="*/ 75 w 104"/>
                  <a:gd name="T81" fmla="*/ 0 h 99"/>
                  <a:gd name="T82" fmla="*/ 72 w 104"/>
                  <a:gd name="T83" fmla="*/ 2 h 99"/>
                  <a:gd name="T84" fmla="*/ 68 w 104"/>
                  <a:gd name="T85" fmla="*/ 1 h 99"/>
                  <a:gd name="T86" fmla="*/ 61 w 104"/>
                  <a:gd name="T87" fmla="*/ 2 h 99"/>
                  <a:gd name="T88" fmla="*/ 46 w 104"/>
                  <a:gd name="T89" fmla="*/ 5 h 99"/>
                  <a:gd name="T90" fmla="*/ 43 w 104"/>
                  <a:gd name="T91" fmla="*/ 7 h 99"/>
                  <a:gd name="T92" fmla="*/ 39 w 104"/>
                  <a:gd name="T93" fmla="*/ 8 h 99"/>
                  <a:gd name="T94" fmla="*/ 34 w 104"/>
                  <a:gd name="T95" fmla="*/ 12 h 99"/>
                  <a:gd name="T96" fmla="*/ 35 w 104"/>
                  <a:gd name="T97" fmla="*/ 22 h 99"/>
                  <a:gd name="T98" fmla="*/ 35 w 104"/>
                  <a:gd name="T99" fmla="*/ 2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99">
                    <a:moveTo>
                      <a:pt x="35" y="22"/>
                    </a:moveTo>
                    <a:cubicBezTo>
                      <a:pt x="36" y="23"/>
                      <a:pt x="40" y="29"/>
                      <a:pt x="36" y="29"/>
                    </a:cubicBezTo>
                    <a:cubicBezTo>
                      <a:pt x="35" y="28"/>
                      <a:pt x="32" y="27"/>
                      <a:pt x="31" y="28"/>
                    </a:cubicBezTo>
                    <a:cubicBezTo>
                      <a:pt x="30" y="29"/>
                      <a:pt x="30" y="29"/>
                      <a:pt x="29" y="30"/>
                    </a:cubicBezTo>
                    <a:cubicBezTo>
                      <a:pt x="28" y="31"/>
                      <a:pt x="27" y="31"/>
                      <a:pt x="26" y="31"/>
                    </a:cubicBezTo>
                    <a:cubicBezTo>
                      <a:pt x="24" y="32"/>
                      <a:pt x="25" y="34"/>
                      <a:pt x="24" y="35"/>
                    </a:cubicBezTo>
                    <a:cubicBezTo>
                      <a:pt x="24" y="37"/>
                      <a:pt x="21" y="36"/>
                      <a:pt x="20" y="37"/>
                    </a:cubicBezTo>
                    <a:cubicBezTo>
                      <a:pt x="18" y="37"/>
                      <a:pt x="18" y="39"/>
                      <a:pt x="17" y="40"/>
                    </a:cubicBezTo>
                    <a:cubicBezTo>
                      <a:pt x="15" y="42"/>
                      <a:pt x="13" y="41"/>
                      <a:pt x="11" y="42"/>
                    </a:cubicBezTo>
                    <a:cubicBezTo>
                      <a:pt x="10" y="42"/>
                      <a:pt x="9" y="42"/>
                      <a:pt x="8" y="43"/>
                    </a:cubicBezTo>
                    <a:cubicBezTo>
                      <a:pt x="7" y="43"/>
                      <a:pt x="5" y="44"/>
                      <a:pt x="4" y="45"/>
                    </a:cubicBezTo>
                    <a:cubicBezTo>
                      <a:pt x="0" y="47"/>
                      <a:pt x="1" y="48"/>
                      <a:pt x="1" y="52"/>
                    </a:cubicBezTo>
                    <a:cubicBezTo>
                      <a:pt x="1" y="55"/>
                      <a:pt x="0" y="55"/>
                      <a:pt x="2" y="56"/>
                    </a:cubicBezTo>
                    <a:cubicBezTo>
                      <a:pt x="3" y="57"/>
                      <a:pt x="5" y="58"/>
                      <a:pt x="6" y="59"/>
                    </a:cubicBezTo>
                    <a:cubicBezTo>
                      <a:pt x="16" y="66"/>
                      <a:pt x="26" y="72"/>
                      <a:pt x="37" y="79"/>
                    </a:cubicBezTo>
                    <a:cubicBezTo>
                      <a:pt x="40" y="81"/>
                      <a:pt x="44" y="84"/>
                      <a:pt x="48" y="86"/>
                    </a:cubicBezTo>
                    <a:cubicBezTo>
                      <a:pt x="48" y="87"/>
                      <a:pt x="49" y="87"/>
                      <a:pt x="49" y="87"/>
                    </a:cubicBezTo>
                    <a:cubicBezTo>
                      <a:pt x="52" y="92"/>
                      <a:pt x="54" y="92"/>
                      <a:pt x="58" y="93"/>
                    </a:cubicBezTo>
                    <a:cubicBezTo>
                      <a:pt x="61" y="94"/>
                      <a:pt x="58" y="98"/>
                      <a:pt x="61" y="99"/>
                    </a:cubicBezTo>
                    <a:cubicBezTo>
                      <a:pt x="62" y="99"/>
                      <a:pt x="65" y="98"/>
                      <a:pt x="67" y="97"/>
                    </a:cubicBezTo>
                    <a:cubicBezTo>
                      <a:pt x="68" y="97"/>
                      <a:pt x="71" y="97"/>
                      <a:pt x="72" y="96"/>
                    </a:cubicBezTo>
                    <a:cubicBezTo>
                      <a:pt x="76" y="93"/>
                      <a:pt x="80" y="90"/>
                      <a:pt x="85" y="87"/>
                    </a:cubicBezTo>
                    <a:cubicBezTo>
                      <a:pt x="90" y="84"/>
                      <a:pt x="95" y="80"/>
                      <a:pt x="100" y="77"/>
                    </a:cubicBezTo>
                    <a:cubicBezTo>
                      <a:pt x="101" y="77"/>
                      <a:pt x="102" y="76"/>
                      <a:pt x="104" y="75"/>
                    </a:cubicBezTo>
                    <a:cubicBezTo>
                      <a:pt x="102" y="71"/>
                      <a:pt x="101" y="70"/>
                      <a:pt x="97" y="69"/>
                    </a:cubicBezTo>
                    <a:cubicBezTo>
                      <a:pt x="96" y="69"/>
                      <a:pt x="94" y="69"/>
                      <a:pt x="94" y="69"/>
                    </a:cubicBezTo>
                    <a:cubicBezTo>
                      <a:pt x="94" y="66"/>
                      <a:pt x="94" y="65"/>
                      <a:pt x="92" y="63"/>
                    </a:cubicBezTo>
                    <a:cubicBezTo>
                      <a:pt x="91" y="61"/>
                      <a:pt x="91" y="61"/>
                      <a:pt x="92" y="60"/>
                    </a:cubicBezTo>
                    <a:cubicBezTo>
                      <a:pt x="94" y="58"/>
                      <a:pt x="93" y="57"/>
                      <a:pt x="93" y="55"/>
                    </a:cubicBezTo>
                    <a:cubicBezTo>
                      <a:pt x="93" y="53"/>
                      <a:pt x="94" y="52"/>
                      <a:pt x="93" y="50"/>
                    </a:cubicBezTo>
                    <a:cubicBezTo>
                      <a:pt x="93" y="49"/>
                      <a:pt x="93" y="48"/>
                      <a:pt x="93" y="46"/>
                    </a:cubicBezTo>
                    <a:cubicBezTo>
                      <a:pt x="93" y="45"/>
                      <a:pt x="93" y="43"/>
                      <a:pt x="92" y="42"/>
                    </a:cubicBezTo>
                    <a:cubicBezTo>
                      <a:pt x="91" y="41"/>
                      <a:pt x="91" y="39"/>
                      <a:pt x="91" y="37"/>
                    </a:cubicBezTo>
                    <a:cubicBezTo>
                      <a:pt x="91" y="34"/>
                      <a:pt x="90" y="30"/>
                      <a:pt x="87" y="27"/>
                    </a:cubicBezTo>
                    <a:cubicBezTo>
                      <a:pt x="85" y="25"/>
                      <a:pt x="83" y="23"/>
                      <a:pt x="82" y="20"/>
                    </a:cubicBezTo>
                    <a:cubicBezTo>
                      <a:pt x="80" y="16"/>
                      <a:pt x="84" y="17"/>
                      <a:pt x="85" y="13"/>
                    </a:cubicBezTo>
                    <a:cubicBezTo>
                      <a:pt x="85" y="9"/>
                      <a:pt x="85" y="6"/>
                      <a:pt x="86" y="2"/>
                    </a:cubicBezTo>
                    <a:cubicBezTo>
                      <a:pt x="85" y="2"/>
                      <a:pt x="85" y="1"/>
                      <a:pt x="84" y="1"/>
                    </a:cubicBezTo>
                    <a:cubicBezTo>
                      <a:pt x="82" y="2"/>
                      <a:pt x="82" y="0"/>
                      <a:pt x="81" y="0"/>
                    </a:cubicBezTo>
                    <a:cubicBezTo>
                      <a:pt x="80" y="0"/>
                      <a:pt x="80" y="1"/>
                      <a:pt x="79" y="1"/>
                    </a:cubicBezTo>
                    <a:cubicBezTo>
                      <a:pt x="77" y="1"/>
                      <a:pt x="77" y="0"/>
                      <a:pt x="75" y="0"/>
                    </a:cubicBezTo>
                    <a:cubicBezTo>
                      <a:pt x="74" y="1"/>
                      <a:pt x="73" y="1"/>
                      <a:pt x="72" y="2"/>
                    </a:cubicBezTo>
                    <a:cubicBezTo>
                      <a:pt x="70" y="3"/>
                      <a:pt x="70" y="2"/>
                      <a:pt x="68" y="1"/>
                    </a:cubicBezTo>
                    <a:cubicBezTo>
                      <a:pt x="66" y="1"/>
                      <a:pt x="63" y="1"/>
                      <a:pt x="61" y="2"/>
                    </a:cubicBezTo>
                    <a:cubicBezTo>
                      <a:pt x="56" y="3"/>
                      <a:pt x="51" y="3"/>
                      <a:pt x="46" y="5"/>
                    </a:cubicBezTo>
                    <a:cubicBezTo>
                      <a:pt x="45" y="6"/>
                      <a:pt x="44" y="7"/>
                      <a:pt x="43" y="7"/>
                    </a:cubicBezTo>
                    <a:cubicBezTo>
                      <a:pt x="42" y="8"/>
                      <a:pt x="40" y="8"/>
                      <a:pt x="39" y="8"/>
                    </a:cubicBezTo>
                    <a:cubicBezTo>
                      <a:pt x="37" y="9"/>
                      <a:pt x="37" y="12"/>
                      <a:pt x="34" y="12"/>
                    </a:cubicBezTo>
                    <a:cubicBezTo>
                      <a:pt x="35" y="15"/>
                      <a:pt x="35" y="18"/>
                      <a:pt x="35" y="22"/>
                    </a:cubicBezTo>
                    <a:cubicBezTo>
                      <a:pt x="36" y="23"/>
                      <a:pt x="35" y="20"/>
                      <a:pt x="35" y="2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499" name="Freeform 776">
                <a:extLst>
                  <a:ext uri="{FF2B5EF4-FFF2-40B4-BE49-F238E27FC236}">
                    <a16:creationId xmlns:a16="http://schemas.microsoft.com/office/drawing/2014/main" id="{4EF4BCBF-E26C-8A4A-B625-FB861A6C6782}"/>
                  </a:ext>
                </a:extLst>
              </p:cNvPr>
              <p:cNvSpPr>
                <a:spLocks/>
              </p:cNvSpPr>
              <p:nvPr/>
            </p:nvSpPr>
            <p:spPr bwMode="auto">
              <a:xfrm>
                <a:off x="8295732" y="3719582"/>
                <a:ext cx="2850322" cy="2124760"/>
              </a:xfrm>
              <a:custGeom>
                <a:avLst/>
                <a:gdLst>
                  <a:gd name="T0" fmla="*/ 33 w 305"/>
                  <a:gd name="T1" fmla="*/ 54 h 227"/>
                  <a:gd name="T2" fmla="*/ 1 w 305"/>
                  <a:gd name="T3" fmla="*/ 63 h 227"/>
                  <a:gd name="T4" fmla="*/ 19 w 305"/>
                  <a:gd name="T5" fmla="*/ 72 h 227"/>
                  <a:gd name="T6" fmla="*/ 24 w 305"/>
                  <a:gd name="T7" fmla="*/ 75 h 227"/>
                  <a:gd name="T8" fmla="*/ 20 w 305"/>
                  <a:gd name="T9" fmla="*/ 81 h 227"/>
                  <a:gd name="T10" fmla="*/ 36 w 305"/>
                  <a:gd name="T11" fmla="*/ 86 h 227"/>
                  <a:gd name="T12" fmla="*/ 73 w 305"/>
                  <a:gd name="T13" fmla="*/ 93 h 227"/>
                  <a:gd name="T14" fmla="*/ 87 w 305"/>
                  <a:gd name="T15" fmla="*/ 112 h 227"/>
                  <a:gd name="T16" fmla="*/ 88 w 305"/>
                  <a:gd name="T17" fmla="*/ 122 h 227"/>
                  <a:gd name="T18" fmla="*/ 89 w 305"/>
                  <a:gd name="T19" fmla="*/ 131 h 227"/>
                  <a:gd name="T20" fmla="*/ 104 w 305"/>
                  <a:gd name="T21" fmla="*/ 129 h 227"/>
                  <a:gd name="T22" fmla="*/ 106 w 305"/>
                  <a:gd name="T23" fmla="*/ 135 h 227"/>
                  <a:gd name="T24" fmla="*/ 106 w 305"/>
                  <a:gd name="T25" fmla="*/ 144 h 227"/>
                  <a:gd name="T26" fmla="*/ 109 w 305"/>
                  <a:gd name="T27" fmla="*/ 155 h 227"/>
                  <a:gd name="T28" fmla="*/ 106 w 305"/>
                  <a:gd name="T29" fmla="*/ 160 h 227"/>
                  <a:gd name="T30" fmla="*/ 100 w 305"/>
                  <a:gd name="T31" fmla="*/ 162 h 227"/>
                  <a:gd name="T32" fmla="*/ 112 w 305"/>
                  <a:gd name="T33" fmla="*/ 165 h 227"/>
                  <a:gd name="T34" fmla="*/ 112 w 305"/>
                  <a:gd name="T35" fmla="*/ 169 h 227"/>
                  <a:gd name="T36" fmla="*/ 107 w 305"/>
                  <a:gd name="T37" fmla="*/ 172 h 227"/>
                  <a:gd name="T38" fmla="*/ 107 w 305"/>
                  <a:gd name="T39" fmla="*/ 180 h 227"/>
                  <a:gd name="T40" fmla="*/ 110 w 305"/>
                  <a:gd name="T41" fmla="*/ 192 h 227"/>
                  <a:gd name="T42" fmla="*/ 114 w 305"/>
                  <a:gd name="T43" fmla="*/ 193 h 227"/>
                  <a:gd name="T44" fmla="*/ 120 w 305"/>
                  <a:gd name="T45" fmla="*/ 210 h 227"/>
                  <a:gd name="T46" fmla="*/ 138 w 305"/>
                  <a:gd name="T47" fmla="*/ 219 h 227"/>
                  <a:gd name="T48" fmla="*/ 142 w 305"/>
                  <a:gd name="T49" fmla="*/ 224 h 227"/>
                  <a:gd name="T50" fmla="*/ 151 w 305"/>
                  <a:gd name="T51" fmla="*/ 214 h 227"/>
                  <a:gd name="T52" fmla="*/ 156 w 305"/>
                  <a:gd name="T53" fmla="*/ 200 h 227"/>
                  <a:gd name="T54" fmla="*/ 163 w 305"/>
                  <a:gd name="T55" fmla="*/ 192 h 227"/>
                  <a:gd name="T56" fmla="*/ 173 w 305"/>
                  <a:gd name="T57" fmla="*/ 179 h 227"/>
                  <a:gd name="T58" fmla="*/ 193 w 305"/>
                  <a:gd name="T59" fmla="*/ 173 h 227"/>
                  <a:gd name="T60" fmla="*/ 216 w 305"/>
                  <a:gd name="T61" fmla="*/ 160 h 227"/>
                  <a:gd name="T62" fmla="*/ 232 w 305"/>
                  <a:gd name="T63" fmla="*/ 142 h 227"/>
                  <a:gd name="T64" fmla="*/ 234 w 305"/>
                  <a:gd name="T65" fmla="*/ 130 h 227"/>
                  <a:gd name="T66" fmla="*/ 253 w 305"/>
                  <a:gd name="T67" fmla="*/ 129 h 227"/>
                  <a:gd name="T68" fmla="*/ 233 w 305"/>
                  <a:gd name="T69" fmla="*/ 119 h 227"/>
                  <a:gd name="T70" fmla="*/ 238 w 305"/>
                  <a:gd name="T71" fmla="*/ 113 h 227"/>
                  <a:gd name="T72" fmla="*/ 262 w 305"/>
                  <a:gd name="T73" fmla="*/ 112 h 227"/>
                  <a:gd name="T74" fmla="*/ 258 w 305"/>
                  <a:gd name="T75" fmla="*/ 106 h 227"/>
                  <a:gd name="T76" fmla="*/ 266 w 305"/>
                  <a:gd name="T77" fmla="*/ 95 h 227"/>
                  <a:gd name="T78" fmla="*/ 253 w 305"/>
                  <a:gd name="T79" fmla="*/ 80 h 227"/>
                  <a:gd name="T80" fmla="*/ 263 w 305"/>
                  <a:gd name="T81" fmla="*/ 66 h 227"/>
                  <a:gd name="T82" fmla="*/ 268 w 305"/>
                  <a:gd name="T83" fmla="*/ 51 h 227"/>
                  <a:gd name="T84" fmla="*/ 283 w 305"/>
                  <a:gd name="T85" fmla="*/ 38 h 227"/>
                  <a:gd name="T86" fmla="*/ 291 w 305"/>
                  <a:gd name="T87" fmla="*/ 33 h 227"/>
                  <a:gd name="T88" fmla="*/ 259 w 305"/>
                  <a:gd name="T89" fmla="*/ 28 h 227"/>
                  <a:gd name="T90" fmla="*/ 238 w 305"/>
                  <a:gd name="T91" fmla="*/ 21 h 227"/>
                  <a:gd name="T92" fmla="*/ 256 w 305"/>
                  <a:gd name="T93" fmla="*/ 14 h 227"/>
                  <a:gd name="T94" fmla="*/ 206 w 305"/>
                  <a:gd name="T95" fmla="*/ 8 h 227"/>
                  <a:gd name="T96" fmla="*/ 213 w 305"/>
                  <a:gd name="T97" fmla="*/ 0 h 227"/>
                  <a:gd name="T98" fmla="*/ 173 w 305"/>
                  <a:gd name="T99" fmla="*/ 8 h 227"/>
                  <a:gd name="T100" fmla="*/ 155 w 305"/>
                  <a:gd name="T101" fmla="*/ 10 h 227"/>
                  <a:gd name="T102" fmla="*/ 154 w 305"/>
                  <a:gd name="T103" fmla="*/ 11 h 227"/>
                  <a:gd name="T104" fmla="*/ 140 w 305"/>
                  <a:gd name="T105" fmla="*/ 14 h 227"/>
                  <a:gd name="T106" fmla="*/ 111 w 305"/>
                  <a:gd name="T107" fmla="*/ 14 h 227"/>
                  <a:gd name="T108" fmla="*/ 98 w 305"/>
                  <a:gd name="T109" fmla="*/ 23 h 227"/>
                  <a:gd name="T110" fmla="*/ 73 w 305"/>
                  <a:gd name="T111" fmla="*/ 21 h 227"/>
                  <a:gd name="T112" fmla="*/ 55 w 305"/>
                  <a:gd name="T113" fmla="*/ 30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5" h="227">
                    <a:moveTo>
                      <a:pt x="32" y="37"/>
                    </a:moveTo>
                    <a:cubicBezTo>
                      <a:pt x="31" y="38"/>
                      <a:pt x="26" y="40"/>
                      <a:pt x="27" y="41"/>
                    </a:cubicBezTo>
                    <a:cubicBezTo>
                      <a:pt x="28" y="42"/>
                      <a:pt x="30" y="42"/>
                      <a:pt x="32" y="43"/>
                    </a:cubicBezTo>
                    <a:cubicBezTo>
                      <a:pt x="34" y="43"/>
                      <a:pt x="36" y="43"/>
                      <a:pt x="39" y="43"/>
                    </a:cubicBezTo>
                    <a:cubicBezTo>
                      <a:pt x="39" y="43"/>
                      <a:pt x="44" y="42"/>
                      <a:pt x="45" y="42"/>
                    </a:cubicBezTo>
                    <a:cubicBezTo>
                      <a:pt x="44" y="42"/>
                      <a:pt x="42" y="43"/>
                      <a:pt x="41" y="44"/>
                    </a:cubicBezTo>
                    <a:cubicBezTo>
                      <a:pt x="40" y="45"/>
                      <a:pt x="39" y="46"/>
                      <a:pt x="40" y="48"/>
                    </a:cubicBezTo>
                    <a:cubicBezTo>
                      <a:pt x="42" y="50"/>
                      <a:pt x="36" y="55"/>
                      <a:pt x="33" y="54"/>
                    </a:cubicBezTo>
                    <a:cubicBezTo>
                      <a:pt x="32" y="53"/>
                      <a:pt x="30" y="54"/>
                      <a:pt x="28" y="54"/>
                    </a:cubicBezTo>
                    <a:cubicBezTo>
                      <a:pt x="27" y="53"/>
                      <a:pt x="25" y="54"/>
                      <a:pt x="24" y="54"/>
                    </a:cubicBezTo>
                    <a:cubicBezTo>
                      <a:pt x="23" y="54"/>
                      <a:pt x="21" y="54"/>
                      <a:pt x="20" y="56"/>
                    </a:cubicBezTo>
                    <a:cubicBezTo>
                      <a:pt x="19" y="57"/>
                      <a:pt x="18" y="57"/>
                      <a:pt x="16" y="57"/>
                    </a:cubicBezTo>
                    <a:cubicBezTo>
                      <a:pt x="13" y="58"/>
                      <a:pt x="10" y="59"/>
                      <a:pt x="7" y="59"/>
                    </a:cubicBezTo>
                    <a:cubicBezTo>
                      <a:pt x="6" y="59"/>
                      <a:pt x="4" y="58"/>
                      <a:pt x="4" y="59"/>
                    </a:cubicBezTo>
                    <a:cubicBezTo>
                      <a:pt x="3" y="60"/>
                      <a:pt x="0" y="60"/>
                      <a:pt x="0" y="62"/>
                    </a:cubicBezTo>
                    <a:cubicBezTo>
                      <a:pt x="0" y="63"/>
                      <a:pt x="1" y="62"/>
                      <a:pt x="1" y="63"/>
                    </a:cubicBezTo>
                    <a:cubicBezTo>
                      <a:pt x="1" y="63"/>
                      <a:pt x="0" y="64"/>
                      <a:pt x="0" y="64"/>
                    </a:cubicBezTo>
                    <a:cubicBezTo>
                      <a:pt x="0" y="65"/>
                      <a:pt x="2" y="67"/>
                      <a:pt x="3" y="68"/>
                    </a:cubicBezTo>
                    <a:cubicBezTo>
                      <a:pt x="3" y="68"/>
                      <a:pt x="4" y="67"/>
                      <a:pt x="4" y="67"/>
                    </a:cubicBezTo>
                    <a:cubicBezTo>
                      <a:pt x="5" y="66"/>
                      <a:pt x="6" y="67"/>
                      <a:pt x="7" y="68"/>
                    </a:cubicBezTo>
                    <a:cubicBezTo>
                      <a:pt x="8" y="68"/>
                      <a:pt x="13" y="69"/>
                      <a:pt x="13" y="67"/>
                    </a:cubicBezTo>
                    <a:cubicBezTo>
                      <a:pt x="13" y="68"/>
                      <a:pt x="12" y="68"/>
                      <a:pt x="13" y="69"/>
                    </a:cubicBezTo>
                    <a:cubicBezTo>
                      <a:pt x="13" y="70"/>
                      <a:pt x="15" y="71"/>
                      <a:pt x="16" y="71"/>
                    </a:cubicBezTo>
                    <a:cubicBezTo>
                      <a:pt x="17" y="72"/>
                      <a:pt x="18" y="72"/>
                      <a:pt x="19" y="72"/>
                    </a:cubicBezTo>
                    <a:cubicBezTo>
                      <a:pt x="21" y="72"/>
                      <a:pt x="21" y="70"/>
                      <a:pt x="22" y="71"/>
                    </a:cubicBezTo>
                    <a:cubicBezTo>
                      <a:pt x="24" y="71"/>
                      <a:pt x="27" y="71"/>
                      <a:pt x="28" y="71"/>
                    </a:cubicBezTo>
                    <a:cubicBezTo>
                      <a:pt x="29" y="71"/>
                      <a:pt x="29" y="70"/>
                      <a:pt x="30" y="69"/>
                    </a:cubicBezTo>
                    <a:cubicBezTo>
                      <a:pt x="31" y="69"/>
                      <a:pt x="34" y="71"/>
                      <a:pt x="34" y="72"/>
                    </a:cubicBezTo>
                    <a:cubicBezTo>
                      <a:pt x="34" y="73"/>
                      <a:pt x="24" y="72"/>
                      <a:pt x="22" y="73"/>
                    </a:cubicBezTo>
                    <a:cubicBezTo>
                      <a:pt x="20" y="73"/>
                      <a:pt x="23" y="74"/>
                      <a:pt x="24" y="74"/>
                    </a:cubicBezTo>
                    <a:cubicBezTo>
                      <a:pt x="26" y="75"/>
                      <a:pt x="27" y="74"/>
                      <a:pt x="29" y="75"/>
                    </a:cubicBezTo>
                    <a:cubicBezTo>
                      <a:pt x="28" y="74"/>
                      <a:pt x="26" y="75"/>
                      <a:pt x="24" y="75"/>
                    </a:cubicBezTo>
                    <a:cubicBezTo>
                      <a:pt x="21" y="75"/>
                      <a:pt x="18" y="74"/>
                      <a:pt x="15" y="74"/>
                    </a:cubicBezTo>
                    <a:cubicBezTo>
                      <a:pt x="13" y="74"/>
                      <a:pt x="9" y="74"/>
                      <a:pt x="9" y="76"/>
                    </a:cubicBezTo>
                    <a:cubicBezTo>
                      <a:pt x="8" y="77"/>
                      <a:pt x="11" y="78"/>
                      <a:pt x="12" y="78"/>
                    </a:cubicBezTo>
                    <a:cubicBezTo>
                      <a:pt x="13" y="78"/>
                      <a:pt x="15" y="77"/>
                      <a:pt x="15" y="77"/>
                    </a:cubicBezTo>
                    <a:cubicBezTo>
                      <a:pt x="16" y="78"/>
                      <a:pt x="15" y="78"/>
                      <a:pt x="15" y="79"/>
                    </a:cubicBezTo>
                    <a:cubicBezTo>
                      <a:pt x="16" y="80"/>
                      <a:pt x="18" y="80"/>
                      <a:pt x="19" y="80"/>
                    </a:cubicBezTo>
                    <a:cubicBezTo>
                      <a:pt x="21" y="80"/>
                      <a:pt x="23" y="80"/>
                      <a:pt x="25" y="80"/>
                    </a:cubicBezTo>
                    <a:cubicBezTo>
                      <a:pt x="25" y="80"/>
                      <a:pt x="21" y="81"/>
                      <a:pt x="20" y="81"/>
                    </a:cubicBezTo>
                    <a:cubicBezTo>
                      <a:pt x="16" y="82"/>
                      <a:pt x="19" y="84"/>
                      <a:pt x="21" y="85"/>
                    </a:cubicBezTo>
                    <a:cubicBezTo>
                      <a:pt x="23" y="86"/>
                      <a:pt x="25" y="86"/>
                      <a:pt x="27" y="87"/>
                    </a:cubicBezTo>
                    <a:cubicBezTo>
                      <a:pt x="27" y="87"/>
                      <a:pt x="31" y="87"/>
                      <a:pt x="31" y="87"/>
                    </a:cubicBezTo>
                    <a:cubicBezTo>
                      <a:pt x="31" y="87"/>
                      <a:pt x="29" y="86"/>
                      <a:pt x="29" y="85"/>
                    </a:cubicBezTo>
                    <a:cubicBezTo>
                      <a:pt x="29" y="84"/>
                      <a:pt x="31" y="85"/>
                      <a:pt x="31" y="85"/>
                    </a:cubicBezTo>
                    <a:cubicBezTo>
                      <a:pt x="32" y="86"/>
                      <a:pt x="33" y="85"/>
                      <a:pt x="34" y="84"/>
                    </a:cubicBezTo>
                    <a:cubicBezTo>
                      <a:pt x="34" y="84"/>
                      <a:pt x="35" y="83"/>
                      <a:pt x="36" y="83"/>
                    </a:cubicBezTo>
                    <a:cubicBezTo>
                      <a:pt x="37" y="84"/>
                      <a:pt x="36" y="86"/>
                      <a:pt x="36" y="86"/>
                    </a:cubicBezTo>
                    <a:cubicBezTo>
                      <a:pt x="37" y="87"/>
                      <a:pt x="40" y="85"/>
                      <a:pt x="41" y="85"/>
                    </a:cubicBezTo>
                    <a:cubicBezTo>
                      <a:pt x="43" y="84"/>
                      <a:pt x="43" y="84"/>
                      <a:pt x="44" y="85"/>
                    </a:cubicBezTo>
                    <a:cubicBezTo>
                      <a:pt x="45" y="86"/>
                      <a:pt x="46" y="84"/>
                      <a:pt x="47" y="84"/>
                    </a:cubicBezTo>
                    <a:cubicBezTo>
                      <a:pt x="48" y="83"/>
                      <a:pt x="50" y="84"/>
                      <a:pt x="51" y="84"/>
                    </a:cubicBezTo>
                    <a:cubicBezTo>
                      <a:pt x="54" y="84"/>
                      <a:pt x="58" y="85"/>
                      <a:pt x="61" y="86"/>
                    </a:cubicBezTo>
                    <a:cubicBezTo>
                      <a:pt x="63" y="86"/>
                      <a:pt x="65" y="88"/>
                      <a:pt x="67" y="88"/>
                    </a:cubicBezTo>
                    <a:cubicBezTo>
                      <a:pt x="69" y="88"/>
                      <a:pt x="71" y="89"/>
                      <a:pt x="72" y="90"/>
                    </a:cubicBezTo>
                    <a:cubicBezTo>
                      <a:pt x="74" y="91"/>
                      <a:pt x="73" y="92"/>
                      <a:pt x="73" y="93"/>
                    </a:cubicBezTo>
                    <a:cubicBezTo>
                      <a:pt x="73" y="94"/>
                      <a:pt x="75" y="96"/>
                      <a:pt x="76" y="96"/>
                    </a:cubicBezTo>
                    <a:cubicBezTo>
                      <a:pt x="77" y="97"/>
                      <a:pt x="79" y="96"/>
                      <a:pt x="80" y="97"/>
                    </a:cubicBezTo>
                    <a:cubicBezTo>
                      <a:pt x="80" y="99"/>
                      <a:pt x="82" y="100"/>
                      <a:pt x="83" y="101"/>
                    </a:cubicBezTo>
                    <a:cubicBezTo>
                      <a:pt x="84" y="102"/>
                      <a:pt x="83" y="104"/>
                      <a:pt x="84" y="105"/>
                    </a:cubicBezTo>
                    <a:cubicBezTo>
                      <a:pt x="84" y="106"/>
                      <a:pt x="86" y="107"/>
                      <a:pt x="86" y="109"/>
                    </a:cubicBezTo>
                    <a:cubicBezTo>
                      <a:pt x="86" y="110"/>
                      <a:pt x="85" y="110"/>
                      <a:pt x="86" y="111"/>
                    </a:cubicBezTo>
                    <a:cubicBezTo>
                      <a:pt x="86" y="111"/>
                      <a:pt x="87" y="112"/>
                      <a:pt x="87" y="112"/>
                    </a:cubicBezTo>
                    <a:cubicBezTo>
                      <a:pt x="87" y="112"/>
                      <a:pt x="87" y="112"/>
                      <a:pt x="87" y="112"/>
                    </a:cubicBezTo>
                    <a:cubicBezTo>
                      <a:pt x="88" y="111"/>
                      <a:pt x="90" y="113"/>
                      <a:pt x="89" y="114"/>
                    </a:cubicBezTo>
                    <a:cubicBezTo>
                      <a:pt x="88" y="115"/>
                      <a:pt x="88" y="115"/>
                      <a:pt x="88" y="117"/>
                    </a:cubicBezTo>
                    <a:cubicBezTo>
                      <a:pt x="88" y="116"/>
                      <a:pt x="90" y="115"/>
                      <a:pt x="91" y="117"/>
                    </a:cubicBezTo>
                    <a:cubicBezTo>
                      <a:pt x="91" y="118"/>
                      <a:pt x="91" y="118"/>
                      <a:pt x="91" y="119"/>
                    </a:cubicBezTo>
                    <a:cubicBezTo>
                      <a:pt x="91" y="119"/>
                      <a:pt x="91" y="121"/>
                      <a:pt x="91" y="120"/>
                    </a:cubicBezTo>
                    <a:cubicBezTo>
                      <a:pt x="91" y="121"/>
                      <a:pt x="93" y="121"/>
                      <a:pt x="93" y="121"/>
                    </a:cubicBezTo>
                    <a:cubicBezTo>
                      <a:pt x="92" y="120"/>
                      <a:pt x="89" y="126"/>
                      <a:pt x="90" y="122"/>
                    </a:cubicBezTo>
                    <a:cubicBezTo>
                      <a:pt x="90" y="122"/>
                      <a:pt x="88" y="121"/>
                      <a:pt x="88" y="122"/>
                    </a:cubicBezTo>
                    <a:cubicBezTo>
                      <a:pt x="88" y="122"/>
                      <a:pt x="89" y="122"/>
                      <a:pt x="89" y="122"/>
                    </a:cubicBezTo>
                    <a:cubicBezTo>
                      <a:pt x="89" y="123"/>
                      <a:pt x="86" y="123"/>
                      <a:pt x="87" y="124"/>
                    </a:cubicBezTo>
                    <a:cubicBezTo>
                      <a:pt x="87" y="124"/>
                      <a:pt x="90" y="125"/>
                      <a:pt x="89" y="125"/>
                    </a:cubicBezTo>
                    <a:cubicBezTo>
                      <a:pt x="87" y="127"/>
                      <a:pt x="91" y="127"/>
                      <a:pt x="92" y="126"/>
                    </a:cubicBezTo>
                    <a:cubicBezTo>
                      <a:pt x="91" y="127"/>
                      <a:pt x="90" y="127"/>
                      <a:pt x="88" y="127"/>
                    </a:cubicBezTo>
                    <a:cubicBezTo>
                      <a:pt x="88" y="127"/>
                      <a:pt x="86" y="129"/>
                      <a:pt x="86" y="129"/>
                    </a:cubicBezTo>
                    <a:cubicBezTo>
                      <a:pt x="86" y="129"/>
                      <a:pt x="87" y="130"/>
                      <a:pt x="87" y="130"/>
                    </a:cubicBezTo>
                    <a:cubicBezTo>
                      <a:pt x="89" y="131"/>
                      <a:pt x="88" y="131"/>
                      <a:pt x="89" y="131"/>
                    </a:cubicBezTo>
                    <a:cubicBezTo>
                      <a:pt x="90" y="131"/>
                      <a:pt x="94" y="133"/>
                      <a:pt x="95" y="131"/>
                    </a:cubicBezTo>
                    <a:cubicBezTo>
                      <a:pt x="95" y="128"/>
                      <a:pt x="97" y="129"/>
                      <a:pt x="98" y="128"/>
                    </a:cubicBezTo>
                    <a:cubicBezTo>
                      <a:pt x="98" y="128"/>
                      <a:pt x="96" y="122"/>
                      <a:pt x="96" y="122"/>
                    </a:cubicBezTo>
                    <a:cubicBezTo>
                      <a:pt x="96" y="123"/>
                      <a:pt x="98" y="126"/>
                      <a:pt x="98" y="126"/>
                    </a:cubicBezTo>
                    <a:cubicBezTo>
                      <a:pt x="99" y="128"/>
                      <a:pt x="100" y="126"/>
                      <a:pt x="101" y="126"/>
                    </a:cubicBezTo>
                    <a:cubicBezTo>
                      <a:pt x="101" y="126"/>
                      <a:pt x="98" y="130"/>
                      <a:pt x="98" y="130"/>
                    </a:cubicBezTo>
                    <a:cubicBezTo>
                      <a:pt x="98" y="130"/>
                      <a:pt x="102" y="129"/>
                      <a:pt x="102" y="129"/>
                    </a:cubicBezTo>
                    <a:cubicBezTo>
                      <a:pt x="103" y="129"/>
                      <a:pt x="104" y="129"/>
                      <a:pt x="104" y="129"/>
                    </a:cubicBezTo>
                    <a:cubicBezTo>
                      <a:pt x="105" y="129"/>
                      <a:pt x="106" y="128"/>
                      <a:pt x="107" y="128"/>
                    </a:cubicBezTo>
                    <a:cubicBezTo>
                      <a:pt x="107" y="129"/>
                      <a:pt x="106" y="130"/>
                      <a:pt x="105" y="130"/>
                    </a:cubicBezTo>
                    <a:cubicBezTo>
                      <a:pt x="104" y="130"/>
                      <a:pt x="102" y="130"/>
                      <a:pt x="101" y="131"/>
                    </a:cubicBezTo>
                    <a:cubicBezTo>
                      <a:pt x="100" y="132"/>
                      <a:pt x="103" y="131"/>
                      <a:pt x="103" y="131"/>
                    </a:cubicBezTo>
                    <a:cubicBezTo>
                      <a:pt x="105" y="131"/>
                      <a:pt x="107" y="131"/>
                      <a:pt x="109" y="131"/>
                    </a:cubicBezTo>
                    <a:cubicBezTo>
                      <a:pt x="108" y="131"/>
                      <a:pt x="104" y="131"/>
                      <a:pt x="104" y="132"/>
                    </a:cubicBezTo>
                    <a:cubicBezTo>
                      <a:pt x="104" y="132"/>
                      <a:pt x="106" y="133"/>
                      <a:pt x="106" y="134"/>
                    </a:cubicBezTo>
                    <a:cubicBezTo>
                      <a:pt x="106" y="134"/>
                      <a:pt x="106" y="135"/>
                      <a:pt x="106" y="135"/>
                    </a:cubicBezTo>
                    <a:cubicBezTo>
                      <a:pt x="106" y="136"/>
                      <a:pt x="105" y="136"/>
                      <a:pt x="106" y="137"/>
                    </a:cubicBezTo>
                    <a:cubicBezTo>
                      <a:pt x="106" y="137"/>
                      <a:pt x="108" y="136"/>
                      <a:pt x="109" y="136"/>
                    </a:cubicBezTo>
                    <a:cubicBezTo>
                      <a:pt x="110" y="136"/>
                      <a:pt x="109" y="136"/>
                      <a:pt x="110" y="137"/>
                    </a:cubicBezTo>
                    <a:cubicBezTo>
                      <a:pt x="111" y="138"/>
                      <a:pt x="111" y="139"/>
                      <a:pt x="112" y="140"/>
                    </a:cubicBezTo>
                    <a:cubicBezTo>
                      <a:pt x="112" y="141"/>
                      <a:pt x="109" y="141"/>
                      <a:pt x="109" y="141"/>
                    </a:cubicBezTo>
                    <a:cubicBezTo>
                      <a:pt x="105" y="138"/>
                      <a:pt x="99" y="136"/>
                      <a:pt x="95" y="137"/>
                    </a:cubicBezTo>
                    <a:cubicBezTo>
                      <a:pt x="91" y="137"/>
                      <a:pt x="96" y="140"/>
                      <a:pt x="98" y="140"/>
                    </a:cubicBezTo>
                    <a:cubicBezTo>
                      <a:pt x="101" y="141"/>
                      <a:pt x="103" y="144"/>
                      <a:pt x="106" y="144"/>
                    </a:cubicBezTo>
                    <a:cubicBezTo>
                      <a:pt x="107" y="144"/>
                      <a:pt x="108" y="143"/>
                      <a:pt x="110" y="143"/>
                    </a:cubicBezTo>
                    <a:cubicBezTo>
                      <a:pt x="110" y="144"/>
                      <a:pt x="113" y="144"/>
                      <a:pt x="113" y="144"/>
                    </a:cubicBezTo>
                    <a:cubicBezTo>
                      <a:pt x="114" y="145"/>
                      <a:pt x="113" y="146"/>
                      <a:pt x="113" y="146"/>
                    </a:cubicBezTo>
                    <a:cubicBezTo>
                      <a:pt x="110" y="147"/>
                      <a:pt x="114" y="148"/>
                      <a:pt x="113" y="149"/>
                    </a:cubicBezTo>
                    <a:cubicBezTo>
                      <a:pt x="113" y="150"/>
                      <a:pt x="111" y="149"/>
                      <a:pt x="111" y="151"/>
                    </a:cubicBezTo>
                    <a:cubicBezTo>
                      <a:pt x="111" y="152"/>
                      <a:pt x="113" y="152"/>
                      <a:pt x="113" y="152"/>
                    </a:cubicBezTo>
                    <a:cubicBezTo>
                      <a:pt x="112" y="153"/>
                      <a:pt x="110" y="151"/>
                      <a:pt x="110" y="152"/>
                    </a:cubicBezTo>
                    <a:cubicBezTo>
                      <a:pt x="109" y="153"/>
                      <a:pt x="109" y="154"/>
                      <a:pt x="109" y="155"/>
                    </a:cubicBezTo>
                    <a:cubicBezTo>
                      <a:pt x="109" y="155"/>
                      <a:pt x="111" y="155"/>
                      <a:pt x="111" y="155"/>
                    </a:cubicBezTo>
                    <a:cubicBezTo>
                      <a:pt x="111" y="156"/>
                      <a:pt x="109" y="157"/>
                      <a:pt x="108" y="157"/>
                    </a:cubicBezTo>
                    <a:cubicBezTo>
                      <a:pt x="107" y="157"/>
                      <a:pt x="106" y="157"/>
                      <a:pt x="105" y="157"/>
                    </a:cubicBezTo>
                    <a:cubicBezTo>
                      <a:pt x="104" y="156"/>
                      <a:pt x="103" y="156"/>
                      <a:pt x="102" y="157"/>
                    </a:cubicBezTo>
                    <a:cubicBezTo>
                      <a:pt x="101" y="158"/>
                      <a:pt x="101" y="157"/>
                      <a:pt x="100" y="158"/>
                    </a:cubicBezTo>
                    <a:cubicBezTo>
                      <a:pt x="100" y="158"/>
                      <a:pt x="103" y="161"/>
                      <a:pt x="104" y="161"/>
                    </a:cubicBezTo>
                    <a:cubicBezTo>
                      <a:pt x="104" y="160"/>
                      <a:pt x="104" y="160"/>
                      <a:pt x="103" y="160"/>
                    </a:cubicBezTo>
                    <a:cubicBezTo>
                      <a:pt x="103" y="160"/>
                      <a:pt x="106" y="160"/>
                      <a:pt x="106" y="160"/>
                    </a:cubicBezTo>
                    <a:cubicBezTo>
                      <a:pt x="106" y="160"/>
                      <a:pt x="111" y="158"/>
                      <a:pt x="111" y="159"/>
                    </a:cubicBezTo>
                    <a:cubicBezTo>
                      <a:pt x="110" y="159"/>
                      <a:pt x="109" y="159"/>
                      <a:pt x="108" y="160"/>
                    </a:cubicBezTo>
                    <a:cubicBezTo>
                      <a:pt x="109" y="159"/>
                      <a:pt x="111" y="161"/>
                      <a:pt x="110" y="161"/>
                    </a:cubicBezTo>
                    <a:cubicBezTo>
                      <a:pt x="111" y="161"/>
                      <a:pt x="114" y="162"/>
                      <a:pt x="115" y="162"/>
                    </a:cubicBezTo>
                    <a:cubicBezTo>
                      <a:pt x="114" y="162"/>
                      <a:pt x="112" y="162"/>
                      <a:pt x="112" y="162"/>
                    </a:cubicBezTo>
                    <a:cubicBezTo>
                      <a:pt x="112" y="162"/>
                      <a:pt x="116" y="165"/>
                      <a:pt x="116" y="165"/>
                    </a:cubicBezTo>
                    <a:cubicBezTo>
                      <a:pt x="113" y="165"/>
                      <a:pt x="111" y="161"/>
                      <a:pt x="108" y="161"/>
                    </a:cubicBezTo>
                    <a:cubicBezTo>
                      <a:pt x="106" y="161"/>
                      <a:pt x="101" y="160"/>
                      <a:pt x="100" y="162"/>
                    </a:cubicBezTo>
                    <a:cubicBezTo>
                      <a:pt x="100" y="163"/>
                      <a:pt x="99" y="163"/>
                      <a:pt x="98" y="164"/>
                    </a:cubicBezTo>
                    <a:cubicBezTo>
                      <a:pt x="97" y="164"/>
                      <a:pt x="97" y="166"/>
                      <a:pt x="98" y="165"/>
                    </a:cubicBezTo>
                    <a:cubicBezTo>
                      <a:pt x="100" y="165"/>
                      <a:pt x="102" y="164"/>
                      <a:pt x="103" y="162"/>
                    </a:cubicBezTo>
                    <a:cubicBezTo>
                      <a:pt x="103" y="163"/>
                      <a:pt x="105" y="163"/>
                      <a:pt x="105" y="163"/>
                    </a:cubicBezTo>
                    <a:cubicBezTo>
                      <a:pt x="106" y="163"/>
                      <a:pt x="108" y="166"/>
                      <a:pt x="108" y="163"/>
                    </a:cubicBezTo>
                    <a:cubicBezTo>
                      <a:pt x="108" y="162"/>
                      <a:pt x="110" y="164"/>
                      <a:pt x="110" y="164"/>
                    </a:cubicBezTo>
                    <a:cubicBezTo>
                      <a:pt x="110" y="164"/>
                      <a:pt x="114" y="164"/>
                      <a:pt x="113" y="165"/>
                    </a:cubicBezTo>
                    <a:cubicBezTo>
                      <a:pt x="113" y="165"/>
                      <a:pt x="112" y="165"/>
                      <a:pt x="112" y="165"/>
                    </a:cubicBezTo>
                    <a:cubicBezTo>
                      <a:pt x="112" y="165"/>
                      <a:pt x="114" y="166"/>
                      <a:pt x="114" y="166"/>
                    </a:cubicBezTo>
                    <a:cubicBezTo>
                      <a:pt x="113" y="166"/>
                      <a:pt x="111" y="166"/>
                      <a:pt x="110" y="165"/>
                    </a:cubicBezTo>
                    <a:cubicBezTo>
                      <a:pt x="109" y="164"/>
                      <a:pt x="109" y="165"/>
                      <a:pt x="109" y="166"/>
                    </a:cubicBezTo>
                    <a:cubicBezTo>
                      <a:pt x="109" y="165"/>
                      <a:pt x="103" y="164"/>
                      <a:pt x="102" y="164"/>
                    </a:cubicBezTo>
                    <a:cubicBezTo>
                      <a:pt x="101" y="164"/>
                      <a:pt x="95" y="166"/>
                      <a:pt x="96" y="168"/>
                    </a:cubicBezTo>
                    <a:cubicBezTo>
                      <a:pt x="97" y="169"/>
                      <a:pt x="103" y="167"/>
                      <a:pt x="104" y="167"/>
                    </a:cubicBezTo>
                    <a:cubicBezTo>
                      <a:pt x="105" y="167"/>
                      <a:pt x="107" y="167"/>
                      <a:pt x="108" y="168"/>
                    </a:cubicBezTo>
                    <a:cubicBezTo>
                      <a:pt x="108" y="168"/>
                      <a:pt x="112" y="169"/>
                      <a:pt x="112" y="169"/>
                    </a:cubicBezTo>
                    <a:cubicBezTo>
                      <a:pt x="112" y="170"/>
                      <a:pt x="107" y="168"/>
                      <a:pt x="107" y="168"/>
                    </a:cubicBezTo>
                    <a:cubicBezTo>
                      <a:pt x="105" y="167"/>
                      <a:pt x="102" y="168"/>
                      <a:pt x="100" y="168"/>
                    </a:cubicBezTo>
                    <a:cubicBezTo>
                      <a:pt x="93" y="170"/>
                      <a:pt x="101" y="172"/>
                      <a:pt x="103" y="171"/>
                    </a:cubicBezTo>
                    <a:cubicBezTo>
                      <a:pt x="102" y="172"/>
                      <a:pt x="101" y="173"/>
                      <a:pt x="99" y="173"/>
                    </a:cubicBezTo>
                    <a:cubicBezTo>
                      <a:pt x="96" y="174"/>
                      <a:pt x="101" y="175"/>
                      <a:pt x="101" y="175"/>
                    </a:cubicBezTo>
                    <a:cubicBezTo>
                      <a:pt x="101" y="175"/>
                      <a:pt x="97" y="174"/>
                      <a:pt x="97" y="176"/>
                    </a:cubicBezTo>
                    <a:cubicBezTo>
                      <a:pt x="97" y="179"/>
                      <a:pt x="99" y="177"/>
                      <a:pt x="101" y="176"/>
                    </a:cubicBezTo>
                    <a:cubicBezTo>
                      <a:pt x="103" y="175"/>
                      <a:pt x="105" y="173"/>
                      <a:pt x="107" y="172"/>
                    </a:cubicBezTo>
                    <a:cubicBezTo>
                      <a:pt x="108" y="172"/>
                      <a:pt x="114" y="169"/>
                      <a:pt x="114" y="171"/>
                    </a:cubicBezTo>
                    <a:cubicBezTo>
                      <a:pt x="114" y="171"/>
                      <a:pt x="111" y="171"/>
                      <a:pt x="111" y="171"/>
                    </a:cubicBezTo>
                    <a:cubicBezTo>
                      <a:pt x="111" y="171"/>
                      <a:pt x="113" y="171"/>
                      <a:pt x="114" y="172"/>
                    </a:cubicBezTo>
                    <a:cubicBezTo>
                      <a:pt x="111" y="170"/>
                      <a:pt x="98" y="178"/>
                      <a:pt x="99" y="179"/>
                    </a:cubicBezTo>
                    <a:cubicBezTo>
                      <a:pt x="99" y="180"/>
                      <a:pt x="105" y="178"/>
                      <a:pt x="106" y="178"/>
                    </a:cubicBezTo>
                    <a:cubicBezTo>
                      <a:pt x="106" y="178"/>
                      <a:pt x="102" y="179"/>
                      <a:pt x="101" y="180"/>
                    </a:cubicBezTo>
                    <a:cubicBezTo>
                      <a:pt x="101" y="180"/>
                      <a:pt x="103" y="184"/>
                      <a:pt x="104" y="183"/>
                    </a:cubicBezTo>
                    <a:cubicBezTo>
                      <a:pt x="105" y="182"/>
                      <a:pt x="106" y="180"/>
                      <a:pt x="107" y="180"/>
                    </a:cubicBezTo>
                    <a:cubicBezTo>
                      <a:pt x="108" y="180"/>
                      <a:pt x="112" y="181"/>
                      <a:pt x="112" y="181"/>
                    </a:cubicBezTo>
                    <a:cubicBezTo>
                      <a:pt x="112" y="181"/>
                      <a:pt x="108" y="181"/>
                      <a:pt x="108" y="181"/>
                    </a:cubicBezTo>
                    <a:cubicBezTo>
                      <a:pt x="106" y="181"/>
                      <a:pt x="105" y="182"/>
                      <a:pt x="104" y="183"/>
                    </a:cubicBezTo>
                    <a:cubicBezTo>
                      <a:pt x="104" y="184"/>
                      <a:pt x="104" y="185"/>
                      <a:pt x="104" y="186"/>
                    </a:cubicBezTo>
                    <a:cubicBezTo>
                      <a:pt x="105" y="189"/>
                      <a:pt x="105" y="188"/>
                      <a:pt x="107" y="187"/>
                    </a:cubicBezTo>
                    <a:cubicBezTo>
                      <a:pt x="106" y="188"/>
                      <a:pt x="105" y="192"/>
                      <a:pt x="106" y="193"/>
                    </a:cubicBezTo>
                    <a:cubicBezTo>
                      <a:pt x="106" y="193"/>
                      <a:pt x="109" y="189"/>
                      <a:pt x="110" y="189"/>
                    </a:cubicBezTo>
                    <a:cubicBezTo>
                      <a:pt x="110" y="190"/>
                      <a:pt x="109" y="191"/>
                      <a:pt x="110" y="192"/>
                    </a:cubicBezTo>
                    <a:cubicBezTo>
                      <a:pt x="110" y="193"/>
                      <a:pt x="111" y="191"/>
                      <a:pt x="112" y="191"/>
                    </a:cubicBezTo>
                    <a:cubicBezTo>
                      <a:pt x="114" y="189"/>
                      <a:pt x="110" y="187"/>
                      <a:pt x="110" y="186"/>
                    </a:cubicBezTo>
                    <a:cubicBezTo>
                      <a:pt x="110" y="186"/>
                      <a:pt x="112" y="189"/>
                      <a:pt x="113" y="189"/>
                    </a:cubicBezTo>
                    <a:cubicBezTo>
                      <a:pt x="114" y="190"/>
                      <a:pt x="114" y="189"/>
                      <a:pt x="115" y="188"/>
                    </a:cubicBezTo>
                    <a:cubicBezTo>
                      <a:pt x="114" y="188"/>
                      <a:pt x="117" y="191"/>
                      <a:pt x="116" y="192"/>
                    </a:cubicBezTo>
                    <a:cubicBezTo>
                      <a:pt x="117" y="191"/>
                      <a:pt x="114" y="189"/>
                      <a:pt x="114" y="191"/>
                    </a:cubicBezTo>
                    <a:cubicBezTo>
                      <a:pt x="114" y="193"/>
                      <a:pt x="116" y="195"/>
                      <a:pt x="114" y="196"/>
                    </a:cubicBezTo>
                    <a:cubicBezTo>
                      <a:pt x="114" y="196"/>
                      <a:pt x="114" y="193"/>
                      <a:pt x="114" y="193"/>
                    </a:cubicBezTo>
                    <a:cubicBezTo>
                      <a:pt x="114" y="192"/>
                      <a:pt x="112" y="194"/>
                      <a:pt x="111" y="194"/>
                    </a:cubicBezTo>
                    <a:cubicBezTo>
                      <a:pt x="110" y="194"/>
                      <a:pt x="109" y="196"/>
                      <a:pt x="109" y="197"/>
                    </a:cubicBezTo>
                    <a:cubicBezTo>
                      <a:pt x="108" y="199"/>
                      <a:pt x="111" y="197"/>
                      <a:pt x="111" y="198"/>
                    </a:cubicBezTo>
                    <a:cubicBezTo>
                      <a:pt x="112" y="199"/>
                      <a:pt x="110" y="200"/>
                      <a:pt x="110" y="200"/>
                    </a:cubicBezTo>
                    <a:cubicBezTo>
                      <a:pt x="110" y="200"/>
                      <a:pt x="112" y="199"/>
                      <a:pt x="113" y="201"/>
                    </a:cubicBezTo>
                    <a:cubicBezTo>
                      <a:pt x="113" y="203"/>
                      <a:pt x="115" y="204"/>
                      <a:pt x="115" y="205"/>
                    </a:cubicBezTo>
                    <a:cubicBezTo>
                      <a:pt x="114" y="207"/>
                      <a:pt x="115" y="207"/>
                      <a:pt x="117" y="209"/>
                    </a:cubicBezTo>
                    <a:cubicBezTo>
                      <a:pt x="118" y="210"/>
                      <a:pt x="119" y="212"/>
                      <a:pt x="120" y="210"/>
                    </a:cubicBezTo>
                    <a:cubicBezTo>
                      <a:pt x="120" y="210"/>
                      <a:pt x="121" y="215"/>
                      <a:pt x="122" y="215"/>
                    </a:cubicBezTo>
                    <a:cubicBezTo>
                      <a:pt x="123" y="216"/>
                      <a:pt x="122" y="215"/>
                      <a:pt x="123" y="215"/>
                    </a:cubicBezTo>
                    <a:cubicBezTo>
                      <a:pt x="124" y="216"/>
                      <a:pt x="125" y="217"/>
                      <a:pt x="126" y="218"/>
                    </a:cubicBezTo>
                    <a:cubicBezTo>
                      <a:pt x="128" y="219"/>
                      <a:pt x="130" y="220"/>
                      <a:pt x="132" y="219"/>
                    </a:cubicBezTo>
                    <a:cubicBezTo>
                      <a:pt x="133" y="219"/>
                      <a:pt x="136" y="219"/>
                      <a:pt x="136" y="218"/>
                    </a:cubicBezTo>
                    <a:cubicBezTo>
                      <a:pt x="136" y="218"/>
                      <a:pt x="136" y="221"/>
                      <a:pt x="136" y="221"/>
                    </a:cubicBezTo>
                    <a:cubicBezTo>
                      <a:pt x="136" y="221"/>
                      <a:pt x="138" y="217"/>
                      <a:pt x="138" y="218"/>
                    </a:cubicBezTo>
                    <a:cubicBezTo>
                      <a:pt x="139" y="218"/>
                      <a:pt x="138" y="219"/>
                      <a:pt x="138" y="219"/>
                    </a:cubicBezTo>
                    <a:cubicBezTo>
                      <a:pt x="138" y="220"/>
                      <a:pt x="139" y="220"/>
                      <a:pt x="139" y="220"/>
                    </a:cubicBezTo>
                    <a:cubicBezTo>
                      <a:pt x="139" y="220"/>
                      <a:pt x="136" y="221"/>
                      <a:pt x="137" y="222"/>
                    </a:cubicBezTo>
                    <a:cubicBezTo>
                      <a:pt x="138" y="222"/>
                      <a:pt x="138" y="222"/>
                      <a:pt x="139" y="221"/>
                    </a:cubicBezTo>
                    <a:cubicBezTo>
                      <a:pt x="140" y="222"/>
                      <a:pt x="139" y="223"/>
                      <a:pt x="139" y="223"/>
                    </a:cubicBezTo>
                    <a:cubicBezTo>
                      <a:pt x="139" y="224"/>
                      <a:pt x="142" y="221"/>
                      <a:pt x="142" y="222"/>
                    </a:cubicBezTo>
                    <a:cubicBezTo>
                      <a:pt x="142" y="223"/>
                      <a:pt x="140" y="224"/>
                      <a:pt x="140" y="225"/>
                    </a:cubicBezTo>
                    <a:cubicBezTo>
                      <a:pt x="140" y="224"/>
                      <a:pt x="143" y="223"/>
                      <a:pt x="142" y="225"/>
                    </a:cubicBezTo>
                    <a:cubicBezTo>
                      <a:pt x="142" y="225"/>
                      <a:pt x="142" y="225"/>
                      <a:pt x="142" y="224"/>
                    </a:cubicBezTo>
                    <a:cubicBezTo>
                      <a:pt x="142" y="226"/>
                      <a:pt x="145" y="223"/>
                      <a:pt x="145" y="223"/>
                    </a:cubicBezTo>
                    <a:cubicBezTo>
                      <a:pt x="146" y="224"/>
                      <a:pt x="145" y="226"/>
                      <a:pt x="145" y="227"/>
                    </a:cubicBezTo>
                    <a:cubicBezTo>
                      <a:pt x="144" y="225"/>
                      <a:pt x="153" y="225"/>
                      <a:pt x="147" y="222"/>
                    </a:cubicBezTo>
                    <a:cubicBezTo>
                      <a:pt x="148" y="222"/>
                      <a:pt x="153" y="222"/>
                      <a:pt x="150" y="221"/>
                    </a:cubicBezTo>
                    <a:cubicBezTo>
                      <a:pt x="147" y="219"/>
                      <a:pt x="151" y="220"/>
                      <a:pt x="152" y="218"/>
                    </a:cubicBezTo>
                    <a:cubicBezTo>
                      <a:pt x="152" y="218"/>
                      <a:pt x="149" y="218"/>
                      <a:pt x="149" y="218"/>
                    </a:cubicBezTo>
                    <a:cubicBezTo>
                      <a:pt x="150" y="217"/>
                      <a:pt x="151" y="216"/>
                      <a:pt x="152" y="216"/>
                    </a:cubicBezTo>
                    <a:cubicBezTo>
                      <a:pt x="154" y="214"/>
                      <a:pt x="151" y="215"/>
                      <a:pt x="151" y="214"/>
                    </a:cubicBezTo>
                    <a:cubicBezTo>
                      <a:pt x="151" y="214"/>
                      <a:pt x="154" y="213"/>
                      <a:pt x="154" y="212"/>
                    </a:cubicBezTo>
                    <a:cubicBezTo>
                      <a:pt x="154" y="211"/>
                      <a:pt x="154" y="209"/>
                      <a:pt x="153" y="208"/>
                    </a:cubicBezTo>
                    <a:cubicBezTo>
                      <a:pt x="152" y="208"/>
                      <a:pt x="154" y="207"/>
                      <a:pt x="153" y="206"/>
                    </a:cubicBezTo>
                    <a:cubicBezTo>
                      <a:pt x="153" y="206"/>
                      <a:pt x="151" y="205"/>
                      <a:pt x="151" y="205"/>
                    </a:cubicBezTo>
                    <a:cubicBezTo>
                      <a:pt x="151" y="205"/>
                      <a:pt x="155" y="204"/>
                      <a:pt x="156" y="204"/>
                    </a:cubicBezTo>
                    <a:cubicBezTo>
                      <a:pt x="159" y="204"/>
                      <a:pt x="156" y="203"/>
                      <a:pt x="155" y="202"/>
                    </a:cubicBezTo>
                    <a:cubicBezTo>
                      <a:pt x="155" y="202"/>
                      <a:pt x="160" y="202"/>
                      <a:pt x="160" y="202"/>
                    </a:cubicBezTo>
                    <a:cubicBezTo>
                      <a:pt x="159" y="201"/>
                      <a:pt x="157" y="201"/>
                      <a:pt x="156" y="200"/>
                    </a:cubicBezTo>
                    <a:cubicBezTo>
                      <a:pt x="156" y="200"/>
                      <a:pt x="160" y="201"/>
                      <a:pt x="160" y="200"/>
                    </a:cubicBezTo>
                    <a:cubicBezTo>
                      <a:pt x="161" y="200"/>
                      <a:pt x="160" y="200"/>
                      <a:pt x="160" y="199"/>
                    </a:cubicBezTo>
                    <a:cubicBezTo>
                      <a:pt x="161" y="199"/>
                      <a:pt x="161" y="199"/>
                      <a:pt x="161" y="199"/>
                    </a:cubicBezTo>
                    <a:cubicBezTo>
                      <a:pt x="162" y="198"/>
                      <a:pt x="158" y="197"/>
                      <a:pt x="158" y="197"/>
                    </a:cubicBezTo>
                    <a:cubicBezTo>
                      <a:pt x="158" y="197"/>
                      <a:pt x="163" y="197"/>
                      <a:pt x="162" y="196"/>
                    </a:cubicBezTo>
                    <a:cubicBezTo>
                      <a:pt x="162" y="195"/>
                      <a:pt x="163" y="195"/>
                      <a:pt x="161" y="194"/>
                    </a:cubicBezTo>
                    <a:cubicBezTo>
                      <a:pt x="161" y="194"/>
                      <a:pt x="158" y="194"/>
                      <a:pt x="158" y="193"/>
                    </a:cubicBezTo>
                    <a:cubicBezTo>
                      <a:pt x="158" y="193"/>
                      <a:pt x="163" y="192"/>
                      <a:pt x="163" y="192"/>
                    </a:cubicBezTo>
                    <a:cubicBezTo>
                      <a:pt x="165" y="192"/>
                      <a:pt x="164" y="189"/>
                      <a:pt x="162" y="189"/>
                    </a:cubicBezTo>
                    <a:cubicBezTo>
                      <a:pt x="161" y="188"/>
                      <a:pt x="158" y="187"/>
                      <a:pt x="161" y="186"/>
                    </a:cubicBezTo>
                    <a:cubicBezTo>
                      <a:pt x="163" y="186"/>
                      <a:pt x="166" y="187"/>
                      <a:pt x="167" y="185"/>
                    </a:cubicBezTo>
                    <a:cubicBezTo>
                      <a:pt x="167" y="185"/>
                      <a:pt x="165" y="183"/>
                      <a:pt x="165" y="183"/>
                    </a:cubicBezTo>
                    <a:cubicBezTo>
                      <a:pt x="165" y="182"/>
                      <a:pt x="167" y="182"/>
                      <a:pt x="167" y="182"/>
                    </a:cubicBezTo>
                    <a:cubicBezTo>
                      <a:pt x="168" y="181"/>
                      <a:pt x="170" y="181"/>
                      <a:pt x="172" y="182"/>
                    </a:cubicBezTo>
                    <a:cubicBezTo>
                      <a:pt x="172" y="182"/>
                      <a:pt x="174" y="182"/>
                      <a:pt x="174" y="182"/>
                    </a:cubicBezTo>
                    <a:cubicBezTo>
                      <a:pt x="175" y="181"/>
                      <a:pt x="173" y="180"/>
                      <a:pt x="173" y="179"/>
                    </a:cubicBezTo>
                    <a:cubicBezTo>
                      <a:pt x="174" y="178"/>
                      <a:pt x="177" y="174"/>
                      <a:pt x="179" y="176"/>
                    </a:cubicBezTo>
                    <a:cubicBezTo>
                      <a:pt x="178" y="175"/>
                      <a:pt x="175" y="181"/>
                      <a:pt x="176" y="181"/>
                    </a:cubicBezTo>
                    <a:cubicBezTo>
                      <a:pt x="177" y="182"/>
                      <a:pt x="179" y="179"/>
                      <a:pt x="181" y="179"/>
                    </a:cubicBezTo>
                    <a:cubicBezTo>
                      <a:pt x="181" y="179"/>
                      <a:pt x="183" y="180"/>
                      <a:pt x="183" y="180"/>
                    </a:cubicBezTo>
                    <a:cubicBezTo>
                      <a:pt x="183" y="180"/>
                      <a:pt x="183" y="178"/>
                      <a:pt x="183" y="178"/>
                    </a:cubicBezTo>
                    <a:cubicBezTo>
                      <a:pt x="186" y="179"/>
                      <a:pt x="186" y="178"/>
                      <a:pt x="187" y="177"/>
                    </a:cubicBezTo>
                    <a:cubicBezTo>
                      <a:pt x="188" y="176"/>
                      <a:pt x="189" y="176"/>
                      <a:pt x="190" y="176"/>
                    </a:cubicBezTo>
                    <a:cubicBezTo>
                      <a:pt x="192" y="175"/>
                      <a:pt x="192" y="174"/>
                      <a:pt x="193" y="173"/>
                    </a:cubicBezTo>
                    <a:cubicBezTo>
                      <a:pt x="194" y="172"/>
                      <a:pt x="196" y="170"/>
                      <a:pt x="197" y="168"/>
                    </a:cubicBezTo>
                    <a:cubicBezTo>
                      <a:pt x="199" y="166"/>
                      <a:pt x="199" y="165"/>
                      <a:pt x="201" y="165"/>
                    </a:cubicBezTo>
                    <a:cubicBezTo>
                      <a:pt x="202" y="164"/>
                      <a:pt x="205" y="164"/>
                      <a:pt x="205" y="162"/>
                    </a:cubicBezTo>
                    <a:cubicBezTo>
                      <a:pt x="204" y="162"/>
                      <a:pt x="203" y="157"/>
                      <a:pt x="203" y="157"/>
                    </a:cubicBezTo>
                    <a:cubicBezTo>
                      <a:pt x="204" y="157"/>
                      <a:pt x="207" y="160"/>
                      <a:pt x="208" y="160"/>
                    </a:cubicBezTo>
                    <a:cubicBezTo>
                      <a:pt x="209" y="161"/>
                      <a:pt x="210" y="161"/>
                      <a:pt x="211" y="161"/>
                    </a:cubicBezTo>
                    <a:cubicBezTo>
                      <a:pt x="211" y="161"/>
                      <a:pt x="213" y="160"/>
                      <a:pt x="213" y="160"/>
                    </a:cubicBezTo>
                    <a:cubicBezTo>
                      <a:pt x="214" y="160"/>
                      <a:pt x="215" y="161"/>
                      <a:pt x="216" y="160"/>
                    </a:cubicBezTo>
                    <a:cubicBezTo>
                      <a:pt x="216" y="160"/>
                      <a:pt x="214" y="158"/>
                      <a:pt x="217" y="159"/>
                    </a:cubicBezTo>
                    <a:cubicBezTo>
                      <a:pt x="219" y="159"/>
                      <a:pt x="221" y="159"/>
                      <a:pt x="223" y="158"/>
                    </a:cubicBezTo>
                    <a:cubicBezTo>
                      <a:pt x="228" y="157"/>
                      <a:pt x="232" y="156"/>
                      <a:pt x="237" y="154"/>
                    </a:cubicBezTo>
                    <a:cubicBezTo>
                      <a:pt x="238" y="153"/>
                      <a:pt x="254" y="143"/>
                      <a:pt x="255" y="143"/>
                    </a:cubicBezTo>
                    <a:cubicBezTo>
                      <a:pt x="254" y="143"/>
                      <a:pt x="247" y="143"/>
                      <a:pt x="246" y="143"/>
                    </a:cubicBezTo>
                    <a:cubicBezTo>
                      <a:pt x="244" y="142"/>
                      <a:pt x="242" y="141"/>
                      <a:pt x="240" y="141"/>
                    </a:cubicBezTo>
                    <a:cubicBezTo>
                      <a:pt x="238" y="141"/>
                      <a:pt x="236" y="142"/>
                      <a:pt x="235" y="142"/>
                    </a:cubicBezTo>
                    <a:cubicBezTo>
                      <a:pt x="233" y="143"/>
                      <a:pt x="233" y="141"/>
                      <a:pt x="232" y="142"/>
                    </a:cubicBezTo>
                    <a:cubicBezTo>
                      <a:pt x="231" y="142"/>
                      <a:pt x="230" y="144"/>
                      <a:pt x="229" y="144"/>
                    </a:cubicBezTo>
                    <a:cubicBezTo>
                      <a:pt x="225" y="144"/>
                      <a:pt x="232" y="140"/>
                      <a:pt x="233" y="141"/>
                    </a:cubicBezTo>
                    <a:cubicBezTo>
                      <a:pt x="232" y="140"/>
                      <a:pt x="229" y="141"/>
                      <a:pt x="228" y="141"/>
                    </a:cubicBezTo>
                    <a:cubicBezTo>
                      <a:pt x="225" y="141"/>
                      <a:pt x="223" y="140"/>
                      <a:pt x="221" y="140"/>
                    </a:cubicBezTo>
                    <a:cubicBezTo>
                      <a:pt x="222" y="140"/>
                      <a:pt x="225" y="138"/>
                      <a:pt x="226" y="137"/>
                    </a:cubicBezTo>
                    <a:cubicBezTo>
                      <a:pt x="226" y="134"/>
                      <a:pt x="228" y="135"/>
                      <a:pt x="229" y="136"/>
                    </a:cubicBezTo>
                    <a:cubicBezTo>
                      <a:pt x="231" y="136"/>
                      <a:pt x="239" y="134"/>
                      <a:pt x="240" y="133"/>
                    </a:cubicBezTo>
                    <a:cubicBezTo>
                      <a:pt x="240" y="132"/>
                      <a:pt x="235" y="131"/>
                      <a:pt x="234" y="130"/>
                    </a:cubicBezTo>
                    <a:cubicBezTo>
                      <a:pt x="235" y="131"/>
                      <a:pt x="239" y="132"/>
                      <a:pt x="240" y="132"/>
                    </a:cubicBezTo>
                    <a:cubicBezTo>
                      <a:pt x="241" y="133"/>
                      <a:pt x="245" y="133"/>
                      <a:pt x="245" y="135"/>
                    </a:cubicBezTo>
                    <a:cubicBezTo>
                      <a:pt x="244" y="138"/>
                      <a:pt x="246" y="139"/>
                      <a:pt x="248" y="139"/>
                    </a:cubicBezTo>
                    <a:cubicBezTo>
                      <a:pt x="248" y="139"/>
                      <a:pt x="254" y="139"/>
                      <a:pt x="253" y="138"/>
                    </a:cubicBezTo>
                    <a:cubicBezTo>
                      <a:pt x="253" y="138"/>
                      <a:pt x="253" y="140"/>
                      <a:pt x="254" y="140"/>
                    </a:cubicBezTo>
                    <a:cubicBezTo>
                      <a:pt x="256" y="139"/>
                      <a:pt x="257" y="136"/>
                      <a:pt x="257" y="134"/>
                    </a:cubicBezTo>
                    <a:cubicBezTo>
                      <a:pt x="257" y="133"/>
                      <a:pt x="257" y="129"/>
                      <a:pt x="255" y="130"/>
                    </a:cubicBezTo>
                    <a:cubicBezTo>
                      <a:pt x="253" y="132"/>
                      <a:pt x="254" y="130"/>
                      <a:pt x="253" y="129"/>
                    </a:cubicBezTo>
                    <a:cubicBezTo>
                      <a:pt x="251" y="127"/>
                      <a:pt x="248" y="126"/>
                      <a:pt x="245" y="124"/>
                    </a:cubicBezTo>
                    <a:cubicBezTo>
                      <a:pt x="244" y="123"/>
                      <a:pt x="243" y="123"/>
                      <a:pt x="242" y="122"/>
                    </a:cubicBezTo>
                    <a:cubicBezTo>
                      <a:pt x="242" y="122"/>
                      <a:pt x="238" y="123"/>
                      <a:pt x="238" y="124"/>
                    </a:cubicBezTo>
                    <a:cubicBezTo>
                      <a:pt x="238" y="124"/>
                      <a:pt x="239" y="123"/>
                      <a:pt x="238" y="123"/>
                    </a:cubicBezTo>
                    <a:cubicBezTo>
                      <a:pt x="238" y="123"/>
                      <a:pt x="237" y="122"/>
                      <a:pt x="237" y="122"/>
                    </a:cubicBezTo>
                    <a:cubicBezTo>
                      <a:pt x="237" y="121"/>
                      <a:pt x="241" y="122"/>
                      <a:pt x="241" y="121"/>
                    </a:cubicBezTo>
                    <a:cubicBezTo>
                      <a:pt x="241" y="119"/>
                      <a:pt x="241" y="118"/>
                      <a:pt x="238" y="118"/>
                    </a:cubicBezTo>
                    <a:cubicBezTo>
                      <a:pt x="236" y="119"/>
                      <a:pt x="235" y="121"/>
                      <a:pt x="233" y="119"/>
                    </a:cubicBezTo>
                    <a:cubicBezTo>
                      <a:pt x="233" y="119"/>
                      <a:pt x="229" y="119"/>
                      <a:pt x="229" y="118"/>
                    </a:cubicBezTo>
                    <a:cubicBezTo>
                      <a:pt x="229" y="116"/>
                      <a:pt x="234" y="119"/>
                      <a:pt x="234" y="119"/>
                    </a:cubicBezTo>
                    <a:cubicBezTo>
                      <a:pt x="235" y="119"/>
                      <a:pt x="240" y="118"/>
                      <a:pt x="240" y="117"/>
                    </a:cubicBezTo>
                    <a:cubicBezTo>
                      <a:pt x="241" y="117"/>
                      <a:pt x="236" y="115"/>
                      <a:pt x="235" y="115"/>
                    </a:cubicBezTo>
                    <a:cubicBezTo>
                      <a:pt x="233" y="115"/>
                      <a:pt x="230" y="115"/>
                      <a:pt x="228" y="116"/>
                    </a:cubicBezTo>
                    <a:cubicBezTo>
                      <a:pt x="229" y="116"/>
                      <a:pt x="233" y="113"/>
                      <a:pt x="233" y="114"/>
                    </a:cubicBezTo>
                    <a:cubicBezTo>
                      <a:pt x="233" y="113"/>
                      <a:pt x="229" y="113"/>
                      <a:pt x="229" y="112"/>
                    </a:cubicBezTo>
                    <a:cubicBezTo>
                      <a:pt x="232" y="113"/>
                      <a:pt x="235" y="115"/>
                      <a:pt x="238" y="113"/>
                    </a:cubicBezTo>
                    <a:cubicBezTo>
                      <a:pt x="238" y="113"/>
                      <a:pt x="241" y="112"/>
                      <a:pt x="241" y="111"/>
                    </a:cubicBezTo>
                    <a:cubicBezTo>
                      <a:pt x="240" y="110"/>
                      <a:pt x="238" y="109"/>
                      <a:pt x="238" y="108"/>
                    </a:cubicBezTo>
                    <a:cubicBezTo>
                      <a:pt x="238" y="109"/>
                      <a:pt x="241" y="110"/>
                      <a:pt x="242" y="110"/>
                    </a:cubicBezTo>
                    <a:cubicBezTo>
                      <a:pt x="244" y="111"/>
                      <a:pt x="243" y="109"/>
                      <a:pt x="245" y="109"/>
                    </a:cubicBezTo>
                    <a:cubicBezTo>
                      <a:pt x="246" y="109"/>
                      <a:pt x="254" y="111"/>
                      <a:pt x="254" y="111"/>
                    </a:cubicBezTo>
                    <a:cubicBezTo>
                      <a:pt x="253" y="111"/>
                      <a:pt x="246" y="110"/>
                      <a:pt x="246" y="110"/>
                    </a:cubicBezTo>
                    <a:cubicBezTo>
                      <a:pt x="248" y="114"/>
                      <a:pt x="254" y="113"/>
                      <a:pt x="257" y="113"/>
                    </a:cubicBezTo>
                    <a:cubicBezTo>
                      <a:pt x="258" y="112"/>
                      <a:pt x="261" y="113"/>
                      <a:pt x="262" y="112"/>
                    </a:cubicBezTo>
                    <a:cubicBezTo>
                      <a:pt x="265" y="111"/>
                      <a:pt x="264" y="109"/>
                      <a:pt x="262" y="108"/>
                    </a:cubicBezTo>
                    <a:cubicBezTo>
                      <a:pt x="261" y="107"/>
                      <a:pt x="258" y="106"/>
                      <a:pt x="257" y="106"/>
                    </a:cubicBezTo>
                    <a:cubicBezTo>
                      <a:pt x="256" y="106"/>
                      <a:pt x="257" y="109"/>
                      <a:pt x="257" y="110"/>
                    </a:cubicBezTo>
                    <a:cubicBezTo>
                      <a:pt x="256" y="109"/>
                      <a:pt x="256" y="108"/>
                      <a:pt x="255" y="107"/>
                    </a:cubicBezTo>
                    <a:cubicBezTo>
                      <a:pt x="255" y="106"/>
                      <a:pt x="254" y="107"/>
                      <a:pt x="253" y="106"/>
                    </a:cubicBezTo>
                    <a:cubicBezTo>
                      <a:pt x="254" y="107"/>
                      <a:pt x="256" y="101"/>
                      <a:pt x="256" y="100"/>
                    </a:cubicBezTo>
                    <a:cubicBezTo>
                      <a:pt x="256" y="100"/>
                      <a:pt x="257" y="103"/>
                      <a:pt x="257" y="103"/>
                    </a:cubicBezTo>
                    <a:cubicBezTo>
                      <a:pt x="257" y="105"/>
                      <a:pt x="257" y="106"/>
                      <a:pt x="258" y="106"/>
                    </a:cubicBezTo>
                    <a:cubicBezTo>
                      <a:pt x="261" y="106"/>
                      <a:pt x="263" y="105"/>
                      <a:pt x="265" y="105"/>
                    </a:cubicBezTo>
                    <a:cubicBezTo>
                      <a:pt x="266" y="105"/>
                      <a:pt x="272" y="103"/>
                      <a:pt x="270" y="101"/>
                    </a:cubicBezTo>
                    <a:cubicBezTo>
                      <a:pt x="268" y="100"/>
                      <a:pt x="267" y="102"/>
                      <a:pt x="266" y="101"/>
                    </a:cubicBezTo>
                    <a:cubicBezTo>
                      <a:pt x="266" y="100"/>
                      <a:pt x="266" y="100"/>
                      <a:pt x="266" y="99"/>
                    </a:cubicBezTo>
                    <a:cubicBezTo>
                      <a:pt x="267" y="98"/>
                      <a:pt x="266" y="97"/>
                      <a:pt x="265" y="97"/>
                    </a:cubicBezTo>
                    <a:cubicBezTo>
                      <a:pt x="265" y="96"/>
                      <a:pt x="262" y="96"/>
                      <a:pt x="261" y="96"/>
                    </a:cubicBezTo>
                    <a:cubicBezTo>
                      <a:pt x="259" y="96"/>
                      <a:pt x="258" y="98"/>
                      <a:pt x="256" y="96"/>
                    </a:cubicBezTo>
                    <a:cubicBezTo>
                      <a:pt x="260" y="99"/>
                      <a:pt x="262" y="91"/>
                      <a:pt x="266" y="95"/>
                    </a:cubicBezTo>
                    <a:cubicBezTo>
                      <a:pt x="267" y="97"/>
                      <a:pt x="269" y="94"/>
                      <a:pt x="269" y="92"/>
                    </a:cubicBezTo>
                    <a:cubicBezTo>
                      <a:pt x="269" y="91"/>
                      <a:pt x="266" y="88"/>
                      <a:pt x="266" y="88"/>
                    </a:cubicBezTo>
                    <a:cubicBezTo>
                      <a:pt x="266" y="87"/>
                      <a:pt x="269" y="90"/>
                      <a:pt x="269" y="91"/>
                    </a:cubicBezTo>
                    <a:cubicBezTo>
                      <a:pt x="269" y="92"/>
                      <a:pt x="271" y="90"/>
                      <a:pt x="270" y="88"/>
                    </a:cubicBezTo>
                    <a:cubicBezTo>
                      <a:pt x="269" y="87"/>
                      <a:pt x="267" y="85"/>
                      <a:pt x="266" y="84"/>
                    </a:cubicBezTo>
                    <a:cubicBezTo>
                      <a:pt x="264" y="84"/>
                      <a:pt x="261" y="85"/>
                      <a:pt x="259" y="84"/>
                    </a:cubicBezTo>
                    <a:cubicBezTo>
                      <a:pt x="258" y="83"/>
                      <a:pt x="258" y="81"/>
                      <a:pt x="256" y="81"/>
                    </a:cubicBezTo>
                    <a:cubicBezTo>
                      <a:pt x="256" y="80"/>
                      <a:pt x="252" y="81"/>
                      <a:pt x="253" y="80"/>
                    </a:cubicBezTo>
                    <a:cubicBezTo>
                      <a:pt x="254" y="78"/>
                      <a:pt x="254" y="77"/>
                      <a:pt x="256" y="79"/>
                    </a:cubicBezTo>
                    <a:cubicBezTo>
                      <a:pt x="258" y="81"/>
                      <a:pt x="260" y="78"/>
                      <a:pt x="262" y="77"/>
                    </a:cubicBezTo>
                    <a:cubicBezTo>
                      <a:pt x="265" y="75"/>
                      <a:pt x="271" y="81"/>
                      <a:pt x="274" y="78"/>
                    </a:cubicBezTo>
                    <a:cubicBezTo>
                      <a:pt x="275" y="77"/>
                      <a:pt x="275" y="72"/>
                      <a:pt x="272" y="73"/>
                    </a:cubicBezTo>
                    <a:cubicBezTo>
                      <a:pt x="271" y="73"/>
                      <a:pt x="270" y="74"/>
                      <a:pt x="269" y="73"/>
                    </a:cubicBezTo>
                    <a:cubicBezTo>
                      <a:pt x="267" y="73"/>
                      <a:pt x="265" y="72"/>
                      <a:pt x="263" y="70"/>
                    </a:cubicBezTo>
                    <a:cubicBezTo>
                      <a:pt x="260" y="68"/>
                      <a:pt x="271" y="71"/>
                      <a:pt x="271" y="70"/>
                    </a:cubicBezTo>
                    <a:cubicBezTo>
                      <a:pt x="270" y="68"/>
                      <a:pt x="265" y="67"/>
                      <a:pt x="263" y="66"/>
                    </a:cubicBezTo>
                    <a:cubicBezTo>
                      <a:pt x="260" y="65"/>
                      <a:pt x="260" y="66"/>
                      <a:pt x="259" y="68"/>
                    </a:cubicBezTo>
                    <a:cubicBezTo>
                      <a:pt x="259" y="69"/>
                      <a:pt x="257" y="70"/>
                      <a:pt x="256" y="69"/>
                    </a:cubicBezTo>
                    <a:cubicBezTo>
                      <a:pt x="255" y="69"/>
                      <a:pt x="258" y="65"/>
                      <a:pt x="258" y="64"/>
                    </a:cubicBezTo>
                    <a:cubicBezTo>
                      <a:pt x="258" y="63"/>
                      <a:pt x="259" y="61"/>
                      <a:pt x="260" y="60"/>
                    </a:cubicBezTo>
                    <a:cubicBezTo>
                      <a:pt x="260" y="59"/>
                      <a:pt x="260" y="57"/>
                      <a:pt x="261" y="57"/>
                    </a:cubicBezTo>
                    <a:cubicBezTo>
                      <a:pt x="262" y="57"/>
                      <a:pt x="264" y="57"/>
                      <a:pt x="265" y="56"/>
                    </a:cubicBezTo>
                    <a:cubicBezTo>
                      <a:pt x="265" y="56"/>
                      <a:pt x="270" y="51"/>
                      <a:pt x="270" y="52"/>
                    </a:cubicBezTo>
                    <a:cubicBezTo>
                      <a:pt x="270" y="52"/>
                      <a:pt x="268" y="51"/>
                      <a:pt x="268" y="51"/>
                    </a:cubicBezTo>
                    <a:cubicBezTo>
                      <a:pt x="268" y="50"/>
                      <a:pt x="268" y="49"/>
                      <a:pt x="268" y="48"/>
                    </a:cubicBezTo>
                    <a:cubicBezTo>
                      <a:pt x="268" y="46"/>
                      <a:pt x="269" y="46"/>
                      <a:pt x="271" y="46"/>
                    </a:cubicBezTo>
                    <a:cubicBezTo>
                      <a:pt x="273" y="46"/>
                      <a:pt x="281" y="43"/>
                      <a:pt x="276" y="43"/>
                    </a:cubicBezTo>
                    <a:cubicBezTo>
                      <a:pt x="273" y="43"/>
                      <a:pt x="268" y="42"/>
                      <a:pt x="266" y="44"/>
                    </a:cubicBezTo>
                    <a:cubicBezTo>
                      <a:pt x="265" y="45"/>
                      <a:pt x="265" y="47"/>
                      <a:pt x="263" y="46"/>
                    </a:cubicBezTo>
                    <a:cubicBezTo>
                      <a:pt x="261" y="45"/>
                      <a:pt x="263" y="43"/>
                      <a:pt x="264" y="42"/>
                    </a:cubicBezTo>
                    <a:cubicBezTo>
                      <a:pt x="266" y="39"/>
                      <a:pt x="270" y="41"/>
                      <a:pt x="273" y="41"/>
                    </a:cubicBezTo>
                    <a:cubicBezTo>
                      <a:pt x="277" y="41"/>
                      <a:pt x="281" y="42"/>
                      <a:pt x="283" y="38"/>
                    </a:cubicBezTo>
                    <a:cubicBezTo>
                      <a:pt x="284" y="38"/>
                      <a:pt x="280" y="37"/>
                      <a:pt x="280" y="37"/>
                    </a:cubicBezTo>
                    <a:cubicBezTo>
                      <a:pt x="278" y="36"/>
                      <a:pt x="276" y="37"/>
                      <a:pt x="274" y="37"/>
                    </a:cubicBezTo>
                    <a:cubicBezTo>
                      <a:pt x="272" y="37"/>
                      <a:pt x="271" y="36"/>
                      <a:pt x="269" y="36"/>
                    </a:cubicBezTo>
                    <a:cubicBezTo>
                      <a:pt x="268" y="36"/>
                      <a:pt x="266" y="36"/>
                      <a:pt x="265" y="36"/>
                    </a:cubicBezTo>
                    <a:cubicBezTo>
                      <a:pt x="266" y="37"/>
                      <a:pt x="269" y="36"/>
                      <a:pt x="271" y="36"/>
                    </a:cubicBezTo>
                    <a:cubicBezTo>
                      <a:pt x="274" y="36"/>
                      <a:pt x="276" y="35"/>
                      <a:pt x="279" y="35"/>
                    </a:cubicBezTo>
                    <a:cubicBezTo>
                      <a:pt x="283" y="36"/>
                      <a:pt x="285" y="34"/>
                      <a:pt x="288" y="34"/>
                    </a:cubicBezTo>
                    <a:cubicBezTo>
                      <a:pt x="289" y="34"/>
                      <a:pt x="291" y="34"/>
                      <a:pt x="291" y="33"/>
                    </a:cubicBezTo>
                    <a:cubicBezTo>
                      <a:pt x="291" y="33"/>
                      <a:pt x="289" y="31"/>
                      <a:pt x="290" y="31"/>
                    </a:cubicBezTo>
                    <a:cubicBezTo>
                      <a:pt x="295" y="30"/>
                      <a:pt x="300" y="29"/>
                      <a:pt x="304" y="26"/>
                    </a:cubicBezTo>
                    <a:cubicBezTo>
                      <a:pt x="305" y="25"/>
                      <a:pt x="301" y="24"/>
                      <a:pt x="301" y="24"/>
                    </a:cubicBezTo>
                    <a:cubicBezTo>
                      <a:pt x="298" y="23"/>
                      <a:pt x="295" y="22"/>
                      <a:pt x="293" y="22"/>
                    </a:cubicBezTo>
                    <a:cubicBezTo>
                      <a:pt x="287" y="21"/>
                      <a:pt x="282" y="20"/>
                      <a:pt x="277" y="25"/>
                    </a:cubicBezTo>
                    <a:cubicBezTo>
                      <a:pt x="275" y="28"/>
                      <a:pt x="273" y="26"/>
                      <a:pt x="269" y="26"/>
                    </a:cubicBezTo>
                    <a:cubicBezTo>
                      <a:pt x="268" y="26"/>
                      <a:pt x="264" y="29"/>
                      <a:pt x="265" y="26"/>
                    </a:cubicBezTo>
                    <a:cubicBezTo>
                      <a:pt x="265" y="24"/>
                      <a:pt x="260" y="27"/>
                      <a:pt x="259" y="28"/>
                    </a:cubicBezTo>
                    <a:cubicBezTo>
                      <a:pt x="257" y="29"/>
                      <a:pt x="255" y="30"/>
                      <a:pt x="253" y="31"/>
                    </a:cubicBezTo>
                    <a:cubicBezTo>
                      <a:pt x="252" y="31"/>
                      <a:pt x="244" y="37"/>
                      <a:pt x="244" y="37"/>
                    </a:cubicBezTo>
                    <a:cubicBezTo>
                      <a:pt x="242" y="35"/>
                      <a:pt x="264" y="22"/>
                      <a:pt x="251" y="19"/>
                    </a:cubicBezTo>
                    <a:cubicBezTo>
                      <a:pt x="246" y="19"/>
                      <a:pt x="247" y="22"/>
                      <a:pt x="243" y="24"/>
                    </a:cubicBezTo>
                    <a:cubicBezTo>
                      <a:pt x="240" y="25"/>
                      <a:pt x="238" y="25"/>
                      <a:pt x="235" y="26"/>
                    </a:cubicBezTo>
                    <a:cubicBezTo>
                      <a:pt x="234" y="26"/>
                      <a:pt x="229" y="28"/>
                      <a:pt x="228" y="28"/>
                    </a:cubicBezTo>
                    <a:cubicBezTo>
                      <a:pt x="226" y="25"/>
                      <a:pt x="233" y="24"/>
                      <a:pt x="235" y="24"/>
                    </a:cubicBezTo>
                    <a:cubicBezTo>
                      <a:pt x="235" y="23"/>
                      <a:pt x="241" y="22"/>
                      <a:pt x="238" y="21"/>
                    </a:cubicBezTo>
                    <a:cubicBezTo>
                      <a:pt x="235" y="20"/>
                      <a:pt x="232" y="20"/>
                      <a:pt x="229" y="20"/>
                    </a:cubicBezTo>
                    <a:cubicBezTo>
                      <a:pt x="221" y="20"/>
                      <a:pt x="213" y="21"/>
                      <a:pt x="205" y="23"/>
                    </a:cubicBezTo>
                    <a:cubicBezTo>
                      <a:pt x="205" y="23"/>
                      <a:pt x="202" y="25"/>
                      <a:pt x="201" y="24"/>
                    </a:cubicBezTo>
                    <a:cubicBezTo>
                      <a:pt x="201" y="22"/>
                      <a:pt x="200" y="22"/>
                      <a:pt x="202" y="22"/>
                    </a:cubicBezTo>
                    <a:cubicBezTo>
                      <a:pt x="206" y="20"/>
                      <a:pt x="210" y="19"/>
                      <a:pt x="214" y="18"/>
                    </a:cubicBezTo>
                    <a:cubicBezTo>
                      <a:pt x="221" y="17"/>
                      <a:pt x="229" y="18"/>
                      <a:pt x="237" y="18"/>
                    </a:cubicBezTo>
                    <a:cubicBezTo>
                      <a:pt x="239" y="18"/>
                      <a:pt x="241" y="18"/>
                      <a:pt x="243" y="18"/>
                    </a:cubicBezTo>
                    <a:cubicBezTo>
                      <a:pt x="247" y="16"/>
                      <a:pt x="252" y="16"/>
                      <a:pt x="256" y="14"/>
                    </a:cubicBezTo>
                    <a:cubicBezTo>
                      <a:pt x="258" y="14"/>
                      <a:pt x="259" y="13"/>
                      <a:pt x="256" y="12"/>
                    </a:cubicBezTo>
                    <a:cubicBezTo>
                      <a:pt x="254" y="11"/>
                      <a:pt x="250" y="10"/>
                      <a:pt x="248" y="11"/>
                    </a:cubicBezTo>
                    <a:cubicBezTo>
                      <a:pt x="246" y="11"/>
                      <a:pt x="246" y="10"/>
                      <a:pt x="244" y="9"/>
                    </a:cubicBezTo>
                    <a:cubicBezTo>
                      <a:pt x="242" y="9"/>
                      <a:pt x="240" y="11"/>
                      <a:pt x="238" y="11"/>
                    </a:cubicBezTo>
                    <a:cubicBezTo>
                      <a:pt x="238" y="11"/>
                      <a:pt x="240" y="8"/>
                      <a:pt x="241" y="8"/>
                    </a:cubicBezTo>
                    <a:cubicBezTo>
                      <a:pt x="242" y="6"/>
                      <a:pt x="238" y="6"/>
                      <a:pt x="237" y="6"/>
                    </a:cubicBezTo>
                    <a:cubicBezTo>
                      <a:pt x="231" y="7"/>
                      <a:pt x="226" y="7"/>
                      <a:pt x="220" y="6"/>
                    </a:cubicBezTo>
                    <a:cubicBezTo>
                      <a:pt x="215" y="6"/>
                      <a:pt x="211" y="8"/>
                      <a:pt x="206" y="8"/>
                    </a:cubicBezTo>
                    <a:cubicBezTo>
                      <a:pt x="204" y="8"/>
                      <a:pt x="201" y="8"/>
                      <a:pt x="199" y="8"/>
                    </a:cubicBezTo>
                    <a:cubicBezTo>
                      <a:pt x="197" y="9"/>
                      <a:pt x="194" y="8"/>
                      <a:pt x="193" y="9"/>
                    </a:cubicBezTo>
                    <a:cubicBezTo>
                      <a:pt x="196" y="8"/>
                      <a:pt x="199" y="8"/>
                      <a:pt x="202" y="7"/>
                    </a:cubicBezTo>
                    <a:cubicBezTo>
                      <a:pt x="207" y="7"/>
                      <a:pt x="211" y="6"/>
                      <a:pt x="215" y="6"/>
                    </a:cubicBezTo>
                    <a:cubicBezTo>
                      <a:pt x="217" y="6"/>
                      <a:pt x="237" y="6"/>
                      <a:pt x="237" y="4"/>
                    </a:cubicBezTo>
                    <a:cubicBezTo>
                      <a:pt x="236" y="4"/>
                      <a:pt x="233" y="3"/>
                      <a:pt x="232" y="2"/>
                    </a:cubicBezTo>
                    <a:cubicBezTo>
                      <a:pt x="229" y="2"/>
                      <a:pt x="227" y="2"/>
                      <a:pt x="224" y="2"/>
                    </a:cubicBezTo>
                    <a:cubicBezTo>
                      <a:pt x="220" y="2"/>
                      <a:pt x="216" y="1"/>
                      <a:pt x="213" y="0"/>
                    </a:cubicBezTo>
                    <a:cubicBezTo>
                      <a:pt x="206" y="0"/>
                      <a:pt x="200" y="0"/>
                      <a:pt x="194" y="0"/>
                    </a:cubicBezTo>
                    <a:cubicBezTo>
                      <a:pt x="191" y="1"/>
                      <a:pt x="188" y="1"/>
                      <a:pt x="185" y="1"/>
                    </a:cubicBezTo>
                    <a:cubicBezTo>
                      <a:pt x="184" y="1"/>
                      <a:pt x="183" y="3"/>
                      <a:pt x="183" y="3"/>
                    </a:cubicBezTo>
                    <a:cubicBezTo>
                      <a:pt x="181" y="3"/>
                      <a:pt x="179" y="2"/>
                      <a:pt x="177" y="2"/>
                    </a:cubicBezTo>
                    <a:cubicBezTo>
                      <a:pt x="176" y="2"/>
                      <a:pt x="175" y="3"/>
                      <a:pt x="173" y="3"/>
                    </a:cubicBezTo>
                    <a:cubicBezTo>
                      <a:pt x="171" y="3"/>
                      <a:pt x="171" y="4"/>
                      <a:pt x="173" y="4"/>
                    </a:cubicBezTo>
                    <a:cubicBezTo>
                      <a:pt x="176" y="5"/>
                      <a:pt x="179" y="5"/>
                      <a:pt x="181" y="6"/>
                    </a:cubicBezTo>
                    <a:cubicBezTo>
                      <a:pt x="180" y="5"/>
                      <a:pt x="174" y="7"/>
                      <a:pt x="173" y="8"/>
                    </a:cubicBezTo>
                    <a:cubicBezTo>
                      <a:pt x="173" y="8"/>
                      <a:pt x="170" y="8"/>
                      <a:pt x="170" y="8"/>
                    </a:cubicBezTo>
                    <a:cubicBezTo>
                      <a:pt x="170" y="8"/>
                      <a:pt x="172" y="10"/>
                      <a:pt x="172" y="10"/>
                    </a:cubicBezTo>
                    <a:cubicBezTo>
                      <a:pt x="171" y="10"/>
                      <a:pt x="169" y="9"/>
                      <a:pt x="168" y="8"/>
                    </a:cubicBezTo>
                    <a:cubicBezTo>
                      <a:pt x="167" y="7"/>
                      <a:pt x="164" y="8"/>
                      <a:pt x="163" y="8"/>
                    </a:cubicBezTo>
                    <a:cubicBezTo>
                      <a:pt x="160" y="7"/>
                      <a:pt x="157" y="6"/>
                      <a:pt x="154" y="5"/>
                    </a:cubicBezTo>
                    <a:cubicBezTo>
                      <a:pt x="152" y="4"/>
                      <a:pt x="150" y="6"/>
                      <a:pt x="147" y="6"/>
                    </a:cubicBezTo>
                    <a:cubicBezTo>
                      <a:pt x="146" y="6"/>
                      <a:pt x="140" y="5"/>
                      <a:pt x="140" y="7"/>
                    </a:cubicBezTo>
                    <a:cubicBezTo>
                      <a:pt x="139" y="7"/>
                      <a:pt x="153" y="9"/>
                      <a:pt x="155" y="10"/>
                    </a:cubicBezTo>
                    <a:cubicBezTo>
                      <a:pt x="158" y="10"/>
                      <a:pt x="161" y="10"/>
                      <a:pt x="163" y="11"/>
                    </a:cubicBezTo>
                    <a:cubicBezTo>
                      <a:pt x="164" y="11"/>
                      <a:pt x="165" y="11"/>
                      <a:pt x="166" y="12"/>
                    </a:cubicBezTo>
                    <a:cubicBezTo>
                      <a:pt x="166" y="12"/>
                      <a:pt x="166" y="15"/>
                      <a:pt x="166" y="15"/>
                    </a:cubicBezTo>
                    <a:cubicBezTo>
                      <a:pt x="166" y="16"/>
                      <a:pt x="165" y="14"/>
                      <a:pt x="165" y="13"/>
                    </a:cubicBezTo>
                    <a:cubicBezTo>
                      <a:pt x="164" y="12"/>
                      <a:pt x="161" y="12"/>
                      <a:pt x="160" y="11"/>
                    </a:cubicBezTo>
                    <a:cubicBezTo>
                      <a:pt x="160" y="11"/>
                      <a:pt x="157" y="11"/>
                      <a:pt x="157" y="11"/>
                    </a:cubicBezTo>
                    <a:cubicBezTo>
                      <a:pt x="157" y="12"/>
                      <a:pt x="158" y="14"/>
                      <a:pt x="158" y="14"/>
                    </a:cubicBezTo>
                    <a:cubicBezTo>
                      <a:pt x="156" y="14"/>
                      <a:pt x="155" y="11"/>
                      <a:pt x="154" y="11"/>
                    </a:cubicBezTo>
                    <a:cubicBezTo>
                      <a:pt x="152" y="11"/>
                      <a:pt x="150" y="11"/>
                      <a:pt x="148" y="10"/>
                    </a:cubicBezTo>
                    <a:cubicBezTo>
                      <a:pt x="147" y="10"/>
                      <a:pt x="139" y="10"/>
                      <a:pt x="139" y="10"/>
                    </a:cubicBezTo>
                    <a:cubicBezTo>
                      <a:pt x="138" y="12"/>
                      <a:pt x="151" y="17"/>
                      <a:pt x="151" y="17"/>
                    </a:cubicBezTo>
                    <a:cubicBezTo>
                      <a:pt x="151" y="18"/>
                      <a:pt x="146" y="17"/>
                      <a:pt x="146" y="17"/>
                    </a:cubicBezTo>
                    <a:cubicBezTo>
                      <a:pt x="143" y="17"/>
                      <a:pt x="142" y="16"/>
                      <a:pt x="143" y="19"/>
                    </a:cubicBezTo>
                    <a:cubicBezTo>
                      <a:pt x="142" y="19"/>
                      <a:pt x="141" y="18"/>
                      <a:pt x="140" y="17"/>
                    </a:cubicBezTo>
                    <a:cubicBezTo>
                      <a:pt x="140" y="16"/>
                      <a:pt x="142" y="17"/>
                      <a:pt x="143" y="16"/>
                    </a:cubicBezTo>
                    <a:cubicBezTo>
                      <a:pt x="143" y="16"/>
                      <a:pt x="141" y="14"/>
                      <a:pt x="140" y="14"/>
                    </a:cubicBezTo>
                    <a:cubicBezTo>
                      <a:pt x="138" y="13"/>
                      <a:pt x="136" y="12"/>
                      <a:pt x="133" y="12"/>
                    </a:cubicBezTo>
                    <a:cubicBezTo>
                      <a:pt x="132" y="12"/>
                      <a:pt x="130" y="11"/>
                      <a:pt x="129" y="12"/>
                    </a:cubicBezTo>
                    <a:cubicBezTo>
                      <a:pt x="128" y="12"/>
                      <a:pt x="131" y="15"/>
                      <a:pt x="131" y="15"/>
                    </a:cubicBezTo>
                    <a:cubicBezTo>
                      <a:pt x="134" y="17"/>
                      <a:pt x="138" y="17"/>
                      <a:pt x="142" y="20"/>
                    </a:cubicBezTo>
                    <a:cubicBezTo>
                      <a:pt x="143" y="20"/>
                      <a:pt x="144" y="21"/>
                      <a:pt x="143" y="22"/>
                    </a:cubicBezTo>
                    <a:cubicBezTo>
                      <a:pt x="141" y="24"/>
                      <a:pt x="139" y="22"/>
                      <a:pt x="137" y="21"/>
                    </a:cubicBezTo>
                    <a:cubicBezTo>
                      <a:pt x="132" y="18"/>
                      <a:pt x="126" y="16"/>
                      <a:pt x="120" y="15"/>
                    </a:cubicBezTo>
                    <a:cubicBezTo>
                      <a:pt x="117" y="14"/>
                      <a:pt x="114" y="13"/>
                      <a:pt x="111" y="14"/>
                    </a:cubicBezTo>
                    <a:cubicBezTo>
                      <a:pt x="110" y="14"/>
                      <a:pt x="113" y="17"/>
                      <a:pt x="113" y="18"/>
                    </a:cubicBezTo>
                    <a:cubicBezTo>
                      <a:pt x="113" y="18"/>
                      <a:pt x="117" y="21"/>
                      <a:pt x="117" y="21"/>
                    </a:cubicBezTo>
                    <a:cubicBezTo>
                      <a:pt x="117" y="22"/>
                      <a:pt x="111" y="21"/>
                      <a:pt x="111" y="21"/>
                    </a:cubicBezTo>
                    <a:cubicBezTo>
                      <a:pt x="111" y="23"/>
                      <a:pt x="115" y="22"/>
                      <a:pt x="115" y="24"/>
                    </a:cubicBezTo>
                    <a:cubicBezTo>
                      <a:pt x="115" y="24"/>
                      <a:pt x="111" y="23"/>
                      <a:pt x="110" y="22"/>
                    </a:cubicBezTo>
                    <a:cubicBezTo>
                      <a:pt x="108" y="21"/>
                      <a:pt x="106" y="21"/>
                      <a:pt x="103" y="20"/>
                    </a:cubicBezTo>
                    <a:cubicBezTo>
                      <a:pt x="101" y="19"/>
                      <a:pt x="101" y="20"/>
                      <a:pt x="101" y="22"/>
                    </a:cubicBezTo>
                    <a:cubicBezTo>
                      <a:pt x="100" y="23"/>
                      <a:pt x="99" y="23"/>
                      <a:pt x="98" y="23"/>
                    </a:cubicBezTo>
                    <a:cubicBezTo>
                      <a:pt x="98" y="24"/>
                      <a:pt x="98" y="26"/>
                      <a:pt x="97" y="26"/>
                    </a:cubicBezTo>
                    <a:cubicBezTo>
                      <a:pt x="97" y="27"/>
                      <a:pt x="97" y="24"/>
                      <a:pt x="97" y="23"/>
                    </a:cubicBezTo>
                    <a:cubicBezTo>
                      <a:pt x="97" y="22"/>
                      <a:pt x="98" y="21"/>
                      <a:pt x="98" y="20"/>
                    </a:cubicBezTo>
                    <a:cubicBezTo>
                      <a:pt x="97" y="16"/>
                      <a:pt x="93" y="16"/>
                      <a:pt x="90" y="16"/>
                    </a:cubicBezTo>
                    <a:cubicBezTo>
                      <a:pt x="86" y="17"/>
                      <a:pt x="82" y="18"/>
                      <a:pt x="78" y="18"/>
                    </a:cubicBezTo>
                    <a:cubicBezTo>
                      <a:pt x="77" y="19"/>
                      <a:pt x="75" y="19"/>
                      <a:pt x="74" y="19"/>
                    </a:cubicBezTo>
                    <a:cubicBezTo>
                      <a:pt x="74" y="19"/>
                      <a:pt x="69" y="20"/>
                      <a:pt x="69" y="20"/>
                    </a:cubicBezTo>
                    <a:cubicBezTo>
                      <a:pt x="70" y="21"/>
                      <a:pt x="72" y="21"/>
                      <a:pt x="73" y="21"/>
                    </a:cubicBezTo>
                    <a:cubicBezTo>
                      <a:pt x="74" y="22"/>
                      <a:pt x="75" y="23"/>
                      <a:pt x="77" y="24"/>
                    </a:cubicBezTo>
                    <a:cubicBezTo>
                      <a:pt x="77" y="24"/>
                      <a:pt x="81" y="27"/>
                      <a:pt x="81" y="27"/>
                    </a:cubicBezTo>
                    <a:cubicBezTo>
                      <a:pt x="80" y="27"/>
                      <a:pt x="76" y="25"/>
                      <a:pt x="75" y="25"/>
                    </a:cubicBezTo>
                    <a:cubicBezTo>
                      <a:pt x="73" y="24"/>
                      <a:pt x="72" y="22"/>
                      <a:pt x="70" y="22"/>
                    </a:cubicBezTo>
                    <a:cubicBezTo>
                      <a:pt x="67" y="21"/>
                      <a:pt x="64" y="22"/>
                      <a:pt x="61" y="22"/>
                    </a:cubicBezTo>
                    <a:cubicBezTo>
                      <a:pt x="58" y="23"/>
                      <a:pt x="58" y="22"/>
                      <a:pt x="60" y="25"/>
                    </a:cubicBezTo>
                    <a:cubicBezTo>
                      <a:pt x="60" y="26"/>
                      <a:pt x="60" y="29"/>
                      <a:pt x="60" y="30"/>
                    </a:cubicBezTo>
                    <a:cubicBezTo>
                      <a:pt x="60" y="32"/>
                      <a:pt x="56" y="30"/>
                      <a:pt x="55" y="30"/>
                    </a:cubicBezTo>
                    <a:cubicBezTo>
                      <a:pt x="54" y="30"/>
                      <a:pt x="51" y="28"/>
                      <a:pt x="50" y="30"/>
                    </a:cubicBezTo>
                    <a:cubicBezTo>
                      <a:pt x="49" y="31"/>
                      <a:pt x="50" y="34"/>
                      <a:pt x="50" y="34"/>
                    </a:cubicBezTo>
                    <a:cubicBezTo>
                      <a:pt x="49" y="35"/>
                      <a:pt x="48" y="33"/>
                      <a:pt x="47" y="32"/>
                    </a:cubicBezTo>
                    <a:cubicBezTo>
                      <a:pt x="45" y="31"/>
                      <a:pt x="43" y="31"/>
                      <a:pt x="42" y="32"/>
                    </a:cubicBezTo>
                    <a:cubicBezTo>
                      <a:pt x="39" y="34"/>
                      <a:pt x="36" y="36"/>
                      <a:pt x="32" y="37"/>
                    </a:cubicBezTo>
                    <a:cubicBezTo>
                      <a:pt x="31" y="38"/>
                      <a:pt x="34" y="37"/>
                      <a:pt x="32" y="37"/>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0" name="Freeform 777">
                <a:extLst>
                  <a:ext uri="{FF2B5EF4-FFF2-40B4-BE49-F238E27FC236}">
                    <a16:creationId xmlns:a16="http://schemas.microsoft.com/office/drawing/2014/main" id="{C9BDD678-A66D-3C49-A08C-5A23CB707D59}"/>
                  </a:ext>
                </a:extLst>
              </p:cNvPr>
              <p:cNvSpPr>
                <a:spLocks/>
              </p:cNvSpPr>
              <p:nvPr/>
            </p:nvSpPr>
            <p:spPr bwMode="auto">
              <a:xfrm>
                <a:off x="9136497" y="5038398"/>
                <a:ext cx="149682" cy="105124"/>
              </a:xfrm>
              <a:custGeom>
                <a:avLst/>
                <a:gdLst>
                  <a:gd name="T0" fmla="*/ 16 w 16"/>
                  <a:gd name="T1" fmla="*/ 6 h 11"/>
                  <a:gd name="T2" fmla="*/ 11 w 16"/>
                  <a:gd name="T3" fmla="*/ 3 h 11"/>
                  <a:gd name="T4" fmla="*/ 5 w 16"/>
                  <a:gd name="T5" fmla="*/ 1 h 11"/>
                  <a:gd name="T6" fmla="*/ 1 w 16"/>
                  <a:gd name="T7" fmla="*/ 1 h 11"/>
                  <a:gd name="T8" fmla="*/ 3 w 16"/>
                  <a:gd name="T9" fmla="*/ 3 h 11"/>
                  <a:gd name="T10" fmla="*/ 1 w 16"/>
                  <a:gd name="T11" fmla="*/ 7 h 11"/>
                  <a:gd name="T12" fmla="*/ 5 w 16"/>
                  <a:gd name="T13" fmla="*/ 7 h 11"/>
                  <a:gd name="T14" fmla="*/ 5 w 16"/>
                  <a:gd name="T15" fmla="*/ 9 h 11"/>
                  <a:gd name="T16" fmla="*/ 16 w 16"/>
                  <a:gd name="T17" fmla="*/ 6 h 11"/>
                  <a:gd name="T18" fmla="*/ 16 w 16"/>
                  <a:gd name="T1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11">
                    <a:moveTo>
                      <a:pt x="16" y="6"/>
                    </a:moveTo>
                    <a:cubicBezTo>
                      <a:pt x="15" y="5"/>
                      <a:pt x="11" y="3"/>
                      <a:pt x="11" y="3"/>
                    </a:cubicBezTo>
                    <a:cubicBezTo>
                      <a:pt x="9" y="2"/>
                      <a:pt x="7" y="1"/>
                      <a:pt x="5" y="1"/>
                    </a:cubicBezTo>
                    <a:cubicBezTo>
                      <a:pt x="4" y="1"/>
                      <a:pt x="2" y="0"/>
                      <a:pt x="1" y="1"/>
                    </a:cubicBezTo>
                    <a:cubicBezTo>
                      <a:pt x="0" y="2"/>
                      <a:pt x="3" y="3"/>
                      <a:pt x="3" y="3"/>
                    </a:cubicBezTo>
                    <a:cubicBezTo>
                      <a:pt x="2" y="3"/>
                      <a:pt x="0" y="6"/>
                      <a:pt x="1" y="7"/>
                    </a:cubicBezTo>
                    <a:cubicBezTo>
                      <a:pt x="2" y="7"/>
                      <a:pt x="4" y="6"/>
                      <a:pt x="5" y="7"/>
                    </a:cubicBezTo>
                    <a:cubicBezTo>
                      <a:pt x="7" y="8"/>
                      <a:pt x="5" y="8"/>
                      <a:pt x="5" y="9"/>
                    </a:cubicBezTo>
                    <a:cubicBezTo>
                      <a:pt x="5" y="11"/>
                      <a:pt x="16" y="8"/>
                      <a:pt x="16" y="6"/>
                    </a:cubicBezTo>
                    <a:cubicBezTo>
                      <a:pt x="15" y="5"/>
                      <a:pt x="16" y="7"/>
                      <a:pt x="16" y="6"/>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1" name="Freeform 778">
                <a:extLst>
                  <a:ext uri="{FF2B5EF4-FFF2-40B4-BE49-F238E27FC236}">
                    <a16:creationId xmlns:a16="http://schemas.microsoft.com/office/drawing/2014/main" id="{5C68C57B-DCC2-824E-A9BD-789B7C84FABB}"/>
                  </a:ext>
                </a:extLst>
              </p:cNvPr>
              <p:cNvSpPr>
                <a:spLocks/>
              </p:cNvSpPr>
              <p:nvPr/>
            </p:nvSpPr>
            <p:spPr bwMode="auto">
              <a:xfrm>
                <a:off x="9184270" y="4965129"/>
                <a:ext cx="38217" cy="19114"/>
              </a:xfrm>
              <a:custGeom>
                <a:avLst/>
                <a:gdLst>
                  <a:gd name="T0" fmla="*/ 2 w 4"/>
                  <a:gd name="T1" fmla="*/ 2 h 2"/>
                  <a:gd name="T2" fmla="*/ 2 w 4"/>
                  <a:gd name="T3" fmla="*/ 0 h 2"/>
                  <a:gd name="T4" fmla="*/ 2 w 4"/>
                  <a:gd name="T5" fmla="*/ 2 h 2"/>
                </a:gdLst>
                <a:ahLst/>
                <a:cxnLst>
                  <a:cxn ang="0">
                    <a:pos x="T0" y="T1"/>
                  </a:cxn>
                  <a:cxn ang="0">
                    <a:pos x="T2" y="T3"/>
                  </a:cxn>
                  <a:cxn ang="0">
                    <a:pos x="T4" y="T5"/>
                  </a:cxn>
                </a:cxnLst>
                <a:rect l="0" t="0" r="r" b="b"/>
                <a:pathLst>
                  <a:path w="4" h="2">
                    <a:moveTo>
                      <a:pt x="2" y="2"/>
                    </a:moveTo>
                    <a:cubicBezTo>
                      <a:pt x="0" y="2"/>
                      <a:pt x="1" y="0"/>
                      <a:pt x="2" y="0"/>
                    </a:cubicBezTo>
                    <a:cubicBezTo>
                      <a:pt x="3" y="0"/>
                      <a:pt x="4" y="2"/>
                      <a:pt x="2"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2" name="Freeform 779">
                <a:extLst>
                  <a:ext uri="{FF2B5EF4-FFF2-40B4-BE49-F238E27FC236}">
                    <a16:creationId xmlns:a16="http://schemas.microsoft.com/office/drawing/2014/main" id="{9B6CD754-06B7-2F41-AD21-5DC86B8262E0}"/>
                  </a:ext>
                </a:extLst>
              </p:cNvPr>
              <p:cNvSpPr>
                <a:spLocks/>
              </p:cNvSpPr>
              <p:nvPr/>
            </p:nvSpPr>
            <p:spPr bwMode="auto">
              <a:xfrm>
                <a:off x="9212932" y="3859745"/>
                <a:ext cx="101909" cy="57338"/>
              </a:xfrm>
              <a:custGeom>
                <a:avLst/>
                <a:gdLst>
                  <a:gd name="T0" fmla="*/ 9 w 11"/>
                  <a:gd name="T1" fmla="*/ 4 h 6"/>
                  <a:gd name="T2" fmla="*/ 9 w 11"/>
                  <a:gd name="T3" fmla="*/ 5 h 6"/>
                  <a:gd name="T4" fmla="*/ 3 w 11"/>
                  <a:gd name="T5" fmla="*/ 4 h 6"/>
                  <a:gd name="T6" fmla="*/ 2 w 11"/>
                  <a:gd name="T7" fmla="*/ 1 h 6"/>
                  <a:gd name="T8" fmla="*/ 9 w 11"/>
                  <a:gd name="T9" fmla="*/ 4 h 6"/>
                  <a:gd name="T10" fmla="*/ 9 w 11"/>
                  <a:gd name="T11" fmla="*/ 4 h 6"/>
                </a:gdLst>
                <a:ahLst/>
                <a:cxnLst>
                  <a:cxn ang="0">
                    <a:pos x="T0" y="T1"/>
                  </a:cxn>
                  <a:cxn ang="0">
                    <a:pos x="T2" y="T3"/>
                  </a:cxn>
                  <a:cxn ang="0">
                    <a:pos x="T4" y="T5"/>
                  </a:cxn>
                  <a:cxn ang="0">
                    <a:pos x="T6" y="T7"/>
                  </a:cxn>
                  <a:cxn ang="0">
                    <a:pos x="T8" y="T9"/>
                  </a:cxn>
                  <a:cxn ang="0">
                    <a:pos x="T10" y="T11"/>
                  </a:cxn>
                </a:cxnLst>
                <a:rect l="0" t="0" r="r" b="b"/>
                <a:pathLst>
                  <a:path w="11" h="6">
                    <a:moveTo>
                      <a:pt x="9" y="4"/>
                    </a:moveTo>
                    <a:cubicBezTo>
                      <a:pt x="11" y="5"/>
                      <a:pt x="11" y="6"/>
                      <a:pt x="9" y="5"/>
                    </a:cubicBezTo>
                    <a:cubicBezTo>
                      <a:pt x="7" y="5"/>
                      <a:pt x="4" y="4"/>
                      <a:pt x="3" y="4"/>
                    </a:cubicBezTo>
                    <a:cubicBezTo>
                      <a:pt x="2" y="3"/>
                      <a:pt x="0" y="0"/>
                      <a:pt x="2" y="1"/>
                    </a:cubicBezTo>
                    <a:cubicBezTo>
                      <a:pt x="4" y="2"/>
                      <a:pt x="7" y="3"/>
                      <a:pt x="9" y="4"/>
                    </a:cubicBezTo>
                    <a:cubicBezTo>
                      <a:pt x="11" y="5"/>
                      <a:pt x="7" y="3"/>
                      <a:pt x="9"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3" name="Freeform 780">
                <a:extLst>
                  <a:ext uri="{FF2B5EF4-FFF2-40B4-BE49-F238E27FC236}">
                    <a16:creationId xmlns:a16="http://schemas.microsoft.com/office/drawing/2014/main" id="{203FC4FD-4B73-C248-81C2-008F8DC3C128}"/>
                  </a:ext>
                </a:extLst>
              </p:cNvPr>
              <p:cNvSpPr>
                <a:spLocks/>
              </p:cNvSpPr>
              <p:nvPr/>
            </p:nvSpPr>
            <p:spPr bwMode="auto">
              <a:xfrm>
                <a:off x="9528218" y="3776918"/>
                <a:ext cx="76432" cy="44598"/>
              </a:xfrm>
              <a:custGeom>
                <a:avLst/>
                <a:gdLst>
                  <a:gd name="T0" fmla="*/ 8 w 8"/>
                  <a:gd name="T1" fmla="*/ 3 h 5"/>
                  <a:gd name="T2" fmla="*/ 0 w 8"/>
                  <a:gd name="T3" fmla="*/ 2 h 5"/>
                  <a:gd name="T4" fmla="*/ 8 w 8"/>
                  <a:gd name="T5" fmla="*/ 3 h 5"/>
                </a:gdLst>
                <a:ahLst/>
                <a:cxnLst>
                  <a:cxn ang="0">
                    <a:pos x="T0" y="T1"/>
                  </a:cxn>
                  <a:cxn ang="0">
                    <a:pos x="T2" y="T3"/>
                  </a:cxn>
                  <a:cxn ang="0">
                    <a:pos x="T4" y="T5"/>
                  </a:cxn>
                </a:cxnLst>
                <a:rect l="0" t="0" r="r" b="b"/>
                <a:pathLst>
                  <a:path w="8" h="5">
                    <a:moveTo>
                      <a:pt x="8" y="3"/>
                    </a:moveTo>
                    <a:cubicBezTo>
                      <a:pt x="8" y="5"/>
                      <a:pt x="0" y="4"/>
                      <a:pt x="0" y="2"/>
                    </a:cubicBezTo>
                    <a:cubicBezTo>
                      <a:pt x="0" y="0"/>
                      <a:pt x="8" y="1"/>
                      <a:pt x="8"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4" name="Freeform 782">
                <a:extLst>
                  <a:ext uri="{FF2B5EF4-FFF2-40B4-BE49-F238E27FC236}">
                    <a16:creationId xmlns:a16="http://schemas.microsoft.com/office/drawing/2014/main" id="{37225409-8795-4E4D-98DA-EB3C1433B31E}"/>
                  </a:ext>
                </a:extLst>
              </p:cNvPr>
              <p:cNvSpPr>
                <a:spLocks/>
              </p:cNvSpPr>
              <p:nvPr/>
            </p:nvSpPr>
            <p:spPr bwMode="auto">
              <a:xfrm>
                <a:off x="10735225" y="3897972"/>
                <a:ext cx="54142" cy="38227"/>
              </a:xfrm>
              <a:custGeom>
                <a:avLst/>
                <a:gdLst>
                  <a:gd name="T0" fmla="*/ 5 w 6"/>
                  <a:gd name="T1" fmla="*/ 3 h 4"/>
                  <a:gd name="T2" fmla="*/ 1 w 6"/>
                  <a:gd name="T3" fmla="*/ 0 h 4"/>
                  <a:gd name="T4" fmla="*/ 5 w 6"/>
                  <a:gd name="T5" fmla="*/ 3 h 4"/>
                </a:gdLst>
                <a:ahLst/>
                <a:cxnLst>
                  <a:cxn ang="0">
                    <a:pos x="T0" y="T1"/>
                  </a:cxn>
                  <a:cxn ang="0">
                    <a:pos x="T2" y="T3"/>
                  </a:cxn>
                  <a:cxn ang="0">
                    <a:pos x="T4" y="T5"/>
                  </a:cxn>
                </a:cxnLst>
                <a:rect l="0" t="0" r="r" b="b"/>
                <a:pathLst>
                  <a:path w="6" h="4">
                    <a:moveTo>
                      <a:pt x="5" y="3"/>
                    </a:moveTo>
                    <a:cubicBezTo>
                      <a:pt x="4" y="4"/>
                      <a:pt x="0" y="0"/>
                      <a:pt x="1" y="0"/>
                    </a:cubicBezTo>
                    <a:cubicBezTo>
                      <a:pt x="2" y="0"/>
                      <a:pt x="6" y="2"/>
                      <a:pt x="5" y="3"/>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5" name="Freeform 783">
                <a:extLst>
                  <a:ext uri="{FF2B5EF4-FFF2-40B4-BE49-F238E27FC236}">
                    <a16:creationId xmlns:a16="http://schemas.microsoft.com/office/drawing/2014/main" id="{275BEB78-1DF2-0649-9BEE-D2ECBC570C17}"/>
                  </a:ext>
                </a:extLst>
              </p:cNvPr>
              <p:cNvSpPr>
                <a:spLocks/>
              </p:cNvSpPr>
              <p:nvPr/>
            </p:nvSpPr>
            <p:spPr bwMode="auto">
              <a:xfrm>
                <a:off x="10808475" y="3936197"/>
                <a:ext cx="47770" cy="9558"/>
              </a:xfrm>
              <a:custGeom>
                <a:avLst/>
                <a:gdLst>
                  <a:gd name="T0" fmla="*/ 4 w 5"/>
                  <a:gd name="T1" fmla="*/ 1 h 1"/>
                  <a:gd name="T2" fmla="*/ 2 w 5"/>
                  <a:gd name="T3" fmla="*/ 0 h 1"/>
                  <a:gd name="T4" fmla="*/ 4 w 5"/>
                  <a:gd name="T5" fmla="*/ 1 h 1"/>
                </a:gdLst>
                <a:ahLst/>
                <a:cxnLst>
                  <a:cxn ang="0">
                    <a:pos x="T0" y="T1"/>
                  </a:cxn>
                  <a:cxn ang="0">
                    <a:pos x="T2" y="T3"/>
                  </a:cxn>
                  <a:cxn ang="0">
                    <a:pos x="T4" y="T5"/>
                  </a:cxn>
                </a:cxnLst>
                <a:rect l="0" t="0" r="r" b="b"/>
                <a:pathLst>
                  <a:path w="5" h="1">
                    <a:moveTo>
                      <a:pt x="4" y="1"/>
                    </a:moveTo>
                    <a:cubicBezTo>
                      <a:pt x="2" y="1"/>
                      <a:pt x="0" y="0"/>
                      <a:pt x="2" y="0"/>
                    </a:cubicBezTo>
                    <a:cubicBezTo>
                      <a:pt x="3" y="0"/>
                      <a:pt x="5" y="1"/>
                      <a:pt x="4"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6" name="Freeform 784">
                <a:extLst>
                  <a:ext uri="{FF2B5EF4-FFF2-40B4-BE49-F238E27FC236}">
                    <a16:creationId xmlns:a16="http://schemas.microsoft.com/office/drawing/2014/main" id="{DFB49345-9A63-9643-804F-D9D9BC3DB56A}"/>
                  </a:ext>
                </a:extLst>
              </p:cNvPr>
              <p:cNvSpPr>
                <a:spLocks/>
              </p:cNvSpPr>
              <p:nvPr/>
            </p:nvSpPr>
            <p:spPr bwMode="auto">
              <a:xfrm>
                <a:off x="10808475" y="4468183"/>
                <a:ext cx="38217" cy="66896"/>
              </a:xfrm>
              <a:custGeom>
                <a:avLst/>
                <a:gdLst>
                  <a:gd name="T0" fmla="*/ 2 w 4"/>
                  <a:gd name="T1" fmla="*/ 0 h 7"/>
                  <a:gd name="T2" fmla="*/ 4 w 4"/>
                  <a:gd name="T3" fmla="*/ 7 h 7"/>
                  <a:gd name="T4" fmla="*/ 2 w 4"/>
                  <a:gd name="T5" fmla="*/ 0 h 7"/>
                </a:gdLst>
                <a:ahLst/>
                <a:cxnLst>
                  <a:cxn ang="0">
                    <a:pos x="T0" y="T1"/>
                  </a:cxn>
                  <a:cxn ang="0">
                    <a:pos x="T2" y="T3"/>
                  </a:cxn>
                  <a:cxn ang="0">
                    <a:pos x="T4" y="T5"/>
                  </a:cxn>
                </a:cxnLst>
                <a:rect l="0" t="0" r="r" b="b"/>
                <a:pathLst>
                  <a:path w="4" h="7">
                    <a:moveTo>
                      <a:pt x="2" y="0"/>
                    </a:moveTo>
                    <a:cubicBezTo>
                      <a:pt x="0" y="0"/>
                      <a:pt x="3" y="7"/>
                      <a:pt x="4" y="7"/>
                    </a:cubicBezTo>
                    <a:cubicBezTo>
                      <a:pt x="4" y="7"/>
                      <a:pt x="3" y="0"/>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7" name="Freeform 785">
                <a:extLst>
                  <a:ext uri="{FF2B5EF4-FFF2-40B4-BE49-F238E27FC236}">
                    <a16:creationId xmlns:a16="http://schemas.microsoft.com/office/drawing/2014/main" id="{5927DB09-5640-5641-B41E-4BF2AACF0DCA}"/>
                  </a:ext>
                </a:extLst>
              </p:cNvPr>
              <p:cNvSpPr>
                <a:spLocks/>
              </p:cNvSpPr>
              <p:nvPr/>
            </p:nvSpPr>
            <p:spPr bwMode="auto">
              <a:xfrm>
                <a:off x="10827583" y="4589232"/>
                <a:ext cx="63695" cy="38227"/>
              </a:xfrm>
              <a:custGeom>
                <a:avLst/>
                <a:gdLst>
                  <a:gd name="T0" fmla="*/ 1 w 7"/>
                  <a:gd name="T1" fmla="*/ 0 h 4"/>
                  <a:gd name="T2" fmla="*/ 1 w 7"/>
                  <a:gd name="T3" fmla="*/ 4 h 4"/>
                  <a:gd name="T4" fmla="*/ 5 w 7"/>
                  <a:gd name="T5" fmla="*/ 4 h 4"/>
                  <a:gd name="T6" fmla="*/ 1 w 7"/>
                  <a:gd name="T7" fmla="*/ 0 h 4"/>
                  <a:gd name="T8" fmla="*/ 1 w 7"/>
                  <a:gd name="T9" fmla="*/ 0 h 4"/>
                </a:gdLst>
                <a:ahLst/>
                <a:cxnLst>
                  <a:cxn ang="0">
                    <a:pos x="T0" y="T1"/>
                  </a:cxn>
                  <a:cxn ang="0">
                    <a:pos x="T2" y="T3"/>
                  </a:cxn>
                  <a:cxn ang="0">
                    <a:pos x="T4" y="T5"/>
                  </a:cxn>
                  <a:cxn ang="0">
                    <a:pos x="T6" y="T7"/>
                  </a:cxn>
                  <a:cxn ang="0">
                    <a:pos x="T8" y="T9"/>
                  </a:cxn>
                </a:cxnLst>
                <a:rect l="0" t="0" r="r" b="b"/>
                <a:pathLst>
                  <a:path w="7" h="4">
                    <a:moveTo>
                      <a:pt x="1" y="0"/>
                    </a:moveTo>
                    <a:cubicBezTo>
                      <a:pt x="0" y="1"/>
                      <a:pt x="0" y="3"/>
                      <a:pt x="1" y="4"/>
                    </a:cubicBezTo>
                    <a:cubicBezTo>
                      <a:pt x="2" y="4"/>
                      <a:pt x="3" y="4"/>
                      <a:pt x="5" y="4"/>
                    </a:cubicBezTo>
                    <a:cubicBezTo>
                      <a:pt x="7" y="4"/>
                      <a:pt x="1" y="0"/>
                      <a:pt x="1" y="0"/>
                    </a:cubicBezTo>
                    <a:cubicBezTo>
                      <a:pt x="0" y="1"/>
                      <a:pt x="1" y="0"/>
                      <a:pt x="1"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8" name="Freeform 786">
                <a:extLst>
                  <a:ext uri="{FF2B5EF4-FFF2-40B4-BE49-F238E27FC236}">
                    <a16:creationId xmlns:a16="http://schemas.microsoft.com/office/drawing/2014/main" id="{AE6EB726-3DB1-7D4B-86C9-7384C8E7C024}"/>
                  </a:ext>
                </a:extLst>
              </p:cNvPr>
              <p:cNvSpPr>
                <a:spLocks/>
              </p:cNvSpPr>
              <p:nvPr/>
            </p:nvSpPr>
            <p:spPr bwMode="auto">
              <a:xfrm>
                <a:off x="10566434" y="4796294"/>
                <a:ext cx="159235" cy="92380"/>
              </a:xfrm>
              <a:custGeom>
                <a:avLst/>
                <a:gdLst>
                  <a:gd name="T0" fmla="*/ 0 w 17"/>
                  <a:gd name="T1" fmla="*/ 4 h 10"/>
                  <a:gd name="T2" fmla="*/ 10 w 17"/>
                  <a:gd name="T3" fmla="*/ 2 h 10"/>
                  <a:gd name="T4" fmla="*/ 8 w 17"/>
                  <a:gd name="T5" fmla="*/ 4 h 10"/>
                  <a:gd name="T6" fmla="*/ 12 w 17"/>
                  <a:gd name="T7" fmla="*/ 7 h 10"/>
                  <a:gd name="T8" fmla="*/ 9 w 17"/>
                  <a:gd name="T9" fmla="*/ 7 h 10"/>
                  <a:gd name="T10" fmla="*/ 11 w 17"/>
                  <a:gd name="T11" fmla="*/ 10 h 10"/>
                  <a:gd name="T12" fmla="*/ 8 w 17"/>
                  <a:gd name="T13" fmla="*/ 9 h 10"/>
                  <a:gd name="T14" fmla="*/ 0 w 17"/>
                  <a:gd name="T15" fmla="*/ 4 h 10"/>
                  <a:gd name="T16" fmla="*/ 0 w 17"/>
                  <a:gd name="T1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0">
                    <a:moveTo>
                      <a:pt x="0" y="4"/>
                    </a:moveTo>
                    <a:cubicBezTo>
                      <a:pt x="1" y="0"/>
                      <a:pt x="7" y="2"/>
                      <a:pt x="10" y="2"/>
                    </a:cubicBezTo>
                    <a:cubicBezTo>
                      <a:pt x="17" y="3"/>
                      <a:pt x="8" y="4"/>
                      <a:pt x="8" y="4"/>
                    </a:cubicBezTo>
                    <a:cubicBezTo>
                      <a:pt x="8" y="6"/>
                      <a:pt x="12" y="5"/>
                      <a:pt x="12" y="7"/>
                    </a:cubicBezTo>
                    <a:cubicBezTo>
                      <a:pt x="12" y="7"/>
                      <a:pt x="10" y="6"/>
                      <a:pt x="9" y="7"/>
                    </a:cubicBezTo>
                    <a:cubicBezTo>
                      <a:pt x="9" y="7"/>
                      <a:pt x="12" y="10"/>
                      <a:pt x="11" y="10"/>
                    </a:cubicBezTo>
                    <a:cubicBezTo>
                      <a:pt x="10" y="10"/>
                      <a:pt x="9" y="9"/>
                      <a:pt x="8" y="9"/>
                    </a:cubicBezTo>
                    <a:cubicBezTo>
                      <a:pt x="6" y="8"/>
                      <a:pt x="0" y="7"/>
                      <a:pt x="0" y="4"/>
                    </a:cubicBezTo>
                    <a:cubicBezTo>
                      <a:pt x="0" y="3"/>
                      <a:pt x="0" y="7"/>
                      <a:pt x="0"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09" name="Freeform 787">
                <a:extLst>
                  <a:ext uri="{FF2B5EF4-FFF2-40B4-BE49-F238E27FC236}">
                    <a16:creationId xmlns:a16="http://schemas.microsoft.com/office/drawing/2014/main" id="{3FCC88E3-0519-D441-B40D-E763ABB7A613}"/>
                  </a:ext>
                </a:extLst>
              </p:cNvPr>
              <p:cNvSpPr>
                <a:spLocks/>
              </p:cNvSpPr>
              <p:nvPr/>
            </p:nvSpPr>
            <p:spPr bwMode="auto">
              <a:xfrm>
                <a:off x="10537774" y="4777183"/>
                <a:ext cx="82803" cy="28672"/>
              </a:xfrm>
              <a:custGeom>
                <a:avLst/>
                <a:gdLst>
                  <a:gd name="T0" fmla="*/ 8 w 9"/>
                  <a:gd name="T1" fmla="*/ 1 h 3"/>
                  <a:gd name="T2" fmla="*/ 5 w 9"/>
                  <a:gd name="T3" fmla="*/ 0 h 3"/>
                  <a:gd name="T4" fmla="*/ 0 w 9"/>
                  <a:gd name="T5" fmla="*/ 0 h 3"/>
                  <a:gd name="T6" fmla="*/ 8 w 9"/>
                  <a:gd name="T7" fmla="*/ 1 h 3"/>
                  <a:gd name="T8" fmla="*/ 8 w 9"/>
                  <a:gd name="T9" fmla="*/ 1 h 3"/>
                </a:gdLst>
                <a:ahLst/>
                <a:cxnLst>
                  <a:cxn ang="0">
                    <a:pos x="T0" y="T1"/>
                  </a:cxn>
                  <a:cxn ang="0">
                    <a:pos x="T2" y="T3"/>
                  </a:cxn>
                  <a:cxn ang="0">
                    <a:pos x="T4" y="T5"/>
                  </a:cxn>
                  <a:cxn ang="0">
                    <a:pos x="T6" y="T7"/>
                  </a:cxn>
                  <a:cxn ang="0">
                    <a:pos x="T8" y="T9"/>
                  </a:cxn>
                </a:cxnLst>
                <a:rect l="0" t="0" r="r" b="b"/>
                <a:pathLst>
                  <a:path w="9" h="3">
                    <a:moveTo>
                      <a:pt x="8" y="1"/>
                    </a:moveTo>
                    <a:cubicBezTo>
                      <a:pt x="9" y="1"/>
                      <a:pt x="5" y="0"/>
                      <a:pt x="5" y="0"/>
                    </a:cubicBezTo>
                    <a:cubicBezTo>
                      <a:pt x="3" y="0"/>
                      <a:pt x="1" y="0"/>
                      <a:pt x="0" y="0"/>
                    </a:cubicBezTo>
                    <a:cubicBezTo>
                      <a:pt x="2" y="0"/>
                      <a:pt x="6" y="3"/>
                      <a:pt x="8" y="1"/>
                    </a:cubicBezTo>
                    <a:cubicBezTo>
                      <a:pt x="9" y="1"/>
                      <a:pt x="7" y="2"/>
                      <a:pt x="8"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0" name="Freeform 788">
                <a:extLst>
                  <a:ext uri="{FF2B5EF4-FFF2-40B4-BE49-F238E27FC236}">
                    <a16:creationId xmlns:a16="http://schemas.microsoft.com/office/drawing/2014/main" id="{60CDCA13-8F11-BC43-AF35-BE90FFAD8321}"/>
                  </a:ext>
                </a:extLst>
              </p:cNvPr>
              <p:cNvSpPr>
                <a:spLocks/>
              </p:cNvSpPr>
              <p:nvPr/>
            </p:nvSpPr>
            <p:spPr bwMode="auto">
              <a:xfrm>
                <a:off x="10407201" y="4974685"/>
                <a:ext cx="121018" cy="63711"/>
              </a:xfrm>
              <a:custGeom>
                <a:avLst/>
                <a:gdLst>
                  <a:gd name="T0" fmla="*/ 12 w 13"/>
                  <a:gd name="T1" fmla="*/ 4 h 7"/>
                  <a:gd name="T2" fmla="*/ 12 w 13"/>
                  <a:gd name="T3" fmla="*/ 1 h 7"/>
                  <a:gd name="T4" fmla="*/ 7 w 13"/>
                  <a:gd name="T5" fmla="*/ 2 h 7"/>
                  <a:gd name="T6" fmla="*/ 3 w 13"/>
                  <a:gd name="T7" fmla="*/ 3 h 7"/>
                  <a:gd name="T8" fmla="*/ 0 w 13"/>
                  <a:gd name="T9" fmla="*/ 5 h 7"/>
                  <a:gd name="T10" fmla="*/ 12 w 13"/>
                  <a:gd name="T11" fmla="*/ 4 h 7"/>
                  <a:gd name="T12" fmla="*/ 12 w 13"/>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2" y="4"/>
                    </a:moveTo>
                    <a:cubicBezTo>
                      <a:pt x="13" y="3"/>
                      <a:pt x="13" y="2"/>
                      <a:pt x="12" y="1"/>
                    </a:cubicBezTo>
                    <a:cubicBezTo>
                      <a:pt x="11" y="0"/>
                      <a:pt x="8" y="1"/>
                      <a:pt x="7" y="2"/>
                    </a:cubicBezTo>
                    <a:cubicBezTo>
                      <a:pt x="6" y="2"/>
                      <a:pt x="4" y="2"/>
                      <a:pt x="3" y="3"/>
                    </a:cubicBezTo>
                    <a:cubicBezTo>
                      <a:pt x="3" y="3"/>
                      <a:pt x="0" y="5"/>
                      <a:pt x="0" y="5"/>
                    </a:cubicBezTo>
                    <a:cubicBezTo>
                      <a:pt x="3" y="7"/>
                      <a:pt x="10" y="6"/>
                      <a:pt x="12" y="4"/>
                    </a:cubicBezTo>
                    <a:cubicBezTo>
                      <a:pt x="13" y="3"/>
                      <a:pt x="9" y="6"/>
                      <a:pt x="12" y="4"/>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1" name="Freeform 789">
                <a:extLst>
                  <a:ext uri="{FF2B5EF4-FFF2-40B4-BE49-F238E27FC236}">
                    <a16:creationId xmlns:a16="http://schemas.microsoft.com/office/drawing/2014/main" id="{CDBAB6C6-BCA0-7747-998D-C4D187F910E2}"/>
                  </a:ext>
                </a:extLst>
              </p:cNvPr>
              <p:cNvSpPr>
                <a:spLocks/>
              </p:cNvSpPr>
              <p:nvPr/>
            </p:nvSpPr>
            <p:spPr bwMode="auto">
              <a:xfrm>
                <a:off x="9305288" y="5067067"/>
                <a:ext cx="38217" cy="57338"/>
              </a:xfrm>
              <a:custGeom>
                <a:avLst/>
                <a:gdLst>
                  <a:gd name="T0" fmla="*/ 3 w 4"/>
                  <a:gd name="T1" fmla="*/ 2 h 6"/>
                  <a:gd name="T2" fmla="*/ 1 w 4"/>
                  <a:gd name="T3" fmla="*/ 3 h 6"/>
                  <a:gd name="T4" fmla="*/ 3 w 4"/>
                  <a:gd name="T5" fmla="*/ 2 h 6"/>
                  <a:gd name="T6" fmla="*/ 3 w 4"/>
                  <a:gd name="T7" fmla="*/ 2 h 6"/>
                </a:gdLst>
                <a:ahLst/>
                <a:cxnLst>
                  <a:cxn ang="0">
                    <a:pos x="T0" y="T1"/>
                  </a:cxn>
                  <a:cxn ang="0">
                    <a:pos x="T2" y="T3"/>
                  </a:cxn>
                  <a:cxn ang="0">
                    <a:pos x="T4" y="T5"/>
                  </a:cxn>
                  <a:cxn ang="0">
                    <a:pos x="T6" y="T7"/>
                  </a:cxn>
                </a:cxnLst>
                <a:rect l="0" t="0" r="r" b="b"/>
                <a:pathLst>
                  <a:path w="4" h="6">
                    <a:moveTo>
                      <a:pt x="3" y="2"/>
                    </a:moveTo>
                    <a:cubicBezTo>
                      <a:pt x="2" y="0"/>
                      <a:pt x="1" y="1"/>
                      <a:pt x="1" y="3"/>
                    </a:cubicBezTo>
                    <a:cubicBezTo>
                      <a:pt x="0" y="6"/>
                      <a:pt x="4" y="4"/>
                      <a:pt x="3" y="2"/>
                    </a:cubicBezTo>
                    <a:cubicBezTo>
                      <a:pt x="3" y="2"/>
                      <a:pt x="4" y="3"/>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2" name="Freeform 790">
                <a:extLst>
                  <a:ext uri="{FF2B5EF4-FFF2-40B4-BE49-F238E27FC236}">
                    <a16:creationId xmlns:a16="http://schemas.microsoft.com/office/drawing/2014/main" id="{4C150778-48FA-2C45-B81F-F420E4813261}"/>
                  </a:ext>
                </a:extLst>
              </p:cNvPr>
              <p:cNvSpPr>
                <a:spLocks/>
              </p:cNvSpPr>
              <p:nvPr/>
            </p:nvSpPr>
            <p:spPr bwMode="auto">
              <a:xfrm>
                <a:off x="9222485" y="4946016"/>
                <a:ext cx="35033" cy="38227"/>
              </a:xfrm>
              <a:custGeom>
                <a:avLst/>
                <a:gdLst>
                  <a:gd name="T0" fmla="*/ 4 w 4"/>
                  <a:gd name="T1" fmla="*/ 2 h 4"/>
                  <a:gd name="T2" fmla="*/ 1 w 4"/>
                  <a:gd name="T3" fmla="*/ 1 h 4"/>
                  <a:gd name="T4" fmla="*/ 4 w 4"/>
                  <a:gd name="T5" fmla="*/ 2 h 4"/>
                  <a:gd name="T6" fmla="*/ 4 w 4"/>
                  <a:gd name="T7" fmla="*/ 2 h 4"/>
                </a:gdLst>
                <a:ahLst/>
                <a:cxnLst>
                  <a:cxn ang="0">
                    <a:pos x="T0" y="T1"/>
                  </a:cxn>
                  <a:cxn ang="0">
                    <a:pos x="T2" y="T3"/>
                  </a:cxn>
                  <a:cxn ang="0">
                    <a:pos x="T4" y="T5"/>
                  </a:cxn>
                  <a:cxn ang="0">
                    <a:pos x="T6" y="T7"/>
                  </a:cxn>
                </a:cxnLst>
                <a:rect l="0" t="0" r="r" b="b"/>
                <a:pathLst>
                  <a:path w="4" h="4">
                    <a:moveTo>
                      <a:pt x="4" y="2"/>
                    </a:moveTo>
                    <a:cubicBezTo>
                      <a:pt x="3" y="2"/>
                      <a:pt x="1" y="0"/>
                      <a:pt x="1" y="1"/>
                    </a:cubicBezTo>
                    <a:cubicBezTo>
                      <a:pt x="0" y="4"/>
                      <a:pt x="4" y="2"/>
                      <a:pt x="4" y="2"/>
                    </a:cubicBezTo>
                    <a:cubicBezTo>
                      <a:pt x="3" y="2"/>
                      <a:pt x="4" y="2"/>
                      <a:pt x="4"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3" name="Freeform 791">
                <a:extLst>
                  <a:ext uri="{FF2B5EF4-FFF2-40B4-BE49-F238E27FC236}">
                    <a16:creationId xmlns:a16="http://schemas.microsoft.com/office/drawing/2014/main" id="{CB47BCED-71D8-1440-83D6-EDC10A9EF8F4}"/>
                  </a:ext>
                </a:extLst>
              </p:cNvPr>
              <p:cNvSpPr>
                <a:spLocks/>
              </p:cNvSpPr>
              <p:nvPr/>
            </p:nvSpPr>
            <p:spPr bwMode="auto">
              <a:xfrm>
                <a:off x="10865798" y="4347133"/>
                <a:ext cx="19109" cy="19114"/>
              </a:xfrm>
              <a:custGeom>
                <a:avLst/>
                <a:gdLst>
                  <a:gd name="T0" fmla="*/ 2 w 2"/>
                  <a:gd name="T1" fmla="*/ 1 h 2"/>
                  <a:gd name="T2" fmla="*/ 0 w 2"/>
                  <a:gd name="T3" fmla="*/ 2 h 2"/>
                  <a:gd name="T4" fmla="*/ 2 w 2"/>
                  <a:gd name="T5" fmla="*/ 1 h 2"/>
                </a:gdLst>
                <a:ahLst/>
                <a:cxnLst>
                  <a:cxn ang="0">
                    <a:pos x="T0" y="T1"/>
                  </a:cxn>
                  <a:cxn ang="0">
                    <a:pos x="T2" y="T3"/>
                  </a:cxn>
                  <a:cxn ang="0">
                    <a:pos x="T4" y="T5"/>
                  </a:cxn>
                </a:cxnLst>
                <a:rect l="0" t="0" r="r" b="b"/>
                <a:pathLst>
                  <a:path w="2" h="2">
                    <a:moveTo>
                      <a:pt x="2" y="1"/>
                    </a:moveTo>
                    <a:cubicBezTo>
                      <a:pt x="2" y="0"/>
                      <a:pt x="0" y="1"/>
                      <a:pt x="0" y="2"/>
                    </a:cubicBezTo>
                    <a:cubicBezTo>
                      <a:pt x="1" y="2"/>
                      <a:pt x="2" y="2"/>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4" name="Freeform 792">
                <a:extLst>
                  <a:ext uri="{FF2B5EF4-FFF2-40B4-BE49-F238E27FC236}">
                    <a16:creationId xmlns:a16="http://schemas.microsoft.com/office/drawing/2014/main" id="{452F1D1F-B3AD-BE42-A716-AE26727E0D2B}"/>
                  </a:ext>
                </a:extLst>
              </p:cNvPr>
              <p:cNvSpPr>
                <a:spLocks/>
              </p:cNvSpPr>
              <p:nvPr/>
            </p:nvSpPr>
            <p:spPr bwMode="auto">
              <a:xfrm>
                <a:off x="10789366" y="4245195"/>
                <a:ext cx="28664" cy="15928"/>
              </a:xfrm>
              <a:custGeom>
                <a:avLst/>
                <a:gdLst>
                  <a:gd name="T0" fmla="*/ 2 w 3"/>
                  <a:gd name="T1" fmla="*/ 0 h 2"/>
                  <a:gd name="T2" fmla="*/ 1 w 3"/>
                  <a:gd name="T3" fmla="*/ 1 h 2"/>
                  <a:gd name="T4" fmla="*/ 2 w 3"/>
                  <a:gd name="T5" fmla="*/ 0 h 2"/>
                </a:gdLst>
                <a:ahLst/>
                <a:cxnLst>
                  <a:cxn ang="0">
                    <a:pos x="T0" y="T1"/>
                  </a:cxn>
                  <a:cxn ang="0">
                    <a:pos x="T2" y="T3"/>
                  </a:cxn>
                  <a:cxn ang="0">
                    <a:pos x="T4" y="T5"/>
                  </a:cxn>
                </a:cxnLst>
                <a:rect l="0" t="0" r="r" b="b"/>
                <a:pathLst>
                  <a:path w="3" h="2">
                    <a:moveTo>
                      <a:pt x="2" y="0"/>
                    </a:moveTo>
                    <a:cubicBezTo>
                      <a:pt x="1" y="0"/>
                      <a:pt x="0" y="1"/>
                      <a:pt x="1" y="1"/>
                    </a:cubicBezTo>
                    <a:cubicBezTo>
                      <a:pt x="2" y="2"/>
                      <a:pt x="3" y="1"/>
                      <a:pt x="2"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5" name="Freeform 793">
                <a:extLst>
                  <a:ext uri="{FF2B5EF4-FFF2-40B4-BE49-F238E27FC236}">
                    <a16:creationId xmlns:a16="http://schemas.microsoft.com/office/drawing/2014/main" id="{50FCB546-7A5D-A440-8F55-622E62596C88}"/>
                  </a:ext>
                </a:extLst>
              </p:cNvPr>
              <p:cNvSpPr>
                <a:spLocks/>
              </p:cNvSpPr>
              <p:nvPr/>
            </p:nvSpPr>
            <p:spPr bwMode="auto">
              <a:xfrm>
                <a:off x="10865798" y="4206968"/>
                <a:ext cx="25477" cy="28672"/>
              </a:xfrm>
              <a:custGeom>
                <a:avLst/>
                <a:gdLst>
                  <a:gd name="T0" fmla="*/ 2 w 3"/>
                  <a:gd name="T1" fmla="*/ 1 h 3"/>
                  <a:gd name="T2" fmla="*/ 1 w 3"/>
                  <a:gd name="T3" fmla="*/ 2 h 3"/>
                  <a:gd name="T4" fmla="*/ 2 w 3"/>
                  <a:gd name="T5" fmla="*/ 1 h 3"/>
                </a:gdLst>
                <a:ahLst/>
                <a:cxnLst>
                  <a:cxn ang="0">
                    <a:pos x="T0" y="T1"/>
                  </a:cxn>
                  <a:cxn ang="0">
                    <a:pos x="T2" y="T3"/>
                  </a:cxn>
                  <a:cxn ang="0">
                    <a:pos x="T4" y="T5"/>
                  </a:cxn>
                </a:cxnLst>
                <a:rect l="0" t="0" r="r" b="b"/>
                <a:pathLst>
                  <a:path w="3" h="3">
                    <a:moveTo>
                      <a:pt x="2" y="1"/>
                    </a:moveTo>
                    <a:cubicBezTo>
                      <a:pt x="2" y="0"/>
                      <a:pt x="0" y="1"/>
                      <a:pt x="1" y="2"/>
                    </a:cubicBezTo>
                    <a:cubicBezTo>
                      <a:pt x="1" y="3"/>
                      <a:pt x="3" y="1"/>
                      <a:pt x="2"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6" name="Freeform 794">
                <a:extLst>
                  <a:ext uri="{FF2B5EF4-FFF2-40B4-BE49-F238E27FC236}">
                    <a16:creationId xmlns:a16="http://schemas.microsoft.com/office/drawing/2014/main" id="{668CB123-CD56-8442-BE57-7815A4AB1E6F}"/>
                  </a:ext>
                </a:extLst>
              </p:cNvPr>
              <p:cNvSpPr>
                <a:spLocks/>
              </p:cNvSpPr>
              <p:nvPr/>
            </p:nvSpPr>
            <p:spPr bwMode="auto">
              <a:xfrm>
                <a:off x="8314841" y="4394916"/>
                <a:ext cx="47770" cy="6370"/>
              </a:xfrm>
              <a:custGeom>
                <a:avLst/>
                <a:gdLst>
                  <a:gd name="T0" fmla="*/ 5 w 5"/>
                  <a:gd name="T1" fmla="*/ 1 h 1"/>
                  <a:gd name="T2" fmla="*/ 1 w 5"/>
                  <a:gd name="T3" fmla="*/ 0 h 1"/>
                  <a:gd name="T4" fmla="*/ 5 w 5"/>
                  <a:gd name="T5" fmla="*/ 1 h 1"/>
                </a:gdLst>
                <a:ahLst/>
                <a:cxnLst>
                  <a:cxn ang="0">
                    <a:pos x="T0" y="T1"/>
                  </a:cxn>
                  <a:cxn ang="0">
                    <a:pos x="T2" y="T3"/>
                  </a:cxn>
                  <a:cxn ang="0">
                    <a:pos x="T4" y="T5"/>
                  </a:cxn>
                </a:cxnLst>
                <a:rect l="0" t="0" r="r" b="b"/>
                <a:pathLst>
                  <a:path w="5" h="1">
                    <a:moveTo>
                      <a:pt x="5" y="1"/>
                    </a:moveTo>
                    <a:cubicBezTo>
                      <a:pt x="4" y="0"/>
                      <a:pt x="0" y="0"/>
                      <a:pt x="1" y="0"/>
                    </a:cubicBezTo>
                    <a:cubicBezTo>
                      <a:pt x="2" y="1"/>
                      <a:pt x="5" y="1"/>
                      <a:pt x="5" y="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7" name="Freeform 795">
                <a:extLst>
                  <a:ext uri="{FF2B5EF4-FFF2-40B4-BE49-F238E27FC236}">
                    <a16:creationId xmlns:a16="http://schemas.microsoft.com/office/drawing/2014/main" id="{212F6968-E059-2046-8018-2C4746364C26}"/>
                  </a:ext>
                </a:extLst>
              </p:cNvPr>
              <p:cNvSpPr>
                <a:spLocks/>
              </p:cNvSpPr>
              <p:nvPr/>
            </p:nvSpPr>
            <p:spPr bwMode="auto">
              <a:xfrm>
                <a:off x="8372164" y="4394916"/>
                <a:ext cx="57323" cy="0"/>
              </a:xfrm>
              <a:custGeom>
                <a:avLst/>
                <a:gdLst>
                  <a:gd name="T0" fmla="*/ 5 w 6"/>
                  <a:gd name="T1" fmla="*/ 1 w 6"/>
                  <a:gd name="T2" fmla="*/ 5 w 6"/>
                </a:gdLst>
                <a:ahLst/>
                <a:cxnLst>
                  <a:cxn ang="0">
                    <a:pos x="T0" y="0"/>
                  </a:cxn>
                  <a:cxn ang="0">
                    <a:pos x="T1" y="0"/>
                  </a:cxn>
                  <a:cxn ang="0">
                    <a:pos x="T2" y="0"/>
                  </a:cxn>
                </a:cxnLst>
                <a:rect l="0" t="0" r="r" b="b"/>
                <a:pathLst>
                  <a:path w="6">
                    <a:moveTo>
                      <a:pt x="5" y="0"/>
                    </a:moveTo>
                    <a:cubicBezTo>
                      <a:pt x="4" y="0"/>
                      <a:pt x="0" y="0"/>
                      <a:pt x="1" y="0"/>
                    </a:cubicBezTo>
                    <a:cubicBezTo>
                      <a:pt x="2" y="0"/>
                      <a:pt x="6" y="0"/>
                      <a:pt x="5" y="0"/>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8" name="Freeform 796">
                <a:extLst>
                  <a:ext uri="{FF2B5EF4-FFF2-40B4-BE49-F238E27FC236}">
                    <a16:creationId xmlns:a16="http://schemas.microsoft.com/office/drawing/2014/main" id="{E492CC98-4779-924F-954B-260D69069979}"/>
                  </a:ext>
                </a:extLst>
              </p:cNvPr>
              <p:cNvSpPr>
                <a:spLocks/>
              </p:cNvSpPr>
              <p:nvPr/>
            </p:nvSpPr>
            <p:spPr bwMode="auto">
              <a:xfrm>
                <a:off x="9445417" y="3802407"/>
                <a:ext cx="38217" cy="19114"/>
              </a:xfrm>
              <a:custGeom>
                <a:avLst/>
                <a:gdLst>
                  <a:gd name="T0" fmla="*/ 3 w 4"/>
                  <a:gd name="T1" fmla="*/ 2 h 2"/>
                  <a:gd name="T2" fmla="*/ 2 w 4"/>
                  <a:gd name="T3" fmla="*/ 0 h 2"/>
                  <a:gd name="T4" fmla="*/ 3 w 4"/>
                  <a:gd name="T5" fmla="*/ 2 h 2"/>
                </a:gdLst>
                <a:ahLst/>
                <a:cxnLst>
                  <a:cxn ang="0">
                    <a:pos x="T0" y="T1"/>
                  </a:cxn>
                  <a:cxn ang="0">
                    <a:pos x="T2" y="T3"/>
                  </a:cxn>
                  <a:cxn ang="0">
                    <a:pos x="T4" y="T5"/>
                  </a:cxn>
                </a:cxnLst>
                <a:rect l="0" t="0" r="r" b="b"/>
                <a:pathLst>
                  <a:path w="4" h="2">
                    <a:moveTo>
                      <a:pt x="3" y="2"/>
                    </a:moveTo>
                    <a:cubicBezTo>
                      <a:pt x="1" y="2"/>
                      <a:pt x="0" y="0"/>
                      <a:pt x="2" y="0"/>
                    </a:cubicBezTo>
                    <a:cubicBezTo>
                      <a:pt x="3" y="0"/>
                      <a:pt x="4" y="2"/>
                      <a:pt x="3" y="2"/>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sp>
            <p:nvSpPr>
              <p:cNvPr id="519" name="Freeform 797">
                <a:extLst>
                  <a:ext uri="{FF2B5EF4-FFF2-40B4-BE49-F238E27FC236}">
                    <a16:creationId xmlns:a16="http://schemas.microsoft.com/office/drawing/2014/main" id="{4475C058-EC27-884D-B5F4-654956836647}"/>
                  </a:ext>
                </a:extLst>
              </p:cNvPr>
              <p:cNvSpPr>
                <a:spLocks/>
              </p:cNvSpPr>
              <p:nvPr/>
            </p:nvSpPr>
            <p:spPr bwMode="auto">
              <a:xfrm>
                <a:off x="5467694" y="6086410"/>
                <a:ext cx="85988" cy="111494"/>
              </a:xfrm>
              <a:custGeom>
                <a:avLst/>
                <a:gdLst>
                  <a:gd name="T0" fmla="*/ 9 w 9"/>
                  <a:gd name="T1" fmla="*/ 11 h 12"/>
                  <a:gd name="T2" fmla="*/ 5 w 9"/>
                  <a:gd name="T3" fmla="*/ 2 h 12"/>
                  <a:gd name="T4" fmla="*/ 2 w 9"/>
                  <a:gd name="T5" fmla="*/ 2 h 12"/>
                  <a:gd name="T6" fmla="*/ 0 w 9"/>
                  <a:gd name="T7" fmla="*/ 3 h 12"/>
                  <a:gd name="T8" fmla="*/ 3 w 9"/>
                  <a:gd name="T9" fmla="*/ 5 h 12"/>
                  <a:gd name="T10" fmla="*/ 3 w 9"/>
                  <a:gd name="T11" fmla="*/ 7 h 12"/>
                  <a:gd name="T12" fmla="*/ 4 w 9"/>
                  <a:gd name="T13" fmla="*/ 7 h 12"/>
                  <a:gd name="T14" fmla="*/ 3 w 9"/>
                  <a:gd name="T15" fmla="*/ 8 h 12"/>
                  <a:gd name="T16" fmla="*/ 6 w 9"/>
                  <a:gd name="T17" fmla="*/ 11 h 12"/>
                  <a:gd name="T18" fmla="*/ 6 w 9"/>
                  <a:gd name="T19" fmla="*/ 9 h 12"/>
                  <a:gd name="T20" fmla="*/ 9 w 9"/>
                  <a:gd name="T21" fmla="*/ 11 h 12"/>
                  <a:gd name="T22" fmla="*/ 9 w 9"/>
                  <a:gd name="T23"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2">
                    <a:moveTo>
                      <a:pt x="9" y="11"/>
                    </a:moveTo>
                    <a:cubicBezTo>
                      <a:pt x="8" y="8"/>
                      <a:pt x="7" y="4"/>
                      <a:pt x="5" y="2"/>
                    </a:cubicBezTo>
                    <a:cubicBezTo>
                      <a:pt x="4" y="1"/>
                      <a:pt x="3" y="0"/>
                      <a:pt x="2" y="2"/>
                    </a:cubicBezTo>
                    <a:cubicBezTo>
                      <a:pt x="2" y="2"/>
                      <a:pt x="0" y="2"/>
                      <a:pt x="0" y="3"/>
                    </a:cubicBezTo>
                    <a:cubicBezTo>
                      <a:pt x="1" y="4"/>
                      <a:pt x="3" y="3"/>
                      <a:pt x="3" y="5"/>
                    </a:cubicBezTo>
                    <a:cubicBezTo>
                      <a:pt x="3" y="6"/>
                      <a:pt x="3" y="6"/>
                      <a:pt x="3" y="7"/>
                    </a:cubicBezTo>
                    <a:cubicBezTo>
                      <a:pt x="3" y="8"/>
                      <a:pt x="4" y="7"/>
                      <a:pt x="4" y="7"/>
                    </a:cubicBezTo>
                    <a:cubicBezTo>
                      <a:pt x="5" y="8"/>
                      <a:pt x="3" y="8"/>
                      <a:pt x="3" y="8"/>
                    </a:cubicBezTo>
                    <a:cubicBezTo>
                      <a:pt x="3" y="9"/>
                      <a:pt x="5" y="11"/>
                      <a:pt x="6" y="11"/>
                    </a:cubicBezTo>
                    <a:cubicBezTo>
                      <a:pt x="6" y="11"/>
                      <a:pt x="2" y="7"/>
                      <a:pt x="6" y="9"/>
                    </a:cubicBezTo>
                    <a:cubicBezTo>
                      <a:pt x="7" y="9"/>
                      <a:pt x="9" y="12"/>
                      <a:pt x="9" y="11"/>
                    </a:cubicBezTo>
                    <a:cubicBezTo>
                      <a:pt x="8" y="10"/>
                      <a:pt x="9" y="12"/>
                      <a:pt x="9" y="11"/>
                    </a:cubicBezTo>
                    <a:close/>
                  </a:path>
                </a:pathLst>
              </a:custGeom>
              <a:grpFill/>
              <a:ln w="4763" cap="flat">
                <a:solidFill>
                  <a:schemeClr val="bg1"/>
                </a:solidFill>
                <a:prstDash val="solid"/>
                <a:round/>
                <a:headEnd/>
                <a:tailEnd/>
              </a:ln>
            </p:spPr>
            <p:txBody>
              <a:bodyPr/>
              <a:lstStyle/>
              <a:p>
                <a:pPr defTabSz="685663">
                  <a:defRPr/>
                </a:pPr>
                <a:endParaRPr lang="id-ID" sz="675" b="1" dirty="0">
                  <a:latin typeface="Lato" panose="020F0502020204030203" pitchFamily="34" charset="0"/>
                  <a:ea typeface="Lato" panose="020F0502020204030203" pitchFamily="34" charset="0"/>
                  <a:cs typeface="Lato" panose="020F0502020204030203" pitchFamily="34" charset="0"/>
                </a:endParaRPr>
              </a:p>
            </p:txBody>
          </p:sp>
        </p:grpSp>
        <p:sp>
          <p:nvSpPr>
            <p:cNvPr id="522" name="Oval 521">
              <a:extLst>
                <a:ext uri="{FF2B5EF4-FFF2-40B4-BE49-F238E27FC236}">
                  <a16:creationId xmlns:a16="http://schemas.microsoft.com/office/drawing/2014/main" id="{CE6CCCD5-49BF-604A-AB00-97C550BB7775}"/>
                </a:ext>
              </a:extLst>
            </p:cNvPr>
            <p:cNvSpPr/>
            <p:nvPr/>
          </p:nvSpPr>
          <p:spPr>
            <a:xfrm>
              <a:off x="4024036" y="6301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3" name="TextBox 522">
              <a:extLst>
                <a:ext uri="{FF2B5EF4-FFF2-40B4-BE49-F238E27FC236}">
                  <a16:creationId xmlns:a16="http://schemas.microsoft.com/office/drawing/2014/main" id="{37F2488F-8D9A-FD47-86E0-450C966FD290}"/>
                </a:ext>
              </a:extLst>
            </p:cNvPr>
            <p:cNvSpPr txBox="1"/>
            <p:nvPr/>
          </p:nvSpPr>
          <p:spPr>
            <a:xfrm>
              <a:off x="3659268" y="9376870"/>
              <a:ext cx="3642880"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NORTH AMERIC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4" name="TextBox 523">
              <a:extLst>
                <a:ext uri="{FF2B5EF4-FFF2-40B4-BE49-F238E27FC236}">
                  <a16:creationId xmlns:a16="http://schemas.microsoft.com/office/drawing/2014/main" id="{14DA59F0-0EA5-2344-B9B1-96A408833BEC}"/>
                </a:ext>
              </a:extLst>
            </p:cNvPr>
            <p:cNvSpPr txBox="1"/>
            <p:nvPr/>
          </p:nvSpPr>
          <p:spPr>
            <a:xfrm>
              <a:off x="4636065" y="7206502"/>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45%</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5" name="Oval 524">
              <a:extLst>
                <a:ext uri="{FF2B5EF4-FFF2-40B4-BE49-F238E27FC236}">
                  <a16:creationId xmlns:a16="http://schemas.microsoft.com/office/drawing/2014/main" id="{31A14F7B-7F90-3B46-86DA-729271067FB6}"/>
                </a:ext>
              </a:extLst>
            </p:cNvPr>
            <p:cNvSpPr/>
            <p:nvPr/>
          </p:nvSpPr>
          <p:spPr>
            <a:xfrm>
              <a:off x="11431294" y="9162370"/>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6" name="TextBox 525">
              <a:extLst>
                <a:ext uri="{FF2B5EF4-FFF2-40B4-BE49-F238E27FC236}">
                  <a16:creationId xmlns:a16="http://schemas.microsoft.com/office/drawing/2014/main" id="{F47DE469-2D7D-204E-8C94-7C303AA142A2}"/>
                </a:ext>
              </a:extLst>
            </p:cNvPr>
            <p:cNvSpPr txBox="1"/>
            <p:nvPr/>
          </p:nvSpPr>
          <p:spPr>
            <a:xfrm>
              <a:off x="11940699" y="12237870"/>
              <a:ext cx="1894536"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AFRIC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7" name="TextBox 526">
              <a:extLst>
                <a:ext uri="{FF2B5EF4-FFF2-40B4-BE49-F238E27FC236}">
                  <a16:creationId xmlns:a16="http://schemas.microsoft.com/office/drawing/2014/main" id="{CCEE729B-B796-7541-BF94-26FE9907B68B}"/>
                </a:ext>
              </a:extLst>
            </p:cNvPr>
            <p:cNvSpPr txBox="1"/>
            <p:nvPr/>
          </p:nvSpPr>
          <p:spPr>
            <a:xfrm>
              <a:off x="12043323" y="10067502"/>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73%</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28" name="Oval 527">
              <a:extLst>
                <a:ext uri="{FF2B5EF4-FFF2-40B4-BE49-F238E27FC236}">
                  <a16:creationId xmlns:a16="http://schemas.microsoft.com/office/drawing/2014/main" id="{801C8D68-B06A-F64F-A213-60E869A0E83C}"/>
                </a:ext>
              </a:extLst>
            </p:cNvPr>
            <p:cNvSpPr/>
            <p:nvPr/>
          </p:nvSpPr>
          <p:spPr>
            <a:xfrm>
              <a:off x="19236376" y="3691995"/>
              <a:ext cx="2804192" cy="2804192"/>
            </a:xfrm>
            <a:prstGeom prst="ellipse">
              <a:avLst/>
            </a:prstGeom>
            <a:solidFill>
              <a:schemeClr val="tx2">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29" name="TextBox 528">
              <a:extLst>
                <a:ext uri="{FF2B5EF4-FFF2-40B4-BE49-F238E27FC236}">
                  <a16:creationId xmlns:a16="http://schemas.microsoft.com/office/drawing/2014/main" id="{B579E663-F488-DC40-A06D-6422F03A688C}"/>
                </a:ext>
              </a:extLst>
            </p:cNvPr>
            <p:cNvSpPr txBox="1"/>
            <p:nvPr/>
          </p:nvSpPr>
          <p:spPr>
            <a:xfrm>
              <a:off x="20000125" y="6767496"/>
              <a:ext cx="1385851" cy="553997"/>
            </a:xfrm>
            <a:prstGeom prst="rect">
              <a:avLst/>
            </a:prstGeom>
            <a:noFill/>
          </p:spPr>
          <p:txBody>
            <a:bodyPr wrap="none" rtlCol="0">
              <a:spAutoFit/>
            </a:bodyPr>
            <a:lstStyle/>
            <a:p>
              <a:pPr algn="ctr"/>
              <a:r>
                <a:rPr lang="en-US" sz="750" spc="225" dirty="0">
                  <a:solidFill>
                    <a:schemeClr val="bg1"/>
                  </a:solidFill>
                  <a:latin typeface="Arial" panose="020B0604020202020204" pitchFamily="34" charset="0"/>
                  <a:ea typeface="Roboto" panose="02000000000000000000" pitchFamily="2" charset="0"/>
                  <a:cs typeface="Arial" panose="020B0604020202020204" pitchFamily="34" charset="0"/>
                </a:rPr>
                <a:t>ASIA</a:t>
              </a:r>
              <a:endParaRPr lang="en-US" sz="675" spc="225"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0" name="TextBox 529">
              <a:extLst>
                <a:ext uri="{FF2B5EF4-FFF2-40B4-BE49-F238E27FC236}">
                  <a16:creationId xmlns:a16="http://schemas.microsoft.com/office/drawing/2014/main" id="{6F39781D-1F6D-4742-BBE0-12BFBCA3A377}"/>
                </a:ext>
              </a:extLst>
            </p:cNvPr>
            <p:cNvSpPr txBox="1"/>
            <p:nvPr/>
          </p:nvSpPr>
          <p:spPr>
            <a:xfrm>
              <a:off x="19848405" y="4597126"/>
              <a:ext cx="1877440" cy="1077219"/>
            </a:xfrm>
            <a:prstGeom prst="rect">
              <a:avLst/>
            </a:prstGeom>
            <a:noFill/>
          </p:spPr>
          <p:txBody>
            <a:bodyPr wrap="none" rtlCol="0">
              <a:spAutoFit/>
            </a:bodyPr>
            <a:lstStyle/>
            <a:p>
              <a:pPr algn="ctr"/>
              <a:r>
                <a:rPr lang="en-US" sz="2025" dirty="0">
                  <a:solidFill>
                    <a:schemeClr val="bg1"/>
                  </a:solidFill>
                  <a:latin typeface="Arial" panose="020B0604020202020204" pitchFamily="34" charset="0"/>
                  <a:ea typeface="Roboto" panose="02000000000000000000" pitchFamily="2" charset="0"/>
                  <a:cs typeface="Arial" panose="020B0604020202020204" pitchFamily="34" charset="0"/>
                </a:rPr>
                <a:t>95%</a:t>
              </a:r>
              <a:endParaRPr lang="en-US" sz="3000"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1" name="Oval 530">
              <a:extLst>
                <a:ext uri="{FF2B5EF4-FFF2-40B4-BE49-F238E27FC236}">
                  <a16:creationId xmlns:a16="http://schemas.microsoft.com/office/drawing/2014/main" id="{21DFCB7C-E4EB-7243-BC10-152035D58135}"/>
                </a:ext>
              </a:extLst>
            </p:cNvPr>
            <p:cNvSpPr/>
            <p:nvPr/>
          </p:nvSpPr>
          <p:spPr>
            <a:xfrm>
              <a:off x="3421139" y="7539860"/>
              <a:ext cx="1362502" cy="13625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2" name="TextBox 531">
              <a:extLst>
                <a:ext uri="{FF2B5EF4-FFF2-40B4-BE49-F238E27FC236}">
                  <a16:creationId xmlns:a16="http://schemas.microsoft.com/office/drawing/2014/main" id="{11A0F894-45D3-524E-BA79-408D134834AD}"/>
                </a:ext>
              </a:extLst>
            </p:cNvPr>
            <p:cNvSpPr txBox="1"/>
            <p:nvPr/>
          </p:nvSpPr>
          <p:spPr>
            <a:xfrm>
              <a:off x="3468740" y="7928723"/>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15%</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3" name="Oval 532">
              <a:extLst>
                <a:ext uri="{FF2B5EF4-FFF2-40B4-BE49-F238E27FC236}">
                  <a16:creationId xmlns:a16="http://schemas.microsoft.com/office/drawing/2014/main" id="{93372CC7-CC9F-CC40-B28B-E81186532D21}"/>
                </a:ext>
              </a:extLst>
            </p:cNvPr>
            <p:cNvSpPr/>
            <p:nvPr/>
          </p:nvSpPr>
          <p:spPr>
            <a:xfrm>
              <a:off x="10828397" y="10400860"/>
              <a:ext cx="1362502" cy="13625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4" name="TextBox 533">
              <a:extLst>
                <a:ext uri="{FF2B5EF4-FFF2-40B4-BE49-F238E27FC236}">
                  <a16:creationId xmlns:a16="http://schemas.microsoft.com/office/drawing/2014/main" id="{825D6761-6FF3-A749-8008-C29A4A9CC228}"/>
                </a:ext>
              </a:extLst>
            </p:cNvPr>
            <p:cNvSpPr txBox="1"/>
            <p:nvPr/>
          </p:nvSpPr>
          <p:spPr>
            <a:xfrm>
              <a:off x="10875998" y="10823528"/>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50%</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sp>
          <p:nvSpPr>
            <p:cNvPr id="535" name="Oval 534">
              <a:extLst>
                <a:ext uri="{FF2B5EF4-FFF2-40B4-BE49-F238E27FC236}">
                  <a16:creationId xmlns:a16="http://schemas.microsoft.com/office/drawing/2014/main" id="{3A70577E-0F53-5B42-A095-1A52DBE4E99E}"/>
                </a:ext>
              </a:extLst>
            </p:cNvPr>
            <p:cNvSpPr/>
            <p:nvPr/>
          </p:nvSpPr>
          <p:spPr>
            <a:xfrm>
              <a:off x="18633479" y="4930485"/>
              <a:ext cx="1362502" cy="13625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b="1" dirty="0">
                <a:latin typeface="Lato" panose="020F0502020204030203" pitchFamily="34" charset="0"/>
                <a:ea typeface="Lato" panose="020F0502020204030203" pitchFamily="34" charset="0"/>
                <a:cs typeface="Lato" panose="020F0502020204030203" pitchFamily="34" charset="0"/>
              </a:endParaRPr>
            </a:p>
          </p:txBody>
        </p:sp>
        <p:sp>
          <p:nvSpPr>
            <p:cNvPr id="536" name="TextBox 535">
              <a:extLst>
                <a:ext uri="{FF2B5EF4-FFF2-40B4-BE49-F238E27FC236}">
                  <a16:creationId xmlns:a16="http://schemas.microsoft.com/office/drawing/2014/main" id="{ABF2CFD8-A073-7948-AC57-81D0A587D66F}"/>
                </a:ext>
              </a:extLst>
            </p:cNvPr>
            <p:cNvSpPr txBox="1"/>
            <p:nvPr/>
          </p:nvSpPr>
          <p:spPr>
            <a:xfrm>
              <a:off x="18681080" y="5336219"/>
              <a:ext cx="1308907" cy="738664"/>
            </a:xfrm>
            <a:prstGeom prst="rect">
              <a:avLst/>
            </a:prstGeom>
            <a:noFill/>
          </p:spPr>
          <p:txBody>
            <a:bodyPr wrap="none" rtlCol="0">
              <a:spAutoFit/>
            </a:bodyPr>
            <a:lstStyle/>
            <a:p>
              <a:pPr algn="ctr"/>
              <a:r>
                <a:rPr lang="en-US" sz="1200" dirty="0">
                  <a:solidFill>
                    <a:schemeClr val="bg1"/>
                  </a:solidFill>
                  <a:latin typeface="Arial" panose="020B0604020202020204" pitchFamily="34" charset="0"/>
                  <a:ea typeface="Roboto" panose="02000000000000000000" pitchFamily="2" charset="0"/>
                  <a:cs typeface="Arial" panose="020B0604020202020204" pitchFamily="34" charset="0"/>
                </a:rPr>
                <a:t>28%</a:t>
              </a:r>
              <a:endParaRPr lang="en-US" dirty="0">
                <a:solidFill>
                  <a:schemeClr val="bg1"/>
                </a:solidFill>
                <a:latin typeface="Arial" panose="020B0604020202020204" pitchFamily="34" charset="0"/>
                <a:ea typeface="Roboto" panose="02000000000000000000" pitchFamily="2" charset="0"/>
                <a:cs typeface="Arial" panose="020B0604020202020204" pitchFamily="34" charset="0"/>
              </a:endParaRPr>
            </a:p>
          </p:txBody>
        </p:sp>
      </p:grpSp>
      <p:sp>
        <p:nvSpPr>
          <p:cNvPr id="4" name="Text Placeholder 5">
            <a:extLst>
              <a:ext uri="{FF2B5EF4-FFF2-40B4-BE49-F238E27FC236}">
                <a16:creationId xmlns:a16="http://schemas.microsoft.com/office/drawing/2014/main" id="{14444EF2-747C-90FA-A288-4840A621EA57}"/>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bg1"/>
                </a:solidFill>
              </a:rPr>
              <a:t>World Editable Map</a:t>
            </a:r>
          </a:p>
        </p:txBody>
      </p:sp>
    </p:spTree>
    <p:extLst>
      <p:ext uri="{BB962C8B-B14F-4D97-AF65-F5344CB8AC3E}">
        <p14:creationId xmlns:p14="http://schemas.microsoft.com/office/powerpoint/2010/main" val="13743777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looking at a computer screen&#10;&#10;Description automatically generated with low confidence">
            <a:extLst>
              <a:ext uri="{FF2B5EF4-FFF2-40B4-BE49-F238E27FC236}">
                <a16:creationId xmlns:a16="http://schemas.microsoft.com/office/drawing/2014/main" id="{FE19F2AA-25F0-43C0-49EC-83BC4C3351D0}"/>
              </a:ext>
            </a:extLst>
          </p:cNvPr>
          <p:cNvPicPr>
            <a:picLocks noGrp="1" noChangeAspect="1"/>
          </p:cNvPicPr>
          <p:nvPr>
            <p:ph type="pic" sz="quarter" idx="21"/>
          </p:nvPr>
        </p:nvPicPr>
        <p:blipFill>
          <a:blip r:embed="rId2" cstate="hqprint">
            <a:extLst>
              <a:ext uri="{28A0092B-C50C-407E-A947-70E740481C1C}">
                <a14:useLocalDpi xmlns:a14="http://schemas.microsoft.com/office/drawing/2010/main" val="0"/>
              </a:ext>
            </a:extLst>
          </a:blip>
          <a:srcRect t="2588" b="2588"/>
          <a:stretch>
            <a:fillRect/>
          </a:stretch>
        </p:blipFill>
        <p:spPr/>
      </p:pic>
      <p:sp>
        <p:nvSpPr>
          <p:cNvPr id="7" name="Title 6"/>
          <p:cNvSpPr>
            <a:spLocks noGrp="1"/>
          </p:cNvSpPr>
          <p:nvPr>
            <p:ph type="title"/>
          </p:nvPr>
        </p:nvSpPr>
        <p:spPr>
          <a:xfrm>
            <a:off x="466852" y="438150"/>
            <a:ext cx="3765514" cy="2312253"/>
          </a:xfrm>
        </p:spPr>
        <p:txBody>
          <a:bodyPr wrap="square" anchor="t">
            <a:normAutofit/>
          </a:bodyPr>
          <a:lstStyle/>
          <a:p>
            <a:r>
              <a:rPr lang="en-US" spc="0" dirty="0"/>
              <a:t>This could </a:t>
            </a:r>
            <a:br>
              <a:rPr lang="en-US" spc="0" dirty="0"/>
            </a:br>
            <a:r>
              <a:rPr lang="en-US" spc="0" dirty="0"/>
              <a:t>be a section divider</a:t>
            </a:r>
            <a:endParaRPr lang="en-GB" spc="0" dirty="0"/>
          </a:p>
        </p:txBody>
      </p:sp>
      <p:pic>
        <p:nvPicPr>
          <p:cNvPr id="8" name="Picture 7" descr="A picture containing logo&#10;&#10;Description automatically generated">
            <a:extLst>
              <a:ext uri="{FF2B5EF4-FFF2-40B4-BE49-F238E27FC236}">
                <a16:creationId xmlns:a16="http://schemas.microsoft.com/office/drawing/2014/main" id="{62884DF7-A952-223A-62A4-2E58F83789A6}"/>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517206" y="126123"/>
            <a:ext cx="477963" cy="312028"/>
          </a:xfrm>
          <a:prstGeom prst="rect">
            <a:avLst/>
          </a:prstGeom>
        </p:spPr>
      </p:pic>
      <p:sp>
        <p:nvSpPr>
          <p:cNvPr id="9" name="Text Placeholder 5">
            <a:extLst>
              <a:ext uri="{FF2B5EF4-FFF2-40B4-BE49-F238E27FC236}">
                <a16:creationId xmlns:a16="http://schemas.microsoft.com/office/drawing/2014/main" id="{844E285F-0C59-3698-7B9E-E6537DA6D307}"/>
              </a:ext>
            </a:extLst>
          </p:cNvPr>
          <p:cNvSpPr txBox="1">
            <a:spLocks/>
          </p:cNvSpPr>
          <p:nvPr/>
        </p:nvSpPr>
        <p:spPr>
          <a:xfrm>
            <a:off x="464494" y="2003332"/>
            <a:ext cx="2914432" cy="847455"/>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bg1"/>
                </a:solidFill>
              </a:rPr>
              <a:t>Delete the photo and add your own.</a:t>
            </a:r>
            <a:endParaRPr lang="en-US" u="sng" dirty="0">
              <a:solidFill>
                <a:schemeClr val="bg1"/>
              </a:solidFill>
            </a:endParaRPr>
          </a:p>
        </p:txBody>
      </p:sp>
      <p:sp>
        <p:nvSpPr>
          <p:cNvPr id="2" name="TextBox 1">
            <a:extLst>
              <a:ext uri="{FF2B5EF4-FFF2-40B4-BE49-F238E27FC236}">
                <a16:creationId xmlns:a16="http://schemas.microsoft.com/office/drawing/2014/main" id="{4F2B3E01-BD79-BE9B-82F2-01794B81E8E7}"/>
              </a:ext>
            </a:extLst>
          </p:cNvPr>
          <p:cNvSpPr txBox="1"/>
          <p:nvPr/>
        </p:nvSpPr>
        <p:spPr>
          <a:xfrm>
            <a:off x="7880554" y="4560147"/>
            <a:ext cx="805350" cy="171450"/>
          </a:xfrm>
          <a:prstGeom prst="rect">
            <a:avLst/>
          </a:prstGeom>
          <a:noFill/>
        </p:spPr>
        <p:txBody>
          <a:bodyPr wrap="square" lIns="0" tIns="0" rIns="0" bIns="0" rtlCol="0" anchor="b">
            <a:noAutofit/>
          </a:bodyPr>
          <a:lstStyle/>
          <a:p>
            <a:pPr algn="r">
              <a:lnSpc>
                <a:spcPct val="150000"/>
              </a:lnSpc>
              <a:spcBef>
                <a:spcPts val="1200"/>
              </a:spcBef>
              <a:buClr>
                <a:srgbClr val="CC0000"/>
              </a:buClr>
              <a:buSzPct val="110000"/>
            </a:pPr>
            <a:r>
              <a:rPr lang="en-GB" sz="800" spc="0" baseline="0" dirty="0" err="1">
                <a:solidFill>
                  <a:schemeClr val="bg1"/>
                </a:solidFill>
                <a:latin typeface="Arial" panose="020B0604020202020204" pitchFamily="34" charset="0"/>
                <a:cs typeface="Arial" panose="020B0604020202020204" pitchFamily="34" charset="0"/>
              </a:rPr>
              <a:t>incose.org</a:t>
            </a:r>
            <a:r>
              <a:rPr lang="en-GB" sz="800" spc="0" baseline="0" dirty="0">
                <a:solidFill>
                  <a:schemeClr val="bg1"/>
                </a:solidFill>
                <a:latin typeface="Arial" panose="020B0604020202020204" pitchFamily="34" charset="0"/>
                <a:cs typeface="Arial" panose="020B0604020202020204" pitchFamily="34" charset="0"/>
              </a:rPr>
              <a:t> | </a:t>
            </a:r>
            <a:fld id="{A86CDF6F-2953-460E-BD1D-295C411077A7}" type="slidenum">
              <a:rPr lang="en-GB" sz="800" spc="0" baseline="0" smtClean="0">
                <a:solidFill>
                  <a:schemeClr val="bg1"/>
                </a:solidFill>
                <a:latin typeface="Arial" panose="020B0604020202020204" pitchFamily="34" charset="0"/>
                <a:cs typeface="Arial" panose="020B0604020202020204" pitchFamily="34" charset="0"/>
              </a:rPr>
              <a:t>6</a:t>
            </a:fld>
            <a:endParaRPr lang="en-GB" sz="800" spc="0" baseline="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166208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F839C4C-3C00-BD46-AD34-D1A99A7646E5}"/>
              </a:ext>
            </a:extLst>
          </p:cNvPr>
          <p:cNvGrpSpPr/>
          <p:nvPr/>
        </p:nvGrpSpPr>
        <p:grpSpPr>
          <a:xfrm>
            <a:off x="766057" y="1755869"/>
            <a:ext cx="4043417" cy="2601161"/>
            <a:chOff x="1833138" y="5518024"/>
            <a:chExt cx="10782446" cy="6936429"/>
          </a:xfrm>
        </p:grpSpPr>
        <p:grpSp>
          <p:nvGrpSpPr>
            <p:cNvPr id="315" name="Group 314">
              <a:extLst>
                <a:ext uri="{FF2B5EF4-FFF2-40B4-BE49-F238E27FC236}">
                  <a16:creationId xmlns:a16="http://schemas.microsoft.com/office/drawing/2014/main" id="{23A6B5B7-1F69-0349-924C-48AABB6ADEE0}"/>
                </a:ext>
              </a:extLst>
            </p:cNvPr>
            <p:cNvGrpSpPr/>
            <p:nvPr/>
          </p:nvGrpSpPr>
          <p:grpSpPr>
            <a:xfrm>
              <a:off x="2005469" y="5518024"/>
              <a:ext cx="10610115" cy="6936429"/>
              <a:chOff x="10446454" y="4848106"/>
              <a:chExt cx="11621078" cy="7597353"/>
            </a:xfrm>
            <a:solidFill>
              <a:srgbClr val="EFF1F8"/>
            </a:solidFill>
          </p:grpSpPr>
          <p:sp>
            <p:nvSpPr>
              <p:cNvPr id="316" name="Freeform 5">
                <a:extLst>
                  <a:ext uri="{FF2B5EF4-FFF2-40B4-BE49-F238E27FC236}">
                    <a16:creationId xmlns:a16="http://schemas.microsoft.com/office/drawing/2014/main" id="{72246237-1E63-6E44-B0B7-DFC96161680D}"/>
                  </a:ext>
                </a:extLst>
              </p:cNvPr>
              <p:cNvSpPr>
                <a:spLocks/>
              </p:cNvSpPr>
              <p:nvPr/>
            </p:nvSpPr>
            <p:spPr bwMode="auto">
              <a:xfrm>
                <a:off x="11321868" y="4848106"/>
                <a:ext cx="1448329" cy="1074849"/>
              </a:xfrm>
              <a:custGeom>
                <a:avLst/>
                <a:gdLst>
                  <a:gd name="T0" fmla="*/ 228 w 257"/>
                  <a:gd name="T1" fmla="*/ 167 h 190"/>
                  <a:gd name="T2" fmla="*/ 227 w 257"/>
                  <a:gd name="T3" fmla="*/ 190 h 190"/>
                  <a:gd name="T4" fmla="*/ 150 w 257"/>
                  <a:gd name="T5" fmla="*/ 172 h 190"/>
                  <a:gd name="T6" fmla="*/ 141 w 257"/>
                  <a:gd name="T7" fmla="*/ 172 h 190"/>
                  <a:gd name="T8" fmla="*/ 108 w 257"/>
                  <a:gd name="T9" fmla="*/ 174 h 190"/>
                  <a:gd name="T10" fmla="*/ 102 w 257"/>
                  <a:gd name="T11" fmla="*/ 173 h 190"/>
                  <a:gd name="T12" fmla="*/ 97 w 257"/>
                  <a:gd name="T13" fmla="*/ 174 h 190"/>
                  <a:gd name="T14" fmla="*/ 94 w 257"/>
                  <a:gd name="T15" fmla="*/ 172 h 190"/>
                  <a:gd name="T16" fmla="*/ 86 w 257"/>
                  <a:gd name="T17" fmla="*/ 171 h 190"/>
                  <a:gd name="T18" fmla="*/ 85 w 257"/>
                  <a:gd name="T19" fmla="*/ 168 h 190"/>
                  <a:gd name="T20" fmla="*/ 73 w 257"/>
                  <a:gd name="T21" fmla="*/ 165 h 190"/>
                  <a:gd name="T22" fmla="*/ 66 w 257"/>
                  <a:gd name="T23" fmla="*/ 162 h 190"/>
                  <a:gd name="T24" fmla="*/ 51 w 257"/>
                  <a:gd name="T25" fmla="*/ 165 h 190"/>
                  <a:gd name="T26" fmla="*/ 33 w 257"/>
                  <a:gd name="T27" fmla="*/ 156 h 190"/>
                  <a:gd name="T28" fmla="*/ 29 w 257"/>
                  <a:gd name="T29" fmla="*/ 128 h 190"/>
                  <a:gd name="T30" fmla="*/ 20 w 257"/>
                  <a:gd name="T31" fmla="*/ 126 h 190"/>
                  <a:gd name="T32" fmla="*/ 10 w 257"/>
                  <a:gd name="T33" fmla="*/ 120 h 190"/>
                  <a:gd name="T34" fmla="*/ 0 w 257"/>
                  <a:gd name="T35" fmla="*/ 116 h 190"/>
                  <a:gd name="T36" fmla="*/ 3 w 257"/>
                  <a:gd name="T37" fmla="*/ 103 h 190"/>
                  <a:gd name="T38" fmla="*/ 5 w 257"/>
                  <a:gd name="T39" fmla="*/ 105 h 190"/>
                  <a:gd name="T40" fmla="*/ 7 w 257"/>
                  <a:gd name="T41" fmla="*/ 105 h 190"/>
                  <a:gd name="T42" fmla="*/ 11 w 257"/>
                  <a:gd name="T43" fmla="*/ 99 h 190"/>
                  <a:gd name="T44" fmla="*/ 9 w 257"/>
                  <a:gd name="T45" fmla="*/ 96 h 190"/>
                  <a:gd name="T46" fmla="*/ 7 w 257"/>
                  <a:gd name="T47" fmla="*/ 88 h 190"/>
                  <a:gd name="T48" fmla="*/ 16 w 257"/>
                  <a:gd name="T49" fmla="*/ 85 h 190"/>
                  <a:gd name="T50" fmla="*/ 8 w 257"/>
                  <a:gd name="T51" fmla="*/ 78 h 190"/>
                  <a:gd name="T52" fmla="*/ 6 w 257"/>
                  <a:gd name="T53" fmla="*/ 60 h 190"/>
                  <a:gd name="T54" fmla="*/ 8 w 257"/>
                  <a:gd name="T55" fmla="*/ 41 h 190"/>
                  <a:gd name="T56" fmla="*/ 3 w 257"/>
                  <a:gd name="T57" fmla="*/ 23 h 190"/>
                  <a:gd name="T58" fmla="*/ 10 w 257"/>
                  <a:gd name="T59" fmla="*/ 10 h 190"/>
                  <a:gd name="T60" fmla="*/ 33 w 257"/>
                  <a:gd name="T61" fmla="*/ 30 h 190"/>
                  <a:gd name="T62" fmla="*/ 49 w 257"/>
                  <a:gd name="T63" fmla="*/ 36 h 190"/>
                  <a:gd name="T64" fmla="*/ 55 w 257"/>
                  <a:gd name="T65" fmla="*/ 36 h 190"/>
                  <a:gd name="T66" fmla="*/ 65 w 257"/>
                  <a:gd name="T67" fmla="*/ 42 h 190"/>
                  <a:gd name="T68" fmla="*/ 63 w 257"/>
                  <a:gd name="T69" fmla="*/ 56 h 190"/>
                  <a:gd name="T70" fmla="*/ 48 w 257"/>
                  <a:gd name="T71" fmla="*/ 69 h 190"/>
                  <a:gd name="T72" fmla="*/ 48 w 257"/>
                  <a:gd name="T73" fmla="*/ 74 h 190"/>
                  <a:gd name="T74" fmla="*/ 55 w 257"/>
                  <a:gd name="T75" fmla="*/ 66 h 190"/>
                  <a:gd name="T76" fmla="*/ 70 w 257"/>
                  <a:gd name="T77" fmla="*/ 57 h 190"/>
                  <a:gd name="T78" fmla="*/ 66 w 257"/>
                  <a:gd name="T79" fmla="*/ 64 h 190"/>
                  <a:gd name="T80" fmla="*/ 52 w 257"/>
                  <a:gd name="T81" fmla="*/ 80 h 190"/>
                  <a:gd name="T82" fmla="*/ 46 w 257"/>
                  <a:gd name="T83" fmla="*/ 91 h 190"/>
                  <a:gd name="T84" fmla="*/ 55 w 257"/>
                  <a:gd name="T85" fmla="*/ 87 h 190"/>
                  <a:gd name="T86" fmla="*/ 65 w 257"/>
                  <a:gd name="T87" fmla="*/ 82 h 190"/>
                  <a:gd name="T88" fmla="*/ 71 w 257"/>
                  <a:gd name="T89" fmla="*/ 68 h 190"/>
                  <a:gd name="T90" fmla="*/ 80 w 257"/>
                  <a:gd name="T91" fmla="*/ 54 h 190"/>
                  <a:gd name="T92" fmla="*/ 78 w 257"/>
                  <a:gd name="T93" fmla="*/ 42 h 190"/>
                  <a:gd name="T94" fmla="*/ 75 w 257"/>
                  <a:gd name="T95" fmla="*/ 35 h 190"/>
                  <a:gd name="T96" fmla="*/ 74 w 257"/>
                  <a:gd name="T97" fmla="*/ 46 h 190"/>
                  <a:gd name="T98" fmla="*/ 76 w 257"/>
                  <a:gd name="T99" fmla="*/ 54 h 190"/>
                  <a:gd name="T100" fmla="*/ 72 w 257"/>
                  <a:gd name="T101" fmla="*/ 51 h 190"/>
                  <a:gd name="T102" fmla="*/ 68 w 257"/>
                  <a:gd name="T103" fmla="*/ 41 h 190"/>
                  <a:gd name="T104" fmla="*/ 73 w 257"/>
                  <a:gd name="T105" fmla="*/ 32 h 190"/>
                  <a:gd name="T106" fmla="*/ 74 w 257"/>
                  <a:gd name="T107" fmla="*/ 24 h 190"/>
                  <a:gd name="T108" fmla="*/ 80 w 257"/>
                  <a:gd name="T109" fmla="*/ 30 h 190"/>
                  <a:gd name="T110" fmla="*/ 79 w 257"/>
                  <a:gd name="T111" fmla="*/ 15 h 190"/>
                  <a:gd name="T112" fmla="*/ 77 w 257"/>
                  <a:gd name="T113" fmla="*/ 11 h 190"/>
                  <a:gd name="T114" fmla="*/ 145 w 257"/>
                  <a:gd name="T115" fmla="*/ 19 h 190"/>
                  <a:gd name="T116" fmla="*/ 246 w 257"/>
                  <a:gd name="T117" fmla="*/ 4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7" h="190">
                    <a:moveTo>
                      <a:pt x="257" y="47"/>
                    </a:moveTo>
                    <a:cubicBezTo>
                      <a:pt x="257" y="47"/>
                      <a:pt x="233" y="161"/>
                      <a:pt x="228" y="167"/>
                    </a:cubicBezTo>
                    <a:cubicBezTo>
                      <a:pt x="224" y="174"/>
                      <a:pt x="229" y="172"/>
                      <a:pt x="229" y="179"/>
                    </a:cubicBezTo>
                    <a:cubicBezTo>
                      <a:pt x="229" y="185"/>
                      <a:pt x="227" y="190"/>
                      <a:pt x="227" y="190"/>
                    </a:cubicBezTo>
                    <a:cubicBezTo>
                      <a:pt x="161" y="173"/>
                      <a:pt x="161" y="173"/>
                      <a:pt x="161" y="173"/>
                    </a:cubicBezTo>
                    <a:cubicBezTo>
                      <a:pt x="150" y="172"/>
                      <a:pt x="150" y="172"/>
                      <a:pt x="150" y="172"/>
                    </a:cubicBezTo>
                    <a:cubicBezTo>
                      <a:pt x="146" y="173"/>
                      <a:pt x="146" y="173"/>
                      <a:pt x="146" y="173"/>
                    </a:cubicBezTo>
                    <a:cubicBezTo>
                      <a:pt x="141" y="172"/>
                      <a:pt x="141" y="172"/>
                      <a:pt x="141" y="172"/>
                    </a:cubicBezTo>
                    <a:cubicBezTo>
                      <a:pt x="137" y="173"/>
                      <a:pt x="137" y="173"/>
                      <a:pt x="137" y="173"/>
                    </a:cubicBezTo>
                    <a:cubicBezTo>
                      <a:pt x="108" y="174"/>
                      <a:pt x="108" y="174"/>
                      <a:pt x="108" y="174"/>
                    </a:cubicBezTo>
                    <a:cubicBezTo>
                      <a:pt x="105" y="172"/>
                      <a:pt x="105" y="172"/>
                      <a:pt x="105" y="172"/>
                    </a:cubicBezTo>
                    <a:cubicBezTo>
                      <a:pt x="102" y="173"/>
                      <a:pt x="102" y="173"/>
                      <a:pt x="102" y="173"/>
                    </a:cubicBezTo>
                    <a:cubicBezTo>
                      <a:pt x="99" y="174"/>
                      <a:pt x="99" y="174"/>
                      <a:pt x="99" y="174"/>
                    </a:cubicBezTo>
                    <a:cubicBezTo>
                      <a:pt x="97" y="174"/>
                      <a:pt x="97" y="174"/>
                      <a:pt x="97" y="174"/>
                    </a:cubicBezTo>
                    <a:cubicBezTo>
                      <a:pt x="94" y="173"/>
                      <a:pt x="94" y="173"/>
                      <a:pt x="94" y="173"/>
                    </a:cubicBezTo>
                    <a:cubicBezTo>
                      <a:pt x="94" y="172"/>
                      <a:pt x="94" y="172"/>
                      <a:pt x="94" y="172"/>
                    </a:cubicBezTo>
                    <a:cubicBezTo>
                      <a:pt x="89" y="172"/>
                      <a:pt x="89" y="172"/>
                      <a:pt x="89" y="172"/>
                    </a:cubicBezTo>
                    <a:cubicBezTo>
                      <a:pt x="86" y="171"/>
                      <a:pt x="86" y="171"/>
                      <a:pt x="86" y="171"/>
                    </a:cubicBezTo>
                    <a:cubicBezTo>
                      <a:pt x="85" y="169"/>
                      <a:pt x="85" y="169"/>
                      <a:pt x="85" y="169"/>
                    </a:cubicBezTo>
                    <a:cubicBezTo>
                      <a:pt x="85" y="168"/>
                      <a:pt x="85" y="168"/>
                      <a:pt x="85" y="168"/>
                    </a:cubicBezTo>
                    <a:cubicBezTo>
                      <a:pt x="81" y="167"/>
                      <a:pt x="81" y="167"/>
                      <a:pt x="81" y="167"/>
                    </a:cubicBezTo>
                    <a:cubicBezTo>
                      <a:pt x="73" y="165"/>
                      <a:pt x="73" y="165"/>
                      <a:pt x="73" y="165"/>
                    </a:cubicBezTo>
                    <a:cubicBezTo>
                      <a:pt x="68" y="163"/>
                      <a:pt x="68" y="163"/>
                      <a:pt x="68" y="163"/>
                    </a:cubicBezTo>
                    <a:cubicBezTo>
                      <a:pt x="66" y="162"/>
                      <a:pt x="66" y="162"/>
                      <a:pt x="66" y="162"/>
                    </a:cubicBezTo>
                    <a:cubicBezTo>
                      <a:pt x="60" y="163"/>
                      <a:pt x="60" y="163"/>
                      <a:pt x="60" y="163"/>
                    </a:cubicBezTo>
                    <a:cubicBezTo>
                      <a:pt x="51" y="165"/>
                      <a:pt x="51" y="165"/>
                      <a:pt x="51" y="165"/>
                    </a:cubicBezTo>
                    <a:cubicBezTo>
                      <a:pt x="40" y="162"/>
                      <a:pt x="40" y="162"/>
                      <a:pt x="40" y="162"/>
                    </a:cubicBezTo>
                    <a:cubicBezTo>
                      <a:pt x="33" y="156"/>
                      <a:pt x="33" y="156"/>
                      <a:pt x="33" y="156"/>
                    </a:cubicBezTo>
                    <a:cubicBezTo>
                      <a:pt x="33" y="156"/>
                      <a:pt x="36" y="149"/>
                      <a:pt x="35" y="140"/>
                    </a:cubicBezTo>
                    <a:cubicBezTo>
                      <a:pt x="34" y="130"/>
                      <a:pt x="29" y="128"/>
                      <a:pt x="29" y="128"/>
                    </a:cubicBezTo>
                    <a:cubicBezTo>
                      <a:pt x="24" y="128"/>
                      <a:pt x="24" y="128"/>
                      <a:pt x="24" y="128"/>
                    </a:cubicBezTo>
                    <a:cubicBezTo>
                      <a:pt x="20" y="126"/>
                      <a:pt x="20" y="126"/>
                      <a:pt x="20" y="126"/>
                    </a:cubicBezTo>
                    <a:cubicBezTo>
                      <a:pt x="20" y="126"/>
                      <a:pt x="20" y="120"/>
                      <a:pt x="15" y="120"/>
                    </a:cubicBezTo>
                    <a:cubicBezTo>
                      <a:pt x="10" y="120"/>
                      <a:pt x="10" y="120"/>
                      <a:pt x="10" y="120"/>
                    </a:cubicBezTo>
                    <a:cubicBezTo>
                      <a:pt x="4" y="119"/>
                      <a:pt x="4" y="119"/>
                      <a:pt x="4" y="119"/>
                    </a:cubicBezTo>
                    <a:cubicBezTo>
                      <a:pt x="0" y="116"/>
                      <a:pt x="0" y="116"/>
                      <a:pt x="0" y="116"/>
                    </a:cubicBezTo>
                    <a:cubicBezTo>
                      <a:pt x="1" y="109"/>
                      <a:pt x="1" y="109"/>
                      <a:pt x="1" y="109"/>
                    </a:cubicBezTo>
                    <a:cubicBezTo>
                      <a:pt x="3" y="103"/>
                      <a:pt x="3" y="103"/>
                      <a:pt x="3" y="103"/>
                    </a:cubicBezTo>
                    <a:cubicBezTo>
                      <a:pt x="4" y="102"/>
                      <a:pt x="4" y="102"/>
                      <a:pt x="4" y="102"/>
                    </a:cubicBezTo>
                    <a:cubicBezTo>
                      <a:pt x="5" y="105"/>
                      <a:pt x="5" y="105"/>
                      <a:pt x="5" y="105"/>
                    </a:cubicBezTo>
                    <a:cubicBezTo>
                      <a:pt x="6" y="106"/>
                      <a:pt x="6" y="106"/>
                      <a:pt x="6" y="106"/>
                    </a:cubicBezTo>
                    <a:cubicBezTo>
                      <a:pt x="7" y="105"/>
                      <a:pt x="7" y="105"/>
                      <a:pt x="7" y="105"/>
                    </a:cubicBezTo>
                    <a:cubicBezTo>
                      <a:pt x="7" y="101"/>
                      <a:pt x="7" y="101"/>
                      <a:pt x="7" y="101"/>
                    </a:cubicBezTo>
                    <a:cubicBezTo>
                      <a:pt x="11" y="99"/>
                      <a:pt x="11" y="99"/>
                      <a:pt x="11" y="99"/>
                    </a:cubicBezTo>
                    <a:cubicBezTo>
                      <a:pt x="11" y="98"/>
                      <a:pt x="11" y="98"/>
                      <a:pt x="11" y="98"/>
                    </a:cubicBezTo>
                    <a:cubicBezTo>
                      <a:pt x="9" y="96"/>
                      <a:pt x="9" y="96"/>
                      <a:pt x="9" y="96"/>
                    </a:cubicBezTo>
                    <a:cubicBezTo>
                      <a:pt x="8" y="95"/>
                      <a:pt x="8" y="95"/>
                      <a:pt x="8" y="95"/>
                    </a:cubicBezTo>
                    <a:cubicBezTo>
                      <a:pt x="7" y="88"/>
                      <a:pt x="7" y="88"/>
                      <a:pt x="7" y="88"/>
                    </a:cubicBezTo>
                    <a:cubicBezTo>
                      <a:pt x="14" y="87"/>
                      <a:pt x="14" y="87"/>
                      <a:pt x="14" y="87"/>
                    </a:cubicBezTo>
                    <a:cubicBezTo>
                      <a:pt x="16" y="85"/>
                      <a:pt x="16" y="85"/>
                      <a:pt x="16" y="85"/>
                    </a:cubicBezTo>
                    <a:cubicBezTo>
                      <a:pt x="10" y="80"/>
                      <a:pt x="10" y="80"/>
                      <a:pt x="10" y="80"/>
                    </a:cubicBezTo>
                    <a:cubicBezTo>
                      <a:pt x="8" y="78"/>
                      <a:pt x="8" y="78"/>
                      <a:pt x="8" y="78"/>
                    </a:cubicBezTo>
                    <a:cubicBezTo>
                      <a:pt x="6" y="64"/>
                      <a:pt x="6" y="64"/>
                      <a:pt x="6" y="64"/>
                    </a:cubicBezTo>
                    <a:cubicBezTo>
                      <a:pt x="6" y="60"/>
                      <a:pt x="6" y="60"/>
                      <a:pt x="6" y="60"/>
                    </a:cubicBezTo>
                    <a:cubicBezTo>
                      <a:pt x="8" y="59"/>
                      <a:pt x="8" y="59"/>
                      <a:pt x="8" y="59"/>
                    </a:cubicBezTo>
                    <a:cubicBezTo>
                      <a:pt x="8" y="41"/>
                      <a:pt x="8" y="41"/>
                      <a:pt x="8" y="41"/>
                    </a:cubicBezTo>
                    <a:cubicBezTo>
                      <a:pt x="3" y="37"/>
                      <a:pt x="3" y="37"/>
                      <a:pt x="3" y="37"/>
                    </a:cubicBezTo>
                    <a:cubicBezTo>
                      <a:pt x="3" y="23"/>
                      <a:pt x="3" y="23"/>
                      <a:pt x="3" y="23"/>
                    </a:cubicBezTo>
                    <a:cubicBezTo>
                      <a:pt x="8" y="17"/>
                      <a:pt x="8" y="17"/>
                      <a:pt x="8" y="17"/>
                    </a:cubicBezTo>
                    <a:cubicBezTo>
                      <a:pt x="10" y="10"/>
                      <a:pt x="10" y="10"/>
                      <a:pt x="10" y="10"/>
                    </a:cubicBezTo>
                    <a:cubicBezTo>
                      <a:pt x="21" y="21"/>
                      <a:pt x="21" y="21"/>
                      <a:pt x="21" y="21"/>
                    </a:cubicBezTo>
                    <a:cubicBezTo>
                      <a:pt x="33" y="30"/>
                      <a:pt x="33" y="30"/>
                      <a:pt x="33" y="30"/>
                    </a:cubicBezTo>
                    <a:cubicBezTo>
                      <a:pt x="42" y="34"/>
                      <a:pt x="42" y="34"/>
                      <a:pt x="42" y="34"/>
                    </a:cubicBezTo>
                    <a:cubicBezTo>
                      <a:pt x="49" y="36"/>
                      <a:pt x="49" y="36"/>
                      <a:pt x="49" y="36"/>
                    </a:cubicBezTo>
                    <a:cubicBezTo>
                      <a:pt x="52" y="36"/>
                      <a:pt x="52" y="36"/>
                      <a:pt x="52" y="36"/>
                    </a:cubicBezTo>
                    <a:cubicBezTo>
                      <a:pt x="55" y="36"/>
                      <a:pt x="55" y="36"/>
                      <a:pt x="55" y="36"/>
                    </a:cubicBezTo>
                    <a:cubicBezTo>
                      <a:pt x="57" y="43"/>
                      <a:pt x="57" y="43"/>
                      <a:pt x="57" y="43"/>
                    </a:cubicBezTo>
                    <a:cubicBezTo>
                      <a:pt x="65" y="42"/>
                      <a:pt x="65" y="42"/>
                      <a:pt x="65" y="42"/>
                    </a:cubicBezTo>
                    <a:cubicBezTo>
                      <a:pt x="66" y="52"/>
                      <a:pt x="66" y="52"/>
                      <a:pt x="66" y="52"/>
                    </a:cubicBezTo>
                    <a:cubicBezTo>
                      <a:pt x="63" y="56"/>
                      <a:pt x="63" y="56"/>
                      <a:pt x="63" y="56"/>
                    </a:cubicBezTo>
                    <a:cubicBezTo>
                      <a:pt x="54" y="61"/>
                      <a:pt x="54" y="61"/>
                      <a:pt x="54" y="61"/>
                    </a:cubicBezTo>
                    <a:cubicBezTo>
                      <a:pt x="48" y="69"/>
                      <a:pt x="48" y="69"/>
                      <a:pt x="48" y="69"/>
                    </a:cubicBezTo>
                    <a:cubicBezTo>
                      <a:pt x="46" y="73"/>
                      <a:pt x="46" y="73"/>
                      <a:pt x="46" y="73"/>
                    </a:cubicBezTo>
                    <a:cubicBezTo>
                      <a:pt x="48" y="74"/>
                      <a:pt x="48" y="74"/>
                      <a:pt x="48" y="74"/>
                    </a:cubicBezTo>
                    <a:cubicBezTo>
                      <a:pt x="52" y="70"/>
                      <a:pt x="52" y="70"/>
                      <a:pt x="52" y="70"/>
                    </a:cubicBezTo>
                    <a:cubicBezTo>
                      <a:pt x="55" y="66"/>
                      <a:pt x="55" y="66"/>
                      <a:pt x="55" y="66"/>
                    </a:cubicBezTo>
                    <a:cubicBezTo>
                      <a:pt x="64" y="60"/>
                      <a:pt x="64" y="60"/>
                      <a:pt x="64" y="60"/>
                    </a:cubicBezTo>
                    <a:cubicBezTo>
                      <a:pt x="70" y="57"/>
                      <a:pt x="70" y="57"/>
                      <a:pt x="70" y="57"/>
                    </a:cubicBezTo>
                    <a:cubicBezTo>
                      <a:pt x="69" y="61"/>
                      <a:pt x="69" y="61"/>
                      <a:pt x="69" y="61"/>
                    </a:cubicBezTo>
                    <a:cubicBezTo>
                      <a:pt x="66" y="64"/>
                      <a:pt x="66" y="64"/>
                      <a:pt x="66" y="64"/>
                    </a:cubicBezTo>
                    <a:cubicBezTo>
                      <a:pt x="62" y="74"/>
                      <a:pt x="62" y="74"/>
                      <a:pt x="62" y="74"/>
                    </a:cubicBezTo>
                    <a:cubicBezTo>
                      <a:pt x="52" y="80"/>
                      <a:pt x="52" y="80"/>
                      <a:pt x="52" y="80"/>
                    </a:cubicBezTo>
                    <a:cubicBezTo>
                      <a:pt x="46" y="86"/>
                      <a:pt x="46" y="86"/>
                      <a:pt x="46" y="86"/>
                    </a:cubicBezTo>
                    <a:cubicBezTo>
                      <a:pt x="46" y="91"/>
                      <a:pt x="46" y="91"/>
                      <a:pt x="46" y="91"/>
                    </a:cubicBezTo>
                    <a:cubicBezTo>
                      <a:pt x="50" y="92"/>
                      <a:pt x="50" y="92"/>
                      <a:pt x="50" y="92"/>
                    </a:cubicBezTo>
                    <a:cubicBezTo>
                      <a:pt x="55" y="87"/>
                      <a:pt x="55" y="87"/>
                      <a:pt x="55" y="87"/>
                    </a:cubicBezTo>
                    <a:cubicBezTo>
                      <a:pt x="60" y="83"/>
                      <a:pt x="60" y="83"/>
                      <a:pt x="60" y="83"/>
                    </a:cubicBezTo>
                    <a:cubicBezTo>
                      <a:pt x="65" y="82"/>
                      <a:pt x="65" y="82"/>
                      <a:pt x="65" y="82"/>
                    </a:cubicBezTo>
                    <a:cubicBezTo>
                      <a:pt x="69" y="78"/>
                      <a:pt x="69" y="78"/>
                      <a:pt x="69" y="78"/>
                    </a:cubicBezTo>
                    <a:cubicBezTo>
                      <a:pt x="71" y="68"/>
                      <a:pt x="71" y="68"/>
                      <a:pt x="71" y="68"/>
                    </a:cubicBezTo>
                    <a:cubicBezTo>
                      <a:pt x="75" y="60"/>
                      <a:pt x="75" y="60"/>
                      <a:pt x="75" y="60"/>
                    </a:cubicBezTo>
                    <a:cubicBezTo>
                      <a:pt x="80" y="54"/>
                      <a:pt x="80" y="54"/>
                      <a:pt x="80" y="54"/>
                    </a:cubicBezTo>
                    <a:cubicBezTo>
                      <a:pt x="81" y="50"/>
                      <a:pt x="81" y="50"/>
                      <a:pt x="81" y="50"/>
                    </a:cubicBezTo>
                    <a:cubicBezTo>
                      <a:pt x="78" y="42"/>
                      <a:pt x="78" y="42"/>
                      <a:pt x="78" y="42"/>
                    </a:cubicBezTo>
                    <a:cubicBezTo>
                      <a:pt x="78" y="34"/>
                      <a:pt x="78" y="34"/>
                      <a:pt x="78" y="34"/>
                    </a:cubicBezTo>
                    <a:cubicBezTo>
                      <a:pt x="75" y="35"/>
                      <a:pt x="75" y="35"/>
                      <a:pt x="75" y="35"/>
                    </a:cubicBezTo>
                    <a:cubicBezTo>
                      <a:pt x="73" y="38"/>
                      <a:pt x="73" y="38"/>
                      <a:pt x="73" y="38"/>
                    </a:cubicBezTo>
                    <a:cubicBezTo>
                      <a:pt x="74" y="46"/>
                      <a:pt x="74" y="46"/>
                      <a:pt x="74" y="46"/>
                    </a:cubicBezTo>
                    <a:cubicBezTo>
                      <a:pt x="76" y="52"/>
                      <a:pt x="76" y="52"/>
                      <a:pt x="76" y="52"/>
                    </a:cubicBezTo>
                    <a:cubicBezTo>
                      <a:pt x="76" y="54"/>
                      <a:pt x="76" y="54"/>
                      <a:pt x="76" y="54"/>
                    </a:cubicBezTo>
                    <a:cubicBezTo>
                      <a:pt x="74" y="53"/>
                      <a:pt x="74" y="53"/>
                      <a:pt x="74" y="53"/>
                    </a:cubicBezTo>
                    <a:cubicBezTo>
                      <a:pt x="72" y="51"/>
                      <a:pt x="72" y="51"/>
                      <a:pt x="72" y="51"/>
                    </a:cubicBezTo>
                    <a:cubicBezTo>
                      <a:pt x="70" y="46"/>
                      <a:pt x="70" y="46"/>
                      <a:pt x="70" y="46"/>
                    </a:cubicBezTo>
                    <a:cubicBezTo>
                      <a:pt x="68" y="41"/>
                      <a:pt x="68" y="41"/>
                      <a:pt x="68" y="41"/>
                    </a:cubicBezTo>
                    <a:cubicBezTo>
                      <a:pt x="68" y="37"/>
                      <a:pt x="68" y="37"/>
                      <a:pt x="68" y="37"/>
                    </a:cubicBezTo>
                    <a:cubicBezTo>
                      <a:pt x="73" y="32"/>
                      <a:pt x="73" y="32"/>
                      <a:pt x="73" y="32"/>
                    </a:cubicBezTo>
                    <a:cubicBezTo>
                      <a:pt x="75" y="28"/>
                      <a:pt x="75" y="28"/>
                      <a:pt x="75" y="28"/>
                    </a:cubicBezTo>
                    <a:cubicBezTo>
                      <a:pt x="74" y="24"/>
                      <a:pt x="74" y="24"/>
                      <a:pt x="74" y="24"/>
                    </a:cubicBezTo>
                    <a:cubicBezTo>
                      <a:pt x="79" y="29"/>
                      <a:pt x="79" y="29"/>
                      <a:pt x="79" y="29"/>
                    </a:cubicBezTo>
                    <a:cubicBezTo>
                      <a:pt x="80" y="30"/>
                      <a:pt x="80" y="30"/>
                      <a:pt x="80" y="30"/>
                    </a:cubicBezTo>
                    <a:cubicBezTo>
                      <a:pt x="81" y="24"/>
                      <a:pt x="81" y="24"/>
                      <a:pt x="81" y="24"/>
                    </a:cubicBezTo>
                    <a:cubicBezTo>
                      <a:pt x="79" y="15"/>
                      <a:pt x="79" y="15"/>
                      <a:pt x="79" y="15"/>
                    </a:cubicBezTo>
                    <a:cubicBezTo>
                      <a:pt x="80" y="12"/>
                      <a:pt x="80" y="12"/>
                      <a:pt x="80" y="12"/>
                    </a:cubicBezTo>
                    <a:cubicBezTo>
                      <a:pt x="77" y="11"/>
                      <a:pt x="77" y="11"/>
                      <a:pt x="77" y="11"/>
                    </a:cubicBezTo>
                    <a:cubicBezTo>
                      <a:pt x="76" y="0"/>
                      <a:pt x="76" y="0"/>
                      <a:pt x="76" y="0"/>
                    </a:cubicBezTo>
                    <a:cubicBezTo>
                      <a:pt x="76" y="0"/>
                      <a:pt x="133" y="16"/>
                      <a:pt x="145" y="19"/>
                    </a:cubicBezTo>
                    <a:cubicBezTo>
                      <a:pt x="156" y="22"/>
                      <a:pt x="230" y="42"/>
                      <a:pt x="235" y="43"/>
                    </a:cubicBezTo>
                    <a:cubicBezTo>
                      <a:pt x="240" y="45"/>
                      <a:pt x="246" y="45"/>
                      <a:pt x="246" y="45"/>
                    </a:cubicBezTo>
                    <a:lnTo>
                      <a:pt x="257" y="47"/>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17" name="Freeform 6">
                <a:extLst>
                  <a:ext uri="{FF2B5EF4-FFF2-40B4-BE49-F238E27FC236}">
                    <a16:creationId xmlns:a16="http://schemas.microsoft.com/office/drawing/2014/main" id="{0AD2A316-ECDF-2441-B0E6-A3A1BAA4E2C8}"/>
                  </a:ext>
                </a:extLst>
              </p:cNvPr>
              <p:cNvSpPr>
                <a:spLocks/>
              </p:cNvSpPr>
              <p:nvPr/>
            </p:nvSpPr>
            <p:spPr bwMode="auto">
              <a:xfrm>
                <a:off x="13484349" y="8633428"/>
                <a:ext cx="1521747" cy="1562196"/>
              </a:xfrm>
              <a:custGeom>
                <a:avLst/>
                <a:gdLst>
                  <a:gd name="T0" fmla="*/ 34 w 228"/>
                  <a:gd name="T1" fmla="*/ 0 h 234"/>
                  <a:gd name="T2" fmla="*/ 228 w 228"/>
                  <a:gd name="T3" fmla="*/ 23 h 234"/>
                  <a:gd name="T4" fmla="*/ 227 w 228"/>
                  <a:gd name="T5" fmla="*/ 44 h 234"/>
                  <a:gd name="T6" fmla="*/ 224 w 228"/>
                  <a:gd name="T7" fmla="*/ 44 h 234"/>
                  <a:gd name="T8" fmla="*/ 210 w 228"/>
                  <a:gd name="T9" fmla="*/ 226 h 234"/>
                  <a:gd name="T10" fmla="*/ 91 w 228"/>
                  <a:gd name="T11" fmla="*/ 215 h 234"/>
                  <a:gd name="T12" fmla="*/ 90 w 228"/>
                  <a:gd name="T13" fmla="*/ 224 h 234"/>
                  <a:gd name="T14" fmla="*/ 32 w 228"/>
                  <a:gd name="T15" fmla="*/ 218 h 234"/>
                  <a:gd name="T16" fmla="*/ 29 w 228"/>
                  <a:gd name="T17" fmla="*/ 234 h 234"/>
                  <a:gd name="T18" fmla="*/ 0 w 228"/>
                  <a:gd name="T19" fmla="*/ 230 h 234"/>
                  <a:gd name="T20" fmla="*/ 34 w 228"/>
                  <a:gd name="T2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34">
                    <a:moveTo>
                      <a:pt x="34" y="0"/>
                    </a:moveTo>
                    <a:lnTo>
                      <a:pt x="228" y="23"/>
                    </a:lnTo>
                    <a:lnTo>
                      <a:pt x="227" y="44"/>
                    </a:lnTo>
                    <a:lnTo>
                      <a:pt x="224" y="44"/>
                    </a:lnTo>
                    <a:lnTo>
                      <a:pt x="210" y="226"/>
                    </a:lnTo>
                    <a:lnTo>
                      <a:pt x="91" y="215"/>
                    </a:lnTo>
                    <a:lnTo>
                      <a:pt x="90" y="224"/>
                    </a:lnTo>
                    <a:lnTo>
                      <a:pt x="32" y="218"/>
                    </a:lnTo>
                    <a:lnTo>
                      <a:pt x="29" y="234"/>
                    </a:lnTo>
                    <a:lnTo>
                      <a:pt x="0" y="230"/>
                    </a:lnTo>
                    <a:lnTo>
                      <a:pt x="34" y="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18" name="Freeform 7">
                <a:extLst>
                  <a:ext uri="{FF2B5EF4-FFF2-40B4-BE49-F238E27FC236}">
                    <a16:creationId xmlns:a16="http://schemas.microsoft.com/office/drawing/2014/main" id="{92D3007F-1EA3-D045-87B0-681AE996EB0B}"/>
                  </a:ext>
                </a:extLst>
              </p:cNvPr>
              <p:cNvSpPr>
                <a:spLocks/>
              </p:cNvSpPr>
              <p:nvPr/>
            </p:nvSpPr>
            <p:spPr bwMode="auto">
              <a:xfrm>
                <a:off x="14051660" y="8927177"/>
                <a:ext cx="3016797" cy="2977521"/>
              </a:xfrm>
              <a:custGeom>
                <a:avLst/>
                <a:gdLst>
                  <a:gd name="T0" fmla="*/ 450 w 452"/>
                  <a:gd name="T1" fmla="*/ 234 h 446"/>
                  <a:gd name="T2" fmla="*/ 446 w 452"/>
                  <a:gd name="T3" fmla="*/ 215 h 446"/>
                  <a:gd name="T4" fmla="*/ 435 w 452"/>
                  <a:gd name="T5" fmla="*/ 131 h 446"/>
                  <a:gd name="T6" fmla="*/ 417 w 452"/>
                  <a:gd name="T7" fmla="*/ 128 h 446"/>
                  <a:gd name="T8" fmla="*/ 398 w 452"/>
                  <a:gd name="T9" fmla="*/ 117 h 446"/>
                  <a:gd name="T10" fmla="*/ 378 w 452"/>
                  <a:gd name="T11" fmla="*/ 116 h 446"/>
                  <a:gd name="T12" fmla="*/ 365 w 452"/>
                  <a:gd name="T13" fmla="*/ 118 h 446"/>
                  <a:gd name="T14" fmla="*/ 352 w 452"/>
                  <a:gd name="T15" fmla="*/ 122 h 446"/>
                  <a:gd name="T16" fmla="*/ 332 w 452"/>
                  <a:gd name="T17" fmla="*/ 118 h 446"/>
                  <a:gd name="T18" fmla="*/ 325 w 452"/>
                  <a:gd name="T19" fmla="*/ 116 h 446"/>
                  <a:gd name="T20" fmla="*/ 310 w 452"/>
                  <a:gd name="T21" fmla="*/ 112 h 446"/>
                  <a:gd name="T22" fmla="*/ 301 w 452"/>
                  <a:gd name="T23" fmla="*/ 111 h 446"/>
                  <a:gd name="T24" fmla="*/ 284 w 452"/>
                  <a:gd name="T25" fmla="*/ 107 h 446"/>
                  <a:gd name="T26" fmla="*/ 269 w 452"/>
                  <a:gd name="T27" fmla="*/ 101 h 446"/>
                  <a:gd name="T28" fmla="*/ 253 w 452"/>
                  <a:gd name="T29" fmla="*/ 93 h 446"/>
                  <a:gd name="T30" fmla="*/ 242 w 452"/>
                  <a:gd name="T31" fmla="*/ 90 h 446"/>
                  <a:gd name="T32" fmla="*/ 125 w 452"/>
                  <a:gd name="T33" fmla="*/ 182 h 446"/>
                  <a:gd name="T34" fmla="*/ 2 w 452"/>
                  <a:gd name="T35" fmla="*/ 183 h 446"/>
                  <a:gd name="T36" fmla="*/ 13 w 452"/>
                  <a:gd name="T37" fmla="*/ 197 h 446"/>
                  <a:gd name="T38" fmla="*/ 22 w 452"/>
                  <a:gd name="T39" fmla="*/ 205 h 446"/>
                  <a:gd name="T40" fmla="*/ 41 w 452"/>
                  <a:gd name="T41" fmla="*/ 224 h 446"/>
                  <a:gd name="T42" fmla="*/ 55 w 452"/>
                  <a:gd name="T43" fmla="*/ 238 h 446"/>
                  <a:gd name="T44" fmla="*/ 59 w 452"/>
                  <a:gd name="T45" fmla="*/ 259 h 446"/>
                  <a:gd name="T46" fmla="*/ 66 w 452"/>
                  <a:gd name="T47" fmla="*/ 278 h 446"/>
                  <a:gd name="T48" fmla="*/ 74 w 452"/>
                  <a:gd name="T49" fmla="*/ 286 h 446"/>
                  <a:gd name="T50" fmla="*/ 88 w 452"/>
                  <a:gd name="T51" fmla="*/ 296 h 446"/>
                  <a:gd name="T52" fmla="*/ 109 w 452"/>
                  <a:gd name="T53" fmla="*/ 307 h 446"/>
                  <a:gd name="T54" fmla="*/ 120 w 452"/>
                  <a:gd name="T55" fmla="*/ 298 h 446"/>
                  <a:gd name="T56" fmla="*/ 127 w 452"/>
                  <a:gd name="T57" fmla="*/ 283 h 446"/>
                  <a:gd name="T58" fmla="*/ 148 w 452"/>
                  <a:gd name="T59" fmla="*/ 275 h 446"/>
                  <a:gd name="T60" fmla="*/ 170 w 452"/>
                  <a:gd name="T61" fmla="*/ 279 h 446"/>
                  <a:gd name="T62" fmla="*/ 183 w 452"/>
                  <a:gd name="T63" fmla="*/ 292 h 446"/>
                  <a:gd name="T64" fmla="*/ 200 w 452"/>
                  <a:gd name="T65" fmla="*/ 320 h 446"/>
                  <a:gd name="T66" fmla="*/ 210 w 452"/>
                  <a:gd name="T67" fmla="*/ 343 h 446"/>
                  <a:gd name="T68" fmla="*/ 235 w 452"/>
                  <a:gd name="T69" fmla="*/ 372 h 446"/>
                  <a:gd name="T70" fmla="*/ 237 w 452"/>
                  <a:gd name="T71" fmla="*/ 388 h 446"/>
                  <a:gd name="T72" fmla="*/ 249 w 452"/>
                  <a:gd name="T73" fmla="*/ 416 h 446"/>
                  <a:gd name="T74" fmla="*/ 273 w 452"/>
                  <a:gd name="T75" fmla="*/ 427 h 446"/>
                  <a:gd name="T76" fmla="*/ 291 w 452"/>
                  <a:gd name="T77" fmla="*/ 438 h 446"/>
                  <a:gd name="T78" fmla="*/ 305 w 452"/>
                  <a:gd name="T79" fmla="*/ 442 h 446"/>
                  <a:gd name="T80" fmla="*/ 321 w 452"/>
                  <a:gd name="T81" fmla="*/ 441 h 446"/>
                  <a:gd name="T82" fmla="*/ 317 w 452"/>
                  <a:gd name="T83" fmla="*/ 425 h 446"/>
                  <a:gd name="T84" fmla="*/ 308 w 452"/>
                  <a:gd name="T85" fmla="*/ 404 h 446"/>
                  <a:gd name="T86" fmla="*/ 318 w 452"/>
                  <a:gd name="T87" fmla="*/ 370 h 446"/>
                  <a:gd name="T88" fmla="*/ 311 w 452"/>
                  <a:gd name="T89" fmla="*/ 361 h 446"/>
                  <a:gd name="T90" fmla="*/ 326 w 452"/>
                  <a:gd name="T91" fmla="*/ 355 h 446"/>
                  <a:gd name="T92" fmla="*/ 324 w 452"/>
                  <a:gd name="T93" fmla="*/ 350 h 446"/>
                  <a:gd name="T94" fmla="*/ 338 w 452"/>
                  <a:gd name="T95" fmla="*/ 350 h 446"/>
                  <a:gd name="T96" fmla="*/ 336 w 452"/>
                  <a:gd name="T97" fmla="*/ 345 h 446"/>
                  <a:gd name="T98" fmla="*/ 347 w 452"/>
                  <a:gd name="T99" fmla="*/ 342 h 446"/>
                  <a:gd name="T100" fmla="*/ 346 w 452"/>
                  <a:gd name="T101" fmla="*/ 331 h 446"/>
                  <a:gd name="T102" fmla="*/ 357 w 452"/>
                  <a:gd name="T103" fmla="*/ 329 h 446"/>
                  <a:gd name="T104" fmla="*/ 367 w 452"/>
                  <a:gd name="T105" fmla="*/ 329 h 446"/>
                  <a:gd name="T106" fmla="*/ 395 w 452"/>
                  <a:gd name="T107" fmla="*/ 314 h 446"/>
                  <a:gd name="T108" fmla="*/ 403 w 452"/>
                  <a:gd name="T109" fmla="*/ 305 h 446"/>
                  <a:gd name="T110" fmla="*/ 403 w 452"/>
                  <a:gd name="T111" fmla="*/ 296 h 446"/>
                  <a:gd name="T112" fmla="*/ 410 w 452"/>
                  <a:gd name="T113" fmla="*/ 286 h 446"/>
                  <a:gd name="T114" fmla="*/ 412 w 452"/>
                  <a:gd name="T115" fmla="*/ 299 h 446"/>
                  <a:gd name="T116" fmla="*/ 439 w 452"/>
                  <a:gd name="T117" fmla="*/ 288 h 446"/>
                  <a:gd name="T118" fmla="*/ 447 w 452"/>
                  <a:gd name="T119" fmla="*/ 268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2" h="446">
                    <a:moveTo>
                      <a:pt x="446" y="253"/>
                    </a:moveTo>
                    <a:lnTo>
                      <a:pt x="448" y="245"/>
                    </a:lnTo>
                    <a:lnTo>
                      <a:pt x="452" y="240"/>
                    </a:lnTo>
                    <a:lnTo>
                      <a:pt x="450" y="234"/>
                    </a:lnTo>
                    <a:lnTo>
                      <a:pt x="448" y="226"/>
                    </a:lnTo>
                    <a:lnTo>
                      <a:pt x="447" y="223"/>
                    </a:lnTo>
                    <a:lnTo>
                      <a:pt x="447" y="217"/>
                    </a:lnTo>
                    <a:lnTo>
                      <a:pt x="446" y="215"/>
                    </a:lnTo>
                    <a:lnTo>
                      <a:pt x="442" y="206"/>
                    </a:lnTo>
                    <a:lnTo>
                      <a:pt x="442" y="204"/>
                    </a:lnTo>
                    <a:lnTo>
                      <a:pt x="435" y="198"/>
                    </a:lnTo>
                    <a:lnTo>
                      <a:pt x="435" y="131"/>
                    </a:lnTo>
                    <a:lnTo>
                      <a:pt x="425" y="130"/>
                    </a:lnTo>
                    <a:lnTo>
                      <a:pt x="423" y="132"/>
                    </a:lnTo>
                    <a:lnTo>
                      <a:pt x="420" y="131"/>
                    </a:lnTo>
                    <a:lnTo>
                      <a:pt x="417" y="128"/>
                    </a:lnTo>
                    <a:lnTo>
                      <a:pt x="413" y="126"/>
                    </a:lnTo>
                    <a:lnTo>
                      <a:pt x="408" y="126"/>
                    </a:lnTo>
                    <a:lnTo>
                      <a:pt x="402" y="122"/>
                    </a:lnTo>
                    <a:lnTo>
                      <a:pt x="398" y="117"/>
                    </a:lnTo>
                    <a:lnTo>
                      <a:pt x="393" y="116"/>
                    </a:lnTo>
                    <a:lnTo>
                      <a:pt x="385" y="118"/>
                    </a:lnTo>
                    <a:lnTo>
                      <a:pt x="383" y="117"/>
                    </a:lnTo>
                    <a:lnTo>
                      <a:pt x="378" y="116"/>
                    </a:lnTo>
                    <a:lnTo>
                      <a:pt x="374" y="119"/>
                    </a:lnTo>
                    <a:lnTo>
                      <a:pt x="372" y="120"/>
                    </a:lnTo>
                    <a:lnTo>
                      <a:pt x="369" y="118"/>
                    </a:lnTo>
                    <a:lnTo>
                      <a:pt x="365" y="118"/>
                    </a:lnTo>
                    <a:lnTo>
                      <a:pt x="363" y="121"/>
                    </a:lnTo>
                    <a:lnTo>
                      <a:pt x="358" y="124"/>
                    </a:lnTo>
                    <a:lnTo>
                      <a:pt x="354" y="125"/>
                    </a:lnTo>
                    <a:lnTo>
                      <a:pt x="352" y="122"/>
                    </a:lnTo>
                    <a:lnTo>
                      <a:pt x="349" y="119"/>
                    </a:lnTo>
                    <a:lnTo>
                      <a:pt x="341" y="120"/>
                    </a:lnTo>
                    <a:lnTo>
                      <a:pt x="336" y="117"/>
                    </a:lnTo>
                    <a:lnTo>
                      <a:pt x="332" y="118"/>
                    </a:lnTo>
                    <a:lnTo>
                      <a:pt x="330" y="122"/>
                    </a:lnTo>
                    <a:lnTo>
                      <a:pt x="328" y="123"/>
                    </a:lnTo>
                    <a:lnTo>
                      <a:pt x="327" y="118"/>
                    </a:lnTo>
                    <a:lnTo>
                      <a:pt x="325" y="116"/>
                    </a:lnTo>
                    <a:lnTo>
                      <a:pt x="319" y="120"/>
                    </a:lnTo>
                    <a:lnTo>
                      <a:pt x="318" y="116"/>
                    </a:lnTo>
                    <a:lnTo>
                      <a:pt x="312" y="112"/>
                    </a:lnTo>
                    <a:lnTo>
                      <a:pt x="310" y="112"/>
                    </a:lnTo>
                    <a:lnTo>
                      <a:pt x="308" y="115"/>
                    </a:lnTo>
                    <a:lnTo>
                      <a:pt x="305" y="117"/>
                    </a:lnTo>
                    <a:lnTo>
                      <a:pt x="302" y="116"/>
                    </a:lnTo>
                    <a:lnTo>
                      <a:pt x="301" y="111"/>
                    </a:lnTo>
                    <a:lnTo>
                      <a:pt x="298" y="111"/>
                    </a:lnTo>
                    <a:lnTo>
                      <a:pt x="295" y="105"/>
                    </a:lnTo>
                    <a:lnTo>
                      <a:pt x="287" y="105"/>
                    </a:lnTo>
                    <a:lnTo>
                      <a:pt x="284" y="107"/>
                    </a:lnTo>
                    <a:lnTo>
                      <a:pt x="281" y="104"/>
                    </a:lnTo>
                    <a:lnTo>
                      <a:pt x="280" y="104"/>
                    </a:lnTo>
                    <a:lnTo>
                      <a:pt x="275" y="105"/>
                    </a:lnTo>
                    <a:lnTo>
                      <a:pt x="269" y="101"/>
                    </a:lnTo>
                    <a:lnTo>
                      <a:pt x="261" y="101"/>
                    </a:lnTo>
                    <a:lnTo>
                      <a:pt x="259" y="94"/>
                    </a:lnTo>
                    <a:lnTo>
                      <a:pt x="255" y="92"/>
                    </a:lnTo>
                    <a:lnTo>
                      <a:pt x="253" y="93"/>
                    </a:lnTo>
                    <a:lnTo>
                      <a:pt x="250" y="92"/>
                    </a:lnTo>
                    <a:lnTo>
                      <a:pt x="247" y="93"/>
                    </a:lnTo>
                    <a:lnTo>
                      <a:pt x="244" y="93"/>
                    </a:lnTo>
                    <a:lnTo>
                      <a:pt x="242" y="90"/>
                    </a:lnTo>
                    <a:lnTo>
                      <a:pt x="235" y="83"/>
                    </a:lnTo>
                    <a:lnTo>
                      <a:pt x="239" y="6"/>
                    </a:lnTo>
                    <a:lnTo>
                      <a:pt x="139" y="0"/>
                    </a:lnTo>
                    <a:lnTo>
                      <a:pt x="125" y="182"/>
                    </a:lnTo>
                    <a:lnTo>
                      <a:pt x="6" y="171"/>
                    </a:lnTo>
                    <a:lnTo>
                      <a:pt x="5" y="180"/>
                    </a:lnTo>
                    <a:lnTo>
                      <a:pt x="0" y="180"/>
                    </a:lnTo>
                    <a:lnTo>
                      <a:pt x="2" y="183"/>
                    </a:lnTo>
                    <a:lnTo>
                      <a:pt x="7" y="186"/>
                    </a:lnTo>
                    <a:lnTo>
                      <a:pt x="10" y="190"/>
                    </a:lnTo>
                    <a:lnTo>
                      <a:pt x="11" y="193"/>
                    </a:lnTo>
                    <a:lnTo>
                      <a:pt x="13" y="197"/>
                    </a:lnTo>
                    <a:lnTo>
                      <a:pt x="15" y="198"/>
                    </a:lnTo>
                    <a:lnTo>
                      <a:pt x="18" y="200"/>
                    </a:lnTo>
                    <a:lnTo>
                      <a:pt x="21" y="202"/>
                    </a:lnTo>
                    <a:lnTo>
                      <a:pt x="22" y="205"/>
                    </a:lnTo>
                    <a:lnTo>
                      <a:pt x="26" y="210"/>
                    </a:lnTo>
                    <a:lnTo>
                      <a:pt x="30" y="213"/>
                    </a:lnTo>
                    <a:lnTo>
                      <a:pt x="38" y="224"/>
                    </a:lnTo>
                    <a:lnTo>
                      <a:pt x="41" y="224"/>
                    </a:lnTo>
                    <a:lnTo>
                      <a:pt x="44" y="227"/>
                    </a:lnTo>
                    <a:lnTo>
                      <a:pt x="48" y="230"/>
                    </a:lnTo>
                    <a:lnTo>
                      <a:pt x="53" y="234"/>
                    </a:lnTo>
                    <a:lnTo>
                      <a:pt x="55" y="238"/>
                    </a:lnTo>
                    <a:lnTo>
                      <a:pt x="55" y="245"/>
                    </a:lnTo>
                    <a:lnTo>
                      <a:pt x="59" y="251"/>
                    </a:lnTo>
                    <a:lnTo>
                      <a:pt x="60" y="255"/>
                    </a:lnTo>
                    <a:lnTo>
                      <a:pt x="59" y="259"/>
                    </a:lnTo>
                    <a:lnTo>
                      <a:pt x="59" y="264"/>
                    </a:lnTo>
                    <a:lnTo>
                      <a:pt x="60" y="270"/>
                    </a:lnTo>
                    <a:lnTo>
                      <a:pt x="65" y="275"/>
                    </a:lnTo>
                    <a:lnTo>
                      <a:pt x="66" y="278"/>
                    </a:lnTo>
                    <a:lnTo>
                      <a:pt x="67" y="279"/>
                    </a:lnTo>
                    <a:lnTo>
                      <a:pt x="69" y="281"/>
                    </a:lnTo>
                    <a:lnTo>
                      <a:pt x="71" y="283"/>
                    </a:lnTo>
                    <a:lnTo>
                      <a:pt x="74" y="286"/>
                    </a:lnTo>
                    <a:lnTo>
                      <a:pt x="78" y="289"/>
                    </a:lnTo>
                    <a:lnTo>
                      <a:pt x="81" y="292"/>
                    </a:lnTo>
                    <a:lnTo>
                      <a:pt x="84" y="293"/>
                    </a:lnTo>
                    <a:lnTo>
                      <a:pt x="88" y="296"/>
                    </a:lnTo>
                    <a:lnTo>
                      <a:pt x="94" y="299"/>
                    </a:lnTo>
                    <a:lnTo>
                      <a:pt x="101" y="304"/>
                    </a:lnTo>
                    <a:lnTo>
                      <a:pt x="104" y="305"/>
                    </a:lnTo>
                    <a:lnTo>
                      <a:pt x="109" y="307"/>
                    </a:lnTo>
                    <a:lnTo>
                      <a:pt x="113" y="307"/>
                    </a:lnTo>
                    <a:lnTo>
                      <a:pt x="115" y="303"/>
                    </a:lnTo>
                    <a:lnTo>
                      <a:pt x="118" y="300"/>
                    </a:lnTo>
                    <a:lnTo>
                      <a:pt x="120" y="298"/>
                    </a:lnTo>
                    <a:lnTo>
                      <a:pt x="123" y="297"/>
                    </a:lnTo>
                    <a:lnTo>
                      <a:pt x="123" y="292"/>
                    </a:lnTo>
                    <a:lnTo>
                      <a:pt x="125" y="288"/>
                    </a:lnTo>
                    <a:lnTo>
                      <a:pt x="127" y="283"/>
                    </a:lnTo>
                    <a:lnTo>
                      <a:pt x="132" y="277"/>
                    </a:lnTo>
                    <a:lnTo>
                      <a:pt x="139" y="276"/>
                    </a:lnTo>
                    <a:lnTo>
                      <a:pt x="143" y="275"/>
                    </a:lnTo>
                    <a:lnTo>
                      <a:pt x="148" y="275"/>
                    </a:lnTo>
                    <a:lnTo>
                      <a:pt x="153" y="277"/>
                    </a:lnTo>
                    <a:lnTo>
                      <a:pt x="159" y="278"/>
                    </a:lnTo>
                    <a:lnTo>
                      <a:pt x="162" y="278"/>
                    </a:lnTo>
                    <a:lnTo>
                      <a:pt x="170" y="279"/>
                    </a:lnTo>
                    <a:lnTo>
                      <a:pt x="173" y="281"/>
                    </a:lnTo>
                    <a:lnTo>
                      <a:pt x="176" y="287"/>
                    </a:lnTo>
                    <a:lnTo>
                      <a:pt x="178" y="287"/>
                    </a:lnTo>
                    <a:lnTo>
                      <a:pt x="183" y="292"/>
                    </a:lnTo>
                    <a:lnTo>
                      <a:pt x="187" y="294"/>
                    </a:lnTo>
                    <a:lnTo>
                      <a:pt x="190" y="300"/>
                    </a:lnTo>
                    <a:lnTo>
                      <a:pt x="196" y="308"/>
                    </a:lnTo>
                    <a:lnTo>
                      <a:pt x="200" y="320"/>
                    </a:lnTo>
                    <a:lnTo>
                      <a:pt x="203" y="324"/>
                    </a:lnTo>
                    <a:lnTo>
                      <a:pt x="207" y="332"/>
                    </a:lnTo>
                    <a:lnTo>
                      <a:pt x="207" y="335"/>
                    </a:lnTo>
                    <a:lnTo>
                      <a:pt x="210" y="343"/>
                    </a:lnTo>
                    <a:lnTo>
                      <a:pt x="218" y="350"/>
                    </a:lnTo>
                    <a:lnTo>
                      <a:pt x="220" y="358"/>
                    </a:lnTo>
                    <a:lnTo>
                      <a:pt x="230" y="370"/>
                    </a:lnTo>
                    <a:lnTo>
                      <a:pt x="235" y="372"/>
                    </a:lnTo>
                    <a:lnTo>
                      <a:pt x="234" y="381"/>
                    </a:lnTo>
                    <a:lnTo>
                      <a:pt x="232" y="383"/>
                    </a:lnTo>
                    <a:lnTo>
                      <a:pt x="234" y="385"/>
                    </a:lnTo>
                    <a:lnTo>
                      <a:pt x="237" y="388"/>
                    </a:lnTo>
                    <a:lnTo>
                      <a:pt x="237" y="394"/>
                    </a:lnTo>
                    <a:lnTo>
                      <a:pt x="243" y="405"/>
                    </a:lnTo>
                    <a:lnTo>
                      <a:pt x="246" y="411"/>
                    </a:lnTo>
                    <a:lnTo>
                      <a:pt x="249" y="416"/>
                    </a:lnTo>
                    <a:lnTo>
                      <a:pt x="251" y="421"/>
                    </a:lnTo>
                    <a:lnTo>
                      <a:pt x="259" y="422"/>
                    </a:lnTo>
                    <a:lnTo>
                      <a:pt x="264" y="427"/>
                    </a:lnTo>
                    <a:lnTo>
                      <a:pt x="273" y="427"/>
                    </a:lnTo>
                    <a:lnTo>
                      <a:pt x="280" y="434"/>
                    </a:lnTo>
                    <a:lnTo>
                      <a:pt x="284" y="434"/>
                    </a:lnTo>
                    <a:lnTo>
                      <a:pt x="286" y="437"/>
                    </a:lnTo>
                    <a:lnTo>
                      <a:pt x="291" y="438"/>
                    </a:lnTo>
                    <a:lnTo>
                      <a:pt x="292" y="436"/>
                    </a:lnTo>
                    <a:lnTo>
                      <a:pt x="302" y="438"/>
                    </a:lnTo>
                    <a:lnTo>
                      <a:pt x="302" y="439"/>
                    </a:lnTo>
                    <a:lnTo>
                      <a:pt x="305" y="442"/>
                    </a:lnTo>
                    <a:lnTo>
                      <a:pt x="310" y="446"/>
                    </a:lnTo>
                    <a:lnTo>
                      <a:pt x="313" y="444"/>
                    </a:lnTo>
                    <a:lnTo>
                      <a:pt x="314" y="442"/>
                    </a:lnTo>
                    <a:lnTo>
                      <a:pt x="321" y="441"/>
                    </a:lnTo>
                    <a:lnTo>
                      <a:pt x="319" y="436"/>
                    </a:lnTo>
                    <a:lnTo>
                      <a:pt x="319" y="433"/>
                    </a:lnTo>
                    <a:lnTo>
                      <a:pt x="318" y="429"/>
                    </a:lnTo>
                    <a:lnTo>
                      <a:pt x="317" y="425"/>
                    </a:lnTo>
                    <a:lnTo>
                      <a:pt x="314" y="423"/>
                    </a:lnTo>
                    <a:lnTo>
                      <a:pt x="312" y="417"/>
                    </a:lnTo>
                    <a:lnTo>
                      <a:pt x="311" y="411"/>
                    </a:lnTo>
                    <a:lnTo>
                      <a:pt x="308" y="404"/>
                    </a:lnTo>
                    <a:lnTo>
                      <a:pt x="308" y="398"/>
                    </a:lnTo>
                    <a:lnTo>
                      <a:pt x="311" y="389"/>
                    </a:lnTo>
                    <a:lnTo>
                      <a:pt x="314" y="380"/>
                    </a:lnTo>
                    <a:lnTo>
                      <a:pt x="318" y="370"/>
                    </a:lnTo>
                    <a:lnTo>
                      <a:pt x="317" y="368"/>
                    </a:lnTo>
                    <a:lnTo>
                      <a:pt x="314" y="366"/>
                    </a:lnTo>
                    <a:lnTo>
                      <a:pt x="311" y="363"/>
                    </a:lnTo>
                    <a:lnTo>
                      <a:pt x="311" y="361"/>
                    </a:lnTo>
                    <a:lnTo>
                      <a:pt x="313" y="362"/>
                    </a:lnTo>
                    <a:lnTo>
                      <a:pt x="322" y="361"/>
                    </a:lnTo>
                    <a:lnTo>
                      <a:pt x="323" y="361"/>
                    </a:lnTo>
                    <a:lnTo>
                      <a:pt x="326" y="355"/>
                    </a:lnTo>
                    <a:lnTo>
                      <a:pt x="323" y="355"/>
                    </a:lnTo>
                    <a:lnTo>
                      <a:pt x="322" y="353"/>
                    </a:lnTo>
                    <a:lnTo>
                      <a:pt x="322" y="351"/>
                    </a:lnTo>
                    <a:lnTo>
                      <a:pt x="324" y="350"/>
                    </a:lnTo>
                    <a:lnTo>
                      <a:pt x="328" y="350"/>
                    </a:lnTo>
                    <a:lnTo>
                      <a:pt x="333" y="350"/>
                    </a:lnTo>
                    <a:lnTo>
                      <a:pt x="335" y="351"/>
                    </a:lnTo>
                    <a:lnTo>
                      <a:pt x="338" y="350"/>
                    </a:lnTo>
                    <a:lnTo>
                      <a:pt x="343" y="346"/>
                    </a:lnTo>
                    <a:lnTo>
                      <a:pt x="341" y="346"/>
                    </a:lnTo>
                    <a:lnTo>
                      <a:pt x="337" y="349"/>
                    </a:lnTo>
                    <a:lnTo>
                      <a:pt x="336" y="345"/>
                    </a:lnTo>
                    <a:lnTo>
                      <a:pt x="338" y="339"/>
                    </a:lnTo>
                    <a:lnTo>
                      <a:pt x="340" y="341"/>
                    </a:lnTo>
                    <a:lnTo>
                      <a:pt x="342" y="342"/>
                    </a:lnTo>
                    <a:lnTo>
                      <a:pt x="347" y="342"/>
                    </a:lnTo>
                    <a:lnTo>
                      <a:pt x="349" y="340"/>
                    </a:lnTo>
                    <a:lnTo>
                      <a:pt x="348" y="336"/>
                    </a:lnTo>
                    <a:lnTo>
                      <a:pt x="345" y="332"/>
                    </a:lnTo>
                    <a:lnTo>
                      <a:pt x="346" y="331"/>
                    </a:lnTo>
                    <a:lnTo>
                      <a:pt x="349" y="331"/>
                    </a:lnTo>
                    <a:lnTo>
                      <a:pt x="352" y="329"/>
                    </a:lnTo>
                    <a:lnTo>
                      <a:pt x="354" y="331"/>
                    </a:lnTo>
                    <a:lnTo>
                      <a:pt x="357" y="329"/>
                    </a:lnTo>
                    <a:lnTo>
                      <a:pt x="358" y="331"/>
                    </a:lnTo>
                    <a:lnTo>
                      <a:pt x="361" y="333"/>
                    </a:lnTo>
                    <a:lnTo>
                      <a:pt x="364" y="331"/>
                    </a:lnTo>
                    <a:lnTo>
                      <a:pt x="367" y="329"/>
                    </a:lnTo>
                    <a:lnTo>
                      <a:pt x="374" y="327"/>
                    </a:lnTo>
                    <a:lnTo>
                      <a:pt x="381" y="326"/>
                    </a:lnTo>
                    <a:lnTo>
                      <a:pt x="392" y="320"/>
                    </a:lnTo>
                    <a:lnTo>
                      <a:pt x="395" y="314"/>
                    </a:lnTo>
                    <a:lnTo>
                      <a:pt x="396" y="309"/>
                    </a:lnTo>
                    <a:lnTo>
                      <a:pt x="399" y="307"/>
                    </a:lnTo>
                    <a:lnTo>
                      <a:pt x="402" y="306"/>
                    </a:lnTo>
                    <a:lnTo>
                      <a:pt x="403" y="305"/>
                    </a:lnTo>
                    <a:lnTo>
                      <a:pt x="406" y="303"/>
                    </a:lnTo>
                    <a:lnTo>
                      <a:pt x="405" y="300"/>
                    </a:lnTo>
                    <a:lnTo>
                      <a:pt x="404" y="297"/>
                    </a:lnTo>
                    <a:lnTo>
                      <a:pt x="403" y="296"/>
                    </a:lnTo>
                    <a:lnTo>
                      <a:pt x="402" y="294"/>
                    </a:lnTo>
                    <a:lnTo>
                      <a:pt x="403" y="291"/>
                    </a:lnTo>
                    <a:lnTo>
                      <a:pt x="407" y="288"/>
                    </a:lnTo>
                    <a:lnTo>
                      <a:pt x="410" y="286"/>
                    </a:lnTo>
                    <a:lnTo>
                      <a:pt x="412" y="286"/>
                    </a:lnTo>
                    <a:lnTo>
                      <a:pt x="412" y="289"/>
                    </a:lnTo>
                    <a:lnTo>
                      <a:pt x="412" y="293"/>
                    </a:lnTo>
                    <a:lnTo>
                      <a:pt x="412" y="299"/>
                    </a:lnTo>
                    <a:lnTo>
                      <a:pt x="413" y="300"/>
                    </a:lnTo>
                    <a:lnTo>
                      <a:pt x="419" y="295"/>
                    </a:lnTo>
                    <a:lnTo>
                      <a:pt x="424" y="294"/>
                    </a:lnTo>
                    <a:lnTo>
                      <a:pt x="439" y="288"/>
                    </a:lnTo>
                    <a:lnTo>
                      <a:pt x="441" y="287"/>
                    </a:lnTo>
                    <a:lnTo>
                      <a:pt x="444" y="282"/>
                    </a:lnTo>
                    <a:lnTo>
                      <a:pt x="447" y="272"/>
                    </a:lnTo>
                    <a:lnTo>
                      <a:pt x="447" y="268"/>
                    </a:lnTo>
                    <a:lnTo>
                      <a:pt x="444" y="261"/>
                    </a:lnTo>
                    <a:lnTo>
                      <a:pt x="446" y="256"/>
                    </a:lnTo>
                    <a:lnTo>
                      <a:pt x="446" y="253"/>
                    </a:lnTo>
                    <a:close/>
                  </a:path>
                </a:pathLst>
              </a:custGeom>
              <a:solidFill>
                <a:schemeClr val="accent2"/>
              </a:solid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19" name="Freeform 8">
                <a:extLst>
                  <a:ext uri="{FF2B5EF4-FFF2-40B4-BE49-F238E27FC236}">
                    <a16:creationId xmlns:a16="http://schemas.microsoft.com/office/drawing/2014/main" id="{F0C89F5E-F30A-5945-9A17-8D773C75AC28}"/>
                  </a:ext>
                </a:extLst>
              </p:cNvPr>
              <p:cNvSpPr>
                <a:spLocks/>
              </p:cNvSpPr>
              <p:nvPr/>
            </p:nvSpPr>
            <p:spPr bwMode="auto">
              <a:xfrm>
                <a:off x="12249594" y="8446496"/>
                <a:ext cx="1461674" cy="1722423"/>
              </a:xfrm>
              <a:custGeom>
                <a:avLst/>
                <a:gdLst>
                  <a:gd name="T0" fmla="*/ 73 w 259"/>
                  <a:gd name="T1" fmla="*/ 0 h 304"/>
                  <a:gd name="T2" fmla="*/ 68 w 259"/>
                  <a:gd name="T3" fmla="*/ 25 h 304"/>
                  <a:gd name="T4" fmla="*/ 62 w 259"/>
                  <a:gd name="T5" fmla="*/ 43 h 304"/>
                  <a:gd name="T6" fmla="*/ 59 w 259"/>
                  <a:gd name="T7" fmla="*/ 45 h 304"/>
                  <a:gd name="T8" fmla="*/ 56 w 259"/>
                  <a:gd name="T9" fmla="*/ 43 h 304"/>
                  <a:gd name="T10" fmla="*/ 51 w 259"/>
                  <a:gd name="T11" fmla="*/ 39 h 304"/>
                  <a:gd name="T12" fmla="*/ 47 w 259"/>
                  <a:gd name="T13" fmla="*/ 41 h 304"/>
                  <a:gd name="T14" fmla="*/ 45 w 259"/>
                  <a:gd name="T15" fmla="*/ 37 h 304"/>
                  <a:gd name="T16" fmla="*/ 38 w 259"/>
                  <a:gd name="T17" fmla="*/ 39 h 304"/>
                  <a:gd name="T18" fmla="*/ 35 w 259"/>
                  <a:gd name="T19" fmla="*/ 42 h 304"/>
                  <a:gd name="T20" fmla="*/ 35 w 259"/>
                  <a:gd name="T21" fmla="*/ 53 h 304"/>
                  <a:gd name="T22" fmla="*/ 35 w 259"/>
                  <a:gd name="T23" fmla="*/ 67 h 304"/>
                  <a:gd name="T24" fmla="*/ 35 w 259"/>
                  <a:gd name="T25" fmla="*/ 80 h 304"/>
                  <a:gd name="T26" fmla="*/ 34 w 259"/>
                  <a:gd name="T27" fmla="*/ 84 h 304"/>
                  <a:gd name="T28" fmla="*/ 31 w 259"/>
                  <a:gd name="T29" fmla="*/ 89 h 304"/>
                  <a:gd name="T30" fmla="*/ 30 w 259"/>
                  <a:gd name="T31" fmla="*/ 94 h 304"/>
                  <a:gd name="T32" fmla="*/ 30 w 259"/>
                  <a:gd name="T33" fmla="*/ 101 h 304"/>
                  <a:gd name="T34" fmla="*/ 34 w 259"/>
                  <a:gd name="T35" fmla="*/ 110 h 304"/>
                  <a:gd name="T36" fmla="*/ 35 w 259"/>
                  <a:gd name="T37" fmla="*/ 119 h 304"/>
                  <a:gd name="T38" fmla="*/ 37 w 259"/>
                  <a:gd name="T39" fmla="*/ 122 h 304"/>
                  <a:gd name="T40" fmla="*/ 42 w 259"/>
                  <a:gd name="T41" fmla="*/ 128 h 304"/>
                  <a:gd name="T42" fmla="*/ 39 w 259"/>
                  <a:gd name="T43" fmla="*/ 130 h 304"/>
                  <a:gd name="T44" fmla="*/ 34 w 259"/>
                  <a:gd name="T45" fmla="*/ 134 h 304"/>
                  <a:gd name="T46" fmla="*/ 24 w 259"/>
                  <a:gd name="T47" fmla="*/ 141 h 304"/>
                  <a:gd name="T48" fmla="*/ 21 w 259"/>
                  <a:gd name="T49" fmla="*/ 154 h 304"/>
                  <a:gd name="T50" fmla="*/ 17 w 259"/>
                  <a:gd name="T51" fmla="*/ 162 h 304"/>
                  <a:gd name="T52" fmla="*/ 13 w 259"/>
                  <a:gd name="T53" fmla="*/ 166 h 304"/>
                  <a:gd name="T54" fmla="*/ 11 w 259"/>
                  <a:gd name="T55" fmla="*/ 167 h 304"/>
                  <a:gd name="T56" fmla="*/ 9 w 259"/>
                  <a:gd name="T57" fmla="*/ 171 h 304"/>
                  <a:gd name="T58" fmla="*/ 10 w 259"/>
                  <a:gd name="T59" fmla="*/ 178 h 304"/>
                  <a:gd name="T60" fmla="*/ 9 w 259"/>
                  <a:gd name="T61" fmla="*/ 183 h 304"/>
                  <a:gd name="T62" fmla="*/ 15 w 259"/>
                  <a:gd name="T63" fmla="*/ 188 h 304"/>
                  <a:gd name="T64" fmla="*/ 13 w 259"/>
                  <a:gd name="T65" fmla="*/ 192 h 304"/>
                  <a:gd name="T66" fmla="*/ 5 w 259"/>
                  <a:gd name="T67" fmla="*/ 196 h 304"/>
                  <a:gd name="T68" fmla="*/ 3 w 259"/>
                  <a:gd name="T69" fmla="*/ 200 h 304"/>
                  <a:gd name="T70" fmla="*/ 0 w 259"/>
                  <a:gd name="T71" fmla="*/ 206 h 304"/>
                  <a:gd name="T72" fmla="*/ 139 w 259"/>
                  <a:gd name="T73" fmla="*/ 291 h 304"/>
                  <a:gd name="T74" fmla="*/ 182 w 259"/>
                  <a:gd name="T75" fmla="*/ 299 h 304"/>
                  <a:gd name="T76" fmla="*/ 218 w 259"/>
                  <a:gd name="T77" fmla="*/ 304 h 304"/>
                  <a:gd name="T78" fmla="*/ 219 w 259"/>
                  <a:gd name="T79" fmla="*/ 304 h 304"/>
                  <a:gd name="T80" fmla="*/ 259 w 259"/>
                  <a:gd name="T81" fmla="*/ 33 h 304"/>
                  <a:gd name="T82" fmla="*/ 73 w 259"/>
                  <a:gd name="T83" fmla="*/ 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9" h="304">
                    <a:moveTo>
                      <a:pt x="73" y="0"/>
                    </a:moveTo>
                    <a:cubicBezTo>
                      <a:pt x="73" y="0"/>
                      <a:pt x="69" y="19"/>
                      <a:pt x="68" y="25"/>
                    </a:cubicBezTo>
                    <a:cubicBezTo>
                      <a:pt x="66" y="29"/>
                      <a:pt x="62" y="43"/>
                      <a:pt x="62" y="43"/>
                    </a:cubicBezTo>
                    <a:cubicBezTo>
                      <a:pt x="59" y="45"/>
                      <a:pt x="59" y="45"/>
                      <a:pt x="59" y="45"/>
                    </a:cubicBezTo>
                    <a:cubicBezTo>
                      <a:pt x="56" y="43"/>
                      <a:pt x="56" y="43"/>
                      <a:pt x="56" y="43"/>
                    </a:cubicBezTo>
                    <a:cubicBezTo>
                      <a:pt x="51" y="39"/>
                      <a:pt x="51" y="39"/>
                      <a:pt x="51" y="39"/>
                    </a:cubicBezTo>
                    <a:cubicBezTo>
                      <a:pt x="47" y="41"/>
                      <a:pt x="47" y="41"/>
                      <a:pt x="47" y="41"/>
                    </a:cubicBezTo>
                    <a:cubicBezTo>
                      <a:pt x="45" y="37"/>
                      <a:pt x="45" y="37"/>
                      <a:pt x="45" y="37"/>
                    </a:cubicBezTo>
                    <a:cubicBezTo>
                      <a:pt x="38" y="39"/>
                      <a:pt x="38" y="39"/>
                      <a:pt x="38" y="39"/>
                    </a:cubicBezTo>
                    <a:cubicBezTo>
                      <a:pt x="35" y="42"/>
                      <a:pt x="35" y="42"/>
                      <a:pt x="35" y="42"/>
                    </a:cubicBezTo>
                    <a:cubicBezTo>
                      <a:pt x="35" y="53"/>
                      <a:pt x="35" y="53"/>
                      <a:pt x="35" y="53"/>
                    </a:cubicBezTo>
                    <a:cubicBezTo>
                      <a:pt x="35" y="67"/>
                      <a:pt x="35" y="67"/>
                      <a:pt x="35" y="67"/>
                    </a:cubicBezTo>
                    <a:cubicBezTo>
                      <a:pt x="35" y="80"/>
                      <a:pt x="35" y="80"/>
                      <a:pt x="35" y="80"/>
                    </a:cubicBezTo>
                    <a:cubicBezTo>
                      <a:pt x="34" y="84"/>
                      <a:pt x="34" y="84"/>
                      <a:pt x="34" y="84"/>
                    </a:cubicBezTo>
                    <a:cubicBezTo>
                      <a:pt x="31" y="89"/>
                      <a:pt x="31" y="89"/>
                      <a:pt x="31" y="89"/>
                    </a:cubicBezTo>
                    <a:cubicBezTo>
                      <a:pt x="30" y="94"/>
                      <a:pt x="30" y="94"/>
                      <a:pt x="30" y="94"/>
                    </a:cubicBezTo>
                    <a:cubicBezTo>
                      <a:pt x="30" y="101"/>
                      <a:pt x="30" y="101"/>
                      <a:pt x="30" y="101"/>
                    </a:cubicBezTo>
                    <a:cubicBezTo>
                      <a:pt x="34" y="110"/>
                      <a:pt x="34" y="110"/>
                      <a:pt x="34" y="110"/>
                    </a:cubicBezTo>
                    <a:cubicBezTo>
                      <a:pt x="35" y="119"/>
                      <a:pt x="35" y="119"/>
                      <a:pt x="35" y="119"/>
                    </a:cubicBezTo>
                    <a:cubicBezTo>
                      <a:pt x="37" y="122"/>
                      <a:pt x="37" y="122"/>
                      <a:pt x="37" y="122"/>
                    </a:cubicBezTo>
                    <a:cubicBezTo>
                      <a:pt x="42" y="128"/>
                      <a:pt x="42" y="128"/>
                      <a:pt x="42" y="128"/>
                    </a:cubicBezTo>
                    <a:cubicBezTo>
                      <a:pt x="39" y="130"/>
                      <a:pt x="39" y="130"/>
                      <a:pt x="39" y="130"/>
                    </a:cubicBezTo>
                    <a:cubicBezTo>
                      <a:pt x="34" y="134"/>
                      <a:pt x="34" y="134"/>
                      <a:pt x="34" y="134"/>
                    </a:cubicBezTo>
                    <a:cubicBezTo>
                      <a:pt x="24" y="141"/>
                      <a:pt x="24" y="141"/>
                      <a:pt x="24" y="141"/>
                    </a:cubicBezTo>
                    <a:cubicBezTo>
                      <a:pt x="21" y="154"/>
                      <a:pt x="21" y="154"/>
                      <a:pt x="21" y="154"/>
                    </a:cubicBezTo>
                    <a:cubicBezTo>
                      <a:pt x="17" y="162"/>
                      <a:pt x="17" y="162"/>
                      <a:pt x="17" y="162"/>
                    </a:cubicBezTo>
                    <a:cubicBezTo>
                      <a:pt x="13" y="166"/>
                      <a:pt x="13" y="166"/>
                      <a:pt x="13" y="166"/>
                    </a:cubicBezTo>
                    <a:cubicBezTo>
                      <a:pt x="11" y="167"/>
                      <a:pt x="11" y="167"/>
                      <a:pt x="11" y="167"/>
                    </a:cubicBezTo>
                    <a:cubicBezTo>
                      <a:pt x="9" y="171"/>
                      <a:pt x="9" y="171"/>
                      <a:pt x="9" y="171"/>
                    </a:cubicBezTo>
                    <a:cubicBezTo>
                      <a:pt x="10" y="178"/>
                      <a:pt x="10" y="178"/>
                      <a:pt x="10" y="178"/>
                    </a:cubicBezTo>
                    <a:cubicBezTo>
                      <a:pt x="9" y="183"/>
                      <a:pt x="9" y="183"/>
                      <a:pt x="9" y="183"/>
                    </a:cubicBezTo>
                    <a:cubicBezTo>
                      <a:pt x="15" y="188"/>
                      <a:pt x="15" y="188"/>
                      <a:pt x="15" y="188"/>
                    </a:cubicBezTo>
                    <a:cubicBezTo>
                      <a:pt x="13" y="192"/>
                      <a:pt x="13" y="192"/>
                      <a:pt x="13" y="192"/>
                    </a:cubicBezTo>
                    <a:cubicBezTo>
                      <a:pt x="5" y="196"/>
                      <a:pt x="5" y="196"/>
                      <a:pt x="5" y="196"/>
                    </a:cubicBezTo>
                    <a:cubicBezTo>
                      <a:pt x="3" y="200"/>
                      <a:pt x="3" y="200"/>
                      <a:pt x="3" y="200"/>
                    </a:cubicBezTo>
                    <a:cubicBezTo>
                      <a:pt x="0" y="206"/>
                      <a:pt x="0" y="206"/>
                      <a:pt x="0" y="206"/>
                    </a:cubicBezTo>
                    <a:cubicBezTo>
                      <a:pt x="139" y="291"/>
                      <a:pt x="139" y="291"/>
                      <a:pt x="139" y="291"/>
                    </a:cubicBezTo>
                    <a:cubicBezTo>
                      <a:pt x="182" y="299"/>
                      <a:pt x="182" y="299"/>
                      <a:pt x="182" y="299"/>
                    </a:cubicBezTo>
                    <a:cubicBezTo>
                      <a:pt x="218" y="304"/>
                      <a:pt x="218" y="304"/>
                      <a:pt x="218" y="304"/>
                    </a:cubicBezTo>
                    <a:cubicBezTo>
                      <a:pt x="219" y="304"/>
                      <a:pt x="219" y="304"/>
                      <a:pt x="219" y="304"/>
                    </a:cubicBezTo>
                    <a:cubicBezTo>
                      <a:pt x="259" y="33"/>
                      <a:pt x="259" y="33"/>
                      <a:pt x="259" y="33"/>
                    </a:cubicBezTo>
                    <a:lnTo>
                      <a:pt x="73" y="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0" name="Freeform 9">
                <a:extLst>
                  <a:ext uri="{FF2B5EF4-FFF2-40B4-BE49-F238E27FC236}">
                    <a16:creationId xmlns:a16="http://schemas.microsoft.com/office/drawing/2014/main" id="{98C3B158-FF83-364D-9195-8D653229B066}"/>
                  </a:ext>
                </a:extLst>
              </p:cNvPr>
              <p:cNvSpPr>
                <a:spLocks/>
              </p:cNvSpPr>
              <p:nvPr/>
            </p:nvSpPr>
            <p:spPr bwMode="auto">
              <a:xfrm>
                <a:off x="10767893" y="6590555"/>
                <a:ext cx="1715300" cy="2970847"/>
              </a:xfrm>
              <a:custGeom>
                <a:avLst/>
                <a:gdLst>
                  <a:gd name="T0" fmla="*/ 229 w 257"/>
                  <a:gd name="T1" fmla="*/ 433 h 445"/>
                  <a:gd name="T2" fmla="*/ 231 w 257"/>
                  <a:gd name="T3" fmla="*/ 420 h 445"/>
                  <a:gd name="T4" fmla="*/ 239 w 257"/>
                  <a:gd name="T5" fmla="*/ 409 h 445"/>
                  <a:gd name="T6" fmla="*/ 255 w 257"/>
                  <a:gd name="T7" fmla="*/ 388 h 445"/>
                  <a:gd name="T8" fmla="*/ 251 w 257"/>
                  <a:gd name="T9" fmla="*/ 379 h 445"/>
                  <a:gd name="T10" fmla="*/ 247 w 257"/>
                  <a:gd name="T11" fmla="*/ 358 h 445"/>
                  <a:gd name="T12" fmla="*/ 118 w 257"/>
                  <a:gd name="T13" fmla="*/ 158 h 445"/>
                  <a:gd name="T14" fmla="*/ 113 w 257"/>
                  <a:gd name="T15" fmla="*/ 153 h 445"/>
                  <a:gd name="T16" fmla="*/ 117 w 257"/>
                  <a:gd name="T17" fmla="*/ 146 h 445"/>
                  <a:gd name="T18" fmla="*/ 26 w 257"/>
                  <a:gd name="T19" fmla="*/ 0 h 445"/>
                  <a:gd name="T20" fmla="*/ 23 w 257"/>
                  <a:gd name="T21" fmla="*/ 9 h 445"/>
                  <a:gd name="T22" fmla="*/ 22 w 257"/>
                  <a:gd name="T23" fmla="*/ 25 h 445"/>
                  <a:gd name="T24" fmla="*/ 17 w 257"/>
                  <a:gd name="T25" fmla="*/ 34 h 445"/>
                  <a:gd name="T26" fmla="*/ 7 w 257"/>
                  <a:gd name="T27" fmla="*/ 50 h 445"/>
                  <a:gd name="T28" fmla="*/ 0 w 257"/>
                  <a:gd name="T29" fmla="*/ 62 h 445"/>
                  <a:gd name="T30" fmla="*/ 3 w 257"/>
                  <a:gd name="T31" fmla="*/ 75 h 445"/>
                  <a:gd name="T32" fmla="*/ 9 w 257"/>
                  <a:gd name="T33" fmla="*/ 90 h 445"/>
                  <a:gd name="T34" fmla="*/ 5 w 257"/>
                  <a:gd name="T35" fmla="*/ 110 h 445"/>
                  <a:gd name="T36" fmla="*/ 2 w 257"/>
                  <a:gd name="T37" fmla="*/ 122 h 445"/>
                  <a:gd name="T38" fmla="*/ 11 w 257"/>
                  <a:gd name="T39" fmla="*/ 145 h 445"/>
                  <a:gd name="T40" fmla="*/ 17 w 257"/>
                  <a:gd name="T41" fmla="*/ 161 h 445"/>
                  <a:gd name="T42" fmla="*/ 14 w 257"/>
                  <a:gd name="T43" fmla="*/ 169 h 445"/>
                  <a:gd name="T44" fmla="*/ 23 w 257"/>
                  <a:gd name="T45" fmla="*/ 176 h 445"/>
                  <a:gd name="T46" fmla="*/ 29 w 257"/>
                  <a:gd name="T47" fmla="*/ 175 h 445"/>
                  <a:gd name="T48" fmla="*/ 37 w 257"/>
                  <a:gd name="T49" fmla="*/ 172 h 445"/>
                  <a:gd name="T50" fmla="*/ 51 w 257"/>
                  <a:gd name="T51" fmla="*/ 177 h 445"/>
                  <a:gd name="T52" fmla="*/ 49 w 257"/>
                  <a:gd name="T53" fmla="*/ 179 h 445"/>
                  <a:gd name="T54" fmla="*/ 40 w 257"/>
                  <a:gd name="T55" fmla="*/ 176 h 445"/>
                  <a:gd name="T56" fmla="*/ 33 w 257"/>
                  <a:gd name="T57" fmla="*/ 175 h 445"/>
                  <a:gd name="T58" fmla="*/ 35 w 257"/>
                  <a:gd name="T59" fmla="*/ 187 h 445"/>
                  <a:gd name="T60" fmla="*/ 30 w 257"/>
                  <a:gd name="T61" fmla="*/ 192 h 445"/>
                  <a:gd name="T62" fmla="*/ 29 w 257"/>
                  <a:gd name="T63" fmla="*/ 185 h 445"/>
                  <a:gd name="T64" fmla="*/ 24 w 257"/>
                  <a:gd name="T65" fmla="*/ 187 h 445"/>
                  <a:gd name="T66" fmla="*/ 23 w 257"/>
                  <a:gd name="T67" fmla="*/ 204 h 445"/>
                  <a:gd name="T68" fmla="*/ 30 w 257"/>
                  <a:gd name="T69" fmla="*/ 217 h 445"/>
                  <a:gd name="T70" fmla="*/ 35 w 257"/>
                  <a:gd name="T71" fmla="*/ 229 h 445"/>
                  <a:gd name="T72" fmla="*/ 28 w 257"/>
                  <a:gd name="T73" fmla="*/ 234 h 445"/>
                  <a:gd name="T74" fmla="*/ 34 w 257"/>
                  <a:gd name="T75" fmla="*/ 255 h 445"/>
                  <a:gd name="T76" fmla="*/ 42 w 257"/>
                  <a:gd name="T77" fmla="*/ 275 h 445"/>
                  <a:gd name="T78" fmla="*/ 50 w 257"/>
                  <a:gd name="T79" fmla="*/ 288 h 445"/>
                  <a:gd name="T80" fmla="*/ 50 w 257"/>
                  <a:gd name="T81" fmla="*/ 298 h 445"/>
                  <a:gd name="T82" fmla="*/ 53 w 257"/>
                  <a:gd name="T83" fmla="*/ 307 h 445"/>
                  <a:gd name="T84" fmla="*/ 50 w 257"/>
                  <a:gd name="T85" fmla="*/ 327 h 445"/>
                  <a:gd name="T86" fmla="*/ 73 w 257"/>
                  <a:gd name="T87" fmla="*/ 339 h 445"/>
                  <a:gd name="T88" fmla="*/ 91 w 257"/>
                  <a:gd name="T89" fmla="*/ 355 h 445"/>
                  <a:gd name="T90" fmla="*/ 112 w 257"/>
                  <a:gd name="T91" fmla="*/ 374 h 445"/>
                  <a:gd name="T92" fmla="*/ 128 w 257"/>
                  <a:gd name="T93" fmla="*/ 388 h 445"/>
                  <a:gd name="T94" fmla="*/ 143 w 257"/>
                  <a:gd name="T95" fmla="*/ 414 h 445"/>
                  <a:gd name="T96" fmla="*/ 143 w 257"/>
                  <a:gd name="T97" fmla="*/ 434 h 445"/>
                  <a:gd name="T98" fmla="*/ 226 w 257"/>
                  <a:gd name="T99" fmla="*/ 44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7" h="445">
                    <a:moveTo>
                      <a:pt x="233" y="441"/>
                    </a:moveTo>
                    <a:lnTo>
                      <a:pt x="234" y="438"/>
                    </a:lnTo>
                    <a:lnTo>
                      <a:pt x="229" y="433"/>
                    </a:lnTo>
                    <a:lnTo>
                      <a:pt x="230" y="429"/>
                    </a:lnTo>
                    <a:lnTo>
                      <a:pt x="229" y="423"/>
                    </a:lnTo>
                    <a:lnTo>
                      <a:pt x="231" y="420"/>
                    </a:lnTo>
                    <a:lnTo>
                      <a:pt x="233" y="419"/>
                    </a:lnTo>
                    <a:lnTo>
                      <a:pt x="236" y="416"/>
                    </a:lnTo>
                    <a:lnTo>
                      <a:pt x="239" y="409"/>
                    </a:lnTo>
                    <a:lnTo>
                      <a:pt x="242" y="398"/>
                    </a:lnTo>
                    <a:lnTo>
                      <a:pt x="250" y="392"/>
                    </a:lnTo>
                    <a:lnTo>
                      <a:pt x="255" y="388"/>
                    </a:lnTo>
                    <a:lnTo>
                      <a:pt x="257" y="387"/>
                    </a:lnTo>
                    <a:lnTo>
                      <a:pt x="253" y="382"/>
                    </a:lnTo>
                    <a:lnTo>
                      <a:pt x="251" y="379"/>
                    </a:lnTo>
                    <a:lnTo>
                      <a:pt x="250" y="372"/>
                    </a:lnTo>
                    <a:lnTo>
                      <a:pt x="247" y="364"/>
                    </a:lnTo>
                    <a:lnTo>
                      <a:pt x="247" y="358"/>
                    </a:lnTo>
                    <a:lnTo>
                      <a:pt x="248" y="354"/>
                    </a:lnTo>
                    <a:lnTo>
                      <a:pt x="248" y="353"/>
                    </a:lnTo>
                    <a:lnTo>
                      <a:pt x="118" y="158"/>
                    </a:lnTo>
                    <a:lnTo>
                      <a:pt x="115" y="156"/>
                    </a:lnTo>
                    <a:lnTo>
                      <a:pt x="114" y="155"/>
                    </a:lnTo>
                    <a:lnTo>
                      <a:pt x="113" y="153"/>
                    </a:lnTo>
                    <a:lnTo>
                      <a:pt x="112" y="150"/>
                    </a:lnTo>
                    <a:lnTo>
                      <a:pt x="113" y="147"/>
                    </a:lnTo>
                    <a:lnTo>
                      <a:pt x="117" y="146"/>
                    </a:lnTo>
                    <a:lnTo>
                      <a:pt x="119" y="145"/>
                    </a:lnTo>
                    <a:lnTo>
                      <a:pt x="148" y="35"/>
                    </a:lnTo>
                    <a:lnTo>
                      <a:pt x="26" y="0"/>
                    </a:lnTo>
                    <a:lnTo>
                      <a:pt x="25" y="4"/>
                    </a:lnTo>
                    <a:lnTo>
                      <a:pt x="23" y="5"/>
                    </a:lnTo>
                    <a:lnTo>
                      <a:pt x="23" y="9"/>
                    </a:lnTo>
                    <a:lnTo>
                      <a:pt x="23" y="12"/>
                    </a:lnTo>
                    <a:lnTo>
                      <a:pt x="23" y="21"/>
                    </a:lnTo>
                    <a:lnTo>
                      <a:pt x="22" y="25"/>
                    </a:lnTo>
                    <a:lnTo>
                      <a:pt x="19" y="30"/>
                    </a:lnTo>
                    <a:lnTo>
                      <a:pt x="17" y="33"/>
                    </a:lnTo>
                    <a:lnTo>
                      <a:pt x="17" y="34"/>
                    </a:lnTo>
                    <a:lnTo>
                      <a:pt x="17" y="40"/>
                    </a:lnTo>
                    <a:lnTo>
                      <a:pt x="13" y="45"/>
                    </a:lnTo>
                    <a:lnTo>
                      <a:pt x="7" y="50"/>
                    </a:lnTo>
                    <a:lnTo>
                      <a:pt x="2" y="55"/>
                    </a:lnTo>
                    <a:lnTo>
                      <a:pt x="1" y="57"/>
                    </a:lnTo>
                    <a:lnTo>
                      <a:pt x="0" y="62"/>
                    </a:lnTo>
                    <a:lnTo>
                      <a:pt x="0" y="66"/>
                    </a:lnTo>
                    <a:lnTo>
                      <a:pt x="1" y="71"/>
                    </a:lnTo>
                    <a:lnTo>
                      <a:pt x="3" y="75"/>
                    </a:lnTo>
                    <a:lnTo>
                      <a:pt x="7" y="81"/>
                    </a:lnTo>
                    <a:lnTo>
                      <a:pt x="8" y="85"/>
                    </a:lnTo>
                    <a:lnTo>
                      <a:pt x="9" y="90"/>
                    </a:lnTo>
                    <a:lnTo>
                      <a:pt x="9" y="98"/>
                    </a:lnTo>
                    <a:lnTo>
                      <a:pt x="6" y="104"/>
                    </a:lnTo>
                    <a:lnTo>
                      <a:pt x="5" y="110"/>
                    </a:lnTo>
                    <a:lnTo>
                      <a:pt x="5" y="117"/>
                    </a:lnTo>
                    <a:lnTo>
                      <a:pt x="4" y="120"/>
                    </a:lnTo>
                    <a:lnTo>
                      <a:pt x="2" y="122"/>
                    </a:lnTo>
                    <a:lnTo>
                      <a:pt x="3" y="126"/>
                    </a:lnTo>
                    <a:lnTo>
                      <a:pt x="7" y="133"/>
                    </a:lnTo>
                    <a:lnTo>
                      <a:pt x="11" y="145"/>
                    </a:lnTo>
                    <a:lnTo>
                      <a:pt x="15" y="153"/>
                    </a:lnTo>
                    <a:lnTo>
                      <a:pt x="17" y="156"/>
                    </a:lnTo>
                    <a:lnTo>
                      <a:pt x="17" y="161"/>
                    </a:lnTo>
                    <a:lnTo>
                      <a:pt x="16" y="164"/>
                    </a:lnTo>
                    <a:lnTo>
                      <a:pt x="14" y="166"/>
                    </a:lnTo>
                    <a:lnTo>
                      <a:pt x="14" y="169"/>
                    </a:lnTo>
                    <a:lnTo>
                      <a:pt x="18" y="169"/>
                    </a:lnTo>
                    <a:lnTo>
                      <a:pt x="20" y="172"/>
                    </a:lnTo>
                    <a:lnTo>
                      <a:pt x="23" y="176"/>
                    </a:lnTo>
                    <a:lnTo>
                      <a:pt x="24" y="178"/>
                    </a:lnTo>
                    <a:lnTo>
                      <a:pt x="27" y="179"/>
                    </a:lnTo>
                    <a:lnTo>
                      <a:pt x="29" y="175"/>
                    </a:lnTo>
                    <a:lnTo>
                      <a:pt x="29" y="170"/>
                    </a:lnTo>
                    <a:lnTo>
                      <a:pt x="34" y="169"/>
                    </a:lnTo>
                    <a:lnTo>
                      <a:pt x="37" y="172"/>
                    </a:lnTo>
                    <a:lnTo>
                      <a:pt x="44" y="172"/>
                    </a:lnTo>
                    <a:lnTo>
                      <a:pt x="48" y="176"/>
                    </a:lnTo>
                    <a:lnTo>
                      <a:pt x="51" y="177"/>
                    </a:lnTo>
                    <a:lnTo>
                      <a:pt x="53" y="178"/>
                    </a:lnTo>
                    <a:lnTo>
                      <a:pt x="51" y="180"/>
                    </a:lnTo>
                    <a:lnTo>
                      <a:pt x="49" y="179"/>
                    </a:lnTo>
                    <a:lnTo>
                      <a:pt x="45" y="177"/>
                    </a:lnTo>
                    <a:lnTo>
                      <a:pt x="44" y="177"/>
                    </a:lnTo>
                    <a:lnTo>
                      <a:pt x="40" y="176"/>
                    </a:lnTo>
                    <a:lnTo>
                      <a:pt x="38" y="175"/>
                    </a:lnTo>
                    <a:lnTo>
                      <a:pt x="35" y="174"/>
                    </a:lnTo>
                    <a:lnTo>
                      <a:pt x="33" y="175"/>
                    </a:lnTo>
                    <a:lnTo>
                      <a:pt x="33" y="177"/>
                    </a:lnTo>
                    <a:lnTo>
                      <a:pt x="33" y="184"/>
                    </a:lnTo>
                    <a:lnTo>
                      <a:pt x="35" y="187"/>
                    </a:lnTo>
                    <a:lnTo>
                      <a:pt x="34" y="194"/>
                    </a:lnTo>
                    <a:lnTo>
                      <a:pt x="33" y="194"/>
                    </a:lnTo>
                    <a:lnTo>
                      <a:pt x="30" y="192"/>
                    </a:lnTo>
                    <a:lnTo>
                      <a:pt x="29" y="190"/>
                    </a:lnTo>
                    <a:lnTo>
                      <a:pt x="29" y="186"/>
                    </a:lnTo>
                    <a:lnTo>
                      <a:pt x="29" y="185"/>
                    </a:lnTo>
                    <a:lnTo>
                      <a:pt x="28" y="184"/>
                    </a:lnTo>
                    <a:lnTo>
                      <a:pt x="25" y="183"/>
                    </a:lnTo>
                    <a:lnTo>
                      <a:pt x="24" y="187"/>
                    </a:lnTo>
                    <a:lnTo>
                      <a:pt x="23" y="189"/>
                    </a:lnTo>
                    <a:lnTo>
                      <a:pt x="23" y="195"/>
                    </a:lnTo>
                    <a:lnTo>
                      <a:pt x="23" y="204"/>
                    </a:lnTo>
                    <a:lnTo>
                      <a:pt x="23" y="209"/>
                    </a:lnTo>
                    <a:lnTo>
                      <a:pt x="26" y="214"/>
                    </a:lnTo>
                    <a:lnTo>
                      <a:pt x="30" y="217"/>
                    </a:lnTo>
                    <a:lnTo>
                      <a:pt x="34" y="220"/>
                    </a:lnTo>
                    <a:lnTo>
                      <a:pt x="35" y="225"/>
                    </a:lnTo>
                    <a:lnTo>
                      <a:pt x="35" y="229"/>
                    </a:lnTo>
                    <a:lnTo>
                      <a:pt x="34" y="233"/>
                    </a:lnTo>
                    <a:lnTo>
                      <a:pt x="31" y="234"/>
                    </a:lnTo>
                    <a:lnTo>
                      <a:pt x="28" y="234"/>
                    </a:lnTo>
                    <a:lnTo>
                      <a:pt x="28" y="244"/>
                    </a:lnTo>
                    <a:lnTo>
                      <a:pt x="29" y="247"/>
                    </a:lnTo>
                    <a:lnTo>
                      <a:pt x="34" y="255"/>
                    </a:lnTo>
                    <a:lnTo>
                      <a:pt x="35" y="261"/>
                    </a:lnTo>
                    <a:lnTo>
                      <a:pt x="40" y="268"/>
                    </a:lnTo>
                    <a:lnTo>
                      <a:pt x="42" y="275"/>
                    </a:lnTo>
                    <a:lnTo>
                      <a:pt x="45" y="280"/>
                    </a:lnTo>
                    <a:lnTo>
                      <a:pt x="48" y="287"/>
                    </a:lnTo>
                    <a:lnTo>
                      <a:pt x="50" y="288"/>
                    </a:lnTo>
                    <a:lnTo>
                      <a:pt x="50" y="293"/>
                    </a:lnTo>
                    <a:lnTo>
                      <a:pt x="50" y="296"/>
                    </a:lnTo>
                    <a:lnTo>
                      <a:pt x="50" y="298"/>
                    </a:lnTo>
                    <a:lnTo>
                      <a:pt x="52" y="300"/>
                    </a:lnTo>
                    <a:lnTo>
                      <a:pt x="53" y="303"/>
                    </a:lnTo>
                    <a:lnTo>
                      <a:pt x="53" y="307"/>
                    </a:lnTo>
                    <a:lnTo>
                      <a:pt x="52" y="316"/>
                    </a:lnTo>
                    <a:lnTo>
                      <a:pt x="51" y="322"/>
                    </a:lnTo>
                    <a:lnTo>
                      <a:pt x="50" y="327"/>
                    </a:lnTo>
                    <a:lnTo>
                      <a:pt x="59" y="332"/>
                    </a:lnTo>
                    <a:lnTo>
                      <a:pt x="67" y="335"/>
                    </a:lnTo>
                    <a:lnTo>
                      <a:pt x="73" y="339"/>
                    </a:lnTo>
                    <a:lnTo>
                      <a:pt x="82" y="342"/>
                    </a:lnTo>
                    <a:lnTo>
                      <a:pt x="85" y="345"/>
                    </a:lnTo>
                    <a:lnTo>
                      <a:pt x="91" y="355"/>
                    </a:lnTo>
                    <a:lnTo>
                      <a:pt x="99" y="362"/>
                    </a:lnTo>
                    <a:lnTo>
                      <a:pt x="111" y="365"/>
                    </a:lnTo>
                    <a:lnTo>
                      <a:pt x="112" y="374"/>
                    </a:lnTo>
                    <a:lnTo>
                      <a:pt x="114" y="378"/>
                    </a:lnTo>
                    <a:lnTo>
                      <a:pt x="121" y="380"/>
                    </a:lnTo>
                    <a:lnTo>
                      <a:pt x="128" y="388"/>
                    </a:lnTo>
                    <a:lnTo>
                      <a:pt x="136" y="400"/>
                    </a:lnTo>
                    <a:lnTo>
                      <a:pt x="140" y="405"/>
                    </a:lnTo>
                    <a:lnTo>
                      <a:pt x="143" y="414"/>
                    </a:lnTo>
                    <a:lnTo>
                      <a:pt x="140" y="422"/>
                    </a:lnTo>
                    <a:lnTo>
                      <a:pt x="140" y="427"/>
                    </a:lnTo>
                    <a:lnTo>
                      <a:pt x="143" y="434"/>
                    </a:lnTo>
                    <a:lnTo>
                      <a:pt x="147" y="435"/>
                    </a:lnTo>
                    <a:lnTo>
                      <a:pt x="225" y="445"/>
                    </a:lnTo>
                    <a:lnTo>
                      <a:pt x="226" y="444"/>
                    </a:lnTo>
                    <a:lnTo>
                      <a:pt x="233" y="441"/>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1" name="Freeform 10">
                <a:extLst>
                  <a:ext uri="{FF2B5EF4-FFF2-40B4-BE49-F238E27FC236}">
                    <a16:creationId xmlns:a16="http://schemas.microsoft.com/office/drawing/2014/main" id="{9E003F27-D814-4142-B133-77DEAB91ABE5}"/>
                  </a:ext>
                </a:extLst>
              </p:cNvPr>
              <p:cNvSpPr>
                <a:spLocks/>
              </p:cNvSpPr>
              <p:nvPr/>
            </p:nvSpPr>
            <p:spPr bwMode="auto">
              <a:xfrm>
                <a:off x="14979398" y="8786981"/>
                <a:ext cx="1875485" cy="1008090"/>
              </a:xfrm>
              <a:custGeom>
                <a:avLst/>
                <a:gdLst>
                  <a:gd name="T0" fmla="*/ 0 w 332"/>
                  <a:gd name="T1" fmla="*/ 25 h 178"/>
                  <a:gd name="T2" fmla="*/ 0 w 332"/>
                  <a:gd name="T3" fmla="*/ 28 h 178"/>
                  <a:gd name="T4" fmla="*/ 0 w 332"/>
                  <a:gd name="T5" fmla="*/ 25 h 178"/>
                  <a:gd name="T6" fmla="*/ 118 w 332"/>
                  <a:gd name="T7" fmla="*/ 32 h 178"/>
                  <a:gd name="T8" fmla="*/ 113 w 332"/>
                  <a:gd name="T9" fmla="*/ 123 h 178"/>
                  <a:gd name="T10" fmla="*/ 121 w 332"/>
                  <a:gd name="T11" fmla="*/ 131 h 178"/>
                  <a:gd name="T12" fmla="*/ 124 w 332"/>
                  <a:gd name="T13" fmla="*/ 134 h 178"/>
                  <a:gd name="T14" fmla="*/ 127 w 332"/>
                  <a:gd name="T15" fmla="*/ 134 h 178"/>
                  <a:gd name="T16" fmla="*/ 131 w 332"/>
                  <a:gd name="T17" fmla="*/ 133 h 178"/>
                  <a:gd name="T18" fmla="*/ 134 w 332"/>
                  <a:gd name="T19" fmla="*/ 134 h 178"/>
                  <a:gd name="T20" fmla="*/ 137 w 332"/>
                  <a:gd name="T21" fmla="*/ 133 h 178"/>
                  <a:gd name="T22" fmla="*/ 141 w 332"/>
                  <a:gd name="T23" fmla="*/ 135 h 178"/>
                  <a:gd name="T24" fmla="*/ 144 w 332"/>
                  <a:gd name="T25" fmla="*/ 144 h 178"/>
                  <a:gd name="T26" fmla="*/ 153 w 332"/>
                  <a:gd name="T27" fmla="*/ 144 h 178"/>
                  <a:gd name="T28" fmla="*/ 160 w 332"/>
                  <a:gd name="T29" fmla="*/ 148 h 178"/>
                  <a:gd name="T30" fmla="*/ 166 w 332"/>
                  <a:gd name="T31" fmla="*/ 147 h 178"/>
                  <a:gd name="T32" fmla="*/ 167 w 332"/>
                  <a:gd name="T33" fmla="*/ 147 h 178"/>
                  <a:gd name="T34" fmla="*/ 171 w 332"/>
                  <a:gd name="T35" fmla="*/ 151 h 178"/>
                  <a:gd name="T36" fmla="*/ 175 w 332"/>
                  <a:gd name="T37" fmla="*/ 148 h 178"/>
                  <a:gd name="T38" fmla="*/ 184 w 332"/>
                  <a:gd name="T39" fmla="*/ 149 h 178"/>
                  <a:gd name="T40" fmla="*/ 188 w 332"/>
                  <a:gd name="T41" fmla="*/ 156 h 178"/>
                  <a:gd name="T42" fmla="*/ 191 w 332"/>
                  <a:gd name="T43" fmla="*/ 156 h 178"/>
                  <a:gd name="T44" fmla="*/ 192 w 332"/>
                  <a:gd name="T45" fmla="*/ 162 h 178"/>
                  <a:gd name="T46" fmla="*/ 196 w 332"/>
                  <a:gd name="T47" fmla="*/ 163 h 178"/>
                  <a:gd name="T48" fmla="*/ 200 w 332"/>
                  <a:gd name="T49" fmla="*/ 160 h 178"/>
                  <a:gd name="T50" fmla="*/ 202 w 332"/>
                  <a:gd name="T51" fmla="*/ 157 h 178"/>
                  <a:gd name="T52" fmla="*/ 204 w 332"/>
                  <a:gd name="T53" fmla="*/ 157 h 178"/>
                  <a:gd name="T54" fmla="*/ 211 w 332"/>
                  <a:gd name="T55" fmla="*/ 162 h 178"/>
                  <a:gd name="T56" fmla="*/ 213 w 332"/>
                  <a:gd name="T57" fmla="*/ 166 h 178"/>
                  <a:gd name="T58" fmla="*/ 220 w 332"/>
                  <a:gd name="T59" fmla="*/ 162 h 178"/>
                  <a:gd name="T60" fmla="*/ 222 w 332"/>
                  <a:gd name="T61" fmla="*/ 164 h 178"/>
                  <a:gd name="T62" fmla="*/ 223 w 332"/>
                  <a:gd name="T63" fmla="*/ 170 h 178"/>
                  <a:gd name="T64" fmla="*/ 225 w 332"/>
                  <a:gd name="T65" fmla="*/ 169 h 178"/>
                  <a:gd name="T66" fmla="*/ 228 w 332"/>
                  <a:gd name="T67" fmla="*/ 164 h 178"/>
                  <a:gd name="T68" fmla="*/ 233 w 332"/>
                  <a:gd name="T69" fmla="*/ 163 h 178"/>
                  <a:gd name="T70" fmla="*/ 239 w 332"/>
                  <a:gd name="T71" fmla="*/ 166 h 178"/>
                  <a:gd name="T72" fmla="*/ 248 w 332"/>
                  <a:gd name="T73" fmla="*/ 165 h 178"/>
                  <a:gd name="T74" fmla="*/ 252 w 332"/>
                  <a:gd name="T75" fmla="*/ 169 h 178"/>
                  <a:gd name="T76" fmla="*/ 254 w 332"/>
                  <a:gd name="T77" fmla="*/ 172 h 178"/>
                  <a:gd name="T78" fmla="*/ 259 w 332"/>
                  <a:gd name="T79" fmla="*/ 171 h 178"/>
                  <a:gd name="T80" fmla="*/ 264 w 332"/>
                  <a:gd name="T81" fmla="*/ 167 h 178"/>
                  <a:gd name="T82" fmla="*/ 267 w 332"/>
                  <a:gd name="T83" fmla="*/ 164 h 178"/>
                  <a:gd name="T84" fmla="*/ 271 w 332"/>
                  <a:gd name="T85" fmla="*/ 164 h 178"/>
                  <a:gd name="T86" fmla="*/ 275 w 332"/>
                  <a:gd name="T87" fmla="*/ 166 h 178"/>
                  <a:gd name="T88" fmla="*/ 278 w 332"/>
                  <a:gd name="T89" fmla="*/ 165 h 178"/>
                  <a:gd name="T90" fmla="*/ 282 w 332"/>
                  <a:gd name="T91" fmla="*/ 162 h 178"/>
                  <a:gd name="T92" fmla="*/ 288 w 332"/>
                  <a:gd name="T93" fmla="*/ 163 h 178"/>
                  <a:gd name="T94" fmla="*/ 291 w 332"/>
                  <a:gd name="T95" fmla="*/ 164 h 178"/>
                  <a:gd name="T96" fmla="*/ 300 w 332"/>
                  <a:gd name="T97" fmla="*/ 161 h 178"/>
                  <a:gd name="T98" fmla="*/ 306 w 332"/>
                  <a:gd name="T99" fmla="*/ 163 h 178"/>
                  <a:gd name="T100" fmla="*/ 311 w 332"/>
                  <a:gd name="T101" fmla="*/ 168 h 178"/>
                  <a:gd name="T102" fmla="*/ 318 w 332"/>
                  <a:gd name="T103" fmla="*/ 173 h 178"/>
                  <a:gd name="T104" fmla="*/ 324 w 332"/>
                  <a:gd name="T105" fmla="*/ 173 h 178"/>
                  <a:gd name="T106" fmla="*/ 328 w 332"/>
                  <a:gd name="T107" fmla="*/ 176 h 178"/>
                  <a:gd name="T108" fmla="*/ 331 w 332"/>
                  <a:gd name="T109" fmla="*/ 178 h 178"/>
                  <a:gd name="T110" fmla="*/ 332 w 332"/>
                  <a:gd name="T111" fmla="*/ 88 h 178"/>
                  <a:gd name="T112" fmla="*/ 324 w 332"/>
                  <a:gd name="T113" fmla="*/ 37 h 178"/>
                  <a:gd name="T114" fmla="*/ 324 w 332"/>
                  <a:gd name="T115" fmla="*/ 12 h 178"/>
                  <a:gd name="T116" fmla="*/ 175 w 332"/>
                  <a:gd name="T117" fmla="*/ 9 h 178"/>
                  <a:gd name="T118" fmla="*/ 4 w 332"/>
                  <a:gd name="T119" fmla="*/ 0 h 178"/>
                  <a:gd name="T120" fmla="*/ 3 w 332"/>
                  <a:gd name="T121" fmla="*/ 25 h 178"/>
                  <a:gd name="T122" fmla="*/ 0 w 332"/>
                  <a:gd name="T123" fmla="*/ 2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2" h="178">
                    <a:moveTo>
                      <a:pt x="0" y="25"/>
                    </a:moveTo>
                    <a:cubicBezTo>
                      <a:pt x="0" y="28"/>
                      <a:pt x="0" y="28"/>
                      <a:pt x="0" y="28"/>
                    </a:cubicBezTo>
                    <a:cubicBezTo>
                      <a:pt x="0" y="25"/>
                      <a:pt x="0" y="25"/>
                      <a:pt x="0" y="25"/>
                    </a:cubicBezTo>
                    <a:cubicBezTo>
                      <a:pt x="118" y="32"/>
                      <a:pt x="118" y="32"/>
                      <a:pt x="118" y="32"/>
                    </a:cubicBezTo>
                    <a:cubicBezTo>
                      <a:pt x="113" y="123"/>
                      <a:pt x="113" y="123"/>
                      <a:pt x="113" y="123"/>
                    </a:cubicBezTo>
                    <a:cubicBezTo>
                      <a:pt x="121" y="131"/>
                      <a:pt x="121" y="131"/>
                      <a:pt x="121" y="131"/>
                    </a:cubicBezTo>
                    <a:cubicBezTo>
                      <a:pt x="124" y="134"/>
                      <a:pt x="124" y="134"/>
                      <a:pt x="124" y="134"/>
                    </a:cubicBezTo>
                    <a:cubicBezTo>
                      <a:pt x="127" y="134"/>
                      <a:pt x="127" y="134"/>
                      <a:pt x="127" y="134"/>
                    </a:cubicBezTo>
                    <a:cubicBezTo>
                      <a:pt x="131" y="133"/>
                      <a:pt x="131" y="133"/>
                      <a:pt x="131" y="133"/>
                    </a:cubicBezTo>
                    <a:cubicBezTo>
                      <a:pt x="134" y="134"/>
                      <a:pt x="134" y="134"/>
                      <a:pt x="134" y="134"/>
                    </a:cubicBezTo>
                    <a:cubicBezTo>
                      <a:pt x="137" y="133"/>
                      <a:pt x="137" y="133"/>
                      <a:pt x="137" y="133"/>
                    </a:cubicBezTo>
                    <a:cubicBezTo>
                      <a:pt x="141" y="135"/>
                      <a:pt x="141" y="135"/>
                      <a:pt x="141" y="135"/>
                    </a:cubicBezTo>
                    <a:cubicBezTo>
                      <a:pt x="144" y="144"/>
                      <a:pt x="144" y="144"/>
                      <a:pt x="144" y="144"/>
                    </a:cubicBezTo>
                    <a:cubicBezTo>
                      <a:pt x="153" y="144"/>
                      <a:pt x="153" y="144"/>
                      <a:pt x="153" y="144"/>
                    </a:cubicBezTo>
                    <a:cubicBezTo>
                      <a:pt x="160" y="148"/>
                      <a:pt x="160" y="148"/>
                      <a:pt x="160" y="148"/>
                    </a:cubicBezTo>
                    <a:cubicBezTo>
                      <a:pt x="166" y="147"/>
                      <a:pt x="166" y="147"/>
                      <a:pt x="166" y="147"/>
                    </a:cubicBezTo>
                    <a:cubicBezTo>
                      <a:pt x="167" y="147"/>
                      <a:pt x="167" y="147"/>
                      <a:pt x="167" y="147"/>
                    </a:cubicBezTo>
                    <a:cubicBezTo>
                      <a:pt x="171" y="151"/>
                      <a:pt x="171" y="151"/>
                      <a:pt x="171" y="151"/>
                    </a:cubicBezTo>
                    <a:cubicBezTo>
                      <a:pt x="175" y="148"/>
                      <a:pt x="175" y="148"/>
                      <a:pt x="175" y="148"/>
                    </a:cubicBezTo>
                    <a:cubicBezTo>
                      <a:pt x="184" y="149"/>
                      <a:pt x="184" y="149"/>
                      <a:pt x="184" y="149"/>
                    </a:cubicBezTo>
                    <a:cubicBezTo>
                      <a:pt x="188" y="156"/>
                      <a:pt x="188" y="156"/>
                      <a:pt x="188" y="156"/>
                    </a:cubicBezTo>
                    <a:cubicBezTo>
                      <a:pt x="191" y="156"/>
                      <a:pt x="191" y="156"/>
                      <a:pt x="191" y="156"/>
                    </a:cubicBezTo>
                    <a:cubicBezTo>
                      <a:pt x="192" y="162"/>
                      <a:pt x="192" y="162"/>
                      <a:pt x="192" y="162"/>
                    </a:cubicBezTo>
                    <a:cubicBezTo>
                      <a:pt x="196" y="163"/>
                      <a:pt x="196" y="163"/>
                      <a:pt x="196" y="163"/>
                    </a:cubicBezTo>
                    <a:cubicBezTo>
                      <a:pt x="200" y="160"/>
                      <a:pt x="200" y="160"/>
                      <a:pt x="200" y="160"/>
                    </a:cubicBezTo>
                    <a:cubicBezTo>
                      <a:pt x="202" y="157"/>
                      <a:pt x="202" y="157"/>
                      <a:pt x="202" y="157"/>
                    </a:cubicBezTo>
                    <a:cubicBezTo>
                      <a:pt x="204" y="157"/>
                      <a:pt x="204" y="157"/>
                      <a:pt x="204" y="157"/>
                    </a:cubicBezTo>
                    <a:cubicBezTo>
                      <a:pt x="211" y="162"/>
                      <a:pt x="211" y="162"/>
                      <a:pt x="211" y="162"/>
                    </a:cubicBezTo>
                    <a:cubicBezTo>
                      <a:pt x="213" y="166"/>
                      <a:pt x="213" y="166"/>
                      <a:pt x="213" y="166"/>
                    </a:cubicBezTo>
                    <a:cubicBezTo>
                      <a:pt x="220" y="162"/>
                      <a:pt x="220" y="162"/>
                      <a:pt x="220" y="162"/>
                    </a:cubicBezTo>
                    <a:cubicBezTo>
                      <a:pt x="222" y="164"/>
                      <a:pt x="222" y="164"/>
                      <a:pt x="222" y="164"/>
                    </a:cubicBezTo>
                    <a:cubicBezTo>
                      <a:pt x="223" y="170"/>
                      <a:pt x="223" y="170"/>
                      <a:pt x="223" y="170"/>
                    </a:cubicBezTo>
                    <a:cubicBezTo>
                      <a:pt x="225" y="169"/>
                      <a:pt x="225" y="169"/>
                      <a:pt x="225" y="169"/>
                    </a:cubicBezTo>
                    <a:cubicBezTo>
                      <a:pt x="228" y="164"/>
                      <a:pt x="228" y="164"/>
                      <a:pt x="228" y="164"/>
                    </a:cubicBezTo>
                    <a:cubicBezTo>
                      <a:pt x="233" y="163"/>
                      <a:pt x="233" y="163"/>
                      <a:pt x="233" y="163"/>
                    </a:cubicBezTo>
                    <a:cubicBezTo>
                      <a:pt x="239" y="166"/>
                      <a:pt x="239" y="166"/>
                      <a:pt x="239" y="166"/>
                    </a:cubicBezTo>
                    <a:cubicBezTo>
                      <a:pt x="248" y="165"/>
                      <a:pt x="248" y="165"/>
                      <a:pt x="248" y="165"/>
                    </a:cubicBezTo>
                    <a:cubicBezTo>
                      <a:pt x="252" y="169"/>
                      <a:pt x="252" y="169"/>
                      <a:pt x="252" y="169"/>
                    </a:cubicBezTo>
                    <a:cubicBezTo>
                      <a:pt x="254" y="172"/>
                      <a:pt x="254" y="172"/>
                      <a:pt x="254" y="172"/>
                    </a:cubicBezTo>
                    <a:cubicBezTo>
                      <a:pt x="259" y="171"/>
                      <a:pt x="259" y="171"/>
                      <a:pt x="259" y="171"/>
                    </a:cubicBezTo>
                    <a:cubicBezTo>
                      <a:pt x="264" y="167"/>
                      <a:pt x="264" y="167"/>
                      <a:pt x="264" y="167"/>
                    </a:cubicBezTo>
                    <a:cubicBezTo>
                      <a:pt x="267" y="164"/>
                      <a:pt x="267" y="164"/>
                      <a:pt x="267" y="164"/>
                    </a:cubicBezTo>
                    <a:cubicBezTo>
                      <a:pt x="271" y="164"/>
                      <a:pt x="271" y="164"/>
                      <a:pt x="271" y="164"/>
                    </a:cubicBezTo>
                    <a:cubicBezTo>
                      <a:pt x="275" y="166"/>
                      <a:pt x="275" y="166"/>
                      <a:pt x="275" y="166"/>
                    </a:cubicBezTo>
                    <a:cubicBezTo>
                      <a:pt x="278" y="165"/>
                      <a:pt x="278" y="165"/>
                      <a:pt x="278" y="165"/>
                    </a:cubicBezTo>
                    <a:cubicBezTo>
                      <a:pt x="282" y="162"/>
                      <a:pt x="282" y="162"/>
                      <a:pt x="282" y="162"/>
                    </a:cubicBezTo>
                    <a:cubicBezTo>
                      <a:pt x="288" y="163"/>
                      <a:pt x="288" y="163"/>
                      <a:pt x="288" y="163"/>
                    </a:cubicBezTo>
                    <a:cubicBezTo>
                      <a:pt x="291" y="164"/>
                      <a:pt x="291" y="164"/>
                      <a:pt x="291" y="164"/>
                    </a:cubicBezTo>
                    <a:cubicBezTo>
                      <a:pt x="300" y="161"/>
                      <a:pt x="300" y="161"/>
                      <a:pt x="300" y="161"/>
                    </a:cubicBezTo>
                    <a:cubicBezTo>
                      <a:pt x="306" y="163"/>
                      <a:pt x="306" y="163"/>
                      <a:pt x="306" y="163"/>
                    </a:cubicBezTo>
                    <a:cubicBezTo>
                      <a:pt x="311" y="168"/>
                      <a:pt x="311" y="168"/>
                      <a:pt x="311" y="168"/>
                    </a:cubicBezTo>
                    <a:cubicBezTo>
                      <a:pt x="318" y="173"/>
                      <a:pt x="318" y="173"/>
                      <a:pt x="318" y="173"/>
                    </a:cubicBezTo>
                    <a:cubicBezTo>
                      <a:pt x="324" y="173"/>
                      <a:pt x="324" y="173"/>
                      <a:pt x="324" y="173"/>
                    </a:cubicBezTo>
                    <a:cubicBezTo>
                      <a:pt x="328" y="176"/>
                      <a:pt x="328" y="176"/>
                      <a:pt x="328" y="176"/>
                    </a:cubicBezTo>
                    <a:cubicBezTo>
                      <a:pt x="331" y="178"/>
                      <a:pt x="331" y="178"/>
                      <a:pt x="331" y="178"/>
                    </a:cubicBezTo>
                    <a:cubicBezTo>
                      <a:pt x="332" y="88"/>
                      <a:pt x="332" y="88"/>
                      <a:pt x="332" y="88"/>
                    </a:cubicBezTo>
                    <a:cubicBezTo>
                      <a:pt x="324" y="37"/>
                      <a:pt x="324" y="37"/>
                      <a:pt x="324" y="37"/>
                    </a:cubicBezTo>
                    <a:cubicBezTo>
                      <a:pt x="324" y="12"/>
                      <a:pt x="324" y="12"/>
                      <a:pt x="324" y="12"/>
                    </a:cubicBezTo>
                    <a:cubicBezTo>
                      <a:pt x="324" y="12"/>
                      <a:pt x="211" y="10"/>
                      <a:pt x="175" y="9"/>
                    </a:cubicBezTo>
                    <a:cubicBezTo>
                      <a:pt x="131" y="7"/>
                      <a:pt x="4" y="0"/>
                      <a:pt x="4" y="0"/>
                    </a:cubicBezTo>
                    <a:cubicBezTo>
                      <a:pt x="3" y="25"/>
                      <a:pt x="3" y="25"/>
                      <a:pt x="3" y="25"/>
                    </a:cubicBezTo>
                    <a:lnTo>
                      <a:pt x="0" y="25"/>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2" name="Freeform 11">
                <a:extLst>
                  <a:ext uri="{FF2B5EF4-FFF2-40B4-BE49-F238E27FC236}">
                    <a16:creationId xmlns:a16="http://schemas.microsoft.com/office/drawing/2014/main" id="{AC21CEA7-E80C-314B-8B30-5B7A5C166733}"/>
                  </a:ext>
                </a:extLst>
              </p:cNvPr>
              <p:cNvSpPr>
                <a:spLocks/>
              </p:cNvSpPr>
              <p:nvPr/>
            </p:nvSpPr>
            <p:spPr bwMode="auto">
              <a:xfrm>
                <a:off x="15219674" y="7972501"/>
                <a:ext cx="1588489" cy="881242"/>
              </a:xfrm>
              <a:custGeom>
                <a:avLst/>
                <a:gdLst>
                  <a:gd name="T0" fmla="*/ 282 w 282"/>
                  <a:gd name="T1" fmla="*/ 156 h 156"/>
                  <a:gd name="T2" fmla="*/ 282 w 282"/>
                  <a:gd name="T3" fmla="*/ 52 h 156"/>
                  <a:gd name="T4" fmla="*/ 276 w 282"/>
                  <a:gd name="T5" fmla="*/ 49 h 156"/>
                  <a:gd name="T6" fmla="*/ 273 w 282"/>
                  <a:gd name="T7" fmla="*/ 47 h 156"/>
                  <a:gd name="T8" fmla="*/ 271 w 282"/>
                  <a:gd name="T9" fmla="*/ 41 h 156"/>
                  <a:gd name="T10" fmla="*/ 265 w 282"/>
                  <a:gd name="T11" fmla="*/ 35 h 156"/>
                  <a:gd name="T12" fmla="*/ 268 w 282"/>
                  <a:gd name="T13" fmla="*/ 30 h 156"/>
                  <a:gd name="T14" fmla="*/ 271 w 282"/>
                  <a:gd name="T15" fmla="*/ 24 h 156"/>
                  <a:gd name="T16" fmla="*/ 271 w 282"/>
                  <a:gd name="T17" fmla="*/ 19 h 156"/>
                  <a:gd name="T18" fmla="*/ 269 w 282"/>
                  <a:gd name="T19" fmla="*/ 19 h 156"/>
                  <a:gd name="T20" fmla="*/ 260 w 282"/>
                  <a:gd name="T21" fmla="*/ 19 h 156"/>
                  <a:gd name="T22" fmla="*/ 258 w 282"/>
                  <a:gd name="T23" fmla="*/ 15 h 156"/>
                  <a:gd name="T24" fmla="*/ 254 w 282"/>
                  <a:gd name="T25" fmla="*/ 9 h 156"/>
                  <a:gd name="T26" fmla="*/ 165 w 282"/>
                  <a:gd name="T27" fmla="*/ 6 h 156"/>
                  <a:gd name="T28" fmla="*/ 10 w 282"/>
                  <a:gd name="T29" fmla="*/ 0 h 156"/>
                  <a:gd name="T30" fmla="*/ 0 w 282"/>
                  <a:gd name="T31" fmla="*/ 146 h 156"/>
                  <a:gd name="T32" fmla="*/ 133 w 282"/>
                  <a:gd name="T33" fmla="*/ 153 h 156"/>
                  <a:gd name="T34" fmla="*/ 282 w 282"/>
                  <a:gd name="T3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2" h="156">
                    <a:moveTo>
                      <a:pt x="282" y="156"/>
                    </a:moveTo>
                    <a:cubicBezTo>
                      <a:pt x="282" y="52"/>
                      <a:pt x="282" y="52"/>
                      <a:pt x="282" y="52"/>
                    </a:cubicBezTo>
                    <a:cubicBezTo>
                      <a:pt x="276" y="49"/>
                      <a:pt x="276" y="49"/>
                      <a:pt x="276" y="49"/>
                    </a:cubicBezTo>
                    <a:cubicBezTo>
                      <a:pt x="273" y="47"/>
                      <a:pt x="273" y="47"/>
                      <a:pt x="273" y="47"/>
                    </a:cubicBezTo>
                    <a:cubicBezTo>
                      <a:pt x="271" y="41"/>
                      <a:pt x="271" y="41"/>
                      <a:pt x="271" y="41"/>
                    </a:cubicBezTo>
                    <a:cubicBezTo>
                      <a:pt x="265" y="35"/>
                      <a:pt x="265" y="35"/>
                      <a:pt x="265" y="35"/>
                    </a:cubicBezTo>
                    <a:cubicBezTo>
                      <a:pt x="268" y="30"/>
                      <a:pt x="268" y="30"/>
                      <a:pt x="268" y="30"/>
                    </a:cubicBezTo>
                    <a:cubicBezTo>
                      <a:pt x="271" y="24"/>
                      <a:pt x="271" y="24"/>
                      <a:pt x="271" y="24"/>
                    </a:cubicBezTo>
                    <a:cubicBezTo>
                      <a:pt x="271" y="19"/>
                      <a:pt x="271" y="19"/>
                      <a:pt x="271" y="19"/>
                    </a:cubicBezTo>
                    <a:cubicBezTo>
                      <a:pt x="269" y="19"/>
                      <a:pt x="269" y="19"/>
                      <a:pt x="269" y="19"/>
                    </a:cubicBezTo>
                    <a:cubicBezTo>
                      <a:pt x="260" y="19"/>
                      <a:pt x="260" y="19"/>
                      <a:pt x="260" y="19"/>
                    </a:cubicBezTo>
                    <a:cubicBezTo>
                      <a:pt x="258" y="15"/>
                      <a:pt x="258" y="15"/>
                      <a:pt x="258" y="15"/>
                    </a:cubicBezTo>
                    <a:cubicBezTo>
                      <a:pt x="254" y="9"/>
                      <a:pt x="254" y="9"/>
                      <a:pt x="254" y="9"/>
                    </a:cubicBezTo>
                    <a:cubicBezTo>
                      <a:pt x="254" y="9"/>
                      <a:pt x="187" y="7"/>
                      <a:pt x="165" y="6"/>
                    </a:cubicBezTo>
                    <a:cubicBezTo>
                      <a:pt x="126" y="5"/>
                      <a:pt x="10" y="0"/>
                      <a:pt x="10" y="0"/>
                    </a:cubicBezTo>
                    <a:cubicBezTo>
                      <a:pt x="0" y="146"/>
                      <a:pt x="0" y="146"/>
                      <a:pt x="0" y="146"/>
                    </a:cubicBezTo>
                    <a:cubicBezTo>
                      <a:pt x="41" y="148"/>
                      <a:pt x="104" y="151"/>
                      <a:pt x="133" y="153"/>
                    </a:cubicBezTo>
                    <a:cubicBezTo>
                      <a:pt x="169" y="154"/>
                      <a:pt x="282" y="156"/>
                      <a:pt x="282" y="156"/>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3" name="Freeform 12">
                <a:extLst>
                  <a:ext uri="{FF2B5EF4-FFF2-40B4-BE49-F238E27FC236}">
                    <a16:creationId xmlns:a16="http://schemas.microsoft.com/office/drawing/2014/main" id="{E8BFF595-56F5-FA46-8AB6-82B3728B1BB6}"/>
                  </a:ext>
                </a:extLst>
              </p:cNvPr>
              <p:cNvSpPr>
                <a:spLocks/>
              </p:cNvSpPr>
              <p:nvPr/>
            </p:nvSpPr>
            <p:spPr bwMode="auto">
              <a:xfrm>
                <a:off x="14885958" y="7131317"/>
                <a:ext cx="1768696" cy="894595"/>
              </a:xfrm>
              <a:custGeom>
                <a:avLst/>
                <a:gdLst>
                  <a:gd name="T0" fmla="*/ 313 w 313"/>
                  <a:gd name="T1" fmla="*/ 158 h 158"/>
                  <a:gd name="T2" fmla="*/ 313 w 313"/>
                  <a:gd name="T3" fmla="*/ 158 h 158"/>
                  <a:gd name="T4" fmla="*/ 313 w 313"/>
                  <a:gd name="T5" fmla="*/ 158 h 158"/>
                  <a:gd name="T6" fmla="*/ 311 w 313"/>
                  <a:gd name="T7" fmla="*/ 154 h 158"/>
                  <a:gd name="T8" fmla="*/ 310 w 313"/>
                  <a:gd name="T9" fmla="*/ 148 h 158"/>
                  <a:gd name="T10" fmla="*/ 304 w 313"/>
                  <a:gd name="T11" fmla="*/ 146 h 158"/>
                  <a:gd name="T12" fmla="*/ 304 w 313"/>
                  <a:gd name="T13" fmla="*/ 145 h 158"/>
                  <a:gd name="T14" fmla="*/ 302 w 313"/>
                  <a:gd name="T15" fmla="*/ 142 h 158"/>
                  <a:gd name="T16" fmla="*/ 304 w 313"/>
                  <a:gd name="T17" fmla="*/ 140 h 158"/>
                  <a:gd name="T18" fmla="*/ 303 w 313"/>
                  <a:gd name="T19" fmla="*/ 135 h 158"/>
                  <a:gd name="T20" fmla="*/ 300 w 313"/>
                  <a:gd name="T21" fmla="*/ 133 h 158"/>
                  <a:gd name="T22" fmla="*/ 299 w 313"/>
                  <a:gd name="T23" fmla="*/ 130 h 158"/>
                  <a:gd name="T24" fmla="*/ 297 w 313"/>
                  <a:gd name="T25" fmla="*/ 123 h 158"/>
                  <a:gd name="T26" fmla="*/ 297 w 313"/>
                  <a:gd name="T27" fmla="*/ 113 h 158"/>
                  <a:gd name="T28" fmla="*/ 296 w 313"/>
                  <a:gd name="T29" fmla="*/ 111 h 158"/>
                  <a:gd name="T30" fmla="*/ 294 w 313"/>
                  <a:gd name="T31" fmla="*/ 108 h 158"/>
                  <a:gd name="T32" fmla="*/ 295 w 313"/>
                  <a:gd name="T33" fmla="*/ 104 h 158"/>
                  <a:gd name="T34" fmla="*/ 295 w 313"/>
                  <a:gd name="T35" fmla="*/ 94 h 158"/>
                  <a:gd name="T36" fmla="*/ 293 w 313"/>
                  <a:gd name="T37" fmla="*/ 87 h 158"/>
                  <a:gd name="T38" fmla="*/ 291 w 313"/>
                  <a:gd name="T39" fmla="*/ 85 h 158"/>
                  <a:gd name="T40" fmla="*/ 289 w 313"/>
                  <a:gd name="T41" fmla="*/ 85 h 158"/>
                  <a:gd name="T42" fmla="*/ 288 w 313"/>
                  <a:gd name="T43" fmla="*/ 83 h 158"/>
                  <a:gd name="T44" fmla="*/ 287 w 313"/>
                  <a:gd name="T45" fmla="*/ 78 h 158"/>
                  <a:gd name="T46" fmla="*/ 286 w 313"/>
                  <a:gd name="T47" fmla="*/ 74 h 158"/>
                  <a:gd name="T48" fmla="*/ 289 w 313"/>
                  <a:gd name="T49" fmla="*/ 73 h 158"/>
                  <a:gd name="T50" fmla="*/ 289 w 313"/>
                  <a:gd name="T51" fmla="*/ 72 h 158"/>
                  <a:gd name="T52" fmla="*/ 288 w 313"/>
                  <a:gd name="T53" fmla="*/ 71 h 158"/>
                  <a:gd name="T54" fmla="*/ 287 w 313"/>
                  <a:gd name="T55" fmla="*/ 68 h 158"/>
                  <a:gd name="T56" fmla="*/ 285 w 313"/>
                  <a:gd name="T57" fmla="*/ 65 h 158"/>
                  <a:gd name="T58" fmla="*/ 283 w 313"/>
                  <a:gd name="T59" fmla="*/ 60 h 158"/>
                  <a:gd name="T60" fmla="*/ 281 w 313"/>
                  <a:gd name="T61" fmla="*/ 54 h 158"/>
                  <a:gd name="T62" fmla="*/ 278 w 313"/>
                  <a:gd name="T63" fmla="*/ 49 h 158"/>
                  <a:gd name="T64" fmla="*/ 275 w 313"/>
                  <a:gd name="T65" fmla="*/ 40 h 158"/>
                  <a:gd name="T66" fmla="*/ 272 w 313"/>
                  <a:gd name="T67" fmla="*/ 36 h 158"/>
                  <a:gd name="T68" fmla="*/ 271 w 313"/>
                  <a:gd name="T69" fmla="*/ 35 h 158"/>
                  <a:gd name="T70" fmla="*/ 267 w 313"/>
                  <a:gd name="T71" fmla="*/ 32 h 158"/>
                  <a:gd name="T72" fmla="*/ 260 w 313"/>
                  <a:gd name="T73" fmla="*/ 27 h 158"/>
                  <a:gd name="T74" fmla="*/ 255 w 313"/>
                  <a:gd name="T75" fmla="*/ 25 h 158"/>
                  <a:gd name="T76" fmla="*/ 250 w 313"/>
                  <a:gd name="T77" fmla="*/ 23 h 158"/>
                  <a:gd name="T78" fmla="*/ 246 w 313"/>
                  <a:gd name="T79" fmla="*/ 19 h 158"/>
                  <a:gd name="T80" fmla="*/ 239 w 313"/>
                  <a:gd name="T81" fmla="*/ 18 h 158"/>
                  <a:gd name="T82" fmla="*/ 230 w 313"/>
                  <a:gd name="T83" fmla="*/ 19 h 158"/>
                  <a:gd name="T84" fmla="*/ 227 w 313"/>
                  <a:gd name="T85" fmla="*/ 19 h 158"/>
                  <a:gd name="T86" fmla="*/ 224 w 313"/>
                  <a:gd name="T87" fmla="*/ 20 h 158"/>
                  <a:gd name="T88" fmla="*/ 222 w 313"/>
                  <a:gd name="T89" fmla="*/ 22 h 158"/>
                  <a:gd name="T90" fmla="*/ 219 w 313"/>
                  <a:gd name="T91" fmla="*/ 21 h 158"/>
                  <a:gd name="T92" fmla="*/ 216 w 313"/>
                  <a:gd name="T93" fmla="*/ 19 h 158"/>
                  <a:gd name="T94" fmla="*/ 210 w 313"/>
                  <a:gd name="T95" fmla="*/ 16 h 158"/>
                  <a:gd name="T96" fmla="*/ 202 w 313"/>
                  <a:gd name="T97" fmla="*/ 12 h 158"/>
                  <a:gd name="T98" fmla="*/ 10 w 313"/>
                  <a:gd name="T99" fmla="*/ 0 h 158"/>
                  <a:gd name="T100" fmla="*/ 0 w 313"/>
                  <a:gd name="T101" fmla="*/ 95 h 158"/>
                  <a:gd name="T102" fmla="*/ 73 w 313"/>
                  <a:gd name="T103" fmla="*/ 102 h 158"/>
                  <a:gd name="T104" fmla="*/ 69 w 313"/>
                  <a:gd name="T105" fmla="*/ 149 h 158"/>
                  <a:gd name="T106" fmla="*/ 69 w 313"/>
                  <a:gd name="T107" fmla="*/ 149 h 158"/>
                  <a:gd name="T108" fmla="*/ 224 w 313"/>
                  <a:gd name="T109" fmla="*/ 155 h 158"/>
                  <a:gd name="T110" fmla="*/ 313 w 313"/>
                  <a:gd name="T11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3" h="158">
                    <a:moveTo>
                      <a:pt x="313" y="158"/>
                    </a:moveTo>
                    <a:cubicBezTo>
                      <a:pt x="313" y="158"/>
                      <a:pt x="313" y="158"/>
                      <a:pt x="313" y="158"/>
                    </a:cubicBezTo>
                    <a:cubicBezTo>
                      <a:pt x="313" y="158"/>
                      <a:pt x="313" y="158"/>
                      <a:pt x="313" y="158"/>
                    </a:cubicBezTo>
                    <a:cubicBezTo>
                      <a:pt x="311" y="154"/>
                      <a:pt x="311" y="154"/>
                      <a:pt x="311" y="154"/>
                    </a:cubicBezTo>
                    <a:cubicBezTo>
                      <a:pt x="310" y="148"/>
                      <a:pt x="310" y="148"/>
                      <a:pt x="310" y="148"/>
                    </a:cubicBezTo>
                    <a:cubicBezTo>
                      <a:pt x="310" y="148"/>
                      <a:pt x="305" y="147"/>
                      <a:pt x="304" y="146"/>
                    </a:cubicBezTo>
                    <a:cubicBezTo>
                      <a:pt x="303" y="145"/>
                      <a:pt x="304" y="145"/>
                      <a:pt x="304" y="145"/>
                    </a:cubicBezTo>
                    <a:cubicBezTo>
                      <a:pt x="302" y="142"/>
                      <a:pt x="302" y="142"/>
                      <a:pt x="302" y="142"/>
                    </a:cubicBezTo>
                    <a:cubicBezTo>
                      <a:pt x="304" y="140"/>
                      <a:pt x="304" y="140"/>
                      <a:pt x="304" y="140"/>
                    </a:cubicBezTo>
                    <a:cubicBezTo>
                      <a:pt x="303" y="135"/>
                      <a:pt x="303" y="135"/>
                      <a:pt x="303" y="135"/>
                    </a:cubicBezTo>
                    <a:cubicBezTo>
                      <a:pt x="300" y="133"/>
                      <a:pt x="300" y="133"/>
                      <a:pt x="300" y="133"/>
                    </a:cubicBezTo>
                    <a:cubicBezTo>
                      <a:pt x="299" y="130"/>
                      <a:pt x="299" y="130"/>
                      <a:pt x="299" y="130"/>
                    </a:cubicBezTo>
                    <a:cubicBezTo>
                      <a:pt x="297" y="123"/>
                      <a:pt x="297" y="123"/>
                      <a:pt x="297" y="123"/>
                    </a:cubicBezTo>
                    <a:cubicBezTo>
                      <a:pt x="297" y="113"/>
                      <a:pt x="297" y="113"/>
                      <a:pt x="297" y="113"/>
                    </a:cubicBezTo>
                    <a:cubicBezTo>
                      <a:pt x="296" y="111"/>
                      <a:pt x="296" y="111"/>
                      <a:pt x="296" y="111"/>
                    </a:cubicBezTo>
                    <a:cubicBezTo>
                      <a:pt x="294" y="108"/>
                      <a:pt x="294" y="108"/>
                      <a:pt x="294" y="108"/>
                    </a:cubicBezTo>
                    <a:cubicBezTo>
                      <a:pt x="295" y="104"/>
                      <a:pt x="295" y="104"/>
                      <a:pt x="295" y="104"/>
                    </a:cubicBezTo>
                    <a:cubicBezTo>
                      <a:pt x="295" y="94"/>
                      <a:pt x="295" y="94"/>
                      <a:pt x="295" y="94"/>
                    </a:cubicBezTo>
                    <a:cubicBezTo>
                      <a:pt x="293" y="87"/>
                      <a:pt x="293" y="87"/>
                      <a:pt x="293" y="87"/>
                    </a:cubicBezTo>
                    <a:cubicBezTo>
                      <a:pt x="291" y="85"/>
                      <a:pt x="291" y="85"/>
                      <a:pt x="291" y="85"/>
                    </a:cubicBezTo>
                    <a:cubicBezTo>
                      <a:pt x="289" y="85"/>
                      <a:pt x="289" y="85"/>
                      <a:pt x="289" y="85"/>
                    </a:cubicBezTo>
                    <a:cubicBezTo>
                      <a:pt x="288" y="83"/>
                      <a:pt x="288" y="83"/>
                      <a:pt x="288" y="83"/>
                    </a:cubicBezTo>
                    <a:cubicBezTo>
                      <a:pt x="287" y="78"/>
                      <a:pt x="287" y="78"/>
                      <a:pt x="287" y="78"/>
                    </a:cubicBezTo>
                    <a:cubicBezTo>
                      <a:pt x="286" y="74"/>
                      <a:pt x="286" y="74"/>
                      <a:pt x="286" y="74"/>
                    </a:cubicBezTo>
                    <a:cubicBezTo>
                      <a:pt x="289" y="73"/>
                      <a:pt x="289" y="73"/>
                      <a:pt x="289" y="73"/>
                    </a:cubicBezTo>
                    <a:cubicBezTo>
                      <a:pt x="289" y="72"/>
                      <a:pt x="289" y="72"/>
                      <a:pt x="289" y="72"/>
                    </a:cubicBezTo>
                    <a:cubicBezTo>
                      <a:pt x="288" y="71"/>
                      <a:pt x="288" y="71"/>
                      <a:pt x="288" y="71"/>
                    </a:cubicBezTo>
                    <a:cubicBezTo>
                      <a:pt x="287" y="68"/>
                      <a:pt x="287" y="68"/>
                      <a:pt x="287" y="68"/>
                    </a:cubicBezTo>
                    <a:cubicBezTo>
                      <a:pt x="285" y="65"/>
                      <a:pt x="285" y="65"/>
                      <a:pt x="285" y="65"/>
                    </a:cubicBezTo>
                    <a:cubicBezTo>
                      <a:pt x="283" y="60"/>
                      <a:pt x="283" y="60"/>
                      <a:pt x="283" y="60"/>
                    </a:cubicBezTo>
                    <a:cubicBezTo>
                      <a:pt x="281" y="54"/>
                      <a:pt x="281" y="54"/>
                      <a:pt x="281" y="54"/>
                    </a:cubicBezTo>
                    <a:cubicBezTo>
                      <a:pt x="278" y="49"/>
                      <a:pt x="278" y="49"/>
                      <a:pt x="278" y="49"/>
                    </a:cubicBezTo>
                    <a:cubicBezTo>
                      <a:pt x="275" y="40"/>
                      <a:pt x="275" y="40"/>
                      <a:pt x="275" y="40"/>
                    </a:cubicBezTo>
                    <a:cubicBezTo>
                      <a:pt x="272" y="36"/>
                      <a:pt x="272" y="36"/>
                      <a:pt x="272" y="36"/>
                    </a:cubicBezTo>
                    <a:cubicBezTo>
                      <a:pt x="271" y="35"/>
                      <a:pt x="271" y="35"/>
                      <a:pt x="271" y="35"/>
                    </a:cubicBezTo>
                    <a:cubicBezTo>
                      <a:pt x="267" y="32"/>
                      <a:pt x="267" y="32"/>
                      <a:pt x="267" y="32"/>
                    </a:cubicBezTo>
                    <a:cubicBezTo>
                      <a:pt x="260" y="27"/>
                      <a:pt x="260" y="27"/>
                      <a:pt x="260" y="27"/>
                    </a:cubicBezTo>
                    <a:cubicBezTo>
                      <a:pt x="255" y="25"/>
                      <a:pt x="255" y="25"/>
                      <a:pt x="255" y="25"/>
                    </a:cubicBezTo>
                    <a:cubicBezTo>
                      <a:pt x="250" y="23"/>
                      <a:pt x="250" y="23"/>
                      <a:pt x="250" y="23"/>
                    </a:cubicBezTo>
                    <a:cubicBezTo>
                      <a:pt x="246" y="19"/>
                      <a:pt x="246" y="19"/>
                      <a:pt x="246" y="19"/>
                    </a:cubicBezTo>
                    <a:cubicBezTo>
                      <a:pt x="239" y="18"/>
                      <a:pt x="239" y="18"/>
                      <a:pt x="239" y="18"/>
                    </a:cubicBezTo>
                    <a:cubicBezTo>
                      <a:pt x="230" y="19"/>
                      <a:pt x="230" y="19"/>
                      <a:pt x="230" y="19"/>
                    </a:cubicBezTo>
                    <a:cubicBezTo>
                      <a:pt x="227" y="19"/>
                      <a:pt x="227" y="19"/>
                      <a:pt x="227" y="19"/>
                    </a:cubicBezTo>
                    <a:cubicBezTo>
                      <a:pt x="224" y="20"/>
                      <a:pt x="224" y="20"/>
                      <a:pt x="224" y="20"/>
                    </a:cubicBezTo>
                    <a:cubicBezTo>
                      <a:pt x="222" y="22"/>
                      <a:pt x="222" y="22"/>
                      <a:pt x="222" y="22"/>
                    </a:cubicBezTo>
                    <a:cubicBezTo>
                      <a:pt x="219" y="21"/>
                      <a:pt x="219" y="21"/>
                      <a:pt x="219" y="21"/>
                    </a:cubicBezTo>
                    <a:cubicBezTo>
                      <a:pt x="216" y="19"/>
                      <a:pt x="216" y="19"/>
                      <a:pt x="216" y="19"/>
                    </a:cubicBezTo>
                    <a:cubicBezTo>
                      <a:pt x="210" y="16"/>
                      <a:pt x="210" y="16"/>
                      <a:pt x="210" y="16"/>
                    </a:cubicBezTo>
                    <a:cubicBezTo>
                      <a:pt x="202" y="12"/>
                      <a:pt x="202" y="12"/>
                      <a:pt x="202" y="12"/>
                    </a:cubicBezTo>
                    <a:cubicBezTo>
                      <a:pt x="10" y="0"/>
                      <a:pt x="10" y="0"/>
                      <a:pt x="10" y="0"/>
                    </a:cubicBezTo>
                    <a:cubicBezTo>
                      <a:pt x="0" y="95"/>
                      <a:pt x="0" y="95"/>
                      <a:pt x="0" y="95"/>
                    </a:cubicBezTo>
                    <a:cubicBezTo>
                      <a:pt x="73" y="102"/>
                      <a:pt x="73" y="102"/>
                      <a:pt x="73" y="102"/>
                    </a:cubicBezTo>
                    <a:cubicBezTo>
                      <a:pt x="69" y="149"/>
                      <a:pt x="69" y="149"/>
                      <a:pt x="69" y="149"/>
                    </a:cubicBezTo>
                    <a:cubicBezTo>
                      <a:pt x="69" y="149"/>
                      <a:pt x="69" y="149"/>
                      <a:pt x="69" y="149"/>
                    </a:cubicBezTo>
                    <a:cubicBezTo>
                      <a:pt x="75" y="149"/>
                      <a:pt x="186" y="154"/>
                      <a:pt x="224" y="155"/>
                    </a:cubicBezTo>
                    <a:cubicBezTo>
                      <a:pt x="246" y="156"/>
                      <a:pt x="313" y="158"/>
                      <a:pt x="313" y="158"/>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4" name="Freeform 13">
                <a:extLst>
                  <a:ext uri="{FF2B5EF4-FFF2-40B4-BE49-F238E27FC236}">
                    <a16:creationId xmlns:a16="http://schemas.microsoft.com/office/drawing/2014/main" id="{0D00E290-A203-E64E-989B-A8D6BAF65944}"/>
                  </a:ext>
                </a:extLst>
              </p:cNvPr>
              <p:cNvSpPr>
                <a:spLocks/>
              </p:cNvSpPr>
              <p:nvPr/>
            </p:nvSpPr>
            <p:spPr bwMode="auto">
              <a:xfrm>
                <a:off x="14939351" y="6330190"/>
                <a:ext cx="1521747" cy="1014764"/>
              </a:xfrm>
              <a:custGeom>
                <a:avLst/>
                <a:gdLst>
                  <a:gd name="T0" fmla="*/ 200 w 269"/>
                  <a:gd name="T1" fmla="*/ 158 h 180"/>
                  <a:gd name="T2" fmla="*/ 206 w 269"/>
                  <a:gd name="T3" fmla="*/ 161 h 180"/>
                  <a:gd name="T4" fmla="*/ 209 w 269"/>
                  <a:gd name="T5" fmla="*/ 163 h 180"/>
                  <a:gd name="T6" fmla="*/ 212 w 269"/>
                  <a:gd name="T7" fmla="*/ 164 h 180"/>
                  <a:gd name="T8" fmla="*/ 214 w 269"/>
                  <a:gd name="T9" fmla="*/ 162 h 180"/>
                  <a:gd name="T10" fmla="*/ 217 w 269"/>
                  <a:gd name="T11" fmla="*/ 161 h 180"/>
                  <a:gd name="T12" fmla="*/ 220 w 269"/>
                  <a:gd name="T13" fmla="*/ 161 h 180"/>
                  <a:gd name="T14" fmla="*/ 229 w 269"/>
                  <a:gd name="T15" fmla="*/ 160 h 180"/>
                  <a:gd name="T16" fmla="*/ 236 w 269"/>
                  <a:gd name="T17" fmla="*/ 161 h 180"/>
                  <a:gd name="T18" fmla="*/ 240 w 269"/>
                  <a:gd name="T19" fmla="*/ 165 h 180"/>
                  <a:gd name="T20" fmla="*/ 245 w 269"/>
                  <a:gd name="T21" fmla="*/ 167 h 180"/>
                  <a:gd name="T22" fmla="*/ 250 w 269"/>
                  <a:gd name="T23" fmla="*/ 169 h 180"/>
                  <a:gd name="T24" fmla="*/ 257 w 269"/>
                  <a:gd name="T25" fmla="*/ 174 h 180"/>
                  <a:gd name="T26" fmla="*/ 261 w 269"/>
                  <a:gd name="T27" fmla="*/ 177 h 180"/>
                  <a:gd name="T28" fmla="*/ 262 w 269"/>
                  <a:gd name="T29" fmla="*/ 178 h 180"/>
                  <a:gd name="T30" fmla="*/ 263 w 269"/>
                  <a:gd name="T31" fmla="*/ 180 h 180"/>
                  <a:gd name="T32" fmla="*/ 263 w 269"/>
                  <a:gd name="T33" fmla="*/ 180 h 180"/>
                  <a:gd name="T34" fmla="*/ 263 w 269"/>
                  <a:gd name="T35" fmla="*/ 177 h 180"/>
                  <a:gd name="T36" fmla="*/ 263 w 269"/>
                  <a:gd name="T37" fmla="*/ 173 h 180"/>
                  <a:gd name="T38" fmla="*/ 259 w 269"/>
                  <a:gd name="T39" fmla="*/ 170 h 180"/>
                  <a:gd name="T40" fmla="*/ 259 w 269"/>
                  <a:gd name="T41" fmla="*/ 167 h 180"/>
                  <a:gd name="T42" fmla="*/ 260 w 269"/>
                  <a:gd name="T43" fmla="*/ 164 h 180"/>
                  <a:gd name="T44" fmla="*/ 263 w 269"/>
                  <a:gd name="T45" fmla="*/ 163 h 180"/>
                  <a:gd name="T46" fmla="*/ 263 w 269"/>
                  <a:gd name="T47" fmla="*/ 156 h 180"/>
                  <a:gd name="T48" fmla="*/ 264 w 269"/>
                  <a:gd name="T49" fmla="*/ 153 h 180"/>
                  <a:gd name="T50" fmla="*/ 266 w 269"/>
                  <a:gd name="T51" fmla="*/ 152 h 180"/>
                  <a:gd name="T52" fmla="*/ 266 w 269"/>
                  <a:gd name="T53" fmla="*/ 148 h 180"/>
                  <a:gd name="T54" fmla="*/ 264 w 269"/>
                  <a:gd name="T55" fmla="*/ 143 h 180"/>
                  <a:gd name="T56" fmla="*/ 262 w 269"/>
                  <a:gd name="T57" fmla="*/ 142 h 180"/>
                  <a:gd name="T58" fmla="*/ 263 w 269"/>
                  <a:gd name="T59" fmla="*/ 137 h 180"/>
                  <a:gd name="T60" fmla="*/ 263 w 269"/>
                  <a:gd name="T61" fmla="*/ 134 h 180"/>
                  <a:gd name="T62" fmla="*/ 266 w 269"/>
                  <a:gd name="T63" fmla="*/ 134 h 180"/>
                  <a:gd name="T64" fmla="*/ 269 w 269"/>
                  <a:gd name="T65" fmla="*/ 47 h 180"/>
                  <a:gd name="T66" fmla="*/ 266 w 269"/>
                  <a:gd name="T67" fmla="*/ 44 h 180"/>
                  <a:gd name="T68" fmla="*/ 264 w 269"/>
                  <a:gd name="T69" fmla="*/ 41 h 180"/>
                  <a:gd name="T70" fmla="*/ 259 w 269"/>
                  <a:gd name="T71" fmla="*/ 39 h 180"/>
                  <a:gd name="T72" fmla="*/ 258 w 269"/>
                  <a:gd name="T73" fmla="*/ 36 h 180"/>
                  <a:gd name="T74" fmla="*/ 255 w 269"/>
                  <a:gd name="T75" fmla="*/ 33 h 180"/>
                  <a:gd name="T76" fmla="*/ 254 w 269"/>
                  <a:gd name="T77" fmla="*/ 31 h 180"/>
                  <a:gd name="T78" fmla="*/ 254 w 269"/>
                  <a:gd name="T79" fmla="*/ 29 h 180"/>
                  <a:gd name="T80" fmla="*/ 254 w 269"/>
                  <a:gd name="T81" fmla="*/ 27 h 180"/>
                  <a:gd name="T82" fmla="*/ 257 w 269"/>
                  <a:gd name="T83" fmla="*/ 24 h 180"/>
                  <a:gd name="T84" fmla="*/ 260 w 269"/>
                  <a:gd name="T85" fmla="*/ 21 h 180"/>
                  <a:gd name="T86" fmla="*/ 264 w 269"/>
                  <a:gd name="T87" fmla="*/ 17 h 180"/>
                  <a:gd name="T88" fmla="*/ 263 w 269"/>
                  <a:gd name="T89" fmla="*/ 15 h 180"/>
                  <a:gd name="T90" fmla="*/ 263 w 269"/>
                  <a:gd name="T91" fmla="*/ 14 h 180"/>
                  <a:gd name="T92" fmla="*/ 136 w 269"/>
                  <a:gd name="T93" fmla="*/ 8 h 180"/>
                  <a:gd name="T94" fmla="*/ 14 w 269"/>
                  <a:gd name="T95" fmla="*/ 0 h 180"/>
                  <a:gd name="T96" fmla="*/ 0 w 269"/>
                  <a:gd name="T97" fmla="*/ 142 h 180"/>
                  <a:gd name="T98" fmla="*/ 192 w 269"/>
                  <a:gd name="T99" fmla="*/ 154 h 180"/>
                  <a:gd name="T100" fmla="*/ 200 w 269"/>
                  <a:gd name="T101" fmla="*/ 15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9" h="180">
                    <a:moveTo>
                      <a:pt x="200" y="158"/>
                    </a:moveTo>
                    <a:cubicBezTo>
                      <a:pt x="206" y="161"/>
                      <a:pt x="206" y="161"/>
                      <a:pt x="206" y="161"/>
                    </a:cubicBezTo>
                    <a:cubicBezTo>
                      <a:pt x="209" y="163"/>
                      <a:pt x="209" y="163"/>
                      <a:pt x="209" y="163"/>
                    </a:cubicBezTo>
                    <a:cubicBezTo>
                      <a:pt x="212" y="164"/>
                      <a:pt x="212" y="164"/>
                      <a:pt x="212" y="164"/>
                    </a:cubicBezTo>
                    <a:cubicBezTo>
                      <a:pt x="214" y="162"/>
                      <a:pt x="214" y="162"/>
                      <a:pt x="214" y="162"/>
                    </a:cubicBezTo>
                    <a:cubicBezTo>
                      <a:pt x="217" y="161"/>
                      <a:pt x="217" y="161"/>
                      <a:pt x="217" y="161"/>
                    </a:cubicBezTo>
                    <a:cubicBezTo>
                      <a:pt x="220" y="161"/>
                      <a:pt x="220" y="161"/>
                      <a:pt x="220" y="161"/>
                    </a:cubicBezTo>
                    <a:cubicBezTo>
                      <a:pt x="229" y="160"/>
                      <a:pt x="229" y="160"/>
                      <a:pt x="229" y="160"/>
                    </a:cubicBezTo>
                    <a:cubicBezTo>
                      <a:pt x="236" y="161"/>
                      <a:pt x="236" y="161"/>
                      <a:pt x="236" y="161"/>
                    </a:cubicBezTo>
                    <a:cubicBezTo>
                      <a:pt x="240" y="165"/>
                      <a:pt x="240" y="165"/>
                      <a:pt x="240" y="165"/>
                    </a:cubicBezTo>
                    <a:cubicBezTo>
                      <a:pt x="245" y="167"/>
                      <a:pt x="245" y="167"/>
                      <a:pt x="245" y="167"/>
                    </a:cubicBezTo>
                    <a:cubicBezTo>
                      <a:pt x="250" y="169"/>
                      <a:pt x="250" y="169"/>
                      <a:pt x="250" y="169"/>
                    </a:cubicBezTo>
                    <a:cubicBezTo>
                      <a:pt x="257" y="174"/>
                      <a:pt x="257" y="174"/>
                      <a:pt x="257" y="174"/>
                    </a:cubicBezTo>
                    <a:cubicBezTo>
                      <a:pt x="261" y="177"/>
                      <a:pt x="261" y="177"/>
                      <a:pt x="261" y="177"/>
                    </a:cubicBezTo>
                    <a:cubicBezTo>
                      <a:pt x="262" y="178"/>
                      <a:pt x="262" y="178"/>
                      <a:pt x="262" y="178"/>
                    </a:cubicBezTo>
                    <a:cubicBezTo>
                      <a:pt x="263" y="180"/>
                      <a:pt x="263" y="180"/>
                      <a:pt x="263" y="180"/>
                    </a:cubicBezTo>
                    <a:cubicBezTo>
                      <a:pt x="263" y="180"/>
                      <a:pt x="263" y="180"/>
                      <a:pt x="263" y="180"/>
                    </a:cubicBezTo>
                    <a:cubicBezTo>
                      <a:pt x="263" y="177"/>
                      <a:pt x="263" y="177"/>
                      <a:pt x="263" y="177"/>
                    </a:cubicBezTo>
                    <a:cubicBezTo>
                      <a:pt x="263" y="173"/>
                      <a:pt x="263" y="173"/>
                      <a:pt x="263" y="173"/>
                    </a:cubicBezTo>
                    <a:cubicBezTo>
                      <a:pt x="259" y="170"/>
                      <a:pt x="259" y="170"/>
                      <a:pt x="259" y="170"/>
                    </a:cubicBezTo>
                    <a:cubicBezTo>
                      <a:pt x="259" y="167"/>
                      <a:pt x="259" y="167"/>
                      <a:pt x="259" y="167"/>
                    </a:cubicBezTo>
                    <a:cubicBezTo>
                      <a:pt x="260" y="164"/>
                      <a:pt x="260" y="164"/>
                      <a:pt x="260" y="164"/>
                    </a:cubicBezTo>
                    <a:cubicBezTo>
                      <a:pt x="263" y="163"/>
                      <a:pt x="263" y="163"/>
                      <a:pt x="263" y="163"/>
                    </a:cubicBezTo>
                    <a:cubicBezTo>
                      <a:pt x="263" y="156"/>
                      <a:pt x="263" y="156"/>
                      <a:pt x="263" y="156"/>
                    </a:cubicBezTo>
                    <a:cubicBezTo>
                      <a:pt x="264" y="153"/>
                      <a:pt x="264" y="153"/>
                      <a:pt x="264" y="153"/>
                    </a:cubicBezTo>
                    <a:cubicBezTo>
                      <a:pt x="266" y="152"/>
                      <a:pt x="266" y="152"/>
                      <a:pt x="266" y="152"/>
                    </a:cubicBezTo>
                    <a:cubicBezTo>
                      <a:pt x="266" y="148"/>
                      <a:pt x="266" y="148"/>
                      <a:pt x="266" y="148"/>
                    </a:cubicBezTo>
                    <a:cubicBezTo>
                      <a:pt x="264" y="143"/>
                      <a:pt x="264" y="143"/>
                      <a:pt x="264" y="143"/>
                    </a:cubicBezTo>
                    <a:cubicBezTo>
                      <a:pt x="262" y="142"/>
                      <a:pt x="262" y="142"/>
                      <a:pt x="262" y="142"/>
                    </a:cubicBezTo>
                    <a:cubicBezTo>
                      <a:pt x="263" y="137"/>
                      <a:pt x="263" y="137"/>
                      <a:pt x="263" y="137"/>
                    </a:cubicBezTo>
                    <a:cubicBezTo>
                      <a:pt x="263" y="134"/>
                      <a:pt x="263" y="134"/>
                      <a:pt x="263" y="134"/>
                    </a:cubicBezTo>
                    <a:cubicBezTo>
                      <a:pt x="266" y="134"/>
                      <a:pt x="266" y="134"/>
                      <a:pt x="266" y="134"/>
                    </a:cubicBezTo>
                    <a:cubicBezTo>
                      <a:pt x="269" y="47"/>
                      <a:pt x="269" y="47"/>
                      <a:pt x="269" y="47"/>
                    </a:cubicBezTo>
                    <a:cubicBezTo>
                      <a:pt x="266" y="44"/>
                      <a:pt x="266" y="44"/>
                      <a:pt x="266" y="44"/>
                    </a:cubicBezTo>
                    <a:cubicBezTo>
                      <a:pt x="264" y="41"/>
                      <a:pt x="264" y="41"/>
                      <a:pt x="264" y="41"/>
                    </a:cubicBezTo>
                    <a:cubicBezTo>
                      <a:pt x="259" y="39"/>
                      <a:pt x="259" y="39"/>
                      <a:pt x="259" y="39"/>
                    </a:cubicBezTo>
                    <a:cubicBezTo>
                      <a:pt x="258" y="36"/>
                      <a:pt x="258" y="36"/>
                      <a:pt x="258" y="36"/>
                    </a:cubicBezTo>
                    <a:cubicBezTo>
                      <a:pt x="255" y="33"/>
                      <a:pt x="255" y="33"/>
                      <a:pt x="255" y="33"/>
                    </a:cubicBezTo>
                    <a:cubicBezTo>
                      <a:pt x="254" y="31"/>
                      <a:pt x="254" y="31"/>
                      <a:pt x="254" y="31"/>
                    </a:cubicBezTo>
                    <a:cubicBezTo>
                      <a:pt x="254" y="29"/>
                      <a:pt x="254" y="29"/>
                      <a:pt x="254" y="29"/>
                    </a:cubicBezTo>
                    <a:cubicBezTo>
                      <a:pt x="254" y="27"/>
                      <a:pt x="254" y="27"/>
                      <a:pt x="254" y="27"/>
                    </a:cubicBezTo>
                    <a:cubicBezTo>
                      <a:pt x="257" y="24"/>
                      <a:pt x="257" y="24"/>
                      <a:pt x="257" y="24"/>
                    </a:cubicBezTo>
                    <a:cubicBezTo>
                      <a:pt x="260" y="21"/>
                      <a:pt x="260" y="21"/>
                      <a:pt x="260" y="21"/>
                    </a:cubicBezTo>
                    <a:cubicBezTo>
                      <a:pt x="264" y="17"/>
                      <a:pt x="264" y="17"/>
                      <a:pt x="264" y="17"/>
                    </a:cubicBezTo>
                    <a:cubicBezTo>
                      <a:pt x="263" y="15"/>
                      <a:pt x="263" y="15"/>
                      <a:pt x="263" y="15"/>
                    </a:cubicBezTo>
                    <a:cubicBezTo>
                      <a:pt x="263" y="14"/>
                      <a:pt x="263" y="14"/>
                      <a:pt x="263" y="14"/>
                    </a:cubicBezTo>
                    <a:cubicBezTo>
                      <a:pt x="263" y="14"/>
                      <a:pt x="167" y="10"/>
                      <a:pt x="136" y="8"/>
                    </a:cubicBezTo>
                    <a:cubicBezTo>
                      <a:pt x="105" y="6"/>
                      <a:pt x="14" y="0"/>
                      <a:pt x="14" y="0"/>
                    </a:cubicBezTo>
                    <a:cubicBezTo>
                      <a:pt x="0" y="142"/>
                      <a:pt x="0" y="142"/>
                      <a:pt x="0" y="142"/>
                    </a:cubicBezTo>
                    <a:cubicBezTo>
                      <a:pt x="192" y="154"/>
                      <a:pt x="192" y="154"/>
                      <a:pt x="192" y="154"/>
                    </a:cubicBezTo>
                    <a:lnTo>
                      <a:pt x="200" y="158"/>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5" name="Freeform 14">
                <a:extLst>
                  <a:ext uri="{FF2B5EF4-FFF2-40B4-BE49-F238E27FC236}">
                    <a16:creationId xmlns:a16="http://schemas.microsoft.com/office/drawing/2014/main" id="{500A860B-7467-DF42-8C52-9712500C095A}"/>
                  </a:ext>
                </a:extLst>
              </p:cNvPr>
              <p:cNvSpPr>
                <a:spLocks/>
              </p:cNvSpPr>
              <p:nvPr/>
            </p:nvSpPr>
            <p:spPr bwMode="auto">
              <a:xfrm>
                <a:off x="13471000" y="6403623"/>
                <a:ext cx="1528420" cy="1261777"/>
              </a:xfrm>
              <a:custGeom>
                <a:avLst/>
                <a:gdLst>
                  <a:gd name="T0" fmla="*/ 229 w 229"/>
                  <a:gd name="T1" fmla="*/ 27 h 189"/>
                  <a:gd name="T2" fmla="*/ 228 w 229"/>
                  <a:gd name="T3" fmla="*/ 27 h 189"/>
                  <a:gd name="T4" fmla="*/ 28 w 229"/>
                  <a:gd name="T5" fmla="*/ 0 h 189"/>
                  <a:gd name="T6" fmla="*/ 24 w 229"/>
                  <a:gd name="T7" fmla="*/ 23 h 189"/>
                  <a:gd name="T8" fmla="*/ 7 w 229"/>
                  <a:gd name="T9" fmla="*/ 122 h 189"/>
                  <a:gd name="T10" fmla="*/ 0 w 229"/>
                  <a:gd name="T11" fmla="*/ 162 h 189"/>
                  <a:gd name="T12" fmla="*/ 61 w 229"/>
                  <a:gd name="T13" fmla="*/ 172 h 189"/>
                  <a:gd name="T14" fmla="*/ 212 w 229"/>
                  <a:gd name="T15" fmla="*/ 189 h 189"/>
                  <a:gd name="T16" fmla="*/ 220 w 229"/>
                  <a:gd name="T17" fmla="*/ 109 h 189"/>
                  <a:gd name="T18" fmla="*/ 229 w 229"/>
                  <a:gd name="T19" fmla="*/ 2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9" h="189">
                    <a:moveTo>
                      <a:pt x="229" y="27"/>
                    </a:moveTo>
                    <a:lnTo>
                      <a:pt x="228" y="27"/>
                    </a:lnTo>
                    <a:lnTo>
                      <a:pt x="28" y="0"/>
                    </a:lnTo>
                    <a:lnTo>
                      <a:pt x="24" y="23"/>
                    </a:lnTo>
                    <a:lnTo>
                      <a:pt x="7" y="122"/>
                    </a:lnTo>
                    <a:lnTo>
                      <a:pt x="0" y="162"/>
                    </a:lnTo>
                    <a:lnTo>
                      <a:pt x="61" y="172"/>
                    </a:lnTo>
                    <a:lnTo>
                      <a:pt x="212" y="189"/>
                    </a:lnTo>
                    <a:lnTo>
                      <a:pt x="220" y="109"/>
                    </a:lnTo>
                    <a:lnTo>
                      <a:pt x="229" y="27"/>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6" name="Freeform 15">
                <a:extLst>
                  <a:ext uri="{FF2B5EF4-FFF2-40B4-BE49-F238E27FC236}">
                    <a16:creationId xmlns:a16="http://schemas.microsoft.com/office/drawing/2014/main" id="{41E55154-7138-FD4C-8518-C1D3A455123F}"/>
                  </a:ext>
                </a:extLst>
              </p:cNvPr>
              <p:cNvSpPr>
                <a:spLocks/>
              </p:cNvSpPr>
              <p:nvPr/>
            </p:nvSpPr>
            <p:spPr bwMode="auto">
              <a:xfrm>
                <a:off x="15019445" y="5495680"/>
                <a:ext cx="1421631" cy="914626"/>
              </a:xfrm>
              <a:custGeom>
                <a:avLst/>
                <a:gdLst>
                  <a:gd name="T0" fmla="*/ 249 w 251"/>
                  <a:gd name="T1" fmla="*/ 161 h 162"/>
                  <a:gd name="T2" fmla="*/ 249 w 251"/>
                  <a:gd name="T3" fmla="*/ 162 h 162"/>
                  <a:gd name="T4" fmla="*/ 249 w 251"/>
                  <a:gd name="T5" fmla="*/ 162 h 162"/>
                  <a:gd name="T6" fmla="*/ 251 w 251"/>
                  <a:gd name="T7" fmla="*/ 160 h 162"/>
                  <a:gd name="T8" fmla="*/ 251 w 251"/>
                  <a:gd name="T9" fmla="*/ 155 h 162"/>
                  <a:gd name="T10" fmla="*/ 251 w 251"/>
                  <a:gd name="T11" fmla="*/ 150 h 162"/>
                  <a:gd name="T12" fmla="*/ 250 w 251"/>
                  <a:gd name="T13" fmla="*/ 144 h 162"/>
                  <a:gd name="T14" fmla="*/ 248 w 251"/>
                  <a:gd name="T15" fmla="*/ 141 h 162"/>
                  <a:gd name="T16" fmla="*/ 245 w 251"/>
                  <a:gd name="T17" fmla="*/ 138 h 162"/>
                  <a:gd name="T18" fmla="*/ 245 w 251"/>
                  <a:gd name="T19" fmla="*/ 131 h 162"/>
                  <a:gd name="T20" fmla="*/ 244 w 251"/>
                  <a:gd name="T21" fmla="*/ 129 h 162"/>
                  <a:gd name="T22" fmla="*/ 242 w 251"/>
                  <a:gd name="T23" fmla="*/ 126 h 162"/>
                  <a:gd name="T24" fmla="*/ 242 w 251"/>
                  <a:gd name="T25" fmla="*/ 117 h 162"/>
                  <a:gd name="T26" fmla="*/ 242 w 251"/>
                  <a:gd name="T27" fmla="*/ 103 h 162"/>
                  <a:gd name="T28" fmla="*/ 241 w 251"/>
                  <a:gd name="T29" fmla="*/ 86 h 162"/>
                  <a:gd name="T30" fmla="*/ 241 w 251"/>
                  <a:gd name="T31" fmla="*/ 77 h 162"/>
                  <a:gd name="T32" fmla="*/ 237 w 251"/>
                  <a:gd name="T33" fmla="*/ 70 h 162"/>
                  <a:gd name="T34" fmla="*/ 234 w 251"/>
                  <a:gd name="T35" fmla="*/ 60 h 162"/>
                  <a:gd name="T36" fmla="*/ 232 w 251"/>
                  <a:gd name="T37" fmla="*/ 54 h 162"/>
                  <a:gd name="T38" fmla="*/ 234 w 251"/>
                  <a:gd name="T39" fmla="*/ 47 h 162"/>
                  <a:gd name="T40" fmla="*/ 233 w 251"/>
                  <a:gd name="T41" fmla="*/ 41 h 162"/>
                  <a:gd name="T42" fmla="*/ 232 w 251"/>
                  <a:gd name="T43" fmla="*/ 39 h 162"/>
                  <a:gd name="T44" fmla="*/ 232 w 251"/>
                  <a:gd name="T45" fmla="*/ 34 h 162"/>
                  <a:gd name="T46" fmla="*/ 232 w 251"/>
                  <a:gd name="T47" fmla="*/ 33 h 162"/>
                  <a:gd name="T48" fmla="*/ 234 w 251"/>
                  <a:gd name="T49" fmla="*/ 31 h 162"/>
                  <a:gd name="T50" fmla="*/ 235 w 251"/>
                  <a:gd name="T51" fmla="*/ 29 h 162"/>
                  <a:gd name="T52" fmla="*/ 235 w 251"/>
                  <a:gd name="T53" fmla="*/ 25 h 162"/>
                  <a:gd name="T54" fmla="*/ 232 w 251"/>
                  <a:gd name="T55" fmla="*/ 22 h 162"/>
                  <a:gd name="T56" fmla="*/ 232 w 251"/>
                  <a:gd name="T57" fmla="*/ 21 h 162"/>
                  <a:gd name="T58" fmla="*/ 231 w 251"/>
                  <a:gd name="T59" fmla="*/ 18 h 162"/>
                  <a:gd name="T60" fmla="*/ 230 w 251"/>
                  <a:gd name="T61" fmla="*/ 13 h 162"/>
                  <a:gd name="T62" fmla="*/ 97 w 251"/>
                  <a:gd name="T63" fmla="*/ 7 h 162"/>
                  <a:gd name="T64" fmla="*/ 14 w 251"/>
                  <a:gd name="T65" fmla="*/ 0 h 162"/>
                  <a:gd name="T66" fmla="*/ 0 w 251"/>
                  <a:gd name="T67" fmla="*/ 147 h 162"/>
                  <a:gd name="T68" fmla="*/ 122 w 251"/>
                  <a:gd name="T69" fmla="*/ 155 h 162"/>
                  <a:gd name="T70" fmla="*/ 249 w 251"/>
                  <a:gd name="T71"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62">
                    <a:moveTo>
                      <a:pt x="249" y="161"/>
                    </a:moveTo>
                    <a:cubicBezTo>
                      <a:pt x="249" y="162"/>
                      <a:pt x="249" y="162"/>
                      <a:pt x="249" y="162"/>
                    </a:cubicBezTo>
                    <a:cubicBezTo>
                      <a:pt x="249" y="162"/>
                      <a:pt x="249" y="162"/>
                      <a:pt x="249" y="162"/>
                    </a:cubicBezTo>
                    <a:cubicBezTo>
                      <a:pt x="251" y="160"/>
                      <a:pt x="251" y="160"/>
                      <a:pt x="251" y="160"/>
                    </a:cubicBezTo>
                    <a:cubicBezTo>
                      <a:pt x="251" y="155"/>
                      <a:pt x="251" y="155"/>
                      <a:pt x="251" y="155"/>
                    </a:cubicBezTo>
                    <a:cubicBezTo>
                      <a:pt x="251" y="150"/>
                      <a:pt x="251" y="150"/>
                      <a:pt x="251" y="150"/>
                    </a:cubicBezTo>
                    <a:cubicBezTo>
                      <a:pt x="250" y="144"/>
                      <a:pt x="250" y="144"/>
                      <a:pt x="250" y="144"/>
                    </a:cubicBezTo>
                    <a:cubicBezTo>
                      <a:pt x="248" y="141"/>
                      <a:pt x="248" y="141"/>
                      <a:pt x="248" y="141"/>
                    </a:cubicBezTo>
                    <a:cubicBezTo>
                      <a:pt x="245" y="138"/>
                      <a:pt x="245" y="138"/>
                      <a:pt x="245" y="138"/>
                    </a:cubicBezTo>
                    <a:cubicBezTo>
                      <a:pt x="245" y="131"/>
                      <a:pt x="245" y="131"/>
                      <a:pt x="245" y="131"/>
                    </a:cubicBezTo>
                    <a:cubicBezTo>
                      <a:pt x="244" y="129"/>
                      <a:pt x="244" y="129"/>
                      <a:pt x="244" y="129"/>
                    </a:cubicBezTo>
                    <a:cubicBezTo>
                      <a:pt x="242" y="126"/>
                      <a:pt x="242" y="126"/>
                      <a:pt x="242" y="126"/>
                    </a:cubicBezTo>
                    <a:cubicBezTo>
                      <a:pt x="242" y="117"/>
                      <a:pt x="242" y="117"/>
                      <a:pt x="242" y="117"/>
                    </a:cubicBezTo>
                    <a:cubicBezTo>
                      <a:pt x="242" y="103"/>
                      <a:pt x="242" y="103"/>
                      <a:pt x="242" y="103"/>
                    </a:cubicBezTo>
                    <a:cubicBezTo>
                      <a:pt x="241" y="86"/>
                      <a:pt x="241" y="86"/>
                      <a:pt x="241" y="86"/>
                    </a:cubicBezTo>
                    <a:cubicBezTo>
                      <a:pt x="241" y="77"/>
                      <a:pt x="241" y="77"/>
                      <a:pt x="241" y="77"/>
                    </a:cubicBezTo>
                    <a:cubicBezTo>
                      <a:pt x="237" y="70"/>
                      <a:pt x="237" y="70"/>
                      <a:pt x="237" y="70"/>
                    </a:cubicBezTo>
                    <a:cubicBezTo>
                      <a:pt x="234" y="60"/>
                      <a:pt x="234" y="60"/>
                      <a:pt x="234" y="60"/>
                    </a:cubicBezTo>
                    <a:cubicBezTo>
                      <a:pt x="232" y="54"/>
                      <a:pt x="232" y="54"/>
                      <a:pt x="232" y="54"/>
                    </a:cubicBezTo>
                    <a:cubicBezTo>
                      <a:pt x="234" y="47"/>
                      <a:pt x="234" y="47"/>
                      <a:pt x="234" y="47"/>
                    </a:cubicBezTo>
                    <a:cubicBezTo>
                      <a:pt x="233" y="41"/>
                      <a:pt x="233" y="41"/>
                      <a:pt x="233" y="41"/>
                    </a:cubicBezTo>
                    <a:cubicBezTo>
                      <a:pt x="232" y="39"/>
                      <a:pt x="232" y="39"/>
                      <a:pt x="232" y="39"/>
                    </a:cubicBezTo>
                    <a:cubicBezTo>
                      <a:pt x="232" y="34"/>
                      <a:pt x="232" y="34"/>
                      <a:pt x="232" y="34"/>
                    </a:cubicBezTo>
                    <a:cubicBezTo>
                      <a:pt x="232" y="33"/>
                      <a:pt x="232" y="33"/>
                      <a:pt x="232" y="33"/>
                    </a:cubicBezTo>
                    <a:cubicBezTo>
                      <a:pt x="234" y="31"/>
                      <a:pt x="234" y="31"/>
                      <a:pt x="234" y="31"/>
                    </a:cubicBezTo>
                    <a:cubicBezTo>
                      <a:pt x="235" y="29"/>
                      <a:pt x="235" y="29"/>
                      <a:pt x="235" y="29"/>
                    </a:cubicBezTo>
                    <a:cubicBezTo>
                      <a:pt x="235" y="25"/>
                      <a:pt x="235" y="25"/>
                      <a:pt x="235" y="25"/>
                    </a:cubicBezTo>
                    <a:cubicBezTo>
                      <a:pt x="232" y="22"/>
                      <a:pt x="232" y="22"/>
                      <a:pt x="232" y="22"/>
                    </a:cubicBezTo>
                    <a:cubicBezTo>
                      <a:pt x="232" y="21"/>
                      <a:pt x="232" y="21"/>
                      <a:pt x="232" y="21"/>
                    </a:cubicBezTo>
                    <a:cubicBezTo>
                      <a:pt x="231" y="18"/>
                      <a:pt x="231" y="18"/>
                      <a:pt x="231" y="18"/>
                    </a:cubicBezTo>
                    <a:cubicBezTo>
                      <a:pt x="230" y="13"/>
                      <a:pt x="230" y="13"/>
                      <a:pt x="230" y="13"/>
                    </a:cubicBezTo>
                    <a:cubicBezTo>
                      <a:pt x="230" y="13"/>
                      <a:pt x="130" y="9"/>
                      <a:pt x="97" y="7"/>
                    </a:cubicBezTo>
                    <a:cubicBezTo>
                      <a:pt x="76" y="6"/>
                      <a:pt x="14" y="0"/>
                      <a:pt x="14" y="0"/>
                    </a:cubicBezTo>
                    <a:cubicBezTo>
                      <a:pt x="0" y="147"/>
                      <a:pt x="0" y="147"/>
                      <a:pt x="0" y="147"/>
                    </a:cubicBezTo>
                    <a:cubicBezTo>
                      <a:pt x="0" y="147"/>
                      <a:pt x="91" y="153"/>
                      <a:pt x="122" y="155"/>
                    </a:cubicBezTo>
                    <a:cubicBezTo>
                      <a:pt x="153" y="157"/>
                      <a:pt x="249" y="161"/>
                      <a:pt x="249" y="161"/>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7" name="Freeform 16">
                <a:extLst>
                  <a:ext uri="{FF2B5EF4-FFF2-40B4-BE49-F238E27FC236}">
                    <a16:creationId xmlns:a16="http://schemas.microsoft.com/office/drawing/2014/main" id="{55CD0F8C-1BAF-7A4E-9E48-6BFE8CF73FCA}"/>
                  </a:ext>
                </a:extLst>
              </p:cNvPr>
              <p:cNvSpPr>
                <a:spLocks/>
              </p:cNvSpPr>
              <p:nvPr/>
            </p:nvSpPr>
            <p:spPr bwMode="auto">
              <a:xfrm>
                <a:off x="13711276" y="7551909"/>
                <a:ext cx="1588489" cy="1248424"/>
              </a:xfrm>
              <a:custGeom>
                <a:avLst/>
                <a:gdLst>
                  <a:gd name="T0" fmla="*/ 267 w 281"/>
                  <a:gd name="T1" fmla="*/ 221 h 221"/>
                  <a:gd name="T2" fmla="*/ 277 w 281"/>
                  <a:gd name="T3" fmla="*/ 75 h 221"/>
                  <a:gd name="T4" fmla="*/ 277 w 281"/>
                  <a:gd name="T5" fmla="*/ 75 h 221"/>
                  <a:gd name="T6" fmla="*/ 277 w 281"/>
                  <a:gd name="T7" fmla="*/ 75 h 221"/>
                  <a:gd name="T8" fmla="*/ 281 w 281"/>
                  <a:gd name="T9" fmla="*/ 28 h 221"/>
                  <a:gd name="T10" fmla="*/ 208 w 281"/>
                  <a:gd name="T11" fmla="*/ 21 h 221"/>
                  <a:gd name="T12" fmla="*/ 30 w 281"/>
                  <a:gd name="T13" fmla="*/ 0 h 221"/>
                  <a:gd name="T14" fmla="*/ 0 w 281"/>
                  <a:gd name="T15" fmla="*/ 192 h 221"/>
                  <a:gd name="T16" fmla="*/ 229 w 281"/>
                  <a:gd name="T17" fmla="*/ 219 h 221"/>
                  <a:gd name="T18" fmla="*/ 267 w 281"/>
                  <a:gd name="T19"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21">
                    <a:moveTo>
                      <a:pt x="267" y="221"/>
                    </a:moveTo>
                    <a:cubicBezTo>
                      <a:pt x="277" y="75"/>
                      <a:pt x="277" y="75"/>
                      <a:pt x="277" y="75"/>
                    </a:cubicBezTo>
                    <a:cubicBezTo>
                      <a:pt x="277" y="75"/>
                      <a:pt x="277" y="75"/>
                      <a:pt x="277" y="75"/>
                    </a:cubicBezTo>
                    <a:cubicBezTo>
                      <a:pt x="277" y="75"/>
                      <a:pt x="277" y="75"/>
                      <a:pt x="277" y="75"/>
                    </a:cubicBezTo>
                    <a:cubicBezTo>
                      <a:pt x="281" y="28"/>
                      <a:pt x="281" y="28"/>
                      <a:pt x="281" y="28"/>
                    </a:cubicBezTo>
                    <a:cubicBezTo>
                      <a:pt x="208" y="21"/>
                      <a:pt x="208" y="21"/>
                      <a:pt x="208" y="21"/>
                    </a:cubicBezTo>
                    <a:cubicBezTo>
                      <a:pt x="30" y="0"/>
                      <a:pt x="30" y="0"/>
                      <a:pt x="30" y="0"/>
                    </a:cubicBezTo>
                    <a:cubicBezTo>
                      <a:pt x="0" y="192"/>
                      <a:pt x="0" y="192"/>
                      <a:pt x="0" y="192"/>
                    </a:cubicBezTo>
                    <a:cubicBezTo>
                      <a:pt x="229" y="219"/>
                      <a:pt x="229" y="219"/>
                      <a:pt x="229" y="219"/>
                    </a:cubicBezTo>
                    <a:cubicBezTo>
                      <a:pt x="229" y="219"/>
                      <a:pt x="245" y="220"/>
                      <a:pt x="267" y="221"/>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8" name="Freeform 17">
                <a:extLst>
                  <a:ext uri="{FF2B5EF4-FFF2-40B4-BE49-F238E27FC236}">
                    <a16:creationId xmlns:a16="http://schemas.microsoft.com/office/drawing/2014/main" id="{9054FF93-1D21-D345-A9EE-49D917671C4B}"/>
                  </a:ext>
                </a:extLst>
              </p:cNvPr>
              <p:cNvSpPr>
                <a:spLocks/>
              </p:cNvSpPr>
              <p:nvPr/>
            </p:nvSpPr>
            <p:spPr bwMode="auto">
              <a:xfrm>
                <a:off x="12656732" y="7104612"/>
                <a:ext cx="1221402" cy="1528820"/>
              </a:xfrm>
              <a:custGeom>
                <a:avLst/>
                <a:gdLst>
                  <a:gd name="T0" fmla="*/ 183 w 183"/>
                  <a:gd name="T1" fmla="*/ 67 h 229"/>
                  <a:gd name="T2" fmla="*/ 122 w 183"/>
                  <a:gd name="T3" fmla="*/ 57 h 229"/>
                  <a:gd name="T4" fmla="*/ 129 w 183"/>
                  <a:gd name="T5" fmla="*/ 17 h 229"/>
                  <a:gd name="T6" fmla="*/ 39 w 183"/>
                  <a:gd name="T7" fmla="*/ 0 h 229"/>
                  <a:gd name="T8" fmla="*/ 0 w 183"/>
                  <a:gd name="T9" fmla="*/ 201 h 229"/>
                  <a:gd name="T10" fmla="*/ 158 w 183"/>
                  <a:gd name="T11" fmla="*/ 229 h 229"/>
                  <a:gd name="T12" fmla="*/ 183 w 183"/>
                  <a:gd name="T13" fmla="*/ 67 h 229"/>
                </a:gdLst>
                <a:ahLst/>
                <a:cxnLst>
                  <a:cxn ang="0">
                    <a:pos x="T0" y="T1"/>
                  </a:cxn>
                  <a:cxn ang="0">
                    <a:pos x="T2" y="T3"/>
                  </a:cxn>
                  <a:cxn ang="0">
                    <a:pos x="T4" y="T5"/>
                  </a:cxn>
                  <a:cxn ang="0">
                    <a:pos x="T6" y="T7"/>
                  </a:cxn>
                  <a:cxn ang="0">
                    <a:pos x="T8" y="T9"/>
                  </a:cxn>
                  <a:cxn ang="0">
                    <a:pos x="T10" y="T11"/>
                  </a:cxn>
                  <a:cxn ang="0">
                    <a:pos x="T12" y="T13"/>
                  </a:cxn>
                </a:cxnLst>
                <a:rect l="0" t="0" r="r" b="b"/>
                <a:pathLst>
                  <a:path w="183" h="229">
                    <a:moveTo>
                      <a:pt x="183" y="67"/>
                    </a:moveTo>
                    <a:lnTo>
                      <a:pt x="122" y="57"/>
                    </a:lnTo>
                    <a:lnTo>
                      <a:pt x="129" y="17"/>
                    </a:lnTo>
                    <a:lnTo>
                      <a:pt x="39" y="0"/>
                    </a:lnTo>
                    <a:lnTo>
                      <a:pt x="0" y="201"/>
                    </a:lnTo>
                    <a:lnTo>
                      <a:pt x="158" y="229"/>
                    </a:lnTo>
                    <a:lnTo>
                      <a:pt x="183" y="67"/>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29" name="Freeform 18">
                <a:extLst>
                  <a:ext uri="{FF2B5EF4-FFF2-40B4-BE49-F238E27FC236}">
                    <a16:creationId xmlns:a16="http://schemas.microsoft.com/office/drawing/2014/main" id="{4E59594A-6278-674E-A15E-E6F9D2BADD37}"/>
                  </a:ext>
                </a:extLst>
              </p:cNvPr>
              <p:cNvSpPr>
                <a:spLocks/>
              </p:cNvSpPr>
              <p:nvPr/>
            </p:nvSpPr>
            <p:spPr bwMode="auto">
              <a:xfrm>
                <a:off x="11515420" y="6824220"/>
                <a:ext cx="1401609" cy="2122984"/>
              </a:xfrm>
              <a:custGeom>
                <a:avLst/>
                <a:gdLst>
                  <a:gd name="T0" fmla="*/ 5 w 248"/>
                  <a:gd name="T1" fmla="*/ 131 h 375"/>
                  <a:gd name="T2" fmla="*/ 1 w 248"/>
                  <a:gd name="T3" fmla="*/ 132 h 375"/>
                  <a:gd name="T4" fmla="*/ 0 w 248"/>
                  <a:gd name="T5" fmla="*/ 135 h 375"/>
                  <a:gd name="T6" fmla="*/ 1 w 248"/>
                  <a:gd name="T7" fmla="*/ 139 h 375"/>
                  <a:gd name="T8" fmla="*/ 2 w 248"/>
                  <a:gd name="T9" fmla="*/ 142 h 375"/>
                  <a:gd name="T10" fmla="*/ 3 w 248"/>
                  <a:gd name="T11" fmla="*/ 143 h 375"/>
                  <a:gd name="T12" fmla="*/ 7 w 248"/>
                  <a:gd name="T13" fmla="*/ 145 h 375"/>
                  <a:gd name="T14" fmla="*/ 160 w 248"/>
                  <a:gd name="T15" fmla="*/ 375 h 375"/>
                  <a:gd name="T16" fmla="*/ 163 w 248"/>
                  <a:gd name="T17" fmla="*/ 371 h 375"/>
                  <a:gd name="T18" fmla="*/ 164 w 248"/>
                  <a:gd name="T19" fmla="*/ 367 h 375"/>
                  <a:gd name="T20" fmla="*/ 164 w 248"/>
                  <a:gd name="T21" fmla="*/ 354 h 375"/>
                  <a:gd name="T22" fmla="*/ 164 w 248"/>
                  <a:gd name="T23" fmla="*/ 340 h 375"/>
                  <a:gd name="T24" fmla="*/ 164 w 248"/>
                  <a:gd name="T25" fmla="*/ 329 h 375"/>
                  <a:gd name="T26" fmla="*/ 167 w 248"/>
                  <a:gd name="T27" fmla="*/ 326 h 375"/>
                  <a:gd name="T28" fmla="*/ 174 w 248"/>
                  <a:gd name="T29" fmla="*/ 324 h 375"/>
                  <a:gd name="T30" fmla="*/ 176 w 248"/>
                  <a:gd name="T31" fmla="*/ 328 h 375"/>
                  <a:gd name="T32" fmla="*/ 180 w 248"/>
                  <a:gd name="T33" fmla="*/ 326 h 375"/>
                  <a:gd name="T34" fmla="*/ 185 w 248"/>
                  <a:gd name="T35" fmla="*/ 330 h 375"/>
                  <a:gd name="T36" fmla="*/ 188 w 248"/>
                  <a:gd name="T37" fmla="*/ 332 h 375"/>
                  <a:gd name="T38" fmla="*/ 191 w 248"/>
                  <a:gd name="T39" fmla="*/ 330 h 375"/>
                  <a:gd name="T40" fmla="*/ 197 w 248"/>
                  <a:gd name="T41" fmla="*/ 312 h 375"/>
                  <a:gd name="T42" fmla="*/ 202 w 248"/>
                  <a:gd name="T43" fmla="*/ 287 h 375"/>
                  <a:gd name="T44" fmla="*/ 248 w 248"/>
                  <a:gd name="T45" fmla="*/ 49 h 375"/>
                  <a:gd name="T46" fmla="*/ 134 w 248"/>
                  <a:gd name="T47" fmla="*/ 24 h 375"/>
                  <a:gd name="T48" fmla="*/ 42 w 248"/>
                  <a:gd name="T49" fmla="*/ 0 h 375"/>
                  <a:gd name="T50" fmla="*/ 8 w 248"/>
                  <a:gd name="T51" fmla="*/ 130 h 375"/>
                  <a:gd name="T52" fmla="*/ 5 w 248"/>
                  <a:gd name="T53" fmla="*/ 131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8" h="375">
                    <a:moveTo>
                      <a:pt x="5" y="131"/>
                    </a:moveTo>
                    <a:cubicBezTo>
                      <a:pt x="1" y="132"/>
                      <a:pt x="1" y="132"/>
                      <a:pt x="1" y="132"/>
                    </a:cubicBezTo>
                    <a:cubicBezTo>
                      <a:pt x="0" y="135"/>
                      <a:pt x="0" y="135"/>
                      <a:pt x="0" y="135"/>
                    </a:cubicBezTo>
                    <a:cubicBezTo>
                      <a:pt x="1" y="139"/>
                      <a:pt x="1" y="139"/>
                      <a:pt x="1" y="139"/>
                    </a:cubicBezTo>
                    <a:cubicBezTo>
                      <a:pt x="2" y="142"/>
                      <a:pt x="2" y="142"/>
                      <a:pt x="2" y="142"/>
                    </a:cubicBezTo>
                    <a:cubicBezTo>
                      <a:pt x="3" y="143"/>
                      <a:pt x="3" y="143"/>
                      <a:pt x="3" y="143"/>
                    </a:cubicBezTo>
                    <a:cubicBezTo>
                      <a:pt x="7" y="145"/>
                      <a:pt x="7" y="145"/>
                      <a:pt x="7" y="145"/>
                    </a:cubicBezTo>
                    <a:cubicBezTo>
                      <a:pt x="160" y="375"/>
                      <a:pt x="160" y="375"/>
                      <a:pt x="160" y="375"/>
                    </a:cubicBezTo>
                    <a:cubicBezTo>
                      <a:pt x="163" y="371"/>
                      <a:pt x="163" y="371"/>
                      <a:pt x="163" y="371"/>
                    </a:cubicBezTo>
                    <a:cubicBezTo>
                      <a:pt x="164" y="367"/>
                      <a:pt x="164" y="367"/>
                      <a:pt x="164" y="367"/>
                    </a:cubicBezTo>
                    <a:cubicBezTo>
                      <a:pt x="164" y="354"/>
                      <a:pt x="164" y="354"/>
                      <a:pt x="164" y="354"/>
                    </a:cubicBezTo>
                    <a:cubicBezTo>
                      <a:pt x="164" y="340"/>
                      <a:pt x="164" y="340"/>
                      <a:pt x="164" y="340"/>
                    </a:cubicBezTo>
                    <a:cubicBezTo>
                      <a:pt x="164" y="329"/>
                      <a:pt x="164" y="329"/>
                      <a:pt x="164" y="329"/>
                    </a:cubicBezTo>
                    <a:cubicBezTo>
                      <a:pt x="167" y="326"/>
                      <a:pt x="167" y="326"/>
                      <a:pt x="167" y="326"/>
                    </a:cubicBezTo>
                    <a:cubicBezTo>
                      <a:pt x="174" y="324"/>
                      <a:pt x="174" y="324"/>
                      <a:pt x="174" y="324"/>
                    </a:cubicBezTo>
                    <a:cubicBezTo>
                      <a:pt x="176" y="328"/>
                      <a:pt x="176" y="328"/>
                      <a:pt x="176" y="328"/>
                    </a:cubicBezTo>
                    <a:cubicBezTo>
                      <a:pt x="180" y="326"/>
                      <a:pt x="180" y="326"/>
                      <a:pt x="180" y="326"/>
                    </a:cubicBezTo>
                    <a:cubicBezTo>
                      <a:pt x="185" y="330"/>
                      <a:pt x="185" y="330"/>
                      <a:pt x="185" y="330"/>
                    </a:cubicBezTo>
                    <a:cubicBezTo>
                      <a:pt x="188" y="332"/>
                      <a:pt x="188" y="332"/>
                      <a:pt x="188" y="332"/>
                    </a:cubicBezTo>
                    <a:cubicBezTo>
                      <a:pt x="191" y="330"/>
                      <a:pt x="191" y="330"/>
                      <a:pt x="191" y="330"/>
                    </a:cubicBezTo>
                    <a:cubicBezTo>
                      <a:pt x="191" y="330"/>
                      <a:pt x="195" y="316"/>
                      <a:pt x="197" y="312"/>
                    </a:cubicBezTo>
                    <a:cubicBezTo>
                      <a:pt x="198" y="306"/>
                      <a:pt x="202" y="287"/>
                      <a:pt x="202" y="287"/>
                    </a:cubicBezTo>
                    <a:cubicBezTo>
                      <a:pt x="248" y="49"/>
                      <a:pt x="248" y="49"/>
                      <a:pt x="248" y="49"/>
                    </a:cubicBezTo>
                    <a:cubicBezTo>
                      <a:pt x="248" y="49"/>
                      <a:pt x="163" y="31"/>
                      <a:pt x="134" y="24"/>
                    </a:cubicBezTo>
                    <a:cubicBezTo>
                      <a:pt x="111" y="19"/>
                      <a:pt x="42" y="0"/>
                      <a:pt x="42" y="0"/>
                    </a:cubicBezTo>
                    <a:cubicBezTo>
                      <a:pt x="8" y="130"/>
                      <a:pt x="8" y="130"/>
                      <a:pt x="8" y="130"/>
                    </a:cubicBezTo>
                    <a:lnTo>
                      <a:pt x="5" y="131"/>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0" name="Freeform 19">
                <a:extLst>
                  <a:ext uri="{FF2B5EF4-FFF2-40B4-BE49-F238E27FC236}">
                    <a16:creationId xmlns:a16="http://schemas.microsoft.com/office/drawing/2014/main" id="{300786FD-755A-1941-91A3-E1AEC25ED87E}"/>
                  </a:ext>
                </a:extLst>
              </p:cNvPr>
              <p:cNvSpPr>
                <a:spLocks/>
              </p:cNvSpPr>
              <p:nvPr/>
            </p:nvSpPr>
            <p:spPr bwMode="auto">
              <a:xfrm>
                <a:off x="10921406" y="5502358"/>
                <a:ext cx="1741998" cy="1475410"/>
              </a:xfrm>
              <a:custGeom>
                <a:avLst/>
                <a:gdLst>
                  <a:gd name="T0" fmla="*/ 269 w 308"/>
                  <a:gd name="T1" fmla="*/ 182 h 261"/>
                  <a:gd name="T2" fmla="*/ 270 w 308"/>
                  <a:gd name="T3" fmla="*/ 175 h 261"/>
                  <a:gd name="T4" fmla="*/ 275 w 308"/>
                  <a:gd name="T5" fmla="*/ 171 h 261"/>
                  <a:gd name="T6" fmla="*/ 276 w 308"/>
                  <a:gd name="T7" fmla="*/ 159 h 261"/>
                  <a:gd name="T8" fmla="*/ 274 w 308"/>
                  <a:gd name="T9" fmla="*/ 154 h 261"/>
                  <a:gd name="T10" fmla="*/ 271 w 308"/>
                  <a:gd name="T11" fmla="*/ 153 h 261"/>
                  <a:gd name="T12" fmla="*/ 270 w 308"/>
                  <a:gd name="T13" fmla="*/ 145 h 261"/>
                  <a:gd name="T14" fmla="*/ 277 w 308"/>
                  <a:gd name="T15" fmla="*/ 137 h 261"/>
                  <a:gd name="T16" fmla="*/ 288 w 308"/>
                  <a:gd name="T17" fmla="*/ 125 h 261"/>
                  <a:gd name="T18" fmla="*/ 291 w 308"/>
                  <a:gd name="T19" fmla="*/ 120 h 261"/>
                  <a:gd name="T20" fmla="*/ 297 w 308"/>
                  <a:gd name="T21" fmla="*/ 111 h 261"/>
                  <a:gd name="T22" fmla="*/ 304 w 308"/>
                  <a:gd name="T23" fmla="*/ 104 h 261"/>
                  <a:gd name="T24" fmla="*/ 308 w 308"/>
                  <a:gd name="T25" fmla="*/ 98 h 261"/>
                  <a:gd name="T26" fmla="*/ 307 w 308"/>
                  <a:gd name="T27" fmla="*/ 90 h 261"/>
                  <a:gd name="T28" fmla="*/ 300 w 308"/>
                  <a:gd name="T29" fmla="*/ 83 h 261"/>
                  <a:gd name="T30" fmla="*/ 297 w 308"/>
                  <a:gd name="T31" fmla="*/ 74 h 261"/>
                  <a:gd name="T32" fmla="*/ 220 w 308"/>
                  <a:gd name="T33" fmla="*/ 56 h 261"/>
                  <a:gd name="T34" fmla="*/ 211 w 308"/>
                  <a:gd name="T35" fmla="*/ 56 h 261"/>
                  <a:gd name="T36" fmla="*/ 178 w 308"/>
                  <a:gd name="T37" fmla="*/ 58 h 261"/>
                  <a:gd name="T38" fmla="*/ 172 w 308"/>
                  <a:gd name="T39" fmla="*/ 57 h 261"/>
                  <a:gd name="T40" fmla="*/ 167 w 308"/>
                  <a:gd name="T41" fmla="*/ 58 h 261"/>
                  <a:gd name="T42" fmla="*/ 164 w 308"/>
                  <a:gd name="T43" fmla="*/ 56 h 261"/>
                  <a:gd name="T44" fmla="*/ 156 w 308"/>
                  <a:gd name="T45" fmla="*/ 55 h 261"/>
                  <a:gd name="T46" fmla="*/ 155 w 308"/>
                  <a:gd name="T47" fmla="*/ 52 h 261"/>
                  <a:gd name="T48" fmla="*/ 143 w 308"/>
                  <a:gd name="T49" fmla="*/ 49 h 261"/>
                  <a:gd name="T50" fmla="*/ 136 w 308"/>
                  <a:gd name="T51" fmla="*/ 46 h 261"/>
                  <a:gd name="T52" fmla="*/ 121 w 308"/>
                  <a:gd name="T53" fmla="*/ 49 h 261"/>
                  <a:gd name="T54" fmla="*/ 103 w 308"/>
                  <a:gd name="T55" fmla="*/ 40 h 261"/>
                  <a:gd name="T56" fmla="*/ 99 w 308"/>
                  <a:gd name="T57" fmla="*/ 12 h 261"/>
                  <a:gd name="T58" fmla="*/ 90 w 308"/>
                  <a:gd name="T59" fmla="*/ 10 h 261"/>
                  <a:gd name="T60" fmla="*/ 80 w 308"/>
                  <a:gd name="T61" fmla="*/ 4 h 261"/>
                  <a:gd name="T62" fmla="*/ 70 w 308"/>
                  <a:gd name="T63" fmla="*/ 0 h 261"/>
                  <a:gd name="T64" fmla="*/ 68 w 308"/>
                  <a:gd name="T65" fmla="*/ 13 h 261"/>
                  <a:gd name="T66" fmla="*/ 64 w 308"/>
                  <a:gd name="T67" fmla="*/ 28 h 261"/>
                  <a:gd name="T68" fmla="*/ 60 w 308"/>
                  <a:gd name="T69" fmla="*/ 38 h 261"/>
                  <a:gd name="T70" fmla="*/ 55 w 308"/>
                  <a:gd name="T71" fmla="*/ 50 h 261"/>
                  <a:gd name="T72" fmla="*/ 47 w 308"/>
                  <a:gd name="T73" fmla="*/ 67 h 261"/>
                  <a:gd name="T74" fmla="*/ 35 w 308"/>
                  <a:gd name="T75" fmla="*/ 98 h 261"/>
                  <a:gd name="T76" fmla="*/ 24 w 308"/>
                  <a:gd name="T77" fmla="*/ 120 h 261"/>
                  <a:gd name="T78" fmla="*/ 18 w 308"/>
                  <a:gd name="T79" fmla="*/ 130 h 261"/>
                  <a:gd name="T80" fmla="*/ 14 w 308"/>
                  <a:gd name="T81" fmla="*/ 136 h 261"/>
                  <a:gd name="T82" fmla="*/ 5 w 308"/>
                  <a:gd name="T83" fmla="*/ 148 h 261"/>
                  <a:gd name="T84" fmla="*/ 5 w 308"/>
                  <a:gd name="T85" fmla="*/ 160 h 261"/>
                  <a:gd name="T86" fmla="*/ 5 w 308"/>
                  <a:gd name="T87" fmla="*/ 164 h 261"/>
                  <a:gd name="T88" fmla="*/ 3 w 308"/>
                  <a:gd name="T89" fmla="*/ 169 h 261"/>
                  <a:gd name="T90" fmla="*/ 1 w 308"/>
                  <a:gd name="T91" fmla="*/ 174 h 261"/>
                  <a:gd name="T92" fmla="*/ 0 w 308"/>
                  <a:gd name="T93" fmla="*/ 187 h 261"/>
                  <a:gd name="T94" fmla="*/ 3 w 308"/>
                  <a:gd name="T95" fmla="*/ 193 h 261"/>
                  <a:gd name="T96" fmla="*/ 239 w 308"/>
                  <a:gd name="T97" fmla="*/ 25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8" h="261">
                    <a:moveTo>
                      <a:pt x="251" y="261"/>
                    </a:moveTo>
                    <a:cubicBezTo>
                      <a:pt x="269" y="182"/>
                      <a:pt x="269" y="182"/>
                      <a:pt x="269" y="182"/>
                    </a:cubicBezTo>
                    <a:cubicBezTo>
                      <a:pt x="269" y="177"/>
                      <a:pt x="269" y="177"/>
                      <a:pt x="269" y="177"/>
                    </a:cubicBezTo>
                    <a:cubicBezTo>
                      <a:pt x="270" y="175"/>
                      <a:pt x="270" y="175"/>
                      <a:pt x="270" y="175"/>
                    </a:cubicBezTo>
                    <a:cubicBezTo>
                      <a:pt x="275" y="173"/>
                      <a:pt x="275" y="173"/>
                      <a:pt x="275" y="173"/>
                    </a:cubicBezTo>
                    <a:cubicBezTo>
                      <a:pt x="275" y="171"/>
                      <a:pt x="275" y="171"/>
                      <a:pt x="275" y="171"/>
                    </a:cubicBezTo>
                    <a:cubicBezTo>
                      <a:pt x="276" y="167"/>
                      <a:pt x="276" y="167"/>
                      <a:pt x="276" y="167"/>
                    </a:cubicBezTo>
                    <a:cubicBezTo>
                      <a:pt x="276" y="159"/>
                      <a:pt x="276" y="159"/>
                      <a:pt x="276" y="159"/>
                    </a:cubicBezTo>
                    <a:cubicBezTo>
                      <a:pt x="277" y="157"/>
                      <a:pt x="277" y="157"/>
                      <a:pt x="277" y="157"/>
                    </a:cubicBezTo>
                    <a:cubicBezTo>
                      <a:pt x="274" y="154"/>
                      <a:pt x="274" y="154"/>
                      <a:pt x="274" y="154"/>
                    </a:cubicBezTo>
                    <a:cubicBezTo>
                      <a:pt x="273" y="154"/>
                      <a:pt x="273" y="154"/>
                      <a:pt x="273" y="154"/>
                    </a:cubicBezTo>
                    <a:cubicBezTo>
                      <a:pt x="271" y="153"/>
                      <a:pt x="271" y="153"/>
                      <a:pt x="271" y="153"/>
                    </a:cubicBezTo>
                    <a:cubicBezTo>
                      <a:pt x="269" y="150"/>
                      <a:pt x="269" y="150"/>
                      <a:pt x="269" y="150"/>
                    </a:cubicBezTo>
                    <a:cubicBezTo>
                      <a:pt x="270" y="145"/>
                      <a:pt x="270" y="145"/>
                      <a:pt x="270" y="145"/>
                    </a:cubicBezTo>
                    <a:cubicBezTo>
                      <a:pt x="271" y="142"/>
                      <a:pt x="271" y="142"/>
                      <a:pt x="271" y="142"/>
                    </a:cubicBezTo>
                    <a:cubicBezTo>
                      <a:pt x="277" y="137"/>
                      <a:pt x="277" y="137"/>
                      <a:pt x="277" y="137"/>
                    </a:cubicBezTo>
                    <a:cubicBezTo>
                      <a:pt x="285" y="129"/>
                      <a:pt x="285" y="129"/>
                      <a:pt x="285" y="129"/>
                    </a:cubicBezTo>
                    <a:cubicBezTo>
                      <a:pt x="288" y="125"/>
                      <a:pt x="288" y="125"/>
                      <a:pt x="288" y="125"/>
                    </a:cubicBezTo>
                    <a:cubicBezTo>
                      <a:pt x="289" y="121"/>
                      <a:pt x="289" y="121"/>
                      <a:pt x="289" y="121"/>
                    </a:cubicBezTo>
                    <a:cubicBezTo>
                      <a:pt x="291" y="120"/>
                      <a:pt x="291" y="120"/>
                      <a:pt x="291" y="120"/>
                    </a:cubicBezTo>
                    <a:cubicBezTo>
                      <a:pt x="293" y="115"/>
                      <a:pt x="293" y="115"/>
                      <a:pt x="293" y="115"/>
                    </a:cubicBezTo>
                    <a:cubicBezTo>
                      <a:pt x="297" y="111"/>
                      <a:pt x="297" y="111"/>
                      <a:pt x="297" y="111"/>
                    </a:cubicBezTo>
                    <a:cubicBezTo>
                      <a:pt x="300" y="107"/>
                      <a:pt x="300" y="107"/>
                      <a:pt x="300" y="107"/>
                    </a:cubicBezTo>
                    <a:cubicBezTo>
                      <a:pt x="304" y="104"/>
                      <a:pt x="304" y="104"/>
                      <a:pt x="304" y="104"/>
                    </a:cubicBezTo>
                    <a:cubicBezTo>
                      <a:pt x="305" y="99"/>
                      <a:pt x="305" y="99"/>
                      <a:pt x="305" y="99"/>
                    </a:cubicBezTo>
                    <a:cubicBezTo>
                      <a:pt x="308" y="98"/>
                      <a:pt x="308" y="98"/>
                      <a:pt x="308" y="98"/>
                    </a:cubicBezTo>
                    <a:cubicBezTo>
                      <a:pt x="308" y="94"/>
                      <a:pt x="308" y="94"/>
                      <a:pt x="308" y="94"/>
                    </a:cubicBezTo>
                    <a:cubicBezTo>
                      <a:pt x="307" y="90"/>
                      <a:pt x="307" y="90"/>
                      <a:pt x="307" y="90"/>
                    </a:cubicBezTo>
                    <a:cubicBezTo>
                      <a:pt x="305" y="87"/>
                      <a:pt x="305" y="87"/>
                      <a:pt x="305" y="87"/>
                    </a:cubicBezTo>
                    <a:cubicBezTo>
                      <a:pt x="300" y="83"/>
                      <a:pt x="300" y="83"/>
                      <a:pt x="300" y="83"/>
                    </a:cubicBezTo>
                    <a:cubicBezTo>
                      <a:pt x="297" y="78"/>
                      <a:pt x="297" y="78"/>
                      <a:pt x="297" y="78"/>
                    </a:cubicBezTo>
                    <a:cubicBezTo>
                      <a:pt x="297" y="74"/>
                      <a:pt x="297" y="74"/>
                      <a:pt x="297" y="74"/>
                    </a:cubicBezTo>
                    <a:cubicBezTo>
                      <a:pt x="231" y="57"/>
                      <a:pt x="231" y="57"/>
                      <a:pt x="231" y="57"/>
                    </a:cubicBezTo>
                    <a:cubicBezTo>
                      <a:pt x="220" y="56"/>
                      <a:pt x="220" y="56"/>
                      <a:pt x="220" y="56"/>
                    </a:cubicBezTo>
                    <a:cubicBezTo>
                      <a:pt x="216" y="57"/>
                      <a:pt x="216" y="57"/>
                      <a:pt x="216" y="57"/>
                    </a:cubicBezTo>
                    <a:cubicBezTo>
                      <a:pt x="211" y="56"/>
                      <a:pt x="211" y="56"/>
                      <a:pt x="211" y="56"/>
                    </a:cubicBezTo>
                    <a:cubicBezTo>
                      <a:pt x="207" y="57"/>
                      <a:pt x="207" y="57"/>
                      <a:pt x="207" y="57"/>
                    </a:cubicBezTo>
                    <a:cubicBezTo>
                      <a:pt x="178" y="58"/>
                      <a:pt x="178" y="58"/>
                      <a:pt x="178" y="58"/>
                    </a:cubicBezTo>
                    <a:cubicBezTo>
                      <a:pt x="175" y="56"/>
                      <a:pt x="175" y="56"/>
                      <a:pt x="175" y="56"/>
                    </a:cubicBezTo>
                    <a:cubicBezTo>
                      <a:pt x="172" y="57"/>
                      <a:pt x="172" y="57"/>
                      <a:pt x="172" y="57"/>
                    </a:cubicBezTo>
                    <a:cubicBezTo>
                      <a:pt x="169" y="58"/>
                      <a:pt x="169" y="58"/>
                      <a:pt x="169" y="58"/>
                    </a:cubicBezTo>
                    <a:cubicBezTo>
                      <a:pt x="167" y="58"/>
                      <a:pt x="167" y="58"/>
                      <a:pt x="167" y="58"/>
                    </a:cubicBezTo>
                    <a:cubicBezTo>
                      <a:pt x="164" y="57"/>
                      <a:pt x="164" y="57"/>
                      <a:pt x="164" y="57"/>
                    </a:cubicBezTo>
                    <a:cubicBezTo>
                      <a:pt x="164" y="56"/>
                      <a:pt x="164" y="56"/>
                      <a:pt x="164" y="56"/>
                    </a:cubicBezTo>
                    <a:cubicBezTo>
                      <a:pt x="159" y="56"/>
                      <a:pt x="159" y="56"/>
                      <a:pt x="159" y="56"/>
                    </a:cubicBezTo>
                    <a:cubicBezTo>
                      <a:pt x="156" y="55"/>
                      <a:pt x="156" y="55"/>
                      <a:pt x="156" y="55"/>
                    </a:cubicBezTo>
                    <a:cubicBezTo>
                      <a:pt x="155" y="53"/>
                      <a:pt x="155" y="53"/>
                      <a:pt x="155" y="53"/>
                    </a:cubicBezTo>
                    <a:cubicBezTo>
                      <a:pt x="155" y="52"/>
                      <a:pt x="155" y="52"/>
                      <a:pt x="155" y="52"/>
                    </a:cubicBezTo>
                    <a:cubicBezTo>
                      <a:pt x="151" y="51"/>
                      <a:pt x="151" y="51"/>
                      <a:pt x="151" y="51"/>
                    </a:cubicBezTo>
                    <a:cubicBezTo>
                      <a:pt x="143" y="49"/>
                      <a:pt x="143" y="49"/>
                      <a:pt x="143" y="49"/>
                    </a:cubicBezTo>
                    <a:cubicBezTo>
                      <a:pt x="138" y="47"/>
                      <a:pt x="138" y="47"/>
                      <a:pt x="138" y="47"/>
                    </a:cubicBezTo>
                    <a:cubicBezTo>
                      <a:pt x="136" y="46"/>
                      <a:pt x="136" y="46"/>
                      <a:pt x="136" y="46"/>
                    </a:cubicBezTo>
                    <a:cubicBezTo>
                      <a:pt x="130" y="47"/>
                      <a:pt x="130" y="47"/>
                      <a:pt x="130" y="47"/>
                    </a:cubicBezTo>
                    <a:cubicBezTo>
                      <a:pt x="121" y="49"/>
                      <a:pt x="121" y="49"/>
                      <a:pt x="121" y="49"/>
                    </a:cubicBezTo>
                    <a:cubicBezTo>
                      <a:pt x="110" y="46"/>
                      <a:pt x="110" y="46"/>
                      <a:pt x="110" y="46"/>
                    </a:cubicBezTo>
                    <a:cubicBezTo>
                      <a:pt x="103" y="40"/>
                      <a:pt x="103" y="40"/>
                      <a:pt x="103" y="40"/>
                    </a:cubicBezTo>
                    <a:cubicBezTo>
                      <a:pt x="103" y="40"/>
                      <a:pt x="106" y="33"/>
                      <a:pt x="105" y="24"/>
                    </a:cubicBezTo>
                    <a:cubicBezTo>
                      <a:pt x="104" y="14"/>
                      <a:pt x="99" y="12"/>
                      <a:pt x="99" y="12"/>
                    </a:cubicBezTo>
                    <a:cubicBezTo>
                      <a:pt x="94" y="12"/>
                      <a:pt x="94" y="12"/>
                      <a:pt x="94" y="12"/>
                    </a:cubicBezTo>
                    <a:cubicBezTo>
                      <a:pt x="90" y="10"/>
                      <a:pt x="90" y="10"/>
                      <a:pt x="90" y="10"/>
                    </a:cubicBezTo>
                    <a:cubicBezTo>
                      <a:pt x="90" y="10"/>
                      <a:pt x="90" y="4"/>
                      <a:pt x="85" y="4"/>
                    </a:cubicBezTo>
                    <a:cubicBezTo>
                      <a:pt x="80" y="4"/>
                      <a:pt x="80" y="4"/>
                      <a:pt x="80" y="4"/>
                    </a:cubicBezTo>
                    <a:cubicBezTo>
                      <a:pt x="74" y="3"/>
                      <a:pt x="74" y="3"/>
                      <a:pt x="74" y="3"/>
                    </a:cubicBezTo>
                    <a:cubicBezTo>
                      <a:pt x="70" y="0"/>
                      <a:pt x="70" y="0"/>
                      <a:pt x="70" y="0"/>
                    </a:cubicBezTo>
                    <a:cubicBezTo>
                      <a:pt x="70" y="7"/>
                      <a:pt x="70" y="7"/>
                      <a:pt x="70" y="7"/>
                    </a:cubicBezTo>
                    <a:cubicBezTo>
                      <a:pt x="68" y="13"/>
                      <a:pt x="68" y="13"/>
                      <a:pt x="68" y="13"/>
                    </a:cubicBezTo>
                    <a:cubicBezTo>
                      <a:pt x="63" y="22"/>
                      <a:pt x="63" y="22"/>
                      <a:pt x="63" y="22"/>
                    </a:cubicBezTo>
                    <a:cubicBezTo>
                      <a:pt x="64" y="28"/>
                      <a:pt x="64" y="28"/>
                      <a:pt x="64" y="28"/>
                    </a:cubicBezTo>
                    <a:cubicBezTo>
                      <a:pt x="63" y="33"/>
                      <a:pt x="63" y="33"/>
                      <a:pt x="63" y="33"/>
                    </a:cubicBezTo>
                    <a:cubicBezTo>
                      <a:pt x="60" y="38"/>
                      <a:pt x="60" y="38"/>
                      <a:pt x="60" y="38"/>
                    </a:cubicBezTo>
                    <a:cubicBezTo>
                      <a:pt x="58" y="43"/>
                      <a:pt x="58" y="43"/>
                      <a:pt x="58" y="43"/>
                    </a:cubicBezTo>
                    <a:cubicBezTo>
                      <a:pt x="55" y="50"/>
                      <a:pt x="55" y="50"/>
                      <a:pt x="55" y="50"/>
                    </a:cubicBezTo>
                    <a:cubicBezTo>
                      <a:pt x="53" y="55"/>
                      <a:pt x="53" y="55"/>
                      <a:pt x="53" y="55"/>
                    </a:cubicBezTo>
                    <a:cubicBezTo>
                      <a:pt x="47" y="67"/>
                      <a:pt x="47" y="67"/>
                      <a:pt x="47" y="67"/>
                    </a:cubicBezTo>
                    <a:cubicBezTo>
                      <a:pt x="40" y="85"/>
                      <a:pt x="40" y="85"/>
                      <a:pt x="40" y="85"/>
                    </a:cubicBezTo>
                    <a:cubicBezTo>
                      <a:pt x="35" y="98"/>
                      <a:pt x="35" y="98"/>
                      <a:pt x="35" y="98"/>
                    </a:cubicBezTo>
                    <a:cubicBezTo>
                      <a:pt x="30" y="111"/>
                      <a:pt x="30" y="111"/>
                      <a:pt x="30" y="111"/>
                    </a:cubicBezTo>
                    <a:cubicBezTo>
                      <a:pt x="24" y="120"/>
                      <a:pt x="24" y="120"/>
                      <a:pt x="24" y="120"/>
                    </a:cubicBezTo>
                    <a:cubicBezTo>
                      <a:pt x="22" y="124"/>
                      <a:pt x="22" y="124"/>
                      <a:pt x="22" y="124"/>
                    </a:cubicBezTo>
                    <a:cubicBezTo>
                      <a:pt x="18" y="130"/>
                      <a:pt x="18" y="130"/>
                      <a:pt x="18" y="130"/>
                    </a:cubicBezTo>
                    <a:cubicBezTo>
                      <a:pt x="15" y="133"/>
                      <a:pt x="15" y="133"/>
                      <a:pt x="15" y="133"/>
                    </a:cubicBezTo>
                    <a:cubicBezTo>
                      <a:pt x="14" y="136"/>
                      <a:pt x="14" y="136"/>
                      <a:pt x="14" y="136"/>
                    </a:cubicBezTo>
                    <a:cubicBezTo>
                      <a:pt x="11" y="141"/>
                      <a:pt x="11" y="141"/>
                      <a:pt x="11" y="141"/>
                    </a:cubicBezTo>
                    <a:cubicBezTo>
                      <a:pt x="5" y="148"/>
                      <a:pt x="5" y="148"/>
                      <a:pt x="5" y="148"/>
                    </a:cubicBezTo>
                    <a:cubicBezTo>
                      <a:pt x="3" y="152"/>
                      <a:pt x="3" y="152"/>
                      <a:pt x="3" y="152"/>
                    </a:cubicBezTo>
                    <a:cubicBezTo>
                      <a:pt x="5" y="160"/>
                      <a:pt x="5" y="160"/>
                      <a:pt x="5" y="160"/>
                    </a:cubicBezTo>
                    <a:cubicBezTo>
                      <a:pt x="5" y="162"/>
                      <a:pt x="5" y="162"/>
                      <a:pt x="5" y="162"/>
                    </a:cubicBezTo>
                    <a:cubicBezTo>
                      <a:pt x="5" y="164"/>
                      <a:pt x="5" y="164"/>
                      <a:pt x="5" y="164"/>
                    </a:cubicBezTo>
                    <a:cubicBezTo>
                      <a:pt x="4" y="165"/>
                      <a:pt x="4" y="165"/>
                      <a:pt x="4" y="165"/>
                    </a:cubicBezTo>
                    <a:cubicBezTo>
                      <a:pt x="3" y="169"/>
                      <a:pt x="3" y="169"/>
                      <a:pt x="3" y="169"/>
                    </a:cubicBezTo>
                    <a:cubicBezTo>
                      <a:pt x="1" y="170"/>
                      <a:pt x="1" y="170"/>
                      <a:pt x="1" y="170"/>
                    </a:cubicBezTo>
                    <a:cubicBezTo>
                      <a:pt x="1" y="174"/>
                      <a:pt x="1" y="174"/>
                      <a:pt x="1" y="174"/>
                    </a:cubicBezTo>
                    <a:cubicBezTo>
                      <a:pt x="0" y="182"/>
                      <a:pt x="0" y="182"/>
                      <a:pt x="0" y="182"/>
                    </a:cubicBezTo>
                    <a:cubicBezTo>
                      <a:pt x="0" y="187"/>
                      <a:pt x="0" y="187"/>
                      <a:pt x="0" y="187"/>
                    </a:cubicBezTo>
                    <a:cubicBezTo>
                      <a:pt x="2" y="190"/>
                      <a:pt x="2" y="190"/>
                      <a:pt x="2" y="190"/>
                    </a:cubicBezTo>
                    <a:cubicBezTo>
                      <a:pt x="3" y="193"/>
                      <a:pt x="3" y="193"/>
                      <a:pt x="3" y="193"/>
                    </a:cubicBezTo>
                    <a:cubicBezTo>
                      <a:pt x="147" y="234"/>
                      <a:pt x="147" y="234"/>
                      <a:pt x="147" y="234"/>
                    </a:cubicBezTo>
                    <a:cubicBezTo>
                      <a:pt x="147" y="234"/>
                      <a:pt x="216" y="253"/>
                      <a:pt x="239" y="258"/>
                    </a:cubicBezTo>
                    <a:cubicBezTo>
                      <a:pt x="242" y="259"/>
                      <a:pt x="246" y="260"/>
                      <a:pt x="251" y="261"/>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1" name="Freeform 20">
                <a:extLst>
                  <a:ext uri="{FF2B5EF4-FFF2-40B4-BE49-F238E27FC236}">
                    <a16:creationId xmlns:a16="http://schemas.microsoft.com/office/drawing/2014/main" id="{0EF049F1-EB04-BC43-8918-41431A429D34}"/>
                  </a:ext>
                </a:extLst>
              </p:cNvPr>
              <p:cNvSpPr>
                <a:spLocks/>
              </p:cNvSpPr>
              <p:nvPr/>
            </p:nvSpPr>
            <p:spPr bwMode="auto">
              <a:xfrm>
                <a:off x="12343033" y="5108471"/>
                <a:ext cx="1288144" cy="2109631"/>
              </a:xfrm>
              <a:custGeom>
                <a:avLst/>
                <a:gdLst>
                  <a:gd name="T0" fmla="*/ 46 w 228"/>
                  <a:gd name="T1" fmla="*/ 143 h 373"/>
                  <a:gd name="T2" fmla="*/ 49 w 228"/>
                  <a:gd name="T3" fmla="*/ 152 h 373"/>
                  <a:gd name="T4" fmla="*/ 56 w 228"/>
                  <a:gd name="T5" fmla="*/ 159 h 373"/>
                  <a:gd name="T6" fmla="*/ 57 w 228"/>
                  <a:gd name="T7" fmla="*/ 167 h 373"/>
                  <a:gd name="T8" fmla="*/ 53 w 228"/>
                  <a:gd name="T9" fmla="*/ 173 h 373"/>
                  <a:gd name="T10" fmla="*/ 46 w 228"/>
                  <a:gd name="T11" fmla="*/ 180 h 373"/>
                  <a:gd name="T12" fmla="*/ 40 w 228"/>
                  <a:gd name="T13" fmla="*/ 189 h 373"/>
                  <a:gd name="T14" fmla="*/ 37 w 228"/>
                  <a:gd name="T15" fmla="*/ 194 h 373"/>
                  <a:gd name="T16" fmla="*/ 26 w 228"/>
                  <a:gd name="T17" fmla="*/ 206 h 373"/>
                  <a:gd name="T18" fmla="*/ 19 w 228"/>
                  <a:gd name="T19" fmla="*/ 214 h 373"/>
                  <a:gd name="T20" fmla="*/ 20 w 228"/>
                  <a:gd name="T21" fmla="*/ 222 h 373"/>
                  <a:gd name="T22" fmla="*/ 23 w 228"/>
                  <a:gd name="T23" fmla="*/ 223 h 373"/>
                  <a:gd name="T24" fmla="*/ 25 w 228"/>
                  <a:gd name="T25" fmla="*/ 228 h 373"/>
                  <a:gd name="T26" fmla="*/ 24 w 228"/>
                  <a:gd name="T27" fmla="*/ 240 h 373"/>
                  <a:gd name="T28" fmla="*/ 19 w 228"/>
                  <a:gd name="T29" fmla="*/ 244 h 373"/>
                  <a:gd name="T30" fmla="*/ 18 w 228"/>
                  <a:gd name="T31" fmla="*/ 251 h 373"/>
                  <a:gd name="T32" fmla="*/ 102 w 228"/>
                  <a:gd name="T33" fmla="*/ 352 h 373"/>
                  <a:gd name="T34" fmla="*/ 228 w 228"/>
                  <a:gd name="T35" fmla="*/ 256 h 373"/>
                  <a:gd name="T36" fmla="*/ 224 w 228"/>
                  <a:gd name="T37" fmla="*/ 252 h 373"/>
                  <a:gd name="T38" fmla="*/ 223 w 228"/>
                  <a:gd name="T39" fmla="*/ 247 h 373"/>
                  <a:gd name="T40" fmla="*/ 218 w 228"/>
                  <a:gd name="T41" fmla="*/ 241 h 373"/>
                  <a:gd name="T42" fmla="*/ 213 w 228"/>
                  <a:gd name="T43" fmla="*/ 246 h 373"/>
                  <a:gd name="T44" fmla="*/ 202 w 228"/>
                  <a:gd name="T45" fmla="*/ 248 h 373"/>
                  <a:gd name="T46" fmla="*/ 189 w 228"/>
                  <a:gd name="T47" fmla="*/ 245 h 373"/>
                  <a:gd name="T48" fmla="*/ 184 w 228"/>
                  <a:gd name="T49" fmla="*/ 247 h 373"/>
                  <a:gd name="T50" fmla="*/ 179 w 228"/>
                  <a:gd name="T51" fmla="*/ 247 h 373"/>
                  <a:gd name="T52" fmla="*/ 171 w 228"/>
                  <a:gd name="T53" fmla="*/ 244 h 373"/>
                  <a:gd name="T54" fmla="*/ 168 w 228"/>
                  <a:gd name="T55" fmla="*/ 247 h 373"/>
                  <a:gd name="T56" fmla="*/ 164 w 228"/>
                  <a:gd name="T57" fmla="*/ 249 h 373"/>
                  <a:gd name="T58" fmla="*/ 162 w 228"/>
                  <a:gd name="T59" fmla="*/ 242 h 373"/>
                  <a:gd name="T60" fmla="*/ 160 w 228"/>
                  <a:gd name="T61" fmla="*/ 232 h 373"/>
                  <a:gd name="T62" fmla="*/ 156 w 228"/>
                  <a:gd name="T63" fmla="*/ 226 h 373"/>
                  <a:gd name="T64" fmla="*/ 149 w 228"/>
                  <a:gd name="T65" fmla="*/ 220 h 373"/>
                  <a:gd name="T66" fmla="*/ 149 w 228"/>
                  <a:gd name="T67" fmla="*/ 213 h 373"/>
                  <a:gd name="T68" fmla="*/ 145 w 228"/>
                  <a:gd name="T69" fmla="*/ 204 h 373"/>
                  <a:gd name="T70" fmla="*/ 145 w 228"/>
                  <a:gd name="T71" fmla="*/ 195 h 373"/>
                  <a:gd name="T72" fmla="*/ 142 w 228"/>
                  <a:gd name="T73" fmla="*/ 183 h 373"/>
                  <a:gd name="T74" fmla="*/ 139 w 228"/>
                  <a:gd name="T75" fmla="*/ 179 h 373"/>
                  <a:gd name="T76" fmla="*/ 133 w 228"/>
                  <a:gd name="T77" fmla="*/ 182 h 373"/>
                  <a:gd name="T78" fmla="*/ 127 w 228"/>
                  <a:gd name="T79" fmla="*/ 186 h 373"/>
                  <a:gd name="T80" fmla="*/ 125 w 228"/>
                  <a:gd name="T81" fmla="*/ 183 h 373"/>
                  <a:gd name="T82" fmla="*/ 119 w 228"/>
                  <a:gd name="T83" fmla="*/ 179 h 373"/>
                  <a:gd name="T84" fmla="*/ 125 w 228"/>
                  <a:gd name="T85" fmla="*/ 168 h 373"/>
                  <a:gd name="T86" fmla="*/ 129 w 228"/>
                  <a:gd name="T87" fmla="*/ 166 h 373"/>
                  <a:gd name="T88" fmla="*/ 128 w 228"/>
                  <a:gd name="T89" fmla="*/ 154 h 373"/>
                  <a:gd name="T90" fmla="*/ 134 w 228"/>
                  <a:gd name="T91" fmla="*/ 141 h 373"/>
                  <a:gd name="T92" fmla="*/ 137 w 228"/>
                  <a:gd name="T93" fmla="*/ 131 h 373"/>
                  <a:gd name="T94" fmla="*/ 128 w 228"/>
                  <a:gd name="T95" fmla="*/ 128 h 373"/>
                  <a:gd name="T96" fmla="*/ 123 w 228"/>
                  <a:gd name="T97" fmla="*/ 118 h 373"/>
                  <a:gd name="T98" fmla="*/ 119 w 228"/>
                  <a:gd name="T99" fmla="*/ 106 h 373"/>
                  <a:gd name="T100" fmla="*/ 109 w 228"/>
                  <a:gd name="T101" fmla="*/ 93 h 373"/>
                  <a:gd name="T102" fmla="*/ 104 w 228"/>
                  <a:gd name="T103" fmla="*/ 82 h 373"/>
                  <a:gd name="T104" fmla="*/ 101 w 228"/>
                  <a:gd name="T105" fmla="*/ 76 h 373"/>
                  <a:gd name="T106" fmla="*/ 101 w 228"/>
                  <a:gd name="T107" fmla="*/ 69 h 373"/>
                  <a:gd name="T108" fmla="*/ 97 w 228"/>
                  <a:gd name="T109" fmla="*/ 62 h 373"/>
                  <a:gd name="T110" fmla="*/ 98 w 228"/>
                  <a:gd name="T111" fmla="*/ 48 h 373"/>
                  <a:gd name="T112" fmla="*/ 104 w 228"/>
                  <a:gd name="T113" fmla="*/ 25 h 373"/>
                  <a:gd name="T114" fmla="*/ 108 w 228"/>
                  <a:gd name="T115" fmla="*/ 8 h 373"/>
                  <a:gd name="T116" fmla="*/ 47 w 228"/>
                  <a:gd name="T117" fmla="*/ 12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8" h="373">
                    <a:moveTo>
                      <a:pt x="48" y="132"/>
                    </a:moveTo>
                    <a:cubicBezTo>
                      <a:pt x="48" y="138"/>
                      <a:pt x="46" y="143"/>
                      <a:pt x="46" y="143"/>
                    </a:cubicBezTo>
                    <a:cubicBezTo>
                      <a:pt x="46" y="147"/>
                      <a:pt x="46" y="147"/>
                      <a:pt x="46" y="147"/>
                    </a:cubicBezTo>
                    <a:cubicBezTo>
                      <a:pt x="49" y="152"/>
                      <a:pt x="49" y="152"/>
                      <a:pt x="49" y="152"/>
                    </a:cubicBezTo>
                    <a:cubicBezTo>
                      <a:pt x="54" y="156"/>
                      <a:pt x="54" y="156"/>
                      <a:pt x="54" y="156"/>
                    </a:cubicBezTo>
                    <a:cubicBezTo>
                      <a:pt x="56" y="159"/>
                      <a:pt x="56" y="159"/>
                      <a:pt x="56" y="159"/>
                    </a:cubicBezTo>
                    <a:cubicBezTo>
                      <a:pt x="57" y="163"/>
                      <a:pt x="57" y="163"/>
                      <a:pt x="57" y="163"/>
                    </a:cubicBezTo>
                    <a:cubicBezTo>
                      <a:pt x="57" y="167"/>
                      <a:pt x="57" y="167"/>
                      <a:pt x="57" y="167"/>
                    </a:cubicBezTo>
                    <a:cubicBezTo>
                      <a:pt x="54" y="168"/>
                      <a:pt x="54" y="168"/>
                      <a:pt x="54" y="168"/>
                    </a:cubicBezTo>
                    <a:cubicBezTo>
                      <a:pt x="53" y="173"/>
                      <a:pt x="53" y="173"/>
                      <a:pt x="53" y="173"/>
                    </a:cubicBezTo>
                    <a:cubicBezTo>
                      <a:pt x="49" y="176"/>
                      <a:pt x="49" y="176"/>
                      <a:pt x="49" y="176"/>
                    </a:cubicBezTo>
                    <a:cubicBezTo>
                      <a:pt x="46" y="180"/>
                      <a:pt x="46" y="180"/>
                      <a:pt x="46" y="180"/>
                    </a:cubicBezTo>
                    <a:cubicBezTo>
                      <a:pt x="42" y="184"/>
                      <a:pt x="42" y="184"/>
                      <a:pt x="42" y="184"/>
                    </a:cubicBezTo>
                    <a:cubicBezTo>
                      <a:pt x="40" y="189"/>
                      <a:pt x="40" y="189"/>
                      <a:pt x="40" y="189"/>
                    </a:cubicBezTo>
                    <a:cubicBezTo>
                      <a:pt x="38" y="190"/>
                      <a:pt x="38" y="190"/>
                      <a:pt x="38" y="190"/>
                    </a:cubicBezTo>
                    <a:cubicBezTo>
                      <a:pt x="37" y="194"/>
                      <a:pt x="37" y="194"/>
                      <a:pt x="37" y="194"/>
                    </a:cubicBezTo>
                    <a:cubicBezTo>
                      <a:pt x="34" y="198"/>
                      <a:pt x="34" y="198"/>
                      <a:pt x="34" y="198"/>
                    </a:cubicBezTo>
                    <a:cubicBezTo>
                      <a:pt x="26" y="206"/>
                      <a:pt x="26" y="206"/>
                      <a:pt x="26" y="206"/>
                    </a:cubicBezTo>
                    <a:cubicBezTo>
                      <a:pt x="20" y="211"/>
                      <a:pt x="20" y="211"/>
                      <a:pt x="20" y="211"/>
                    </a:cubicBezTo>
                    <a:cubicBezTo>
                      <a:pt x="19" y="214"/>
                      <a:pt x="19" y="214"/>
                      <a:pt x="19" y="214"/>
                    </a:cubicBezTo>
                    <a:cubicBezTo>
                      <a:pt x="18" y="219"/>
                      <a:pt x="18" y="219"/>
                      <a:pt x="18" y="219"/>
                    </a:cubicBezTo>
                    <a:cubicBezTo>
                      <a:pt x="20" y="222"/>
                      <a:pt x="20" y="222"/>
                      <a:pt x="20" y="222"/>
                    </a:cubicBezTo>
                    <a:cubicBezTo>
                      <a:pt x="22" y="223"/>
                      <a:pt x="22" y="223"/>
                      <a:pt x="22" y="223"/>
                    </a:cubicBezTo>
                    <a:cubicBezTo>
                      <a:pt x="23" y="223"/>
                      <a:pt x="23" y="223"/>
                      <a:pt x="23" y="223"/>
                    </a:cubicBezTo>
                    <a:cubicBezTo>
                      <a:pt x="26" y="226"/>
                      <a:pt x="26" y="226"/>
                      <a:pt x="26" y="226"/>
                    </a:cubicBezTo>
                    <a:cubicBezTo>
                      <a:pt x="25" y="228"/>
                      <a:pt x="25" y="228"/>
                      <a:pt x="25" y="228"/>
                    </a:cubicBezTo>
                    <a:cubicBezTo>
                      <a:pt x="25" y="236"/>
                      <a:pt x="25" y="236"/>
                      <a:pt x="25" y="236"/>
                    </a:cubicBezTo>
                    <a:cubicBezTo>
                      <a:pt x="24" y="240"/>
                      <a:pt x="24" y="240"/>
                      <a:pt x="24" y="240"/>
                    </a:cubicBezTo>
                    <a:cubicBezTo>
                      <a:pt x="24" y="242"/>
                      <a:pt x="24" y="242"/>
                      <a:pt x="24" y="242"/>
                    </a:cubicBezTo>
                    <a:cubicBezTo>
                      <a:pt x="19" y="244"/>
                      <a:pt x="19" y="244"/>
                      <a:pt x="19" y="244"/>
                    </a:cubicBezTo>
                    <a:cubicBezTo>
                      <a:pt x="18" y="246"/>
                      <a:pt x="18" y="246"/>
                      <a:pt x="18" y="246"/>
                    </a:cubicBezTo>
                    <a:cubicBezTo>
                      <a:pt x="18" y="251"/>
                      <a:pt x="18" y="251"/>
                      <a:pt x="18" y="251"/>
                    </a:cubicBezTo>
                    <a:cubicBezTo>
                      <a:pt x="0" y="330"/>
                      <a:pt x="0" y="330"/>
                      <a:pt x="0" y="330"/>
                    </a:cubicBezTo>
                    <a:cubicBezTo>
                      <a:pt x="35" y="338"/>
                      <a:pt x="102" y="352"/>
                      <a:pt x="102" y="352"/>
                    </a:cubicBezTo>
                    <a:cubicBezTo>
                      <a:pt x="208" y="373"/>
                      <a:pt x="208" y="373"/>
                      <a:pt x="208" y="373"/>
                    </a:cubicBezTo>
                    <a:cubicBezTo>
                      <a:pt x="228" y="256"/>
                      <a:pt x="228" y="256"/>
                      <a:pt x="228" y="256"/>
                    </a:cubicBezTo>
                    <a:cubicBezTo>
                      <a:pt x="226" y="254"/>
                      <a:pt x="226" y="254"/>
                      <a:pt x="226" y="254"/>
                    </a:cubicBezTo>
                    <a:cubicBezTo>
                      <a:pt x="224" y="252"/>
                      <a:pt x="224" y="252"/>
                      <a:pt x="224" y="252"/>
                    </a:cubicBezTo>
                    <a:cubicBezTo>
                      <a:pt x="224" y="251"/>
                      <a:pt x="224" y="251"/>
                      <a:pt x="224" y="251"/>
                    </a:cubicBezTo>
                    <a:cubicBezTo>
                      <a:pt x="223" y="247"/>
                      <a:pt x="223" y="247"/>
                      <a:pt x="223" y="247"/>
                    </a:cubicBezTo>
                    <a:cubicBezTo>
                      <a:pt x="221" y="244"/>
                      <a:pt x="221" y="244"/>
                      <a:pt x="221" y="244"/>
                    </a:cubicBezTo>
                    <a:cubicBezTo>
                      <a:pt x="218" y="241"/>
                      <a:pt x="218" y="241"/>
                      <a:pt x="218" y="241"/>
                    </a:cubicBezTo>
                    <a:cubicBezTo>
                      <a:pt x="214" y="241"/>
                      <a:pt x="214" y="241"/>
                      <a:pt x="214" y="241"/>
                    </a:cubicBezTo>
                    <a:cubicBezTo>
                      <a:pt x="213" y="246"/>
                      <a:pt x="213" y="246"/>
                      <a:pt x="213" y="246"/>
                    </a:cubicBezTo>
                    <a:cubicBezTo>
                      <a:pt x="212" y="249"/>
                      <a:pt x="212" y="249"/>
                      <a:pt x="212" y="249"/>
                    </a:cubicBezTo>
                    <a:cubicBezTo>
                      <a:pt x="202" y="248"/>
                      <a:pt x="202" y="248"/>
                      <a:pt x="202" y="248"/>
                    </a:cubicBezTo>
                    <a:cubicBezTo>
                      <a:pt x="197" y="246"/>
                      <a:pt x="197" y="246"/>
                      <a:pt x="197" y="246"/>
                    </a:cubicBezTo>
                    <a:cubicBezTo>
                      <a:pt x="189" y="245"/>
                      <a:pt x="189" y="245"/>
                      <a:pt x="189" y="245"/>
                    </a:cubicBezTo>
                    <a:cubicBezTo>
                      <a:pt x="185" y="245"/>
                      <a:pt x="185" y="245"/>
                      <a:pt x="185" y="245"/>
                    </a:cubicBezTo>
                    <a:cubicBezTo>
                      <a:pt x="184" y="247"/>
                      <a:pt x="184" y="247"/>
                      <a:pt x="184" y="247"/>
                    </a:cubicBezTo>
                    <a:cubicBezTo>
                      <a:pt x="184" y="249"/>
                      <a:pt x="184" y="249"/>
                      <a:pt x="184" y="249"/>
                    </a:cubicBezTo>
                    <a:cubicBezTo>
                      <a:pt x="179" y="247"/>
                      <a:pt x="179" y="247"/>
                      <a:pt x="179" y="247"/>
                    </a:cubicBezTo>
                    <a:cubicBezTo>
                      <a:pt x="174" y="244"/>
                      <a:pt x="174" y="244"/>
                      <a:pt x="174" y="244"/>
                    </a:cubicBezTo>
                    <a:cubicBezTo>
                      <a:pt x="171" y="244"/>
                      <a:pt x="171" y="244"/>
                      <a:pt x="171" y="244"/>
                    </a:cubicBezTo>
                    <a:cubicBezTo>
                      <a:pt x="169" y="244"/>
                      <a:pt x="169" y="244"/>
                      <a:pt x="169" y="244"/>
                    </a:cubicBezTo>
                    <a:cubicBezTo>
                      <a:pt x="168" y="247"/>
                      <a:pt x="168" y="247"/>
                      <a:pt x="168" y="247"/>
                    </a:cubicBezTo>
                    <a:cubicBezTo>
                      <a:pt x="168" y="249"/>
                      <a:pt x="168" y="249"/>
                      <a:pt x="168" y="249"/>
                    </a:cubicBezTo>
                    <a:cubicBezTo>
                      <a:pt x="164" y="249"/>
                      <a:pt x="164" y="249"/>
                      <a:pt x="164" y="249"/>
                    </a:cubicBezTo>
                    <a:cubicBezTo>
                      <a:pt x="162" y="245"/>
                      <a:pt x="162" y="245"/>
                      <a:pt x="162" y="245"/>
                    </a:cubicBezTo>
                    <a:cubicBezTo>
                      <a:pt x="162" y="242"/>
                      <a:pt x="162" y="242"/>
                      <a:pt x="162" y="242"/>
                    </a:cubicBezTo>
                    <a:cubicBezTo>
                      <a:pt x="162" y="238"/>
                      <a:pt x="162" y="238"/>
                      <a:pt x="162" y="238"/>
                    </a:cubicBezTo>
                    <a:cubicBezTo>
                      <a:pt x="160" y="232"/>
                      <a:pt x="160" y="232"/>
                      <a:pt x="160" y="232"/>
                    </a:cubicBezTo>
                    <a:cubicBezTo>
                      <a:pt x="160" y="226"/>
                      <a:pt x="160" y="226"/>
                      <a:pt x="160" y="226"/>
                    </a:cubicBezTo>
                    <a:cubicBezTo>
                      <a:pt x="156" y="226"/>
                      <a:pt x="156" y="226"/>
                      <a:pt x="156" y="226"/>
                    </a:cubicBezTo>
                    <a:cubicBezTo>
                      <a:pt x="151" y="223"/>
                      <a:pt x="151" y="223"/>
                      <a:pt x="151" y="223"/>
                    </a:cubicBezTo>
                    <a:cubicBezTo>
                      <a:pt x="149" y="220"/>
                      <a:pt x="149" y="220"/>
                      <a:pt x="149" y="220"/>
                    </a:cubicBezTo>
                    <a:cubicBezTo>
                      <a:pt x="149" y="218"/>
                      <a:pt x="149" y="218"/>
                      <a:pt x="149" y="218"/>
                    </a:cubicBezTo>
                    <a:cubicBezTo>
                      <a:pt x="149" y="213"/>
                      <a:pt x="149" y="213"/>
                      <a:pt x="149" y="213"/>
                    </a:cubicBezTo>
                    <a:cubicBezTo>
                      <a:pt x="149" y="208"/>
                      <a:pt x="149" y="208"/>
                      <a:pt x="149" y="208"/>
                    </a:cubicBezTo>
                    <a:cubicBezTo>
                      <a:pt x="145" y="204"/>
                      <a:pt x="145" y="204"/>
                      <a:pt x="145" y="204"/>
                    </a:cubicBezTo>
                    <a:cubicBezTo>
                      <a:pt x="145" y="201"/>
                      <a:pt x="145" y="201"/>
                      <a:pt x="145" y="201"/>
                    </a:cubicBezTo>
                    <a:cubicBezTo>
                      <a:pt x="145" y="195"/>
                      <a:pt x="145" y="195"/>
                      <a:pt x="145" y="195"/>
                    </a:cubicBezTo>
                    <a:cubicBezTo>
                      <a:pt x="144" y="187"/>
                      <a:pt x="144" y="187"/>
                      <a:pt x="144" y="187"/>
                    </a:cubicBezTo>
                    <a:cubicBezTo>
                      <a:pt x="142" y="183"/>
                      <a:pt x="142" y="183"/>
                      <a:pt x="142" y="183"/>
                    </a:cubicBezTo>
                    <a:cubicBezTo>
                      <a:pt x="141" y="179"/>
                      <a:pt x="141" y="179"/>
                      <a:pt x="141" y="179"/>
                    </a:cubicBezTo>
                    <a:cubicBezTo>
                      <a:pt x="139" y="179"/>
                      <a:pt x="139" y="179"/>
                      <a:pt x="139" y="179"/>
                    </a:cubicBezTo>
                    <a:cubicBezTo>
                      <a:pt x="135" y="182"/>
                      <a:pt x="135" y="182"/>
                      <a:pt x="135" y="182"/>
                    </a:cubicBezTo>
                    <a:cubicBezTo>
                      <a:pt x="133" y="182"/>
                      <a:pt x="133" y="182"/>
                      <a:pt x="133" y="182"/>
                    </a:cubicBezTo>
                    <a:cubicBezTo>
                      <a:pt x="130" y="183"/>
                      <a:pt x="130" y="183"/>
                      <a:pt x="130" y="183"/>
                    </a:cubicBezTo>
                    <a:cubicBezTo>
                      <a:pt x="127" y="186"/>
                      <a:pt x="127" y="186"/>
                      <a:pt x="127" y="186"/>
                    </a:cubicBezTo>
                    <a:cubicBezTo>
                      <a:pt x="125" y="186"/>
                      <a:pt x="125" y="186"/>
                      <a:pt x="125" y="186"/>
                    </a:cubicBezTo>
                    <a:cubicBezTo>
                      <a:pt x="125" y="183"/>
                      <a:pt x="125" y="183"/>
                      <a:pt x="125" y="183"/>
                    </a:cubicBezTo>
                    <a:cubicBezTo>
                      <a:pt x="121" y="181"/>
                      <a:pt x="121" y="181"/>
                      <a:pt x="121" y="181"/>
                    </a:cubicBezTo>
                    <a:cubicBezTo>
                      <a:pt x="119" y="179"/>
                      <a:pt x="119" y="179"/>
                      <a:pt x="119" y="179"/>
                    </a:cubicBezTo>
                    <a:cubicBezTo>
                      <a:pt x="122" y="172"/>
                      <a:pt x="122" y="172"/>
                      <a:pt x="122" y="172"/>
                    </a:cubicBezTo>
                    <a:cubicBezTo>
                      <a:pt x="125" y="168"/>
                      <a:pt x="125" y="168"/>
                      <a:pt x="125" y="168"/>
                    </a:cubicBezTo>
                    <a:cubicBezTo>
                      <a:pt x="128" y="168"/>
                      <a:pt x="128" y="168"/>
                      <a:pt x="128" y="168"/>
                    </a:cubicBezTo>
                    <a:cubicBezTo>
                      <a:pt x="129" y="166"/>
                      <a:pt x="129" y="166"/>
                      <a:pt x="129" y="166"/>
                    </a:cubicBezTo>
                    <a:cubicBezTo>
                      <a:pt x="127" y="160"/>
                      <a:pt x="127" y="160"/>
                      <a:pt x="127" y="160"/>
                    </a:cubicBezTo>
                    <a:cubicBezTo>
                      <a:pt x="128" y="154"/>
                      <a:pt x="128" y="154"/>
                      <a:pt x="128" y="154"/>
                    </a:cubicBezTo>
                    <a:cubicBezTo>
                      <a:pt x="131" y="147"/>
                      <a:pt x="131" y="147"/>
                      <a:pt x="131" y="147"/>
                    </a:cubicBezTo>
                    <a:cubicBezTo>
                      <a:pt x="134" y="141"/>
                      <a:pt x="134" y="141"/>
                      <a:pt x="134" y="141"/>
                    </a:cubicBezTo>
                    <a:cubicBezTo>
                      <a:pt x="137" y="135"/>
                      <a:pt x="137" y="135"/>
                      <a:pt x="137" y="135"/>
                    </a:cubicBezTo>
                    <a:cubicBezTo>
                      <a:pt x="137" y="131"/>
                      <a:pt x="137" y="131"/>
                      <a:pt x="137" y="131"/>
                    </a:cubicBezTo>
                    <a:cubicBezTo>
                      <a:pt x="128" y="129"/>
                      <a:pt x="128" y="129"/>
                      <a:pt x="128" y="129"/>
                    </a:cubicBezTo>
                    <a:cubicBezTo>
                      <a:pt x="128" y="128"/>
                      <a:pt x="128" y="128"/>
                      <a:pt x="128" y="128"/>
                    </a:cubicBezTo>
                    <a:cubicBezTo>
                      <a:pt x="125" y="124"/>
                      <a:pt x="125" y="124"/>
                      <a:pt x="125" y="124"/>
                    </a:cubicBezTo>
                    <a:cubicBezTo>
                      <a:pt x="123" y="118"/>
                      <a:pt x="123" y="118"/>
                      <a:pt x="123" y="118"/>
                    </a:cubicBezTo>
                    <a:cubicBezTo>
                      <a:pt x="122" y="111"/>
                      <a:pt x="122" y="111"/>
                      <a:pt x="122" y="111"/>
                    </a:cubicBezTo>
                    <a:cubicBezTo>
                      <a:pt x="119" y="106"/>
                      <a:pt x="119" y="106"/>
                      <a:pt x="119" y="106"/>
                    </a:cubicBezTo>
                    <a:cubicBezTo>
                      <a:pt x="114" y="101"/>
                      <a:pt x="114" y="101"/>
                      <a:pt x="114" y="101"/>
                    </a:cubicBezTo>
                    <a:cubicBezTo>
                      <a:pt x="109" y="93"/>
                      <a:pt x="109" y="93"/>
                      <a:pt x="109" y="93"/>
                    </a:cubicBezTo>
                    <a:cubicBezTo>
                      <a:pt x="108" y="88"/>
                      <a:pt x="108" y="88"/>
                      <a:pt x="108" y="88"/>
                    </a:cubicBezTo>
                    <a:cubicBezTo>
                      <a:pt x="104" y="82"/>
                      <a:pt x="104" y="82"/>
                      <a:pt x="104" y="82"/>
                    </a:cubicBezTo>
                    <a:cubicBezTo>
                      <a:pt x="104" y="79"/>
                      <a:pt x="104" y="79"/>
                      <a:pt x="104" y="79"/>
                    </a:cubicBezTo>
                    <a:cubicBezTo>
                      <a:pt x="101" y="76"/>
                      <a:pt x="101" y="76"/>
                      <a:pt x="101" y="76"/>
                    </a:cubicBezTo>
                    <a:cubicBezTo>
                      <a:pt x="101" y="72"/>
                      <a:pt x="101" y="72"/>
                      <a:pt x="101" y="72"/>
                    </a:cubicBezTo>
                    <a:cubicBezTo>
                      <a:pt x="101" y="69"/>
                      <a:pt x="101" y="69"/>
                      <a:pt x="101" y="69"/>
                    </a:cubicBezTo>
                    <a:cubicBezTo>
                      <a:pt x="99" y="64"/>
                      <a:pt x="99" y="64"/>
                      <a:pt x="99" y="64"/>
                    </a:cubicBezTo>
                    <a:cubicBezTo>
                      <a:pt x="97" y="62"/>
                      <a:pt x="97" y="62"/>
                      <a:pt x="97" y="62"/>
                    </a:cubicBezTo>
                    <a:cubicBezTo>
                      <a:pt x="97" y="59"/>
                      <a:pt x="97" y="59"/>
                      <a:pt x="97" y="59"/>
                    </a:cubicBezTo>
                    <a:cubicBezTo>
                      <a:pt x="98" y="48"/>
                      <a:pt x="98" y="48"/>
                      <a:pt x="98" y="48"/>
                    </a:cubicBezTo>
                    <a:cubicBezTo>
                      <a:pt x="101" y="36"/>
                      <a:pt x="101" y="36"/>
                      <a:pt x="101" y="36"/>
                    </a:cubicBezTo>
                    <a:cubicBezTo>
                      <a:pt x="104" y="25"/>
                      <a:pt x="104" y="25"/>
                      <a:pt x="104" y="25"/>
                    </a:cubicBezTo>
                    <a:cubicBezTo>
                      <a:pt x="106" y="18"/>
                      <a:pt x="106" y="18"/>
                      <a:pt x="106" y="18"/>
                    </a:cubicBezTo>
                    <a:cubicBezTo>
                      <a:pt x="108" y="8"/>
                      <a:pt x="108" y="8"/>
                      <a:pt x="108" y="8"/>
                    </a:cubicBezTo>
                    <a:cubicBezTo>
                      <a:pt x="76" y="0"/>
                      <a:pt x="76" y="0"/>
                      <a:pt x="76" y="0"/>
                    </a:cubicBezTo>
                    <a:cubicBezTo>
                      <a:pt x="76" y="0"/>
                      <a:pt x="52" y="114"/>
                      <a:pt x="47" y="120"/>
                    </a:cubicBezTo>
                    <a:cubicBezTo>
                      <a:pt x="43" y="127"/>
                      <a:pt x="48" y="125"/>
                      <a:pt x="48" y="132"/>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2" name="Freeform 21">
                <a:extLst>
                  <a:ext uri="{FF2B5EF4-FFF2-40B4-BE49-F238E27FC236}">
                    <a16:creationId xmlns:a16="http://schemas.microsoft.com/office/drawing/2014/main" id="{CF0F3F71-5489-2141-B736-E8F1B0D3D1ED}"/>
                  </a:ext>
                </a:extLst>
              </p:cNvPr>
              <p:cNvSpPr>
                <a:spLocks/>
              </p:cNvSpPr>
              <p:nvPr/>
            </p:nvSpPr>
            <p:spPr bwMode="auto">
              <a:xfrm>
                <a:off x="12890331" y="5155203"/>
                <a:ext cx="2209201" cy="1428678"/>
              </a:xfrm>
              <a:custGeom>
                <a:avLst/>
                <a:gdLst>
                  <a:gd name="T0" fmla="*/ 184 w 391"/>
                  <a:gd name="T1" fmla="*/ 33 h 252"/>
                  <a:gd name="T2" fmla="*/ 9 w 391"/>
                  <a:gd name="T3" fmla="*/ 10 h 252"/>
                  <a:gd name="T4" fmla="*/ 4 w 391"/>
                  <a:gd name="T5" fmla="*/ 28 h 252"/>
                  <a:gd name="T6" fmla="*/ 0 w 391"/>
                  <a:gd name="T7" fmla="*/ 51 h 252"/>
                  <a:gd name="T8" fmla="*/ 2 w 391"/>
                  <a:gd name="T9" fmla="*/ 56 h 252"/>
                  <a:gd name="T10" fmla="*/ 4 w 391"/>
                  <a:gd name="T11" fmla="*/ 64 h 252"/>
                  <a:gd name="T12" fmla="*/ 7 w 391"/>
                  <a:gd name="T13" fmla="*/ 71 h 252"/>
                  <a:gd name="T14" fmla="*/ 11 w 391"/>
                  <a:gd name="T15" fmla="*/ 80 h 252"/>
                  <a:gd name="T16" fmla="*/ 17 w 391"/>
                  <a:gd name="T17" fmla="*/ 93 h 252"/>
                  <a:gd name="T18" fmla="*/ 25 w 391"/>
                  <a:gd name="T19" fmla="*/ 103 h 252"/>
                  <a:gd name="T20" fmla="*/ 28 w 391"/>
                  <a:gd name="T21" fmla="*/ 116 h 252"/>
                  <a:gd name="T22" fmla="*/ 31 w 391"/>
                  <a:gd name="T23" fmla="*/ 121 h 252"/>
                  <a:gd name="T24" fmla="*/ 40 w 391"/>
                  <a:gd name="T25" fmla="*/ 127 h 252"/>
                  <a:gd name="T26" fmla="*/ 34 w 391"/>
                  <a:gd name="T27" fmla="*/ 139 h 252"/>
                  <a:gd name="T28" fmla="*/ 30 w 391"/>
                  <a:gd name="T29" fmla="*/ 152 h 252"/>
                  <a:gd name="T30" fmla="*/ 31 w 391"/>
                  <a:gd name="T31" fmla="*/ 160 h 252"/>
                  <a:gd name="T32" fmla="*/ 25 w 391"/>
                  <a:gd name="T33" fmla="*/ 164 h 252"/>
                  <a:gd name="T34" fmla="*/ 24 w 391"/>
                  <a:gd name="T35" fmla="*/ 173 h 252"/>
                  <a:gd name="T36" fmla="*/ 28 w 391"/>
                  <a:gd name="T37" fmla="*/ 178 h 252"/>
                  <a:gd name="T38" fmla="*/ 33 w 391"/>
                  <a:gd name="T39" fmla="*/ 175 h 252"/>
                  <a:gd name="T40" fmla="*/ 38 w 391"/>
                  <a:gd name="T41" fmla="*/ 174 h 252"/>
                  <a:gd name="T42" fmla="*/ 44 w 391"/>
                  <a:gd name="T43" fmla="*/ 171 h 252"/>
                  <a:gd name="T44" fmla="*/ 47 w 391"/>
                  <a:gd name="T45" fmla="*/ 179 h 252"/>
                  <a:gd name="T46" fmla="*/ 48 w 391"/>
                  <a:gd name="T47" fmla="*/ 193 h 252"/>
                  <a:gd name="T48" fmla="*/ 52 w 391"/>
                  <a:gd name="T49" fmla="*/ 200 h 252"/>
                  <a:gd name="T50" fmla="*/ 52 w 391"/>
                  <a:gd name="T51" fmla="*/ 210 h 252"/>
                  <a:gd name="T52" fmla="*/ 54 w 391"/>
                  <a:gd name="T53" fmla="*/ 215 h 252"/>
                  <a:gd name="T54" fmla="*/ 63 w 391"/>
                  <a:gd name="T55" fmla="*/ 218 h 252"/>
                  <a:gd name="T56" fmla="*/ 65 w 391"/>
                  <a:gd name="T57" fmla="*/ 230 h 252"/>
                  <a:gd name="T58" fmla="*/ 65 w 391"/>
                  <a:gd name="T59" fmla="*/ 237 h 252"/>
                  <a:gd name="T60" fmla="*/ 71 w 391"/>
                  <a:gd name="T61" fmla="*/ 241 h 252"/>
                  <a:gd name="T62" fmla="*/ 72 w 391"/>
                  <a:gd name="T63" fmla="*/ 236 h 252"/>
                  <a:gd name="T64" fmla="*/ 77 w 391"/>
                  <a:gd name="T65" fmla="*/ 236 h 252"/>
                  <a:gd name="T66" fmla="*/ 87 w 391"/>
                  <a:gd name="T67" fmla="*/ 241 h 252"/>
                  <a:gd name="T68" fmla="*/ 88 w 391"/>
                  <a:gd name="T69" fmla="*/ 237 h 252"/>
                  <a:gd name="T70" fmla="*/ 100 w 391"/>
                  <a:gd name="T71" fmla="*/ 238 h 252"/>
                  <a:gd name="T72" fmla="*/ 115 w 391"/>
                  <a:gd name="T73" fmla="*/ 241 h 252"/>
                  <a:gd name="T74" fmla="*/ 117 w 391"/>
                  <a:gd name="T75" fmla="*/ 233 h 252"/>
                  <a:gd name="T76" fmla="*/ 124 w 391"/>
                  <a:gd name="T77" fmla="*/ 236 h 252"/>
                  <a:gd name="T78" fmla="*/ 127 w 391"/>
                  <a:gd name="T79" fmla="*/ 243 h 252"/>
                  <a:gd name="T80" fmla="*/ 129 w 391"/>
                  <a:gd name="T81" fmla="*/ 246 h 252"/>
                  <a:gd name="T82" fmla="*/ 136 w 391"/>
                  <a:gd name="T83" fmla="*/ 221 h 252"/>
                  <a:gd name="T84" fmla="*/ 373 w 391"/>
                  <a:gd name="T85" fmla="*/ 252 h 252"/>
                  <a:gd name="T86" fmla="*/ 391 w 391"/>
                  <a:gd name="T87" fmla="*/ 6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1" h="252">
                    <a:moveTo>
                      <a:pt x="391" y="60"/>
                    </a:moveTo>
                    <a:cubicBezTo>
                      <a:pt x="391" y="60"/>
                      <a:pt x="243" y="42"/>
                      <a:pt x="184" y="33"/>
                    </a:cubicBezTo>
                    <a:cubicBezTo>
                      <a:pt x="112" y="22"/>
                      <a:pt x="11" y="0"/>
                      <a:pt x="11" y="0"/>
                    </a:cubicBezTo>
                    <a:cubicBezTo>
                      <a:pt x="9" y="10"/>
                      <a:pt x="9" y="10"/>
                      <a:pt x="9" y="10"/>
                    </a:cubicBezTo>
                    <a:cubicBezTo>
                      <a:pt x="7" y="17"/>
                      <a:pt x="7" y="17"/>
                      <a:pt x="7" y="17"/>
                    </a:cubicBezTo>
                    <a:cubicBezTo>
                      <a:pt x="4" y="28"/>
                      <a:pt x="4" y="28"/>
                      <a:pt x="4" y="28"/>
                    </a:cubicBezTo>
                    <a:cubicBezTo>
                      <a:pt x="1" y="40"/>
                      <a:pt x="1" y="40"/>
                      <a:pt x="1" y="40"/>
                    </a:cubicBezTo>
                    <a:cubicBezTo>
                      <a:pt x="0" y="51"/>
                      <a:pt x="0" y="51"/>
                      <a:pt x="0" y="51"/>
                    </a:cubicBezTo>
                    <a:cubicBezTo>
                      <a:pt x="0" y="54"/>
                      <a:pt x="0" y="54"/>
                      <a:pt x="0" y="54"/>
                    </a:cubicBezTo>
                    <a:cubicBezTo>
                      <a:pt x="2" y="56"/>
                      <a:pt x="2" y="56"/>
                      <a:pt x="2" y="56"/>
                    </a:cubicBezTo>
                    <a:cubicBezTo>
                      <a:pt x="4" y="61"/>
                      <a:pt x="4" y="61"/>
                      <a:pt x="4" y="61"/>
                    </a:cubicBezTo>
                    <a:cubicBezTo>
                      <a:pt x="4" y="64"/>
                      <a:pt x="4" y="64"/>
                      <a:pt x="4" y="64"/>
                    </a:cubicBezTo>
                    <a:cubicBezTo>
                      <a:pt x="4" y="68"/>
                      <a:pt x="4" y="68"/>
                      <a:pt x="4" y="68"/>
                    </a:cubicBezTo>
                    <a:cubicBezTo>
                      <a:pt x="7" y="71"/>
                      <a:pt x="7" y="71"/>
                      <a:pt x="7" y="71"/>
                    </a:cubicBezTo>
                    <a:cubicBezTo>
                      <a:pt x="7" y="74"/>
                      <a:pt x="7" y="74"/>
                      <a:pt x="7" y="74"/>
                    </a:cubicBezTo>
                    <a:cubicBezTo>
                      <a:pt x="11" y="80"/>
                      <a:pt x="11" y="80"/>
                      <a:pt x="11" y="80"/>
                    </a:cubicBezTo>
                    <a:cubicBezTo>
                      <a:pt x="12" y="85"/>
                      <a:pt x="12" y="85"/>
                      <a:pt x="12" y="85"/>
                    </a:cubicBezTo>
                    <a:cubicBezTo>
                      <a:pt x="17" y="93"/>
                      <a:pt x="17" y="93"/>
                      <a:pt x="17" y="93"/>
                    </a:cubicBezTo>
                    <a:cubicBezTo>
                      <a:pt x="22" y="98"/>
                      <a:pt x="22" y="98"/>
                      <a:pt x="22" y="98"/>
                    </a:cubicBezTo>
                    <a:cubicBezTo>
                      <a:pt x="25" y="103"/>
                      <a:pt x="25" y="103"/>
                      <a:pt x="25" y="103"/>
                    </a:cubicBezTo>
                    <a:cubicBezTo>
                      <a:pt x="26" y="110"/>
                      <a:pt x="26" y="110"/>
                      <a:pt x="26" y="110"/>
                    </a:cubicBezTo>
                    <a:cubicBezTo>
                      <a:pt x="28" y="116"/>
                      <a:pt x="28" y="116"/>
                      <a:pt x="28" y="116"/>
                    </a:cubicBezTo>
                    <a:cubicBezTo>
                      <a:pt x="31" y="120"/>
                      <a:pt x="31" y="120"/>
                      <a:pt x="31" y="120"/>
                    </a:cubicBezTo>
                    <a:cubicBezTo>
                      <a:pt x="31" y="121"/>
                      <a:pt x="31" y="121"/>
                      <a:pt x="31" y="121"/>
                    </a:cubicBezTo>
                    <a:cubicBezTo>
                      <a:pt x="40" y="123"/>
                      <a:pt x="40" y="123"/>
                      <a:pt x="40" y="123"/>
                    </a:cubicBezTo>
                    <a:cubicBezTo>
                      <a:pt x="40" y="127"/>
                      <a:pt x="40" y="127"/>
                      <a:pt x="40" y="127"/>
                    </a:cubicBezTo>
                    <a:cubicBezTo>
                      <a:pt x="37" y="133"/>
                      <a:pt x="37" y="133"/>
                      <a:pt x="37" y="133"/>
                    </a:cubicBezTo>
                    <a:cubicBezTo>
                      <a:pt x="34" y="139"/>
                      <a:pt x="34" y="139"/>
                      <a:pt x="34" y="139"/>
                    </a:cubicBezTo>
                    <a:cubicBezTo>
                      <a:pt x="31" y="146"/>
                      <a:pt x="31" y="146"/>
                      <a:pt x="31" y="146"/>
                    </a:cubicBezTo>
                    <a:cubicBezTo>
                      <a:pt x="30" y="152"/>
                      <a:pt x="30" y="152"/>
                      <a:pt x="30" y="152"/>
                    </a:cubicBezTo>
                    <a:cubicBezTo>
                      <a:pt x="32" y="158"/>
                      <a:pt x="32" y="158"/>
                      <a:pt x="32" y="158"/>
                    </a:cubicBezTo>
                    <a:cubicBezTo>
                      <a:pt x="31" y="160"/>
                      <a:pt x="31" y="160"/>
                      <a:pt x="31" y="160"/>
                    </a:cubicBezTo>
                    <a:cubicBezTo>
                      <a:pt x="28" y="160"/>
                      <a:pt x="28" y="160"/>
                      <a:pt x="28" y="160"/>
                    </a:cubicBezTo>
                    <a:cubicBezTo>
                      <a:pt x="25" y="164"/>
                      <a:pt x="25" y="164"/>
                      <a:pt x="25" y="164"/>
                    </a:cubicBezTo>
                    <a:cubicBezTo>
                      <a:pt x="22" y="171"/>
                      <a:pt x="22" y="171"/>
                      <a:pt x="22" y="171"/>
                    </a:cubicBezTo>
                    <a:cubicBezTo>
                      <a:pt x="24" y="173"/>
                      <a:pt x="24" y="173"/>
                      <a:pt x="24" y="173"/>
                    </a:cubicBezTo>
                    <a:cubicBezTo>
                      <a:pt x="28" y="175"/>
                      <a:pt x="28" y="175"/>
                      <a:pt x="28" y="175"/>
                    </a:cubicBezTo>
                    <a:cubicBezTo>
                      <a:pt x="28" y="178"/>
                      <a:pt x="28" y="178"/>
                      <a:pt x="28" y="178"/>
                    </a:cubicBezTo>
                    <a:cubicBezTo>
                      <a:pt x="30" y="178"/>
                      <a:pt x="30" y="178"/>
                      <a:pt x="30" y="178"/>
                    </a:cubicBezTo>
                    <a:cubicBezTo>
                      <a:pt x="33" y="175"/>
                      <a:pt x="33" y="175"/>
                      <a:pt x="33" y="175"/>
                    </a:cubicBezTo>
                    <a:cubicBezTo>
                      <a:pt x="36" y="174"/>
                      <a:pt x="36" y="174"/>
                      <a:pt x="36" y="174"/>
                    </a:cubicBezTo>
                    <a:cubicBezTo>
                      <a:pt x="38" y="174"/>
                      <a:pt x="38" y="174"/>
                      <a:pt x="38" y="174"/>
                    </a:cubicBezTo>
                    <a:cubicBezTo>
                      <a:pt x="42" y="171"/>
                      <a:pt x="42" y="171"/>
                      <a:pt x="42" y="171"/>
                    </a:cubicBezTo>
                    <a:cubicBezTo>
                      <a:pt x="44" y="171"/>
                      <a:pt x="44" y="171"/>
                      <a:pt x="44" y="171"/>
                    </a:cubicBezTo>
                    <a:cubicBezTo>
                      <a:pt x="45" y="175"/>
                      <a:pt x="45" y="175"/>
                      <a:pt x="45" y="175"/>
                    </a:cubicBezTo>
                    <a:cubicBezTo>
                      <a:pt x="47" y="179"/>
                      <a:pt x="47" y="179"/>
                      <a:pt x="47" y="179"/>
                    </a:cubicBezTo>
                    <a:cubicBezTo>
                      <a:pt x="48" y="187"/>
                      <a:pt x="48" y="187"/>
                      <a:pt x="48" y="187"/>
                    </a:cubicBezTo>
                    <a:cubicBezTo>
                      <a:pt x="48" y="193"/>
                      <a:pt x="48" y="193"/>
                      <a:pt x="48" y="193"/>
                    </a:cubicBezTo>
                    <a:cubicBezTo>
                      <a:pt x="48" y="196"/>
                      <a:pt x="48" y="196"/>
                      <a:pt x="48" y="196"/>
                    </a:cubicBezTo>
                    <a:cubicBezTo>
                      <a:pt x="52" y="200"/>
                      <a:pt x="52" y="200"/>
                      <a:pt x="52" y="200"/>
                    </a:cubicBezTo>
                    <a:cubicBezTo>
                      <a:pt x="52" y="205"/>
                      <a:pt x="52" y="205"/>
                      <a:pt x="52" y="205"/>
                    </a:cubicBezTo>
                    <a:cubicBezTo>
                      <a:pt x="52" y="210"/>
                      <a:pt x="52" y="210"/>
                      <a:pt x="52" y="210"/>
                    </a:cubicBezTo>
                    <a:cubicBezTo>
                      <a:pt x="52" y="212"/>
                      <a:pt x="52" y="212"/>
                      <a:pt x="52" y="212"/>
                    </a:cubicBezTo>
                    <a:cubicBezTo>
                      <a:pt x="54" y="215"/>
                      <a:pt x="54" y="215"/>
                      <a:pt x="54" y="215"/>
                    </a:cubicBezTo>
                    <a:cubicBezTo>
                      <a:pt x="59" y="218"/>
                      <a:pt x="59" y="218"/>
                      <a:pt x="59" y="218"/>
                    </a:cubicBezTo>
                    <a:cubicBezTo>
                      <a:pt x="63" y="218"/>
                      <a:pt x="63" y="218"/>
                      <a:pt x="63" y="218"/>
                    </a:cubicBezTo>
                    <a:cubicBezTo>
                      <a:pt x="63" y="224"/>
                      <a:pt x="63" y="224"/>
                      <a:pt x="63" y="224"/>
                    </a:cubicBezTo>
                    <a:cubicBezTo>
                      <a:pt x="65" y="230"/>
                      <a:pt x="65" y="230"/>
                      <a:pt x="65" y="230"/>
                    </a:cubicBezTo>
                    <a:cubicBezTo>
                      <a:pt x="65" y="234"/>
                      <a:pt x="65" y="234"/>
                      <a:pt x="65" y="234"/>
                    </a:cubicBezTo>
                    <a:cubicBezTo>
                      <a:pt x="65" y="237"/>
                      <a:pt x="65" y="237"/>
                      <a:pt x="65" y="237"/>
                    </a:cubicBezTo>
                    <a:cubicBezTo>
                      <a:pt x="67" y="241"/>
                      <a:pt x="67" y="241"/>
                      <a:pt x="67" y="241"/>
                    </a:cubicBezTo>
                    <a:cubicBezTo>
                      <a:pt x="71" y="241"/>
                      <a:pt x="71" y="241"/>
                      <a:pt x="71" y="241"/>
                    </a:cubicBezTo>
                    <a:cubicBezTo>
                      <a:pt x="71" y="239"/>
                      <a:pt x="71" y="239"/>
                      <a:pt x="71" y="239"/>
                    </a:cubicBezTo>
                    <a:cubicBezTo>
                      <a:pt x="72" y="236"/>
                      <a:pt x="72" y="236"/>
                      <a:pt x="72" y="236"/>
                    </a:cubicBezTo>
                    <a:cubicBezTo>
                      <a:pt x="74" y="236"/>
                      <a:pt x="74" y="236"/>
                      <a:pt x="74" y="236"/>
                    </a:cubicBezTo>
                    <a:cubicBezTo>
                      <a:pt x="77" y="236"/>
                      <a:pt x="77" y="236"/>
                      <a:pt x="77" y="236"/>
                    </a:cubicBezTo>
                    <a:cubicBezTo>
                      <a:pt x="82" y="239"/>
                      <a:pt x="82" y="239"/>
                      <a:pt x="82" y="239"/>
                    </a:cubicBezTo>
                    <a:cubicBezTo>
                      <a:pt x="87" y="241"/>
                      <a:pt x="87" y="241"/>
                      <a:pt x="87" y="241"/>
                    </a:cubicBezTo>
                    <a:cubicBezTo>
                      <a:pt x="87" y="239"/>
                      <a:pt x="87" y="239"/>
                      <a:pt x="87" y="239"/>
                    </a:cubicBezTo>
                    <a:cubicBezTo>
                      <a:pt x="88" y="237"/>
                      <a:pt x="88" y="237"/>
                      <a:pt x="88" y="237"/>
                    </a:cubicBezTo>
                    <a:cubicBezTo>
                      <a:pt x="92" y="237"/>
                      <a:pt x="92" y="237"/>
                      <a:pt x="92" y="237"/>
                    </a:cubicBezTo>
                    <a:cubicBezTo>
                      <a:pt x="100" y="238"/>
                      <a:pt x="100" y="238"/>
                      <a:pt x="100" y="238"/>
                    </a:cubicBezTo>
                    <a:cubicBezTo>
                      <a:pt x="105" y="240"/>
                      <a:pt x="105" y="240"/>
                      <a:pt x="105" y="240"/>
                    </a:cubicBezTo>
                    <a:cubicBezTo>
                      <a:pt x="115" y="241"/>
                      <a:pt x="115" y="241"/>
                      <a:pt x="115" y="241"/>
                    </a:cubicBezTo>
                    <a:cubicBezTo>
                      <a:pt x="116" y="238"/>
                      <a:pt x="116" y="238"/>
                      <a:pt x="116" y="238"/>
                    </a:cubicBezTo>
                    <a:cubicBezTo>
                      <a:pt x="117" y="233"/>
                      <a:pt x="117" y="233"/>
                      <a:pt x="117" y="233"/>
                    </a:cubicBezTo>
                    <a:cubicBezTo>
                      <a:pt x="121" y="233"/>
                      <a:pt x="121" y="233"/>
                      <a:pt x="121" y="233"/>
                    </a:cubicBezTo>
                    <a:cubicBezTo>
                      <a:pt x="124" y="236"/>
                      <a:pt x="124" y="236"/>
                      <a:pt x="124" y="236"/>
                    </a:cubicBezTo>
                    <a:cubicBezTo>
                      <a:pt x="126" y="239"/>
                      <a:pt x="126" y="239"/>
                      <a:pt x="126" y="239"/>
                    </a:cubicBezTo>
                    <a:cubicBezTo>
                      <a:pt x="127" y="243"/>
                      <a:pt x="127" y="243"/>
                      <a:pt x="127" y="243"/>
                    </a:cubicBezTo>
                    <a:cubicBezTo>
                      <a:pt x="127" y="244"/>
                      <a:pt x="127" y="244"/>
                      <a:pt x="127" y="244"/>
                    </a:cubicBezTo>
                    <a:cubicBezTo>
                      <a:pt x="129" y="246"/>
                      <a:pt x="129" y="246"/>
                      <a:pt x="129" y="246"/>
                    </a:cubicBezTo>
                    <a:cubicBezTo>
                      <a:pt x="131" y="248"/>
                      <a:pt x="131" y="248"/>
                      <a:pt x="131" y="248"/>
                    </a:cubicBezTo>
                    <a:cubicBezTo>
                      <a:pt x="136" y="221"/>
                      <a:pt x="136" y="221"/>
                      <a:pt x="136" y="221"/>
                    </a:cubicBezTo>
                    <a:cubicBezTo>
                      <a:pt x="372" y="252"/>
                      <a:pt x="372" y="252"/>
                      <a:pt x="372" y="252"/>
                    </a:cubicBezTo>
                    <a:cubicBezTo>
                      <a:pt x="373" y="252"/>
                      <a:pt x="373" y="252"/>
                      <a:pt x="373" y="252"/>
                    </a:cubicBezTo>
                    <a:cubicBezTo>
                      <a:pt x="377" y="207"/>
                      <a:pt x="377" y="207"/>
                      <a:pt x="377" y="207"/>
                    </a:cubicBezTo>
                    <a:lnTo>
                      <a:pt x="391" y="6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3" name="Freeform 22">
                <a:extLst>
                  <a:ext uri="{FF2B5EF4-FFF2-40B4-BE49-F238E27FC236}">
                    <a16:creationId xmlns:a16="http://schemas.microsoft.com/office/drawing/2014/main" id="{B18ED508-1D4D-5D4A-A9B3-9A2BD6EF2D54}"/>
                  </a:ext>
                </a:extLst>
              </p:cNvPr>
              <p:cNvSpPr>
                <a:spLocks/>
              </p:cNvSpPr>
              <p:nvPr/>
            </p:nvSpPr>
            <p:spPr bwMode="auto">
              <a:xfrm>
                <a:off x="21286635" y="5328783"/>
                <a:ext cx="780897" cy="1248424"/>
              </a:xfrm>
              <a:custGeom>
                <a:avLst/>
                <a:gdLst>
                  <a:gd name="T0" fmla="*/ 34 w 117"/>
                  <a:gd name="T1" fmla="*/ 182 h 187"/>
                  <a:gd name="T2" fmla="*/ 34 w 117"/>
                  <a:gd name="T3" fmla="*/ 176 h 187"/>
                  <a:gd name="T4" fmla="*/ 37 w 117"/>
                  <a:gd name="T5" fmla="*/ 171 h 187"/>
                  <a:gd name="T6" fmla="*/ 40 w 117"/>
                  <a:gd name="T7" fmla="*/ 166 h 187"/>
                  <a:gd name="T8" fmla="*/ 44 w 117"/>
                  <a:gd name="T9" fmla="*/ 161 h 187"/>
                  <a:gd name="T10" fmla="*/ 40 w 117"/>
                  <a:gd name="T11" fmla="*/ 159 h 187"/>
                  <a:gd name="T12" fmla="*/ 42 w 117"/>
                  <a:gd name="T13" fmla="*/ 155 h 187"/>
                  <a:gd name="T14" fmla="*/ 45 w 117"/>
                  <a:gd name="T15" fmla="*/ 155 h 187"/>
                  <a:gd name="T16" fmla="*/ 48 w 117"/>
                  <a:gd name="T17" fmla="*/ 150 h 187"/>
                  <a:gd name="T18" fmla="*/ 52 w 117"/>
                  <a:gd name="T19" fmla="*/ 153 h 187"/>
                  <a:gd name="T20" fmla="*/ 51 w 117"/>
                  <a:gd name="T21" fmla="*/ 149 h 187"/>
                  <a:gd name="T22" fmla="*/ 56 w 117"/>
                  <a:gd name="T23" fmla="*/ 148 h 187"/>
                  <a:gd name="T24" fmla="*/ 59 w 117"/>
                  <a:gd name="T25" fmla="*/ 139 h 187"/>
                  <a:gd name="T26" fmla="*/ 67 w 117"/>
                  <a:gd name="T27" fmla="*/ 141 h 187"/>
                  <a:gd name="T28" fmla="*/ 68 w 117"/>
                  <a:gd name="T29" fmla="*/ 132 h 187"/>
                  <a:gd name="T30" fmla="*/ 68 w 117"/>
                  <a:gd name="T31" fmla="*/ 123 h 187"/>
                  <a:gd name="T32" fmla="*/ 69 w 117"/>
                  <a:gd name="T33" fmla="*/ 116 h 187"/>
                  <a:gd name="T34" fmla="*/ 79 w 117"/>
                  <a:gd name="T35" fmla="*/ 122 h 187"/>
                  <a:gd name="T36" fmla="*/ 81 w 117"/>
                  <a:gd name="T37" fmla="*/ 115 h 187"/>
                  <a:gd name="T38" fmla="*/ 84 w 117"/>
                  <a:gd name="T39" fmla="*/ 122 h 187"/>
                  <a:gd name="T40" fmla="*/ 88 w 117"/>
                  <a:gd name="T41" fmla="*/ 116 h 187"/>
                  <a:gd name="T42" fmla="*/ 87 w 117"/>
                  <a:gd name="T43" fmla="*/ 111 h 187"/>
                  <a:gd name="T44" fmla="*/ 95 w 117"/>
                  <a:gd name="T45" fmla="*/ 115 h 187"/>
                  <a:gd name="T46" fmla="*/ 97 w 117"/>
                  <a:gd name="T47" fmla="*/ 111 h 187"/>
                  <a:gd name="T48" fmla="*/ 103 w 117"/>
                  <a:gd name="T49" fmla="*/ 105 h 187"/>
                  <a:gd name="T50" fmla="*/ 106 w 117"/>
                  <a:gd name="T51" fmla="*/ 101 h 187"/>
                  <a:gd name="T52" fmla="*/ 114 w 117"/>
                  <a:gd name="T53" fmla="*/ 97 h 187"/>
                  <a:gd name="T54" fmla="*/ 116 w 117"/>
                  <a:gd name="T55" fmla="*/ 88 h 187"/>
                  <a:gd name="T56" fmla="*/ 112 w 117"/>
                  <a:gd name="T57" fmla="*/ 86 h 187"/>
                  <a:gd name="T58" fmla="*/ 112 w 117"/>
                  <a:gd name="T59" fmla="*/ 82 h 187"/>
                  <a:gd name="T60" fmla="*/ 104 w 117"/>
                  <a:gd name="T61" fmla="*/ 77 h 187"/>
                  <a:gd name="T62" fmla="*/ 101 w 117"/>
                  <a:gd name="T63" fmla="*/ 64 h 187"/>
                  <a:gd name="T64" fmla="*/ 95 w 117"/>
                  <a:gd name="T65" fmla="*/ 63 h 187"/>
                  <a:gd name="T66" fmla="*/ 84 w 117"/>
                  <a:gd name="T67" fmla="*/ 56 h 187"/>
                  <a:gd name="T68" fmla="*/ 77 w 117"/>
                  <a:gd name="T69" fmla="*/ 31 h 187"/>
                  <a:gd name="T70" fmla="*/ 71 w 117"/>
                  <a:gd name="T71" fmla="*/ 11 h 187"/>
                  <a:gd name="T72" fmla="*/ 53 w 117"/>
                  <a:gd name="T73" fmla="*/ 3 h 187"/>
                  <a:gd name="T74" fmla="*/ 42 w 117"/>
                  <a:gd name="T75" fmla="*/ 11 h 187"/>
                  <a:gd name="T76" fmla="*/ 30 w 117"/>
                  <a:gd name="T77" fmla="*/ 5 h 187"/>
                  <a:gd name="T78" fmla="*/ 22 w 117"/>
                  <a:gd name="T79" fmla="*/ 22 h 187"/>
                  <a:gd name="T80" fmla="*/ 13 w 117"/>
                  <a:gd name="T81" fmla="*/ 54 h 187"/>
                  <a:gd name="T82" fmla="*/ 15 w 117"/>
                  <a:gd name="T83" fmla="*/ 71 h 187"/>
                  <a:gd name="T84" fmla="*/ 12 w 117"/>
                  <a:gd name="T85" fmla="*/ 82 h 187"/>
                  <a:gd name="T86" fmla="*/ 7 w 117"/>
                  <a:gd name="T87" fmla="*/ 95 h 187"/>
                  <a:gd name="T88" fmla="*/ 0 w 117"/>
                  <a:gd name="T89" fmla="*/ 10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7" h="187">
                    <a:moveTo>
                      <a:pt x="33" y="187"/>
                    </a:moveTo>
                    <a:lnTo>
                      <a:pt x="33" y="185"/>
                    </a:lnTo>
                    <a:lnTo>
                      <a:pt x="34" y="182"/>
                    </a:lnTo>
                    <a:lnTo>
                      <a:pt x="34" y="181"/>
                    </a:lnTo>
                    <a:lnTo>
                      <a:pt x="34" y="178"/>
                    </a:lnTo>
                    <a:lnTo>
                      <a:pt x="34" y="176"/>
                    </a:lnTo>
                    <a:lnTo>
                      <a:pt x="35" y="174"/>
                    </a:lnTo>
                    <a:lnTo>
                      <a:pt x="37" y="174"/>
                    </a:lnTo>
                    <a:lnTo>
                      <a:pt x="37" y="171"/>
                    </a:lnTo>
                    <a:lnTo>
                      <a:pt x="38" y="169"/>
                    </a:lnTo>
                    <a:lnTo>
                      <a:pt x="38" y="166"/>
                    </a:lnTo>
                    <a:lnTo>
                      <a:pt x="40" y="166"/>
                    </a:lnTo>
                    <a:lnTo>
                      <a:pt x="41" y="166"/>
                    </a:lnTo>
                    <a:lnTo>
                      <a:pt x="44" y="166"/>
                    </a:lnTo>
                    <a:lnTo>
                      <a:pt x="44" y="161"/>
                    </a:lnTo>
                    <a:lnTo>
                      <a:pt x="41" y="161"/>
                    </a:lnTo>
                    <a:lnTo>
                      <a:pt x="40" y="161"/>
                    </a:lnTo>
                    <a:lnTo>
                      <a:pt x="40" y="159"/>
                    </a:lnTo>
                    <a:lnTo>
                      <a:pt x="40" y="158"/>
                    </a:lnTo>
                    <a:lnTo>
                      <a:pt x="42" y="156"/>
                    </a:lnTo>
                    <a:lnTo>
                      <a:pt x="42" y="155"/>
                    </a:lnTo>
                    <a:lnTo>
                      <a:pt x="44" y="153"/>
                    </a:lnTo>
                    <a:lnTo>
                      <a:pt x="45" y="154"/>
                    </a:lnTo>
                    <a:lnTo>
                      <a:pt x="45" y="155"/>
                    </a:lnTo>
                    <a:lnTo>
                      <a:pt x="47" y="154"/>
                    </a:lnTo>
                    <a:lnTo>
                      <a:pt x="48" y="153"/>
                    </a:lnTo>
                    <a:lnTo>
                      <a:pt x="48" y="150"/>
                    </a:lnTo>
                    <a:lnTo>
                      <a:pt x="50" y="152"/>
                    </a:lnTo>
                    <a:lnTo>
                      <a:pt x="51" y="153"/>
                    </a:lnTo>
                    <a:lnTo>
                      <a:pt x="52" y="153"/>
                    </a:lnTo>
                    <a:lnTo>
                      <a:pt x="52" y="150"/>
                    </a:lnTo>
                    <a:lnTo>
                      <a:pt x="52" y="149"/>
                    </a:lnTo>
                    <a:lnTo>
                      <a:pt x="51" y="149"/>
                    </a:lnTo>
                    <a:lnTo>
                      <a:pt x="50" y="147"/>
                    </a:lnTo>
                    <a:lnTo>
                      <a:pt x="54" y="147"/>
                    </a:lnTo>
                    <a:lnTo>
                      <a:pt x="56" y="148"/>
                    </a:lnTo>
                    <a:lnTo>
                      <a:pt x="59" y="147"/>
                    </a:lnTo>
                    <a:lnTo>
                      <a:pt x="60" y="144"/>
                    </a:lnTo>
                    <a:lnTo>
                      <a:pt x="59" y="139"/>
                    </a:lnTo>
                    <a:lnTo>
                      <a:pt x="61" y="139"/>
                    </a:lnTo>
                    <a:lnTo>
                      <a:pt x="64" y="142"/>
                    </a:lnTo>
                    <a:lnTo>
                      <a:pt x="67" y="141"/>
                    </a:lnTo>
                    <a:lnTo>
                      <a:pt x="68" y="139"/>
                    </a:lnTo>
                    <a:lnTo>
                      <a:pt x="69" y="135"/>
                    </a:lnTo>
                    <a:lnTo>
                      <a:pt x="68" y="132"/>
                    </a:lnTo>
                    <a:lnTo>
                      <a:pt x="69" y="128"/>
                    </a:lnTo>
                    <a:lnTo>
                      <a:pt x="69" y="126"/>
                    </a:lnTo>
                    <a:lnTo>
                      <a:pt x="68" y="123"/>
                    </a:lnTo>
                    <a:lnTo>
                      <a:pt x="68" y="121"/>
                    </a:lnTo>
                    <a:lnTo>
                      <a:pt x="69" y="118"/>
                    </a:lnTo>
                    <a:lnTo>
                      <a:pt x="69" y="116"/>
                    </a:lnTo>
                    <a:lnTo>
                      <a:pt x="73" y="120"/>
                    </a:lnTo>
                    <a:lnTo>
                      <a:pt x="74" y="122"/>
                    </a:lnTo>
                    <a:lnTo>
                      <a:pt x="79" y="122"/>
                    </a:lnTo>
                    <a:lnTo>
                      <a:pt x="79" y="120"/>
                    </a:lnTo>
                    <a:lnTo>
                      <a:pt x="79" y="116"/>
                    </a:lnTo>
                    <a:lnTo>
                      <a:pt x="81" y="115"/>
                    </a:lnTo>
                    <a:lnTo>
                      <a:pt x="84" y="116"/>
                    </a:lnTo>
                    <a:lnTo>
                      <a:pt x="84" y="118"/>
                    </a:lnTo>
                    <a:lnTo>
                      <a:pt x="84" y="122"/>
                    </a:lnTo>
                    <a:lnTo>
                      <a:pt x="87" y="121"/>
                    </a:lnTo>
                    <a:lnTo>
                      <a:pt x="90" y="118"/>
                    </a:lnTo>
                    <a:lnTo>
                      <a:pt x="88" y="116"/>
                    </a:lnTo>
                    <a:lnTo>
                      <a:pt x="86" y="114"/>
                    </a:lnTo>
                    <a:lnTo>
                      <a:pt x="86" y="112"/>
                    </a:lnTo>
                    <a:lnTo>
                      <a:pt x="87" y="111"/>
                    </a:lnTo>
                    <a:lnTo>
                      <a:pt x="90" y="114"/>
                    </a:lnTo>
                    <a:lnTo>
                      <a:pt x="93" y="116"/>
                    </a:lnTo>
                    <a:lnTo>
                      <a:pt x="95" y="115"/>
                    </a:lnTo>
                    <a:lnTo>
                      <a:pt x="94" y="111"/>
                    </a:lnTo>
                    <a:lnTo>
                      <a:pt x="95" y="111"/>
                    </a:lnTo>
                    <a:lnTo>
                      <a:pt x="97" y="111"/>
                    </a:lnTo>
                    <a:lnTo>
                      <a:pt x="97" y="105"/>
                    </a:lnTo>
                    <a:lnTo>
                      <a:pt x="101" y="105"/>
                    </a:lnTo>
                    <a:lnTo>
                      <a:pt x="103" y="105"/>
                    </a:lnTo>
                    <a:lnTo>
                      <a:pt x="104" y="104"/>
                    </a:lnTo>
                    <a:lnTo>
                      <a:pt x="104" y="101"/>
                    </a:lnTo>
                    <a:lnTo>
                      <a:pt x="106" y="101"/>
                    </a:lnTo>
                    <a:lnTo>
                      <a:pt x="107" y="100"/>
                    </a:lnTo>
                    <a:lnTo>
                      <a:pt x="110" y="97"/>
                    </a:lnTo>
                    <a:lnTo>
                      <a:pt x="114" y="97"/>
                    </a:lnTo>
                    <a:lnTo>
                      <a:pt x="116" y="95"/>
                    </a:lnTo>
                    <a:lnTo>
                      <a:pt x="117" y="89"/>
                    </a:lnTo>
                    <a:lnTo>
                      <a:pt x="116" y="88"/>
                    </a:lnTo>
                    <a:lnTo>
                      <a:pt x="115" y="88"/>
                    </a:lnTo>
                    <a:lnTo>
                      <a:pt x="113" y="88"/>
                    </a:lnTo>
                    <a:lnTo>
                      <a:pt x="112" y="86"/>
                    </a:lnTo>
                    <a:lnTo>
                      <a:pt x="114" y="84"/>
                    </a:lnTo>
                    <a:lnTo>
                      <a:pt x="114" y="83"/>
                    </a:lnTo>
                    <a:lnTo>
                      <a:pt x="112" y="82"/>
                    </a:lnTo>
                    <a:lnTo>
                      <a:pt x="110" y="77"/>
                    </a:lnTo>
                    <a:lnTo>
                      <a:pt x="106" y="77"/>
                    </a:lnTo>
                    <a:lnTo>
                      <a:pt x="104" y="77"/>
                    </a:lnTo>
                    <a:lnTo>
                      <a:pt x="102" y="73"/>
                    </a:lnTo>
                    <a:lnTo>
                      <a:pt x="101" y="68"/>
                    </a:lnTo>
                    <a:lnTo>
                      <a:pt x="101" y="64"/>
                    </a:lnTo>
                    <a:lnTo>
                      <a:pt x="100" y="61"/>
                    </a:lnTo>
                    <a:lnTo>
                      <a:pt x="97" y="62"/>
                    </a:lnTo>
                    <a:lnTo>
                      <a:pt x="95" y="63"/>
                    </a:lnTo>
                    <a:lnTo>
                      <a:pt x="91" y="63"/>
                    </a:lnTo>
                    <a:lnTo>
                      <a:pt x="87" y="61"/>
                    </a:lnTo>
                    <a:lnTo>
                      <a:pt x="84" y="56"/>
                    </a:lnTo>
                    <a:lnTo>
                      <a:pt x="83" y="49"/>
                    </a:lnTo>
                    <a:lnTo>
                      <a:pt x="79" y="40"/>
                    </a:lnTo>
                    <a:lnTo>
                      <a:pt x="77" y="31"/>
                    </a:lnTo>
                    <a:lnTo>
                      <a:pt x="75" y="26"/>
                    </a:lnTo>
                    <a:lnTo>
                      <a:pt x="73" y="18"/>
                    </a:lnTo>
                    <a:lnTo>
                      <a:pt x="71" y="11"/>
                    </a:lnTo>
                    <a:lnTo>
                      <a:pt x="69" y="8"/>
                    </a:lnTo>
                    <a:lnTo>
                      <a:pt x="56" y="0"/>
                    </a:lnTo>
                    <a:lnTo>
                      <a:pt x="53" y="3"/>
                    </a:lnTo>
                    <a:lnTo>
                      <a:pt x="50" y="7"/>
                    </a:lnTo>
                    <a:lnTo>
                      <a:pt x="45" y="11"/>
                    </a:lnTo>
                    <a:lnTo>
                      <a:pt x="42" y="11"/>
                    </a:lnTo>
                    <a:lnTo>
                      <a:pt x="39" y="9"/>
                    </a:lnTo>
                    <a:lnTo>
                      <a:pt x="34" y="6"/>
                    </a:lnTo>
                    <a:lnTo>
                      <a:pt x="30" y="5"/>
                    </a:lnTo>
                    <a:lnTo>
                      <a:pt x="29" y="5"/>
                    </a:lnTo>
                    <a:lnTo>
                      <a:pt x="27" y="7"/>
                    </a:lnTo>
                    <a:lnTo>
                      <a:pt x="22" y="22"/>
                    </a:lnTo>
                    <a:lnTo>
                      <a:pt x="20" y="33"/>
                    </a:lnTo>
                    <a:lnTo>
                      <a:pt x="15" y="45"/>
                    </a:lnTo>
                    <a:lnTo>
                      <a:pt x="13" y="54"/>
                    </a:lnTo>
                    <a:lnTo>
                      <a:pt x="12" y="64"/>
                    </a:lnTo>
                    <a:lnTo>
                      <a:pt x="13" y="69"/>
                    </a:lnTo>
                    <a:lnTo>
                      <a:pt x="15" y="71"/>
                    </a:lnTo>
                    <a:lnTo>
                      <a:pt x="14" y="73"/>
                    </a:lnTo>
                    <a:lnTo>
                      <a:pt x="12" y="76"/>
                    </a:lnTo>
                    <a:lnTo>
                      <a:pt x="12" y="82"/>
                    </a:lnTo>
                    <a:lnTo>
                      <a:pt x="10" y="87"/>
                    </a:lnTo>
                    <a:lnTo>
                      <a:pt x="10" y="94"/>
                    </a:lnTo>
                    <a:lnTo>
                      <a:pt x="7" y="95"/>
                    </a:lnTo>
                    <a:lnTo>
                      <a:pt x="7" y="100"/>
                    </a:lnTo>
                    <a:lnTo>
                      <a:pt x="1" y="100"/>
                    </a:lnTo>
                    <a:lnTo>
                      <a:pt x="0" y="103"/>
                    </a:lnTo>
                    <a:lnTo>
                      <a:pt x="23" y="178"/>
                    </a:lnTo>
                    <a:lnTo>
                      <a:pt x="33" y="187"/>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4" name="Freeform 23">
                <a:extLst>
                  <a:ext uri="{FF2B5EF4-FFF2-40B4-BE49-F238E27FC236}">
                    <a16:creationId xmlns:a16="http://schemas.microsoft.com/office/drawing/2014/main" id="{3E6A548F-50FE-6241-AC2F-543FCAFAD170}"/>
                  </a:ext>
                </a:extLst>
              </p:cNvPr>
              <p:cNvSpPr>
                <a:spLocks/>
              </p:cNvSpPr>
              <p:nvPr/>
            </p:nvSpPr>
            <p:spPr bwMode="auto">
              <a:xfrm>
                <a:off x="19784913" y="6183320"/>
                <a:ext cx="1615187" cy="1188339"/>
              </a:xfrm>
              <a:custGeom>
                <a:avLst/>
                <a:gdLst>
                  <a:gd name="T0" fmla="*/ 10 w 242"/>
                  <a:gd name="T1" fmla="*/ 136 h 178"/>
                  <a:gd name="T2" fmla="*/ 16 w 242"/>
                  <a:gd name="T3" fmla="*/ 129 h 178"/>
                  <a:gd name="T4" fmla="*/ 22 w 242"/>
                  <a:gd name="T5" fmla="*/ 124 h 178"/>
                  <a:gd name="T6" fmla="*/ 22 w 242"/>
                  <a:gd name="T7" fmla="*/ 119 h 178"/>
                  <a:gd name="T8" fmla="*/ 14 w 242"/>
                  <a:gd name="T9" fmla="*/ 102 h 178"/>
                  <a:gd name="T10" fmla="*/ 31 w 242"/>
                  <a:gd name="T11" fmla="*/ 96 h 178"/>
                  <a:gd name="T12" fmla="*/ 47 w 242"/>
                  <a:gd name="T13" fmla="*/ 96 h 178"/>
                  <a:gd name="T14" fmla="*/ 56 w 242"/>
                  <a:gd name="T15" fmla="*/ 96 h 178"/>
                  <a:gd name="T16" fmla="*/ 67 w 242"/>
                  <a:gd name="T17" fmla="*/ 93 h 178"/>
                  <a:gd name="T18" fmla="*/ 83 w 242"/>
                  <a:gd name="T19" fmla="*/ 83 h 178"/>
                  <a:gd name="T20" fmla="*/ 93 w 242"/>
                  <a:gd name="T21" fmla="*/ 77 h 178"/>
                  <a:gd name="T22" fmla="*/ 93 w 242"/>
                  <a:gd name="T23" fmla="*/ 71 h 178"/>
                  <a:gd name="T24" fmla="*/ 93 w 242"/>
                  <a:gd name="T25" fmla="*/ 63 h 178"/>
                  <a:gd name="T26" fmla="*/ 89 w 242"/>
                  <a:gd name="T27" fmla="*/ 61 h 178"/>
                  <a:gd name="T28" fmla="*/ 85 w 242"/>
                  <a:gd name="T29" fmla="*/ 55 h 178"/>
                  <a:gd name="T30" fmla="*/ 98 w 242"/>
                  <a:gd name="T31" fmla="*/ 44 h 178"/>
                  <a:gd name="T32" fmla="*/ 102 w 242"/>
                  <a:gd name="T33" fmla="*/ 33 h 178"/>
                  <a:gd name="T34" fmla="*/ 116 w 242"/>
                  <a:gd name="T35" fmla="*/ 15 h 178"/>
                  <a:gd name="T36" fmla="*/ 130 w 242"/>
                  <a:gd name="T37" fmla="*/ 8 h 178"/>
                  <a:gd name="T38" fmla="*/ 147 w 242"/>
                  <a:gd name="T39" fmla="*/ 2 h 178"/>
                  <a:gd name="T40" fmla="*/ 163 w 242"/>
                  <a:gd name="T41" fmla="*/ 5 h 178"/>
                  <a:gd name="T42" fmla="*/ 165 w 242"/>
                  <a:gd name="T43" fmla="*/ 16 h 178"/>
                  <a:gd name="T44" fmla="*/ 171 w 242"/>
                  <a:gd name="T45" fmla="*/ 24 h 178"/>
                  <a:gd name="T46" fmla="*/ 171 w 242"/>
                  <a:gd name="T47" fmla="*/ 34 h 178"/>
                  <a:gd name="T48" fmla="*/ 174 w 242"/>
                  <a:gd name="T49" fmla="*/ 48 h 178"/>
                  <a:gd name="T50" fmla="*/ 181 w 242"/>
                  <a:gd name="T51" fmla="*/ 59 h 178"/>
                  <a:gd name="T52" fmla="*/ 184 w 242"/>
                  <a:gd name="T53" fmla="*/ 79 h 178"/>
                  <a:gd name="T54" fmla="*/ 188 w 242"/>
                  <a:gd name="T55" fmla="*/ 89 h 178"/>
                  <a:gd name="T56" fmla="*/ 188 w 242"/>
                  <a:gd name="T57" fmla="*/ 120 h 178"/>
                  <a:gd name="T58" fmla="*/ 192 w 242"/>
                  <a:gd name="T59" fmla="*/ 146 h 178"/>
                  <a:gd name="T60" fmla="*/ 192 w 242"/>
                  <a:gd name="T61" fmla="*/ 158 h 178"/>
                  <a:gd name="T62" fmla="*/ 186 w 242"/>
                  <a:gd name="T63" fmla="*/ 171 h 178"/>
                  <a:gd name="T64" fmla="*/ 198 w 242"/>
                  <a:gd name="T65" fmla="*/ 166 h 178"/>
                  <a:gd name="T66" fmla="*/ 206 w 242"/>
                  <a:gd name="T67" fmla="*/ 160 h 178"/>
                  <a:gd name="T68" fmla="*/ 217 w 242"/>
                  <a:gd name="T69" fmla="*/ 158 h 178"/>
                  <a:gd name="T70" fmla="*/ 225 w 242"/>
                  <a:gd name="T71" fmla="*/ 153 h 178"/>
                  <a:gd name="T72" fmla="*/ 225 w 242"/>
                  <a:gd name="T73" fmla="*/ 157 h 178"/>
                  <a:gd name="T74" fmla="*/ 233 w 242"/>
                  <a:gd name="T75" fmla="*/ 151 h 178"/>
                  <a:gd name="T76" fmla="*/ 240 w 242"/>
                  <a:gd name="T77" fmla="*/ 149 h 178"/>
                  <a:gd name="T78" fmla="*/ 233 w 242"/>
                  <a:gd name="T79" fmla="*/ 157 h 178"/>
                  <a:gd name="T80" fmla="*/ 219 w 242"/>
                  <a:gd name="T81" fmla="*/ 166 h 178"/>
                  <a:gd name="T82" fmla="*/ 206 w 242"/>
                  <a:gd name="T83" fmla="*/ 173 h 178"/>
                  <a:gd name="T84" fmla="*/ 189 w 242"/>
                  <a:gd name="T85" fmla="*/ 178 h 178"/>
                  <a:gd name="T86" fmla="*/ 182 w 242"/>
                  <a:gd name="T87" fmla="*/ 171 h 178"/>
                  <a:gd name="T88" fmla="*/ 180 w 242"/>
                  <a:gd name="T89" fmla="*/ 165 h 178"/>
                  <a:gd name="T90" fmla="*/ 155 w 242"/>
                  <a:gd name="T91" fmla="*/ 158 h 178"/>
                  <a:gd name="T92" fmla="*/ 154 w 242"/>
                  <a:gd name="T93" fmla="*/ 151 h 178"/>
                  <a:gd name="T94" fmla="*/ 148 w 242"/>
                  <a:gd name="T95" fmla="*/ 150 h 178"/>
                  <a:gd name="T96" fmla="*/ 140 w 242"/>
                  <a:gd name="T97" fmla="*/ 138 h 178"/>
                  <a:gd name="T98" fmla="*/ 2 w 242"/>
                  <a:gd name="T99" fmla="*/ 15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2" h="178">
                    <a:moveTo>
                      <a:pt x="0" y="146"/>
                    </a:moveTo>
                    <a:lnTo>
                      <a:pt x="10" y="136"/>
                    </a:lnTo>
                    <a:lnTo>
                      <a:pt x="12" y="133"/>
                    </a:lnTo>
                    <a:lnTo>
                      <a:pt x="16" y="129"/>
                    </a:lnTo>
                    <a:lnTo>
                      <a:pt x="18" y="127"/>
                    </a:lnTo>
                    <a:lnTo>
                      <a:pt x="22" y="124"/>
                    </a:lnTo>
                    <a:lnTo>
                      <a:pt x="22" y="121"/>
                    </a:lnTo>
                    <a:lnTo>
                      <a:pt x="22" y="119"/>
                    </a:lnTo>
                    <a:lnTo>
                      <a:pt x="17" y="109"/>
                    </a:lnTo>
                    <a:lnTo>
                      <a:pt x="14" y="102"/>
                    </a:lnTo>
                    <a:lnTo>
                      <a:pt x="18" y="99"/>
                    </a:lnTo>
                    <a:lnTo>
                      <a:pt x="31" y="96"/>
                    </a:lnTo>
                    <a:lnTo>
                      <a:pt x="38" y="96"/>
                    </a:lnTo>
                    <a:lnTo>
                      <a:pt x="47" y="96"/>
                    </a:lnTo>
                    <a:lnTo>
                      <a:pt x="53" y="96"/>
                    </a:lnTo>
                    <a:lnTo>
                      <a:pt x="56" y="96"/>
                    </a:lnTo>
                    <a:lnTo>
                      <a:pt x="63" y="93"/>
                    </a:lnTo>
                    <a:lnTo>
                      <a:pt x="67" y="93"/>
                    </a:lnTo>
                    <a:lnTo>
                      <a:pt x="77" y="90"/>
                    </a:lnTo>
                    <a:lnTo>
                      <a:pt x="83" y="83"/>
                    </a:lnTo>
                    <a:lnTo>
                      <a:pt x="89" y="80"/>
                    </a:lnTo>
                    <a:lnTo>
                      <a:pt x="93" y="77"/>
                    </a:lnTo>
                    <a:lnTo>
                      <a:pt x="93" y="75"/>
                    </a:lnTo>
                    <a:lnTo>
                      <a:pt x="93" y="71"/>
                    </a:lnTo>
                    <a:lnTo>
                      <a:pt x="89" y="66"/>
                    </a:lnTo>
                    <a:lnTo>
                      <a:pt x="93" y="63"/>
                    </a:lnTo>
                    <a:lnTo>
                      <a:pt x="94" y="59"/>
                    </a:lnTo>
                    <a:lnTo>
                      <a:pt x="89" y="61"/>
                    </a:lnTo>
                    <a:lnTo>
                      <a:pt x="87" y="59"/>
                    </a:lnTo>
                    <a:lnTo>
                      <a:pt x="85" y="55"/>
                    </a:lnTo>
                    <a:lnTo>
                      <a:pt x="90" y="51"/>
                    </a:lnTo>
                    <a:lnTo>
                      <a:pt x="98" y="44"/>
                    </a:lnTo>
                    <a:lnTo>
                      <a:pt x="101" y="38"/>
                    </a:lnTo>
                    <a:lnTo>
                      <a:pt x="102" y="33"/>
                    </a:lnTo>
                    <a:lnTo>
                      <a:pt x="110" y="23"/>
                    </a:lnTo>
                    <a:lnTo>
                      <a:pt x="116" y="15"/>
                    </a:lnTo>
                    <a:lnTo>
                      <a:pt x="123" y="10"/>
                    </a:lnTo>
                    <a:lnTo>
                      <a:pt x="130" y="8"/>
                    </a:lnTo>
                    <a:lnTo>
                      <a:pt x="141" y="5"/>
                    </a:lnTo>
                    <a:lnTo>
                      <a:pt x="147" y="2"/>
                    </a:lnTo>
                    <a:lnTo>
                      <a:pt x="163" y="0"/>
                    </a:lnTo>
                    <a:lnTo>
                      <a:pt x="163" y="5"/>
                    </a:lnTo>
                    <a:lnTo>
                      <a:pt x="163" y="11"/>
                    </a:lnTo>
                    <a:lnTo>
                      <a:pt x="165" y="16"/>
                    </a:lnTo>
                    <a:lnTo>
                      <a:pt x="168" y="23"/>
                    </a:lnTo>
                    <a:lnTo>
                      <a:pt x="171" y="24"/>
                    </a:lnTo>
                    <a:lnTo>
                      <a:pt x="174" y="32"/>
                    </a:lnTo>
                    <a:lnTo>
                      <a:pt x="171" y="34"/>
                    </a:lnTo>
                    <a:lnTo>
                      <a:pt x="170" y="41"/>
                    </a:lnTo>
                    <a:lnTo>
                      <a:pt x="174" y="48"/>
                    </a:lnTo>
                    <a:lnTo>
                      <a:pt x="177" y="56"/>
                    </a:lnTo>
                    <a:lnTo>
                      <a:pt x="181" y="59"/>
                    </a:lnTo>
                    <a:lnTo>
                      <a:pt x="182" y="70"/>
                    </a:lnTo>
                    <a:lnTo>
                      <a:pt x="184" y="79"/>
                    </a:lnTo>
                    <a:lnTo>
                      <a:pt x="188" y="88"/>
                    </a:lnTo>
                    <a:lnTo>
                      <a:pt x="188" y="89"/>
                    </a:lnTo>
                    <a:lnTo>
                      <a:pt x="188" y="102"/>
                    </a:lnTo>
                    <a:lnTo>
                      <a:pt x="188" y="120"/>
                    </a:lnTo>
                    <a:lnTo>
                      <a:pt x="192" y="139"/>
                    </a:lnTo>
                    <a:lnTo>
                      <a:pt x="192" y="146"/>
                    </a:lnTo>
                    <a:lnTo>
                      <a:pt x="196" y="152"/>
                    </a:lnTo>
                    <a:lnTo>
                      <a:pt x="192" y="158"/>
                    </a:lnTo>
                    <a:lnTo>
                      <a:pt x="193" y="161"/>
                    </a:lnTo>
                    <a:lnTo>
                      <a:pt x="186" y="171"/>
                    </a:lnTo>
                    <a:lnTo>
                      <a:pt x="193" y="168"/>
                    </a:lnTo>
                    <a:lnTo>
                      <a:pt x="198" y="166"/>
                    </a:lnTo>
                    <a:lnTo>
                      <a:pt x="204" y="162"/>
                    </a:lnTo>
                    <a:lnTo>
                      <a:pt x="206" y="160"/>
                    </a:lnTo>
                    <a:lnTo>
                      <a:pt x="212" y="159"/>
                    </a:lnTo>
                    <a:lnTo>
                      <a:pt x="217" y="158"/>
                    </a:lnTo>
                    <a:lnTo>
                      <a:pt x="219" y="156"/>
                    </a:lnTo>
                    <a:lnTo>
                      <a:pt x="225" y="153"/>
                    </a:lnTo>
                    <a:lnTo>
                      <a:pt x="230" y="147"/>
                    </a:lnTo>
                    <a:lnTo>
                      <a:pt x="225" y="157"/>
                    </a:lnTo>
                    <a:lnTo>
                      <a:pt x="230" y="155"/>
                    </a:lnTo>
                    <a:lnTo>
                      <a:pt x="233" y="151"/>
                    </a:lnTo>
                    <a:lnTo>
                      <a:pt x="236" y="150"/>
                    </a:lnTo>
                    <a:lnTo>
                      <a:pt x="240" y="149"/>
                    </a:lnTo>
                    <a:lnTo>
                      <a:pt x="242" y="149"/>
                    </a:lnTo>
                    <a:lnTo>
                      <a:pt x="233" y="157"/>
                    </a:lnTo>
                    <a:lnTo>
                      <a:pt x="225" y="163"/>
                    </a:lnTo>
                    <a:lnTo>
                      <a:pt x="219" y="166"/>
                    </a:lnTo>
                    <a:lnTo>
                      <a:pt x="214" y="171"/>
                    </a:lnTo>
                    <a:lnTo>
                      <a:pt x="206" y="173"/>
                    </a:lnTo>
                    <a:lnTo>
                      <a:pt x="197" y="176"/>
                    </a:lnTo>
                    <a:lnTo>
                      <a:pt x="189" y="178"/>
                    </a:lnTo>
                    <a:lnTo>
                      <a:pt x="184" y="175"/>
                    </a:lnTo>
                    <a:lnTo>
                      <a:pt x="182" y="171"/>
                    </a:lnTo>
                    <a:lnTo>
                      <a:pt x="182" y="167"/>
                    </a:lnTo>
                    <a:lnTo>
                      <a:pt x="180" y="165"/>
                    </a:lnTo>
                    <a:lnTo>
                      <a:pt x="167" y="161"/>
                    </a:lnTo>
                    <a:lnTo>
                      <a:pt x="155" y="158"/>
                    </a:lnTo>
                    <a:lnTo>
                      <a:pt x="157" y="153"/>
                    </a:lnTo>
                    <a:lnTo>
                      <a:pt x="154" y="151"/>
                    </a:lnTo>
                    <a:lnTo>
                      <a:pt x="151" y="151"/>
                    </a:lnTo>
                    <a:lnTo>
                      <a:pt x="148" y="150"/>
                    </a:lnTo>
                    <a:lnTo>
                      <a:pt x="144" y="143"/>
                    </a:lnTo>
                    <a:lnTo>
                      <a:pt x="140" y="138"/>
                    </a:lnTo>
                    <a:lnTo>
                      <a:pt x="132" y="133"/>
                    </a:lnTo>
                    <a:lnTo>
                      <a:pt x="2" y="156"/>
                    </a:lnTo>
                    <a:lnTo>
                      <a:pt x="0" y="146"/>
                    </a:lnTo>
                    <a:close/>
                  </a:path>
                </a:pathLst>
              </a:custGeom>
              <a:solidFill>
                <a:schemeClr val="accent5"/>
              </a:solid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5" name="Freeform 24">
                <a:extLst>
                  <a:ext uri="{FF2B5EF4-FFF2-40B4-BE49-F238E27FC236}">
                    <a16:creationId xmlns:a16="http://schemas.microsoft.com/office/drawing/2014/main" id="{7E9CD4B3-25CB-3342-A6A9-895E2241DDCE}"/>
                  </a:ext>
                </a:extLst>
              </p:cNvPr>
              <p:cNvSpPr>
                <a:spLocks/>
              </p:cNvSpPr>
              <p:nvPr/>
            </p:nvSpPr>
            <p:spPr bwMode="auto">
              <a:xfrm>
                <a:off x="20872828" y="6103204"/>
                <a:ext cx="373763" cy="674283"/>
              </a:xfrm>
              <a:custGeom>
                <a:avLst/>
                <a:gdLst>
                  <a:gd name="T0" fmla="*/ 0 w 56"/>
                  <a:gd name="T1" fmla="*/ 23 h 101"/>
                  <a:gd name="T2" fmla="*/ 2 w 56"/>
                  <a:gd name="T3" fmla="*/ 28 h 101"/>
                  <a:gd name="T4" fmla="*/ 5 w 56"/>
                  <a:gd name="T5" fmla="*/ 35 h 101"/>
                  <a:gd name="T6" fmla="*/ 8 w 56"/>
                  <a:gd name="T7" fmla="*/ 36 h 101"/>
                  <a:gd name="T8" fmla="*/ 11 w 56"/>
                  <a:gd name="T9" fmla="*/ 44 h 101"/>
                  <a:gd name="T10" fmla="*/ 8 w 56"/>
                  <a:gd name="T11" fmla="*/ 46 h 101"/>
                  <a:gd name="T12" fmla="*/ 7 w 56"/>
                  <a:gd name="T13" fmla="*/ 53 h 101"/>
                  <a:gd name="T14" fmla="*/ 11 w 56"/>
                  <a:gd name="T15" fmla="*/ 60 h 101"/>
                  <a:gd name="T16" fmla="*/ 14 w 56"/>
                  <a:gd name="T17" fmla="*/ 68 h 101"/>
                  <a:gd name="T18" fmla="*/ 18 w 56"/>
                  <a:gd name="T19" fmla="*/ 71 h 101"/>
                  <a:gd name="T20" fmla="*/ 19 w 56"/>
                  <a:gd name="T21" fmla="*/ 82 h 101"/>
                  <a:gd name="T22" fmla="*/ 21 w 56"/>
                  <a:gd name="T23" fmla="*/ 91 h 101"/>
                  <a:gd name="T24" fmla="*/ 25 w 56"/>
                  <a:gd name="T25" fmla="*/ 100 h 101"/>
                  <a:gd name="T26" fmla="*/ 25 w 56"/>
                  <a:gd name="T27" fmla="*/ 101 h 101"/>
                  <a:gd name="T28" fmla="*/ 47 w 56"/>
                  <a:gd name="T29" fmla="*/ 98 h 101"/>
                  <a:gd name="T30" fmla="*/ 45 w 56"/>
                  <a:gd name="T31" fmla="*/ 91 h 101"/>
                  <a:gd name="T32" fmla="*/ 46 w 56"/>
                  <a:gd name="T33" fmla="*/ 82 h 101"/>
                  <a:gd name="T34" fmla="*/ 45 w 56"/>
                  <a:gd name="T35" fmla="*/ 71 h 101"/>
                  <a:gd name="T36" fmla="*/ 44 w 56"/>
                  <a:gd name="T37" fmla="*/ 60 h 101"/>
                  <a:gd name="T38" fmla="*/ 47 w 56"/>
                  <a:gd name="T39" fmla="*/ 45 h 101"/>
                  <a:gd name="T40" fmla="*/ 47 w 56"/>
                  <a:gd name="T41" fmla="*/ 32 h 101"/>
                  <a:gd name="T42" fmla="*/ 56 w 56"/>
                  <a:gd name="T43" fmla="*/ 25 h 101"/>
                  <a:gd name="T44" fmla="*/ 56 w 56"/>
                  <a:gd name="T45" fmla="*/ 21 h 101"/>
                  <a:gd name="T46" fmla="*/ 53 w 56"/>
                  <a:gd name="T47" fmla="*/ 17 h 101"/>
                  <a:gd name="T48" fmla="*/ 53 w 56"/>
                  <a:gd name="T49" fmla="*/ 12 h 101"/>
                  <a:gd name="T50" fmla="*/ 53 w 56"/>
                  <a:gd name="T51" fmla="*/ 4 h 101"/>
                  <a:gd name="T52" fmla="*/ 50 w 56"/>
                  <a:gd name="T53" fmla="*/ 0 h 101"/>
                  <a:gd name="T54" fmla="*/ 43 w 56"/>
                  <a:gd name="T55" fmla="*/ 2 h 101"/>
                  <a:gd name="T56" fmla="*/ 36 w 56"/>
                  <a:gd name="T57" fmla="*/ 4 h 101"/>
                  <a:gd name="T58" fmla="*/ 22 w 56"/>
                  <a:gd name="T59" fmla="*/ 6 h 101"/>
                  <a:gd name="T60" fmla="*/ 15 w 56"/>
                  <a:gd name="T61" fmla="*/ 8 h 101"/>
                  <a:gd name="T62" fmla="*/ 5 w 56"/>
                  <a:gd name="T63" fmla="*/ 12 h 101"/>
                  <a:gd name="T64" fmla="*/ 0 w 56"/>
                  <a:gd name="T65" fmla="*/ 12 h 101"/>
                  <a:gd name="T66" fmla="*/ 0 w 56"/>
                  <a:gd name="T67" fmla="*/ 17 h 101"/>
                  <a:gd name="T68" fmla="*/ 0 w 56"/>
                  <a:gd name="T69" fmla="*/ 2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101">
                    <a:moveTo>
                      <a:pt x="0" y="23"/>
                    </a:moveTo>
                    <a:lnTo>
                      <a:pt x="2" y="28"/>
                    </a:lnTo>
                    <a:lnTo>
                      <a:pt x="5" y="35"/>
                    </a:lnTo>
                    <a:lnTo>
                      <a:pt x="8" y="36"/>
                    </a:lnTo>
                    <a:lnTo>
                      <a:pt x="11" y="44"/>
                    </a:lnTo>
                    <a:lnTo>
                      <a:pt x="8" y="46"/>
                    </a:lnTo>
                    <a:lnTo>
                      <a:pt x="7" y="53"/>
                    </a:lnTo>
                    <a:lnTo>
                      <a:pt x="11" y="60"/>
                    </a:lnTo>
                    <a:lnTo>
                      <a:pt x="14" y="68"/>
                    </a:lnTo>
                    <a:lnTo>
                      <a:pt x="18" y="71"/>
                    </a:lnTo>
                    <a:lnTo>
                      <a:pt x="19" y="82"/>
                    </a:lnTo>
                    <a:lnTo>
                      <a:pt x="21" y="91"/>
                    </a:lnTo>
                    <a:lnTo>
                      <a:pt x="25" y="100"/>
                    </a:lnTo>
                    <a:lnTo>
                      <a:pt x="25" y="101"/>
                    </a:lnTo>
                    <a:lnTo>
                      <a:pt x="47" y="98"/>
                    </a:lnTo>
                    <a:lnTo>
                      <a:pt x="45" y="91"/>
                    </a:lnTo>
                    <a:lnTo>
                      <a:pt x="46" y="82"/>
                    </a:lnTo>
                    <a:lnTo>
                      <a:pt x="45" y="71"/>
                    </a:lnTo>
                    <a:lnTo>
                      <a:pt x="44" y="60"/>
                    </a:lnTo>
                    <a:lnTo>
                      <a:pt x="47" y="45"/>
                    </a:lnTo>
                    <a:lnTo>
                      <a:pt x="47" y="32"/>
                    </a:lnTo>
                    <a:lnTo>
                      <a:pt x="56" y="25"/>
                    </a:lnTo>
                    <a:lnTo>
                      <a:pt x="56" y="21"/>
                    </a:lnTo>
                    <a:lnTo>
                      <a:pt x="53" y="17"/>
                    </a:lnTo>
                    <a:lnTo>
                      <a:pt x="53" y="12"/>
                    </a:lnTo>
                    <a:lnTo>
                      <a:pt x="53" y="4"/>
                    </a:lnTo>
                    <a:lnTo>
                      <a:pt x="50" y="0"/>
                    </a:lnTo>
                    <a:lnTo>
                      <a:pt x="43" y="2"/>
                    </a:lnTo>
                    <a:lnTo>
                      <a:pt x="36" y="4"/>
                    </a:lnTo>
                    <a:lnTo>
                      <a:pt x="22" y="6"/>
                    </a:lnTo>
                    <a:lnTo>
                      <a:pt x="15" y="8"/>
                    </a:lnTo>
                    <a:lnTo>
                      <a:pt x="5" y="12"/>
                    </a:lnTo>
                    <a:lnTo>
                      <a:pt x="0" y="12"/>
                    </a:lnTo>
                    <a:lnTo>
                      <a:pt x="0" y="17"/>
                    </a:lnTo>
                    <a:lnTo>
                      <a:pt x="0" y="23"/>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6" name="Freeform 25">
                <a:extLst>
                  <a:ext uri="{FF2B5EF4-FFF2-40B4-BE49-F238E27FC236}">
                    <a16:creationId xmlns:a16="http://schemas.microsoft.com/office/drawing/2014/main" id="{1A532B95-3601-0948-8959-D0073F22A31C}"/>
                  </a:ext>
                </a:extLst>
              </p:cNvPr>
              <p:cNvSpPr>
                <a:spLocks/>
              </p:cNvSpPr>
              <p:nvPr/>
            </p:nvSpPr>
            <p:spPr bwMode="auto">
              <a:xfrm>
                <a:off x="21166497" y="6016415"/>
                <a:ext cx="333716" cy="741042"/>
              </a:xfrm>
              <a:custGeom>
                <a:avLst/>
                <a:gdLst>
                  <a:gd name="T0" fmla="*/ 18 w 50"/>
                  <a:gd name="T1" fmla="*/ 0 h 111"/>
                  <a:gd name="T2" fmla="*/ 14 w 50"/>
                  <a:gd name="T3" fmla="*/ 1 h 111"/>
                  <a:gd name="T4" fmla="*/ 9 w 50"/>
                  <a:gd name="T5" fmla="*/ 1 h 111"/>
                  <a:gd name="T6" fmla="*/ 9 w 50"/>
                  <a:gd name="T7" fmla="*/ 6 h 111"/>
                  <a:gd name="T8" fmla="*/ 8 w 50"/>
                  <a:gd name="T9" fmla="*/ 9 h 111"/>
                  <a:gd name="T10" fmla="*/ 6 w 50"/>
                  <a:gd name="T11" fmla="*/ 13 h 111"/>
                  <a:gd name="T12" fmla="*/ 9 w 50"/>
                  <a:gd name="T13" fmla="*/ 17 h 111"/>
                  <a:gd name="T14" fmla="*/ 9 w 50"/>
                  <a:gd name="T15" fmla="*/ 25 h 111"/>
                  <a:gd name="T16" fmla="*/ 9 w 50"/>
                  <a:gd name="T17" fmla="*/ 30 h 111"/>
                  <a:gd name="T18" fmla="*/ 12 w 50"/>
                  <a:gd name="T19" fmla="*/ 34 h 111"/>
                  <a:gd name="T20" fmla="*/ 12 w 50"/>
                  <a:gd name="T21" fmla="*/ 38 h 111"/>
                  <a:gd name="T22" fmla="*/ 3 w 50"/>
                  <a:gd name="T23" fmla="*/ 45 h 111"/>
                  <a:gd name="T24" fmla="*/ 3 w 50"/>
                  <a:gd name="T25" fmla="*/ 58 h 111"/>
                  <a:gd name="T26" fmla="*/ 0 w 50"/>
                  <a:gd name="T27" fmla="*/ 73 h 111"/>
                  <a:gd name="T28" fmla="*/ 1 w 50"/>
                  <a:gd name="T29" fmla="*/ 84 h 111"/>
                  <a:gd name="T30" fmla="*/ 2 w 50"/>
                  <a:gd name="T31" fmla="*/ 95 h 111"/>
                  <a:gd name="T32" fmla="*/ 1 w 50"/>
                  <a:gd name="T33" fmla="*/ 104 h 111"/>
                  <a:gd name="T34" fmla="*/ 3 w 50"/>
                  <a:gd name="T35" fmla="*/ 111 h 111"/>
                  <a:gd name="T36" fmla="*/ 40 w 50"/>
                  <a:gd name="T37" fmla="*/ 102 h 111"/>
                  <a:gd name="T38" fmla="*/ 41 w 50"/>
                  <a:gd name="T39" fmla="*/ 97 h 111"/>
                  <a:gd name="T40" fmla="*/ 49 w 50"/>
                  <a:gd name="T41" fmla="*/ 94 h 111"/>
                  <a:gd name="T42" fmla="*/ 48 w 50"/>
                  <a:gd name="T43" fmla="*/ 91 h 111"/>
                  <a:gd name="T44" fmla="*/ 50 w 50"/>
                  <a:gd name="T45" fmla="*/ 83 h 111"/>
                  <a:gd name="T46" fmla="*/ 50 w 50"/>
                  <a:gd name="T47" fmla="*/ 83 h 111"/>
                  <a:gd name="T48" fmla="*/ 41 w 50"/>
                  <a:gd name="T49" fmla="*/ 75 h 111"/>
                  <a:gd name="T50" fmla="*/ 18 w 50"/>
                  <a:gd name="T51"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111">
                    <a:moveTo>
                      <a:pt x="18" y="0"/>
                    </a:moveTo>
                    <a:lnTo>
                      <a:pt x="14" y="1"/>
                    </a:lnTo>
                    <a:lnTo>
                      <a:pt x="9" y="1"/>
                    </a:lnTo>
                    <a:lnTo>
                      <a:pt x="9" y="6"/>
                    </a:lnTo>
                    <a:lnTo>
                      <a:pt x="8" y="9"/>
                    </a:lnTo>
                    <a:lnTo>
                      <a:pt x="6" y="13"/>
                    </a:lnTo>
                    <a:lnTo>
                      <a:pt x="9" y="17"/>
                    </a:lnTo>
                    <a:lnTo>
                      <a:pt x="9" y="25"/>
                    </a:lnTo>
                    <a:lnTo>
                      <a:pt x="9" y="30"/>
                    </a:lnTo>
                    <a:lnTo>
                      <a:pt x="12" y="34"/>
                    </a:lnTo>
                    <a:lnTo>
                      <a:pt x="12" y="38"/>
                    </a:lnTo>
                    <a:lnTo>
                      <a:pt x="3" y="45"/>
                    </a:lnTo>
                    <a:lnTo>
                      <a:pt x="3" y="58"/>
                    </a:lnTo>
                    <a:lnTo>
                      <a:pt x="0" y="73"/>
                    </a:lnTo>
                    <a:lnTo>
                      <a:pt x="1" y="84"/>
                    </a:lnTo>
                    <a:lnTo>
                      <a:pt x="2" y="95"/>
                    </a:lnTo>
                    <a:lnTo>
                      <a:pt x="1" y="104"/>
                    </a:lnTo>
                    <a:lnTo>
                      <a:pt x="3" y="111"/>
                    </a:lnTo>
                    <a:lnTo>
                      <a:pt x="40" y="102"/>
                    </a:lnTo>
                    <a:lnTo>
                      <a:pt x="41" y="97"/>
                    </a:lnTo>
                    <a:lnTo>
                      <a:pt x="49" y="94"/>
                    </a:lnTo>
                    <a:lnTo>
                      <a:pt x="48" y="91"/>
                    </a:lnTo>
                    <a:lnTo>
                      <a:pt x="50" y="83"/>
                    </a:lnTo>
                    <a:lnTo>
                      <a:pt x="50" y="83"/>
                    </a:lnTo>
                    <a:lnTo>
                      <a:pt x="41" y="75"/>
                    </a:lnTo>
                    <a:lnTo>
                      <a:pt x="18" y="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7" name="Freeform 26">
                <a:extLst>
                  <a:ext uri="{FF2B5EF4-FFF2-40B4-BE49-F238E27FC236}">
                    <a16:creationId xmlns:a16="http://schemas.microsoft.com/office/drawing/2014/main" id="{2A19DCB0-3CF6-7D41-99EC-C941242B3E08}"/>
                  </a:ext>
                </a:extLst>
              </p:cNvPr>
              <p:cNvSpPr>
                <a:spLocks/>
              </p:cNvSpPr>
              <p:nvPr/>
            </p:nvSpPr>
            <p:spPr bwMode="auto">
              <a:xfrm>
                <a:off x="21039690" y="6917684"/>
                <a:ext cx="373763" cy="340481"/>
              </a:xfrm>
              <a:custGeom>
                <a:avLst/>
                <a:gdLst>
                  <a:gd name="T0" fmla="*/ 4 w 56"/>
                  <a:gd name="T1" fmla="*/ 29 h 51"/>
                  <a:gd name="T2" fmla="*/ 4 w 56"/>
                  <a:gd name="T3" fmla="*/ 36 h 51"/>
                  <a:gd name="T4" fmla="*/ 8 w 56"/>
                  <a:gd name="T5" fmla="*/ 42 h 51"/>
                  <a:gd name="T6" fmla="*/ 4 w 56"/>
                  <a:gd name="T7" fmla="*/ 48 h 51"/>
                  <a:gd name="T8" fmla="*/ 5 w 56"/>
                  <a:gd name="T9" fmla="*/ 51 h 51"/>
                  <a:gd name="T10" fmla="*/ 9 w 56"/>
                  <a:gd name="T11" fmla="*/ 50 h 51"/>
                  <a:gd name="T12" fmla="*/ 13 w 56"/>
                  <a:gd name="T13" fmla="*/ 45 h 51"/>
                  <a:gd name="T14" fmla="*/ 15 w 56"/>
                  <a:gd name="T15" fmla="*/ 44 h 51"/>
                  <a:gd name="T16" fmla="*/ 20 w 56"/>
                  <a:gd name="T17" fmla="*/ 39 h 51"/>
                  <a:gd name="T18" fmla="*/ 25 w 56"/>
                  <a:gd name="T19" fmla="*/ 36 h 51"/>
                  <a:gd name="T20" fmla="*/ 33 w 56"/>
                  <a:gd name="T21" fmla="*/ 36 h 51"/>
                  <a:gd name="T22" fmla="*/ 37 w 56"/>
                  <a:gd name="T23" fmla="*/ 34 h 51"/>
                  <a:gd name="T24" fmla="*/ 39 w 56"/>
                  <a:gd name="T25" fmla="*/ 32 h 51"/>
                  <a:gd name="T26" fmla="*/ 44 w 56"/>
                  <a:gd name="T27" fmla="*/ 30 h 51"/>
                  <a:gd name="T28" fmla="*/ 49 w 56"/>
                  <a:gd name="T29" fmla="*/ 28 h 51"/>
                  <a:gd name="T30" fmla="*/ 55 w 56"/>
                  <a:gd name="T31" fmla="*/ 28 h 51"/>
                  <a:gd name="T32" fmla="*/ 56 w 56"/>
                  <a:gd name="T33" fmla="*/ 26 h 51"/>
                  <a:gd name="T34" fmla="*/ 50 w 56"/>
                  <a:gd name="T35" fmla="*/ 0 h 51"/>
                  <a:gd name="T36" fmla="*/ 24 w 56"/>
                  <a:gd name="T37" fmla="*/ 5 h 51"/>
                  <a:gd name="T38" fmla="*/ 0 w 56"/>
                  <a:gd name="T39" fmla="*/ 9 h 51"/>
                  <a:gd name="T40" fmla="*/ 0 w 56"/>
                  <a:gd name="T41" fmla="*/ 10 h 51"/>
                  <a:gd name="T42" fmla="*/ 4 w 56"/>
                  <a:gd name="T43" fmla="*/ 2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51">
                    <a:moveTo>
                      <a:pt x="4" y="29"/>
                    </a:moveTo>
                    <a:lnTo>
                      <a:pt x="4" y="36"/>
                    </a:lnTo>
                    <a:lnTo>
                      <a:pt x="8" y="42"/>
                    </a:lnTo>
                    <a:lnTo>
                      <a:pt x="4" y="48"/>
                    </a:lnTo>
                    <a:lnTo>
                      <a:pt x="5" y="51"/>
                    </a:lnTo>
                    <a:lnTo>
                      <a:pt x="9" y="50"/>
                    </a:lnTo>
                    <a:lnTo>
                      <a:pt x="13" y="45"/>
                    </a:lnTo>
                    <a:lnTo>
                      <a:pt x="15" y="44"/>
                    </a:lnTo>
                    <a:lnTo>
                      <a:pt x="20" y="39"/>
                    </a:lnTo>
                    <a:lnTo>
                      <a:pt x="25" y="36"/>
                    </a:lnTo>
                    <a:lnTo>
                      <a:pt x="33" y="36"/>
                    </a:lnTo>
                    <a:lnTo>
                      <a:pt x="37" y="34"/>
                    </a:lnTo>
                    <a:lnTo>
                      <a:pt x="39" y="32"/>
                    </a:lnTo>
                    <a:lnTo>
                      <a:pt x="44" y="30"/>
                    </a:lnTo>
                    <a:lnTo>
                      <a:pt x="49" y="28"/>
                    </a:lnTo>
                    <a:lnTo>
                      <a:pt x="55" y="28"/>
                    </a:lnTo>
                    <a:lnTo>
                      <a:pt x="56" y="26"/>
                    </a:lnTo>
                    <a:lnTo>
                      <a:pt x="50" y="0"/>
                    </a:lnTo>
                    <a:lnTo>
                      <a:pt x="24" y="5"/>
                    </a:lnTo>
                    <a:lnTo>
                      <a:pt x="0" y="9"/>
                    </a:lnTo>
                    <a:lnTo>
                      <a:pt x="0" y="10"/>
                    </a:lnTo>
                    <a:lnTo>
                      <a:pt x="4" y="29"/>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8" name="Freeform 27">
                <a:extLst>
                  <a:ext uri="{FF2B5EF4-FFF2-40B4-BE49-F238E27FC236}">
                    <a16:creationId xmlns:a16="http://schemas.microsoft.com/office/drawing/2014/main" id="{B587A806-751D-6B4E-A015-F9550BBA0469}"/>
                  </a:ext>
                </a:extLst>
              </p:cNvPr>
              <p:cNvSpPr>
                <a:spLocks/>
              </p:cNvSpPr>
              <p:nvPr/>
            </p:nvSpPr>
            <p:spPr bwMode="auto">
              <a:xfrm>
                <a:off x="21373406" y="6884300"/>
                <a:ext cx="160185" cy="206959"/>
              </a:xfrm>
              <a:custGeom>
                <a:avLst/>
                <a:gdLst>
                  <a:gd name="T0" fmla="*/ 23 w 24"/>
                  <a:gd name="T1" fmla="*/ 15 h 31"/>
                  <a:gd name="T2" fmla="*/ 21 w 24"/>
                  <a:gd name="T3" fmla="*/ 13 h 31"/>
                  <a:gd name="T4" fmla="*/ 21 w 24"/>
                  <a:gd name="T5" fmla="*/ 12 h 31"/>
                  <a:gd name="T6" fmla="*/ 18 w 24"/>
                  <a:gd name="T7" fmla="*/ 11 h 31"/>
                  <a:gd name="T8" fmla="*/ 16 w 24"/>
                  <a:gd name="T9" fmla="*/ 10 h 31"/>
                  <a:gd name="T10" fmla="*/ 16 w 24"/>
                  <a:gd name="T11" fmla="*/ 7 h 31"/>
                  <a:gd name="T12" fmla="*/ 13 w 24"/>
                  <a:gd name="T13" fmla="*/ 5 h 31"/>
                  <a:gd name="T14" fmla="*/ 10 w 24"/>
                  <a:gd name="T15" fmla="*/ 0 h 31"/>
                  <a:gd name="T16" fmla="*/ 0 w 24"/>
                  <a:gd name="T17" fmla="*/ 5 h 31"/>
                  <a:gd name="T18" fmla="*/ 6 w 24"/>
                  <a:gd name="T19" fmla="*/ 31 h 31"/>
                  <a:gd name="T20" fmla="*/ 8 w 24"/>
                  <a:gd name="T21" fmla="*/ 29 h 31"/>
                  <a:gd name="T22" fmla="*/ 10 w 24"/>
                  <a:gd name="T23" fmla="*/ 28 h 31"/>
                  <a:gd name="T24" fmla="*/ 14 w 24"/>
                  <a:gd name="T25" fmla="*/ 26 h 31"/>
                  <a:gd name="T26" fmla="*/ 14 w 24"/>
                  <a:gd name="T27" fmla="*/ 23 h 31"/>
                  <a:gd name="T28" fmla="*/ 14 w 24"/>
                  <a:gd name="T29" fmla="*/ 22 h 31"/>
                  <a:gd name="T30" fmla="*/ 14 w 24"/>
                  <a:gd name="T31" fmla="*/ 20 h 31"/>
                  <a:gd name="T32" fmla="*/ 14 w 24"/>
                  <a:gd name="T33" fmla="*/ 17 h 31"/>
                  <a:gd name="T34" fmla="*/ 14 w 24"/>
                  <a:gd name="T35" fmla="*/ 15 h 31"/>
                  <a:gd name="T36" fmla="*/ 14 w 24"/>
                  <a:gd name="T37" fmla="*/ 14 h 31"/>
                  <a:gd name="T38" fmla="*/ 15 w 24"/>
                  <a:gd name="T39" fmla="*/ 13 h 31"/>
                  <a:gd name="T40" fmla="*/ 16 w 24"/>
                  <a:gd name="T41" fmla="*/ 13 h 31"/>
                  <a:gd name="T42" fmla="*/ 19 w 24"/>
                  <a:gd name="T43" fmla="*/ 14 h 31"/>
                  <a:gd name="T44" fmla="*/ 19 w 24"/>
                  <a:gd name="T45" fmla="*/ 16 h 31"/>
                  <a:gd name="T46" fmla="*/ 21 w 24"/>
                  <a:gd name="T47" fmla="*/ 20 h 31"/>
                  <a:gd name="T48" fmla="*/ 21 w 24"/>
                  <a:gd name="T49" fmla="*/ 21 h 31"/>
                  <a:gd name="T50" fmla="*/ 22 w 24"/>
                  <a:gd name="T51" fmla="*/ 22 h 31"/>
                  <a:gd name="T52" fmla="*/ 24 w 24"/>
                  <a:gd name="T53" fmla="*/ 21 h 31"/>
                  <a:gd name="T54" fmla="*/ 24 w 24"/>
                  <a:gd name="T55" fmla="*/ 20 h 31"/>
                  <a:gd name="T56" fmla="*/ 24 w 24"/>
                  <a:gd name="T57" fmla="*/ 19 h 31"/>
                  <a:gd name="T58" fmla="*/ 23 w 24"/>
                  <a:gd name="T59" fmla="*/ 1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1">
                    <a:moveTo>
                      <a:pt x="23" y="15"/>
                    </a:moveTo>
                    <a:lnTo>
                      <a:pt x="21" y="13"/>
                    </a:lnTo>
                    <a:lnTo>
                      <a:pt x="21" y="12"/>
                    </a:lnTo>
                    <a:lnTo>
                      <a:pt x="18" y="11"/>
                    </a:lnTo>
                    <a:lnTo>
                      <a:pt x="16" y="10"/>
                    </a:lnTo>
                    <a:lnTo>
                      <a:pt x="16" y="7"/>
                    </a:lnTo>
                    <a:lnTo>
                      <a:pt x="13" y="5"/>
                    </a:lnTo>
                    <a:lnTo>
                      <a:pt x="10" y="0"/>
                    </a:lnTo>
                    <a:lnTo>
                      <a:pt x="0" y="5"/>
                    </a:lnTo>
                    <a:lnTo>
                      <a:pt x="6" y="31"/>
                    </a:lnTo>
                    <a:lnTo>
                      <a:pt x="8" y="29"/>
                    </a:lnTo>
                    <a:lnTo>
                      <a:pt x="10" y="28"/>
                    </a:lnTo>
                    <a:lnTo>
                      <a:pt x="14" y="26"/>
                    </a:lnTo>
                    <a:lnTo>
                      <a:pt x="14" y="23"/>
                    </a:lnTo>
                    <a:lnTo>
                      <a:pt x="14" y="22"/>
                    </a:lnTo>
                    <a:lnTo>
                      <a:pt x="14" y="20"/>
                    </a:lnTo>
                    <a:lnTo>
                      <a:pt x="14" y="17"/>
                    </a:lnTo>
                    <a:lnTo>
                      <a:pt x="14" y="15"/>
                    </a:lnTo>
                    <a:lnTo>
                      <a:pt x="14" y="14"/>
                    </a:lnTo>
                    <a:lnTo>
                      <a:pt x="15" y="13"/>
                    </a:lnTo>
                    <a:lnTo>
                      <a:pt x="16" y="13"/>
                    </a:lnTo>
                    <a:lnTo>
                      <a:pt x="19" y="14"/>
                    </a:lnTo>
                    <a:lnTo>
                      <a:pt x="19" y="16"/>
                    </a:lnTo>
                    <a:lnTo>
                      <a:pt x="21" y="20"/>
                    </a:lnTo>
                    <a:lnTo>
                      <a:pt x="21" y="21"/>
                    </a:lnTo>
                    <a:lnTo>
                      <a:pt x="22" y="22"/>
                    </a:lnTo>
                    <a:lnTo>
                      <a:pt x="24" y="21"/>
                    </a:lnTo>
                    <a:lnTo>
                      <a:pt x="24" y="20"/>
                    </a:lnTo>
                    <a:lnTo>
                      <a:pt x="24" y="19"/>
                    </a:lnTo>
                    <a:lnTo>
                      <a:pt x="23" y="15"/>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39" name="Freeform 28">
                <a:extLst>
                  <a:ext uri="{FF2B5EF4-FFF2-40B4-BE49-F238E27FC236}">
                    <a16:creationId xmlns:a16="http://schemas.microsoft.com/office/drawing/2014/main" id="{531A494E-3CDA-F042-A7B4-AD02F3E50DE4}"/>
                  </a:ext>
                </a:extLst>
              </p:cNvPr>
              <p:cNvSpPr>
                <a:spLocks/>
              </p:cNvSpPr>
              <p:nvPr/>
            </p:nvSpPr>
            <p:spPr bwMode="auto">
              <a:xfrm>
                <a:off x="21039690" y="6643962"/>
                <a:ext cx="727501" cy="367186"/>
              </a:xfrm>
              <a:custGeom>
                <a:avLst/>
                <a:gdLst>
                  <a:gd name="T0" fmla="*/ 105 w 109"/>
                  <a:gd name="T1" fmla="*/ 32 h 55"/>
                  <a:gd name="T2" fmla="*/ 101 w 109"/>
                  <a:gd name="T3" fmla="*/ 29 h 55"/>
                  <a:gd name="T4" fmla="*/ 97 w 109"/>
                  <a:gd name="T5" fmla="*/ 25 h 55"/>
                  <a:gd name="T6" fmla="*/ 97 w 109"/>
                  <a:gd name="T7" fmla="*/ 29 h 55"/>
                  <a:gd name="T8" fmla="*/ 102 w 109"/>
                  <a:gd name="T9" fmla="*/ 35 h 55"/>
                  <a:gd name="T10" fmla="*/ 95 w 109"/>
                  <a:gd name="T11" fmla="*/ 36 h 55"/>
                  <a:gd name="T12" fmla="*/ 88 w 109"/>
                  <a:gd name="T13" fmla="*/ 37 h 55"/>
                  <a:gd name="T14" fmla="*/ 85 w 109"/>
                  <a:gd name="T15" fmla="*/ 35 h 55"/>
                  <a:gd name="T16" fmla="*/ 81 w 109"/>
                  <a:gd name="T17" fmla="*/ 32 h 55"/>
                  <a:gd name="T18" fmla="*/ 81 w 109"/>
                  <a:gd name="T19" fmla="*/ 27 h 55"/>
                  <a:gd name="T20" fmla="*/ 73 w 109"/>
                  <a:gd name="T21" fmla="*/ 22 h 55"/>
                  <a:gd name="T22" fmla="*/ 69 w 109"/>
                  <a:gd name="T23" fmla="*/ 22 h 55"/>
                  <a:gd name="T24" fmla="*/ 68 w 109"/>
                  <a:gd name="T25" fmla="*/ 16 h 55"/>
                  <a:gd name="T26" fmla="*/ 71 w 109"/>
                  <a:gd name="T27" fmla="*/ 13 h 55"/>
                  <a:gd name="T28" fmla="*/ 77 w 109"/>
                  <a:gd name="T29" fmla="*/ 9 h 55"/>
                  <a:gd name="T30" fmla="*/ 76 w 109"/>
                  <a:gd name="T31" fmla="*/ 6 h 55"/>
                  <a:gd name="T32" fmla="*/ 71 w 109"/>
                  <a:gd name="T33" fmla="*/ 6 h 55"/>
                  <a:gd name="T34" fmla="*/ 68 w 109"/>
                  <a:gd name="T35" fmla="*/ 0 h 55"/>
                  <a:gd name="T36" fmla="*/ 59 w 109"/>
                  <a:gd name="T37" fmla="*/ 8 h 55"/>
                  <a:gd name="T38" fmla="*/ 0 w 109"/>
                  <a:gd name="T39" fmla="*/ 20 h 55"/>
                  <a:gd name="T40" fmla="*/ 0 w 109"/>
                  <a:gd name="T41" fmla="*/ 50 h 55"/>
                  <a:gd name="T42" fmla="*/ 50 w 109"/>
                  <a:gd name="T43" fmla="*/ 41 h 55"/>
                  <a:gd name="T44" fmla="*/ 63 w 109"/>
                  <a:gd name="T45" fmla="*/ 41 h 55"/>
                  <a:gd name="T46" fmla="*/ 66 w 109"/>
                  <a:gd name="T47" fmla="*/ 46 h 55"/>
                  <a:gd name="T48" fmla="*/ 71 w 109"/>
                  <a:gd name="T49" fmla="*/ 48 h 55"/>
                  <a:gd name="T50" fmla="*/ 73 w 109"/>
                  <a:gd name="T51" fmla="*/ 51 h 55"/>
                  <a:gd name="T52" fmla="*/ 74 w 109"/>
                  <a:gd name="T53" fmla="*/ 55 h 55"/>
                  <a:gd name="T54" fmla="*/ 77 w 109"/>
                  <a:gd name="T55" fmla="*/ 55 h 55"/>
                  <a:gd name="T56" fmla="*/ 79 w 109"/>
                  <a:gd name="T57" fmla="*/ 49 h 55"/>
                  <a:gd name="T58" fmla="*/ 82 w 109"/>
                  <a:gd name="T59" fmla="*/ 45 h 55"/>
                  <a:gd name="T60" fmla="*/ 86 w 109"/>
                  <a:gd name="T61" fmla="*/ 46 h 55"/>
                  <a:gd name="T62" fmla="*/ 87 w 109"/>
                  <a:gd name="T63" fmla="*/ 51 h 55"/>
                  <a:gd name="T64" fmla="*/ 92 w 109"/>
                  <a:gd name="T65" fmla="*/ 47 h 55"/>
                  <a:gd name="T66" fmla="*/ 94 w 109"/>
                  <a:gd name="T67" fmla="*/ 45 h 55"/>
                  <a:gd name="T68" fmla="*/ 101 w 109"/>
                  <a:gd name="T69" fmla="*/ 43 h 55"/>
                  <a:gd name="T70" fmla="*/ 106 w 109"/>
                  <a:gd name="T71" fmla="*/ 40 h 55"/>
                  <a:gd name="T72" fmla="*/ 109 w 109"/>
                  <a:gd name="T73" fmla="*/ 3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9" h="55">
                    <a:moveTo>
                      <a:pt x="107" y="35"/>
                    </a:moveTo>
                    <a:lnTo>
                      <a:pt x="105" y="32"/>
                    </a:lnTo>
                    <a:lnTo>
                      <a:pt x="104" y="31"/>
                    </a:lnTo>
                    <a:lnTo>
                      <a:pt x="101" y="29"/>
                    </a:lnTo>
                    <a:lnTo>
                      <a:pt x="98" y="27"/>
                    </a:lnTo>
                    <a:lnTo>
                      <a:pt x="97" y="25"/>
                    </a:lnTo>
                    <a:lnTo>
                      <a:pt x="96" y="27"/>
                    </a:lnTo>
                    <a:lnTo>
                      <a:pt x="97" y="29"/>
                    </a:lnTo>
                    <a:lnTo>
                      <a:pt x="100" y="32"/>
                    </a:lnTo>
                    <a:lnTo>
                      <a:pt x="102" y="35"/>
                    </a:lnTo>
                    <a:lnTo>
                      <a:pt x="99" y="36"/>
                    </a:lnTo>
                    <a:lnTo>
                      <a:pt x="95" y="36"/>
                    </a:lnTo>
                    <a:lnTo>
                      <a:pt x="89" y="39"/>
                    </a:lnTo>
                    <a:lnTo>
                      <a:pt x="88" y="37"/>
                    </a:lnTo>
                    <a:lnTo>
                      <a:pt x="87" y="36"/>
                    </a:lnTo>
                    <a:lnTo>
                      <a:pt x="85" y="35"/>
                    </a:lnTo>
                    <a:lnTo>
                      <a:pt x="82" y="33"/>
                    </a:lnTo>
                    <a:lnTo>
                      <a:pt x="81" y="32"/>
                    </a:lnTo>
                    <a:lnTo>
                      <a:pt x="82" y="30"/>
                    </a:lnTo>
                    <a:lnTo>
                      <a:pt x="81" y="27"/>
                    </a:lnTo>
                    <a:lnTo>
                      <a:pt x="77" y="24"/>
                    </a:lnTo>
                    <a:lnTo>
                      <a:pt x="73" y="22"/>
                    </a:lnTo>
                    <a:lnTo>
                      <a:pt x="71" y="22"/>
                    </a:lnTo>
                    <a:lnTo>
                      <a:pt x="69" y="22"/>
                    </a:lnTo>
                    <a:lnTo>
                      <a:pt x="68" y="20"/>
                    </a:lnTo>
                    <a:lnTo>
                      <a:pt x="68" y="16"/>
                    </a:lnTo>
                    <a:lnTo>
                      <a:pt x="70" y="14"/>
                    </a:lnTo>
                    <a:lnTo>
                      <a:pt x="71" y="13"/>
                    </a:lnTo>
                    <a:lnTo>
                      <a:pt x="73" y="11"/>
                    </a:lnTo>
                    <a:lnTo>
                      <a:pt x="77" y="9"/>
                    </a:lnTo>
                    <a:lnTo>
                      <a:pt x="77" y="8"/>
                    </a:lnTo>
                    <a:lnTo>
                      <a:pt x="76" y="6"/>
                    </a:lnTo>
                    <a:lnTo>
                      <a:pt x="73" y="6"/>
                    </a:lnTo>
                    <a:lnTo>
                      <a:pt x="71" y="6"/>
                    </a:lnTo>
                    <a:lnTo>
                      <a:pt x="70" y="3"/>
                    </a:lnTo>
                    <a:lnTo>
                      <a:pt x="68" y="0"/>
                    </a:lnTo>
                    <a:lnTo>
                      <a:pt x="60" y="3"/>
                    </a:lnTo>
                    <a:lnTo>
                      <a:pt x="59" y="8"/>
                    </a:lnTo>
                    <a:lnTo>
                      <a:pt x="22" y="17"/>
                    </a:lnTo>
                    <a:lnTo>
                      <a:pt x="0" y="20"/>
                    </a:lnTo>
                    <a:lnTo>
                      <a:pt x="0" y="33"/>
                    </a:lnTo>
                    <a:lnTo>
                      <a:pt x="0" y="50"/>
                    </a:lnTo>
                    <a:lnTo>
                      <a:pt x="24" y="46"/>
                    </a:lnTo>
                    <a:lnTo>
                      <a:pt x="50" y="41"/>
                    </a:lnTo>
                    <a:lnTo>
                      <a:pt x="60" y="36"/>
                    </a:lnTo>
                    <a:lnTo>
                      <a:pt x="63" y="41"/>
                    </a:lnTo>
                    <a:lnTo>
                      <a:pt x="66" y="43"/>
                    </a:lnTo>
                    <a:lnTo>
                      <a:pt x="66" y="46"/>
                    </a:lnTo>
                    <a:lnTo>
                      <a:pt x="68" y="47"/>
                    </a:lnTo>
                    <a:lnTo>
                      <a:pt x="71" y="48"/>
                    </a:lnTo>
                    <a:lnTo>
                      <a:pt x="71" y="49"/>
                    </a:lnTo>
                    <a:lnTo>
                      <a:pt x="73" y="51"/>
                    </a:lnTo>
                    <a:lnTo>
                      <a:pt x="74" y="55"/>
                    </a:lnTo>
                    <a:lnTo>
                      <a:pt x="74" y="55"/>
                    </a:lnTo>
                    <a:lnTo>
                      <a:pt x="76" y="55"/>
                    </a:lnTo>
                    <a:lnTo>
                      <a:pt x="77" y="55"/>
                    </a:lnTo>
                    <a:lnTo>
                      <a:pt x="79" y="53"/>
                    </a:lnTo>
                    <a:lnTo>
                      <a:pt x="79" y="49"/>
                    </a:lnTo>
                    <a:lnTo>
                      <a:pt x="82" y="47"/>
                    </a:lnTo>
                    <a:lnTo>
                      <a:pt x="82" y="45"/>
                    </a:lnTo>
                    <a:lnTo>
                      <a:pt x="85" y="43"/>
                    </a:lnTo>
                    <a:lnTo>
                      <a:pt x="86" y="46"/>
                    </a:lnTo>
                    <a:lnTo>
                      <a:pt x="87" y="49"/>
                    </a:lnTo>
                    <a:lnTo>
                      <a:pt x="87" y="51"/>
                    </a:lnTo>
                    <a:lnTo>
                      <a:pt x="90" y="49"/>
                    </a:lnTo>
                    <a:lnTo>
                      <a:pt x="92" y="47"/>
                    </a:lnTo>
                    <a:lnTo>
                      <a:pt x="92" y="45"/>
                    </a:lnTo>
                    <a:lnTo>
                      <a:pt x="94" y="45"/>
                    </a:lnTo>
                    <a:lnTo>
                      <a:pt x="97" y="43"/>
                    </a:lnTo>
                    <a:lnTo>
                      <a:pt x="101" y="43"/>
                    </a:lnTo>
                    <a:lnTo>
                      <a:pt x="103" y="41"/>
                    </a:lnTo>
                    <a:lnTo>
                      <a:pt x="106" y="40"/>
                    </a:lnTo>
                    <a:lnTo>
                      <a:pt x="108" y="38"/>
                    </a:lnTo>
                    <a:lnTo>
                      <a:pt x="109" y="36"/>
                    </a:lnTo>
                    <a:lnTo>
                      <a:pt x="107" y="35"/>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0" name="Freeform 29">
                <a:extLst>
                  <a:ext uri="{FF2B5EF4-FFF2-40B4-BE49-F238E27FC236}">
                    <a16:creationId xmlns:a16="http://schemas.microsoft.com/office/drawing/2014/main" id="{B7D68202-3768-A649-9B76-580204B3016B}"/>
                  </a:ext>
                </a:extLst>
              </p:cNvPr>
              <p:cNvSpPr>
                <a:spLocks/>
              </p:cNvSpPr>
              <p:nvPr/>
            </p:nvSpPr>
            <p:spPr bwMode="auto">
              <a:xfrm>
                <a:off x="21600333" y="6984443"/>
                <a:ext cx="66742" cy="46736"/>
              </a:xfrm>
              <a:custGeom>
                <a:avLst/>
                <a:gdLst>
                  <a:gd name="T0" fmla="*/ 3 w 12"/>
                  <a:gd name="T1" fmla="*/ 9 h 9"/>
                  <a:gd name="T2" fmla="*/ 7 w 12"/>
                  <a:gd name="T3" fmla="*/ 9 h 9"/>
                  <a:gd name="T4" fmla="*/ 10 w 12"/>
                  <a:gd name="T5" fmla="*/ 6 h 9"/>
                  <a:gd name="T6" fmla="*/ 12 w 12"/>
                  <a:gd name="T7" fmla="*/ 4 h 9"/>
                  <a:gd name="T8" fmla="*/ 8 w 12"/>
                  <a:gd name="T9" fmla="*/ 2 h 9"/>
                  <a:gd name="T10" fmla="*/ 4 w 12"/>
                  <a:gd name="T11" fmla="*/ 1 h 9"/>
                  <a:gd name="T12" fmla="*/ 0 w 12"/>
                  <a:gd name="T13" fmla="*/ 7 h 9"/>
                  <a:gd name="T14" fmla="*/ 3 w 12"/>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9">
                    <a:moveTo>
                      <a:pt x="3" y="9"/>
                    </a:moveTo>
                    <a:cubicBezTo>
                      <a:pt x="7" y="9"/>
                      <a:pt x="7" y="9"/>
                      <a:pt x="7" y="9"/>
                    </a:cubicBezTo>
                    <a:cubicBezTo>
                      <a:pt x="10" y="6"/>
                      <a:pt x="10" y="6"/>
                      <a:pt x="10" y="6"/>
                    </a:cubicBezTo>
                    <a:cubicBezTo>
                      <a:pt x="12" y="4"/>
                      <a:pt x="12" y="4"/>
                      <a:pt x="12" y="4"/>
                    </a:cubicBezTo>
                    <a:cubicBezTo>
                      <a:pt x="8" y="2"/>
                      <a:pt x="8" y="2"/>
                      <a:pt x="8" y="2"/>
                    </a:cubicBezTo>
                    <a:cubicBezTo>
                      <a:pt x="8" y="2"/>
                      <a:pt x="5" y="0"/>
                      <a:pt x="4" y="1"/>
                    </a:cubicBezTo>
                    <a:cubicBezTo>
                      <a:pt x="4" y="2"/>
                      <a:pt x="0" y="7"/>
                      <a:pt x="0" y="7"/>
                    </a:cubicBezTo>
                    <a:lnTo>
                      <a:pt x="3" y="9"/>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1" name="Freeform 30">
                <a:extLst>
                  <a:ext uri="{FF2B5EF4-FFF2-40B4-BE49-F238E27FC236}">
                    <a16:creationId xmlns:a16="http://schemas.microsoft.com/office/drawing/2014/main" id="{F43C9A0A-EEB8-A543-9360-4B3622737F32}"/>
                  </a:ext>
                </a:extLst>
              </p:cNvPr>
              <p:cNvSpPr>
                <a:spLocks/>
              </p:cNvSpPr>
              <p:nvPr/>
            </p:nvSpPr>
            <p:spPr bwMode="auto">
              <a:xfrm>
                <a:off x="20759366" y="7238137"/>
                <a:ext cx="280320" cy="627547"/>
              </a:xfrm>
              <a:custGeom>
                <a:avLst/>
                <a:gdLst>
                  <a:gd name="T0" fmla="*/ 36 w 42"/>
                  <a:gd name="T1" fmla="*/ 13 h 94"/>
                  <a:gd name="T2" fmla="*/ 36 w 42"/>
                  <a:gd name="T3" fmla="*/ 9 h 94"/>
                  <a:gd name="T4" fmla="*/ 34 w 42"/>
                  <a:gd name="T5" fmla="*/ 7 h 94"/>
                  <a:gd name="T6" fmla="*/ 21 w 42"/>
                  <a:gd name="T7" fmla="*/ 3 h 94"/>
                  <a:gd name="T8" fmla="*/ 9 w 42"/>
                  <a:gd name="T9" fmla="*/ 0 h 94"/>
                  <a:gd name="T10" fmla="*/ 8 w 42"/>
                  <a:gd name="T11" fmla="*/ 3 h 94"/>
                  <a:gd name="T12" fmla="*/ 6 w 42"/>
                  <a:gd name="T13" fmla="*/ 7 h 94"/>
                  <a:gd name="T14" fmla="*/ 3 w 42"/>
                  <a:gd name="T15" fmla="*/ 9 h 94"/>
                  <a:gd name="T16" fmla="*/ 2 w 42"/>
                  <a:gd name="T17" fmla="*/ 14 h 94"/>
                  <a:gd name="T18" fmla="*/ 3 w 42"/>
                  <a:gd name="T19" fmla="*/ 20 h 94"/>
                  <a:gd name="T20" fmla="*/ 3 w 42"/>
                  <a:gd name="T21" fmla="*/ 25 h 94"/>
                  <a:gd name="T22" fmla="*/ 2 w 42"/>
                  <a:gd name="T23" fmla="*/ 30 h 94"/>
                  <a:gd name="T24" fmla="*/ 5 w 42"/>
                  <a:gd name="T25" fmla="*/ 32 h 94"/>
                  <a:gd name="T26" fmla="*/ 9 w 42"/>
                  <a:gd name="T27" fmla="*/ 34 h 94"/>
                  <a:gd name="T28" fmla="*/ 11 w 42"/>
                  <a:gd name="T29" fmla="*/ 38 h 94"/>
                  <a:gd name="T30" fmla="*/ 15 w 42"/>
                  <a:gd name="T31" fmla="*/ 42 h 94"/>
                  <a:gd name="T32" fmla="*/ 20 w 42"/>
                  <a:gd name="T33" fmla="*/ 46 h 94"/>
                  <a:gd name="T34" fmla="*/ 20 w 42"/>
                  <a:gd name="T35" fmla="*/ 47 h 94"/>
                  <a:gd name="T36" fmla="*/ 18 w 42"/>
                  <a:gd name="T37" fmla="*/ 53 h 94"/>
                  <a:gd name="T38" fmla="*/ 10 w 42"/>
                  <a:gd name="T39" fmla="*/ 58 h 94"/>
                  <a:gd name="T40" fmla="*/ 3 w 42"/>
                  <a:gd name="T41" fmla="*/ 64 h 94"/>
                  <a:gd name="T42" fmla="*/ 2 w 42"/>
                  <a:gd name="T43" fmla="*/ 67 h 94"/>
                  <a:gd name="T44" fmla="*/ 0 w 42"/>
                  <a:gd name="T45" fmla="*/ 72 h 94"/>
                  <a:gd name="T46" fmla="*/ 1 w 42"/>
                  <a:gd name="T47" fmla="*/ 75 h 94"/>
                  <a:gd name="T48" fmla="*/ 3 w 42"/>
                  <a:gd name="T49" fmla="*/ 79 h 94"/>
                  <a:gd name="T50" fmla="*/ 8 w 42"/>
                  <a:gd name="T51" fmla="*/ 83 h 94"/>
                  <a:gd name="T52" fmla="*/ 12 w 42"/>
                  <a:gd name="T53" fmla="*/ 85 h 94"/>
                  <a:gd name="T54" fmla="*/ 15 w 42"/>
                  <a:gd name="T55" fmla="*/ 86 h 94"/>
                  <a:gd name="T56" fmla="*/ 20 w 42"/>
                  <a:gd name="T57" fmla="*/ 86 h 94"/>
                  <a:gd name="T58" fmla="*/ 24 w 42"/>
                  <a:gd name="T59" fmla="*/ 86 h 94"/>
                  <a:gd name="T60" fmla="*/ 25 w 42"/>
                  <a:gd name="T61" fmla="*/ 86 h 94"/>
                  <a:gd name="T62" fmla="*/ 24 w 42"/>
                  <a:gd name="T63" fmla="*/ 90 h 94"/>
                  <a:gd name="T64" fmla="*/ 24 w 42"/>
                  <a:gd name="T65" fmla="*/ 93 h 94"/>
                  <a:gd name="T66" fmla="*/ 25 w 42"/>
                  <a:gd name="T67" fmla="*/ 94 h 94"/>
                  <a:gd name="T68" fmla="*/ 26 w 42"/>
                  <a:gd name="T69" fmla="*/ 94 h 94"/>
                  <a:gd name="T70" fmla="*/ 27 w 42"/>
                  <a:gd name="T71" fmla="*/ 87 h 94"/>
                  <a:gd name="T72" fmla="*/ 28 w 42"/>
                  <a:gd name="T73" fmla="*/ 86 h 94"/>
                  <a:gd name="T74" fmla="*/ 31 w 42"/>
                  <a:gd name="T75" fmla="*/ 82 h 94"/>
                  <a:gd name="T76" fmla="*/ 36 w 42"/>
                  <a:gd name="T77" fmla="*/ 78 h 94"/>
                  <a:gd name="T78" fmla="*/ 36 w 42"/>
                  <a:gd name="T79" fmla="*/ 69 h 94"/>
                  <a:gd name="T80" fmla="*/ 36 w 42"/>
                  <a:gd name="T81" fmla="*/ 65 h 94"/>
                  <a:gd name="T82" fmla="*/ 40 w 42"/>
                  <a:gd name="T83" fmla="*/ 61 h 94"/>
                  <a:gd name="T84" fmla="*/ 41 w 42"/>
                  <a:gd name="T85" fmla="*/ 53 h 94"/>
                  <a:gd name="T86" fmla="*/ 42 w 42"/>
                  <a:gd name="T87" fmla="*/ 48 h 94"/>
                  <a:gd name="T88" fmla="*/ 42 w 42"/>
                  <a:gd name="T89" fmla="*/ 40 h 94"/>
                  <a:gd name="T90" fmla="*/ 42 w 42"/>
                  <a:gd name="T91" fmla="*/ 36 h 94"/>
                  <a:gd name="T92" fmla="*/ 40 w 42"/>
                  <a:gd name="T93" fmla="*/ 30 h 94"/>
                  <a:gd name="T94" fmla="*/ 36 w 42"/>
                  <a:gd name="T95" fmla="*/ 30 h 94"/>
                  <a:gd name="T96" fmla="*/ 34 w 42"/>
                  <a:gd name="T97" fmla="*/ 30 h 94"/>
                  <a:gd name="T98" fmla="*/ 35 w 42"/>
                  <a:gd name="T99" fmla="*/ 25 h 94"/>
                  <a:gd name="T100" fmla="*/ 37 w 42"/>
                  <a:gd name="T101" fmla="*/ 20 h 94"/>
                  <a:gd name="T102" fmla="*/ 39 w 42"/>
                  <a:gd name="T103" fmla="*/ 18 h 94"/>
                  <a:gd name="T104" fmla="*/ 38 w 42"/>
                  <a:gd name="T105" fmla="*/ 17 h 94"/>
                  <a:gd name="T106" fmla="*/ 36 w 42"/>
                  <a:gd name="T107" fmla="*/ 1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94">
                    <a:moveTo>
                      <a:pt x="36" y="13"/>
                    </a:moveTo>
                    <a:lnTo>
                      <a:pt x="36" y="9"/>
                    </a:lnTo>
                    <a:lnTo>
                      <a:pt x="34" y="7"/>
                    </a:lnTo>
                    <a:lnTo>
                      <a:pt x="21" y="3"/>
                    </a:lnTo>
                    <a:lnTo>
                      <a:pt x="9" y="0"/>
                    </a:lnTo>
                    <a:lnTo>
                      <a:pt x="8" y="3"/>
                    </a:lnTo>
                    <a:lnTo>
                      <a:pt x="6" y="7"/>
                    </a:lnTo>
                    <a:lnTo>
                      <a:pt x="3" y="9"/>
                    </a:lnTo>
                    <a:lnTo>
                      <a:pt x="2" y="14"/>
                    </a:lnTo>
                    <a:lnTo>
                      <a:pt x="3" y="20"/>
                    </a:lnTo>
                    <a:lnTo>
                      <a:pt x="3" y="25"/>
                    </a:lnTo>
                    <a:lnTo>
                      <a:pt x="2" y="30"/>
                    </a:lnTo>
                    <a:lnTo>
                      <a:pt x="5" y="32"/>
                    </a:lnTo>
                    <a:lnTo>
                      <a:pt x="9" y="34"/>
                    </a:lnTo>
                    <a:lnTo>
                      <a:pt x="11" y="38"/>
                    </a:lnTo>
                    <a:lnTo>
                      <a:pt x="15" y="42"/>
                    </a:lnTo>
                    <a:lnTo>
                      <a:pt x="20" y="46"/>
                    </a:lnTo>
                    <a:lnTo>
                      <a:pt x="20" y="47"/>
                    </a:lnTo>
                    <a:lnTo>
                      <a:pt x="18" y="53"/>
                    </a:lnTo>
                    <a:lnTo>
                      <a:pt x="10" y="58"/>
                    </a:lnTo>
                    <a:lnTo>
                      <a:pt x="3" y="64"/>
                    </a:lnTo>
                    <a:lnTo>
                      <a:pt x="2" y="67"/>
                    </a:lnTo>
                    <a:lnTo>
                      <a:pt x="0" y="72"/>
                    </a:lnTo>
                    <a:lnTo>
                      <a:pt x="1" y="75"/>
                    </a:lnTo>
                    <a:lnTo>
                      <a:pt x="3" y="79"/>
                    </a:lnTo>
                    <a:lnTo>
                      <a:pt x="8" y="83"/>
                    </a:lnTo>
                    <a:lnTo>
                      <a:pt x="12" y="85"/>
                    </a:lnTo>
                    <a:lnTo>
                      <a:pt x="15" y="86"/>
                    </a:lnTo>
                    <a:lnTo>
                      <a:pt x="20" y="86"/>
                    </a:lnTo>
                    <a:lnTo>
                      <a:pt x="24" y="86"/>
                    </a:lnTo>
                    <a:lnTo>
                      <a:pt x="25" y="86"/>
                    </a:lnTo>
                    <a:lnTo>
                      <a:pt x="24" y="90"/>
                    </a:lnTo>
                    <a:lnTo>
                      <a:pt x="24" y="93"/>
                    </a:lnTo>
                    <a:lnTo>
                      <a:pt x="25" y="94"/>
                    </a:lnTo>
                    <a:lnTo>
                      <a:pt x="26" y="94"/>
                    </a:lnTo>
                    <a:lnTo>
                      <a:pt x="27" y="87"/>
                    </a:lnTo>
                    <a:lnTo>
                      <a:pt x="28" y="86"/>
                    </a:lnTo>
                    <a:lnTo>
                      <a:pt x="31" y="82"/>
                    </a:lnTo>
                    <a:lnTo>
                      <a:pt x="36" y="78"/>
                    </a:lnTo>
                    <a:lnTo>
                      <a:pt x="36" y="69"/>
                    </a:lnTo>
                    <a:lnTo>
                      <a:pt x="36" y="65"/>
                    </a:lnTo>
                    <a:lnTo>
                      <a:pt x="40" y="61"/>
                    </a:lnTo>
                    <a:lnTo>
                      <a:pt x="41" y="53"/>
                    </a:lnTo>
                    <a:lnTo>
                      <a:pt x="42" y="48"/>
                    </a:lnTo>
                    <a:lnTo>
                      <a:pt x="42" y="40"/>
                    </a:lnTo>
                    <a:lnTo>
                      <a:pt x="42" y="36"/>
                    </a:lnTo>
                    <a:lnTo>
                      <a:pt x="40" y="30"/>
                    </a:lnTo>
                    <a:lnTo>
                      <a:pt x="36" y="30"/>
                    </a:lnTo>
                    <a:lnTo>
                      <a:pt x="34" y="30"/>
                    </a:lnTo>
                    <a:lnTo>
                      <a:pt x="35" y="25"/>
                    </a:lnTo>
                    <a:lnTo>
                      <a:pt x="37" y="20"/>
                    </a:lnTo>
                    <a:lnTo>
                      <a:pt x="39" y="18"/>
                    </a:lnTo>
                    <a:lnTo>
                      <a:pt x="38" y="17"/>
                    </a:lnTo>
                    <a:lnTo>
                      <a:pt x="36" y="13"/>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2" name="Freeform 31">
                <a:extLst>
                  <a:ext uri="{FF2B5EF4-FFF2-40B4-BE49-F238E27FC236}">
                    <a16:creationId xmlns:a16="http://schemas.microsoft.com/office/drawing/2014/main" id="{C0392AB0-A2E0-3747-B8B0-8B8A33C2A8F2}"/>
                  </a:ext>
                </a:extLst>
              </p:cNvPr>
              <p:cNvSpPr>
                <a:spLocks/>
              </p:cNvSpPr>
              <p:nvPr/>
            </p:nvSpPr>
            <p:spPr bwMode="auto">
              <a:xfrm>
                <a:off x="20705974" y="7672078"/>
                <a:ext cx="220250" cy="360508"/>
              </a:xfrm>
              <a:custGeom>
                <a:avLst/>
                <a:gdLst>
                  <a:gd name="T0" fmla="*/ 9 w 33"/>
                  <a:gd name="T1" fmla="*/ 10 h 54"/>
                  <a:gd name="T2" fmla="*/ 8 w 33"/>
                  <a:gd name="T3" fmla="*/ 7 h 54"/>
                  <a:gd name="T4" fmla="*/ 10 w 33"/>
                  <a:gd name="T5" fmla="*/ 2 h 54"/>
                  <a:gd name="T6" fmla="*/ 11 w 33"/>
                  <a:gd name="T7" fmla="*/ 1 h 54"/>
                  <a:gd name="T8" fmla="*/ 9 w 33"/>
                  <a:gd name="T9" fmla="*/ 0 h 54"/>
                  <a:gd name="T10" fmla="*/ 6 w 33"/>
                  <a:gd name="T11" fmla="*/ 0 h 54"/>
                  <a:gd name="T12" fmla="*/ 5 w 33"/>
                  <a:gd name="T13" fmla="*/ 0 h 54"/>
                  <a:gd name="T14" fmla="*/ 2 w 33"/>
                  <a:gd name="T15" fmla="*/ 2 h 54"/>
                  <a:gd name="T16" fmla="*/ 0 w 33"/>
                  <a:gd name="T17" fmla="*/ 5 h 54"/>
                  <a:gd name="T18" fmla="*/ 12 w 33"/>
                  <a:gd name="T19" fmla="*/ 54 h 54"/>
                  <a:gd name="T20" fmla="*/ 33 w 33"/>
                  <a:gd name="T21" fmla="*/ 51 h 54"/>
                  <a:gd name="T22" fmla="*/ 32 w 33"/>
                  <a:gd name="T23" fmla="*/ 43 h 54"/>
                  <a:gd name="T24" fmla="*/ 29 w 33"/>
                  <a:gd name="T25" fmla="*/ 40 h 54"/>
                  <a:gd name="T26" fmla="*/ 28 w 33"/>
                  <a:gd name="T27" fmla="*/ 38 h 54"/>
                  <a:gd name="T28" fmla="*/ 26 w 33"/>
                  <a:gd name="T29" fmla="*/ 37 h 54"/>
                  <a:gd name="T30" fmla="*/ 23 w 33"/>
                  <a:gd name="T31" fmla="*/ 34 h 54"/>
                  <a:gd name="T32" fmla="*/ 20 w 33"/>
                  <a:gd name="T33" fmla="*/ 32 h 54"/>
                  <a:gd name="T34" fmla="*/ 18 w 33"/>
                  <a:gd name="T35" fmla="*/ 28 h 54"/>
                  <a:gd name="T36" fmla="*/ 16 w 33"/>
                  <a:gd name="T37" fmla="*/ 24 h 54"/>
                  <a:gd name="T38" fmla="*/ 14 w 33"/>
                  <a:gd name="T39" fmla="*/ 20 h 54"/>
                  <a:gd name="T40" fmla="*/ 16 w 33"/>
                  <a:gd name="T41" fmla="*/ 17 h 54"/>
                  <a:gd name="T42" fmla="*/ 11 w 33"/>
                  <a:gd name="T43" fmla="*/ 14 h 54"/>
                  <a:gd name="T44" fmla="*/ 9 w 33"/>
                  <a:gd name="T45" fmla="*/ 1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 h="54">
                    <a:moveTo>
                      <a:pt x="9" y="10"/>
                    </a:moveTo>
                    <a:lnTo>
                      <a:pt x="8" y="7"/>
                    </a:lnTo>
                    <a:lnTo>
                      <a:pt x="10" y="2"/>
                    </a:lnTo>
                    <a:lnTo>
                      <a:pt x="11" y="1"/>
                    </a:lnTo>
                    <a:lnTo>
                      <a:pt x="9" y="0"/>
                    </a:lnTo>
                    <a:lnTo>
                      <a:pt x="6" y="0"/>
                    </a:lnTo>
                    <a:lnTo>
                      <a:pt x="5" y="0"/>
                    </a:lnTo>
                    <a:lnTo>
                      <a:pt x="2" y="2"/>
                    </a:lnTo>
                    <a:lnTo>
                      <a:pt x="0" y="5"/>
                    </a:lnTo>
                    <a:lnTo>
                      <a:pt x="12" y="54"/>
                    </a:lnTo>
                    <a:lnTo>
                      <a:pt x="33" y="51"/>
                    </a:lnTo>
                    <a:lnTo>
                      <a:pt x="32" y="43"/>
                    </a:lnTo>
                    <a:lnTo>
                      <a:pt x="29" y="40"/>
                    </a:lnTo>
                    <a:lnTo>
                      <a:pt x="28" y="38"/>
                    </a:lnTo>
                    <a:lnTo>
                      <a:pt x="26" y="37"/>
                    </a:lnTo>
                    <a:lnTo>
                      <a:pt x="23" y="34"/>
                    </a:lnTo>
                    <a:lnTo>
                      <a:pt x="20" y="32"/>
                    </a:lnTo>
                    <a:lnTo>
                      <a:pt x="18" y="28"/>
                    </a:lnTo>
                    <a:lnTo>
                      <a:pt x="16" y="24"/>
                    </a:lnTo>
                    <a:lnTo>
                      <a:pt x="14" y="20"/>
                    </a:lnTo>
                    <a:lnTo>
                      <a:pt x="16" y="17"/>
                    </a:lnTo>
                    <a:lnTo>
                      <a:pt x="11" y="14"/>
                    </a:lnTo>
                    <a:lnTo>
                      <a:pt x="9" y="1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3" name="Freeform 32">
                <a:extLst>
                  <a:ext uri="{FF2B5EF4-FFF2-40B4-BE49-F238E27FC236}">
                    <a16:creationId xmlns:a16="http://schemas.microsoft.com/office/drawing/2014/main" id="{48785F3D-5107-D846-975C-49EA4D4906A1}"/>
                  </a:ext>
                </a:extLst>
              </p:cNvPr>
              <p:cNvSpPr>
                <a:spLocks/>
              </p:cNvSpPr>
              <p:nvPr/>
            </p:nvSpPr>
            <p:spPr bwMode="auto">
              <a:xfrm>
                <a:off x="19638080" y="7071228"/>
                <a:ext cx="1254773" cy="814479"/>
              </a:xfrm>
              <a:custGeom>
                <a:avLst/>
                <a:gdLst>
                  <a:gd name="T0" fmla="*/ 165 w 188"/>
                  <a:gd name="T1" fmla="*/ 90 h 122"/>
                  <a:gd name="T2" fmla="*/ 166 w 188"/>
                  <a:gd name="T3" fmla="*/ 90 h 122"/>
                  <a:gd name="T4" fmla="*/ 169 w 188"/>
                  <a:gd name="T5" fmla="*/ 90 h 122"/>
                  <a:gd name="T6" fmla="*/ 171 w 188"/>
                  <a:gd name="T7" fmla="*/ 91 h 122"/>
                  <a:gd name="T8" fmla="*/ 171 w 188"/>
                  <a:gd name="T9" fmla="*/ 89 h 122"/>
                  <a:gd name="T10" fmla="*/ 178 w 188"/>
                  <a:gd name="T11" fmla="*/ 83 h 122"/>
                  <a:gd name="T12" fmla="*/ 186 w 188"/>
                  <a:gd name="T13" fmla="*/ 78 h 122"/>
                  <a:gd name="T14" fmla="*/ 188 w 188"/>
                  <a:gd name="T15" fmla="*/ 72 h 122"/>
                  <a:gd name="T16" fmla="*/ 188 w 188"/>
                  <a:gd name="T17" fmla="*/ 71 h 122"/>
                  <a:gd name="T18" fmla="*/ 183 w 188"/>
                  <a:gd name="T19" fmla="*/ 67 h 122"/>
                  <a:gd name="T20" fmla="*/ 179 w 188"/>
                  <a:gd name="T21" fmla="*/ 63 h 122"/>
                  <a:gd name="T22" fmla="*/ 177 w 188"/>
                  <a:gd name="T23" fmla="*/ 59 h 122"/>
                  <a:gd name="T24" fmla="*/ 173 w 188"/>
                  <a:gd name="T25" fmla="*/ 57 h 122"/>
                  <a:gd name="T26" fmla="*/ 170 w 188"/>
                  <a:gd name="T27" fmla="*/ 55 h 122"/>
                  <a:gd name="T28" fmla="*/ 171 w 188"/>
                  <a:gd name="T29" fmla="*/ 50 h 122"/>
                  <a:gd name="T30" fmla="*/ 171 w 188"/>
                  <a:gd name="T31" fmla="*/ 45 h 122"/>
                  <a:gd name="T32" fmla="*/ 170 w 188"/>
                  <a:gd name="T33" fmla="*/ 39 h 122"/>
                  <a:gd name="T34" fmla="*/ 171 w 188"/>
                  <a:gd name="T35" fmla="*/ 34 h 122"/>
                  <a:gd name="T36" fmla="*/ 174 w 188"/>
                  <a:gd name="T37" fmla="*/ 32 h 122"/>
                  <a:gd name="T38" fmla="*/ 176 w 188"/>
                  <a:gd name="T39" fmla="*/ 28 h 122"/>
                  <a:gd name="T40" fmla="*/ 177 w 188"/>
                  <a:gd name="T41" fmla="*/ 25 h 122"/>
                  <a:gd name="T42" fmla="*/ 179 w 188"/>
                  <a:gd name="T43" fmla="*/ 20 h 122"/>
                  <a:gd name="T44" fmla="*/ 176 w 188"/>
                  <a:gd name="T45" fmla="*/ 18 h 122"/>
                  <a:gd name="T46" fmla="*/ 173 w 188"/>
                  <a:gd name="T47" fmla="*/ 18 h 122"/>
                  <a:gd name="T48" fmla="*/ 170 w 188"/>
                  <a:gd name="T49" fmla="*/ 17 h 122"/>
                  <a:gd name="T50" fmla="*/ 166 w 188"/>
                  <a:gd name="T51" fmla="*/ 10 h 122"/>
                  <a:gd name="T52" fmla="*/ 162 w 188"/>
                  <a:gd name="T53" fmla="*/ 5 h 122"/>
                  <a:gd name="T54" fmla="*/ 154 w 188"/>
                  <a:gd name="T55" fmla="*/ 0 h 122"/>
                  <a:gd name="T56" fmla="*/ 24 w 188"/>
                  <a:gd name="T57" fmla="*/ 23 h 122"/>
                  <a:gd name="T58" fmla="*/ 22 w 188"/>
                  <a:gd name="T59" fmla="*/ 13 h 122"/>
                  <a:gd name="T60" fmla="*/ 16 w 188"/>
                  <a:gd name="T61" fmla="*/ 17 h 122"/>
                  <a:gd name="T62" fmla="*/ 11 w 188"/>
                  <a:gd name="T63" fmla="*/ 21 h 122"/>
                  <a:gd name="T64" fmla="*/ 6 w 188"/>
                  <a:gd name="T65" fmla="*/ 24 h 122"/>
                  <a:gd name="T66" fmla="*/ 0 w 188"/>
                  <a:gd name="T67" fmla="*/ 28 h 122"/>
                  <a:gd name="T68" fmla="*/ 16 w 188"/>
                  <a:gd name="T69" fmla="*/ 122 h 122"/>
                  <a:gd name="T70" fmla="*/ 160 w 188"/>
                  <a:gd name="T71" fmla="*/ 95 h 122"/>
                  <a:gd name="T72" fmla="*/ 162 w 188"/>
                  <a:gd name="T73" fmla="*/ 92 h 122"/>
                  <a:gd name="T74" fmla="*/ 165 w 188"/>
                  <a:gd name="T75"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8" h="122">
                    <a:moveTo>
                      <a:pt x="165" y="90"/>
                    </a:moveTo>
                    <a:lnTo>
                      <a:pt x="166" y="90"/>
                    </a:lnTo>
                    <a:lnTo>
                      <a:pt x="169" y="90"/>
                    </a:lnTo>
                    <a:lnTo>
                      <a:pt x="171" y="91"/>
                    </a:lnTo>
                    <a:lnTo>
                      <a:pt x="171" y="89"/>
                    </a:lnTo>
                    <a:lnTo>
                      <a:pt x="178" y="83"/>
                    </a:lnTo>
                    <a:lnTo>
                      <a:pt x="186" y="78"/>
                    </a:lnTo>
                    <a:lnTo>
                      <a:pt x="188" y="72"/>
                    </a:lnTo>
                    <a:lnTo>
                      <a:pt x="188" y="71"/>
                    </a:lnTo>
                    <a:lnTo>
                      <a:pt x="183" y="67"/>
                    </a:lnTo>
                    <a:lnTo>
                      <a:pt x="179" y="63"/>
                    </a:lnTo>
                    <a:lnTo>
                      <a:pt x="177" y="59"/>
                    </a:lnTo>
                    <a:lnTo>
                      <a:pt x="173" y="57"/>
                    </a:lnTo>
                    <a:lnTo>
                      <a:pt x="170" y="55"/>
                    </a:lnTo>
                    <a:lnTo>
                      <a:pt x="171" y="50"/>
                    </a:lnTo>
                    <a:lnTo>
                      <a:pt x="171" y="45"/>
                    </a:lnTo>
                    <a:lnTo>
                      <a:pt x="170" y="39"/>
                    </a:lnTo>
                    <a:lnTo>
                      <a:pt x="171" y="34"/>
                    </a:lnTo>
                    <a:lnTo>
                      <a:pt x="174" y="32"/>
                    </a:lnTo>
                    <a:lnTo>
                      <a:pt x="176" y="28"/>
                    </a:lnTo>
                    <a:lnTo>
                      <a:pt x="177" y="25"/>
                    </a:lnTo>
                    <a:lnTo>
                      <a:pt x="179" y="20"/>
                    </a:lnTo>
                    <a:lnTo>
                      <a:pt x="176" y="18"/>
                    </a:lnTo>
                    <a:lnTo>
                      <a:pt x="173" y="18"/>
                    </a:lnTo>
                    <a:lnTo>
                      <a:pt x="170" y="17"/>
                    </a:lnTo>
                    <a:lnTo>
                      <a:pt x="166" y="10"/>
                    </a:lnTo>
                    <a:lnTo>
                      <a:pt x="162" y="5"/>
                    </a:lnTo>
                    <a:lnTo>
                      <a:pt x="154" y="0"/>
                    </a:lnTo>
                    <a:lnTo>
                      <a:pt x="24" y="23"/>
                    </a:lnTo>
                    <a:lnTo>
                      <a:pt x="22" y="13"/>
                    </a:lnTo>
                    <a:lnTo>
                      <a:pt x="16" y="17"/>
                    </a:lnTo>
                    <a:lnTo>
                      <a:pt x="11" y="21"/>
                    </a:lnTo>
                    <a:lnTo>
                      <a:pt x="6" y="24"/>
                    </a:lnTo>
                    <a:lnTo>
                      <a:pt x="0" y="28"/>
                    </a:lnTo>
                    <a:lnTo>
                      <a:pt x="16" y="122"/>
                    </a:lnTo>
                    <a:lnTo>
                      <a:pt x="160" y="95"/>
                    </a:lnTo>
                    <a:lnTo>
                      <a:pt x="162" y="92"/>
                    </a:lnTo>
                    <a:lnTo>
                      <a:pt x="165" y="9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4" name="Freeform 33">
                <a:extLst>
                  <a:ext uri="{FF2B5EF4-FFF2-40B4-BE49-F238E27FC236}">
                    <a16:creationId xmlns:a16="http://schemas.microsoft.com/office/drawing/2014/main" id="{B1BC0BF0-7471-5247-AAD7-3CD53717DAA0}"/>
                  </a:ext>
                </a:extLst>
              </p:cNvPr>
              <p:cNvSpPr>
                <a:spLocks/>
              </p:cNvSpPr>
              <p:nvPr/>
            </p:nvSpPr>
            <p:spPr bwMode="auto">
              <a:xfrm>
                <a:off x="18463398" y="10335828"/>
                <a:ext cx="1942227" cy="1522142"/>
              </a:xfrm>
              <a:custGeom>
                <a:avLst/>
                <a:gdLst>
                  <a:gd name="T0" fmla="*/ 200 w 291"/>
                  <a:gd name="T1" fmla="*/ 0 h 228"/>
                  <a:gd name="T2" fmla="*/ 211 w 291"/>
                  <a:gd name="T3" fmla="*/ 10 h 228"/>
                  <a:gd name="T4" fmla="*/ 223 w 291"/>
                  <a:gd name="T5" fmla="*/ 30 h 228"/>
                  <a:gd name="T6" fmla="*/ 241 w 291"/>
                  <a:gd name="T7" fmla="*/ 62 h 228"/>
                  <a:gd name="T8" fmla="*/ 259 w 291"/>
                  <a:gd name="T9" fmla="*/ 84 h 228"/>
                  <a:gd name="T10" fmla="*/ 256 w 291"/>
                  <a:gd name="T11" fmla="*/ 86 h 228"/>
                  <a:gd name="T12" fmla="*/ 268 w 291"/>
                  <a:gd name="T13" fmla="*/ 116 h 228"/>
                  <a:gd name="T14" fmla="*/ 286 w 291"/>
                  <a:gd name="T15" fmla="*/ 144 h 228"/>
                  <a:gd name="T16" fmla="*/ 291 w 291"/>
                  <a:gd name="T17" fmla="*/ 176 h 228"/>
                  <a:gd name="T18" fmla="*/ 288 w 291"/>
                  <a:gd name="T19" fmla="*/ 196 h 228"/>
                  <a:gd name="T20" fmla="*/ 287 w 291"/>
                  <a:gd name="T21" fmla="*/ 211 h 228"/>
                  <a:gd name="T22" fmla="*/ 280 w 291"/>
                  <a:gd name="T23" fmla="*/ 227 h 228"/>
                  <a:gd name="T24" fmla="*/ 281 w 291"/>
                  <a:gd name="T25" fmla="*/ 222 h 228"/>
                  <a:gd name="T26" fmla="*/ 274 w 291"/>
                  <a:gd name="T27" fmla="*/ 221 h 228"/>
                  <a:gd name="T28" fmla="*/ 264 w 291"/>
                  <a:gd name="T29" fmla="*/ 222 h 228"/>
                  <a:gd name="T30" fmla="*/ 255 w 291"/>
                  <a:gd name="T31" fmla="*/ 222 h 228"/>
                  <a:gd name="T32" fmla="*/ 255 w 291"/>
                  <a:gd name="T33" fmla="*/ 217 h 228"/>
                  <a:gd name="T34" fmla="*/ 263 w 291"/>
                  <a:gd name="T35" fmla="*/ 216 h 228"/>
                  <a:gd name="T36" fmla="*/ 253 w 291"/>
                  <a:gd name="T37" fmla="*/ 212 h 228"/>
                  <a:gd name="T38" fmla="*/ 245 w 291"/>
                  <a:gd name="T39" fmla="*/ 200 h 228"/>
                  <a:gd name="T40" fmla="*/ 233 w 291"/>
                  <a:gd name="T41" fmla="*/ 193 h 228"/>
                  <a:gd name="T42" fmla="*/ 223 w 291"/>
                  <a:gd name="T43" fmla="*/ 177 h 228"/>
                  <a:gd name="T44" fmla="*/ 216 w 291"/>
                  <a:gd name="T45" fmla="*/ 169 h 228"/>
                  <a:gd name="T46" fmla="*/ 215 w 291"/>
                  <a:gd name="T47" fmla="*/ 161 h 228"/>
                  <a:gd name="T48" fmla="*/ 209 w 291"/>
                  <a:gd name="T49" fmla="*/ 158 h 228"/>
                  <a:gd name="T50" fmla="*/ 205 w 291"/>
                  <a:gd name="T51" fmla="*/ 161 h 228"/>
                  <a:gd name="T52" fmla="*/ 194 w 291"/>
                  <a:gd name="T53" fmla="*/ 147 h 228"/>
                  <a:gd name="T54" fmla="*/ 192 w 291"/>
                  <a:gd name="T55" fmla="*/ 140 h 228"/>
                  <a:gd name="T56" fmla="*/ 194 w 291"/>
                  <a:gd name="T57" fmla="*/ 130 h 228"/>
                  <a:gd name="T58" fmla="*/ 194 w 291"/>
                  <a:gd name="T59" fmla="*/ 121 h 228"/>
                  <a:gd name="T60" fmla="*/ 191 w 291"/>
                  <a:gd name="T61" fmla="*/ 122 h 228"/>
                  <a:gd name="T62" fmla="*/ 187 w 291"/>
                  <a:gd name="T63" fmla="*/ 119 h 228"/>
                  <a:gd name="T64" fmla="*/ 189 w 291"/>
                  <a:gd name="T65" fmla="*/ 127 h 228"/>
                  <a:gd name="T66" fmla="*/ 186 w 291"/>
                  <a:gd name="T67" fmla="*/ 129 h 228"/>
                  <a:gd name="T68" fmla="*/ 180 w 291"/>
                  <a:gd name="T69" fmla="*/ 120 h 228"/>
                  <a:gd name="T70" fmla="*/ 182 w 291"/>
                  <a:gd name="T71" fmla="*/ 106 h 228"/>
                  <a:gd name="T72" fmla="*/ 182 w 291"/>
                  <a:gd name="T73" fmla="*/ 86 h 228"/>
                  <a:gd name="T74" fmla="*/ 174 w 291"/>
                  <a:gd name="T75" fmla="*/ 72 h 228"/>
                  <a:gd name="T76" fmla="*/ 163 w 291"/>
                  <a:gd name="T77" fmla="*/ 67 h 228"/>
                  <a:gd name="T78" fmla="*/ 152 w 291"/>
                  <a:gd name="T79" fmla="*/ 60 h 228"/>
                  <a:gd name="T80" fmla="*/ 143 w 291"/>
                  <a:gd name="T81" fmla="*/ 48 h 228"/>
                  <a:gd name="T82" fmla="*/ 130 w 291"/>
                  <a:gd name="T83" fmla="*/ 39 h 228"/>
                  <a:gd name="T84" fmla="*/ 117 w 291"/>
                  <a:gd name="T85" fmla="*/ 39 h 228"/>
                  <a:gd name="T86" fmla="*/ 116 w 291"/>
                  <a:gd name="T87" fmla="*/ 47 h 228"/>
                  <a:gd name="T88" fmla="*/ 107 w 291"/>
                  <a:gd name="T89" fmla="*/ 49 h 228"/>
                  <a:gd name="T90" fmla="*/ 83 w 291"/>
                  <a:gd name="T91" fmla="*/ 59 h 228"/>
                  <a:gd name="T92" fmla="*/ 77 w 291"/>
                  <a:gd name="T93" fmla="*/ 49 h 228"/>
                  <a:gd name="T94" fmla="*/ 77 w 291"/>
                  <a:gd name="T95" fmla="*/ 43 h 228"/>
                  <a:gd name="T96" fmla="*/ 72 w 291"/>
                  <a:gd name="T97" fmla="*/ 39 h 228"/>
                  <a:gd name="T98" fmla="*/ 72 w 291"/>
                  <a:gd name="T99" fmla="*/ 35 h 228"/>
                  <a:gd name="T100" fmla="*/ 69 w 291"/>
                  <a:gd name="T101" fmla="*/ 38 h 228"/>
                  <a:gd name="T102" fmla="*/ 64 w 291"/>
                  <a:gd name="T103" fmla="*/ 39 h 228"/>
                  <a:gd name="T104" fmla="*/ 65 w 291"/>
                  <a:gd name="T105" fmla="*/ 43 h 228"/>
                  <a:gd name="T106" fmla="*/ 53 w 291"/>
                  <a:gd name="T107" fmla="*/ 37 h 228"/>
                  <a:gd name="T108" fmla="*/ 39 w 291"/>
                  <a:gd name="T109" fmla="*/ 33 h 228"/>
                  <a:gd name="T110" fmla="*/ 19 w 291"/>
                  <a:gd name="T111" fmla="*/ 35 h 228"/>
                  <a:gd name="T112" fmla="*/ 7 w 291"/>
                  <a:gd name="T113" fmla="*/ 32 h 228"/>
                  <a:gd name="T114" fmla="*/ 0 w 291"/>
                  <a:gd name="T115" fmla="*/ 20 h 228"/>
                  <a:gd name="T116" fmla="*/ 10 w 291"/>
                  <a:gd name="T117" fmla="*/ 14 h 228"/>
                  <a:gd name="T118" fmla="*/ 98 w 291"/>
                  <a:gd name="T119" fmla="*/ 16 h 228"/>
                  <a:gd name="T120" fmla="*/ 197 w 291"/>
                  <a:gd name="T121" fmla="*/ 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1" h="228">
                    <a:moveTo>
                      <a:pt x="194" y="0"/>
                    </a:moveTo>
                    <a:lnTo>
                      <a:pt x="194" y="0"/>
                    </a:lnTo>
                    <a:lnTo>
                      <a:pt x="200" y="0"/>
                    </a:lnTo>
                    <a:lnTo>
                      <a:pt x="209" y="2"/>
                    </a:lnTo>
                    <a:lnTo>
                      <a:pt x="210" y="7"/>
                    </a:lnTo>
                    <a:lnTo>
                      <a:pt x="211" y="10"/>
                    </a:lnTo>
                    <a:lnTo>
                      <a:pt x="215" y="12"/>
                    </a:lnTo>
                    <a:lnTo>
                      <a:pt x="218" y="17"/>
                    </a:lnTo>
                    <a:lnTo>
                      <a:pt x="223" y="30"/>
                    </a:lnTo>
                    <a:lnTo>
                      <a:pt x="229" y="40"/>
                    </a:lnTo>
                    <a:lnTo>
                      <a:pt x="237" y="55"/>
                    </a:lnTo>
                    <a:lnTo>
                      <a:pt x="241" y="62"/>
                    </a:lnTo>
                    <a:lnTo>
                      <a:pt x="251" y="77"/>
                    </a:lnTo>
                    <a:lnTo>
                      <a:pt x="256" y="81"/>
                    </a:lnTo>
                    <a:lnTo>
                      <a:pt x="259" y="84"/>
                    </a:lnTo>
                    <a:lnTo>
                      <a:pt x="259" y="87"/>
                    </a:lnTo>
                    <a:lnTo>
                      <a:pt x="259" y="96"/>
                    </a:lnTo>
                    <a:lnTo>
                      <a:pt x="256" y="86"/>
                    </a:lnTo>
                    <a:lnTo>
                      <a:pt x="255" y="96"/>
                    </a:lnTo>
                    <a:lnTo>
                      <a:pt x="261" y="106"/>
                    </a:lnTo>
                    <a:lnTo>
                      <a:pt x="268" y="116"/>
                    </a:lnTo>
                    <a:lnTo>
                      <a:pt x="275" y="129"/>
                    </a:lnTo>
                    <a:lnTo>
                      <a:pt x="280" y="137"/>
                    </a:lnTo>
                    <a:lnTo>
                      <a:pt x="286" y="144"/>
                    </a:lnTo>
                    <a:lnTo>
                      <a:pt x="289" y="153"/>
                    </a:lnTo>
                    <a:lnTo>
                      <a:pt x="291" y="168"/>
                    </a:lnTo>
                    <a:lnTo>
                      <a:pt x="291" y="176"/>
                    </a:lnTo>
                    <a:lnTo>
                      <a:pt x="291" y="185"/>
                    </a:lnTo>
                    <a:lnTo>
                      <a:pt x="291" y="193"/>
                    </a:lnTo>
                    <a:lnTo>
                      <a:pt x="288" y="196"/>
                    </a:lnTo>
                    <a:lnTo>
                      <a:pt x="286" y="200"/>
                    </a:lnTo>
                    <a:lnTo>
                      <a:pt x="286" y="205"/>
                    </a:lnTo>
                    <a:lnTo>
                      <a:pt x="287" y="211"/>
                    </a:lnTo>
                    <a:lnTo>
                      <a:pt x="286" y="218"/>
                    </a:lnTo>
                    <a:lnTo>
                      <a:pt x="283" y="225"/>
                    </a:lnTo>
                    <a:lnTo>
                      <a:pt x="280" y="227"/>
                    </a:lnTo>
                    <a:lnTo>
                      <a:pt x="277" y="228"/>
                    </a:lnTo>
                    <a:lnTo>
                      <a:pt x="279" y="224"/>
                    </a:lnTo>
                    <a:lnTo>
                      <a:pt x="281" y="222"/>
                    </a:lnTo>
                    <a:lnTo>
                      <a:pt x="281" y="217"/>
                    </a:lnTo>
                    <a:lnTo>
                      <a:pt x="280" y="217"/>
                    </a:lnTo>
                    <a:lnTo>
                      <a:pt x="274" y="221"/>
                    </a:lnTo>
                    <a:lnTo>
                      <a:pt x="270" y="222"/>
                    </a:lnTo>
                    <a:lnTo>
                      <a:pt x="267" y="221"/>
                    </a:lnTo>
                    <a:lnTo>
                      <a:pt x="264" y="222"/>
                    </a:lnTo>
                    <a:lnTo>
                      <a:pt x="261" y="224"/>
                    </a:lnTo>
                    <a:lnTo>
                      <a:pt x="259" y="223"/>
                    </a:lnTo>
                    <a:lnTo>
                      <a:pt x="255" y="222"/>
                    </a:lnTo>
                    <a:lnTo>
                      <a:pt x="253" y="219"/>
                    </a:lnTo>
                    <a:lnTo>
                      <a:pt x="254" y="217"/>
                    </a:lnTo>
                    <a:lnTo>
                      <a:pt x="255" y="217"/>
                    </a:lnTo>
                    <a:lnTo>
                      <a:pt x="262" y="218"/>
                    </a:lnTo>
                    <a:lnTo>
                      <a:pt x="264" y="217"/>
                    </a:lnTo>
                    <a:lnTo>
                      <a:pt x="263" y="216"/>
                    </a:lnTo>
                    <a:lnTo>
                      <a:pt x="260" y="214"/>
                    </a:lnTo>
                    <a:lnTo>
                      <a:pt x="256" y="215"/>
                    </a:lnTo>
                    <a:lnTo>
                      <a:pt x="253" y="212"/>
                    </a:lnTo>
                    <a:lnTo>
                      <a:pt x="250" y="207"/>
                    </a:lnTo>
                    <a:lnTo>
                      <a:pt x="246" y="203"/>
                    </a:lnTo>
                    <a:lnTo>
                      <a:pt x="245" y="200"/>
                    </a:lnTo>
                    <a:lnTo>
                      <a:pt x="242" y="196"/>
                    </a:lnTo>
                    <a:lnTo>
                      <a:pt x="237" y="195"/>
                    </a:lnTo>
                    <a:lnTo>
                      <a:pt x="233" y="193"/>
                    </a:lnTo>
                    <a:lnTo>
                      <a:pt x="229" y="192"/>
                    </a:lnTo>
                    <a:lnTo>
                      <a:pt x="225" y="181"/>
                    </a:lnTo>
                    <a:lnTo>
                      <a:pt x="223" y="177"/>
                    </a:lnTo>
                    <a:lnTo>
                      <a:pt x="220" y="174"/>
                    </a:lnTo>
                    <a:lnTo>
                      <a:pt x="219" y="172"/>
                    </a:lnTo>
                    <a:lnTo>
                      <a:pt x="216" y="169"/>
                    </a:lnTo>
                    <a:lnTo>
                      <a:pt x="213" y="167"/>
                    </a:lnTo>
                    <a:lnTo>
                      <a:pt x="214" y="163"/>
                    </a:lnTo>
                    <a:lnTo>
                      <a:pt x="215" y="161"/>
                    </a:lnTo>
                    <a:lnTo>
                      <a:pt x="212" y="155"/>
                    </a:lnTo>
                    <a:lnTo>
                      <a:pt x="209" y="156"/>
                    </a:lnTo>
                    <a:lnTo>
                      <a:pt x="209" y="158"/>
                    </a:lnTo>
                    <a:lnTo>
                      <a:pt x="209" y="163"/>
                    </a:lnTo>
                    <a:lnTo>
                      <a:pt x="207" y="163"/>
                    </a:lnTo>
                    <a:lnTo>
                      <a:pt x="205" y="161"/>
                    </a:lnTo>
                    <a:lnTo>
                      <a:pt x="202" y="158"/>
                    </a:lnTo>
                    <a:lnTo>
                      <a:pt x="197" y="150"/>
                    </a:lnTo>
                    <a:lnTo>
                      <a:pt x="194" y="147"/>
                    </a:lnTo>
                    <a:lnTo>
                      <a:pt x="193" y="146"/>
                    </a:lnTo>
                    <a:lnTo>
                      <a:pt x="194" y="144"/>
                    </a:lnTo>
                    <a:lnTo>
                      <a:pt x="192" y="140"/>
                    </a:lnTo>
                    <a:lnTo>
                      <a:pt x="189" y="139"/>
                    </a:lnTo>
                    <a:lnTo>
                      <a:pt x="192" y="133"/>
                    </a:lnTo>
                    <a:lnTo>
                      <a:pt x="194" y="130"/>
                    </a:lnTo>
                    <a:lnTo>
                      <a:pt x="195" y="127"/>
                    </a:lnTo>
                    <a:lnTo>
                      <a:pt x="196" y="124"/>
                    </a:lnTo>
                    <a:lnTo>
                      <a:pt x="194" y="121"/>
                    </a:lnTo>
                    <a:lnTo>
                      <a:pt x="193" y="125"/>
                    </a:lnTo>
                    <a:lnTo>
                      <a:pt x="191" y="124"/>
                    </a:lnTo>
                    <a:lnTo>
                      <a:pt x="191" y="122"/>
                    </a:lnTo>
                    <a:lnTo>
                      <a:pt x="188" y="118"/>
                    </a:lnTo>
                    <a:lnTo>
                      <a:pt x="187" y="118"/>
                    </a:lnTo>
                    <a:lnTo>
                      <a:pt x="187" y="119"/>
                    </a:lnTo>
                    <a:lnTo>
                      <a:pt x="188" y="121"/>
                    </a:lnTo>
                    <a:lnTo>
                      <a:pt x="189" y="124"/>
                    </a:lnTo>
                    <a:lnTo>
                      <a:pt x="189" y="127"/>
                    </a:lnTo>
                    <a:lnTo>
                      <a:pt x="189" y="128"/>
                    </a:lnTo>
                    <a:lnTo>
                      <a:pt x="187" y="130"/>
                    </a:lnTo>
                    <a:lnTo>
                      <a:pt x="186" y="129"/>
                    </a:lnTo>
                    <a:lnTo>
                      <a:pt x="184" y="127"/>
                    </a:lnTo>
                    <a:lnTo>
                      <a:pt x="181" y="122"/>
                    </a:lnTo>
                    <a:lnTo>
                      <a:pt x="180" y="120"/>
                    </a:lnTo>
                    <a:lnTo>
                      <a:pt x="180" y="116"/>
                    </a:lnTo>
                    <a:lnTo>
                      <a:pt x="180" y="110"/>
                    </a:lnTo>
                    <a:lnTo>
                      <a:pt x="182" y="106"/>
                    </a:lnTo>
                    <a:lnTo>
                      <a:pt x="183" y="98"/>
                    </a:lnTo>
                    <a:lnTo>
                      <a:pt x="183" y="93"/>
                    </a:lnTo>
                    <a:lnTo>
                      <a:pt x="182" y="86"/>
                    </a:lnTo>
                    <a:lnTo>
                      <a:pt x="180" y="79"/>
                    </a:lnTo>
                    <a:lnTo>
                      <a:pt x="177" y="77"/>
                    </a:lnTo>
                    <a:lnTo>
                      <a:pt x="174" y="72"/>
                    </a:lnTo>
                    <a:lnTo>
                      <a:pt x="168" y="71"/>
                    </a:lnTo>
                    <a:lnTo>
                      <a:pt x="165" y="71"/>
                    </a:lnTo>
                    <a:lnTo>
                      <a:pt x="163" y="67"/>
                    </a:lnTo>
                    <a:lnTo>
                      <a:pt x="160" y="66"/>
                    </a:lnTo>
                    <a:lnTo>
                      <a:pt x="156" y="61"/>
                    </a:lnTo>
                    <a:lnTo>
                      <a:pt x="152" y="60"/>
                    </a:lnTo>
                    <a:lnTo>
                      <a:pt x="151" y="55"/>
                    </a:lnTo>
                    <a:lnTo>
                      <a:pt x="149" y="53"/>
                    </a:lnTo>
                    <a:lnTo>
                      <a:pt x="143" y="48"/>
                    </a:lnTo>
                    <a:lnTo>
                      <a:pt x="138" y="44"/>
                    </a:lnTo>
                    <a:lnTo>
                      <a:pt x="134" y="42"/>
                    </a:lnTo>
                    <a:lnTo>
                      <a:pt x="130" y="39"/>
                    </a:lnTo>
                    <a:lnTo>
                      <a:pt x="127" y="38"/>
                    </a:lnTo>
                    <a:lnTo>
                      <a:pt x="122" y="38"/>
                    </a:lnTo>
                    <a:lnTo>
                      <a:pt x="117" y="39"/>
                    </a:lnTo>
                    <a:lnTo>
                      <a:pt x="116" y="42"/>
                    </a:lnTo>
                    <a:lnTo>
                      <a:pt x="117" y="45"/>
                    </a:lnTo>
                    <a:lnTo>
                      <a:pt x="116" y="47"/>
                    </a:lnTo>
                    <a:lnTo>
                      <a:pt x="114" y="47"/>
                    </a:lnTo>
                    <a:lnTo>
                      <a:pt x="112" y="45"/>
                    </a:lnTo>
                    <a:lnTo>
                      <a:pt x="107" y="49"/>
                    </a:lnTo>
                    <a:lnTo>
                      <a:pt x="101" y="54"/>
                    </a:lnTo>
                    <a:lnTo>
                      <a:pt x="94" y="56"/>
                    </a:lnTo>
                    <a:lnTo>
                      <a:pt x="83" y="59"/>
                    </a:lnTo>
                    <a:lnTo>
                      <a:pt x="83" y="53"/>
                    </a:lnTo>
                    <a:lnTo>
                      <a:pt x="80" y="50"/>
                    </a:lnTo>
                    <a:lnTo>
                      <a:pt x="77" y="49"/>
                    </a:lnTo>
                    <a:lnTo>
                      <a:pt x="72" y="46"/>
                    </a:lnTo>
                    <a:lnTo>
                      <a:pt x="76" y="44"/>
                    </a:lnTo>
                    <a:lnTo>
                      <a:pt x="77" y="43"/>
                    </a:lnTo>
                    <a:lnTo>
                      <a:pt x="70" y="42"/>
                    </a:lnTo>
                    <a:lnTo>
                      <a:pt x="70" y="39"/>
                    </a:lnTo>
                    <a:lnTo>
                      <a:pt x="72" y="39"/>
                    </a:lnTo>
                    <a:lnTo>
                      <a:pt x="73" y="37"/>
                    </a:lnTo>
                    <a:lnTo>
                      <a:pt x="73" y="35"/>
                    </a:lnTo>
                    <a:lnTo>
                      <a:pt x="72" y="35"/>
                    </a:lnTo>
                    <a:lnTo>
                      <a:pt x="70" y="36"/>
                    </a:lnTo>
                    <a:lnTo>
                      <a:pt x="70" y="37"/>
                    </a:lnTo>
                    <a:lnTo>
                      <a:pt x="69" y="38"/>
                    </a:lnTo>
                    <a:lnTo>
                      <a:pt x="67" y="36"/>
                    </a:lnTo>
                    <a:lnTo>
                      <a:pt x="62" y="36"/>
                    </a:lnTo>
                    <a:lnTo>
                      <a:pt x="64" y="39"/>
                    </a:lnTo>
                    <a:lnTo>
                      <a:pt x="65" y="39"/>
                    </a:lnTo>
                    <a:lnTo>
                      <a:pt x="66" y="43"/>
                    </a:lnTo>
                    <a:lnTo>
                      <a:pt x="65" y="43"/>
                    </a:lnTo>
                    <a:lnTo>
                      <a:pt x="61" y="41"/>
                    </a:lnTo>
                    <a:lnTo>
                      <a:pt x="57" y="38"/>
                    </a:lnTo>
                    <a:lnTo>
                      <a:pt x="53" y="37"/>
                    </a:lnTo>
                    <a:lnTo>
                      <a:pt x="44" y="37"/>
                    </a:lnTo>
                    <a:lnTo>
                      <a:pt x="41" y="35"/>
                    </a:lnTo>
                    <a:lnTo>
                      <a:pt x="39" y="33"/>
                    </a:lnTo>
                    <a:lnTo>
                      <a:pt x="36" y="33"/>
                    </a:lnTo>
                    <a:lnTo>
                      <a:pt x="26" y="35"/>
                    </a:lnTo>
                    <a:lnTo>
                      <a:pt x="19" y="35"/>
                    </a:lnTo>
                    <a:lnTo>
                      <a:pt x="14" y="38"/>
                    </a:lnTo>
                    <a:lnTo>
                      <a:pt x="11" y="39"/>
                    </a:lnTo>
                    <a:lnTo>
                      <a:pt x="7" y="32"/>
                    </a:lnTo>
                    <a:lnTo>
                      <a:pt x="6" y="27"/>
                    </a:lnTo>
                    <a:lnTo>
                      <a:pt x="2" y="22"/>
                    </a:lnTo>
                    <a:lnTo>
                      <a:pt x="0" y="20"/>
                    </a:lnTo>
                    <a:lnTo>
                      <a:pt x="0" y="17"/>
                    </a:lnTo>
                    <a:lnTo>
                      <a:pt x="3" y="16"/>
                    </a:lnTo>
                    <a:lnTo>
                      <a:pt x="10" y="14"/>
                    </a:lnTo>
                    <a:lnTo>
                      <a:pt x="18" y="12"/>
                    </a:lnTo>
                    <a:lnTo>
                      <a:pt x="93" y="6"/>
                    </a:lnTo>
                    <a:lnTo>
                      <a:pt x="98" y="16"/>
                    </a:lnTo>
                    <a:lnTo>
                      <a:pt x="189" y="11"/>
                    </a:lnTo>
                    <a:lnTo>
                      <a:pt x="190" y="19"/>
                    </a:lnTo>
                    <a:lnTo>
                      <a:pt x="197" y="19"/>
                    </a:lnTo>
                    <a:lnTo>
                      <a:pt x="194" y="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5" name="Freeform 34">
                <a:extLst>
                  <a:ext uri="{FF2B5EF4-FFF2-40B4-BE49-F238E27FC236}">
                    <a16:creationId xmlns:a16="http://schemas.microsoft.com/office/drawing/2014/main" id="{1E0ABDA8-18FB-F94C-9E02-F5B8713E2137}"/>
                  </a:ext>
                </a:extLst>
              </p:cNvPr>
              <p:cNvSpPr>
                <a:spLocks/>
              </p:cNvSpPr>
              <p:nvPr/>
            </p:nvSpPr>
            <p:spPr bwMode="auto">
              <a:xfrm>
                <a:off x="16955000" y="9935258"/>
                <a:ext cx="1214730" cy="1074849"/>
              </a:xfrm>
              <a:custGeom>
                <a:avLst/>
                <a:gdLst>
                  <a:gd name="T0" fmla="*/ 176 w 182"/>
                  <a:gd name="T1" fmla="*/ 147 h 161"/>
                  <a:gd name="T2" fmla="*/ 171 w 182"/>
                  <a:gd name="T3" fmla="*/ 146 h 161"/>
                  <a:gd name="T4" fmla="*/ 160 w 182"/>
                  <a:gd name="T5" fmla="*/ 139 h 161"/>
                  <a:gd name="T6" fmla="*/ 152 w 182"/>
                  <a:gd name="T7" fmla="*/ 134 h 161"/>
                  <a:gd name="T8" fmla="*/ 155 w 182"/>
                  <a:gd name="T9" fmla="*/ 130 h 161"/>
                  <a:gd name="T10" fmla="*/ 166 w 182"/>
                  <a:gd name="T11" fmla="*/ 128 h 161"/>
                  <a:gd name="T12" fmla="*/ 162 w 182"/>
                  <a:gd name="T13" fmla="*/ 118 h 161"/>
                  <a:gd name="T14" fmla="*/ 148 w 182"/>
                  <a:gd name="T15" fmla="*/ 122 h 161"/>
                  <a:gd name="T16" fmla="*/ 148 w 182"/>
                  <a:gd name="T17" fmla="*/ 119 h 161"/>
                  <a:gd name="T18" fmla="*/ 154 w 182"/>
                  <a:gd name="T19" fmla="*/ 114 h 161"/>
                  <a:gd name="T20" fmla="*/ 150 w 182"/>
                  <a:gd name="T21" fmla="*/ 99 h 161"/>
                  <a:gd name="T22" fmla="*/ 84 w 182"/>
                  <a:gd name="T23" fmla="*/ 82 h 161"/>
                  <a:gd name="T24" fmla="*/ 84 w 182"/>
                  <a:gd name="T25" fmla="*/ 73 h 161"/>
                  <a:gd name="T26" fmla="*/ 87 w 182"/>
                  <a:gd name="T27" fmla="*/ 64 h 161"/>
                  <a:gd name="T28" fmla="*/ 90 w 182"/>
                  <a:gd name="T29" fmla="*/ 58 h 161"/>
                  <a:gd name="T30" fmla="*/ 97 w 182"/>
                  <a:gd name="T31" fmla="*/ 43 h 161"/>
                  <a:gd name="T32" fmla="*/ 99 w 182"/>
                  <a:gd name="T33" fmla="*/ 37 h 161"/>
                  <a:gd name="T34" fmla="*/ 102 w 182"/>
                  <a:gd name="T35" fmla="*/ 23 h 161"/>
                  <a:gd name="T36" fmla="*/ 98 w 182"/>
                  <a:gd name="T37" fmla="*/ 14 h 161"/>
                  <a:gd name="T38" fmla="*/ 94 w 182"/>
                  <a:gd name="T39" fmla="*/ 9 h 161"/>
                  <a:gd name="T40" fmla="*/ 97 w 182"/>
                  <a:gd name="T41" fmla="*/ 2 h 161"/>
                  <a:gd name="T42" fmla="*/ 0 w 182"/>
                  <a:gd name="T43" fmla="*/ 47 h 161"/>
                  <a:gd name="T44" fmla="*/ 11 w 182"/>
                  <a:gd name="T45" fmla="*/ 64 h 161"/>
                  <a:gd name="T46" fmla="*/ 13 w 182"/>
                  <a:gd name="T47" fmla="*/ 75 h 161"/>
                  <a:gd name="T48" fmla="*/ 13 w 182"/>
                  <a:gd name="T49" fmla="*/ 94 h 161"/>
                  <a:gd name="T50" fmla="*/ 9 w 182"/>
                  <a:gd name="T51" fmla="*/ 110 h 161"/>
                  <a:gd name="T52" fmla="*/ 9 w 182"/>
                  <a:gd name="T53" fmla="*/ 131 h 161"/>
                  <a:gd name="T54" fmla="*/ 15 w 182"/>
                  <a:gd name="T55" fmla="*/ 136 h 161"/>
                  <a:gd name="T56" fmla="*/ 25 w 182"/>
                  <a:gd name="T57" fmla="*/ 134 h 161"/>
                  <a:gd name="T58" fmla="*/ 44 w 182"/>
                  <a:gd name="T59" fmla="*/ 139 h 161"/>
                  <a:gd name="T60" fmla="*/ 72 w 182"/>
                  <a:gd name="T61" fmla="*/ 142 h 161"/>
                  <a:gd name="T62" fmla="*/ 78 w 182"/>
                  <a:gd name="T63" fmla="*/ 138 h 161"/>
                  <a:gd name="T64" fmla="*/ 70 w 182"/>
                  <a:gd name="T65" fmla="*/ 137 h 161"/>
                  <a:gd name="T66" fmla="*/ 77 w 182"/>
                  <a:gd name="T67" fmla="*/ 132 h 161"/>
                  <a:gd name="T68" fmla="*/ 97 w 182"/>
                  <a:gd name="T69" fmla="*/ 142 h 161"/>
                  <a:gd name="T70" fmla="*/ 98 w 182"/>
                  <a:gd name="T71" fmla="*/ 150 h 161"/>
                  <a:gd name="T72" fmla="*/ 111 w 182"/>
                  <a:gd name="T73" fmla="*/ 155 h 161"/>
                  <a:gd name="T74" fmla="*/ 121 w 182"/>
                  <a:gd name="T75" fmla="*/ 154 h 161"/>
                  <a:gd name="T76" fmla="*/ 132 w 182"/>
                  <a:gd name="T77" fmla="*/ 150 h 161"/>
                  <a:gd name="T78" fmla="*/ 142 w 182"/>
                  <a:gd name="T79" fmla="*/ 153 h 161"/>
                  <a:gd name="T80" fmla="*/ 142 w 182"/>
                  <a:gd name="T81" fmla="*/ 141 h 161"/>
                  <a:gd name="T82" fmla="*/ 150 w 182"/>
                  <a:gd name="T83" fmla="*/ 147 h 161"/>
                  <a:gd name="T84" fmla="*/ 168 w 182"/>
                  <a:gd name="T85" fmla="*/ 154 h 161"/>
                  <a:gd name="T86" fmla="*/ 169 w 182"/>
                  <a:gd name="T87" fmla="*/ 161 h 161"/>
                  <a:gd name="T88" fmla="*/ 176 w 182"/>
                  <a:gd name="T89" fmla="*/ 158 h 161"/>
                  <a:gd name="T90" fmla="*/ 181 w 182"/>
                  <a:gd name="T91" fmla="*/ 15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61">
                    <a:moveTo>
                      <a:pt x="181" y="149"/>
                    </a:moveTo>
                    <a:lnTo>
                      <a:pt x="179" y="149"/>
                    </a:lnTo>
                    <a:lnTo>
                      <a:pt x="176" y="147"/>
                    </a:lnTo>
                    <a:lnTo>
                      <a:pt x="175" y="147"/>
                    </a:lnTo>
                    <a:lnTo>
                      <a:pt x="173" y="147"/>
                    </a:lnTo>
                    <a:lnTo>
                      <a:pt x="171" y="146"/>
                    </a:lnTo>
                    <a:lnTo>
                      <a:pt x="166" y="143"/>
                    </a:lnTo>
                    <a:lnTo>
                      <a:pt x="165" y="143"/>
                    </a:lnTo>
                    <a:lnTo>
                      <a:pt x="160" y="139"/>
                    </a:lnTo>
                    <a:lnTo>
                      <a:pt x="158" y="137"/>
                    </a:lnTo>
                    <a:lnTo>
                      <a:pt x="155" y="136"/>
                    </a:lnTo>
                    <a:lnTo>
                      <a:pt x="152" y="134"/>
                    </a:lnTo>
                    <a:lnTo>
                      <a:pt x="150" y="132"/>
                    </a:lnTo>
                    <a:lnTo>
                      <a:pt x="153" y="132"/>
                    </a:lnTo>
                    <a:lnTo>
                      <a:pt x="155" y="130"/>
                    </a:lnTo>
                    <a:lnTo>
                      <a:pt x="160" y="130"/>
                    </a:lnTo>
                    <a:lnTo>
                      <a:pt x="161" y="128"/>
                    </a:lnTo>
                    <a:lnTo>
                      <a:pt x="166" y="128"/>
                    </a:lnTo>
                    <a:lnTo>
                      <a:pt x="168" y="126"/>
                    </a:lnTo>
                    <a:lnTo>
                      <a:pt x="165" y="121"/>
                    </a:lnTo>
                    <a:lnTo>
                      <a:pt x="162" y="118"/>
                    </a:lnTo>
                    <a:lnTo>
                      <a:pt x="161" y="118"/>
                    </a:lnTo>
                    <a:lnTo>
                      <a:pt x="151" y="121"/>
                    </a:lnTo>
                    <a:lnTo>
                      <a:pt x="148" y="122"/>
                    </a:lnTo>
                    <a:lnTo>
                      <a:pt x="145" y="122"/>
                    </a:lnTo>
                    <a:lnTo>
                      <a:pt x="145" y="121"/>
                    </a:lnTo>
                    <a:lnTo>
                      <a:pt x="148" y="119"/>
                    </a:lnTo>
                    <a:lnTo>
                      <a:pt x="151" y="118"/>
                    </a:lnTo>
                    <a:lnTo>
                      <a:pt x="154" y="116"/>
                    </a:lnTo>
                    <a:lnTo>
                      <a:pt x="154" y="114"/>
                    </a:lnTo>
                    <a:lnTo>
                      <a:pt x="154" y="110"/>
                    </a:lnTo>
                    <a:lnTo>
                      <a:pt x="153" y="103"/>
                    </a:lnTo>
                    <a:lnTo>
                      <a:pt x="150" y="99"/>
                    </a:lnTo>
                    <a:lnTo>
                      <a:pt x="148" y="95"/>
                    </a:lnTo>
                    <a:lnTo>
                      <a:pt x="149" y="79"/>
                    </a:lnTo>
                    <a:lnTo>
                      <a:pt x="84" y="82"/>
                    </a:lnTo>
                    <a:lnTo>
                      <a:pt x="83" y="78"/>
                    </a:lnTo>
                    <a:lnTo>
                      <a:pt x="83" y="75"/>
                    </a:lnTo>
                    <a:lnTo>
                      <a:pt x="84" y="73"/>
                    </a:lnTo>
                    <a:lnTo>
                      <a:pt x="87" y="71"/>
                    </a:lnTo>
                    <a:lnTo>
                      <a:pt x="87" y="66"/>
                    </a:lnTo>
                    <a:lnTo>
                      <a:pt x="87" y="64"/>
                    </a:lnTo>
                    <a:lnTo>
                      <a:pt x="88" y="61"/>
                    </a:lnTo>
                    <a:lnTo>
                      <a:pt x="89" y="60"/>
                    </a:lnTo>
                    <a:lnTo>
                      <a:pt x="90" y="58"/>
                    </a:lnTo>
                    <a:lnTo>
                      <a:pt x="91" y="51"/>
                    </a:lnTo>
                    <a:lnTo>
                      <a:pt x="93" y="49"/>
                    </a:lnTo>
                    <a:lnTo>
                      <a:pt x="97" y="43"/>
                    </a:lnTo>
                    <a:lnTo>
                      <a:pt x="98" y="41"/>
                    </a:lnTo>
                    <a:lnTo>
                      <a:pt x="98" y="37"/>
                    </a:lnTo>
                    <a:lnTo>
                      <a:pt x="99" y="37"/>
                    </a:lnTo>
                    <a:lnTo>
                      <a:pt x="102" y="34"/>
                    </a:lnTo>
                    <a:lnTo>
                      <a:pt x="103" y="26"/>
                    </a:lnTo>
                    <a:lnTo>
                      <a:pt x="102" y="23"/>
                    </a:lnTo>
                    <a:lnTo>
                      <a:pt x="99" y="21"/>
                    </a:lnTo>
                    <a:lnTo>
                      <a:pt x="99" y="19"/>
                    </a:lnTo>
                    <a:lnTo>
                      <a:pt x="98" y="14"/>
                    </a:lnTo>
                    <a:lnTo>
                      <a:pt x="98" y="13"/>
                    </a:lnTo>
                    <a:lnTo>
                      <a:pt x="97" y="11"/>
                    </a:lnTo>
                    <a:lnTo>
                      <a:pt x="94" y="9"/>
                    </a:lnTo>
                    <a:lnTo>
                      <a:pt x="98" y="7"/>
                    </a:lnTo>
                    <a:lnTo>
                      <a:pt x="98" y="5"/>
                    </a:lnTo>
                    <a:lnTo>
                      <a:pt x="97" y="2"/>
                    </a:lnTo>
                    <a:lnTo>
                      <a:pt x="94" y="0"/>
                    </a:lnTo>
                    <a:lnTo>
                      <a:pt x="0" y="3"/>
                    </a:lnTo>
                    <a:lnTo>
                      <a:pt x="0" y="47"/>
                    </a:lnTo>
                    <a:lnTo>
                      <a:pt x="7" y="53"/>
                    </a:lnTo>
                    <a:lnTo>
                      <a:pt x="7" y="55"/>
                    </a:lnTo>
                    <a:lnTo>
                      <a:pt x="11" y="64"/>
                    </a:lnTo>
                    <a:lnTo>
                      <a:pt x="12" y="66"/>
                    </a:lnTo>
                    <a:lnTo>
                      <a:pt x="12" y="72"/>
                    </a:lnTo>
                    <a:lnTo>
                      <a:pt x="13" y="75"/>
                    </a:lnTo>
                    <a:lnTo>
                      <a:pt x="15" y="83"/>
                    </a:lnTo>
                    <a:lnTo>
                      <a:pt x="17" y="89"/>
                    </a:lnTo>
                    <a:lnTo>
                      <a:pt x="13" y="94"/>
                    </a:lnTo>
                    <a:lnTo>
                      <a:pt x="11" y="102"/>
                    </a:lnTo>
                    <a:lnTo>
                      <a:pt x="11" y="105"/>
                    </a:lnTo>
                    <a:lnTo>
                      <a:pt x="9" y="110"/>
                    </a:lnTo>
                    <a:lnTo>
                      <a:pt x="12" y="117"/>
                    </a:lnTo>
                    <a:lnTo>
                      <a:pt x="12" y="121"/>
                    </a:lnTo>
                    <a:lnTo>
                      <a:pt x="9" y="131"/>
                    </a:lnTo>
                    <a:lnTo>
                      <a:pt x="6" y="136"/>
                    </a:lnTo>
                    <a:lnTo>
                      <a:pt x="10" y="136"/>
                    </a:lnTo>
                    <a:lnTo>
                      <a:pt x="15" y="136"/>
                    </a:lnTo>
                    <a:lnTo>
                      <a:pt x="18" y="134"/>
                    </a:lnTo>
                    <a:lnTo>
                      <a:pt x="22" y="134"/>
                    </a:lnTo>
                    <a:lnTo>
                      <a:pt x="25" y="134"/>
                    </a:lnTo>
                    <a:lnTo>
                      <a:pt x="34" y="136"/>
                    </a:lnTo>
                    <a:lnTo>
                      <a:pt x="39" y="137"/>
                    </a:lnTo>
                    <a:lnTo>
                      <a:pt x="44" y="139"/>
                    </a:lnTo>
                    <a:lnTo>
                      <a:pt x="51" y="142"/>
                    </a:lnTo>
                    <a:lnTo>
                      <a:pt x="64" y="142"/>
                    </a:lnTo>
                    <a:lnTo>
                      <a:pt x="72" y="142"/>
                    </a:lnTo>
                    <a:lnTo>
                      <a:pt x="79" y="142"/>
                    </a:lnTo>
                    <a:lnTo>
                      <a:pt x="80" y="141"/>
                    </a:lnTo>
                    <a:lnTo>
                      <a:pt x="78" y="138"/>
                    </a:lnTo>
                    <a:lnTo>
                      <a:pt x="73" y="138"/>
                    </a:lnTo>
                    <a:lnTo>
                      <a:pt x="72" y="138"/>
                    </a:lnTo>
                    <a:lnTo>
                      <a:pt x="70" y="137"/>
                    </a:lnTo>
                    <a:lnTo>
                      <a:pt x="71" y="134"/>
                    </a:lnTo>
                    <a:lnTo>
                      <a:pt x="72" y="132"/>
                    </a:lnTo>
                    <a:lnTo>
                      <a:pt x="77" y="132"/>
                    </a:lnTo>
                    <a:lnTo>
                      <a:pt x="84" y="135"/>
                    </a:lnTo>
                    <a:lnTo>
                      <a:pt x="91" y="141"/>
                    </a:lnTo>
                    <a:lnTo>
                      <a:pt x="97" y="142"/>
                    </a:lnTo>
                    <a:lnTo>
                      <a:pt x="101" y="140"/>
                    </a:lnTo>
                    <a:lnTo>
                      <a:pt x="100" y="144"/>
                    </a:lnTo>
                    <a:lnTo>
                      <a:pt x="98" y="150"/>
                    </a:lnTo>
                    <a:lnTo>
                      <a:pt x="100" y="153"/>
                    </a:lnTo>
                    <a:lnTo>
                      <a:pt x="106" y="155"/>
                    </a:lnTo>
                    <a:lnTo>
                      <a:pt x="111" y="155"/>
                    </a:lnTo>
                    <a:lnTo>
                      <a:pt x="115" y="158"/>
                    </a:lnTo>
                    <a:lnTo>
                      <a:pt x="119" y="158"/>
                    </a:lnTo>
                    <a:lnTo>
                      <a:pt x="121" y="154"/>
                    </a:lnTo>
                    <a:lnTo>
                      <a:pt x="125" y="150"/>
                    </a:lnTo>
                    <a:lnTo>
                      <a:pt x="128" y="149"/>
                    </a:lnTo>
                    <a:lnTo>
                      <a:pt x="132" y="150"/>
                    </a:lnTo>
                    <a:lnTo>
                      <a:pt x="136" y="155"/>
                    </a:lnTo>
                    <a:lnTo>
                      <a:pt x="140" y="155"/>
                    </a:lnTo>
                    <a:lnTo>
                      <a:pt x="142" y="153"/>
                    </a:lnTo>
                    <a:lnTo>
                      <a:pt x="140" y="145"/>
                    </a:lnTo>
                    <a:lnTo>
                      <a:pt x="140" y="143"/>
                    </a:lnTo>
                    <a:lnTo>
                      <a:pt x="142" y="141"/>
                    </a:lnTo>
                    <a:lnTo>
                      <a:pt x="146" y="141"/>
                    </a:lnTo>
                    <a:lnTo>
                      <a:pt x="150" y="143"/>
                    </a:lnTo>
                    <a:lnTo>
                      <a:pt x="150" y="147"/>
                    </a:lnTo>
                    <a:lnTo>
                      <a:pt x="158" y="148"/>
                    </a:lnTo>
                    <a:lnTo>
                      <a:pt x="165" y="151"/>
                    </a:lnTo>
                    <a:lnTo>
                      <a:pt x="168" y="154"/>
                    </a:lnTo>
                    <a:lnTo>
                      <a:pt x="166" y="157"/>
                    </a:lnTo>
                    <a:lnTo>
                      <a:pt x="165" y="161"/>
                    </a:lnTo>
                    <a:lnTo>
                      <a:pt x="169" y="161"/>
                    </a:lnTo>
                    <a:lnTo>
                      <a:pt x="171" y="158"/>
                    </a:lnTo>
                    <a:lnTo>
                      <a:pt x="173" y="156"/>
                    </a:lnTo>
                    <a:lnTo>
                      <a:pt x="176" y="158"/>
                    </a:lnTo>
                    <a:lnTo>
                      <a:pt x="176" y="160"/>
                    </a:lnTo>
                    <a:lnTo>
                      <a:pt x="178" y="157"/>
                    </a:lnTo>
                    <a:lnTo>
                      <a:pt x="181" y="154"/>
                    </a:lnTo>
                    <a:lnTo>
                      <a:pt x="182" y="153"/>
                    </a:lnTo>
                    <a:lnTo>
                      <a:pt x="181" y="149"/>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6" name="Freeform 35">
                <a:extLst>
                  <a:ext uri="{FF2B5EF4-FFF2-40B4-BE49-F238E27FC236}">
                    <a16:creationId xmlns:a16="http://schemas.microsoft.com/office/drawing/2014/main" id="{CDBD2A11-411A-EE41-9BBF-827908EF9C3F}"/>
                  </a:ext>
                </a:extLst>
              </p:cNvPr>
              <p:cNvSpPr>
                <a:spLocks/>
              </p:cNvSpPr>
              <p:nvPr/>
            </p:nvSpPr>
            <p:spPr bwMode="auto">
              <a:xfrm>
                <a:off x="16808163" y="8973909"/>
                <a:ext cx="1087915" cy="981384"/>
              </a:xfrm>
              <a:custGeom>
                <a:avLst/>
                <a:gdLst>
                  <a:gd name="T0" fmla="*/ 6 w 163"/>
                  <a:gd name="T1" fmla="*/ 123 h 147"/>
                  <a:gd name="T2" fmla="*/ 4 w 163"/>
                  <a:gd name="T3" fmla="*/ 121 h 147"/>
                  <a:gd name="T4" fmla="*/ 7 w 163"/>
                  <a:gd name="T5" fmla="*/ 124 h 147"/>
                  <a:gd name="T6" fmla="*/ 10 w 163"/>
                  <a:gd name="T7" fmla="*/ 125 h 147"/>
                  <a:gd name="T8" fmla="*/ 12 w 163"/>
                  <a:gd name="T9" fmla="*/ 123 h 147"/>
                  <a:gd name="T10" fmla="*/ 22 w 163"/>
                  <a:gd name="T11" fmla="*/ 124 h 147"/>
                  <a:gd name="T12" fmla="*/ 22 w 163"/>
                  <a:gd name="T13" fmla="*/ 147 h 147"/>
                  <a:gd name="T14" fmla="*/ 116 w 163"/>
                  <a:gd name="T15" fmla="*/ 144 h 147"/>
                  <a:gd name="T16" fmla="*/ 117 w 163"/>
                  <a:gd name="T17" fmla="*/ 144 h 147"/>
                  <a:gd name="T18" fmla="*/ 119 w 163"/>
                  <a:gd name="T19" fmla="*/ 139 h 147"/>
                  <a:gd name="T20" fmla="*/ 120 w 163"/>
                  <a:gd name="T21" fmla="*/ 136 h 147"/>
                  <a:gd name="T22" fmla="*/ 119 w 163"/>
                  <a:gd name="T23" fmla="*/ 133 h 147"/>
                  <a:gd name="T24" fmla="*/ 119 w 163"/>
                  <a:gd name="T25" fmla="*/ 127 h 147"/>
                  <a:gd name="T26" fmla="*/ 119 w 163"/>
                  <a:gd name="T27" fmla="*/ 125 h 147"/>
                  <a:gd name="T28" fmla="*/ 117 w 163"/>
                  <a:gd name="T29" fmla="*/ 122 h 147"/>
                  <a:gd name="T30" fmla="*/ 116 w 163"/>
                  <a:gd name="T31" fmla="*/ 121 h 147"/>
                  <a:gd name="T32" fmla="*/ 116 w 163"/>
                  <a:gd name="T33" fmla="*/ 119 h 147"/>
                  <a:gd name="T34" fmla="*/ 117 w 163"/>
                  <a:gd name="T35" fmla="*/ 117 h 147"/>
                  <a:gd name="T36" fmla="*/ 116 w 163"/>
                  <a:gd name="T37" fmla="*/ 116 h 147"/>
                  <a:gd name="T38" fmla="*/ 118 w 163"/>
                  <a:gd name="T39" fmla="*/ 113 h 147"/>
                  <a:gd name="T40" fmla="*/ 121 w 163"/>
                  <a:gd name="T41" fmla="*/ 109 h 147"/>
                  <a:gd name="T42" fmla="*/ 122 w 163"/>
                  <a:gd name="T43" fmla="*/ 109 h 147"/>
                  <a:gd name="T44" fmla="*/ 121 w 163"/>
                  <a:gd name="T45" fmla="*/ 107 h 147"/>
                  <a:gd name="T46" fmla="*/ 123 w 163"/>
                  <a:gd name="T47" fmla="*/ 103 h 147"/>
                  <a:gd name="T48" fmla="*/ 125 w 163"/>
                  <a:gd name="T49" fmla="*/ 100 h 147"/>
                  <a:gd name="T50" fmla="*/ 123 w 163"/>
                  <a:gd name="T51" fmla="*/ 99 h 147"/>
                  <a:gd name="T52" fmla="*/ 124 w 163"/>
                  <a:gd name="T53" fmla="*/ 95 h 147"/>
                  <a:gd name="T54" fmla="*/ 127 w 163"/>
                  <a:gd name="T55" fmla="*/ 92 h 147"/>
                  <a:gd name="T56" fmla="*/ 132 w 163"/>
                  <a:gd name="T57" fmla="*/ 86 h 147"/>
                  <a:gd name="T58" fmla="*/ 135 w 163"/>
                  <a:gd name="T59" fmla="*/ 81 h 147"/>
                  <a:gd name="T60" fmla="*/ 135 w 163"/>
                  <a:gd name="T61" fmla="*/ 77 h 147"/>
                  <a:gd name="T62" fmla="*/ 137 w 163"/>
                  <a:gd name="T63" fmla="*/ 72 h 147"/>
                  <a:gd name="T64" fmla="*/ 138 w 163"/>
                  <a:gd name="T65" fmla="*/ 72 h 147"/>
                  <a:gd name="T66" fmla="*/ 140 w 163"/>
                  <a:gd name="T67" fmla="*/ 70 h 147"/>
                  <a:gd name="T68" fmla="*/ 141 w 163"/>
                  <a:gd name="T69" fmla="*/ 67 h 147"/>
                  <a:gd name="T70" fmla="*/ 143 w 163"/>
                  <a:gd name="T71" fmla="*/ 65 h 147"/>
                  <a:gd name="T72" fmla="*/ 147 w 163"/>
                  <a:gd name="T73" fmla="*/ 63 h 147"/>
                  <a:gd name="T74" fmla="*/ 146 w 163"/>
                  <a:gd name="T75" fmla="*/ 60 h 147"/>
                  <a:gd name="T76" fmla="*/ 148 w 163"/>
                  <a:gd name="T77" fmla="*/ 58 h 147"/>
                  <a:gd name="T78" fmla="*/ 150 w 163"/>
                  <a:gd name="T79" fmla="*/ 54 h 147"/>
                  <a:gd name="T80" fmla="*/ 150 w 163"/>
                  <a:gd name="T81" fmla="*/ 48 h 147"/>
                  <a:gd name="T82" fmla="*/ 150 w 163"/>
                  <a:gd name="T83" fmla="*/ 43 h 147"/>
                  <a:gd name="T84" fmla="*/ 153 w 163"/>
                  <a:gd name="T85" fmla="*/ 39 h 147"/>
                  <a:gd name="T86" fmla="*/ 156 w 163"/>
                  <a:gd name="T87" fmla="*/ 37 h 147"/>
                  <a:gd name="T88" fmla="*/ 156 w 163"/>
                  <a:gd name="T89" fmla="*/ 35 h 147"/>
                  <a:gd name="T90" fmla="*/ 157 w 163"/>
                  <a:gd name="T91" fmla="*/ 33 h 147"/>
                  <a:gd name="T92" fmla="*/ 157 w 163"/>
                  <a:gd name="T93" fmla="*/ 29 h 147"/>
                  <a:gd name="T94" fmla="*/ 160 w 163"/>
                  <a:gd name="T95" fmla="*/ 28 h 147"/>
                  <a:gd name="T96" fmla="*/ 161 w 163"/>
                  <a:gd name="T97" fmla="*/ 26 h 147"/>
                  <a:gd name="T98" fmla="*/ 162 w 163"/>
                  <a:gd name="T99" fmla="*/ 24 h 147"/>
                  <a:gd name="T100" fmla="*/ 163 w 163"/>
                  <a:gd name="T101" fmla="*/ 22 h 147"/>
                  <a:gd name="T102" fmla="*/ 163 w 163"/>
                  <a:gd name="T103" fmla="*/ 19 h 147"/>
                  <a:gd name="T104" fmla="*/ 138 w 163"/>
                  <a:gd name="T105" fmla="*/ 20 h 147"/>
                  <a:gd name="T106" fmla="*/ 148 w 163"/>
                  <a:gd name="T107" fmla="*/ 5 h 147"/>
                  <a:gd name="T108" fmla="*/ 147 w 163"/>
                  <a:gd name="T109" fmla="*/ 0 h 147"/>
                  <a:gd name="T110" fmla="*/ 0 w 163"/>
                  <a:gd name="T111" fmla="*/ 4 h 147"/>
                  <a:gd name="T112" fmla="*/ 7 w 163"/>
                  <a:gd name="T113" fmla="*/ 47 h 147"/>
                  <a:gd name="T114" fmla="*/ 6 w 163"/>
                  <a:gd name="T115" fmla="*/ 1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3" h="147">
                    <a:moveTo>
                      <a:pt x="6" y="123"/>
                    </a:moveTo>
                    <a:lnTo>
                      <a:pt x="4" y="121"/>
                    </a:lnTo>
                    <a:lnTo>
                      <a:pt x="7" y="124"/>
                    </a:lnTo>
                    <a:lnTo>
                      <a:pt x="10" y="125"/>
                    </a:lnTo>
                    <a:lnTo>
                      <a:pt x="12" y="123"/>
                    </a:lnTo>
                    <a:lnTo>
                      <a:pt x="22" y="124"/>
                    </a:lnTo>
                    <a:lnTo>
                      <a:pt x="22" y="147"/>
                    </a:lnTo>
                    <a:lnTo>
                      <a:pt x="116" y="144"/>
                    </a:lnTo>
                    <a:lnTo>
                      <a:pt x="117" y="144"/>
                    </a:lnTo>
                    <a:lnTo>
                      <a:pt x="119" y="139"/>
                    </a:lnTo>
                    <a:lnTo>
                      <a:pt x="120" y="136"/>
                    </a:lnTo>
                    <a:lnTo>
                      <a:pt x="119" y="133"/>
                    </a:lnTo>
                    <a:lnTo>
                      <a:pt x="119" y="127"/>
                    </a:lnTo>
                    <a:lnTo>
                      <a:pt x="119" y="125"/>
                    </a:lnTo>
                    <a:lnTo>
                      <a:pt x="117" y="122"/>
                    </a:lnTo>
                    <a:lnTo>
                      <a:pt x="116" y="121"/>
                    </a:lnTo>
                    <a:lnTo>
                      <a:pt x="116" y="119"/>
                    </a:lnTo>
                    <a:lnTo>
                      <a:pt x="117" y="117"/>
                    </a:lnTo>
                    <a:lnTo>
                      <a:pt x="116" y="116"/>
                    </a:lnTo>
                    <a:lnTo>
                      <a:pt x="118" y="113"/>
                    </a:lnTo>
                    <a:lnTo>
                      <a:pt x="121" y="109"/>
                    </a:lnTo>
                    <a:lnTo>
                      <a:pt x="122" y="109"/>
                    </a:lnTo>
                    <a:lnTo>
                      <a:pt x="121" y="107"/>
                    </a:lnTo>
                    <a:lnTo>
                      <a:pt x="123" y="103"/>
                    </a:lnTo>
                    <a:lnTo>
                      <a:pt x="125" y="100"/>
                    </a:lnTo>
                    <a:lnTo>
                      <a:pt x="123" y="99"/>
                    </a:lnTo>
                    <a:lnTo>
                      <a:pt x="124" y="95"/>
                    </a:lnTo>
                    <a:lnTo>
                      <a:pt x="127" y="92"/>
                    </a:lnTo>
                    <a:lnTo>
                      <a:pt x="132" y="86"/>
                    </a:lnTo>
                    <a:lnTo>
                      <a:pt x="135" y="81"/>
                    </a:lnTo>
                    <a:lnTo>
                      <a:pt x="135" y="77"/>
                    </a:lnTo>
                    <a:lnTo>
                      <a:pt x="137" y="72"/>
                    </a:lnTo>
                    <a:lnTo>
                      <a:pt x="138" y="72"/>
                    </a:lnTo>
                    <a:lnTo>
                      <a:pt x="140" y="70"/>
                    </a:lnTo>
                    <a:lnTo>
                      <a:pt x="141" y="67"/>
                    </a:lnTo>
                    <a:lnTo>
                      <a:pt x="143" y="65"/>
                    </a:lnTo>
                    <a:lnTo>
                      <a:pt x="147" y="63"/>
                    </a:lnTo>
                    <a:lnTo>
                      <a:pt x="146" y="60"/>
                    </a:lnTo>
                    <a:lnTo>
                      <a:pt x="148" y="58"/>
                    </a:lnTo>
                    <a:lnTo>
                      <a:pt x="150" y="54"/>
                    </a:lnTo>
                    <a:lnTo>
                      <a:pt x="150" y="48"/>
                    </a:lnTo>
                    <a:lnTo>
                      <a:pt x="150" y="43"/>
                    </a:lnTo>
                    <a:lnTo>
                      <a:pt x="153" y="39"/>
                    </a:lnTo>
                    <a:lnTo>
                      <a:pt x="156" y="37"/>
                    </a:lnTo>
                    <a:lnTo>
                      <a:pt x="156" y="35"/>
                    </a:lnTo>
                    <a:lnTo>
                      <a:pt x="157" y="33"/>
                    </a:lnTo>
                    <a:lnTo>
                      <a:pt x="157" y="29"/>
                    </a:lnTo>
                    <a:lnTo>
                      <a:pt x="160" y="28"/>
                    </a:lnTo>
                    <a:lnTo>
                      <a:pt x="161" y="26"/>
                    </a:lnTo>
                    <a:lnTo>
                      <a:pt x="162" y="24"/>
                    </a:lnTo>
                    <a:lnTo>
                      <a:pt x="163" y="22"/>
                    </a:lnTo>
                    <a:lnTo>
                      <a:pt x="163" y="19"/>
                    </a:lnTo>
                    <a:lnTo>
                      <a:pt x="138" y="20"/>
                    </a:lnTo>
                    <a:lnTo>
                      <a:pt x="148" y="5"/>
                    </a:lnTo>
                    <a:lnTo>
                      <a:pt x="147" y="0"/>
                    </a:lnTo>
                    <a:lnTo>
                      <a:pt x="0" y="4"/>
                    </a:lnTo>
                    <a:lnTo>
                      <a:pt x="7" y="47"/>
                    </a:lnTo>
                    <a:lnTo>
                      <a:pt x="6" y="123"/>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7" name="Freeform 36">
                <a:extLst>
                  <a:ext uri="{FF2B5EF4-FFF2-40B4-BE49-F238E27FC236}">
                    <a16:creationId xmlns:a16="http://schemas.microsoft.com/office/drawing/2014/main" id="{3A7D8CE6-D584-C34F-9F6D-BDD0C067C1E7}"/>
                  </a:ext>
                </a:extLst>
              </p:cNvPr>
              <p:cNvSpPr>
                <a:spLocks/>
              </p:cNvSpPr>
              <p:nvPr/>
            </p:nvSpPr>
            <p:spPr bwMode="auto">
              <a:xfrm>
                <a:off x="17782617" y="8773628"/>
                <a:ext cx="1842114" cy="600842"/>
              </a:xfrm>
              <a:custGeom>
                <a:avLst/>
                <a:gdLst>
                  <a:gd name="T0" fmla="*/ 193 w 326"/>
                  <a:gd name="T1" fmla="*/ 14 h 107"/>
                  <a:gd name="T2" fmla="*/ 83 w 326"/>
                  <a:gd name="T3" fmla="*/ 21 h 107"/>
                  <a:gd name="T4" fmla="*/ 85 w 326"/>
                  <a:gd name="T5" fmla="*/ 31 h 107"/>
                  <a:gd name="T6" fmla="*/ 26 w 326"/>
                  <a:gd name="T7" fmla="*/ 32 h 107"/>
                  <a:gd name="T8" fmla="*/ 24 w 326"/>
                  <a:gd name="T9" fmla="*/ 33 h 107"/>
                  <a:gd name="T10" fmla="*/ 24 w 326"/>
                  <a:gd name="T11" fmla="*/ 36 h 107"/>
                  <a:gd name="T12" fmla="*/ 24 w 326"/>
                  <a:gd name="T13" fmla="*/ 39 h 107"/>
                  <a:gd name="T14" fmla="*/ 23 w 326"/>
                  <a:gd name="T15" fmla="*/ 42 h 107"/>
                  <a:gd name="T16" fmla="*/ 21 w 326"/>
                  <a:gd name="T17" fmla="*/ 43 h 107"/>
                  <a:gd name="T18" fmla="*/ 20 w 326"/>
                  <a:gd name="T19" fmla="*/ 45 h 107"/>
                  <a:gd name="T20" fmla="*/ 21 w 326"/>
                  <a:gd name="T21" fmla="*/ 46 h 107"/>
                  <a:gd name="T22" fmla="*/ 23 w 326"/>
                  <a:gd name="T23" fmla="*/ 50 h 107"/>
                  <a:gd name="T24" fmla="*/ 22 w 326"/>
                  <a:gd name="T25" fmla="*/ 52 h 107"/>
                  <a:gd name="T26" fmla="*/ 20 w 326"/>
                  <a:gd name="T27" fmla="*/ 55 h 107"/>
                  <a:gd name="T28" fmla="*/ 19 w 326"/>
                  <a:gd name="T29" fmla="*/ 58 h 107"/>
                  <a:gd name="T30" fmla="*/ 20 w 326"/>
                  <a:gd name="T31" fmla="*/ 58 h 107"/>
                  <a:gd name="T32" fmla="*/ 20 w 326"/>
                  <a:gd name="T33" fmla="*/ 62 h 107"/>
                  <a:gd name="T34" fmla="*/ 19 w 326"/>
                  <a:gd name="T35" fmla="*/ 64 h 107"/>
                  <a:gd name="T36" fmla="*/ 18 w 326"/>
                  <a:gd name="T37" fmla="*/ 66 h 107"/>
                  <a:gd name="T38" fmla="*/ 16 w 326"/>
                  <a:gd name="T39" fmla="*/ 69 h 107"/>
                  <a:gd name="T40" fmla="*/ 13 w 326"/>
                  <a:gd name="T41" fmla="*/ 70 h 107"/>
                  <a:gd name="T42" fmla="*/ 13 w 326"/>
                  <a:gd name="T43" fmla="*/ 75 h 107"/>
                  <a:gd name="T44" fmla="*/ 12 w 326"/>
                  <a:gd name="T45" fmla="*/ 77 h 107"/>
                  <a:gd name="T46" fmla="*/ 12 w 326"/>
                  <a:gd name="T47" fmla="*/ 79 h 107"/>
                  <a:gd name="T48" fmla="*/ 8 w 326"/>
                  <a:gd name="T49" fmla="*/ 82 h 107"/>
                  <a:gd name="T50" fmla="*/ 5 w 326"/>
                  <a:gd name="T51" fmla="*/ 87 h 107"/>
                  <a:gd name="T52" fmla="*/ 5 w 326"/>
                  <a:gd name="T53" fmla="*/ 92 h 107"/>
                  <a:gd name="T54" fmla="*/ 5 w 326"/>
                  <a:gd name="T55" fmla="*/ 99 h 107"/>
                  <a:gd name="T56" fmla="*/ 2 w 326"/>
                  <a:gd name="T57" fmla="*/ 104 h 107"/>
                  <a:gd name="T58" fmla="*/ 0 w 326"/>
                  <a:gd name="T59" fmla="*/ 107 h 107"/>
                  <a:gd name="T60" fmla="*/ 0 w 326"/>
                  <a:gd name="T61" fmla="*/ 107 h 107"/>
                  <a:gd name="T62" fmla="*/ 232 w 326"/>
                  <a:gd name="T63" fmla="*/ 89 h 107"/>
                  <a:gd name="T64" fmla="*/ 232 w 326"/>
                  <a:gd name="T65" fmla="*/ 89 h 107"/>
                  <a:gd name="T66" fmla="*/ 232 w 326"/>
                  <a:gd name="T67" fmla="*/ 88 h 107"/>
                  <a:gd name="T68" fmla="*/ 233 w 326"/>
                  <a:gd name="T69" fmla="*/ 82 h 107"/>
                  <a:gd name="T70" fmla="*/ 233 w 326"/>
                  <a:gd name="T71" fmla="*/ 79 h 107"/>
                  <a:gd name="T72" fmla="*/ 237 w 326"/>
                  <a:gd name="T73" fmla="*/ 75 h 107"/>
                  <a:gd name="T74" fmla="*/ 240 w 326"/>
                  <a:gd name="T75" fmla="*/ 75 h 107"/>
                  <a:gd name="T76" fmla="*/ 244 w 326"/>
                  <a:gd name="T77" fmla="*/ 72 h 107"/>
                  <a:gd name="T78" fmla="*/ 243 w 326"/>
                  <a:gd name="T79" fmla="*/ 68 h 107"/>
                  <a:gd name="T80" fmla="*/ 246 w 326"/>
                  <a:gd name="T81" fmla="*/ 64 h 107"/>
                  <a:gd name="T82" fmla="*/ 280 w 326"/>
                  <a:gd name="T83" fmla="*/ 44 h 107"/>
                  <a:gd name="T84" fmla="*/ 285 w 326"/>
                  <a:gd name="T85" fmla="*/ 41 h 107"/>
                  <a:gd name="T86" fmla="*/ 287 w 326"/>
                  <a:gd name="T87" fmla="*/ 37 h 107"/>
                  <a:gd name="T88" fmla="*/ 291 w 326"/>
                  <a:gd name="T89" fmla="*/ 31 h 107"/>
                  <a:gd name="T90" fmla="*/ 294 w 326"/>
                  <a:gd name="T91" fmla="*/ 31 h 107"/>
                  <a:gd name="T92" fmla="*/ 297 w 326"/>
                  <a:gd name="T93" fmla="*/ 35 h 107"/>
                  <a:gd name="T94" fmla="*/ 301 w 326"/>
                  <a:gd name="T95" fmla="*/ 31 h 107"/>
                  <a:gd name="T96" fmla="*/ 306 w 326"/>
                  <a:gd name="T97" fmla="*/ 25 h 107"/>
                  <a:gd name="T98" fmla="*/ 317 w 326"/>
                  <a:gd name="T99" fmla="*/ 23 h 107"/>
                  <a:gd name="T100" fmla="*/ 318 w 326"/>
                  <a:gd name="T101" fmla="*/ 19 h 107"/>
                  <a:gd name="T102" fmla="*/ 321 w 326"/>
                  <a:gd name="T103" fmla="*/ 14 h 107"/>
                  <a:gd name="T104" fmla="*/ 325 w 326"/>
                  <a:gd name="T105" fmla="*/ 12 h 107"/>
                  <a:gd name="T106" fmla="*/ 326 w 326"/>
                  <a:gd name="T107" fmla="*/ 12 h 107"/>
                  <a:gd name="T108" fmla="*/ 326 w 326"/>
                  <a:gd name="T109" fmla="*/ 0 h 107"/>
                  <a:gd name="T110" fmla="*/ 193 w 326"/>
                  <a:gd name="T111" fmla="*/ 1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107">
                    <a:moveTo>
                      <a:pt x="193" y="14"/>
                    </a:moveTo>
                    <a:cubicBezTo>
                      <a:pt x="83" y="21"/>
                      <a:pt x="83" y="21"/>
                      <a:pt x="83" y="21"/>
                    </a:cubicBezTo>
                    <a:cubicBezTo>
                      <a:pt x="85" y="31"/>
                      <a:pt x="85" y="31"/>
                      <a:pt x="85" y="31"/>
                    </a:cubicBezTo>
                    <a:cubicBezTo>
                      <a:pt x="26" y="32"/>
                      <a:pt x="26" y="32"/>
                      <a:pt x="26" y="32"/>
                    </a:cubicBezTo>
                    <a:cubicBezTo>
                      <a:pt x="24" y="33"/>
                      <a:pt x="24" y="33"/>
                      <a:pt x="24" y="33"/>
                    </a:cubicBezTo>
                    <a:cubicBezTo>
                      <a:pt x="24" y="36"/>
                      <a:pt x="24" y="36"/>
                      <a:pt x="24" y="36"/>
                    </a:cubicBezTo>
                    <a:cubicBezTo>
                      <a:pt x="24" y="39"/>
                      <a:pt x="24" y="39"/>
                      <a:pt x="24" y="39"/>
                    </a:cubicBezTo>
                    <a:cubicBezTo>
                      <a:pt x="23" y="42"/>
                      <a:pt x="23" y="42"/>
                      <a:pt x="23" y="42"/>
                    </a:cubicBezTo>
                    <a:cubicBezTo>
                      <a:pt x="21" y="43"/>
                      <a:pt x="21" y="43"/>
                      <a:pt x="21" y="43"/>
                    </a:cubicBezTo>
                    <a:cubicBezTo>
                      <a:pt x="20" y="45"/>
                      <a:pt x="20" y="45"/>
                      <a:pt x="20" y="45"/>
                    </a:cubicBezTo>
                    <a:cubicBezTo>
                      <a:pt x="21" y="46"/>
                      <a:pt x="21" y="46"/>
                      <a:pt x="21" y="46"/>
                    </a:cubicBezTo>
                    <a:cubicBezTo>
                      <a:pt x="21" y="46"/>
                      <a:pt x="23" y="49"/>
                      <a:pt x="23" y="50"/>
                    </a:cubicBezTo>
                    <a:cubicBezTo>
                      <a:pt x="24" y="51"/>
                      <a:pt x="22" y="52"/>
                      <a:pt x="22" y="52"/>
                    </a:cubicBezTo>
                    <a:cubicBezTo>
                      <a:pt x="20" y="55"/>
                      <a:pt x="20" y="55"/>
                      <a:pt x="20" y="55"/>
                    </a:cubicBezTo>
                    <a:cubicBezTo>
                      <a:pt x="19" y="58"/>
                      <a:pt x="19" y="58"/>
                      <a:pt x="19" y="58"/>
                    </a:cubicBezTo>
                    <a:cubicBezTo>
                      <a:pt x="20" y="58"/>
                      <a:pt x="20" y="58"/>
                      <a:pt x="20" y="58"/>
                    </a:cubicBezTo>
                    <a:cubicBezTo>
                      <a:pt x="20" y="62"/>
                      <a:pt x="20" y="62"/>
                      <a:pt x="20" y="62"/>
                    </a:cubicBezTo>
                    <a:cubicBezTo>
                      <a:pt x="19" y="64"/>
                      <a:pt x="19" y="64"/>
                      <a:pt x="19" y="64"/>
                    </a:cubicBezTo>
                    <a:cubicBezTo>
                      <a:pt x="18" y="66"/>
                      <a:pt x="18" y="66"/>
                      <a:pt x="18" y="66"/>
                    </a:cubicBezTo>
                    <a:cubicBezTo>
                      <a:pt x="16" y="69"/>
                      <a:pt x="16" y="69"/>
                      <a:pt x="16" y="69"/>
                    </a:cubicBezTo>
                    <a:cubicBezTo>
                      <a:pt x="13" y="70"/>
                      <a:pt x="13" y="70"/>
                      <a:pt x="13" y="70"/>
                    </a:cubicBezTo>
                    <a:cubicBezTo>
                      <a:pt x="13" y="75"/>
                      <a:pt x="13" y="75"/>
                      <a:pt x="13" y="75"/>
                    </a:cubicBezTo>
                    <a:cubicBezTo>
                      <a:pt x="12" y="77"/>
                      <a:pt x="12" y="77"/>
                      <a:pt x="12" y="77"/>
                    </a:cubicBezTo>
                    <a:cubicBezTo>
                      <a:pt x="12" y="79"/>
                      <a:pt x="12" y="79"/>
                      <a:pt x="12" y="79"/>
                    </a:cubicBezTo>
                    <a:cubicBezTo>
                      <a:pt x="8" y="82"/>
                      <a:pt x="8" y="82"/>
                      <a:pt x="8" y="82"/>
                    </a:cubicBezTo>
                    <a:cubicBezTo>
                      <a:pt x="5" y="87"/>
                      <a:pt x="5" y="87"/>
                      <a:pt x="5" y="87"/>
                    </a:cubicBezTo>
                    <a:cubicBezTo>
                      <a:pt x="5" y="92"/>
                      <a:pt x="5" y="92"/>
                      <a:pt x="5" y="92"/>
                    </a:cubicBezTo>
                    <a:cubicBezTo>
                      <a:pt x="5" y="99"/>
                      <a:pt x="5" y="99"/>
                      <a:pt x="5" y="99"/>
                    </a:cubicBezTo>
                    <a:cubicBezTo>
                      <a:pt x="2" y="104"/>
                      <a:pt x="2" y="104"/>
                      <a:pt x="2" y="104"/>
                    </a:cubicBezTo>
                    <a:cubicBezTo>
                      <a:pt x="0" y="107"/>
                      <a:pt x="0" y="107"/>
                      <a:pt x="0" y="107"/>
                    </a:cubicBezTo>
                    <a:cubicBezTo>
                      <a:pt x="0" y="107"/>
                      <a:pt x="0" y="107"/>
                      <a:pt x="0" y="107"/>
                    </a:cubicBezTo>
                    <a:cubicBezTo>
                      <a:pt x="232" y="89"/>
                      <a:pt x="232" y="89"/>
                      <a:pt x="232" y="89"/>
                    </a:cubicBezTo>
                    <a:cubicBezTo>
                      <a:pt x="232" y="89"/>
                      <a:pt x="232" y="89"/>
                      <a:pt x="232" y="89"/>
                    </a:cubicBezTo>
                    <a:cubicBezTo>
                      <a:pt x="232" y="88"/>
                      <a:pt x="232" y="88"/>
                      <a:pt x="232" y="88"/>
                    </a:cubicBezTo>
                    <a:cubicBezTo>
                      <a:pt x="233" y="82"/>
                      <a:pt x="233" y="82"/>
                      <a:pt x="233" y="82"/>
                    </a:cubicBezTo>
                    <a:cubicBezTo>
                      <a:pt x="233" y="79"/>
                      <a:pt x="233" y="79"/>
                      <a:pt x="233" y="79"/>
                    </a:cubicBezTo>
                    <a:cubicBezTo>
                      <a:pt x="237" y="75"/>
                      <a:pt x="237" y="75"/>
                      <a:pt x="237" y="75"/>
                    </a:cubicBezTo>
                    <a:cubicBezTo>
                      <a:pt x="240" y="75"/>
                      <a:pt x="240" y="75"/>
                      <a:pt x="240" y="75"/>
                    </a:cubicBezTo>
                    <a:cubicBezTo>
                      <a:pt x="244" y="72"/>
                      <a:pt x="244" y="72"/>
                      <a:pt x="244" y="72"/>
                    </a:cubicBezTo>
                    <a:cubicBezTo>
                      <a:pt x="243" y="68"/>
                      <a:pt x="243" y="68"/>
                      <a:pt x="243" y="68"/>
                    </a:cubicBezTo>
                    <a:cubicBezTo>
                      <a:pt x="246" y="64"/>
                      <a:pt x="246" y="64"/>
                      <a:pt x="246" y="64"/>
                    </a:cubicBezTo>
                    <a:cubicBezTo>
                      <a:pt x="280" y="44"/>
                      <a:pt x="280" y="44"/>
                      <a:pt x="280" y="44"/>
                    </a:cubicBezTo>
                    <a:cubicBezTo>
                      <a:pt x="285" y="41"/>
                      <a:pt x="285" y="41"/>
                      <a:pt x="285" y="41"/>
                    </a:cubicBezTo>
                    <a:cubicBezTo>
                      <a:pt x="287" y="37"/>
                      <a:pt x="287" y="37"/>
                      <a:pt x="287" y="37"/>
                    </a:cubicBezTo>
                    <a:cubicBezTo>
                      <a:pt x="291" y="31"/>
                      <a:pt x="291" y="31"/>
                      <a:pt x="291" y="31"/>
                    </a:cubicBezTo>
                    <a:cubicBezTo>
                      <a:pt x="294" y="31"/>
                      <a:pt x="294" y="31"/>
                      <a:pt x="294" y="31"/>
                    </a:cubicBezTo>
                    <a:cubicBezTo>
                      <a:pt x="297" y="35"/>
                      <a:pt x="297" y="35"/>
                      <a:pt x="297" y="35"/>
                    </a:cubicBezTo>
                    <a:cubicBezTo>
                      <a:pt x="301" y="31"/>
                      <a:pt x="301" y="31"/>
                      <a:pt x="301" y="31"/>
                    </a:cubicBezTo>
                    <a:cubicBezTo>
                      <a:pt x="306" y="25"/>
                      <a:pt x="306" y="25"/>
                      <a:pt x="306" y="25"/>
                    </a:cubicBezTo>
                    <a:cubicBezTo>
                      <a:pt x="317" y="23"/>
                      <a:pt x="317" y="23"/>
                      <a:pt x="317" y="23"/>
                    </a:cubicBezTo>
                    <a:cubicBezTo>
                      <a:pt x="318" y="19"/>
                      <a:pt x="318" y="19"/>
                      <a:pt x="318" y="19"/>
                    </a:cubicBezTo>
                    <a:cubicBezTo>
                      <a:pt x="321" y="14"/>
                      <a:pt x="321" y="14"/>
                      <a:pt x="321" y="14"/>
                    </a:cubicBezTo>
                    <a:cubicBezTo>
                      <a:pt x="325" y="12"/>
                      <a:pt x="325" y="12"/>
                      <a:pt x="325" y="12"/>
                    </a:cubicBezTo>
                    <a:cubicBezTo>
                      <a:pt x="326" y="12"/>
                      <a:pt x="326" y="12"/>
                      <a:pt x="326" y="12"/>
                    </a:cubicBezTo>
                    <a:cubicBezTo>
                      <a:pt x="326" y="0"/>
                      <a:pt x="326" y="0"/>
                      <a:pt x="326" y="0"/>
                    </a:cubicBezTo>
                    <a:lnTo>
                      <a:pt x="193" y="14"/>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8" name="Freeform 37">
                <a:extLst>
                  <a:ext uri="{FF2B5EF4-FFF2-40B4-BE49-F238E27FC236}">
                    <a16:creationId xmlns:a16="http://schemas.microsoft.com/office/drawing/2014/main" id="{BB37C6EC-0FD0-354E-8C9F-A340C7015CA5}"/>
                  </a:ext>
                </a:extLst>
              </p:cNvPr>
              <p:cNvSpPr>
                <a:spLocks/>
              </p:cNvSpPr>
              <p:nvPr/>
            </p:nvSpPr>
            <p:spPr bwMode="auto">
              <a:xfrm>
                <a:off x="19090787" y="8573343"/>
                <a:ext cx="1842114" cy="814479"/>
              </a:xfrm>
              <a:custGeom>
                <a:avLst/>
                <a:gdLst>
                  <a:gd name="T0" fmla="*/ 320 w 326"/>
                  <a:gd name="T1" fmla="*/ 28 h 144"/>
                  <a:gd name="T2" fmla="*/ 315 w 326"/>
                  <a:gd name="T3" fmla="*/ 38 h 144"/>
                  <a:gd name="T4" fmla="*/ 311 w 326"/>
                  <a:gd name="T5" fmla="*/ 32 h 144"/>
                  <a:gd name="T6" fmla="*/ 300 w 326"/>
                  <a:gd name="T7" fmla="*/ 30 h 144"/>
                  <a:gd name="T8" fmla="*/ 289 w 326"/>
                  <a:gd name="T9" fmla="*/ 35 h 144"/>
                  <a:gd name="T10" fmla="*/ 285 w 326"/>
                  <a:gd name="T11" fmla="*/ 32 h 144"/>
                  <a:gd name="T12" fmla="*/ 282 w 326"/>
                  <a:gd name="T13" fmla="*/ 25 h 144"/>
                  <a:gd name="T14" fmla="*/ 281 w 326"/>
                  <a:gd name="T15" fmla="*/ 18 h 144"/>
                  <a:gd name="T16" fmla="*/ 284 w 326"/>
                  <a:gd name="T17" fmla="*/ 20 h 144"/>
                  <a:gd name="T18" fmla="*/ 290 w 326"/>
                  <a:gd name="T19" fmla="*/ 29 h 144"/>
                  <a:gd name="T20" fmla="*/ 295 w 326"/>
                  <a:gd name="T21" fmla="*/ 26 h 144"/>
                  <a:gd name="T22" fmla="*/ 305 w 326"/>
                  <a:gd name="T23" fmla="*/ 22 h 144"/>
                  <a:gd name="T24" fmla="*/ 306 w 326"/>
                  <a:gd name="T25" fmla="*/ 16 h 144"/>
                  <a:gd name="T26" fmla="*/ 303 w 326"/>
                  <a:gd name="T27" fmla="*/ 12 h 144"/>
                  <a:gd name="T28" fmla="*/ 312 w 326"/>
                  <a:gd name="T29" fmla="*/ 14 h 144"/>
                  <a:gd name="T30" fmla="*/ 308 w 326"/>
                  <a:gd name="T31" fmla="*/ 4 h 144"/>
                  <a:gd name="T32" fmla="*/ 155 w 326"/>
                  <a:gd name="T33" fmla="*/ 28 h 144"/>
                  <a:gd name="T34" fmla="*/ 93 w 326"/>
                  <a:gd name="T35" fmla="*/ 47 h 144"/>
                  <a:gd name="T36" fmla="*/ 85 w 326"/>
                  <a:gd name="T37" fmla="*/ 58 h 144"/>
                  <a:gd name="T38" fmla="*/ 65 w 326"/>
                  <a:gd name="T39" fmla="*/ 70 h 144"/>
                  <a:gd name="T40" fmla="*/ 55 w 326"/>
                  <a:gd name="T41" fmla="*/ 72 h 144"/>
                  <a:gd name="T42" fmla="*/ 14 w 326"/>
                  <a:gd name="T43" fmla="*/ 99 h 144"/>
                  <a:gd name="T44" fmla="*/ 8 w 326"/>
                  <a:gd name="T45" fmla="*/ 110 h 144"/>
                  <a:gd name="T46" fmla="*/ 1 w 326"/>
                  <a:gd name="T47" fmla="*/ 117 h 144"/>
                  <a:gd name="T48" fmla="*/ 0 w 326"/>
                  <a:gd name="T49" fmla="*/ 124 h 144"/>
                  <a:gd name="T50" fmla="*/ 83 w 326"/>
                  <a:gd name="T51" fmla="*/ 104 h 144"/>
                  <a:gd name="T52" fmla="*/ 108 w 326"/>
                  <a:gd name="T53" fmla="*/ 105 h 144"/>
                  <a:gd name="T54" fmla="*/ 123 w 326"/>
                  <a:gd name="T55" fmla="*/ 100 h 144"/>
                  <a:gd name="T56" fmla="*/ 142 w 326"/>
                  <a:gd name="T57" fmla="*/ 114 h 144"/>
                  <a:gd name="T58" fmla="*/ 243 w 326"/>
                  <a:gd name="T59" fmla="*/ 140 h 144"/>
                  <a:gd name="T60" fmla="*/ 256 w 326"/>
                  <a:gd name="T61" fmla="*/ 136 h 144"/>
                  <a:gd name="T62" fmla="*/ 263 w 326"/>
                  <a:gd name="T63" fmla="*/ 117 h 144"/>
                  <a:gd name="T64" fmla="*/ 271 w 326"/>
                  <a:gd name="T65" fmla="*/ 106 h 144"/>
                  <a:gd name="T66" fmla="*/ 270 w 326"/>
                  <a:gd name="T67" fmla="*/ 100 h 144"/>
                  <a:gd name="T68" fmla="*/ 272 w 326"/>
                  <a:gd name="T69" fmla="*/ 97 h 144"/>
                  <a:gd name="T70" fmla="*/ 278 w 326"/>
                  <a:gd name="T71" fmla="*/ 100 h 144"/>
                  <a:gd name="T72" fmla="*/ 281 w 326"/>
                  <a:gd name="T73" fmla="*/ 95 h 144"/>
                  <a:gd name="T74" fmla="*/ 285 w 326"/>
                  <a:gd name="T75" fmla="*/ 95 h 144"/>
                  <a:gd name="T76" fmla="*/ 296 w 326"/>
                  <a:gd name="T77" fmla="*/ 91 h 144"/>
                  <a:gd name="T78" fmla="*/ 301 w 326"/>
                  <a:gd name="T79" fmla="*/ 87 h 144"/>
                  <a:gd name="T80" fmla="*/ 308 w 326"/>
                  <a:gd name="T81" fmla="*/ 81 h 144"/>
                  <a:gd name="T82" fmla="*/ 308 w 326"/>
                  <a:gd name="T83" fmla="*/ 75 h 144"/>
                  <a:gd name="T84" fmla="*/ 301 w 326"/>
                  <a:gd name="T85" fmla="*/ 78 h 144"/>
                  <a:gd name="T86" fmla="*/ 291 w 326"/>
                  <a:gd name="T87" fmla="*/ 83 h 144"/>
                  <a:gd name="T88" fmla="*/ 283 w 326"/>
                  <a:gd name="T89" fmla="*/ 77 h 144"/>
                  <a:gd name="T90" fmla="*/ 288 w 326"/>
                  <a:gd name="T91" fmla="*/ 77 h 144"/>
                  <a:gd name="T92" fmla="*/ 296 w 326"/>
                  <a:gd name="T93" fmla="*/ 73 h 144"/>
                  <a:gd name="T94" fmla="*/ 297 w 326"/>
                  <a:gd name="T95" fmla="*/ 68 h 144"/>
                  <a:gd name="T96" fmla="*/ 296 w 326"/>
                  <a:gd name="T97" fmla="*/ 64 h 144"/>
                  <a:gd name="T98" fmla="*/ 280 w 326"/>
                  <a:gd name="T99" fmla="*/ 58 h 144"/>
                  <a:gd name="T100" fmla="*/ 290 w 326"/>
                  <a:gd name="T101" fmla="*/ 57 h 144"/>
                  <a:gd name="T102" fmla="*/ 294 w 326"/>
                  <a:gd name="T103" fmla="*/ 55 h 144"/>
                  <a:gd name="T104" fmla="*/ 294 w 326"/>
                  <a:gd name="T105" fmla="*/ 51 h 144"/>
                  <a:gd name="T106" fmla="*/ 300 w 326"/>
                  <a:gd name="T107" fmla="*/ 58 h 144"/>
                  <a:gd name="T108" fmla="*/ 306 w 326"/>
                  <a:gd name="T109" fmla="*/ 58 h 144"/>
                  <a:gd name="T110" fmla="*/ 317 w 326"/>
                  <a:gd name="T111" fmla="*/ 57 h 144"/>
                  <a:gd name="T112" fmla="*/ 319 w 326"/>
                  <a:gd name="T113" fmla="*/ 48 h 144"/>
                  <a:gd name="T114" fmla="*/ 322 w 326"/>
                  <a:gd name="T115" fmla="*/ 42 h 144"/>
                  <a:gd name="T116" fmla="*/ 325 w 326"/>
                  <a:gd name="T117" fmla="*/ 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6" h="144">
                    <a:moveTo>
                      <a:pt x="324" y="34"/>
                    </a:moveTo>
                    <a:cubicBezTo>
                      <a:pt x="322" y="31"/>
                      <a:pt x="322" y="31"/>
                      <a:pt x="322" y="31"/>
                    </a:cubicBezTo>
                    <a:cubicBezTo>
                      <a:pt x="320" y="28"/>
                      <a:pt x="320" y="28"/>
                      <a:pt x="320" y="28"/>
                    </a:cubicBezTo>
                    <a:cubicBezTo>
                      <a:pt x="317" y="28"/>
                      <a:pt x="317" y="28"/>
                      <a:pt x="317" y="28"/>
                    </a:cubicBezTo>
                    <a:cubicBezTo>
                      <a:pt x="316" y="29"/>
                      <a:pt x="316" y="29"/>
                      <a:pt x="316" y="29"/>
                    </a:cubicBezTo>
                    <a:cubicBezTo>
                      <a:pt x="315" y="38"/>
                      <a:pt x="315" y="38"/>
                      <a:pt x="315" y="38"/>
                    </a:cubicBezTo>
                    <a:cubicBezTo>
                      <a:pt x="315" y="40"/>
                      <a:pt x="315" y="40"/>
                      <a:pt x="315" y="40"/>
                    </a:cubicBezTo>
                    <a:cubicBezTo>
                      <a:pt x="312" y="38"/>
                      <a:pt x="312" y="38"/>
                      <a:pt x="312" y="38"/>
                    </a:cubicBezTo>
                    <a:cubicBezTo>
                      <a:pt x="311" y="32"/>
                      <a:pt x="311" y="32"/>
                      <a:pt x="311" y="32"/>
                    </a:cubicBezTo>
                    <a:cubicBezTo>
                      <a:pt x="309" y="28"/>
                      <a:pt x="309" y="28"/>
                      <a:pt x="309" y="28"/>
                    </a:cubicBezTo>
                    <a:cubicBezTo>
                      <a:pt x="306" y="27"/>
                      <a:pt x="306" y="27"/>
                      <a:pt x="306" y="27"/>
                    </a:cubicBezTo>
                    <a:cubicBezTo>
                      <a:pt x="300" y="30"/>
                      <a:pt x="300" y="30"/>
                      <a:pt x="300" y="30"/>
                    </a:cubicBezTo>
                    <a:cubicBezTo>
                      <a:pt x="298" y="30"/>
                      <a:pt x="298" y="30"/>
                      <a:pt x="298" y="30"/>
                    </a:cubicBezTo>
                    <a:cubicBezTo>
                      <a:pt x="292" y="32"/>
                      <a:pt x="292" y="32"/>
                      <a:pt x="292" y="32"/>
                    </a:cubicBezTo>
                    <a:cubicBezTo>
                      <a:pt x="289" y="35"/>
                      <a:pt x="289" y="35"/>
                      <a:pt x="289" y="35"/>
                    </a:cubicBezTo>
                    <a:cubicBezTo>
                      <a:pt x="286" y="39"/>
                      <a:pt x="286" y="39"/>
                      <a:pt x="286" y="39"/>
                    </a:cubicBezTo>
                    <a:cubicBezTo>
                      <a:pt x="285" y="37"/>
                      <a:pt x="285" y="37"/>
                      <a:pt x="285" y="37"/>
                    </a:cubicBezTo>
                    <a:cubicBezTo>
                      <a:pt x="285" y="32"/>
                      <a:pt x="285" y="32"/>
                      <a:pt x="285" y="32"/>
                    </a:cubicBezTo>
                    <a:cubicBezTo>
                      <a:pt x="285" y="30"/>
                      <a:pt x="285" y="30"/>
                      <a:pt x="285" y="30"/>
                    </a:cubicBezTo>
                    <a:cubicBezTo>
                      <a:pt x="283" y="27"/>
                      <a:pt x="283" y="27"/>
                      <a:pt x="283" y="27"/>
                    </a:cubicBezTo>
                    <a:cubicBezTo>
                      <a:pt x="282" y="25"/>
                      <a:pt x="282" y="25"/>
                      <a:pt x="282" y="25"/>
                    </a:cubicBezTo>
                    <a:cubicBezTo>
                      <a:pt x="281" y="23"/>
                      <a:pt x="281" y="23"/>
                      <a:pt x="281" y="23"/>
                    </a:cubicBezTo>
                    <a:cubicBezTo>
                      <a:pt x="281" y="20"/>
                      <a:pt x="281" y="20"/>
                      <a:pt x="281" y="20"/>
                    </a:cubicBezTo>
                    <a:cubicBezTo>
                      <a:pt x="281" y="18"/>
                      <a:pt x="281" y="18"/>
                      <a:pt x="281" y="18"/>
                    </a:cubicBezTo>
                    <a:cubicBezTo>
                      <a:pt x="283" y="16"/>
                      <a:pt x="283" y="16"/>
                      <a:pt x="283" y="16"/>
                    </a:cubicBezTo>
                    <a:cubicBezTo>
                      <a:pt x="283" y="16"/>
                      <a:pt x="283" y="16"/>
                      <a:pt x="283" y="16"/>
                    </a:cubicBezTo>
                    <a:cubicBezTo>
                      <a:pt x="284" y="20"/>
                      <a:pt x="284" y="20"/>
                      <a:pt x="284" y="20"/>
                    </a:cubicBezTo>
                    <a:cubicBezTo>
                      <a:pt x="285" y="26"/>
                      <a:pt x="285" y="26"/>
                      <a:pt x="285" y="26"/>
                    </a:cubicBezTo>
                    <a:cubicBezTo>
                      <a:pt x="287" y="31"/>
                      <a:pt x="287" y="31"/>
                      <a:pt x="287" y="31"/>
                    </a:cubicBezTo>
                    <a:cubicBezTo>
                      <a:pt x="290" y="29"/>
                      <a:pt x="290" y="29"/>
                      <a:pt x="290" y="29"/>
                    </a:cubicBezTo>
                    <a:cubicBezTo>
                      <a:pt x="291" y="28"/>
                      <a:pt x="291" y="28"/>
                      <a:pt x="291" y="28"/>
                    </a:cubicBezTo>
                    <a:cubicBezTo>
                      <a:pt x="294" y="26"/>
                      <a:pt x="294" y="26"/>
                      <a:pt x="294" y="26"/>
                    </a:cubicBezTo>
                    <a:cubicBezTo>
                      <a:pt x="295" y="26"/>
                      <a:pt x="295" y="26"/>
                      <a:pt x="295" y="26"/>
                    </a:cubicBezTo>
                    <a:cubicBezTo>
                      <a:pt x="299" y="24"/>
                      <a:pt x="299" y="24"/>
                      <a:pt x="299" y="24"/>
                    </a:cubicBezTo>
                    <a:cubicBezTo>
                      <a:pt x="300" y="22"/>
                      <a:pt x="300" y="22"/>
                      <a:pt x="300" y="22"/>
                    </a:cubicBezTo>
                    <a:cubicBezTo>
                      <a:pt x="305" y="22"/>
                      <a:pt x="305" y="22"/>
                      <a:pt x="305" y="22"/>
                    </a:cubicBezTo>
                    <a:cubicBezTo>
                      <a:pt x="306" y="19"/>
                      <a:pt x="306" y="19"/>
                      <a:pt x="306" y="19"/>
                    </a:cubicBezTo>
                    <a:cubicBezTo>
                      <a:pt x="307" y="18"/>
                      <a:pt x="307" y="18"/>
                      <a:pt x="307" y="18"/>
                    </a:cubicBezTo>
                    <a:cubicBezTo>
                      <a:pt x="307" y="18"/>
                      <a:pt x="306" y="17"/>
                      <a:pt x="306" y="16"/>
                    </a:cubicBezTo>
                    <a:cubicBezTo>
                      <a:pt x="305" y="16"/>
                      <a:pt x="305" y="16"/>
                      <a:pt x="305" y="16"/>
                    </a:cubicBezTo>
                    <a:cubicBezTo>
                      <a:pt x="303" y="13"/>
                      <a:pt x="303" y="13"/>
                      <a:pt x="303" y="13"/>
                    </a:cubicBezTo>
                    <a:cubicBezTo>
                      <a:pt x="303" y="12"/>
                      <a:pt x="303" y="12"/>
                      <a:pt x="303" y="12"/>
                    </a:cubicBezTo>
                    <a:cubicBezTo>
                      <a:pt x="304" y="12"/>
                      <a:pt x="304" y="12"/>
                      <a:pt x="304" y="12"/>
                    </a:cubicBezTo>
                    <a:cubicBezTo>
                      <a:pt x="309" y="14"/>
                      <a:pt x="309" y="14"/>
                      <a:pt x="309" y="14"/>
                    </a:cubicBezTo>
                    <a:cubicBezTo>
                      <a:pt x="312" y="14"/>
                      <a:pt x="312" y="14"/>
                      <a:pt x="312" y="14"/>
                    </a:cubicBezTo>
                    <a:cubicBezTo>
                      <a:pt x="312" y="11"/>
                      <a:pt x="312" y="11"/>
                      <a:pt x="312" y="11"/>
                    </a:cubicBezTo>
                    <a:cubicBezTo>
                      <a:pt x="309" y="7"/>
                      <a:pt x="309" y="7"/>
                      <a:pt x="309" y="7"/>
                    </a:cubicBezTo>
                    <a:cubicBezTo>
                      <a:pt x="308" y="4"/>
                      <a:pt x="308" y="4"/>
                      <a:pt x="308" y="4"/>
                    </a:cubicBezTo>
                    <a:cubicBezTo>
                      <a:pt x="305" y="0"/>
                      <a:pt x="305" y="0"/>
                      <a:pt x="305" y="0"/>
                    </a:cubicBezTo>
                    <a:cubicBezTo>
                      <a:pt x="218" y="18"/>
                      <a:pt x="218" y="18"/>
                      <a:pt x="218" y="18"/>
                    </a:cubicBezTo>
                    <a:cubicBezTo>
                      <a:pt x="155" y="28"/>
                      <a:pt x="155" y="28"/>
                      <a:pt x="155" y="28"/>
                    </a:cubicBezTo>
                    <a:cubicBezTo>
                      <a:pt x="94" y="35"/>
                      <a:pt x="94" y="35"/>
                      <a:pt x="94" y="35"/>
                    </a:cubicBezTo>
                    <a:cubicBezTo>
                      <a:pt x="94" y="47"/>
                      <a:pt x="94" y="47"/>
                      <a:pt x="94" y="47"/>
                    </a:cubicBezTo>
                    <a:cubicBezTo>
                      <a:pt x="93" y="47"/>
                      <a:pt x="93" y="47"/>
                      <a:pt x="93" y="47"/>
                    </a:cubicBezTo>
                    <a:cubicBezTo>
                      <a:pt x="89" y="49"/>
                      <a:pt x="89" y="49"/>
                      <a:pt x="89" y="49"/>
                    </a:cubicBezTo>
                    <a:cubicBezTo>
                      <a:pt x="86" y="54"/>
                      <a:pt x="86" y="54"/>
                      <a:pt x="86" y="54"/>
                    </a:cubicBezTo>
                    <a:cubicBezTo>
                      <a:pt x="85" y="58"/>
                      <a:pt x="85" y="58"/>
                      <a:pt x="85" y="58"/>
                    </a:cubicBezTo>
                    <a:cubicBezTo>
                      <a:pt x="74" y="60"/>
                      <a:pt x="74" y="60"/>
                      <a:pt x="74" y="60"/>
                    </a:cubicBezTo>
                    <a:cubicBezTo>
                      <a:pt x="69" y="66"/>
                      <a:pt x="69" y="66"/>
                      <a:pt x="69" y="66"/>
                    </a:cubicBezTo>
                    <a:cubicBezTo>
                      <a:pt x="65" y="70"/>
                      <a:pt x="65" y="70"/>
                      <a:pt x="65" y="70"/>
                    </a:cubicBezTo>
                    <a:cubicBezTo>
                      <a:pt x="62" y="66"/>
                      <a:pt x="62" y="66"/>
                      <a:pt x="62" y="66"/>
                    </a:cubicBezTo>
                    <a:cubicBezTo>
                      <a:pt x="59" y="66"/>
                      <a:pt x="59" y="66"/>
                      <a:pt x="59" y="66"/>
                    </a:cubicBezTo>
                    <a:cubicBezTo>
                      <a:pt x="55" y="72"/>
                      <a:pt x="55" y="72"/>
                      <a:pt x="55" y="72"/>
                    </a:cubicBezTo>
                    <a:cubicBezTo>
                      <a:pt x="53" y="76"/>
                      <a:pt x="53" y="76"/>
                      <a:pt x="53" y="76"/>
                    </a:cubicBezTo>
                    <a:cubicBezTo>
                      <a:pt x="48" y="79"/>
                      <a:pt x="48" y="79"/>
                      <a:pt x="48" y="79"/>
                    </a:cubicBezTo>
                    <a:cubicBezTo>
                      <a:pt x="14" y="99"/>
                      <a:pt x="14" y="99"/>
                      <a:pt x="14" y="99"/>
                    </a:cubicBezTo>
                    <a:cubicBezTo>
                      <a:pt x="11" y="103"/>
                      <a:pt x="11" y="103"/>
                      <a:pt x="11" y="103"/>
                    </a:cubicBezTo>
                    <a:cubicBezTo>
                      <a:pt x="12" y="107"/>
                      <a:pt x="12" y="107"/>
                      <a:pt x="12" y="107"/>
                    </a:cubicBezTo>
                    <a:cubicBezTo>
                      <a:pt x="8" y="110"/>
                      <a:pt x="8" y="110"/>
                      <a:pt x="8" y="110"/>
                    </a:cubicBezTo>
                    <a:cubicBezTo>
                      <a:pt x="5" y="110"/>
                      <a:pt x="5" y="110"/>
                      <a:pt x="5" y="110"/>
                    </a:cubicBezTo>
                    <a:cubicBezTo>
                      <a:pt x="1" y="114"/>
                      <a:pt x="1" y="114"/>
                      <a:pt x="1" y="114"/>
                    </a:cubicBezTo>
                    <a:cubicBezTo>
                      <a:pt x="1" y="117"/>
                      <a:pt x="1" y="117"/>
                      <a:pt x="1" y="117"/>
                    </a:cubicBezTo>
                    <a:cubicBezTo>
                      <a:pt x="0" y="123"/>
                      <a:pt x="0" y="123"/>
                      <a:pt x="0" y="123"/>
                    </a:cubicBezTo>
                    <a:cubicBezTo>
                      <a:pt x="0" y="124"/>
                      <a:pt x="0" y="124"/>
                      <a:pt x="0" y="124"/>
                    </a:cubicBezTo>
                    <a:cubicBezTo>
                      <a:pt x="0" y="124"/>
                      <a:pt x="0" y="124"/>
                      <a:pt x="0" y="124"/>
                    </a:cubicBezTo>
                    <a:cubicBezTo>
                      <a:pt x="56" y="118"/>
                      <a:pt x="56" y="118"/>
                      <a:pt x="56" y="118"/>
                    </a:cubicBezTo>
                    <a:cubicBezTo>
                      <a:pt x="73" y="105"/>
                      <a:pt x="73" y="105"/>
                      <a:pt x="73" y="105"/>
                    </a:cubicBezTo>
                    <a:cubicBezTo>
                      <a:pt x="83" y="104"/>
                      <a:pt x="83" y="104"/>
                      <a:pt x="83" y="104"/>
                    </a:cubicBezTo>
                    <a:cubicBezTo>
                      <a:pt x="90" y="104"/>
                      <a:pt x="90" y="104"/>
                      <a:pt x="90" y="104"/>
                    </a:cubicBezTo>
                    <a:cubicBezTo>
                      <a:pt x="102" y="106"/>
                      <a:pt x="102" y="106"/>
                      <a:pt x="102" y="106"/>
                    </a:cubicBezTo>
                    <a:cubicBezTo>
                      <a:pt x="108" y="105"/>
                      <a:pt x="108" y="105"/>
                      <a:pt x="108" y="105"/>
                    </a:cubicBezTo>
                    <a:cubicBezTo>
                      <a:pt x="111" y="104"/>
                      <a:pt x="111" y="104"/>
                      <a:pt x="111" y="104"/>
                    </a:cubicBezTo>
                    <a:cubicBezTo>
                      <a:pt x="116" y="101"/>
                      <a:pt x="116" y="101"/>
                      <a:pt x="116" y="101"/>
                    </a:cubicBezTo>
                    <a:cubicBezTo>
                      <a:pt x="123" y="100"/>
                      <a:pt x="123" y="100"/>
                      <a:pt x="123" y="100"/>
                    </a:cubicBezTo>
                    <a:cubicBezTo>
                      <a:pt x="132" y="101"/>
                      <a:pt x="132" y="101"/>
                      <a:pt x="132" y="101"/>
                    </a:cubicBezTo>
                    <a:cubicBezTo>
                      <a:pt x="138" y="104"/>
                      <a:pt x="138" y="104"/>
                      <a:pt x="138" y="104"/>
                    </a:cubicBezTo>
                    <a:cubicBezTo>
                      <a:pt x="142" y="114"/>
                      <a:pt x="142" y="114"/>
                      <a:pt x="142" y="114"/>
                    </a:cubicBezTo>
                    <a:cubicBezTo>
                      <a:pt x="182" y="106"/>
                      <a:pt x="182" y="106"/>
                      <a:pt x="182" y="106"/>
                    </a:cubicBezTo>
                    <a:cubicBezTo>
                      <a:pt x="234" y="144"/>
                      <a:pt x="234" y="144"/>
                      <a:pt x="234" y="144"/>
                    </a:cubicBezTo>
                    <a:cubicBezTo>
                      <a:pt x="243" y="140"/>
                      <a:pt x="243" y="140"/>
                      <a:pt x="243" y="140"/>
                    </a:cubicBezTo>
                    <a:cubicBezTo>
                      <a:pt x="245" y="140"/>
                      <a:pt x="245" y="140"/>
                      <a:pt x="245" y="140"/>
                    </a:cubicBezTo>
                    <a:cubicBezTo>
                      <a:pt x="254" y="139"/>
                      <a:pt x="254" y="139"/>
                      <a:pt x="254" y="139"/>
                    </a:cubicBezTo>
                    <a:cubicBezTo>
                      <a:pt x="256" y="136"/>
                      <a:pt x="256" y="136"/>
                      <a:pt x="256" y="136"/>
                    </a:cubicBezTo>
                    <a:cubicBezTo>
                      <a:pt x="259" y="133"/>
                      <a:pt x="259" y="133"/>
                      <a:pt x="259" y="133"/>
                    </a:cubicBezTo>
                    <a:cubicBezTo>
                      <a:pt x="260" y="124"/>
                      <a:pt x="260" y="124"/>
                      <a:pt x="260" y="124"/>
                    </a:cubicBezTo>
                    <a:cubicBezTo>
                      <a:pt x="263" y="117"/>
                      <a:pt x="263" y="117"/>
                      <a:pt x="263" y="117"/>
                    </a:cubicBezTo>
                    <a:cubicBezTo>
                      <a:pt x="267" y="111"/>
                      <a:pt x="267" y="111"/>
                      <a:pt x="267" y="111"/>
                    </a:cubicBezTo>
                    <a:cubicBezTo>
                      <a:pt x="271" y="108"/>
                      <a:pt x="271" y="108"/>
                      <a:pt x="271" y="108"/>
                    </a:cubicBezTo>
                    <a:cubicBezTo>
                      <a:pt x="271" y="106"/>
                      <a:pt x="271" y="106"/>
                      <a:pt x="271" y="106"/>
                    </a:cubicBezTo>
                    <a:cubicBezTo>
                      <a:pt x="270" y="103"/>
                      <a:pt x="270" y="103"/>
                      <a:pt x="270" y="103"/>
                    </a:cubicBezTo>
                    <a:cubicBezTo>
                      <a:pt x="269" y="101"/>
                      <a:pt x="269" y="101"/>
                      <a:pt x="269" y="101"/>
                    </a:cubicBezTo>
                    <a:cubicBezTo>
                      <a:pt x="270" y="100"/>
                      <a:pt x="270" y="100"/>
                      <a:pt x="270" y="100"/>
                    </a:cubicBezTo>
                    <a:cubicBezTo>
                      <a:pt x="270" y="98"/>
                      <a:pt x="270" y="98"/>
                      <a:pt x="270" y="98"/>
                    </a:cubicBezTo>
                    <a:cubicBezTo>
                      <a:pt x="271" y="97"/>
                      <a:pt x="271" y="97"/>
                      <a:pt x="271" y="97"/>
                    </a:cubicBezTo>
                    <a:cubicBezTo>
                      <a:pt x="272" y="97"/>
                      <a:pt x="272" y="97"/>
                      <a:pt x="272" y="97"/>
                    </a:cubicBezTo>
                    <a:cubicBezTo>
                      <a:pt x="273" y="98"/>
                      <a:pt x="273" y="98"/>
                      <a:pt x="273" y="98"/>
                    </a:cubicBezTo>
                    <a:cubicBezTo>
                      <a:pt x="274" y="102"/>
                      <a:pt x="274" y="102"/>
                      <a:pt x="274" y="102"/>
                    </a:cubicBezTo>
                    <a:cubicBezTo>
                      <a:pt x="278" y="100"/>
                      <a:pt x="278" y="100"/>
                      <a:pt x="278" y="100"/>
                    </a:cubicBezTo>
                    <a:cubicBezTo>
                      <a:pt x="281" y="99"/>
                      <a:pt x="281" y="99"/>
                      <a:pt x="281" y="99"/>
                    </a:cubicBezTo>
                    <a:cubicBezTo>
                      <a:pt x="281" y="97"/>
                      <a:pt x="281" y="97"/>
                      <a:pt x="281" y="97"/>
                    </a:cubicBezTo>
                    <a:cubicBezTo>
                      <a:pt x="281" y="95"/>
                      <a:pt x="281" y="95"/>
                      <a:pt x="281" y="95"/>
                    </a:cubicBezTo>
                    <a:cubicBezTo>
                      <a:pt x="283" y="94"/>
                      <a:pt x="283" y="94"/>
                      <a:pt x="283" y="94"/>
                    </a:cubicBezTo>
                    <a:cubicBezTo>
                      <a:pt x="283" y="93"/>
                      <a:pt x="283" y="93"/>
                      <a:pt x="283" y="93"/>
                    </a:cubicBezTo>
                    <a:cubicBezTo>
                      <a:pt x="285" y="95"/>
                      <a:pt x="285" y="95"/>
                      <a:pt x="285" y="95"/>
                    </a:cubicBezTo>
                    <a:cubicBezTo>
                      <a:pt x="290" y="93"/>
                      <a:pt x="290" y="93"/>
                      <a:pt x="290" y="93"/>
                    </a:cubicBezTo>
                    <a:cubicBezTo>
                      <a:pt x="294" y="91"/>
                      <a:pt x="294" y="91"/>
                      <a:pt x="294" y="91"/>
                    </a:cubicBezTo>
                    <a:cubicBezTo>
                      <a:pt x="296" y="91"/>
                      <a:pt x="296" y="91"/>
                      <a:pt x="296" y="91"/>
                    </a:cubicBezTo>
                    <a:cubicBezTo>
                      <a:pt x="299" y="89"/>
                      <a:pt x="299" y="89"/>
                      <a:pt x="299" y="89"/>
                    </a:cubicBezTo>
                    <a:cubicBezTo>
                      <a:pt x="301" y="88"/>
                      <a:pt x="301" y="88"/>
                      <a:pt x="301" y="88"/>
                    </a:cubicBezTo>
                    <a:cubicBezTo>
                      <a:pt x="301" y="87"/>
                      <a:pt x="301" y="87"/>
                      <a:pt x="301" y="87"/>
                    </a:cubicBezTo>
                    <a:cubicBezTo>
                      <a:pt x="305" y="90"/>
                      <a:pt x="305" y="90"/>
                      <a:pt x="305" y="90"/>
                    </a:cubicBezTo>
                    <a:cubicBezTo>
                      <a:pt x="307" y="86"/>
                      <a:pt x="307" y="86"/>
                      <a:pt x="307" y="86"/>
                    </a:cubicBezTo>
                    <a:cubicBezTo>
                      <a:pt x="308" y="81"/>
                      <a:pt x="308" y="81"/>
                      <a:pt x="308" y="81"/>
                    </a:cubicBezTo>
                    <a:cubicBezTo>
                      <a:pt x="309" y="79"/>
                      <a:pt x="309" y="79"/>
                      <a:pt x="309" y="79"/>
                    </a:cubicBezTo>
                    <a:cubicBezTo>
                      <a:pt x="310" y="77"/>
                      <a:pt x="310" y="77"/>
                      <a:pt x="310" y="77"/>
                    </a:cubicBezTo>
                    <a:cubicBezTo>
                      <a:pt x="310" y="77"/>
                      <a:pt x="309" y="74"/>
                      <a:pt x="308" y="75"/>
                    </a:cubicBezTo>
                    <a:cubicBezTo>
                      <a:pt x="307" y="75"/>
                      <a:pt x="304" y="76"/>
                      <a:pt x="304" y="76"/>
                    </a:cubicBezTo>
                    <a:cubicBezTo>
                      <a:pt x="303" y="78"/>
                      <a:pt x="303" y="78"/>
                      <a:pt x="303" y="78"/>
                    </a:cubicBezTo>
                    <a:cubicBezTo>
                      <a:pt x="301" y="78"/>
                      <a:pt x="301" y="78"/>
                      <a:pt x="301" y="78"/>
                    </a:cubicBezTo>
                    <a:cubicBezTo>
                      <a:pt x="299" y="80"/>
                      <a:pt x="299" y="80"/>
                      <a:pt x="299" y="80"/>
                    </a:cubicBezTo>
                    <a:cubicBezTo>
                      <a:pt x="294" y="83"/>
                      <a:pt x="294" y="83"/>
                      <a:pt x="294" y="83"/>
                    </a:cubicBezTo>
                    <a:cubicBezTo>
                      <a:pt x="291" y="83"/>
                      <a:pt x="291" y="83"/>
                      <a:pt x="291" y="83"/>
                    </a:cubicBezTo>
                    <a:cubicBezTo>
                      <a:pt x="283" y="81"/>
                      <a:pt x="283" y="81"/>
                      <a:pt x="283" y="81"/>
                    </a:cubicBezTo>
                    <a:cubicBezTo>
                      <a:pt x="283" y="79"/>
                      <a:pt x="283" y="79"/>
                      <a:pt x="283" y="79"/>
                    </a:cubicBezTo>
                    <a:cubicBezTo>
                      <a:pt x="283" y="77"/>
                      <a:pt x="283" y="77"/>
                      <a:pt x="283" y="77"/>
                    </a:cubicBezTo>
                    <a:cubicBezTo>
                      <a:pt x="284" y="76"/>
                      <a:pt x="284" y="76"/>
                      <a:pt x="284" y="76"/>
                    </a:cubicBezTo>
                    <a:cubicBezTo>
                      <a:pt x="286" y="76"/>
                      <a:pt x="286" y="76"/>
                      <a:pt x="286" y="76"/>
                    </a:cubicBezTo>
                    <a:cubicBezTo>
                      <a:pt x="288" y="77"/>
                      <a:pt x="288" y="77"/>
                      <a:pt x="288" y="77"/>
                    </a:cubicBezTo>
                    <a:cubicBezTo>
                      <a:pt x="293" y="77"/>
                      <a:pt x="293" y="77"/>
                      <a:pt x="293" y="77"/>
                    </a:cubicBezTo>
                    <a:cubicBezTo>
                      <a:pt x="296" y="75"/>
                      <a:pt x="296" y="75"/>
                      <a:pt x="296" y="75"/>
                    </a:cubicBezTo>
                    <a:cubicBezTo>
                      <a:pt x="296" y="73"/>
                      <a:pt x="296" y="73"/>
                      <a:pt x="296" y="73"/>
                    </a:cubicBezTo>
                    <a:cubicBezTo>
                      <a:pt x="295" y="71"/>
                      <a:pt x="295" y="71"/>
                      <a:pt x="295" y="71"/>
                    </a:cubicBezTo>
                    <a:cubicBezTo>
                      <a:pt x="296" y="68"/>
                      <a:pt x="296" y="68"/>
                      <a:pt x="296" y="68"/>
                    </a:cubicBezTo>
                    <a:cubicBezTo>
                      <a:pt x="297" y="68"/>
                      <a:pt x="297" y="68"/>
                      <a:pt x="297" y="68"/>
                    </a:cubicBezTo>
                    <a:cubicBezTo>
                      <a:pt x="299" y="66"/>
                      <a:pt x="299" y="66"/>
                      <a:pt x="299" y="66"/>
                    </a:cubicBezTo>
                    <a:cubicBezTo>
                      <a:pt x="299" y="64"/>
                      <a:pt x="299" y="64"/>
                      <a:pt x="299" y="64"/>
                    </a:cubicBezTo>
                    <a:cubicBezTo>
                      <a:pt x="296" y="64"/>
                      <a:pt x="296" y="64"/>
                      <a:pt x="296" y="64"/>
                    </a:cubicBezTo>
                    <a:cubicBezTo>
                      <a:pt x="290" y="61"/>
                      <a:pt x="290" y="61"/>
                      <a:pt x="290" y="61"/>
                    </a:cubicBezTo>
                    <a:cubicBezTo>
                      <a:pt x="283" y="60"/>
                      <a:pt x="283" y="60"/>
                      <a:pt x="283" y="60"/>
                    </a:cubicBezTo>
                    <a:cubicBezTo>
                      <a:pt x="280" y="58"/>
                      <a:pt x="280" y="58"/>
                      <a:pt x="280" y="58"/>
                    </a:cubicBezTo>
                    <a:cubicBezTo>
                      <a:pt x="280" y="57"/>
                      <a:pt x="280" y="57"/>
                      <a:pt x="280" y="57"/>
                    </a:cubicBezTo>
                    <a:cubicBezTo>
                      <a:pt x="284" y="57"/>
                      <a:pt x="284" y="57"/>
                      <a:pt x="284" y="57"/>
                    </a:cubicBezTo>
                    <a:cubicBezTo>
                      <a:pt x="290" y="57"/>
                      <a:pt x="290" y="57"/>
                      <a:pt x="290" y="57"/>
                    </a:cubicBezTo>
                    <a:cubicBezTo>
                      <a:pt x="294" y="59"/>
                      <a:pt x="294" y="59"/>
                      <a:pt x="294" y="59"/>
                    </a:cubicBezTo>
                    <a:cubicBezTo>
                      <a:pt x="295" y="57"/>
                      <a:pt x="295" y="57"/>
                      <a:pt x="295" y="57"/>
                    </a:cubicBezTo>
                    <a:cubicBezTo>
                      <a:pt x="294" y="55"/>
                      <a:pt x="294" y="55"/>
                      <a:pt x="294" y="55"/>
                    </a:cubicBezTo>
                    <a:cubicBezTo>
                      <a:pt x="293" y="54"/>
                      <a:pt x="293" y="54"/>
                      <a:pt x="293" y="54"/>
                    </a:cubicBezTo>
                    <a:cubicBezTo>
                      <a:pt x="292" y="52"/>
                      <a:pt x="292" y="52"/>
                      <a:pt x="292" y="52"/>
                    </a:cubicBezTo>
                    <a:cubicBezTo>
                      <a:pt x="294" y="51"/>
                      <a:pt x="294" y="51"/>
                      <a:pt x="294" y="51"/>
                    </a:cubicBezTo>
                    <a:cubicBezTo>
                      <a:pt x="297" y="51"/>
                      <a:pt x="297" y="51"/>
                      <a:pt x="297" y="51"/>
                    </a:cubicBezTo>
                    <a:cubicBezTo>
                      <a:pt x="298" y="56"/>
                      <a:pt x="298" y="56"/>
                      <a:pt x="298" y="56"/>
                    </a:cubicBezTo>
                    <a:cubicBezTo>
                      <a:pt x="300" y="58"/>
                      <a:pt x="300" y="58"/>
                      <a:pt x="300" y="58"/>
                    </a:cubicBezTo>
                    <a:cubicBezTo>
                      <a:pt x="303" y="58"/>
                      <a:pt x="303" y="58"/>
                      <a:pt x="303" y="58"/>
                    </a:cubicBezTo>
                    <a:cubicBezTo>
                      <a:pt x="304" y="57"/>
                      <a:pt x="304" y="57"/>
                      <a:pt x="304" y="57"/>
                    </a:cubicBezTo>
                    <a:cubicBezTo>
                      <a:pt x="306" y="58"/>
                      <a:pt x="306" y="58"/>
                      <a:pt x="306" y="58"/>
                    </a:cubicBezTo>
                    <a:cubicBezTo>
                      <a:pt x="310" y="58"/>
                      <a:pt x="310" y="58"/>
                      <a:pt x="310" y="58"/>
                    </a:cubicBezTo>
                    <a:cubicBezTo>
                      <a:pt x="316" y="58"/>
                      <a:pt x="316" y="58"/>
                      <a:pt x="316" y="58"/>
                    </a:cubicBezTo>
                    <a:cubicBezTo>
                      <a:pt x="317" y="57"/>
                      <a:pt x="317" y="57"/>
                      <a:pt x="317" y="57"/>
                    </a:cubicBezTo>
                    <a:cubicBezTo>
                      <a:pt x="317" y="53"/>
                      <a:pt x="317" y="53"/>
                      <a:pt x="317" y="53"/>
                    </a:cubicBezTo>
                    <a:cubicBezTo>
                      <a:pt x="318" y="51"/>
                      <a:pt x="318" y="51"/>
                      <a:pt x="318" y="51"/>
                    </a:cubicBezTo>
                    <a:cubicBezTo>
                      <a:pt x="319" y="48"/>
                      <a:pt x="319" y="48"/>
                      <a:pt x="319" y="48"/>
                    </a:cubicBezTo>
                    <a:cubicBezTo>
                      <a:pt x="319" y="46"/>
                      <a:pt x="319" y="46"/>
                      <a:pt x="319" y="46"/>
                    </a:cubicBezTo>
                    <a:cubicBezTo>
                      <a:pt x="320" y="42"/>
                      <a:pt x="320" y="42"/>
                      <a:pt x="320" y="42"/>
                    </a:cubicBezTo>
                    <a:cubicBezTo>
                      <a:pt x="322" y="42"/>
                      <a:pt x="322" y="42"/>
                      <a:pt x="322" y="42"/>
                    </a:cubicBezTo>
                    <a:cubicBezTo>
                      <a:pt x="323" y="44"/>
                      <a:pt x="323" y="44"/>
                      <a:pt x="323" y="44"/>
                    </a:cubicBezTo>
                    <a:cubicBezTo>
                      <a:pt x="325" y="42"/>
                      <a:pt x="325" y="42"/>
                      <a:pt x="325" y="42"/>
                    </a:cubicBezTo>
                    <a:cubicBezTo>
                      <a:pt x="325" y="39"/>
                      <a:pt x="325" y="39"/>
                      <a:pt x="325" y="39"/>
                    </a:cubicBezTo>
                    <a:cubicBezTo>
                      <a:pt x="326" y="37"/>
                      <a:pt x="326" y="37"/>
                      <a:pt x="326" y="37"/>
                    </a:cubicBezTo>
                    <a:lnTo>
                      <a:pt x="324" y="34"/>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49" name="Freeform 38">
                <a:extLst>
                  <a:ext uri="{FF2B5EF4-FFF2-40B4-BE49-F238E27FC236}">
                    <a16:creationId xmlns:a16="http://schemas.microsoft.com/office/drawing/2014/main" id="{078961DF-F93D-FA47-B6FE-0D1CD18C336F}"/>
                  </a:ext>
                </a:extLst>
              </p:cNvPr>
              <p:cNvSpPr>
                <a:spLocks/>
              </p:cNvSpPr>
              <p:nvPr/>
            </p:nvSpPr>
            <p:spPr bwMode="auto">
              <a:xfrm>
                <a:off x="18823812" y="9240952"/>
                <a:ext cx="1134635" cy="1221723"/>
              </a:xfrm>
              <a:custGeom>
                <a:avLst/>
                <a:gdLst>
                  <a:gd name="T0" fmla="*/ 196 w 201"/>
                  <a:gd name="T1" fmla="*/ 127 h 216"/>
                  <a:gd name="T2" fmla="*/ 195 w 201"/>
                  <a:gd name="T3" fmla="*/ 120 h 216"/>
                  <a:gd name="T4" fmla="*/ 191 w 201"/>
                  <a:gd name="T5" fmla="*/ 115 h 216"/>
                  <a:gd name="T6" fmla="*/ 190 w 201"/>
                  <a:gd name="T7" fmla="*/ 110 h 216"/>
                  <a:gd name="T8" fmla="*/ 187 w 201"/>
                  <a:gd name="T9" fmla="*/ 107 h 216"/>
                  <a:gd name="T10" fmla="*/ 183 w 201"/>
                  <a:gd name="T11" fmla="*/ 106 h 216"/>
                  <a:gd name="T12" fmla="*/ 181 w 201"/>
                  <a:gd name="T13" fmla="*/ 101 h 216"/>
                  <a:gd name="T14" fmla="*/ 179 w 201"/>
                  <a:gd name="T15" fmla="*/ 96 h 216"/>
                  <a:gd name="T16" fmla="*/ 174 w 201"/>
                  <a:gd name="T17" fmla="*/ 89 h 216"/>
                  <a:gd name="T18" fmla="*/ 168 w 201"/>
                  <a:gd name="T19" fmla="*/ 84 h 216"/>
                  <a:gd name="T20" fmla="*/ 158 w 201"/>
                  <a:gd name="T21" fmla="*/ 78 h 216"/>
                  <a:gd name="T22" fmla="*/ 147 w 201"/>
                  <a:gd name="T23" fmla="*/ 63 h 216"/>
                  <a:gd name="T24" fmla="*/ 126 w 201"/>
                  <a:gd name="T25" fmla="*/ 46 h 216"/>
                  <a:gd name="T26" fmla="*/ 116 w 201"/>
                  <a:gd name="T27" fmla="*/ 35 h 216"/>
                  <a:gd name="T28" fmla="*/ 111 w 201"/>
                  <a:gd name="T29" fmla="*/ 27 h 216"/>
                  <a:gd name="T30" fmla="*/ 96 w 201"/>
                  <a:gd name="T31" fmla="*/ 19 h 216"/>
                  <a:gd name="T32" fmla="*/ 92 w 201"/>
                  <a:gd name="T33" fmla="*/ 14 h 216"/>
                  <a:gd name="T34" fmla="*/ 97 w 201"/>
                  <a:gd name="T35" fmla="*/ 8 h 216"/>
                  <a:gd name="T36" fmla="*/ 103 w 201"/>
                  <a:gd name="T37" fmla="*/ 4 h 216"/>
                  <a:gd name="T38" fmla="*/ 104 w 201"/>
                  <a:gd name="T39" fmla="*/ 0 h 216"/>
                  <a:gd name="T40" fmla="*/ 48 w 201"/>
                  <a:gd name="T41" fmla="*/ 6 h 216"/>
                  <a:gd name="T42" fmla="*/ 0 w 201"/>
                  <a:gd name="T43" fmla="*/ 10 h 216"/>
                  <a:gd name="T44" fmla="*/ 11 w 201"/>
                  <a:gd name="T45" fmla="*/ 58 h 216"/>
                  <a:gd name="T46" fmla="*/ 25 w 201"/>
                  <a:gd name="T47" fmla="*/ 107 h 216"/>
                  <a:gd name="T48" fmla="*/ 38 w 201"/>
                  <a:gd name="T49" fmla="*/ 128 h 216"/>
                  <a:gd name="T50" fmla="*/ 39 w 201"/>
                  <a:gd name="T51" fmla="*/ 137 h 216"/>
                  <a:gd name="T52" fmla="*/ 40 w 201"/>
                  <a:gd name="T53" fmla="*/ 144 h 216"/>
                  <a:gd name="T54" fmla="*/ 39 w 201"/>
                  <a:gd name="T55" fmla="*/ 150 h 216"/>
                  <a:gd name="T56" fmla="*/ 35 w 201"/>
                  <a:gd name="T57" fmla="*/ 157 h 216"/>
                  <a:gd name="T58" fmla="*/ 37 w 201"/>
                  <a:gd name="T59" fmla="*/ 172 h 216"/>
                  <a:gd name="T60" fmla="*/ 40 w 201"/>
                  <a:gd name="T61" fmla="*/ 182 h 216"/>
                  <a:gd name="T62" fmla="*/ 37 w 201"/>
                  <a:gd name="T63" fmla="*/ 186 h 216"/>
                  <a:gd name="T64" fmla="*/ 41 w 201"/>
                  <a:gd name="T65" fmla="*/ 193 h 216"/>
                  <a:gd name="T66" fmla="*/ 46 w 201"/>
                  <a:gd name="T67" fmla="*/ 201 h 216"/>
                  <a:gd name="T68" fmla="*/ 160 w 201"/>
                  <a:gd name="T69" fmla="*/ 207 h 216"/>
                  <a:gd name="T70" fmla="*/ 169 w 201"/>
                  <a:gd name="T71" fmla="*/ 216 h 216"/>
                  <a:gd name="T72" fmla="*/ 166 w 201"/>
                  <a:gd name="T73" fmla="*/ 193 h 216"/>
                  <a:gd name="T74" fmla="*/ 183 w 201"/>
                  <a:gd name="T75" fmla="*/ 196 h 216"/>
                  <a:gd name="T76" fmla="*/ 185 w 201"/>
                  <a:gd name="T77" fmla="*/ 189 h 216"/>
                  <a:gd name="T78" fmla="*/ 182 w 201"/>
                  <a:gd name="T79" fmla="*/ 187 h 216"/>
                  <a:gd name="T80" fmla="*/ 180 w 201"/>
                  <a:gd name="T81" fmla="*/ 183 h 216"/>
                  <a:gd name="T82" fmla="*/ 185 w 201"/>
                  <a:gd name="T83" fmla="*/ 183 h 216"/>
                  <a:gd name="T84" fmla="*/ 183 w 201"/>
                  <a:gd name="T85" fmla="*/ 177 h 216"/>
                  <a:gd name="T86" fmla="*/ 188 w 201"/>
                  <a:gd name="T87" fmla="*/ 174 h 216"/>
                  <a:gd name="T88" fmla="*/ 187 w 201"/>
                  <a:gd name="T89" fmla="*/ 168 h 216"/>
                  <a:gd name="T90" fmla="*/ 188 w 201"/>
                  <a:gd name="T91" fmla="*/ 165 h 216"/>
                  <a:gd name="T92" fmla="*/ 189 w 201"/>
                  <a:gd name="T93" fmla="*/ 161 h 216"/>
                  <a:gd name="T94" fmla="*/ 189 w 201"/>
                  <a:gd name="T95" fmla="*/ 151 h 216"/>
                  <a:gd name="T96" fmla="*/ 194 w 201"/>
                  <a:gd name="T97" fmla="*/ 152 h 216"/>
                  <a:gd name="T98" fmla="*/ 193 w 201"/>
                  <a:gd name="T99" fmla="*/ 149 h 216"/>
                  <a:gd name="T100" fmla="*/ 189 w 201"/>
                  <a:gd name="T101" fmla="*/ 144 h 216"/>
                  <a:gd name="T102" fmla="*/ 196 w 201"/>
                  <a:gd name="T103" fmla="*/ 144 h 216"/>
                  <a:gd name="T104" fmla="*/ 193 w 201"/>
                  <a:gd name="T105" fmla="*/ 141 h 216"/>
                  <a:gd name="T106" fmla="*/ 192 w 201"/>
                  <a:gd name="T107" fmla="*/ 137 h 216"/>
                  <a:gd name="T108" fmla="*/ 197 w 201"/>
                  <a:gd name="T109" fmla="*/ 138 h 216"/>
                  <a:gd name="T110" fmla="*/ 199 w 201"/>
                  <a:gd name="T111" fmla="*/ 134 h 216"/>
                  <a:gd name="T112" fmla="*/ 201 w 201"/>
                  <a:gd name="T113" fmla="*/ 130 h 216"/>
                  <a:gd name="T114" fmla="*/ 198 w 201"/>
                  <a:gd name="T115" fmla="*/ 12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216">
                    <a:moveTo>
                      <a:pt x="198" y="128"/>
                    </a:moveTo>
                    <a:cubicBezTo>
                      <a:pt x="196" y="127"/>
                      <a:pt x="196" y="127"/>
                      <a:pt x="196" y="127"/>
                    </a:cubicBezTo>
                    <a:cubicBezTo>
                      <a:pt x="195" y="124"/>
                      <a:pt x="195" y="124"/>
                      <a:pt x="195" y="124"/>
                    </a:cubicBezTo>
                    <a:cubicBezTo>
                      <a:pt x="195" y="120"/>
                      <a:pt x="195" y="120"/>
                      <a:pt x="195" y="120"/>
                    </a:cubicBezTo>
                    <a:cubicBezTo>
                      <a:pt x="195" y="119"/>
                      <a:pt x="195" y="119"/>
                      <a:pt x="195" y="119"/>
                    </a:cubicBezTo>
                    <a:cubicBezTo>
                      <a:pt x="191" y="115"/>
                      <a:pt x="191" y="115"/>
                      <a:pt x="191" y="115"/>
                    </a:cubicBezTo>
                    <a:cubicBezTo>
                      <a:pt x="190" y="112"/>
                      <a:pt x="190" y="112"/>
                      <a:pt x="190" y="112"/>
                    </a:cubicBezTo>
                    <a:cubicBezTo>
                      <a:pt x="190" y="110"/>
                      <a:pt x="190" y="110"/>
                      <a:pt x="190" y="110"/>
                    </a:cubicBezTo>
                    <a:cubicBezTo>
                      <a:pt x="190" y="109"/>
                      <a:pt x="190" y="109"/>
                      <a:pt x="190" y="109"/>
                    </a:cubicBezTo>
                    <a:cubicBezTo>
                      <a:pt x="187" y="107"/>
                      <a:pt x="187" y="107"/>
                      <a:pt x="187" y="107"/>
                    </a:cubicBezTo>
                    <a:cubicBezTo>
                      <a:pt x="184" y="106"/>
                      <a:pt x="184" y="106"/>
                      <a:pt x="184" y="106"/>
                    </a:cubicBezTo>
                    <a:cubicBezTo>
                      <a:pt x="183" y="106"/>
                      <a:pt x="183" y="106"/>
                      <a:pt x="183" y="106"/>
                    </a:cubicBezTo>
                    <a:cubicBezTo>
                      <a:pt x="182" y="104"/>
                      <a:pt x="182" y="104"/>
                      <a:pt x="182" y="104"/>
                    </a:cubicBezTo>
                    <a:cubicBezTo>
                      <a:pt x="181" y="101"/>
                      <a:pt x="181" y="101"/>
                      <a:pt x="181" y="101"/>
                    </a:cubicBezTo>
                    <a:cubicBezTo>
                      <a:pt x="181" y="99"/>
                      <a:pt x="181" y="99"/>
                      <a:pt x="181" y="99"/>
                    </a:cubicBezTo>
                    <a:cubicBezTo>
                      <a:pt x="179" y="96"/>
                      <a:pt x="179" y="96"/>
                      <a:pt x="179" y="96"/>
                    </a:cubicBezTo>
                    <a:cubicBezTo>
                      <a:pt x="176" y="91"/>
                      <a:pt x="176" y="91"/>
                      <a:pt x="176" y="91"/>
                    </a:cubicBezTo>
                    <a:cubicBezTo>
                      <a:pt x="174" y="89"/>
                      <a:pt x="174" y="89"/>
                      <a:pt x="174" y="89"/>
                    </a:cubicBezTo>
                    <a:cubicBezTo>
                      <a:pt x="171" y="87"/>
                      <a:pt x="171" y="87"/>
                      <a:pt x="171" y="87"/>
                    </a:cubicBezTo>
                    <a:cubicBezTo>
                      <a:pt x="168" y="84"/>
                      <a:pt x="168" y="84"/>
                      <a:pt x="168" y="84"/>
                    </a:cubicBezTo>
                    <a:cubicBezTo>
                      <a:pt x="165" y="81"/>
                      <a:pt x="165" y="81"/>
                      <a:pt x="165" y="81"/>
                    </a:cubicBezTo>
                    <a:cubicBezTo>
                      <a:pt x="158" y="78"/>
                      <a:pt x="158" y="78"/>
                      <a:pt x="158" y="78"/>
                    </a:cubicBezTo>
                    <a:cubicBezTo>
                      <a:pt x="153" y="71"/>
                      <a:pt x="153" y="71"/>
                      <a:pt x="153" y="71"/>
                    </a:cubicBezTo>
                    <a:cubicBezTo>
                      <a:pt x="147" y="63"/>
                      <a:pt x="147" y="63"/>
                      <a:pt x="147" y="63"/>
                    </a:cubicBezTo>
                    <a:cubicBezTo>
                      <a:pt x="142" y="59"/>
                      <a:pt x="142" y="59"/>
                      <a:pt x="142" y="59"/>
                    </a:cubicBezTo>
                    <a:cubicBezTo>
                      <a:pt x="126" y="46"/>
                      <a:pt x="126" y="46"/>
                      <a:pt x="126" y="46"/>
                    </a:cubicBezTo>
                    <a:cubicBezTo>
                      <a:pt x="121" y="40"/>
                      <a:pt x="121" y="40"/>
                      <a:pt x="121" y="40"/>
                    </a:cubicBezTo>
                    <a:cubicBezTo>
                      <a:pt x="116" y="35"/>
                      <a:pt x="116" y="35"/>
                      <a:pt x="116" y="35"/>
                    </a:cubicBezTo>
                    <a:cubicBezTo>
                      <a:pt x="114" y="31"/>
                      <a:pt x="114" y="31"/>
                      <a:pt x="114" y="31"/>
                    </a:cubicBezTo>
                    <a:cubicBezTo>
                      <a:pt x="111" y="27"/>
                      <a:pt x="111" y="27"/>
                      <a:pt x="111" y="27"/>
                    </a:cubicBezTo>
                    <a:cubicBezTo>
                      <a:pt x="108" y="24"/>
                      <a:pt x="108" y="24"/>
                      <a:pt x="108" y="24"/>
                    </a:cubicBezTo>
                    <a:cubicBezTo>
                      <a:pt x="96" y="19"/>
                      <a:pt x="96" y="19"/>
                      <a:pt x="96" y="19"/>
                    </a:cubicBezTo>
                    <a:cubicBezTo>
                      <a:pt x="94" y="16"/>
                      <a:pt x="94" y="16"/>
                      <a:pt x="94" y="16"/>
                    </a:cubicBezTo>
                    <a:cubicBezTo>
                      <a:pt x="92" y="14"/>
                      <a:pt x="92" y="14"/>
                      <a:pt x="92" y="14"/>
                    </a:cubicBezTo>
                    <a:cubicBezTo>
                      <a:pt x="92" y="11"/>
                      <a:pt x="92" y="11"/>
                      <a:pt x="92" y="11"/>
                    </a:cubicBezTo>
                    <a:cubicBezTo>
                      <a:pt x="97" y="8"/>
                      <a:pt x="97" y="8"/>
                      <a:pt x="97" y="8"/>
                    </a:cubicBezTo>
                    <a:cubicBezTo>
                      <a:pt x="101" y="5"/>
                      <a:pt x="101" y="5"/>
                      <a:pt x="101" y="5"/>
                    </a:cubicBezTo>
                    <a:cubicBezTo>
                      <a:pt x="103" y="4"/>
                      <a:pt x="103" y="4"/>
                      <a:pt x="103" y="4"/>
                    </a:cubicBezTo>
                    <a:cubicBezTo>
                      <a:pt x="103" y="2"/>
                      <a:pt x="103" y="2"/>
                      <a:pt x="103" y="2"/>
                    </a:cubicBezTo>
                    <a:cubicBezTo>
                      <a:pt x="104" y="0"/>
                      <a:pt x="104" y="0"/>
                      <a:pt x="104" y="0"/>
                    </a:cubicBezTo>
                    <a:cubicBezTo>
                      <a:pt x="104" y="0"/>
                      <a:pt x="104" y="0"/>
                      <a:pt x="104" y="0"/>
                    </a:cubicBezTo>
                    <a:cubicBezTo>
                      <a:pt x="48" y="6"/>
                      <a:pt x="48" y="6"/>
                      <a:pt x="48" y="6"/>
                    </a:cubicBezTo>
                    <a:cubicBezTo>
                      <a:pt x="48" y="6"/>
                      <a:pt x="48" y="6"/>
                      <a:pt x="48" y="6"/>
                    </a:cubicBezTo>
                    <a:cubicBezTo>
                      <a:pt x="0" y="10"/>
                      <a:pt x="0" y="10"/>
                      <a:pt x="0" y="10"/>
                    </a:cubicBezTo>
                    <a:cubicBezTo>
                      <a:pt x="3" y="24"/>
                      <a:pt x="3" y="24"/>
                      <a:pt x="3" y="24"/>
                    </a:cubicBezTo>
                    <a:cubicBezTo>
                      <a:pt x="11" y="58"/>
                      <a:pt x="11" y="58"/>
                      <a:pt x="11" y="58"/>
                    </a:cubicBezTo>
                    <a:cubicBezTo>
                      <a:pt x="23" y="98"/>
                      <a:pt x="23" y="98"/>
                      <a:pt x="23" y="98"/>
                    </a:cubicBezTo>
                    <a:cubicBezTo>
                      <a:pt x="25" y="107"/>
                      <a:pt x="25" y="107"/>
                      <a:pt x="25" y="107"/>
                    </a:cubicBezTo>
                    <a:cubicBezTo>
                      <a:pt x="33" y="122"/>
                      <a:pt x="33" y="122"/>
                      <a:pt x="33" y="122"/>
                    </a:cubicBezTo>
                    <a:cubicBezTo>
                      <a:pt x="38" y="128"/>
                      <a:pt x="38" y="128"/>
                      <a:pt x="38" y="128"/>
                    </a:cubicBezTo>
                    <a:cubicBezTo>
                      <a:pt x="38" y="132"/>
                      <a:pt x="38" y="132"/>
                      <a:pt x="38" y="132"/>
                    </a:cubicBezTo>
                    <a:cubicBezTo>
                      <a:pt x="39" y="137"/>
                      <a:pt x="39" y="137"/>
                      <a:pt x="39" y="137"/>
                    </a:cubicBezTo>
                    <a:cubicBezTo>
                      <a:pt x="42" y="139"/>
                      <a:pt x="42" y="139"/>
                      <a:pt x="42" y="139"/>
                    </a:cubicBezTo>
                    <a:cubicBezTo>
                      <a:pt x="40" y="144"/>
                      <a:pt x="40" y="144"/>
                      <a:pt x="40" y="144"/>
                    </a:cubicBezTo>
                    <a:cubicBezTo>
                      <a:pt x="35" y="147"/>
                      <a:pt x="35" y="147"/>
                      <a:pt x="35" y="147"/>
                    </a:cubicBezTo>
                    <a:cubicBezTo>
                      <a:pt x="39" y="150"/>
                      <a:pt x="39" y="150"/>
                      <a:pt x="39" y="150"/>
                    </a:cubicBezTo>
                    <a:cubicBezTo>
                      <a:pt x="38" y="155"/>
                      <a:pt x="38" y="155"/>
                      <a:pt x="38" y="155"/>
                    </a:cubicBezTo>
                    <a:cubicBezTo>
                      <a:pt x="35" y="157"/>
                      <a:pt x="35" y="157"/>
                      <a:pt x="35" y="157"/>
                    </a:cubicBezTo>
                    <a:cubicBezTo>
                      <a:pt x="35" y="163"/>
                      <a:pt x="35" y="163"/>
                      <a:pt x="35" y="163"/>
                    </a:cubicBezTo>
                    <a:cubicBezTo>
                      <a:pt x="37" y="172"/>
                      <a:pt x="37" y="172"/>
                      <a:pt x="37" y="172"/>
                    </a:cubicBezTo>
                    <a:cubicBezTo>
                      <a:pt x="39" y="176"/>
                      <a:pt x="39" y="176"/>
                      <a:pt x="39" y="176"/>
                    </a:cubicBezTo>
                    <a:cubicBezTo>
                      <a:pt x="40" y="182"/>
                      <a:pt x="40" y="182"/>
                      <a:pt x="40" y="182"/>
                    </a:cubicBezTo>
                    <a:cubicBezTo>
                      <a:pt x="38" y="184"/>
                      <a:pt x="38" y="184"/>
                      <a:pt x="38" y="184"/>
                    </a:cubicBezTo>
                    <a:cubicBezTo>
                      <a:pt x="37" y="186"/>
                      <a:pt x="37" y="186"/>
                      <a:pt x="37" y="186"/>
                    </a:cubicBezTo>
                    <a:cubicBezTo>
                      <a:pt x="39" y="190"/>
                      <a:pt x="39" y="190"/>
                      <a:pt x="39" y="190"/>
                    </a:cubicBezTo>
                    <a:cubicBezTo>
                      <a:pt x="41" y="193"/>
                      <a:pt x="41" y="193"/>
                      <a:pt x="41" y="193"/>
                    </a:cubicBezTo>
                    <a:cubicBezTo>
                      <a:pt x="45" y="199"/>
                      <a:pt x="45" y="199"/>
                      <a:pt x="45" y="199"/>
                    </a:cubicBezTo>
                    <a:cubicBezTo>
                      <a:pt x="46" y="201"/>
                      <a:pt x="46" y="201"/>
                      <a:pt x="46" y="201"/>
                    </a:cubicBezTo>
                    <a:cubicBezTo>
                      <a:pt x="52" y="213"/>
                      <a:pt x="52" y="213"/>
                      <a:pt x="52" y="213"/>
                    </a:cubicBezTo>
                    <a:cubicBezTo>
                      <a:pt x="160" y="207"/>
                      <a:pt x="160" y="207"/>
                      <a:pt x="160" y="207"/>
                    </a:cubicBezTo>
                    <a:cubicBezTo>
                      <a:pt x="161" y="216"/>
                      <a:pt x="161" y="216"/>
                      <a:pt x="161" y="216"/>
                    </a:cubicBezTo>
                    <a:cubicBezTo>
                      <a:pt x="169" y="216"/>
                      <a:pt x="169" y="216"/>
                      <a:pt x="169" y="216"/>
                    </a:cubicBezTo>
                    <a:cubicBezTo>
                      <a:pt x="166" y="193"/>
                      <a:pt x="166" y="193"/>
                      <a:pt x="166" y="193"/>
                    </a:cubicBezTo>
                    <a:cubicBezTo>
                      <a:pt x="166" y="193"/>
                      <a:pt x="166" y="193"/>
                      <a:pt x="166" y="193"/>
                    </a:cubicBezTo>
                    <a:cubicBezTo>
                      <a:pt x="173" y="194"/>
                      <a:pt x="173" y="194"/>
                      <a:pt x="173" y="194"/>
                    </a:cubicBezTo>
                    <a:cubicBezTo>
                      <a:pt x="183" y="196"/>
                      <a:pt x="183" y="196"/>
                      <a:pt x="183" y="196"/>
                    </a:cubicBezTo>
                    <a:cubicBezTo>
                      <a:pt x="184" y="193"/>
                      <a:pt x="184" y="193"/>
                      <a:pt x="184" y="193"/>
                    </a:cubicBezTo>
                    <a:cubicBezTo>
                      <a:pt x="184" y="193"/>
                      <a:pt x="185" y="189"/>
                      <a:pt x="185" y="189"/>
                    </a:cubicBezTo>
                    <a:cubicBezTo>
                      <a:pt x="185" y="188"/>
                      <a:pt x="184" y="188"/>
                      <a:pt x="184" y="188"/>
                    </a:cubicBezTo>
                    <a:cubicBezTo>
                      <a:pt x="184" y="188"/>
                      <a:pt x="183" y="187"/>
                      <a:pt x="182" y="187"/>
                    </a:cubicBezTo>
                    <a:cubicBezTo>
                      <a:pt x="181" y="186"/>
                      <a:pt x="181" y="185"/>
                      <a:pt x="180" y="184"/>
                    </a:cubicBezTo>
                    <a:cubicBezTo>
                      <a:pt x="179" y="183"/>
                      <a:pt x="180" y="183"/>
                      <a:pt x="180" y="183"/>
                    </a:cubicBezTo>
                    <a:cubicBezTo>
                      <a:pt x="182" y="183"/>
                      <a:pt x="182" y="183"/>
                      <a:pt x="182" y="183"/>
                    </a:cubicBezTo>
                    <a:cubicBezTo>
                      <a:pt x="185" y="183"/>
                      <a:pt x="185" y="183"/>
                      <a:pt x="185" y="183"/>
                    </a:cubicBezTo>
                    <a:cubicBezTo>
                      <a:pt x="185" y="183"/>
                      <a:pt x="184" y="181"/>
                      <a:pt x="184" y="179"/>
                    </a:cubicBezTo>
                    <a:cubicBezTo>
                      <a:pt x="183" y="177"/>
                      <a:pt x="183" y="177"/>
                      <a:pt x="183" y="177"/>
                    </a:cubicBezTo>
                    <a:cubicBezTo>
                      <a:pt x="186" y="176"/>
                      <a:pt x="186" y="176"/>
                      <a:pt x="186" y="176"/>
                    </a:cubicBezTo>
                    <a:cubicBezTo>
                      <a:pt x="188" y="174"/>
                      <a:pt x="188" y="174"/>
                      <a:pt x="188" y="174"/>
                    </a:cubicBezTo>
                    <a:cubicBezTo>
                      <a:pt x="190" y="169"/>
                      <a:pt x="190" y="169"/>
                      <a:pt x="190" y="169"/>
                    </a:cubicBezTo>
                    <a:cubicBezTo>
                      <a:pt x="187" y="168"/>
                      <a:pt x="187" y="168"/>
                      <a:pt x="187" y="168"/>
                    </a:cubicBezTo>
                    <a:cubicBezTo>
                      <a:pt x="187" y="168"/>
                      <a:pt x="187" y="167"/>
                      <a:pt x="187" y="167"/>
                    </a:cubicBezTo>
                    <a:cubicBezTo>
                      <a:pt x="187" y="166"/>
                      <a:pt x="188" y="166"/>
                      <a:pt x="188" y="165"/>
                    </a:cubicBezTo>
                    <a:cubicBezTo>
                      <a:pt x="188" y="165"/>
                      <a:pt x="189" y="164"/>
                      <a:pt x="189" y="164"/>
                    </a:cubicBezTo>
                    <a:cubicBezTo>
                      <a:pt x="189" y="161"/>
                      <a:pt x="189" y="161"/>
                      <a:pt x="189" y="161"/>
                    </a:cubicBezTo>
                    <a:cubicBezTo>
                      <a:pt x="189" y="154"/>
                      <a:pt x="189" y="154"/>
                      <a:pt x="189" y="154"/>
                    </a:cubicBezTo>
                    <a:cubicBezTo>
                      <a:pt x="189" y="151"/>
                      <a:pt x="189" y="151"/>
                      <a:pt x="189" y="151"/>
                    </a:cubicBezTo>
                    <a:cubicBezTo>
                      <a:pt x="189" y="151"/>
                      <a:pt x="191" y="151"/>
                      <a:pt x="192" y="151"/>
                    </a:cubicBezTo>
                    <a:cubicBezTo>
                      <a:pt x="192" y="151"/>
                      <a:pt x="194" y="152"/>
                      <a:pt x="194" y="152"/>
                    </a:cubicBezTo>
                    <a:cubicBezTo>
                      <a:pt x="194" y="152"/>
                      <a:pt x="195" y="151"/>
                      <a:pt x="195" y="150"/>
                    </a:cubicBezTo>
                    <a:cubicBezTo>
                      <a:pt x="195" y="150"/>
                      <a:pt x="195" y="150"/>
                      <a:pt x="193" y="149"/>
                    </a:cubicBezTo>
                    <a:cubicBezTo>
                      <a:pt x="192" y="148"/>
                      <a:pt x="190" y="147"/>
                      <a:pt x="190" y="147"/>
                    </a:cubicBezTo>
                    <a:cubicBezTo>
                      <a:pt x="190" y="146"/>
                      <a:pt x="189" y="144"/>
                      <a:pt x="189" y="144"/>
                    </a:cubicBezTo>
                    <a:cubicBezTo>
                      <a:pt x="191" y="144"/>
                      <a:pt x="191" y="144"/>
                      <a:pt x="191" y="144"/>
                    </a:cubicBezTo>
                    <a:cubicBezTo>
                      <a:pt x="196" y="144"/>
                      <a:pt x="196" y="144"/>
                      <a:pt x="196" y="144"/>
                    </a:cubicBezTo>
                    <a:cubicBezTo>
                      <a:pt x="197" y="141"/>
                      <a:pt x="197" y="141"/>
                      <a:pt x="197" y="141"/>
                    </a:cubicBezTo>
                    <a:cubicBezTo>
                      <a:pt x="197" y="141"/>
                      <a:pt x="193" y="141"/>
                      <a:pt x="193" y="141"/>
                    </a:cubicBezTo>
                    <a:cubicBezTo>
                      <a:pt x="193" y="141"/>
                      <a:pt x="191" y="139"/>
                      <a:pt x="191" y="139"/>
                    </a:cubicBezTo>
                    <a:cubicBezTo>
                      <a:pt x="192" y="137"/>
                      <a:pt x="192" y="137"/>
                      <a:pt x="192" y="137"/>
                    </a:cubicBezTo>
                    <a:cubicBezTo>
                      <a:pt x="193" y="138"/>
                      <a:pt x="193" y="138"/>
                      <a:pt x="193" y="138"/>
                    </a:cubicBezTo>
                    <a:cubicBezTo>
                      <a:pt x="197" y="138"/>
                      <a:pt x="197" y="138"/>
                      <a:pt x="197" y="138"/>
                    </a:cubicBezTo>
                    <a:cubicBezTo>
                      <a:pt x="199" y="137"/>
                      <a:pt x="199" y="137"/>
                      <a:pt x="199" y="137"/>
                    </a:cubicBezTo>
                    <a:cubicBezTo>
                      <a:pt x="199" y="134"/>
                      <a:pt x="199" y="134"/>
                      <a:pt x="199" y="134"/>
                    </a:cubicBezTo>
                    <a:cubicBezTo>
                      <a:pt x="199" y="132"/>
                      <a:pt x="199" y="132"/>
                      <a:pt x="199" y="132"/>
                    </a:cubicBezTo>
                    <a:cubicBezTo>
                      <a:pt x="201" y="130"/>
                      <a:pt x="201" y="130"/>
                      <a:pt x="201" y="130"/>
                    </a:cubicBezTo>
                    <a:cubicBezTo>
                      <a:pt x="200" y="129"/>
                      <a:pt x="200" y="129"/>
                      <a:pt x="200" y="129"/>
                    </a:cubicBezTo>
                    <a:lnTo>
                      <a:pt x="198" y="128"/>
                    </a:lnTo>
                    <a:close/>
                  </a:path>
                </a:pathLst>
              </a:custGeom>
              <a:grpFill/>
              <a:ln w="6350" cap="flat">
                <a:solidFill>
                  <a:srgbClr val="FFFFFF"/>
                </a:solidFill>
                <a:prstDash val="solid"/>
                <a:miter lim="800000"/>
                <a:headEnd/>
                <a:tailEnd/>
              </a:ln>
            </p:spPr>
            <p:txBody>
              <a:bodyPr/>
              <a:lstStyle/>
              <a:p>
                <a:pPr defTabSz="685663">
                  <a:defRPr/>
                </a:pPr>
                <a:endParaRPr lang="en-US" sz="675" dirty="0">
                  <a:solidFill>
                    <a:schemeClr val="accent6"/>
                  </a:solidFill>
                  <a:latin typeface="Arial" panose="020B0604020202020204" pitchFamily="34" charset="0"/>
                  <a:cs typeface="Arial" panose="020B0604020202020204" pitchFamily="34" charset="0"/>
                </a:endParaRPr>
              </a:p>
            </p:txBody>
          </p:sp>
          <p:sp>
            <p:nvSpPr>
              <p:cNvPr id="350" name="Freeform 39">
                <a:extLst>
                  <a:ext uri="{FF2B5EF4-FFF2-40B4-BE49-F238E27FC236}">
                    <a16:creationId xmlns:a16="http://schemas.microsoft.com/office/drawing/2014/main" id="{3B54FEDB-4B1D-5749-BB37-26DEB622A756}"/>
                  </a:ext>
                </a:extLst>
              </p:cNvPr>
              <p:cNvSpPr>
                <a:spLocks/>
              </p:cNvSpPr>
              <p:nvPr/>
            </p:nvSpPr>
            <p:spPr bwMode="auto">
              <a:xfrm>
                <a:off x="19197576" y="7885712"/>
                <a:ext cx="1655235" cy="927974"/>
              </a:xfrm>
              <a:custGeom>
                <a:avLst/>
                <a:gdLst>
                  <a:gd name="T0" fmla="*/ 169 w 248"/>
                  <a:gd name="T1" fmla="*/ 118 h 139"/>
                  <a:gd name="T2" fmla="*/ 248 w 248"/>
                  <a:gd name="T3" fmla="*/ 101 h 139"/>
                  <a:gd name="T4" fmla="*/ 246 w 248"/>
                  <a:gd name="T5" fmla="*/ 93 h 139"/>
                  <a:gd name="T6" fmla="*/ 239 w 248"/>
                  <a:gd name="T7" fmla="*/ 86 h 139"/>
                  <a:gd name="T8" fmla="*/ 232 w 248"/>
                  <a:gd name="T9" fmla="*/ 83 h 139"/>
                  <a:gd name="T10" fmla="*/ 228 w 248"/>
                  <a:gd name="T11" fmla="*/ 78 h 139"/>
                  <a:gd name="T12" fmla="*/ 224 w 248"/>
                  <a:gd name="T13" fmla="*/ 72 h 139"/>
                  <a:gd name="T14" fmla="*/ 226 w 248"/>
                  <a:gd name="T15" fmla="*/ 68 h 139"/>
                  <a:gd name="T16" fmla="*/ 228 w 248"/>
                  <a:gd name="T17" fmla="*/ 67 h 139"/>
                  <a:gd name="T18" fmla="*/ 224 w 248"/>
                  <a:gd name="T19" fmla="*/ 63 h 139"/>
                  <a:gd name="T20" fmla="*/ 211 w 248"/>
                  <a:gd name="T21" fmla="*/ 54 h 139"/>
                  <a:gd name="T22" fmla="*/ 215 w 248"/>
                  <a:gd name="T23" fmla="*/ 55 h 139"/>
                  <a:gd name="T24" fmla="*/ 221 w 248"/>
                  <a:gd name="T25" fmla="*/ 59 h 139"/>
                  <a:gd name="T26" fmla="*/ 225 w 248"/>
                  <a:gd name="T27" fmla="*/ 56 h 139"/>
                  <a:gd name="T28" fmla="*/ 225 w 248"/>
                  <a:gd name="T29" fmla="*/ 48 h 139"/>
                  <a:gd name="T30" fmla="*/ 215 w 248"/>
                  <a:gd name="T31" fmla="*/ 45 h 139"/>
                  <a:gd name="T32" fmla="*/ 211 w 248"/>
                  <a:gd name="T33" fmla="*/ 41 h 139"/>
                  <a:gd name="T34" fmla="*/ 207 w 248"/>
                  <a:gd name="T35" fmla="*/ 43 h 139"/>
                  <a:gd name="T36" fmla="*/ 199 w 248"/>
                  <a:gd name="T37" fmla="*/ 37 h 139"/>
                  <a:gd name="T38" fmla="*/ 193 w 248"/>
                  <a:gd name="T39" fmla="*/ 37 h 139"/>
                  <a:gd name="T40" fmla="*/ 188 w 248"/>
                  <a:gd name="T41" fmla="*/ 36 h 139"/>
                  <a:gd name="T42" fmla="*/ 191 w 248"/>
                  <a:gd name="T43" fmla="*/ 24 h 139"/>
                  <a:gd name="T44" fmla="*/ 192 w 248"/>
                  <a:gd name="T45" fmla="*/ 17 h 139"/>
                  <a:gd name="T46" fmla="*/ 183 w 248"/>
                  <a:gd name="T47" fmla="*/ 10 h 139"/>
                  <a:gd name="T48" fmla="*/ 171 w 248"/>
                  <a:gd name="T49" fmla="*/ 5 h 139"/>
                  <a:gd name="T50" fmla="*/ 166 w 248"/>
                  <a:gd name="T51" fmla="*/ 8 h 139"/>
                  <a:gd name="T52" fmla="*/ 151 w 248"/>
                  <a:gd name="T53" fmla="*/ 0 h 139"/>
                  <a:gd name="T54" fmla="*/ 149 w 248"/>
                  <a:gd name="T55" fmla="*/ 15 h 139"/>
                  <a:gd name="T56" fmla="*/ 144 w 248"/>
                  <a:gd name="T57" fmla="*/ 21 h 139"/>
                  <a:gd name="T58" fmla="*/ 138 w 248"/>
                  <a:gd name="T59" fmla="*/ 28 h 139"/>
                  <a:gd name="T60" fmla="*/ 134 w 248"/>
                  <a:gd name="T61" fmla="*/ 28 h 139"/>
                  <a:gd name="T62" fmla="*/ 131 w 248"/>
                  <a:gd name="T63" fmla="*/ 36 h 139"/>
                  <a:gd name="T64" fmla="*/ 127 w 248"/>
                  <a:gd name="T65" fmla="*/ 46 h 139"/>
                  <a:gd name="T66" fmla="*/ 120 w 248"/>
                  <a:gd name="T67" fmla="*/ 43 h 139"/>
                  <a:gd name="T68" fmla="*/ 115 w 248"/>
                  <a:gd name="T69" fmla="*/ 48 h 139"/>
                  <a:gd name="T70" fmla="*/ 109 w 248"/>
                  <a:gd name="T71" fmla="*/ 68 h 139"/>
                  <a:gd name="T72" fmla="*/ 103 w 248"/>
                  <a:gd name="T73" fmla="*/ 78 h 139"/>
                  <a:gd name="T74" fmla="*/ 100 w 248"/>
                  <a:gd name="T75" fmla="*/ 89 h 139"/>
                  <a:gd name="T76" fmla="*/ 82 w 248"/>
                  <a:gd name="T77" fmla="*/ 101 h 139"/>
                  <a:gd name="T78" fmla="*/ 69 w 248"/>
                  <a:gd name="T79" fmla="*/ 100 h 139"/>
                  <a:gd name="T80" fmla="*/ 61 w 248"/>
                  <a:gd name="T81" fmla="*/ 107 h 139"/>
                  <a:gd name="T82" fmla="*/ 50 w 248"/>
                  <a:gd name="T83" fmla="*/ 100 h 139"/>
                  <a:gd name="T84" fmla="*/ 46 w 248"/>
                  <a:gd name="T85" fmla="*/ 97 h 139"/>
                  <a:gd name="T86" fmla="*/ 43 w 248"/>
                  <a:gd name="T87" fmla="*/ 103 h 139"/>
                  <a:gd name="T88" fmla="*/ 28 w 248"/>
                  <a:gd name="T89" fmla="*/ 113 h 139"/>
                  <a:gd name="T90" fmla="*/ 22 w 248"/>
                  <a:gd name="T91" fmla="*/ 127 h 139"/>
                  <a:gd name="T92" fmla="*/ 15 w 248"/>
                  <a:gd name="T93" fmla="*/ 130 h 139"/>
                  <a:gd name="T94" fmla="*/ 6 w 248"/>
                  <a:gd name="T95" fmla="*/ 136 h 139"/>
                  <a:gd name="T96" fmla="*/ 64 w 248"/>
                  <a:gd name="T97" fmla="*/ 133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8" h="139">
                    <a:moveTo>
                      <a:pt x="116" y="127"/>
                    </a:moveTo>
                    <a:lnTo>
                      <a:pt x="169" y="118"/>
                    </a:lnTo>
                    <a:lnTo>
                      <a:pt x="243" y="103"/>
                    </a:lnTo>
                    <a:lnTo>
                      <a:pt x="248" y="101"/>
                    </a:lnTo>
                    <a:lnTo>
                      <a:pt x="248" y="98"/>
                    </a:lnTo>
                    <a:lnTo>
                      <a:pt x="246" y="93"/>
                    </a:lnTo>
                    <a:lnTo>
                      <a:pt x="243" y="89"/>
                    </a:lnTo>
                    <a:lnTo>
                      <a:pt x="239" y="86"/>
                    </a:lnTo>
                    <a:lnTo>
                      <a:pt x="237" y="86"/>
                    </a:lnTo>
                    <a:lnTo>
                      <a:pt x="232" y="83"/>
                    </a:lnTo>
                    <a:lnTo>
                      <a:pt x="231" y="80"/>
                    </a:lnTo>
                    <a:lnTo>
                      <a:pt x="228" y="78"/>
                    </a:lnTo>
                    <a:lnTo>
                      <a:pt x="226" y="74"/>
                    </a:lnTo>
                    <a:lnTo>
                      <a:pt x="224" y="72"/>
                    </a:lnTo>
                    <a:lnTo>
                      <a:pt x="224" y="70"/>
                    </a:lnTo>
                    <a:lnTo>
                      <a:pt x="226" y="68"/>
                    </a:lnTo>
                    <a:lnTo>
                      <a:pt x="230" y="70"/>
                    </a:lnTo>
                    <a:lnTo>
                      <a:pt x="228" y="67"/>
                    </a:lnTo>
                    <a:lnTo>
                      <a:pt x="226" y="64"/>
                    </a:lnTo>
                    <a:lnTo>
                      <a:pt x="224" y="63"/>
                    </a:lnTo>
                    <a:lnTo>
                      <a:pt x="215" y="60"/>
                    </a:lnTo>
                    <a:lnTo>
                      <a:pt x="211" y="54"/>
                    </a:lnTo>
                    <a:lnTo>
                      <a:pt x="211" y="53"/>
                    </a:lnTo>
                    <a:lnTo>
                      <a:pt x="215" y="55"/>
                    </a:lnTo>
                    <a:lnTo>
                      <a:pt x="220" y="56"/>
                    </a:lnTo>
                    <a:lnTo>
                      <a:pt x="221" y="59"/>
                    </a:lnTo>
                    <a:lnTo>
                      <a:pt x="227" y="60"/>
                    </a:lnTo>
                    <a:lnTo>
                      <a:pt x="225" y="56"/>
                    </a:lnTo>
                    <a:lnTo>
                      <a:pt x="225" y="51"/>
                    </a:lnTo>
                    <a:lnTo>
                      <a:pt x="225" y="48"/>
                    </a:lnTo>
                    <a:lnTo>
                      <a:pt x="221" y="49"/>
                    </a:lnTo>
                    <a:lnTo>
                      <a:pt x="215" y="45"/>
                    </a:lnTo>
                    <a:lnTo>
                      <a:pt x="212" y="41"/>
                    </a:lnTo>
                    <a:lnTo>
                      <a:pt x="211" y="41"/>
                    </a:lnTo>
                    <a:lnTo>
                      <a:pt x="210" y="43"/>
                    </a:lnTo>
                    <a:lnTo>
                      <a:pt x="207" y="43"/>
                    </a:lnTo>
                    <a:lnTo>
                      <a:pt x="203" y="39"/>
                    </a:lnTo>
                    <a:lnTo>
                      <a:pt x="199" y="37"/>
                    </a:lnTo>
                    <a:lnTo>
                      <a:pt x="195" y="36"/>
                    </a:lnTo>
                    <a:lnTo>
                      <a:pt x="193" y="37"/>
                    </a:lnTo>
                    <a:lnTo>
                      <a:pt x="190" y="38"/>
                    </a:lnTo>
                    <a:lnTo>
                      <a:pt x="188" y="36"/>
                    </a:lnTo>
                    <a:lnTo>
                      <a:pt x="188" y="25"/>
                    </a:lnTo>
                    <a:lnTo>
                      <a:pt x="191" y="24"/>
                    </a:lnTo>
                    <a:lnTo>
                      <a:pt x="193" y="21"/>
                    </a:lnTo>
                    <a:lnTo>
                      <a:pt x="192" y="17"/>
                    </a:lnTo>
                    <a:lnTo>
                      <a:pt x="188" y="14"/>
                    </a:lnTo>
                    <a:lnTo>
                      <a:pt x="183" y="10"/>
                    </a:lnTo>
                    <a:lnTo>
                      <a:pt x="173" y="4"/>
                    </a:lnTo>
                    <a:lnTo>
                      <a:pt x="171" y="5"/>
                    </a:lnTo>
                    <a:lnTo>
                      <a:pt x="168" y="8"/>
                    </a:lnTo>
                    <a:lnTo>
                      <a:pt x="166" y="8"/>
                    </a:lnTo>
                    <a:lnTo>
                      <a:pt x="160" y="5"/>
                    </a:lnTo>
                    <a:lnTo>
                      <a:pt x="151" y="0"/>
                    </a:lnTo>
                    <a:lnTo>
                      <a:pt x="151" y="8"/>
                    </a:lnTo>
                    <a:lnTo>
                      <a:pt x="149" y="15"/>
                    </a:lnTo>
                    <a:lnTo>
                      <a:pt x="147" y="18"/>
                    </a:lnTo>
                    <a:lnTo>
                      <a:pt x="144" y="21"/>
                    </a:lnTo>
                    <a:lnTo>
                      <a:pt x="139" y="30"/>
                    </a:lnTo>
                    <a:lnTo>
                      <a:pt x="138" y="28"/>
                    </a:lnTo>
                    <a:lnTo>
                      <a:pt x="135" y="28"/>
                    </a:lnTo>
                    <a:lnTo>
                      <a:pt x="134" y="28"/>
                    </a:lnTo>
                    <a:lnTo>
                      <a:pt x="133" y="32"/>
                    </a:lnTo>
                    <a:lnTo>
                      <a:pt x="131" y="36"/>
                    </a:lnTo>
                    <a:lnTo>
                      <a:pt x="128" y="44"/>
                    </a:lnTo>
                    <a:lnTo>
                      <a:pt x="127" y="46"/>
                    </a:lnTo>
                    <a:lnTo>
                      <a:pt x="125" y="45"/>
                    </a:lnTo>
                    <a:lnTo>
                      <a:pt x="120" y="43"/>
                    </a:lnTo>
                    <a:lnTo>
                      <a:pt x="116" y="41"/>
                    </a:lnTo>
                    <a:lnTo>
                      <a:pt x="115" y="48"/>
                    </a:lnTo>
                    <a:lnTo>
                      <a:pt x="112" y="60"/>
                    </a:lnTo>
                    <a:lnTo>
                      <a:pt x="109" y="68"/>
                    </a:lnTo>
                    <a:lnTo>
                      <a:pt x="104" y="73"/>
                    </a:lnTo>
                    <a:lnTo>
                      <a:pt x="103" y="78"/>
                    </a:lnTo>
                    <a:lnTo>
                      <a:pt x="104" y="86"/>
                    </a:lnTo>
                    <a:lnTo>
                      <a:pt x="100" y="89"/>
                    </a:lnTo>
                    <a:lnTo>
                      <a:pt x="89" y="95"/>
                    </a:lnTo>
                    <a:lnTo>
                      <a:pt x="82" y="101"/>
                    </a:lnTo>
                    <a:lnTo>
                      <a:pt x="73" y="103"/>
                    </a:lnTo>
                    <a:lnTo>
                      <a:pt x="69" y="100"/>
                    </a:lnTo>
                    <a:lnTo>
                      <a:pt x="63" y="107"/>
                    </a:lnTo>
                    <a:lnTo>
                      <a:pt x="61" y="107"/>
                    </a:lnTo>
                    <a:lnTo>
                      <a:pt x="56" y="105"/>
                    </a:lnTo>
                    <a:lnTo>
                      <a:pt x="50" y="100"/>
                    </a:lnTo>
                    <a:lnTo>
                      <a:pt x="49" y="97"/>
                    </a:lnTo>
                    <a:lnTo>
                      <a:pt x="46" y="97"/>
                    </a:lnTo>
                    <a:lnTo>
                      <a:pt x="45" y="99"/>
                    </a:lnTo>
                    <a:lnTo>
                      <a:pt x="43" y="103"/>
                    </a:lnTo>
                    <a:lnTo>
                      <a:pt x="39" y="109"/>
                    </a:lnTo>
                    <a:lnTo>
                      <a:pt x="28" y="113"/>
                    </a:lnTo>
                    <a:lnTo>
                      <a:pt x="25" y="118"/>
                    </a:lnTo>
                    <a:lnTo>
                      <a:pt x="22" y="127"/>
                    </a:lnTo>
                    <a:lnTo>
                      <a:pt x="18" y="128"/>
                    </a:lnTo>
                    <a:lnTo>
                      <a:pt x="15" y="130"/>
                    </a:lnTo>
                    <a:lnTo>
                      <a:pt x="10" y="133"/>
                    </a:lnTo>
                    <a:lnTo>
                      <a:pt x="6" y="136"/>
                    </a:lnTo>
                    <a:lnTo>
                      <a:pt x="0" y="139"/>
                    </a:lnTo>
                    <a:lnTo>
                      <a:pt x="64" y="133"/>
                    </a:lnTo>
                    <a:lnTo>
                      <a:pt x="116" y="127"/>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1" name="Freeform 40">
                <a:extLst>
                  <a:ext uri="{FF2B5EF4-FFF2-40B4-BE49-F238E27FC236}">
                    <a16:creationId xmlns:a16="http://schemas.microsoft.com/office/drawing/2014/main" id="{B7341BD8-16EE-294E-AF88-4824C4087D54}"/>
                  </a:ext>
                </a:extLst>
              </p:cNvPr>
              <p:cNvSpPr>
                <a:spLocks/>
              </p:cNvSpPr>
              <p:nvPr/>
            </p:nvSpPr>
            <p:spPr bwMode="auto">
              <a:xfrm>
                <a:off x="19344408" y="9140810"/>
                <a:ext cx="1067893" cy="827832"/>
              </a:xfrm>
              <a:custGeom>
                <a:avLst/>
                <a:gdLst>
                  <a:gd name="T0" fmla="*/ 94 w 189"/>
                  <a:gd name="T1" fmla="*/ 4 h 147"/>
                  <a:gd name="T2" fmla="*/ 79 w 189"/>
                  <a:gd name="T3" fmla="*/ 0 h 147"/>
                  <a:gd name="T4" fmla="*/ 67 w 189"/>
                  <a:gd name="T5" fmla="*/ 4 h 147"/>
                  <a:gd name="T6" fmla="*/ 58 w 189"/>
                  <a:gd name="T7" fmla="*/ 6 h 147"/>
                  <a:gd name="T8" fmla="*/ 39 w 189"/>
                  <a:gd name="T9" fmla="*/ 4 h 147"/>
                  <a:gd name="T10" fmla="*/ 26 w 189"/>
                  <a:gd name="T11" fmla="*/ 7 h 147"/>
                  <a:gd name="T12" fmla="*/ 12 w 189"/>
                  <a:gd name="T13" fmla="*/ 18 h 147"/>
                  <a:gd name="T14" fmla="*/ 11 w 189"/>
                  <a:gd name="T15" fmla="*/ 22 h 147"/>
                  <a:gd name="T16" fmla="*/ 5 w 189"/>
                  <a:gd name="T17" fmla="*/ 26 h 147"/>
                  <a:gd name="T18" fmla="*/ 0 w 189"/>
                  <a:gd name="T19" fmla="*/ 32 h 147"/>
                  <a:gd name="T20" fmla="*/ 4 w 189"/>
                  <a:gd name="T21" fmla="*/ 37 h 147"/>
                  <a:gd name="T22" fmla="*/ 19 w 189"/>
                  <a:gd name="T23" fmla="*/ 45 h 147"/>
                  <a:gd name="T24" fmla="*/ 24 w 189"/>
                  <a:gd name="T25" fmla="*/ 53 h 147"/>
                  <a:gd name="T26" fmla="*/ 34 w 189"/>
                  <a:gd name="T27" fmla="*/ 64 h 147"/>
                  <a:gd name="T28" fmla="*/ 55 w 189"/>
                  <a:gd name="T29" fmla="*/ 81 h 147"/>
                  <a:gd name="T30" fmla="*/ 66 w 189"/>
                  <a:gd name="T31" fmla="*/ 96 h 147"/>
                  <a:gd name="T32" fmla="*/ 76 w 189"/>
                  <a:gd name="T33" fmla="*/ 102 h 147"/>
                  <a:gd name="T34" fmla="*/ 82 w 189"/>
                  <a:gd name="T35" fmla="*/ 107 h 147"/>
                  <a:gd name="T36" fmla="*/ 87 w 189"/>
                  <a:gd name="T37" fmla="*/ 114 h 147"/>
                  <a:gd name="T38" fmla="*/ 89 w 189"/>
                  <a:gd name="T39" fmla="*/ 119 h 147"/>
                  <a:gd name="T40" fmla="*/ 91 w 189"/>
                  <a:gd name="T41" fmla="*/ 124 h 147"/>
                  <a:gd name="T42" fmla="*/ 95 w 189"/>
                  <a:gd name="T43" fmla="*/ 125 h 147"/>
                  <a:gd name="T44" fmla="*/ 98 w 189"/>
                  <a:gd name="T45" fmla="*/ 128 h 147"/>
                  <a:gd name="T46" fmla="*/ 99 w 189"/>
                  <a:gd name="T47" fmla="*/ 133 h 147"/>
                  <a:gd name="T48" fmla="*/ 103 w 189"/>
                  <a:gd name="T49" fmla="*/ 138 h 147"/>
                  <a:gd name="T50" fmla="*/ 104 w 189"/>
                  <a:gd name="T51" fmla="*/ 145 h 147"/>
                  <a:gd name="T52" fmla="*/ 108 w 189"/>
                  <a:gd name="T53" fmla="*/ 147 h 147"/>
                  <a:gd name="T54" fmla="*/ 110 w 189"/>
                  <a:gd name="T55" fmla="*/ 140 h 147"/>
                  <a:gd name="T56" fmla="*/ 116 w 189"/>
                  <a:gd name="T57" fmla="*/ 140 h 147"/>
                  <a:gd name="T58" fmla="*/ 117 w 189"/>
                  <a:gd name="T59" fmla="*/ 137 h 147"/>
                  <a:gd name="T60" fmla="*/ 112 w 189"/>
                  <a:gd name="T61" fmla="*/ 136 h 147"/>
                  <a:gd name="T62" fmla="*/ 110 w 189"/>
                  <a:gd name="T63" fmla="*/ 133 h 147"/>
                  <a:gd name="T64" fmla="*/ 115 w 189"/>
                  <a:gd name="T65" fmla="*/ 132 h 147"/>
                  <a:gd name="T66" fmla="*/ 119 w 189"/>
                  <a:gd name="T67" fmla="*/ 135 h 147"/>
                  <a:gd name="T68" fmla="*/ 124 w 189"/>
                  <a:gd name="T69" fmla="*/ 128 h 147"/>
                  <a:gd name="T70" fmla="*/ 123 w 189"/>
                  <a:gd name="T71" fmla="*/ 123 h 147"/>
                  <a:gd name="T72" fmla="*/ 130 w 189"/>
                  <a:gd name="T73" fmla="*/ 123 h 147"/>
                  <a:gd name="T74" fmla="*/ 135 w 189"/>
                  <a:gd name="T75" fmla="*/ 119 h 147"/>
                  <a:gd name="T76" fmla="*/ 131 w 189"/>
                  <a:gd name="T77" fmla="*/ 118 h 147"/>
                  <a:gd name="T78" fmla="*/ 129 w 189"/>
                  <a:gd name="T79" fmla="*/ 115 h 147"/>
                  <a:gd name="T80" fmla="*/ 133 w 189"/>
                  <a:gd name="T81" fmla="*/ 115 h 147"/>
                  <a:gd name="T82" fmla="*/ 138 w 189"/>
                  <a:gd name="T83" fmla="*/ 117 h 147"/>
                  <a:gd name="T84" fmla="*/ 145 w 189"/>
                  <a:gd name="T85" fmla="*/ 110 h 147"/>
                  <a:gd name="T86" fmla="*/ 141 w 189"/>
                  <a:gd name="T87" fmla="*/ 105 h 147"/>
                  <a:gd name="T88" fmla="*/ 143 w 189"/>
                  <a:gd name="T89" fmla="*/ 103 h 147"/>
                  <a:gd name="T90" fmla="*/ 149 w 189"/>
                  <a:gd name="T91" fmla="*/ 103 h 147"/>
                  <a:gd name="T92" fmla="*/ 155 w 189"/>
                  <a:gd name="T93" fmla="*/ 93 h 147"/>
                  <a:gd name="T94" fmla="*/ 164 w 189"/>
                  <a:gd name="T95" fmla="*/ 89 h 147"/>
                  <a:gd name="T96" fmla="*/ 169 w 189"/>
                  <a:gd name="T97" fmla="*/ 81 h 147"/>
                  <a:gd name="T98" fmla="*/ 165 w 189"/>
                  <a:gd name="T99" fmla="*/ 75 h 147"/>
                  <a:gd name="T100" fmla="*/ 169 w 189"/>
                  <a:gd name="T101" fmla="*/ 75 h 147"/>
                  <a:gd name="T102" fmla="*/ 170 w 189"/>
                  <a:gd name="T103" fmla="*/ 70 h 147"/>
                  <a:gd name="T104" fmla="*/ 175 w 189"/>
                  <a:gd name="T105" fmla="*/ 60 h 147"/>
                  <a:gd name="T106" fmla="*/ 178 w 189"/>
                  <a:gd name="T107" fmla="*/ 54 h 147"/>
                  <a:gd name="T108" fmla="*/ 187 w 189"/>
                  <a:gd name="T109" fmla="*/ 46 h 147"/>
                  <a:gd name="T110" fmla="*/ 138 w 189"/>
                  <a:gd name="T111" fmla="*/ 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147">
                    <a:moveTo>
                      <a:pt x="98" y="14"/>
                    </a:moveTo>
                    <a:cubicBezTo>
                      <a:pt x="94" y="4"/>
                      <a:pt x="94" y="4"/>
                      <a:pt x="94" y="4"/>
                    </a:cubicBezTo>
                    <a:cubicBezTo>
                      <a:pt x="88" y="1"/>
                      <a:pt x="88" y="1"/>
                      <a:pt x="88" y="1"/>
                    </a:cubicBezTo>
                    <a:cubicBezTo>
                      <a:pt x="79" y="0"/>
                      <a:pt x="79" y="0"/>
                      <a:pt x="79" y="0"/>
                    </a:cubicBezTo>
                    <a:cubicBezTo>
                      <a:pt x="72" y="1"/>
                      <a:pt x="72" y="1"/>
                      <a:pt x="72" y="1"/>
                    </a:cubicBezTo>
                    <a:cubicBezTo>
                      <a:pt x="67" y="4"/>
                      <a:pt x="67" y="4"/>
                      <a:pt x="67" y="4"/>
                    </a:cubicBezTo>
                    <a:cubicBezTo>
                      <a:pt x="64" y="5"/>
                      <a:pt x="64" y="5"/>
                      <a:pt x="64" y="5"/>
                    </a:cubicBezTo>
                    <a:cubicBezTo>
                      <a:pt x="58" y="6"/>
                      <a:pt x="58" y="6"/>
                      <a:pt x="58" y="6"/>
                    </a:cubicBezTo>
                    <a:cubicBezTo>
                      <a:pt x="46" y="4"/>
                      <a:pt x="46" y="4"/>
                      <a:pt x="46" y="4"/>
                    </a:cubicBezTo>
                    <a:cubicBezTo>
                      <a:pt x="39" y="4"/>
                      <a:pt x="39" y="4"/>
                      <a:pt x="39" y="4"/>
                    </a:cubicBezTo>
                    <a:cubicBezTo>
                      <a:pt x="31" y="5"/>
                      <a:pt x="31" y="5"/>
                      <a:pt x="31" y="5"/>
                    </a:cubicBezTo>
                    <a:cubicBezTo>
                      <a:pt x="26" y="7"/>
                      <a:pt x="26" y="7"/>
                      <a:pt x="26" y="7"/>
                    </a:cubicBezTo>
                    <a:cubicBezTo>
                      <a:pt x="12" y="18"/>
                      <a:pt x="12" y="18"/>
                      <a:pt x="12" y="18"/>
                    </a:cubicBezTo>
                    <a:cubicBezTo>
                      <a:pt x="12" y="18"/>
                      <a:pt x="12" y="18"/>
                      <a:pt x="12" y="18"/>
                    </a:cubicBezTo>
                    <a:cubicBezTo>
                      <a:pt x="11" y="20"/>
                      <a:pt x="11" y="20"/>
                      <a:pt x="11" y="20"/>
                    </a:cubicBezTo>
                    <a:cubicBezTo>
                      <a:pt x="11" y="22"/>
                      <a:pt x="11" y="22"/>
                      <a:pt x="11" y="22"/>
                    </a:cubicBezTo>
                    <a:cubicBezTo>
                      <a:pt x="9" y="23"/>
                      <a:pt x="9" y="23"/>
                      <a:pt x="9" y="23"/>
                    </a:cubicBezTo>
                    <a:cubicBezTo>
                      <a:pt x="5" y="26"/>
                      <a:pt x="5" y="26"/>
                      <a:pt x="5" y="26"/>
                    </a:cubicBezTo>
                    <a:cubicBezTo>
                      <a:pt x="0" y="29"/>
                      <a:pt x="0" y="29"/>
                      <a:pt x="0" y="29"/>
                    </a:cubicBezTo>
                    <a:cubicBezTo>
                      <a:pt x="0" y="32"/>
                      <a:pt x="0" y="32"/>
                      <a:pt x="0" y="32"/>
                    </a:cubicBezTo>
                    <a:cubicBezTo>
                      <a:pt x="2" y="34"/>
                      <a:pt x="2" y="34"/>
                      <a:pt x="2" y="34"/>
                    </a:cubicBezTo>
                    <a:cubicBezTo>
                      <a:pt x="4" y="37"/>
                      <a:pt x="4" y="37"/>
                      <a:pt x="4" y="37"/>
                    </a:cubicBezTo>
                    <a:cubicBezTo>
                      <a:pt x="16" y="42"/>
                      <a:pt x="16" y="42"/>
                      <a:pt x="16" y="42"/>
                    </a:cubicBezTo>
                    <a:cubicBezTo>
                      <a:pt x="19" y="45"/>
                      <a:pt x="19" y="45"/>
                      <a:pt x="19" y="45"/>
                    </a:cubicBezTo>
                    <a:cubicBezTo>
                      <a:pt x="22" y="49"/>
                      <a:pt x="22" y="49"/>
                      <a:pt x="22" y="49"/>
                    </a:cubicBezTo>
                    <a:cubicBezTo>
                      <a:pt x="24" y="53"/>
                      <a:pt x="24" y="53"/>
                      <a:pt x="24" y="53"/>
                    </a:cubicBezTo>
                    <a:cubicBezTo>
                      <a:pt x="29" y="58"/>
                      <a:pt x="29" y="58"/>
                      <a:pt x="29" y="58"/>
                    </a:cubicBezTo>
                    <a:cubicBezTo>
                      <a:pt x="34" y="64"/>
                      <a:pt x="34" y="64"/>
                      <a:pt x="34" y="64"/>
                    </a:cubicBezTo>
                    <a:cubicBezTo>
                      <a:pt x="50" y="77"/>
                      <a:pt x="50" y="77"/>
                      <a:pt x="50" y="77"/>
                    </a:cubicBezTo>
                    <a:cubicBezTo>
                      <a:pt x="55" y="81"/>
                      <a:pt x="55" y="81"/>
                      <a:pt x="55" y="81"/>
                    </a:cubicBezTo>
                    <a:cubicBezTo>
                      <a:pt x="61" y="89"/>
                      <a:pt x="61" y="89"/>
                      <a:pt x="61" y="89"/>
                    </a:cubicBezTo>
                    <a:cubicBezTo>
                      <a:pt x="66" y="96"/>
                      <a:pt x="66" y="96"/>
                      <a:pt x="66" y="96"/>
                    </a:cubicBezTo>
                    <a:cubicBezTo>
                      <a:pt x="73" y="99"/>
                      <a:pt x="73" y="99"/>
                      <a:pt x="73" y="99"/>
                    </a:cubicBezTo>
                    <a:cubicBezTo>
                      <a:pt x="76" y="102"/>
                      <a:pt x="76" y="102"/>
                      <a:pt x="76" y="102"/>
                    </a:cubicBezTo>
                    <a:cubicBezTo>
                      <a:pt x="79" y="105"/>
                      <a:pt x="79" y="105"/>
                      <a:pt x="79" y="105"/>
                    </a:cubicBezTo>
                    <a:cubicBezTo>
                      <a:pt x="82" y="107"/>
                      <a:pt x="82" y="107"/>
                      <a:pt x="82" y="107"/>
                    </a:cubicBezTo>
                    <a:cubicBezTo>
                      <a:pt x="84" y="109"/>
                      <a:pt x="84" y="109"/>
                      <a:pt x="84" y="109"/>
                    </a:cubicBezTo>
                    <a:cubicBezTo>
                      <a:pt x="87" y="114"/>
                      <a:pt x="87" y="114"/>
                      <a:pt x="87" y="114"/>
                    </a:cubicBezTo>
                    <a:cubicBezTo>
                      <a:pt x="89" y="117"/>
                      <a:pt x="89" y="117"/>
                      <a:pt x="89" y="117"/>
                    </a:cubicBezTo>
                    <a:cubicBezTo>
                      <a:pt x="89" y="119"/>
                      <a:pt x="89" y="119"/>
                      <a:pt x="89" y="119"/>
                    </a:cubicBezTo>
                    <a:cubicBezTo>
                      <a:pt x="90" y="122"/>
                      <a:pt x="90" y="122"/>
                      <a:pt x="90" y="122"/>
                    </a:cubicBezTo>
                    <a:cubicBezTo>
                      <a:pt x="91" y="124"/>
                      <a:pt x="91" y="124"/>
                      <a:pt x="91" y="124"/>
                    </a:cubicBezTo>
                    <a:cubicBezTo>
                      <a:pt x="92" y="124"/>
                      <a:pt x="92" y="124"/>
                      <a:pt x="92" y="124"/>
                    </a:cubicBezTo>
                    <a:cubicBezTo>
                      <a:pt x="95" y="125"/>
                      <a:pt x="95" y="125"/>
                      <a:pt x="95" y="125"/>
                    </a:cubicBezTo>
                    <a:cubicBezTo>
                      <a:pt x="98" y="127"/>
                      <a:pt x="98" y="127"/>
                      <a:pt x="98" y="127"/>
                    </a:cubicBezTo>
                    <a:cubicBezTo>
                      <a:pt x="98" y="128"/>
                      <a:pt x="98" y="128"/>
                      <a:pt x="98" y="128"/>
                    </a:cubicBezTo>
                    <a:cubicBezTo>
                      <a:pt x="98" y="130"/>
                      <a:pt x="98" y="130"/>
                      <a:pt x="98" y="130"/>
                    </a:cubicBezTo>
                    <a:cubicBezTo>
                      <a:pt x="99" y="133"/>
                      <a:pt x="99" y="133"/>
                      <a:pt x="99" y="133"/>
                    </a:cubicBezTo>
                    <a:cubicBezTo>
                      <a:pt x="103" y="137"/>
                      <a:pt x="103" y="137"/>
                      <a:pt x="103" y="137"/>
                    </a:cubicBezTo>
                    <a:cubicBezTo>
                      <a:pt x="103" y="138"/>
                      <a:pt x="103" y="138"/>
                      <a:pt x="103" y="138"/>
                    </a:cubicBezTo>
                    <a:cubicBezTo>
                      <a:pt x="103" y="142"/>
                      <a:pt x="103" y="142"/>
                      <a:pt x="103" y="142"/>
                    </a:cubicBezTo>
                    <a:cubicBezTo>
                      <a:pt x="104" y="145"/>
                      <a:pt x="104" y="145"/>
                      <a:pt x="104" y="145"/>
                    </a:cubicBezTo>
                    <a:cubicBezTo>
                      <a:pt x="106" y="146"/>
                      <a:pt x="106" y="146"/>
                      <a:pt x="106" y="146"/>
                    </a:cubicBezTo>
                    <a:cubicBezTo>
                      <a:pt x="108" y="147"/>
                      <a:pt x="108" y="147"/>
                      <a:pt x="108" y="147"/>
                    </a:cubicBezTo>
                    <a:cubicBezTo>
                      <a:pt x="108" y="141"/>
                      <a:pt x="108" y="141"/>
                      <a:pt x="108" y="141"/>
                    </a:cubicBezTo>
                    <a:cubicBezTo>
                      <a:pt x="110" y="140"/>
                      <a:pt x="110" y="140"/>
                      <a:pt x="110" y="140"/>
                    </a:cubicBezTo>
                    <a:cubicBezTo>
                      <a:pt x="115" y="140"/>
                      <a:pt x="115" y="140"/>
                      <a:pt x="115" y="140"/>
                    </a:cubicBezTo>
                    <a:cubicBezTo>
                      <a:pt x="116" y="140"/>
                      <a:pt x="116" y="140"/>
                      <a:pt x="116" y="140"/>
                    </a:cubicBezTo>
                    <a:cubicBezTo>
                      <a:pt x="116" y="140"/>
                      <a:pt x="118" y="139"/>
                      <a:pt x="118" y="139"/>
                    </a:cubicBezTo>
                    <a:cubicBezTo>
                      <a:pt x="118" y="138"/>
                      <a:pt x="117" y="137"/>
                      <a:pt x="117" y="137"/>
                    </a:cubicBezTo>
                    <a:cubicBezTo>
                      <a:pt x="116" y="137"/>
                      <a:pt x="116" y="137"/>
                      <a:pt x="116" y="137"/>
                    </a:cubicBezTo>
                    <a:cubicBezTo>
                      <a:pt x="116" y="137"/>
                      <a:pt x="112" y="136"/>
                      <a:pt x="112" y="136"/>
                    </a:cubicBezTo>
                    <a:cubicBezTo>
                      <a:pt x="111" y="136"/>
                      <a:pt x="110" y="134"/>
                      <a:pt x="110" y="134"/>
                    </a:cubicBezTo>
                    <a:cubicBezTo>
                      <a:pt x="110" y="133"/>
                      <a:pt x="110" y="133"/>
                      <a:pt x="110" y="133"/>
                    </a:cubicBezTo>
                    <a:cubicBezTo>
                      <a:pt x="111" y="129"/>
                      <a:pt x="111" y="129"/>
                      <a:pt x="111" y="129"/>
                    </a:cubicBezTo>
                    <a:cubicBezTo>
                      <a:pt x="115" y="132"/>
                      <a:pt x="115" y="132"/>
                      <a:pt x="115" y="132"/>
                    </a:cubicBezTo>
                    <a:cubicBezTo>
                      <a:pt x="116" y="133"/>
                      <a:pt x="116" y="133"/>
                      <a:pt x="116" y="133"/>
                    </a:cubicBezTo>
                    <a:cubicBezTo>
                      <a:pt x="119" y="135"/>
                      <a:pt x="119" y="135"/>
                      <a:pt x="119" y="135"/>
                    </a:cubicBezTo>
                    <a:cubicBezTo>
                      <a:pt x="123" y="134"/>
                      <a:pt x="123" y="134"/>
                      <a:pt x="123" y="134"/>
                    </a:cubicBezTo>
                    <a:cubicBezTo>
                      <a:pt x="124" y="128"/>
                      <a:pt x="124" y="128"/>
                      <a:pt x="124" y="128"/>
                    </a:cubicBezTo>
                    <a:cubicBezTo>
                      <a:pt x="124" y="127"/>
                      <a:pt x="124" y="127"/>
                      <a:pt x="124" y="127"/>
                    </a:cubicBezTo>
                    <a:cubicBezTo>
                      <a:pt x="123" y="123"/>
                      <a:pt x="123" y="123"/>
                      <a:pt x="123" y="123"/>
                    </a:cubicBezTo>
                    <a:cubicBezTo>
                      <a:pt x="126" y="123"/>
                      <a:pt x="126" y="123"/>
                      <a:pt x="126" y="123"/>
                    </a:cubicBezTo>
                    <a:cubicBezTo>
                      <a:pt x="130" y="123"/>
                      <a:pt x="130" y="123"/>
                      <a:pt x="130" y="123"/>
                    </a:cubicBezTo>
                    <a:cubicBezTo>
                      <a:pt x="135" y="120"/>
                      <a:pt x="135" y="120"/>
                      <a:pt x="135" y="120"/>
                    </a:cubicBezTo>
                    <a:cubicBezTo>
                      <a:pt x="135" y="119"/>
                      <a:pt x="135" y="119"/>
                      <a:pt x="135" y="119"/>
                    </a:cubicBezTo>
                    <a:cubicBezTo>
                      <a:pt x="133" y="118"/>
                      <a:pt x="133" y="118"/>
                      <a:pt x="133" y="118"/>
                    </a:cubicBezTo>
                    <a:cubicBezTo>
                      <a:pt x="131" y="118"/>
                      <a:pt x="131" y="118"/>
                      <a:pt x="131" y="118"/>
                    </a:cubicBezTo>
                    <a:cubicBezTo>
                      <a:pt x="129" y="117"/>
                      <a:pt x="129" y="117"/>
                      <a:pt x="129" y="117"/>
                    </a:cubicBezTo>
                    <a:cubicBezTo>
                      <a:pt x="129" y="115"/>
                      <a:pt x="129" y="115"/>
                      <a:pt x="129" y="115"/>
                    </a:cubicBezTo>
                    <a:cubicBezTo>
                      <a:pt x="132" y="114"/>
                      <a:pt x="132" y="114"/>
                      <a:pt x="132" y="114"/>
                    </a:cubicBezTo>
                    <a:cubicBezTo>
                      <a:pt x="133" y="115"/>
                      <a:pt x="133" y="115"/>
                      <a:pt x="133" y="115"/>
                    </a:cubicBezTo>
                    <a:cubicBezTo>
                      <a:pt x="136" y="117"/>
                      <a:pt x="136" y="117"/>
                      <a:pt x="136" y="117"/>
                    </a:cubicBezTo>
                    <a:cubicBezTo>
                      <a:pt x="138" y="117"/>
                      <a:pt x="138" y="117"/>
                      <a:pt x="138" y="117"/>
                    </a:cubicBezTo>
                    <a:cubicBezTo>
                      <a:pt x="142" y="114"/>
                      <a:pt x="142" y="114"/>
                      <a:pt x="142" y="114"/>
                    </a:cubicBezTo>
                    <a:cubicBezTo>
                      <a:pt x="145" y="110"/>
                      <a:pt x="145" y="110"/>
                      <a:pt x="145" y="110"/>
                    </a:cubicBezTo>
                    <a:cubicBezTo>
                      <a:pt x="144" y="107"/>
                      <a:pt x="144" y="107"/>
                      <a:pt x="144" y="107"/>
                    </a:cubicBezTo>
                    <a:cubicBezTo>
                      <a:pt x="141" y="105"/>
                      <a:pt x="141" y="105"/>
                      <a:pt x="141" y="105"/>
                    </a:cubicBezTo>
                    <a:cubicBezTo>
                      <a:pt x="141" y="104"/>
                      <a:pt x="141" y="104"/>
                      <a:pt x="141" y="104"/>
                    </a:cubicBezTo>
                    <a:cubicBezTo>
                      <a:pt x="143" y="103"/>
                      <a:pt x="143" y="103"/>
                      <a:pt x="143" y="103"/>
                    </a:cubicBezTo>
                    <a:cubicBezTo>
                      <a:pt x="147" y="105"/>
                      <a:pt x="147" y="105"/>
                      <a:pt x="147" y="105"/>
                    </a:cubicBezTo>
                    <a:cubicBezTo>
                      <a:pt x="149" y="103"/>
                      <a:pt x="149" y="103"/>
                      <a:pt x="149" y="103"/>
                    </a:cubicBezTo>
                    <a:cubicBezTo>
                      <a:pt x="151" y="100"/>
                      <a:pt x="151" y="100"/>
                      <a:pt x="151" y="100"/>
                    </a:cubicBezTo>
                    <a:cubicBezTo>
                      <a:pt x="155" y="93"/>
                      <a:pt x="155" y="93"/>
                      <a:pt x="155" y="93"/>
                    </a:cubicBezTo>
                    <a:cubicBezTo>
                      <a:pt x="159" y="90"/>
                      <a:pt x="159" y="90"/>
                      <a:pt x="159" y="90"/>
                    </a:cubicBezTo>
                    <a:cubicBezTo>
                      <a:pt x="164" y="89"/>
                      <a:pt x="164" y="89"/>
                      <a:pt x="164" y="89"/>
                    </a:cubicBezTo>
                    <a:cubicBezTo>
                      <a:pt x="167" y="84"/>
                      <a:pt x="167" y="84"/>
                      <a:pt x="167" y="84"/>
                    </a:cubicBezTo>
                    <a:cubicBezTo>
                      <a:pt x="169" y="81"/>
                      <a:pt x="169" y="81"/>
                      <a:pt x="169" y="81"/>
                    </a:cubicBezTo>
                    <a:cubicBezTo>
                      <a:pt x="167" y="79"/>
                      <a:pt x="167" y="79"/>
                      <a:pt x="167" y="79"/>
                    </a:cubicBezTo>
                    <a:cubicBezTo>
                      <a:pt x="165" y="75"/>
                      <a:pt x="165" y="75"/>
                      <a:pt x="165" y="75"/>
                    </a:cubicBezTo>
                    <a:cubicBezTo>
                      <a:pt x="167" y="75"/>
                      <a:pt x="167" y="75"/>
                      <a:pt x="167" y="75"/>
                    </a:cubicBezTo>
                    <a:cubicBezTo>
                      <a:pt x="169" y="75"/>
                      <a:pt x="169" y="75"/>
                      <a:pt x="169" y="75"/>
                    </a:cubicBezTo>
                    <a:cubicBezTo>
                      <a:pt x="169" y="72"/>
                      <a:pt x="169" y="72"/>
                      <a:pt x="169" y="72"/>
                    </a:cubicBezTo>
                    <a:cubicBezTo>
                      <a:pt x="170" y="70"/>
                      <a:pt x="170" y="70"/>
                      <a:pt x="170" y="70"/>
                    </a:cubicBezTo>
                    <a:cubicBezTo>
                      <a:pt x="173" y="66"/>
                      <a:pt x="173" y="66"/>
                      <a:pt x="173" y="66"/>
                    </a:cubicBezTo>
                    <a:cubicBezTo>
                      <a:pt x="175" y="60"/>
                      <a:pt x="175" y="60"/>
                      <a:pt x="175" y="60"/>
                    </a:cubicBezTo>
                    <a:cubicBezTo>
                      <a:pt x="177" y="56"/>
                      <a:pt x="177" y="56"/>
                      <a:pt x="177" y="56"/>
                    </a:cubicBezTo>
                    <a:cubicBezTo>
                      <a:pt x="178" y="54"/>
                      <a:pt x="178" y="54"/>
                      <a:pt x="178" y="54"/>
                    </a:cubicBezTo>
                    <a:cubicBezTo>
                      <a:pt x="180" y="52"/>
                      <a:pt x="180" y="52"/>
                      <a:pt x="180" y="52"/>
                    </a:cubicBezTo>
                    <a:cubicBezTo>
                      <a:pt x="187" y="46"/>
                      <a:pt x="187" y="46"/>
                      <a:pt x="187" y="46"/>
                    </a:cubicBezTo>
                    <a:cubicBezTo>
                      <a:pt x="189" y="44"/>
                      <a:pt x="189" y="44"/>
                      <a:pt x="189" y="44"/>
                    </a:cubicBezTo>
                    <a:cubicBezTo>
                      <a:pt x="138" y="6"/>
                      <a:pt x="138" y="6"/>
                      <a:pt x="138" y="6"/>
                    </a:cubicBezTo>
                    <a:lnTo>
                      <a:pt x="98" y="14"/>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2" name="Freeform 41">
                <a:extLst>
                  <a:ext uri="{FF2B5EF4-FFF2-40B4-BE49-F238E27FC236}">
                    <a16:creationId xmlns:a16="http://schemas.microsoft.com/office/drawing/2014/main" id="{72376F6D-66F3-4842-837B-C3742DB87FD2}"/>
                  </a:ext>
                </a:extLst>
              </p:cNvPr>
              <p:cNvSpPr>
                <a:spLocks/>
              </p:cNvSpPr>
              <p:nvPr/>
            </p:nvSpPr>
            <p:spPr bwMode="auto">
              <a:xfrm>
                <a:off x="18243144" y="9294359"/>
                <a:ext cx="840966" cy="1348562"/>
              </a:xfrm>
              <a:custGeom>
                <a:avLst/>
                <a:gdLst>
                  <a:gd name="T0" fmla="*/ 39 w 126"/>
                  <a:gd name="T1" fmla="*/ 183 h 202"/>
                  <a:gd name="T2" fmla="*/ 33 w 126"/>
                  <a:gd name="T3" fmla="*/ 176 h 202"/>
                  <a:gd name="T4" fmla="*/ 36 w 126"/>
                  <a:gd name="T5" fmla="*/ 172 h 202"/>
                  <a:gd name="T6" fmla="*/ 51 w 126"/>
                  <a:gd name="T7" fmla="*/ 168 h 202"/>
                  <a:gd name="T8" fmla="*/ 125 w 126"/>
                  <a:gd name="T9" fmla="*/ 161 h 202"/>
                  <a:gd name="T10" fmla="*/ 120 w 126"/>
                  <a:gd name="T11" fmla="*/ 153 h 202"/>
                  <a:gd name="T12" fmla="*/ 119 w 126"/>
                  <a:gd name="T13" fmla="*/ 148 h 202"/>
                  <a:gd name="T14" fmla="*/ 120 w 126"/>
                  <a:gd name="T15" fmla="*/ 141 h 202"/>
                  <a:gd name="T16" fmla="*/ 116 w 126"/>
                  <a:gd name="T17" fmla="*/ 130 h 202"/>
                  <a:gd name="T18" fmla="*/ 119 w 126"/>
                  <a:gd name="T19" fmla="*/ 123 h 202"/>
                  <a:gd name="T20" fmla="*/ 116 w 126"/>
                  <a:gd name="T21" fmla="*/ 117 h 202"/>
                  <a:gd name="T22" fmla="*/ 122 w 126"/>
                  <a:gd name="T23" fmla="*/ 110 h 202"/>
                  <a:gd name="T24" fmla="*/ 119 w 126"/>
                  <a:gd name="T25" fmla="*/ 104 h 202"/>
                  <a:gd name="T26" fmla="*/ 115 w 126"/>
                  <a:gd name="T27" fmla="*/ 95 h 202"/>
                  <a:gd name="T28" fmla="*/ 106 w 126"/>
                  <a:gd name="T29" fmla="*/ 75 h 202"/>
                  <a:gd name="T30" fmla="*/ 89 w 126"/>
                  <a:gd name="T31" fmla="*/ 12 h 202"/>
                  <a:gd name="T32" fmla="*/ 94 w 126"/>
                  <a:gd name="T33" fmla="*/ 0 h 202"/>
                  <a:gd name="T34" fmla="*/ 1 w 126"/>
                  <a:gd name="T35" fmla="*/ 7 h 202"/>
                  <a:gd name="T36" fmla="*/ 0 w 126"/>
                  <a:gd name="T37" fmla="*/ 106 h 202"/>
                  <a:gd name="T38" fmla="*/ 6 w 126"/>
                  <a:gd name="T39" fmla="*/ 196 h 202"/>
                  <a:gd name="T40" fmla="*/ 11 w 126"/>
                  <a:gd name="T41" fmla="*/ 197 h 202"/>
                  <a:gd name="T42" fmla="*/ 16 w 126"/>
                  <a:gd name="T43" fmla="*/ 195 h 202"/>
                  <a:gd name="T44" fmla="*/ 16 w 126"/>
                  <a:gd name="T45" fmla="*/ 187 h 202"/>
                  <a:gd name="T46" fmla="*/ 21 w 126"/>
                  <a:gd name="T47" fmla="*/ 184 h 202"/>
                  <a:gd name="T48" fmla="*/ 22 w 126"/>
                  <a:gd name="T49" fmla="*/ 189 h 202"/>
                  <a:gd name="T50" fmla="*/ 22 w 126"/>
                  <a:gd name="T51" fmla="*/ 193 h 202"/>
                  <a:gd name="T52" fmla="*/ 25 w 126"/>
                  <a:gd name="T53" fmla="*/ 195 h 202"/>
                  <a:gd name="T54" fmla="*/ 27 w 126"/>
                  <a:gd name="T55" fmla="*/ 199 h 202"/>
                  <a:gd name="T56" fmla="*/ 25 w 126"/>
                  <a:gd name="T57" fmla="*/ 202 h 202"/>
                  <a:gd name="T58" fmla="*/ 31 w 126"/>
                  <a:gd name="T59" fmla="*/ 200 h 202"/>
                  <a:gd name="T60" fmla="*/ 38 w 126"/>
                  <a:gd name="T61" fmla="*/ 197 h 202"/>
                  <a:gd name="T62" fmla="*/ 43 w 126"/>
                  <a:gd name="T63" fmla="*/ 196 h 202"/>
                  <a:gd name="T64" fmla="*/ 44 w 126"/>
                  <a:gd name="T65" fmla="*/ 195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202">
                    <a:moveTo>
                      <a:pt x="40" y="188"/>
                    </a:moveTo>
                    <a:lnTo>
                      <a:pt x="39" y="183"/>
                    </a:lnTo>
                    <a:lnTo>
                      <a:pt x="35" y="178"/>
                    </a:lnTo>
                    <a:lnTo>
                      <a:pt x="33" y="176"/>
                    </a:lnTo>
                    <a:lnTo>
                      <a:pt x="33" y="173"/>
                    </a:lnTo>
                    <a:lnTo>
                      <a:pt x="36" y="172"/>
                    </a:lnTo>
                    <a:lnTo>
                      <a:pt x="43" y="170"/>
                    </a:lnTo>
                    <a:lnTo>
                      <a:pt x="51" y="168"/>
                    </a:lnTo>
                    <a:lnTo>
                      <a:pt x="126" y="162"/>
                    </a:lnTo>
                    <a:lnTo>
                      <a:pt x="125" y="161"/>
                    </a:lnTo>
                    <a:lnTo>
                      <a:pt x="121" y="156"/>
                    </a:lnTo>
                    <a:lnTo>
                      <a:pt x="120" y="153"/>
                    </a:lnTo>
                    <a:lnTo>
                      <a:pt x="118" y="150"/>
                    </a:lnTo>
                    <a:lnTo>
                      <a:pt x="119" y="148"/>
                    </a:lnTo>
                    <a:lnTo>
                      <a:pt x="121" y="146"/>
                    </a:lnTo>
                    <a:lnTo>
                      <a:pt x="120" y="141"/>
                    </a:lnTo>
                    <a:lnTo>
                      <a:pt x="118" y="138"/>
                    </a:lnTo>
                    <a:lnTo>
                      <a:pt x="116" y="130"/>
                    </a:lnTo>
                    <a:lnTo>
                      <a:pt x="116" y="125"/>
                    </a:lnTo>
                    <a:lnTo>
                      <a:pt x="119" y="123"/>
                    </a:lnTo>
                    <a:lnTo>
                      <a:pt x="120" y="119"/>
                    </a:lnTo>
                    <a:lnTo>
                      <a:pt x="116" y="117"/>
                    </a:lnTo>
                    <a:lnTo>
                      <a:pt x="121" y="114"/>
                    </a:lnTo>
                    <a:lnTo>
                      <a:pt x="122" y="110"/>
                    </a:lnTo>
                    <a:lnTo>
                      <a:pt x="120" y="108"/>
                    </a:lnTo>
                    <a:lnTo>
                      <a:pt x="119" y="104"/>
                    </a:lnTo>
                    <a:lnTo>
                      <a:pt x="119" y="100"/>
                    </a:lnTo>
                    <a:lnTo>
                      <a:pt x="115" y="95"/>
                    </a:lnTo>
                    <a:lnTo>
                      <a:pt x="108" y="83"/>
                    </a:lnTo>
                    <a:lnTo>
                      <a:pt x="106" y="75"/>
                    </a:lnTo>
                    <a:lnTo>
                      <a:pt x="96" y="41"/>
                    </a:lnTo>
                    <a:lnTo>
                      <a:pt x="89" y="12"/>
                    </a:lnTo>
                    <a:lnTo>
                      <a:pt x="87" y="0"/>
                    </a:lnTo>
                    <a:lnTo>
                      <a:pt x="94" y="0"/>
                    </a:lnTo>
                    <a:lnTo>
                      <a:pt x="94" y="0"/>
                    </a:lnTo>
                    <a:lnTo>
                      <a:pt x="1" y="7"/>
                    </a:lnTo>
                    <a:lnTo>
                      <a:pt x="1" y="14"/>
                    </a:lnTo>
                    <a:lnTo>
                      <a:pt x="0" y="106"/>
                    </a:lnTo>
                    <a:lnTo>
                      <a:pt x="0" y="155"/>
                    </a:lnTo>
                    <a:lnTo>
                      <a:pt x="6" y="196"/>
                    </a:lnTo>
                    <a:lnTo>
                      <a:pt x="8" y="196"/>
                    </a:lnTo>
                    <a:lnTo>
                      <a:pt x="11" y="197"/>
                    </a:lnTo>
                    <a:lnTo>
                      <a:pt x="15" y="198"/>
                    </a:lnTo>
                    <a:lnTo>
                      <a:pt x="16" y="195"/>
                    </a:lnTo>
                    <a:lnTo>
                      <a:pt x="15" y="191"/>
                    </a:lnTo>
                    <a:lnTo>
                      <a:pt x="16" y="187"/>
                    </a:lnTo>
                    <a:lnTo>
                      <a:pt x="18" y="185"/>
                    </a:lnTo>
                    <a:lnTo>
                      <a:pt x="21" y="184"/>
                    </a:lnTo>
                    <a:lnTo>
                      <a:pt x="22" y="186"/>
                    </a:lnTo>
                    <a:lnTo>
                      <a:pt x="22" y="189"/>
                    </a:lnTo>
                    <a:lnTo>
                      <a:pt x="21" y="191"/>
                    </a:lnTo>
                    <a:lnTo>
                      <a:pt x="22" y="193"/>
                    </a:lnTo>
                    <a:lnTo>
                      <a:pt x="23" y="194"/>
                    </a:lnTo>
                    <a:lnTo>
                      <a:pt x="25" y="195"/>
                    </a:lnTo>
                    <a:lnTo>
                      <a:pt x="27" y="197"/>
                    </a:lnTo>
                    <a:lnTo>
                      <a:pt x="27" y="199"/>
                    </a:lnTo>
                    <a:lnTo>
                      <a:pt x="27" y="200"/>
                    </a:lnTo>
                    <a:lnTo>
                      <a:pt x="25" y="202"/>
                    </a:lnTo>
                    <a:lnTo>
                      <a:pt x="27" y="201"/>
                    </a:lnTo>
                    <a:lnTo>
                      <a:pt x="31" y="200"/>
                    </a:lnTo>
                    <a:lnTo>
                      <a:pt x="36" y="199"/>
                    </a:lnTo>
                    <a:lnTo>
                      <a:pt x="38" y="197"/>
                    </a:lnTo>
                    <a:lnTo>
                      <a:pt x="39" y="197"/>
                    </a:lnTo>
                    <a:lnTo>
                      <a:pt x="43" y="196"/>
                    </a:lnTo>
                    <a:lnTo>
                      <a:pt x="44" y="195"/>
                    </a:lnTo>
                    <a:lnTo>
                      <a:pt x="44" y="195"/>
                    </a:lnTo>
                    <a:lnTo>
                      <a:pt x="40" y="188"/>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3" name="Freeform 42">
                <a:extLst>
                  <a:ext uri="{FF2B5EF4-FFF2-40B4-BE49-F238E27FC236}">
                    <a16:creationId xmlns:a16="http://schemas.microsoft.com/office/drawing/2014/main" id="{8F893796-2B87-9341-949C-02E56C0FEB4F}"/>
                  </a:ext>
                </a:extLst>
              </p:cNvPr>
              <p:cNvSpPr>
                <a:spLocks/>
              </p:cNvSpPr>
              <p:nvPr/>
            </p:nvSpPr>
            <p:spPr bwMode="auto">
              <a:xfrm>
                <a:off x="17508966" y="9341091"/>
                <a:ext cx="774225" cy="1355241"/>
              </a:xfrm>
              <a:custGeom>
                <a:avLst/>
                <a:gdLst>
                  <a:gd name="T0" fmla="*/ 110 w 116"/>
                  <a:gd name="T1" fmla="*/ 99 h 203"/>
                  <a:gd name="T2" fmla="*/ 111 w 116"/>
                  <a:gd name="T3" fmla="*/ 0 h 203"/>
                  <a:gd name="T4" fmla="*/ 41 w 116"/>
                  <a:gd name="T5" fmla="*/ 5 h 203"/>
                  <a:gd name="T6" fmla="*/ 38 w 116"/>
                  <a:gd name="T7" fmla="*/ 10 h 203"/>
                  <a:gd name="T8" fmla="*/ 35 w 116"/>
                  <a:gd name="T9" fmla="*/ 15 h 203"/>
                  <a:gd name="T10" fmla="*/ 32 w 116"/>
                  <a:gd name="T11" fmla="*/ 17 h 203"/>
                  <a:gd name="T12" fmla="*/ 30 w 116"/>
                  <a:gd name="T13" fmla="*/ 26 h 203"/>
                  <a:gd name="T14" fmla="*/ 22 w 116"/>
                  <a:gd name="T15" fmla="*/ 37 h 203"/>
                  <a:gd name="T16" fmla="*/ 18 w 116"/>
                  <a:gd name="T17" fmla="*/ 44 h 203"/>
                  <a:gd name="T18" fmla="*/ 18 w 116"/>
                  <a:gd name="T19" fmla="*/ 48 h 203"/>
                  <a:gd name="T20" fmla="*/ 17 w 116"/>
                  <a:gd name="T21" fmla="*/ 54 h 203"/>
                  <a:gd name="T22" fmla="*/ 13 w 116"/>
                  <a:gd name="T23" fmla="*/ 58 h 203"/>
                  <a:gd name="T24" fmla="*/ 12 w 116"/>
                  <a:gd name="T25" fmla="*/ 62 h 203"/>
                  <a:gd name="T26" fmla="*/ 11 w 116"/>
                  <a:gd name="T27" fmla="*/ 66 h 203"/>
                  <a:gd name="T28" fmla="*/ 14 w 116"/>
                  <a:gd name="T29" fmla="*/ 70 h 203"/>
                  <a:gd name="T30" fmla="*/ 14 w 116"/>
                  <a:gd name="T31" fmla="*/ 78 h 203"/>
                  <a:gd name="T32" fmla="*/ 14 w 116"/>
                  <a:gd name="T33" fmla="*/ 84 h 203"/>
                  <a:gd name="T34" fmla="*/ 11 w 116"/>
                  <a:gd name="T35" fmla="*/ 89 h 203"/>
                  <a:gd name="T36" fmla="*/ 15 w 116"/>
                  <a:gd name="T37" fmla="*/ 94 h 203"/>
                  <a:gd name="T38" fmla="*/ 11 w 116"/>
                  <a:gd name="T39" fmla="*/ 98 h 203"/>
                  <a:gd name="T40" fmla="*/ 15 w 116"/>
                  <a:gd name="T41" fmla="*/ 102 h 203"/>
                  <a:gd name="T42" fmla="*/ 16 w 116"/>
                  <a:gd name="T43" fmla="*/ 108 h 203"/>
                  <a:gd name="T44" fmla="*/ 19 w 116"/>
                  <a:gd name="T45" fmla="*/ 112 h 203"/>
                  <a:gd name="T46" fmla="*/ 19 w 116"/>
                  <a:gd name="T47" fmla="*/ 123 h 203"/>
                  <a:gd name="T48" fmla="*/ 15 w 116"/>
                  <a:gd name="T49" fmla="*/ 126 h 203"/>
                  <a:gd name="T50" fmla="*/ 14 w 116"/>
                  <a:gd name="T51" fmla="*/ 132 h 203"/>
                  <a:gd name="T52" fmla="*/ 8 w 116"/>
                  <a:gd name="T53" fmla="*/ 140 h 203"/>
                  <a:gd name="T54" fmla="*/ 6 w 116"/>
                  <a:gd name="T55" fmla="*/ 149 h 203"/>
                  <a:gd name="T56" fmla="*/ 4 w 116"/>
                  <a:gd name="T57" fmla="*/ 153 h 203"/>
                  <a:gd name="T58" fmla="*/ 4 w 116"/>
                  <a:gd name="T59" fmla="*/ 160 h 203"/>
                  <a:gd name="T60" fmla="*/ 0 w 116"/>
                  <a:gd name="T61" fmla="*/ 164 h 203"/>
                  <a:gd name="T62" fmla="*/ 1 w 116"/>
                  <a:gd name="T63" fmla="*/ 171 h 203"/>
                  <a:gd name="T64" fmla="*/ 65 w 116"/>
                  <a:gd name="T65" fmla="*/ 184 h 203"/>
                  <a:gd name="T66" fmla="*/ 70 w 116"/>
                  <a:gd name="T67" fmla="*/ 192 h 203"/>
                  <a:gd name="T68" fmla="*/ 71 w 116"/>
                  <a:gd name="T69" fmla="*/ 203 h 203"/>
                  <a:gd name="T70" fmla="*/ 72 w 116"/>
                  <a:gd name="T71" fmla="*/ 203 h 203"/>
                  <a:gd name="T72" fmla="*/ 79 w 116"/>
                  <a:gd name="T73" fmla="*/ 199 h 203"/>
                  <a:gd name="T74" fmla="*/ 82 w 116"/>
                  <a:gd name="T75" fmla="*/ 193 h 203"/>
                  <a:gd name="T76" fmla="*/ 89 w 116"/>
                  <a:gd name="T77" fmla="*/ 193 h 203"/>
                  <a:gd name="T78" fmla="*/ 98 w 116"/>
                  <a:gd name="T79" fmla="*/ 190 h 203"/>
                  <a:gd name="T80" fmla="*/ 104 w 116"/>
                  <a:gd name="T81" fmla="*/ 190 h 203"/>
                  <a:gd name="T82" fmla="*/ 109 w 116"/>
                  <a:gd name="T83" fmla="*/ 190 h 203"/>
                  <a:gd name="T84" fmla="*/ 115 w 116"/>
                  <a:gd name="T85" fmla="*/ 190 h 203"/>
                  <a:gd name="T86" fmla="*/ 116 w 116"/>
                  <a:gd name="T87" fmla="*/ 189 h 203"/>
                  <a:gd name="T88" fmla="*/ 110 w 116"/>
                  <a:gd name="T89" fmla="*/ 14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203">
                    <a:moveTo>
                      <a:pt x="110" y="148"/>
                    </a:moveTo>
                    <a:lnTo>
                      <a:pt x="110" y="99"/>
                    </a:lnTo>
                    <a:lnTo>
                      <a:pt x="111" y="7"/>
                    </a:lnTo>
                    <a:lnTo>
                      <a:pt x="111" y="0"/>
                    </a:lnTo>
                    <a:lnTo>
                      <a:pt x="41" y="5"/>
                    </a:lnTo>
                    <a:lnTo>
                      <a:pt x="41" y="5"/>
                    </a:lnTo>
                    <a:lnTo>
                      <a:pt x="42" y="8"/>
                    </a:lnTo>
                    <a:lnTo>
                      <a:pt x="38" y="10"/>
                    </a:lnTo>
                    <a:lnTo>
                      <a:pt x="36" y="12"/>
                    </a:lnTo>
                    <a:lnTo>
                      <a:pt x="35" y="15"/>
                    </a:lnTo>
                    <a:lnTo>
                      <a:pt x="33" y="17"/>
                    </a:lnTo>
                    <a:lnTo>
                      <a:pt x="32" y="17"/>
                    </a:lnTo>
                    <a:lnTo>
                      <a:pt x="30" y="22"/>
                    </a:lnTo>
                    <a:lnTo>
                      <a:pt x="30" y="26"/>
                    </a:lnTo>
                    <a:lnTo>
                      <a:pt x="27" y="31"/>
                    </a:lnTo>
                    <a:lnTo>
                      <a:pt x="22" y="37"/>
                    </a:lnTo>
                    <a:lnTo>
                      <a:pt x="19" y="40"/>
                    </a:lnTo>
                    <a:lnTo>
                      <a:pt x="18" y="44"/>
                    </a:lnTo>
                    <a:lnTo>
                      <a:pt x="20" y="45"/>
                    </a:lnTo>
                    <a:lnTo>
                      <a:pt x="18" y="48"/>
                    </a:lnTo>
                    <a:lnTo>
                      <a:pt x="16" y="52"/>
                    </a:lnTo>
                    <a:lnTo>
                      <a:pt x="17" y="54"/>
                    </a:lnTo>
                    <a:lnTo>
                      <a:pt x="16" y="54"/>
                    </a:lnTo>
                    <a:lnTo>
                      <a:pt x="13" y="58"/>
                    </a:lnTo>
                    <a:lnTo>
                      <a:pt x="11" y="61"/>
                    </a:lnTo>
                    <a:lnTo>
                      <a:pt x="12" y="62"/>
                    </a:lnTo>
                    <a:lnTo>
                      <a:pt x="11" y="64"/>
                    </a:lnTo>
                    <a:lnTo>
                      <a:pt x="11" y="66"/>
                    </a:lnTo>
                    <a:lnTo>
                      <a:pt x="12" y="67"/>
                    </a:lnTo>
                    <a:lnTo>
                      <a:pt x="14" y="70"/>
                    </a:lnTo>
                    <a:lnTo>
                      <a:pt x="14" y="72"/>
                    </a:lnTo>
                    <a:lnTo>
                      <a:pt x="14" y="78"/>
                    </a:lnTo>
                    <a:lnTo>
                      <a:pt x="15" y="81"/>
                    </a:lnTo>
                    <a:lnTo>
                      <a:pt x="14" y="84"/>
                    </a:lnTo>
                    <a:lnTo>
                      <a:pt x="12" y="89"/>
                    </a:lnTo>
                    <a:lnTo>
                      <a:pt x="11" y="89"/>
                    </a:lnTo>
                    <a:lnTo>
                      <a:pt x="14" y="91"/>
                    </a:lnTo>
                    <a:lnTo>
                      <a:pt x="15" y="94"/>
                    </a:lnTo>
                    <a:lnTo>
                      <a:pt x="15" y="96"/>
                    </a:lnTo>
                    <a:lnTo>
                      <a:pt x="11" y="98"/>
                    </a:lnTo>
                    <a:lnTo>
                      <a:pt x="14" y="100"/>
                    </a:lnTo>
                    <a:lnTo>
                      <a:pt x="15" y="102"/>
                    </a:lnTo>
                    <a:lnTo>
                      <a:pt x="15" y="103"/>
                    </a:lnTo>
                    <a:lnTo>
                      <a:pt x="16" y="108"/>
                    </a:lnTo>
                    <a:lnTo>
                      <a:pt x="16" y="110"/>
                    </a:lnTo>
                    <a:lnTo>
                      <a:pt x="19" y="112"/>
                    </a:lnTo>
                    <a:lnTo>
                      <a:pt x="20" y="115"/>
                    </a:lnTo>
                    <a:lnTo>
                      <a:pt x="19" y="123"/>
                    </a:lnTo>
                    <a:lnTo>
                      <a:pt x="16" y="126"/>
                    </a:lnTo>
                    <a:lnTo>
                      <a:pt x="15" y="126"/>
                    </a:lnTo>
                    <a:lnTo>
                      <a:pt x="15" y="130"/>
                    </a:lnTo>
                    <a:lnTo>
                      <a:pt x="14" y="132"/>
                    </a:lnTo>
                    <a:lnTo>
                      <a:pt x="10" y="138"/>
                    </a:lnTo>
                    <a:lnTo>
                      <a:pt x="8" y="140"/>
                    </a:lnTo>
                    <a:lnTo>
                      <a:pt x="7" y="147"/>
                    </a:lnTo>
                    <a:lnTo>
                      <a:pt x="6" y="149"/>
                    </a:lnTo>
                    <a:lnTo>
                      <a:pt x="5" y="150"/>
                    </a:lnTo>
                    <a:lnTo>
                      <a:pt x="4" y="153"/>
                    </a:lnTo>
                    <a:lnTo>
                      <a:pt x="4" y="155"/>
                    </a:lnTo>
                    <a:lnTo>
                      <a:pt x="4" y="160"/>
                    </a:lnTo>
                    <a:lnTo>
                      <a:pt x="1" y="162"/>
                    </a:lnTo>
                    <a:lnTo>
                      <a:pt x="0" y="164"/>
                    </a:lnTo>
                    <a:lnTo>
                      <a:pt x="0" y="167"/>
                    </a:lnTo>
                    <a:lnTo>
                      <a:pt x="1" y="171"/>
                    </a:lnTo>
                    <a:lnTo>
                      <a:pt x="66" y="168"/>
                    </a:lnTo>
                    <a:lnTo>
                      <a:pt x="65" y="184"/>
                    </a:lnTo>
                    <a:lnTo>
                      <a:pt x="67" y="188"/>
                    </a:lnTo>
                    <a:lnTo>
                      <a:pt x="70" y="192"/>
                    </a:lnTo>
                    <a:lnTo>
                      <a:pt x="71" y="199"/>
                    </a:lnTo>
                    <a:lnTo>
                      <a:pt x="71" y="203"/>
                    </a:lnTo>
                    <a:lnTo>
                      <a:pt x="71" y="203"/>
                    </a:lnTo>
                    <a:lnTo>
                      <a:pt x="72" y="203"/>
                    </a:lnTo>
                    <a:lnTo>
                      <a:pt x="77" y="200"/>
                    </a:lnTo>
                    <a:lnTo>
                      <a:pt x="79" y="199"/>
                    </a:lnTo>
                    <a:lnTo>
                      <a:pt x="82" y="197"/>
                    </a:lnTo>
                    <a:lnTo>
                      <a:pt x="82" y="193"/>
                    </a:lnTo>
                    <a:lnTo>
                      <a:pt x="86" y="193"/>
                    </a:lnTo>
                    <a:lnTo>
                      <a:pt x="89" y="193"/>
                    </a:lnTo>
                    <a:lnTo>
                      <a:pt x="93" y="192"/>
                    </a:lnTo>
                    <a:lnTo>
                      <a:pt x="98" y="190"/>
                    </a:lnTo>
                    <a:lnTo>
                      <a:pt x="102" y="190"/>
                    </a:lnTo>
                    <a:lnTo>
                      <a:pt x="104" y="190"/>
                    </a:lnTo>
                    <a:lnTo>
                      <a:pt x="107" y="190"/>
                    </a:lnTo>
                    <a:lnTo>
                      <a:pt x="109" y="190"/>
                    </a:lnTo>
                    <a:lnTo>
                      <a:pt x="113" y="192"/>
                    </a:lnTo>
                    <a:lnTo>
                      <a:pt x="115" y="190"/>
                    </a:lnTo>
                    <a:lnTo>
                      <a:pt x="116" y="189"/>
                    </a:lnTo>
                    <a:lnTo>
                      <a:pt x="116" y="189"/>
                    </a:lnTo>
                    <a:lnTo>
                      <a:pt x="116" y="189"/>
                    </a:lnTo>
                    <a:lnTo>
                      <a:pt x="110" y="148"/>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4" name="Freeform 43">
                <a:extLst>
                  <a:ext uri="{FF2B5EF4-FFF2-40B4-BE49-F238E27FC236}">
                    <a16:creationId xmlns:a16="http://schemas.microsoft.com/office/drawing/2014/main" id="{C43D50BE-A4C0-BE46-8AE1-7ABC8D73C507}"/>
                  </a:ext>
                </a:extLst>
              </p:cNvPr>
              <p:cNvSpPr>
                <a:spLocks/>
              </p:cNvSpPr>
              <p:nvPr/>
            </p:nvSpPr>
            <p:spPr bwMode="auto">
              <a:xfrm>
                <a:off x="19951775" y="7705458"/>
                <a:ext cx="961105" cy="700988"/>
              </a:xfrm>
              <a:custGeom>
                <a:avLst/>
                <a:gdLst>
                  <a:gd name="T0" fmla="*/ 0 w 170"/>
                  <a:gd name="T1" fmla="*/ 24 h 123"/>
                  <a:gd name="T2" fmla="*/ 3 w 170"/>
                  <a:gd name="T3" fmla="*/ 44 h 123"/>
                  <a:gd name="T4" fmla="*/ 16 w 170"/>
                  <a:gd name="T5" fmla="*/ 33 h 123"/>
                  <a:gd name="T6" fmla="*/ 28 w 170"/>
                  <a:gd name="T7" fmla="*/ 25 h 123"/>
                  <a:gd name="T8" fmla="*/ 31 w 170"/>
                  <a:gd name="T9" fmla="*/ 27 h 123"/>
                  <a:gd name="T10" fmla="*/ 41 w 170"/>
                  <a:gd name="T11" fmla="*/ 22 h 123"/>
                  <a:gd name="T12" fmla="*/ 63 w 170"/>
                  <a:gd name="T13" fmla="*/ 22 h 123"/>
                  <a:gd name="T14" fmla="*/ 70 w 170"/>
                  <a:gd name="T15" fmla="*/ 36 h 123"/>
                  <a:gd name="T16" fmla="*/ 83 w 170"/>
                  <a:gd name="T17" fmla="*/ 43 h 123"/>
                  <a:gd name="T18" fmla="*/ 93 w 170"/>
                  <a:gd name="T19" fmla="*/ 51 h 123"/>
                  <a:gd name="T20" fmla="*/ 92 w 170"/>
                  <a:gd name="T21" fmla="*/ 60 h 123"/>
                  <a:gd name="T22" fmla="*/ 89 w 170"/>
                  <a:gd name="T23" fmla="*/ 74 h 123"/>
                  <a:gd name="T24" fmla="*/ 94 w 170"/>
                  <a:gd name="T25" fmla="*/ 75 h 123"/>
                  <a:gd name="T26" fmla="*/ 101 w 170"/>
                  <a:gd name="T27" fmla="*/ 75 h 123"/>
                  <a:gd name="T28" fmla="*/ 106 w 170"/>
                  <a:gd name="T29" fmla="*/ 75 h 123"/>
                  <a:gd name="T30" fmla="*/ 122 w 170"/>
                  <a:gd name="T31" fmla="*/ 78 h 123"/>
                  <a:gd name="T32" fmla="*/ 129 w 170"/>
                  <a:gd name="T33" fmla="*/ 79 h 123"/>
                  <a:gd name="T34" fmla="*/ 124 w 170"/>
                  <a:gd name="T35" fmla="*/ 72 h 123"/>
                  <a:gd name="T36" fmla="*/ 124 w 170"/>
                  <a:gd name="T37" fmla="*/ 68 h 123"/>
                  <a:gd name="T38" fmla="*/ 116 w 170"/>
                  <a:gd name="T39" fmla="*/ 57 h 123"/>
                  <a:gd name="T40" fmla="*/ 115 w 170"/>
                  <a:gd name="T41" fmla="*/ 43 h 123"/>
                  <a:gd name="T42" fmla="*/ 113 w 170"/>
                  <a:gd name="T43" fmla="*/ 31 h 123"/>
                  <a:gd name="T44" fmla="*/ 115 w 170"/>
                  <a:gd name="T45" fmla="*/ 28 h 123"/>
                  <a:gd name="T46" fmla="*/ 124 w 170"/>
                  <a:gd name="T47" fmla="*/ 18 h 123"/>
                  <a:gd name="T48" fmla="*/ 129 w 170"/>
                  <a:gd name="T49" fmla="*/ 13 h 123"/>
                  <a:gd name="T50" fmla="*/ 125 w 170"/>
                  <a:gd name="T51" fmla="*/ 21 h 123"/>
                  <a:gd name="T52" fmla="*/ 123 w 170"/>
                  <a:gd name="T53" fmla="*/ 31 h 123"/>
                  <a:gd name="T54" fmla="*/ 122 w 170"/>
                  <a:gd name="T55" fmla="*/ 36 h 123"/>
                  <a:gd name="T56" fmla="*/ 126 w 170"/>
                  <a:gd name="T57" fmla="*/ 41 h 123"/>
                  <a:gd name="T58" fmla="*/ 131 w 170"/>
                  <a:gd name="T59" fmla="*/ 46 h 123"/>
                  <a:gd name="T60" fmla="*/ 134 w 170"/>
                  <a:gd name="T61" fmla="*/ 51 h 123"/>
                  <a:gd name="T62" fmla="*/ 130 w 170"/>
                  <a:gd name="T63" fmla="*/ 57 h 123"/>
                  <a:gd name="T64" fmla="*/ 128 w 170"/>
                  <a:gd name="T65" fmla="*/ 61 h 123"/>
                  <a:gd name="T66" fmla="*/ 129 w 170"/>
                  <a:gd name="T67" fmla="*/ 65 h 123"/>
                  <a:gd name="T68" fmla="*/ 139 w 170"/>
                  <a:gd name="T69" fmla="*/ 66 h 123"/>
                  <a:gd name="T70" fmla="*/ 146 w 170"/>
                  <a:gd name="T71" fmla="*/ 75 h 123"/>
                  <a:gd name="T72" fmla="*/ 147 w 170"/>
                  <a:gd name="T73" fmla="*/ 81 h 123"/>
                  <a:gd name="T74" fmla="*/ 152 w 170"/>
                  <a:gd name="T75" fmla="*/ 89 h 123"/>
                  <a:gd name="T76" fmla="*/ 148 w 170"/>
                  <a:gd name="T77" fmla="*/ 104 h 123"/>
                  <a:gd name="T78" fmla="*/ 149 w 170"/>
                  <a:gd name="T79" fmla="*/ 120 h 123"/>
                  <a:gd name="T80" fmla="*/ 153 w 170"/>
                  <a:gd name="T81" fmla="*/ 116 h 123"/>
                  <a:gd name="T82" fmla="*/ 157 w 170"/>
                  <a:gd name="T83" fmla="*/ 102 h 123"/>
                  <a:gd name="T84" fmla="*/ 157 w 170"/>
                  <a:gd name="T85" fmla="*/ 97 h 123"/>
                  <a:gd name="T86" fmla="*/ 163 w 170"/>
                  <a:gd name="T87" fmla="*/ 91 h 123"/>
                  <a:gd name="T88" fmla="*/ 163 w 170"/>
                  <a:gd name="T89" fmla="*/ 79 h 123"/>
                  <a:gd name="T90" fmla="*/ 167 w 170"/>
                  <a:gd name="T91" fmla="*/ 71 h 123"/>
                  <a:gd name="T92" fmla="*/ 167 w 170"/>
                  <a:gd name="T93" fmla="*/ 77 h 123"/>
                  <a:gd name="T94" fmla="*/ 168 w 170"/>
                  <a:gd name="T95" fmla="*/ 82 h 123"/>
                  <a:gd name="T96" fmla="*/ 170 w 170"/>
                  <a:gd name="T97" fmla="*/ 68 h 123"/>
                  <a:gd name="T98" fmla="*/ 169 w 170"/>
                  <a:gd name="T99" fmla="*/ 54 h 123"/>
                  <a:gd name="T100" fmla="*/ 134 w 170"/>
                  <a:gd name="T10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23">
                    <a:moveTo>
                      <a:pt x="134" y="0"/>
                    </a:moveTo>
                    <a:cubicBezTo>
                      <a:pt x="0" y="24"/>
                      <a:pt x="0" y="24"/>
                      <a:pt x="0" y="24"/>
                    </a:cubicBezTo>
                    <a:cubicBezTo>
                      <a:pt x="0" y="24"/>
                      <a:pt x="0" y="24"/>
                      <a:pt x="0" y="24"/>
                    </a:cubicBezTo>
                    <a:cubicBezTo>
                      <a:pt x="3" y="44"/>
                      <a:pt x="3" y="44"/>
                      <a:pt x="3" y="44"/>
                    </a:cubicBezTo>
                    <a:cubicBezTo>
                      <a:pt x="7" y="44"/>
                      <a:pt x="7" y="44"/>
                      <a:pt x="7" y="44"/>
                    </a:cubicBezTo>
                    <a:cubicBezTo>
                      <a:pt x="16" y="33"/>
                      <a:pt x="16" y="33"/>
                      <a:pt x="16" y="33"/>
                    </a:cubicBezTo>
                    <a:cubicBezTo>
                      <a:pt x="22" y="33"/>
                      <a:pt x="22" y="33"/>
                      <a:pt x="22" y="33"/>
                    </a:cubicBezTo>
                    <a:cubicBezTo>
                      <a:pt x="28" y="25"/>
                      <a:pt x="28" y="25"/>
                      <a:pt x="28" y="25"/>
                    </a:cubicBezTo>
                    <a:cubicBezTo>
                      <a:pt x="30" y="25"/>
                      <a:pt x="30" y="25"/>
                      <a:pt x="30" y="25"/>
                    </a:cubicBezTo>
                    <a:cubicBezTo>
                      <a:pt x="31" y="27"/>
                      <a:pt x="31" y="27"/>
                      <a:pt x="31" y="27"/>
                    </a:cubicBezTo>
                    <a:cubicBezTo>
                      <a:pt x="38" y="22"/>
                      <a:pt x="38" y="22"/>
                      <a:pt x="38" y="22"/>
                    </a:cubicBezTo>
                    <a:cubicBezTo>
                      <a:pt x="41" y="22"/>
                      <a:pt x="41" y="22"/>
                      <a:pt x="41" y="22"/>
                    </a:cubicBezTo>
                    <a:cubicBezTo>
                      <a:pt x="49" y="18"/>
                      <a:pt x="49" y="18"/>
                      <a:pt x="49" y="18"/>
                    </a:cubicBezTo>
                    <a:cubicBezTo>
                      <a:pt x="63" y="22"/>
                      <a:pt x="63" y="22"/>
                      <a:pt x="63" y="22"/>
                    </a:cubicBezTo>
                    <a:cubicBezTo>
                      <a:pt x="67" y="28"/>
                      <a:pt x="67" y="28"/>
                      <a:pt x="67" y="28"/>
                    </a:cubicBezTo>
                    <a:cubicBezTo>
                      <a:pt x="70" y="36"/>
                      <a:pt x="70" y="36"/>
                      <a:pt x="70" y="36"/>
                    </a:cubicBezTo>
                    <a:cubicBezTo>
                      <a:pt x="71" y="36"/>
                      <a:pt x="71" y="36"/>
                      <a:pt x="71" y="36"/>
                    </a:cubicBezTo>
                    <a:cubicBezTo>
                      <a:pt x="83" y="43"/>
                      <a:pt x="83" y="43"/>
                      <a:pt x="83" y="43"/>
                    </a:cubicBezTo>
                    <a:cubicBezTo>
                      <a:pt x="88" y="48"/>
                      <a:pt x="88" y="48"/>
                      <a:pt x="88" y="48"/>
                    </a:cubicBezTo>
                    <a:cubicBezTo>
                      <a:pt x="93" y="51"/>
                      <a:pt x="93" y="51"/>
                      <a:pt x="93" y="51"/>
                    </a:cubicBezTo>
                    <a:cubicBezTo>
                      <a:pt x="94" y="56"/>
                      <a:pt x="94" y="56"/>
                      <a:pt x="94" y="56"/>
                    </a:cubicBezTo>
                    <a:cubicBezTo>
                      <a:pt x="92" y="60"/>
                      <a:pt x="92" y="60"/>
                      <a:pt x="92" y="60"/>
                    </a:cubicBezTo>
                    <a:cubicBezTo>
                      <a:pt x="88" y="61"/>
                      <a:pt x="88" y="61"/>
                      <a:pt x="88" y="61"/>
                    </a:cubicBezTo>
                    <a:cubicBezTo>
                      <a:pt x="89" y="74"/>
                      <a:pt x="89" y="74"/>
                      <a:pt x="89" y="74"/>
                    </a:cubicBezTo>
                    <a:cubicBezTo>
                      <a:pt x="91" y="76"/>
                      <a:pt x="91" y="76"/>
                      <a:pt x="91" y="76"/>
                    </a:cubicBezTo>
                    <a:cubicBezTo>
                      <a:pt x="94" y="75"/>
                      <a:pt x="94" y="75"/>
                      <a:pt x="94" y="75"/>
                    </a:cubicBezTo>
                    <a:cubicBezTo>
                      <a:pt x="97" y="74"/>
                      <a:pt x="97" y="74"/>
                      <a:pt x="97" y="74"/>
                    </a:cubicBezTo>
                    <a:cubicBezTo>
                      <a:pt x="101" y="75"/>
                      <a:pt x="101" y="75"/>
                      <a:pt x="101" y="75"/>
                    </a:cubicBezTo>
                    <a:cubicBezTo>
                      <a:pt x="102" y="76"/>
                      <a:pt x="102" y="76"/>
                      <a:pt x="102" y="76"/>
                    </a:cubicBezTo>
                    <a:cubicBezTo>
                      <a:pt x="106" y="75"/>
                      <a:pt x="106" y="75"/>
                      <a:pt x="106" y="75"/>
                    </a:cubicBezTo>
                    <a:cubicBezTo>
                      <a:pt x="119" y="76"/>
                      <a:pt x="119" y="76"/>
                      <a:pt x="119" y="76"/>
                    </a:cubicBezTo>
                    <a:cubicBezTo>
                      <a:pt x="122" y="78"/>
                      <a:pt x="122" y="78"/>
                      <a:pt x="122" y="78"/>
                    </a:cubicBezTo>
                    <a:cubicBezTo>
                      <a:pt x="126" y="80"/>
                      <a:pt x="126" y="80"/>
                      <a:pt x="126" y="80"/>
                    </a:cubicBezTo>
                    <a:cubicBezTo>
                      <a:pt x="129" y="79"/>
                      <a:pt x="129" y="79"/>
                      <a:pt x="129" y="79"/>
                    </a:cubicBezTo>
                    <a:cubicBezTo>
                      <a:pt x="127" y="75"/>
                      <a:pt x="127" y="75"/>
                      <a:pt x="127" y="75"/>
                    </a:cubicBezTo>
                    <a:cubicBezTo>
                      <a:pt x="124" y="72"/>
                      <a:pt x="124" y="72"/>
                      <a:pt x="124" y="72"/>
                    </a:cubicBezTo>
                    <a:cubicBezTo>
                      <a:pt x="124" y="69"/>
                      <a:pt x="124" y="69"/>
                      <a:pt x="124" y="69"/>
                    </a:cubicBezTo>
                    <a:cubicBezTo>
                      <a:pt x="124" y="68"/>
                      <a:pt x="124" y="68"/>
                      <a:pt x="124" y="68"/>
                    </a:cubicBezTo>
                    <a:cubicBezTo>
                      <a:pt x="118" y="60"/>
                      <a:pt x="118" y="60"/>
                      <a:pt x="118" y="60"/>
                    </a:cubicBezTo>
                    <a:cubicBezTo>
                      <a:pt x="116" y="57"/>
                      <a:pt x="116" y="57"/>
                      <a:pt x="116" y="57"/>
                    </a:cubicBezTo>
                    <a:cubicBezTo>
                      <a:pt x="116" y="50"/>
                      <a:pt x="116" y="50"/>
                      <a:pt x="116" y="50"/>
                    </a:cubicBezTo>
                    <a:cubicBezTo>
                      <a:pt x="115" y="43"/>
                      <a:pt x="115" y="43"/>
                      <a:pt x="115" y="43"/>
                    </a:cubicBezTo>
                    <a:cubicBezTo>
                      <a:pt x="116" y="36"/>
                      <a:pt x="116" y="36"/>
                      <a:pt x="116" y="36"/>
                    </a:cubicBezTo>
                    <a:cubicBezTo>
                      <a:pt x="113" y="31"/>
                      <a:pt x="113" y="31"/>
                      <a:pt x="113" y="31"/>
                    </a:cubicBezTo>
                    <a:cubicBezTo>
                      <a:pt x="111" y="28"/>
                      <a:pt x="111" y="28"/>
                      <a:pt x="111" y="28"/>
                    </a:cubicBezTo>
                    <a:cubicBezTo>
                      <a:pt x="115" y="28"/>
                      <a:pt x="115" y="28"/>
                      <a:pt x="115" y="28"/>
                    </a:cubicBezTo>
                    <a:cubicBezTo>
                      <a:pt x="118" y="22"/>
                      <a:pt x="118" y="22"/>
                      <a:pt x="118" y="22"/>
                    </a:cubicBezTo>
                    <a:cubicBezTo>
                      <a:pt x="124" y="18"/>
                      <a:pt x="124" y="18"/>
                      <a:pt x="124" y="18"/>
                    </a:cubicBezTo>
                    <a:cubicBezTo>
                      <a:pt x="127" y="12"/>
                      <a:pt x="127" y="12"/>
                      <a:pt x="127" y="12"/>
                    </a:cubicBezTo>
                    <a:cubicBezTo>
                      <a:pt x="129" y="13"/>
                      <a:pt x="129" y="13"/>
                      <a:pt x="129" y="13"/>
                    </a:cubicBezTo>
                    <a:cubicBezTo>
                      <a:pt x="128" y="20"/>
                      <a:pt x="128" y="20"/>
                      <a:pt x="128" y="20"/>
                    </a:cubicBezTo>
                    <a:cubicBezTo>
                      <a:pt x="125" y="21"/>
                      <a:pt x="125" y="21"/>
                      <a:pt x="125" y="21"/>
                    </a:cubicBezTo>
                    <a:cubicBezTo>
                      <a:pt x="123" y="27"/>
                      <a:pt x="123" y="27"/>
                      <a:pt x="123" y="27"/>
                    </a:cubicBezTo>
                    <a:cubicBezTo>
                      <a:pt x="123" y="31"/>
                      <a:pt x="123" y="31"/>
                      <a:pt x="123" y="31"/>
                    </a:cubicBezTo>
                    <a:cubicBezTo>
                      <a:pt x="127" y="31"/>
                      <a:pt x="127" y="31"/>
                      <a:pt x="127" y="31"/>
                    </a:cubicBezTo>
                    <a:cubicBezTo>
                      <a:pt x="122" y="36"/>
                      <a:pt x="122" y="36"/>
                      <a:pt x="122" y="36"/>
                    </a:cubicBezTo>
                    <a:cubicBezTo>
                      <a:pt x="120" y="39"/>
                      <a:pt x="120" y="39"/>
                      <a:pt x="120" y="39"/>
                    </a:cubicBezTo>
                    <a:cubicBezTo>
                      <a:pt x="126" y="41"/>
                      <a:pt x="126" y="41"/>
                      <a:pt x="126" y="41"/>
                    </a:cubicBezTo>
                    <a:cubicBezTo>
                      <a:pt x="128" y="42"/>
                      <a:pt x="128" y="42"/>
                      <a:pt x="128" y="42"/>
                    </a:cubicBezTo>
                    <a:cubicBezTo>
                      <a:pt x="131" y="46"/>
                      <a:pt x="131" y="46"/>
                      <a:pt x="131" y="46"/>
                    </a:cubicBezTo>
                    <a:cubicBezTo>
                      <a:pt x="130" y="47"/>
                      <a:pt x="130" y="47"/>
                      <a:pt x="130" y="47"/>
                    </a:cubicBezTo>
                    <a:cubicBezTo>
                      <a:pt x="134" y="51"/>
                      <a:pt x="134" y="51"/>
                      <a:pt x="134" y="51"/>
                    </a:cubicBezTo>
                    <a:cubicBezTo>
                      <a:pt x="134" y="53"/>
                      <a:pt x="134" y="53"/>
                      <a:pt x="134" y="53"/>
                    </a:cubicBezTo>
                    <a:cubicBezTo>
                      <a:pt x="130" y="57"/>
                      <a:pt x="130" y="57"/>
                      <a:pt x="130" y="57"/>
                    </a:cubicBezTo>
                    <a:cubicBezTo>
                      <a:pt x="127" y="57"/>
                      <a:pt x="127" y="57"/>
                      <a:pt x="127" y="57"/>
                    </a:cubicBezTo>
                    <a:cubicBezTo>
                      <a:pt x="128" y="61"/>
                      <a:pt x="128" y="61"/>
                      <a:pt x="128" y="61"/>
                    </a:cubicBezTo>
                    <a:cubicBezTo>
                      <a:pt x="127" y="63"/>
                      <a:pt x="127" y="63"/>
                      <a:pt x="127" y="63"/>
                    </a:cubicBezTo>
                    <a:cubicBezTo>
                      <a:pt x="129" y="65"/>
                      <a:pt x="129" y="65"/>
                      <a:pt x="129" y="65"/>
                    </a:cubicBezTo>
                    <a:cubicBezTo>
                      <a:pt x="133" y="66"/>
                      <a:pt x="133" y="66"/>
                      <a:pt x="133" y="66"/>
                    </a:cubicBezTo>
                    <a:cubicBezTo>
                      <a:pt x="139" y="66"/>
                      <a:pt x="139" y="66"/>
                      <a:pt x="139" y="66"/>
                    </a:cubicBezTo>
                    <a:cubicBezTo>
                      <a:pt x="143" y="69"/>
                      <a:pt x="143" y="69"/>
                      <a:pt x="143" y="69"/>
                    </a:cubicBezTo>
                    <a:cubicBezTo>
                      <a:pt x="146" y="75"/>
                      <a:pt x="146" y="75"/>
                      <a:pt x="146" y="75"/>
                    </a:cubicBezTo>
                    <a:cubicBezTo>
                      <a:pt x="148" y="80"/>
                      <a:pt x="148" y="80"/>
                      <a:pt x="148" y="80"/>
                    </a:cubicBezTo>
                    <a:cubicBezTo>
                      <a:pt x="147" y="81"/>
                      <a:pt x="147" y="81"/>
                      <a:pt x="147" y="81"/>
                    </a:cubicBezTo>
                    <a:cubicBezTo>
                      <a:pt x="150" y="84"/>
                      <a:pt x="150" y="84"/>
                      <a:pt x="150" y="84"/>
                    </a:cubicBezTo>
                    <a:cubicBezTo>
                      <a:pt x="152" y="89"/>
                      <a:pt x="152" y="89"/>
                      <a:pt x="152" y="89"/>
                    </a:cubicBezTo>
                    <a:cubicBezTo>
                      <a:pt x="149" y="98"/>
                      <a:pt x="149" y="98"/>
                      <a:pt x="149" y="98"/>
                    </a:cubicBezTo>
                    <a:cubicBezTo>
                      <a:pt x="148" y="104"/>
                      <a:pt x="148" y="104"/>
                      <a:pt x="148" y="104"/>
                    </a:cubicBezTo>
                    <a:cubicBezTo>
                      <a:pt x="148" y="114"/>
                      <a:pt x="148" y="114"/>
                      <a:pt x="148" y="114"/>
                    </a:cubicBezTo>
                    <a:cubicBezTo>
                      <a:pt x="149" y="120"/>
                      <a:pt x="149" y="120"/>
                      <a:pt x="149" y="120"/>
                    </a:cubicBezTo>
                    <a:cubicBezTo>
                      <a:pt x="151" y="123"/>
                      <a:pt x="151" y="123"/>
                      <a:pt x="151" y="123"/>
                    </a:cubicBezTo>
                    <a:cubicBezTo>
                      <a:pt x="153" y="116"/>
                      <a:pt x="153" y="116"/>
                      <a:pt x="153" y="116"/>
                    </a:cubicBezTo>
                    <a:cubicBezTo>
                      <a:pt x="154" y="105"/>
                      <a:pt x="154" y="105"/>
                      <a:pt x="154" y="105"/>
                    </a:cubicBezTo>
                    <a:cubicBezTo>
                      <a:pt x="157" y="102"/>
                      <a:pt x="157" y="102"/>
                      <a:pt x="157" y="102"/>
                    </a:cubicBezTo>
                    <a:cubicBezTo>
                      <a:pt x="157" y="99"/>
                      <a:pt x="157" y="99"/>
                      <a:pt x="157" y="99"/>
                    </a:cubicBezTo>
                    <a:cubicBezTo>
                      <a:pt x="157" y="97"/>
                      <a:pt x="157" y="97"/>
                      <a:pt x="157" y="97"/>
                    </a:cubicBezTo>
                    <a:cubicBezTo>
                      <a:pt x="160" y="95"/>
                      <a:pt x="160" y="95"/>
                      <a:pt x="160" y="95"/>
                    </a:cubicBezTo>
                    <a:cubicBezTo>
                      <a:pt x="163" y="91"/>
                      <a:pt x="163" y="91"/>
                      <a:pt x="163" y="91"/>
                    </a:cubicBezTo>
                    <a:cubicBezTo>
                      <a:pt x="163" y="82"/>
                      <a:pt x="163" y="82"/>
                      <a:pt x="163" y="82"/>
                    </a:cubicBezTo>
                    <a:cubicBezTo>
                      <a:pt x="163" y="79"/>
                      <a:pt x="163" y="79"/>
                      <a:pt x="163" y="79"/>
                    </a:cubicBezTo>
                    <a:cubicBezTo>
                      <a:pt x="163" y="75"/>
                      <a:pt x="163" y="75"/>
                      <a:pt x="163" y="75"/>
                    </a:cubicBezTo>
                    <a:cubicBezTo>
                      <a:pt x="167" y="71"/>
                      <a:pt x="167" y="71"/>
                      <a:pt x="167" y="71"/>
                    </a:cubicBezTo>
                    <a:cubicBezTo>
                      <a:pt x="168" y="74"/>
                      <a:pt x="168" y="74"/>
                      <a:pt x="168" y="74"/>
                    </a:cubicBezTo>
                    <a:cubicBezTo>
                      <a:pt x="167" y="77"/>
                      <a:pt x="167" y="77"/>
                      <a:pt x="167" y="77"/>
                    </a:cubicBezTo>
                    <a:cubicBezTo>
                      <a:pt x="167" y="77"/>
                      <a:pt x="165" y="80"/>
                      <a:pt x="165" y="80"/>
                    </a:cubicBezTo>
                    <a:cubicBezTo>
                      <a:pt x="166" y="81"/>
                      <a:pt x="168" y="82"/>
                      <a:pt x="168" y="82"/>
                    </a:cubicBezTo>
                    <a:cubicBezTo>
                      <a:pt x="170" y="77"/>
                      <a:pt x="170" y="77"/>
                      <a:pt x="170" y="77"/>
                    </a:cubicBezTo>
                    <a:cubicBezTo>
                      <a:pt x="170" y="68"/>
                      <a:pt x="170" y="68"/>
                      <a:pt x="170" y="68"/>
                    </a:cubicBezTo>
                    <a:cubicBezTo>
                      <a:pt x="169" y="54"/>
                      <a:pt x="169" y="54"/>
                      <a:pt x="169" y="54"/>
                    </a:cubicBezTo>
                    <a:cubicBezTo>
                      <a:pt x="169" y="54"/>
                      <a:pt x="169" y="54"/>
                      <a:pt x="169" y="54"/>
                    </a:cubicBezTo>
                    <a:cubicBezTo>
                      <a:pt x="148" y="57"/>
                      <a:pt x="148" y="57"/>
                      <a:pt x="148" y="57"/>
                    </a:cubicBezTo>
                    <a:lnTo>
                      <a:pt x="134" y="0"/>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5" name="Freeform 44">
                <a:extLst>
                  <a:ext uri="{FF2B5EF4-FFF2-40B4-BE49-F238E27FC236}">
                    <a16:creationId xmlns:a16="http://schemas.microsoft.com/office/drawing/2014/main" id="{0D11DA9B-84D4-024F-A44D-E8347CFC43F2}"/>
                  </a:ext>
                </a:extLst>
              </p:cNvPr>
              <p:cNvSpPr>
                <a:spLocks/>
              </p:cNvSpPr>
              <p:nvPr/>
            </p:nvSpPr>
            <p:spPr bwMode="auto">
              <a:xfrm>
                <a:off x="19364430" y="7625346"/>
                <a:ext cx="987803" cy="974706"/>
              </a:xfrm>
              <a:custGeom>
                <a:avLst/>
                <a:gdLst>
                  <a:gd name="T0" fmla="*/ 24 w 148"/>
                  <a:gd name="T1" fmla="*/ 136 h 146"/>
                  <a:gd name="T2" fmla="*/ 31 w 148"/>
                  <a:gd name="T3" fmla="*/ 144 h 146"/>
                  <a:gd name="T4" fmla="*/ 38 w 148"/>
                  <a:gd name="T5" fmla="*/ 146 h 146"/>
                  <a:gd name="T6" fmla="*/ 48 w 148"/>
                  <a:gd name="T7" fmla="*/ 142 h 146"/>
                  <a:gd name="T8" fmla="*/ 64 w 148"/>
                  <a:gd name="T9" fmla="*/ 134 h 146"/>
                  <a:gd name="T10" fmla="*/ 79 w 148"/>
                  <a:gd name="T11" fmla="*/ 125 h 146"/>
                  <a:gd name="T12" fmla="*/ 79 w 148"/>
                  <a:gd name="T13" fmla="*/ 112 h 146"/>
                  <a:gd name="T14" fmla="*/ 87 w 148"/>
                  <a:gd name="T15" fmla="*/ 99 h 146"/>
                  <a:gd name="T16" fmla="*/ 91 w 148"/>
                  <a:gd name="T17" fmla="*/ 80 h 146"/>
                  <a:gd name="T18" fmla="*/ 100 w 148"/>
                  <a:gd name="T19" fmla="*/ 84 h 146"/>
                  <a:gd name="T20" fmla="*/ 103 w 148"/>
                  <a:gd name="T21" fmla="*/ 83 h 146"/>
                  <a:gd name="T22" fmla="*/ 108 w 148"/>
                  <a:gd name="T23" fmla="*/ 71 h 146"/>
                  <a:gd name="T24" fmla="*/ 110 w 148"/>
                  <a:gd name="T25" fmla="*/ 67 h 146"/>
                  <a:gd name="T26" fmla="*/ 114 w 148"/>
                  <a:gd name="T27" fmla="*/ 69 h 146"/>
                  <a:gd name="T28" fmla="*/ 122 w 148"/>
                  <a:gd name="T29" fmla="*/ 57 h 146"/>
                  <a:gd name="T30" fmla="*/ 126 w 148"/>
                  <a:gd name="T31" fmla="*/ 47 h 146"/>
                  <a:gd name="T32" fmla="*/ 135 w 148"/>
                  <a:gd name="T33" fmla="*/ 44 h 146"/>
                  <a:gd name="T34" fmla="*/ 143 w 148"/>
                  <a:gd name="T35" fmla="*/ 47 h 146"/>
                  <a:gd name="T36" fmla="*/ 148 w 148"/>
                  <a:gd name="T37" fmla="*/ 43 h 146"/>
                  <a:gd name="T38" fmla="*/ 145 w 148"/>
                  <a:gd name="T39" fmla="*/ 36 h 146"/>
                  <a:gd name="T40" fmla="*/ 130 w 148"/>
                  <a:gd name="T41" fmla="*/ 28 h 146"/>
                  <a:gd name="T42" fmla="*/ 120 w 148"/>
                  <a:gd name="T43" fmla="*/ 31 h 146"/>
                  <a:gd name="T44" fmla="*/ 113 w 148"/>
                  <a:gd name="T45" fmla="*/ 34 h 146"/>
                  <a:gd name="T46" fmla="*/ 107 w 148"/>
                  <a:gd name="T47" fmla="*/ 40 h 146"/>
                  <a:gd name="T48" fmla="*/ 94 w 148"/>
                  <a:gd name="T49" fmla="*/ 50 h 146"/>
                  <a:gd name="T50" fmla="*/ 88 w 148"/>
                  <a:gd name="T51" fmla="*/ 33 h 146"/>
                  <a:gd name="T52" fmla="*/ 51 w 148"/>
                  <a:gd name="T53" fmla="*/ 0 h 146"/>
                  <a:gd name="T54" fmla="*/ 47 w 148"/>
                  <a:gd name="T55" fmla="*/ 3 h 146"/>
                  <a:gd name="T56" fmla="*/ 48 w 148"/>
                  <a:gd name="T57" fmla="*/ 7 h 146"/>
                  <a:gd name="T58" fmla="*/ 48 w 148"/>
                  <a:gd name="T59" fmla="*/ 19 h 146"/>
                  <a:gd name="T60" fmla="*/ 47 w 148"/>
                  <a:gd name="T61" fmla="*/ 28 h 146"/>
                  <a:gd name="T62" fmla="*/ 46 w 148"/>
                  <a:gd name="T63" fmla="*/ 39 h 146"/>
                  <a:gd name="T64" fmla="*/ 36 w 148"/>
                  <a:gd name="T65" fmla="*/ 51 h 146"/>
                  <a:gd name="T66" fmla="*/ 28 w 148"/>
                  <a:gd name="T67" fmla="*/ 55 h 146"/>
                  <a:gd name="T68" fmla="*/ 21 w 148"/>
                  <a:gd name="T69" fmla="*/ 65 h 146"/>
                  <a:gd name="T70" fmla="*/ 19 w 148"/>
                  <a:gd name="T71" fmla="*/ 76 h 146"/>
                  <a:gd name="T72" fmla="*/ 12 w 148"/>
                  <a:gd name="T73" fmla="*/ 76 h 146"/>
                  <a:gd name="T74" fmla="*/ 9 w 148"/>
                  <a:gd name="T75" fmla="*/ 91 h 146"/>
                  <a:gd name="T76" fmla="*/ 3 w 148"/>
                  <a:gd name="T77" fmla="*/ 98 h 146"/>
                  <a:gd name="T78" fmla="*/ 3 w 148"/>
                  <a:gd name="T79" fmla="*/ 114 h 146"/>
                  <a:gd name="T80" fmla="*/ 10 w 148"/>
                  <a:gd name="T81" fmla="*/ 127 h 146"/>
                  <a:gd name="T82" fmla="*/ 19 w 148"/>
                  <a:gd name="T83" fmla="*/ 138 h 146"/>
                  <a:gd name="T84" fmla="*/ 21 w 148"/>
                  <a:gd name="T85" fmla="*/ 13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46">
                    <a:moveTo>
                      <a:pt x="21" y="136"/>
                    </a:moveTo>
                    <a:lnTo>
                      <a:pt x="24" y="136"/>
                    </a:lnTo>
                    <a:lnTo>
                      <a:pt x="25" y="139"/>
                    </a:lnTo>
                    <a:lnTo>
                      <a:pt x="31" y="144"/>
                    </a:lnTo>
                    <a:lnTo>
                      <a:pt x="36" y="146"/>
                    </a:lnTo>
                    <a:lnTo>
                      <a:pt x="38" y="146"/>
                    </a:lnTo>
                    <a:lnTo>
                      <a:pt x="44" y="139"/>
                    </a:lnTo>
                    <a:lnTo>
                      <a:pt x="48" y="142"/>
                    </a:lnTo>
                    <a:lnTo>
                      <a:pt x="57" y="140"/>
                    </a:lnTo>
                    <a:lnTo>
                      <a:pt x="64" y="134"/>
                    </a:lnTo>
                    <a:lnTo>
                      <a:pt x="75" y="128"/>
                    </a:lnTo>
                    <a:lnTo>
                      <a:pt x="79" y="125"/>
                    </a:lnTo>
                    <a:lnTo>
                      <a:pt x="78" y="117"/>
                    </a:lnTo>
                    <a:lnTo>
                      <a:pt x="79" y="112"/>
                    </a:lnTo>
                    <a:lnTo>
                      <a:pt x="84" y="107"/>
                    </a:lnTo>
                    <a:lnTo>
                      <a:pt x="87" y="99"/>
                    </a:lnTo>
                    <a:lnTo>
                      <a:pt x="90" y="87"/>
                    </a:lnTo>
                    <a:lnTo>
                      <a:pt x="91" y="80"/>
                    </a:lnTo>
                    <a:lnTo>
                      <a:pt x="95" y="82"/>
                    </a:lnTo>
                    <a:lnTo>
                      <a:pt x="100" y="84"/>
                    </a:lnTo>
                    <a:lnTo>
                      <a:pt x="102" y="85"/>
                    </a:lnTo>
                    <a:lnTo>
                      <a:pt x="103" y="83"/>
                    </a:lnTo>
                    <a:lnTo>
                      <a:pt x="106" y="75"/>
                    </a:lnTo>
                    <a:lnTo>
                      <a:pt x="108" y="71"/>
                    </a:lnTo>
                    <a:lnTo>
                      <a:pt x="109" y="67"/>
                    </a:lnTo>
                    <a:lnTo>
                      <a:pt x="110" y="67"/>
                    </a:lnTo>
                    <a:lnTo>
                      <a:pt x="113" y="67"/>
                    </a:lnTo>
                    <a:lnTo>
                      <a:pt x="114" y="69"/>
                    </a:lnTo>
                    <a:lnTo>
                      <a:pt x="119" y="60"/>
                    </a:lnTo>
                    <a:lnTo>
                      <a:pt x="122" y="57"/>
                    </a:lnTo>
                    <a:lnTo>
                      <a:pt x="124" y="54"/>
                    </a:lnTo>
                    <a:lnTo>
                      <a:pt x="126" y="47"/>
                    </a:lnTo>
                    <a:lnTo>
                      <a:pt x="126" y="39"/>
                    </a:lnTo>
                    <a:lnTo>
                      <a:pt x="135" y="44"/>
                    </a:lnTo>
                    <a:lnTo>
                      <a:pt x="141" y="47"/>
                    </a:lnTo>
                    <a:lnTo>
                      <a:pt x="143" y="47"/>
                    </a:lnTo>
                    <a:lnTo>
                      <a:pt x="146" y="44"/>
                    </a:lnTo>
                    <a:lnTo>
                      <a:pt x="148" y="43"/>
                    </a:lnTo>
                    <a:lnTo>
                      <a:pt x="147" y="43"/>
                    </a:lnTo>
                    <a:lnTo>
                      <a:pt x="145" y="36"/>
                    </a:lnTo>
                    <a:lnTo>
                      <a:pt x="141" y="31"/>
                    </a:lnTo>
                    <a:lnTo>
                      <a:pt x="130" y="28"/>
                    </a:lnTo>
                    <a:lnTo>
                      <a:pt x="123" y="31"/>
                    </a:lnTo>
                    <a:lnTo>
                      <a:pt x="120" y="31"/>
                    </a:lnTo>
                    <a:lnTo>
                      <a:pt x="114" y="35"/>
                    </a:lnTo>
                    <a:lnTo>
                      <a:pt x="113" y="34"/>
                    </a:lnTo>
                    <a:lnTo>
                      <a:pt x="112" y="34"/>
                    </a:lnTo>
                    <a:lnTo>
                      <a:pt x="107" y="40"/>
                    </a:lnTo>
                    <a:lnTo>
                      <a:pt x="102" y="40"/>
                    </a:lnTo>
                    <a:lnTo>
                      <a:pt x="94" y="50"/>
                    </a:lnTo>
                    <a:lnTo>
                      <a:pt x="91" y="50"/>
                    </a:lnTo>
                    <a:lnTo>
                      <a:pt x="88" y="33"/>
                    </a:lnTo>
                    <a:lnTo>
                      <a:pt x="57" y="39"/>
                    </a:lnTo>
                    <a:lnTo>
                      <a:pt x="51" y="0"/>
                    </a:lnTo>
                    <a:lnTo>
                      <a:pt x="48" y="0"/>
                    </a:lnTo>
                    <a:lnTo>
                      <a:pt x="47" y="3"/>
                    </a:lnTo>
                    <a:lnTo>
                      <a:pt x="48" y="6"/>
                    </a:lnTo>
                    <a:lnTo>
                      <a:pt x="48" y="7"/>
                    </a:lnTo>
                    <a:lnTo>
                      <a:pt x="48" y="15"/>
                    </a:lnTo>
                    <a:lnTo>
                      <a:pt x="48" y="19"/>
                    </a:lnTo>
                    <a:lnTo>
                      <a:pt x="47" y="22"/>
                    </a:lnTo>
                    <a:lnTo>
                      <a:pt x="47" y="28"/>
                    </a:lnTo>
                    <a:lnTo>
                      <a:pt x="46" y="36"/>
                    </a:lnTo>
                    <a:lnTo>
                      <a:pt x="46" y="39"/>
                    </a:lnTo>
                    <a:lnTo>
                      <a:pt x="44" y="44"/>
                    </a:lnTo>
                    <a:lnTo>
                      <a:pt x="36" y="51"/>
                    </a:lnTo>
                    <a:lnTo>
                      <a:pt x="33" y="55"/>
                    </a:lnTo>
                    <a:lnTo>
                      <a:pt x="28" y="55"/>
                    </a:lnTo>
                    <a:lnTo>
                      <a:pt x="24" y="61"/>
                    </a:lnTo>
                    <a:lnTo>
                      <a:pt x="21" y="65"/>
                    </a:lnTo>
                    <a:lnTo>
                      <a:pt x="20" y="75"/>
                    </a:lnTo>
                    <a:lnTo>
                      <a:pt x="19" y="76"/>
                    </a:lnTo>
                    <a:lnTo>
                      <a:pt x="15" y="73"/>
                    </a:lnTo>
                    <a:lnTo>
                      <a:pt x="12" y="76"/>
                    </a:lnTo>
                    <a:lnTo>
                      <a:pt x="9" y="87"/>
                    </a:lnTo>
                    <a:lnTo>
                      <a:pt x="9" y="91"/>
                    </a:lnTo>
                    <a:lnTo>
                      <a:pt x="7" y="94"/>
                    </a:lnTo>
                    <a:lnTo>
                      <a:pt x="3" y="98"/>
                    </a:lnTo>
                    <a:lnTo>
                      <a:pt x="0" y="101"/>
                    </a:lnTo>
                    <a:lnTo>
                      <a:pt x="3" y="114"/>
                    </a:lnTo>
                    <a:lnTo>
                      <a:pt x="5" y="120"/>
                    </a:lnTo>
                    <a:lnTo>
                      <a:pt x="10" y="127"/>
                    </a:lnTo>
                    <a:lnTo>
                      <a:pt x="15" y="132"/>
                    </a:lnTo>
                    <a:lnTo>
                      <a:pt x="19" y="138"/>
                    </a:lnTo>
                    <a:lnTo>
                      <a:pt x="20" y="138"/>
                    </a:lnTo>
                    <a:lnTo>
                      <a:pt x="21" y="136"/>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6" name="Freeform 45">
                <a:extLst>
                  <a:ext uri="{FF2B5EF4-FFF2-40B4-BE49-F238E27FC236}">
                    <a16:creationId xmlns:a16="http://schemas.microsoft.com/office/drawing/2014/main" id="{5677B8A7-80EA-BD43-B6CF-27152A8296B9}"/>
                  </a:ext>
                </a:extLst>
              </p:cNvPr>
              <p:cNvSpPr>
                <a:spLocks/>
              </p:cNvSpPr>
              <p:nvPr/>
            </p:nvSpPr>
            <p:spPr bwMode="auto">
              <a:xfrm>
                <a:off x="17916104" y="8146077"/>
                <a:ext cx="1575140" cy="814479"/>
              </a:xfrm>
              <a:custGeom>
                <a:avLst/>
                <a:gdLst>
                  <a:gd name="T0" fmla="*/ 207 w 236"/>
                  <a:gd name="T1" fmla="*/ 91 h 122"/>
                  <a:gd name="T2" fmla="*/ 214 w 236"/>
                  <a:gd name="T3" fmla="*/ 88 h 122"/>
                  <a:gd name="T4" fmla="*/ 220 w 236"/>
                  <a:gd name="T5" fmla="*/ 74 h 122"/>
                  <a:gd name="T6" fmla="*/ 235 w 236"/>
                  <a:gd name="T7" fmla="*/ 64 h 122"/>
                  <a:gd name="T8" fmla="*/ 232 w 236"/>
                  <a:gd name="T9" fmla="*/ 54 h 122"/>
                  <a:gd name="T10" fmla="*/ 222 w 236"/>
                  <a:gd name="T11" fmla="*/ 42 h 122"/>
                  <a:gd name="T12" fmla="*/ 217 w 236"/>
                  <a:gd name="T13" fmla="*/ 23 h 122"/>
                  <a:gd name="T14" fmla="*/ 215 w 236"/>
                  <a:gd name="T15" fmla="*/ 22 h 122"/>
                  <a:gd name="T16" fmla="*/ 207 w 236"/>
                  <a:gd name="T17" fmla="*/ 13 h 122"/>
                  <a:gd name="T18" fmla="*/ 203 w 236"/>
                  <a:gd name="T19" fmla="*/ 11 h 122"/>
                  <a:gd name="T20" fmla="*/ 199 w 236"/>
                  <a:gd name="T21" fmla="*/ 15 h 122"/>
                  <a:gd name="T22" fmla="*/ 192 w 236"/>
                  <a:gd name="T23" fmla="*/ 17 h 122"/>
                  <a:gd name="T24" fmla="*/ 184 w 236"/>
                  <a:gd name="T25" fmla="*/ 13 h 122"/>
                  <a:gd name="T26" fmla="*/ 181 w 236"/>
                  <a:gd name="T27" fmla="*/ 16 h 122"/>
                  <a:gd name="T28" fmla="*/ 178 w 236"/>
                  <a:gd name="T29" fmla="*/ 18 h 122"/>
                  <a:gd name="T30" fmla="*/ 174 w 236"/>
                  <a:gd name="T31" fmla="*/ 15 h 122"/>
                  <a:gd name="T32" fmla="*/ 166 w 236"/>
                  <a:gd name="T33" fmla="*/ 13 h 122"/>
                  <a:gd name="T34" fmla="*/ 163 w 236"/>
                  <a:gd name="T35" fmla="*/ 7 h 122"/>
                  <a:gd name="T36" fmla="*/ 154 w 236"/>
                  <a:gd name="T37" fmla="*/ 0 h 122"/>
                  <a:gd name="T38" fmla="*/ 148 w 236"/>
                  <a:gd name="T39" fmla="*/ 3 h 122"/>
                  <a:gd name="T40" fmla="*/ 141 w 236"/>
                  <a:gd name="T41" fmla="*/ 2 h 122"/>
                  <a:gd name="T42" fmla="*/ 144 w 236"/>
                  <a:gd name="T43" fmla="*/ 7 h 122"/>
                  <a:gd name="T44" fmla="*/ 144 w 236"/>
                  <a:gd name="T45" fmla="*/ 15 h 122"/>
                  <a:gd name="T46" fmla="*/ 138 w 236"/>
                  <a:gd name="T47" fmla="*/ 17 h 122"/>
                  <a:gd name="T48" fmla="*/ 126 w 236"/>
                  <a:gd name="T49" fmla="*/ 20 h 122"/>
                  <a:gd name="T50" fmla="*/ 125 w 236"/>
                  <a:gd name="T51" fmla="*/ 23 h 122"/>
                  <a:gd name="T52" fmla="*/ 124 w 236"/>
                  <a:gd name="T53" fmla="*/ 29 h 122"/>
                  <a:gd name="T54" fmla="*/ 120 w 236"/>
                  <a:gd name="T55" fmla="*/ 37 h 122"/>
                  <a:gd name="T56" fmla="*/ 115 w 236"/>
                  <a:gd name="T57" fmla="*/ 39 h 122"/>
                  <a:gd name="T58" fmla="*/ 112 w 236"/>
                  <a:gd name="T59" fmla="*/ 47 h 122"/>
                  <a:gd name="T60" fmla="*/ 104 w 236"/>
                  <a:gd name="T61" fmla="*/ 52 h 122"/>
                  <a:gd name="T62" fmla="*/ 100 w 236"/>
                  <a:gd name="T63" fmla="*/ 48 h 122"/>
                  <a:gd name="T64" fmla="*/ 97 w 236"/>
                  <a:gd name="T65" fmla="*/ 44 h 122"/>
                  <a:gd name="T66" fmla="*/ 93 w 236"/>
                  <a:gd name="T67" fmla="*/ 51 h 122"/>
                  <a:gd name="T68" fmla="*/ 92 w 236"/>
                  <a:gd name="T69" fmla="*/ 58 h 122"/>
                  <a:gd name="T70" fmla="*/ 86 w 236"/>
                  <a:gd name="T71" fmla="*/ 55 h 122"/>
                  <a:gd name="T72" fmla="*/ 80 w 236"/>
                  <a:gd name="T73" fmla="*/ 56 h 122"/>
                  <a:gd name="T74" fmla="*/ 76 w 236"/>
                  <a:gd name="T75" fmla="*/ 61 h 122"/>
                  <a:gd name="T76" fmla="*/ 71 w 236"/>
                  <a:gd name="T77" fmla="*/ 60 h 122"/>
                  <a:gd name="T78" fmla="*/ 63 w 236"/>
                  <a:gd name="T79" fmla="*/ 57 h 122"/>
                  <a:gd name="T80" fmla="*/ 57 w 236"/>
                  <a:gd name="T81" fmla="*/ 61 h 122"/>
                  <a:gd name="T82" fmla="*/ 49 w 236"/>
                  <a:gd name="T83" fmla="*/ 66 h 122"/>
                  <a:gd name="T84" fmla="*/ 43 w 236"/>
                  <a:gd name="T85" fmla="*/ 67 h 122"/>
                  <a:gd name="T86" fmla="*/ 43 w 236"/>
                  <a:gd name="T87" fmla="*/ 72 h 122"/>
                  <a:gd name="T88" fmla="*/ 44 w 236"/>
                  <a:gd name="T89" fmla="*/ 78 h 122"/>
                  <a:gd name="T90" fmla="*/ 36 w 236"/>
                  <a:gd name="T91" fmla="*/ 81 h 122"/>
                  <a:gd name="T92" fmla="*/ 33 w 236"/>
                  <a:gd name="T93" fmla="*/ 88 h 122"/>
                  <a:gd name="T94" fmla="*/ 33 w 236"/>
                  <a:gd name="T95" fmla="*/ 94 h 122"/>
                  <a:gd name="T96" fmla="*/ 27 w 236"/>
                  <a:gd name="T97" fmla="*/ 94 h 122"/>
                  <a:gd name="T98" fmla="*/ 19 w 236"/>
                  <a:gd name="T99" fmla="*/ 89 h 122"/>
                  <a:gd name="T100" fmla="*/ 14 w 236"/>
                  <a:gd name="T101" fmla="*/ 93 h 122"/>
                  <a:gd name="T102" fmla="*/ 10 w 236"/>
                  <a:gd name="T103" fmla="*/ 97 h 122"/>
                  <a:gd name="T104" fmla="*/ 14 w 236"/>
                  <a:gd name="T105" fmla="*/ 102 h 122"/>
                  <a:gd name="T106" fmla="*/ 14 w 236"/>
                  <a:gd name="T107" fmla="*/ 107 h 122"/>
                  <a:gd name="T108" fmla="*/ 12 w 236"/>
                  <a:gd name="T109" fmla="*/ 115 h 122"/>
                  <a:gd name="T110" fmla="*/ 7 w 236"/>
                  <a:gd name="T111" fmla="*/ 116 h 122"/>
                  <a:gd name="T112" fmla="*/ 5 w 236"/>
                  <a:gd name="T113" fmla="*/ 117 h 122"/>
                  <a:gd name="T114" fmla="*/ 0 w 236"/>
                  <a:gd name="T115" fmla="*/ 117 h 122"/>
                  <a:gd name="T116" fmla="*/ 0 w 236"/>
                  <a:gd name="T117" fmla="*/ 121 h 122"/>
                  <a:gd name="T118" fmla="*/ 2 w 236"/>
                  <a:gd name="T119" fmla="*/ 121 h 122"/>
                  <a:gd name="T120" fmla="*/ 50 w 236"/>
                  <a:gd name="T121" fmla="*/ 111 h 122"/>
                  <a:gd name="T122" fmla="*/ 192 w 236"/>
                  <a:gd name="T123" fmla="*/ 100 h 122"/>
                  <a:gd name="T124" fmla="*/ 202 w 236"/>
                  <a:gd name="T125" fmla="*/ 94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122">
                    <a:moveTo>
                      <a:pt x="202" y="94"/>
                    </a:moveTo>
                    <a:lnTo>
                      <a:pt x="207" y="91"/>
                    </a:lnTo>
                    <a:lnTo>
                      <a:pt x="210" y="89"/>
                    </a:lnTo>
                    <a:lnTo>
                      <a:pt x="214" y="88"/>
                    </a:lnTo>
                    <a:lnTo>
                      <a:pt x="217" y="79"/>
                    </a:lnTo>
                    <a:lnTo>
                      <a:pt x="220" y="74"/>
                    </a:lnTo>
                    <a:lnTo>
                      <a:pt x="231" y="70"/>
                    </a:lnTo>
                    <a:lnTo>
                      <a:pt x="235" y="64"/>
                    </a:lnTo>
                    <a:lnTo>
                      <a:pt x="236" y="60"/>
                    </a:lnTo>
                    <a:lnTo>
                      <a:pt x="232" y="54"/>
                    </a:lnTo>
                    <a:lnTo>
                      <a:pt x="227" y="49"/>
                    </a:lnTo>
                    <a:lnTo>
                      <a:pt x="222" y="42"/>
                    </a:lnTo>
                    <a:lnTo>
                      <a:pt x="220" y="36"/>
                    </a:lnTo>
                    <a:lnTo>
                      <a:pt x="217" y="23"/>
                    </a:lnTo>
                    <a:lnTo>
                      <a:pt x="218" y="22"/>
                    </a:lnTo>
                    <a:lnTo>
                      <a:pt x="215" y="22"/>
                    </a:lnTo>
                    <a:lnTo>
                      <a:pt x="211" y="18"/>
                    </a:lnTo>
                    <a:lnTo>
                      <a:pt x="207" y="13"/>
                    </a:lnTo>
                    <a:lnTo>
                      <a:pt x="204" y="10"/>
                    </a:lnTo>
                    <a:lnTo>
                      <a:pt x="203" y="11"/>
                    </a:lnTo>
                    <a:lnTo>
                      <a:pt x="201" y="12"/>
                    </a:lnTo>
                    <a:lnTo>
                      <a:pt x="199" y="15"/>
                    </a:lnTo>
                    <a:lnTo>
                      <a:pt x="198" y="16"/>
                    </a:lnTo>
                    <a:lnTo>
                      <a:pt x="192" y="17"/>
                    </a:lnTo>
                    <a:lnTo>
                      <a:pt x="187" y="15"/>
                    </a:lnTo>
                    <a:lnTo>
                      <a:pt x="184" y="13"/>
                    </a:lnTo>
                    <a:lnTo>
                      <a:pt x="183" y="14"/>
                    </a:lnTo>
                    <a:lnTo>
                      <a:pt x="181" y="16"/>
                    </a:lnTo>
                    <a:lnTo>
                      <a:pt x="181" y="17"/>
                    </a:lnTo>
                    <a:lnTo>
                      <a:pt x="178" y="18"/>
                    </a:lnTo>
                    <a:lnTo>
                      <a:pt x="176" y="16"/>
                    </a:lnTo>
                    <a:lnTo>
                      <a:pt x="174" y="15"/>
                    </a:lnTo>
                    <a:lnTo>
                      <a:pt x="171" y="14"/>
                    </a:lnTo>
                    <a:lnTo>
                      <a:pt x="166" y="13"/>
                    </a:lnTo>
                    <a:lnTo>
                      <a:pt x="165" y="11"/>
                    </a:lnTo>
                    <a:lnTo>
                      <a:pt x="163" y="7"/>
                    </a:lnTo>
                    <a:lnTo>
                      <a:pt x="159" y="4"/>
                    </a:lnTo>
                    <a:lnTo>
                      <a:pt x="154" y="0"/>
                    </a:lnTo>
                    <a:lnTo>
                      <a:pt x="153" y="1"/>
                    </a:lnTo>
                    <a:lnTo>
                      <a:pt x="148" y="3"/>
                    </a:lnTo>
                    <a:lnTo>
                      <a:pt x="143" y="1"/>
                    </a:lnTo>
                    <a:lnTo>
                      <a:pt x="141" y="2"/>
                    </a:lnTo>
                    <a:lnTo>
                      <a:pt x="142" y="6"/>
                    </a:lnTo>
                    <a:lnTo>
                      <a:pt x="144" y="7"/>
                    </a:lnTo>
                    <a:lnTo>
                      <a:pt x="143" y="9"/>
                    </a:lnTo>
                    <a:lnTo>
                      <a:pt x="144" y="15"/>
                    </a:lnTo>
                    <a:lnTo>
                      <a:pt x="142" y="17"/>
                    </a:lnTo>
                    <a:lnTo>
                      <a:pt x="138" y="17"/>
                    </a:lnTo>
                    <a:lnTo>
                      <a:pt x="134" y="19"/>
                    </a:lnTo>
                    <a:lnTo>
                      <a:pt x="126" y="20"/>
                    </a:lnTo>
                    <a:lnTo>
                      <a:pt x="125" y="21"/>
                    </a:lnTo>
                    <a:lnTo>
                      <a:pt x="125" y="23"/>
                    </a:lnTo>
                    <a:lnTo>
                      <a:pt x="124" y="25"/>
                    </a:lnTo>
                    <a:lnTo>
                      <a:pt x="124" y="29"/>
                    </a:lnTo>
                    <a:lnTo>
                      <a:pt x="122" y="33"/>
                    </a:lnTo>
                    <a:lnTo>
                      <a:pt x="120" y="37"/>
                    </a:lnTo>
                    <a:lnTo>
                      <a:pt x="118" y="39"/>
                    </a:lnTo>
                    <a:lnTo>
                      <a:pt x="115" y="39"/>
                    </a:lnTo>
                    <a:lnTo>
                      <a:pt x="112" y="44"/>
                    </a:lnTo>
                    <a:lnTo>
                      <a:pt x="112" y="47"/>
                    </a:lnTo>
                    <a:lnTo>
                      <a:pt x="110" y="51"/>
                    </a:lnTo>
                    <a:lnTo>
                      <a:pt x="104" y="52"/>
                    </a:lnTo>
                    <a:lnTo>
                      <a:pt x="103" y="51"/>
                    </a:lnTo>
                    <a:lnTo>
                      <a:pt x="100" y="48"/>
                    </a:lnTo>
                    <a:lnTo>
                      <a:pt x="99" y="44"/>
                    </a:lnTo>
                    <a:lnTo>
                      <a:pt x="97" y="44"/>
                    </a:lnTo>
                    <a:lnTo>
                      <a:pt x="96" y="48"/>
                    </a:lnTo>
                    <a:lnTo>
                      <a:pt x="93" y="51"/>
                    </a:lnTo>
                    <a:lnTo>
                      <a:pt x="93" y="55"/>
                    </a:lnTo>
                    <a:lnTo>
                      <a:pt x="92" y="58"/>
                    </a:lnTo>
                    <a:lnTo>
                      <a:pt x="88" y="57"/>
                    </a:lnTo>
                    <a:lnTo>
                      <a:pt x="86" y="55"/>
                    </a:lnTo>
                    <a:lnTo>
                      <a:pt x="82" y="55"/>
                    </a:lnTo>
                    <a:lnTo>
                      <a:pt x="80" y="56"/>
                    </a:lnTo>
                    <a:lnTo>
                      <a:pt x="76" y="57"/>
                    </a:lnTo>
                    <a:lnTo>
                      <a:pt x="76" y="61"/>
                    </a:lnTo>
                    <a:lnTo>
                      <a:pt x="75" y="62"/>
                    </a:lnTo>
                    <a:lnTo>
                      <a:pt x="71" y="60"/>
                    </a:lnTo>
                    <a:lnTo>
                      <a:pt x="68" y="57"/>
                    </a:lnTo>
                    <a:lnTo>
                      <a:pt x="63" y="57"/>
                    </a:lnTo>
                    <a:lnTo>
                      <a:pt x="60" y="57"/>
                    </a:lnTo>
                    <a:lnTo>
                      <a:pt x="57" y="61"/>
                    </a:lnTo>
                    <a:lnTo>
                      <a:pt x="49" y="61"/>
                    </a:lnTo>
                    <a:lnTo>
                      <a:pt x="49" y="66"/>
                    </a:lnTo>
                    <a:lnTo>
                      <a:pt x="46" y="66"/>
                    </a:lnTo>
                    <a:lnTo>
                      <a:pt x="43" y="67"/>
                    </a:lnTo>
                    <a:lnTo>
                      <a:pt x="43" y="71"/>
                    </a:lnTo>
                    <a:lnTo>
                      <a:pt x="43" y="72"/>
                    </a:lnTo>
                    <a:lnTo>
                      <a:pt x="43" y="75"/>
                    </a:lnTo>
                    <a:lnTo>
                      <a:pt x="44" y="78"/>
                    </a:lnTo>
                    <a:lnTo>
                      <a:pt x="42" y="79"/>
                    </a:lnTo>
                    <a:lnTo>
                      <a:pt x="36" y="81"/>
                    </a:lnTo>
                    <a:lnTo>
                      <a:pt x="33" y="83"/>
                    </a:lnTo>
                    <a:lnTo>
                      <a:pt x="33" y="88"/>
                    </a:lnTo>
                    <a:lnTo>
                      <a:pt x="35" y="93"/>
                    </a:lnTo>
                    <a:lnTo>
                      <a:pt x="33" y="94"/>
                    </a:lnTo>
                    <a:lnTo>
                      <a:pt x="30" y="94"/>
                    </a:lnTo>
                    <a:lnTo>
                      <a:pt x="27" y="94"/>
                    </a:lnTo>
                    <a:lnTo>
                      <a:pt x="23" y="91"/>
                    </a:lnTo>
                    <a:lnTo>
                      <a:pt x="19" y="89"/>
                    </a:lnTo>
                    <a:lnTo>
                      <a:pt x="17" y="90"/>
                    </a:lnTo>
                    <a:lnTo>
                      <a:pt x="14" y="93"/>
                    </a:lnTo>
                    <a:lnTo>
                      <a:pt x="11" y="94"/>
                    </a:lnTo>
                    <a:lnTo>
                      <a:pt x="10" y="97"/>
                    </a:lnTo>
                    <a:lnTo>
                      <a:pt x="10" y="100"/>
                    </a:lnTo>
                    <a:lnTo>
                      <a:pt x="14" y="102"/>
                    </a:lnTo>
                    <a:lnTo>
                      <a:pt x="14" y="104"/>
                    </a:lnTo>
                    <a:lnTo>
                      <a:pt x="14" y="107"/>
                    </a:lnTo>
                    <a:lnTo>
                      <a:pt x="14" y="112"/>
                    </a:lnTo>
                    <a:lnTo>
                      <a:pt x="12" y="115"/>
                    </a:lnTo>
                    <a:lnTo>
                      <a:pt x="10" y="116"/>
                    </a:lnTo>
                    <a:lnTo>
                      <a:pt x="7" y="116"/>
                    </a:lnTo>
                    <a:lnTo>
                      <a:pt x="5" y="117"/>
                    </a:lnTo>
                    <a:lnTo>
                      <a:pt x="5" y="117"/>
                    </a:lnTo>
                    <a:lnTo>
                      <a:pt x="4" y="117"/>
                    </a:lnTo>
                    <a:lnTo>
                      <a:pt x="0" y="117"/>
                    </a:lnTo>
                    <a:lnTo>
                      <a:pt x="0" y="118"/>
                    </a:lnTo>
                    <a:lnTo>
                      <a:pt x="0" y="121"/>
                    </a:lnTo>
                    <a:lnTo>
                      <a:pt x="0" y="122"/>
                    </a:lnTo>
                    <a:lnTo>
                      <a:pt x="2" y="121"/>
                    </a:lnTo>
                    <a:lnTo>
                      <a:pt x="52" y="120"/>
                    </a:lnTo>
                    <a:lnTo>
                      <a:pt x="50" y="111"/>
                    </a:lnTo>
                    <a:lnTo>
                      <a:pt x="143" y="105"/>
                    </a:lnTo>
                    <a:lnTo>
                      <a:pt x="192" y="100"/>
                    </a:lnTo>
                    <a:lnTo>
                      <a:pt x="198" y="97"/>
                    </a:lnTo>
                    <a:lnTo>
                      <a:pt x="202" y="94"/>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7" name="Freeform 46">
                <a:extLst>
                  <a:ext uri="{FF2B5EF4-FFF2-40B4-BE49-F238E27FC236}">
                    <a16:creationId xmlns:a16="http://schemas.microsoft.com/office/drawing/2014/main" id="{5432C89B-7E25-2543-A510-B8679CC48F94}"/>
                  </a:ext>
                </a:extLst>
              </p:cNvPr>
              <p:cNvSpPr>
                <a:spLocks/>
              </p:cNvSpPr>
              <p:nvPr/>
            </p:nvSpPr>
            <p:spPr bwMode="auto">
              <a:xfrm>
                <a:off x="16574560" y="7859006"/>
                <a:ext cx="1434980" cy="1248424"/>
              </a:xfrm>
              <a:custGeom>
                <a:avLst/>
                <a:gdLst>
                  <a:gd name="T0" fmla="*/ 238 w 254"/>
                  <a:gd name="T1" fmla="*/ 190 h 221"/>
                  <a:gd name="T2" fmla="*/ 242 w 254"/>
                  <a:gd name="T3" fmla="*/ 189 h 221"/>
                  <a:gd name="T4" fmla="*/ 244 w 254"/>
                  <a:gd name="T5" fmla="*/ 188 h 221"/>
                  <a:gd name="T6" fmla="*/ 249 w 254"/>
                  <a:gd name="T7" fmla="*/ 187 h 221"/>
                  <a:gd name="T8" fmla="*/ 254 w 254"/>
                  <a:gd name="T9" fmla="*/ 183 h 221"/>
                  <a:gd name="T10" fmla="*/ 254 w 254"/>
                  <a:gd name="T11" fmla="*/ 173 h 221"/>
                  <a:gd name="T12" fmla="*/ 250 w 254"/>
                  <a:gd name="T13" fmla="*/ 168 h 221"/>
                  <a:gd name="T14" fmla="*/ 251 w 254"/>
                  <a:gd name="T15" fmla="*/ 161 h 221"/>
                  <a:gd name="T16" fmla="*/ 243 w 254"/>
                  <a:gd name="T17" fmla="*/ 166 h 221"/>
                  <a:gd name="T18" fmla="*/ 238 w 254"/>
                  <a:gd name="T19" fmla="*/ 156 h 221"/>
                  <a:gd name="T20" fmla="*/ 240 w 254"/>
                  <a:gd name="T21" fmla="*/ 146 h 221"/>
                  <a:gd name="T22" fmla="*/ 232 w 254"/>
                  <a:gd name="T23" fmla="*/ 131 h 221"/>
                  <a:gd name="T24" fmla="*/ 216 w 254"/>
                  <a:gd name="T25" fmla="*/ 124 h 221"/>
                  <a:gd name="T26" fmla="*/ 202 w 254"/>
                  <a:gd name="T27" fmla="*/ 112 h 221"/>
                  <a:gd name="T28" fmla="*/ 204 w 254"/>
                  <a:gd name="T29" fmla="*/ 100 h 221"/>
                  <a:gd name="T30" fmla="*/ 206 w 254"/>
                  <a:gd name="T31" fmla="*/ 91 h 221"/>
                  <a:gd name="T32" fmla="*/ 206 w 254"/>
                  <a:gd name="T33" fmla="*/ 80 h 221"/>
                  <a:gd name="T34" fmla="*/ 196 w 254"/>
                  <a:gd name="T35" fmla="*/ 76 h 221"/>
                  <a:gd name="T36" fmla="*/ 191 w 254"/>
                  <a:gd name="T37" fmla="*/ 81 h 221"/>
                  <a:gd name="T38" fmla="*/ 186 w 254"/>
                  <a:gd name="T39" fmla="*/ 67 h 221"/>
                  <a:gd name="T40" fmla="*/ 163 w 254"/>
                  <a:gd name="T41" fmla="*/ 45 h 221"/>
                  <a:gd name="T42" fmla="*/ 156 w 254"/>
                  <a:gd name="T43" fmla="*/ 22 h 221"/>
                  <a:gd name="T44" fmla="*/ 158 w 254"/>
                  <a:gd name="T45" fmla="*/ 10 h 221"/>
                  <a:gd name="T46" fmla="*/ 0 w 254"/>
                  <a:gd name="T47" fmla="*/ 2 h 221"/>
                  <a:gd name="T48" fmla="*/ 4 w 254"/>
                  <a:gd name="T49" fmla="*/ 6 h 221"/>
                  <a:gd name="T50" fmla="*/ 3 w 254"/>
                  <a:gd name="T51" fmla="*/ 13 h 221"/>
                  <a:gd name="T52" fmla="*/ 5 w 254"/>
                  <a:gd name="T53" fmla="*/ 17 h 221"/>
                  <a:gd name="T54" fmla="*/ 12 w 254"/>
                  <a:gd name="T55" fmla="*/ 25 h 221"/>
                  <a:gd name="T56" fmla="*/ 14 w 254"/>
                  <a:gd name="T57" fmla="*/ 29 h 221"/>
                  <a:gd name="T58" fmla="*/ 20 w 254"/>
                  <a:gd name="T59" fmla="*/ 39 h 221"/>
                  <a:gd name="T60" fmla="*/ 31 w 254"/>
                  <a:gd name="T61" fmla="*/ 39 h 221"/>
                  <a:gd name="T62" fmla="*/ 28 w 254"/>
                  <a:gd name="T63" fmla="*/ 50 h 221"/>
                  <a:gd name="T64" fmla="*/ 31 w 254"/>
                  <a:gd name="T65" fmla="*/ 61 h 221"/>
                  <a:gd name="T66" fmla="*/ 36 w 254"/>
                  <a:gd name="T67" fmla="*/ 69 h 221"/>
                  <a:gd name="T68" fmla="*/ 42 w 254"/>
                  <a:gd name="T69" fmla="*/ 176 h 221"/>
                  <a:gd name="T70" fmla="*/ 215 w 254"/>
                  <a:gd name="T71" fmla="*/ 197 h 221"/>
                  <a:gd name="T72" fmla="*/ 205 w 254"/>
                  <a:gd name="T73" fmla="*/ 221 h 221"/>
                  <a:gd name="T74" fmla="*/ 234 w 254"/>
                  <a:gd name="T75" fmla="*/ 216 h 221"/>
                  <a:gd name="T76" fmla="*/ 237 w 254"/>
                  <a:gd name="T77" fmla="*/ 211 h 221"/>
                  <a:gd name="T78" fmla="*/ 234 w 254"/>
                  <a:gd name="T79" fmla="*/ 206 h 221"/>
                  <a:gd name="T80" fmla="*/ 237 w 254"/>
                  <a:gd name="T81" fmla="*/ 203 h 221"/>
                  <a:gd name="T82" fmla="*/ 238 w 254"/>
                  <a:gd name="T83" fmla="*/ 197 h 221"/>
                  <a:gd name="T84" fmla="*/ 238 w 254"/>
                  <a:gd name="T85" fmla="*/ 19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4" h="221">
                    <a:moveTo>
                      <a:pt x="238" y="193"/>
                    </a:moveTo>
                    <a:cubicBezTo>
                      <a:pt x="238" y="190"/>
                      <a:pt x="238" y="190"/>
                      <a:pt x="238" y="190"/>
                    </a:cubicBezTo>
                    <a:cubicBezTo>
                      <a:pt x="238" y="189"/>
                      <a:pt x="238" y="189"/>
                      <a:pt x="238" y="189"/>
                    </a:cubicBezTo>
                    <a:cubicBezTo>
                      <a:pt x="242" y="189"/>
                      <a:pt x="242" y="189"/>
                      <a:pt x="242" y="189"/>
                    </a:cubicBezTo>
                    <a:cubicBezTo>
                      <a:pt x="243" y="189"/>
                      <a:pt x="243" y="189"/>
                      <a:pt x="243" y="189"/>
                    </a:cubicBezTo>
                    <a:cubicBezTo>
                      <a:pt x="244" y="188"/>
                      <a:pt x="244" y="188"/>
                      <a:pt x="244" y="188"/>
                    </a:cubicBezTo>
                    <a:cubicBezTo>
                      <a:pt x="246" y="187"/>
                      <a:pt x="246" y="187"/>
                      <a:pt x="246" y="187"/>
                    </a:cubicBezTo>
                    <a:cubicBezTo>
                      <a:pt x="249" y="187"/>
                      <a:pt x="249" y="187"/>
                      <a:pt x="249" y="187"/>
                    </a:cubicBezTo>
                    <a:cubicBezTo>
                      <a:pt x="252" y="186"/>
                      <a:pt x="252" y="186"/>
                      <a:pt x="252" y="186"/>
                    </a:cubicBezTo>
                    <a:cubicBezTo>
                      <a:pt x="254" y="183"/>
                      <a:pt x="254" y="183"/>
                      <a:pt x="254" y="183"/>
                    </a:cubicBezTo>
                    <a:cubicBezTo>
                      <a:pt x="254" y="177"/>
                      <a:pt x="254" y="177"/>
                      <a:pt x="254" y="177"/>
                    </a:cubicBezTo>
                    <a:cubicBezTo>
                      <a:pt x="254" y="173"/>
                      <a:pt x="254" y="173"/>
                      <a:pt x="254" y="173"/>
                    </a:cubicBezTo>
                    <a:cubicBezTo>
                      <a:pt x="254" y="171"/>
                      <a:pt x="254" y="171"/>
                      <a:pt x="254" y="171"/>
                    </a:cubicBezTo>
                    <a:cubicBezTo>
                      <a:pt x="250" y="168"/>
                      <a:pt x="250" y="168"/>
                      <a:pt x="250" y="168"/>
                    </a:cubicBezTo>
                    <a:cubicBezTo>
                      <a:pt x="250" y="165"/>
                      <a:pt x="250" y="165"/>
                      <a:pt x="250" y="165"/>
                    </a:cubicBezTo>
                    <a:cubicBezTo>
                      <a:pt x="251" y="161"/>
                      <a:pt x="251" y="161"/>
                      <a:pt x="251" y="161"/>
                    </a:cubicBezTo>
                    <a:cubicBezTo>
                      <a:pt x="246" y="161"/>
                      <a:pt x="246" y="161"/>
                      <a:pt x="246" y="161"/>
                    </a:cubicBezTo>
                    <a:cubicBezTo>
                      <a:pt x="243" y="166"/>
                      <a:pt x="243" y="166"/>
                      <a:pt x="243" y="166"/>
                    </a:cubicBezTo>
                    <a:cubicBezTo>
                      <a:pt x="243" y="161"/>
                      <a:pt x="243" y="161"/>
                      <a:pt x="243" y="161"/>
                    </a:cubicBezTo>
                    <a:cubicBezTo>
                      <a:pt x="238" y="156"/>
                      <a:pt x="238" y="156"/>
                      <a:pt x="238" y="156"/>
                    </a:cubicBezTo>
                    <a:cubicBezTo>
                      <a:pt x="239" y="152"/>
                      <a:pt x="239" y="152"/>
                      <a:pt x="239" y="152"/>
                    </a:cubicBezTo>
                    <a:cubicBezTo>
                      <a:pt x="240" y="146"/>
                      <a:pt x="240" y="146"/>
                      <a:pt x="240" y="146"/>
                    </a:cubicBezTo>
                    <a:cubicBezTo>
                      <a:pt x="236" y="135"/>
                      <a:pt x="236" y="135"/>
                      <a:pt x="236" y="135"/>
                    </a:cubicBezTo>
                    <a:cubicBezTo>
                      <a:pt x="232" y="131"/>
                      <a:pt x="232" y="131"/>
                      <a:pt x="232" y="131"/>
                    </a:cubicBezTo>
                    <a:cubicBezTo>
                      <a:pt x="219" y="122"/>
                      <a:pt x="219" y="122"/>
                      <a:pt x="219" y="122"/>
                    </a:cubicBezTo>
                    <a:cubicBezTo>
                      <a:pt x="216" y="124"/>
                      <a:pt x="216" y="124"/>
                      <a:pt x="216" y="124"/>
                    </a:cubicBezTo>
                    <a:cubicBezTo>
                      <a:pt x="208" y="118"/>
                      <a:pt x="208" y="118"/>
                      <a:pt x="208" y="118"/>
                    </a:cubicBezTo>
                    <a:cubicBezTo>
                      <a:pt x="202" y="112"/>
                      <a:pt x="202" y="112"/>
                      <a:pt x="202" y="112"/>
                    </a:cubicBezTo>
                    <a:cubicBezTo>
                      <a:pt x="202" y="106"/>
                      <a:pt x="202" y="106"/>
                      <a:pt x="202" y="106"/>
                    </a:cubicBezTo>
                    <a:cubicBezTo>
                      <a:pt x="204" y="100"/>
                      <a:pt x="204" y="100"/>
                      <a:pt x="204" y="100"/>
                    </a:cubicBezTo>
                    <a:cubicBezTo>
                      <a:pt x="205" y="96"/>
                      <a:pt x="205" y="96"/>
                      <a:pt x="205" y="96"/>
                    </a:cubicBezTo>
                    <a:cubicBezTo>
                      <a:pt x="206" y="91"/>
                      <a:pt x="206" y="91"/>
                      <a:pt x="206" y="91"/>
                    </a:cubicBezTo>
                    <a:cubicBezTo>
                      <a:pt x="209" y="84"/>
                      <a:pt x="209" y="84"/>
                      <a:pt x="209" y="84"/>
                    </a:cubicBezTo>
                    <a:cubicBezTo>
                      <a:pt x="206" y="80"/>
                      <a:pt x="206" y="80"/>
                      <a:pt x="206" y="80"/>
                    </a:cubicBezTo>
                    <a:cubicBezTo>
                      <a:pt x="202" y="76"/>
                      <a:pt x="202" y="76"/>
                      <a:pt x="202" y="76"/>
                    </a:cubicBezTo>
                    <a:cubicBezTo>
                      <a:pt x="196" y="76"/>
                      <a:pt x="196" y="76"/>
                      <a:pt x="196" y="76"/>
                    </a:cubicBezTo>
                    <a:cubicBezTo>
                      <a:pt x="193" y="78"/>
                      <a:pt x="193" y="78"/>
                      <a:pt x="193" y="78"/>
                    </a:cubicBezTo>
                    <a:cubicBezTo>
                      <a:pt x="191" y="81"/>
                      <a:pt x="191" y="81"/>
                      <a:pt x="191" y="81"/>
                    </a:cubicBezTo>
                    <a:cubicBezTo>
                      <a:pt x="186" y="76"/>
                      <a:pt x="186" y="76"/>
                      <a:pt x="186" y="76"/>
                    </a:cubicBezTo>
                    <a:cubicBezTo>
                      <a:pt x="186" y="67"/>
                      <a:pt x="186" y="67"/>
                      <a:pt x="186" y="67"/>
                    </a:cubicBezTo>
                    <a:cubicBezTo>
                      <a:pt x="181" y="60"/>
                      <a:pt x="181" y="60"/>
                      <a:pt x="181" y="60"/>
                    </a:cubicBezTo>
                    <a:cubicBezTo>
                      <a:pt x="163" y="45"/>
                      <a:pt x="163" y="45"/>
                      <a:pt x="163" y="45"/>
                    </a:cubicBezTo>
                    <a:cubicBezTo>
                      <a:pt x="156" y="33"/>
                      <a:pt x="156" y="33"/>
                      <a:pt x="156" y="33"/>
                    </a:cubicBezTo>
                    <a:cubicBezTo>
                      <a:pt x="156" y="22"/>
                      <a:pt x="156" y="22"/>
                      <a:pt x="156" y="22"/>
                    </a:cubicBezTo>
                    <a:cubicBezTo>
                      <a:pt x="156" y="11"/>
                      <a:pt x="156" y="11"/>
                      <a:pt x="156" y="11"/>
                    </a:cubicBezTo>
                    <a:cubicBezTo>
                      <a:pt x="158" y="10"/>
                      <a:pt x="158" y="10"/>
                      <a:pt x="158" y="10"/>
                    </a:cubicBezTo>
                    <a:cubicBezTo>
                      <a:pt x="146" y="0"/>
                      <a:pt x="146" y="0"/>
                      <a:pt x="146" y="0"/>
                    </a:cubicBezTo>
                    <a:cubicBezTo>
                      <a:pt x="0" y="2"/>
                      <a:pt x="0" y="2"/>
                      <a:pt x="0" y="2"/>
                    </a:cubicBezTo>
                    <a:cubicBezTo>
                      <a:pt x="1" y="4"/>
                      <a:pt x="1" y="4"/>
                      <a:pt x="1" y="4"/>
                    </a:cubicBezTo>
                    <a:cubicBezTo>
                      <a:pt x="4" y="6"/>
                      <a:pt x="4" y="6"/>
                      <a:pt x="4" y="6"/>
                    </a:cubicBezTo>
                    <a:cubicBezTo>
                      <a:pt x="5" y="11"/>
                      <a:pt x="5" y="11"/>
                      <a:pt x="5" y="11"/>
                    </a:cubicBezTo>
                    <a:cubicBezTo>
                      <a:pt x="3" y="13"/>
                      <a:pt x="3" y="13"/>
                      <a:pt x="3" y="13"/>
                    </a:cubicBezTo>
                    <a:cubicBezTo>
                      <a:pt x="5" y="16"/>
                      <a:pt x="5" y="16"/>
                      <a:pt x="5" y="16"/>
                    </a:cubicBezTo>
                    <a:cubicBezTo>
                      <a:pt x="5" y="16"/>
                      <a:pt x="4" y="16"/>
                      <a:pt x="5" y="17"/>
                    </a:cubicBezTo>
                    <a:cubicBezTo>
                      <a:pt x="6" y="18"/>
                      <a:pt x="11" y="19"/>
                      <a:pt x="11" y="19"/>
                    </a:cubicBezTo>
                    <a:cubicBezTo>
                      <a:pt x="12" y="25"/>
                      <a:pt x="12" y="25"/>
                      <a:pt x="12" y="25"/>
                    </a:cubicBezTo>
                    <a:cubicBezTo>
                      <a:pt x="14" y="29"/>
                      <a:pt x="14" y="29"/>
                      <a:pt x="14" y="29"/>
                    </a:cubicBezTo>
                    <a:cubicBezTo>
                      <a:pt x="14" y="29"/>
                      <a:pt x="14" y="29"/>
                      <a:pt x="14" y="29"/>
                    </a:cubicBezTo>
                    <a:cubicBezTo>
                      <a:pt x="18" y="35"/>
                      <a:pt x="18" y="35"/>
                      <a:pt x="18" y="35"/>
                    </a:cubicBezTo>
                    <a:cubicBezTo>
                      <a:pt x="20" y="39"/>
                      <a:pt x="20" y="39"/>
                      <a:pt x="20" y="39"/>
                    </a:cubicBezTo>
                    <a:cubicBezTo>
                      <a:pt x="29" y="39"/>
                      <a:pt x="29" y="39"/>
                      <a:pt x="29" y="39"/>
                    </a:cubicBezTo>
                    <a:cubicBezTo>
                      <a:pt x="31" y="39"/>
                      <a:pt x="31" y="39"/>
                      <a:pt x="31" y="39"/>
                    </a:cubicBezTo>
                    <a:cubicBezTo>
                      <a:pt x="31" y="44"/>
                      <a:pt x="31" y="44"/>
                      <a:pt x="31" y="44"/>
                    </a:cubicBezTo>
                    <a:cubicBezTo>
                      <a:pt x="28" y="50"/>
                      <a:pt x="28" y="50"/>
                      <a:pt x="28" y="50"/>
                    </a:cubicBezTo>
                    <a:cubicBezTo>
                      <a:pt x="25" y="55"/>
                      <a:pt x="25" y="55"/>
                      <a:pt x="25" y="55"/>
                    </a:cubicBezTo>
                    <a:cubicBezTo>
                      <a:pt x="31" y="61"/>
                      <a:pt x="31" y="61"/>
                      <a:pt x="31" y="61"/>
                    </a:cubicBezTo>
                    <a:cubicBezTo>
                      <a:pt x="33" y="67"/>
                      <a:pt x="33" y="67"/>
                      <a:pt x="33" y="67"/>
                    </a:cubicBezTo>
                    <a:cubicBezTo>
                      <a:pt x="36" y="69"/>
                      <a:pt x="36" y="69"/>
                      <a:pt x="36" y="69"/>
                    </a:cubicBezTo>
                    <a:cubicBezTo>
                      <a:pt x="42" y="72"/>
                      <a:pt x="42" y="72"/>
                      <a:pt x="42" y="72"/>
                    </a:cubicBezTo>
                    <a:cubicBezTo>
                      <a:pt x="42" y="176"/>
                      <a:pt x="42" y="176"/>
                      <a:pt x="42" y="176"/>
                    </a:cubicBezTo>
                    <a:cubicBezTo>
                      <a:pt x="42" y="201"/>
                      <a:pt x="42" y="201"/>
                      <a:pt x="42" y="201"/>
                    </a:cubicBezTo>
                    <a:cubicBezTo>
                      <a:pt x="215" y="197"/>
                      <a:pt x="215" y="197"/>
                      <a:pt x="215" y="197"/>
                    </a:cubicBezTo>
                    <a:cubicBezTo>
                      <a:pt x="216" y="203"/>
                      <a:pt x="216" y="203"/>
                      <a:pt x="216" y="203"/>
                    </a:cubicBezTo>
                    <a:cubicBezTo>
                      <a:pt x="205" y="221"/>
                      <a:pt x="205" y="221"/>
                      <a:pt x="205" y="221"/>
                    </a:cubicBezTo>
                    <a:cubicBezTo>
                      <a:pt x="233" y="219"/>
                      <a:pt x="233" y="219"/>
                      <a:pt x="233" y="219"/>
                    </a:cubicBezTo>
                    <a:cubicBezTo>
                      <a:pt x="234" y="216"/>
                      <a:pt x="234" y="216"/>
                      <a:pt x="234" y="216"/>
                    </a:cubicBezTo>
                    <a:cubicBezTo>
                      <a:pt x="236" y="213"/>
                      <a:pt x="236" y="213"/>
                      <a:pt x="236" y="213"/>
                    </a:cubicBezTo>
                    <a:cubicBezTo>
                      <a:pt x="236" y="213"/>
                      <a:pt x="238" y="212"/>
                      <a:pt x="237" y="211"/>
                    </a:cubicBezTo>
                    <a:cubicBezTo>
                      <a:pt x="237" y="210"/>
                      <a:pt x="235" y="207"/>
                      <a:pt x="235" y="207"/>
                    </a:cubicBezTo>
                    <a:cubicBezTo>
                      <a:pt x="234" y="206"/>
                      <a:pt x="234" y="206"/>
                      <a:pt x="234" y="206"/>
                    </a:cubicBezTo>
                    <a:cubicBezTo>
                      <a:pt x="235" y="204"/>
                      <a:pt x="235" y="204"/>
                      <a:pt x="235" y="204"/>
                    </a:cubicBezTo>
                    <a:cubicBezTo>
                      <a:pt x="237" y="203"/>
                      <a:pt x="237" y="203"/>
                      <a:pt x="237" y="203"/>
                    </a:cubicBezTo>
                    <a:cubicBezTo>
                      <a:pt x="238" y="200"/>
                      <a:pt x="238" y="200"/>
                      <a:pt x="238" y="200"/>
                    </a:cubicBezTo>
                    <a:cubicBezTo>
                      <a:pt x="238" y="197"/>
                      <a:pt x="238" y="197"/>
                      <a:pt x="238" y="197"/>
                    </a:cubicBezTo>
                    <a:cubicBezTo>
                      <a:pt x="238" y="194"/>
                      <a:pt x="238" y="194"/>
                      <a:pt x="238" y="194"/>
                    </a:cubicBezTo>
                    <a:lnTo>
                      <a:pt x="238" y="193"/>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8" name="Freeform 47">
                <a:extLst>
                  <a:ext uri="{FF2B5EF4-FFF2-40B4-BE49-F238E27FC236}">
                    <a16:creationId xmlns:a16="http://schemas.microsoft.com/office/drawing/2014/main" id="{DB35204D-138C-5C48-BD89-2AB2788E333B}"/>
                  </a:ext>
                </a:extLst>
              </p:cNvPr>
              <p:cNvSpPr>
                <a:spLocks/>
              </p:cNvSpPr>
              <p:nvPr/>
            </p:nvSpPr>
            <p:spPr bwMode="auto">
              <a:xfrm>
                <a:off x="16320935" y="5462301"/>
                <a:ext cx="1388260" cy="1615606"/>
              </a:xfrm>
              <a:custGeom>
                <a:avLst/>
                <a:gdLst>
                  <a:gd name="T0" fmla="*/ 139 w 208"/>
                  <a:gd name="T1" fmla="*/ 135 h 242"/>
                  <a:gd name="T2" fmla="*/ 144 w 208"/>
                  <a:gd name="T3" fmla="*/ 107 h 242"/>
                  <a:gd name="T4" fmla="*/ 169 w 208"/>
                  <a:gd name="T5" fmla="*/ 80 h 242"/>
                  <a:gd name="T6" fmla="*/ 208 w 208"/>
                  <a:gd name="T7" fmla="*/ 55 h 242"/>
                  <a:gd name="T8" fmla="*/ 183 w 208"/>
                  <a:gd name="T9" fmla="*/ 52 h 242"/>
                  <a:gd name="T10" fmla="*/ 166 w 208"/>
                  <a:gd name="T11" fmla="*/ 52 h 242"/>
                  <a:gd name="T12" fmla="*/ 154 w 208"/>
                  <a:gd name="T13" fmla="*/ 55 h 242"/>
                  <a:gd name="T14" fmla="*/ 147 w 208"/>
                  <a:gd name="T15" fmla="*/ 48 h 242"/>
                  <a:gd name="T16" fmla="*/ 133 w 208"/>
                  <a:gd name="T17" fmla="*/ 45 h 242"/>
                  <a:gd name="T18" fmla="*/ 128 w 208"/>
                  <a:gd name="T19" fmla="*/ 42 h 242"/>
                  <a:gd name="T20" fmla="*/ 114 w 208"/>
                  <a:gd name="T21" fmla="*/ 36 h 242"/>
                  <a:gd name="T22" fmla="*/ 123 w 208"/>
                  <a:gd name="T23" fmla="*/ 36 h 242"/>
                  <a:gd name="T24" fmla="*/ 114 w 208"/>
                  <a:gd name="T25" fmla="*/ 35 h 242"/>
                  <a:gd name="T26" fmla="*/ 105 w 208"/>
                  <a:gd name="T27" fmla="*/ 35 h 242"/>
                  <a:gd name="T28" fmla="*/ 97 w 208"/>
                  <a:gd name="T29" fmla="*/ 39 h 242"/>
                  <a:gd name="T30" fmla="*/ 87 w 208"/>
                  <a:gd name="T31" fmla="*/ 34 h 242"/>
                  <a:gd name="T32" fmla="*/ 80 w 208"/>
                  <a:gd name="T33" fmla="*/ 34 h 242"/>
                  <a:gd name="T34" fmla="*/ 68 w 208"/>
                  <a:gd name="T35" fmla="*/ 24 h 242"/>
                  <a:gd name="T36" fmla="*/ 66 w 208"/>
                  <a:gd name="T37" fmla="*/ 20 h 242"/>
                  <a:gd name="T38" fmla="*/ 58 w 208"/>
                  <a:gd name="T39" fmla="*/ 20 h 242"/>
                  <a:gd name="T40" fmla="*/ 54 w 208"/>
                  <a:gd name="T41" fmla="*/ 16 h 242"/>
                  <a:gd name="T42" fmla="*/ 58 w 208"/>
                  <a:gd name="T43" fmla="*/ 8 h 242"/>
                  <a:gd name="T44" fmla="*/ 60 w 208"/>
                  <a:gd name="T45" fmla="*/ 2 h 242"/>
                  <a:gd name="T46" fmla="*/ 56 w 208"/>
                  <a:gd name="T47" fmla="*/ 0 h 242"/>
                  <a:gd name="T48" fmla="*/ 54 w 208"/>
                  <a:gd name="T49" fmla="*/ 12 h 242"/>
                  <a:gd name="T50" fmla="*/ 0 w 208"/>
                  <a:gd name="T51" fmla="*/ 16 h 242"/>
                  <a:gd name="T52" fmla="*/ 1 w 208"/>
                  <a:gd name="T53" fmla="*/ 23 h 242"/>
                  <a:gd name="T54" fmla="*/ 4 w 208"/>
                  <a:gd name="T55" fmla="*/ 26 h 242"/>
                  <a:gd name="T56" fmla="*/ 3 w 208"/>
                  <a:gd name="T57" fmla="*/ 31 h 242"/>
                  <a:gd name="T58" fmla="*/ 1 w 208"/>
                  <a:gd name="T59" fmla="*/ 34 h 242"/>
                  <a:gd name="T60" fmla="*/ 2 w 208"/>
                  <a:gd name="T61" fmla="*/ 40 h 242"/>
                  <a:gd name="T62" fmla="*/ 1 w 208"/>
                  <a:gd name="T63" fmla="*/ 51 h 242"/>
                  <a:gd name="T64" fmla="*/ 6 w 208"/>
                  <a:gd name="T65" fmla="*/ 64 h 242"/>
                  <a:gd name="T66" fmla="*/ 9 w 208"/>
                  <a:gd name="T67" fmla="*/ 78 h 242"/>
                  <a:gd name="T68" fmla="*/ 10 w 208"/>
                  <a:gd name="T69" fmla="*/ 104 h 242"/>
                  <a:gd name="T70" fmla="*/ 12 w 208"/>
                  <a:gd name="T71" fmla="*/ 114 h 242"/>
                  <a:gd name="T72" fmla="*/ 12 w 208"/>
                  <a:gd name="T73" fmla="*/ 122 h 242"/>
                  <a:gd name="T74" fmla="*/ 17 w 208"/>
                  <a:gd name="T75" fmla="*/ 127 h 242"/>
                  <a:gd name="T76" fmla="*/ 18 w 208"/>
                  <a:gd name="T77" fmla="*/ 136 h 242"/>
                  <a:gd name="T78" fmla="*/ 16 w 208"/>
                  <a:gd name="T79" fmla="*/ 142 h 242"/>
                  <a:gd name="T80" fmla="*/ 17 w 208"/>
                  <a:gd name="T81" fmla="*/ 144 h 242"/>
                  <a:gd name="T82" fmla="*/ 11 w 208"/>
                  <a:gd name="T83" fmla="*/ 150 h 242"/>
                  <a:gd name="T84" fmla="*/ 8 w 208"/>
                  <a:gd name="T85" fmla="*/ 154 h 242"/>
                  <a:gd name="T86" fmla="*/ 9 w 208"/>
                  <a:gd name="T87" fmla="*/ 158 h 242"/>
                  <a:gd name="T88" fmla="*/ 12 w 208"/>
                  <a:gd name="T89" fmla="*/ 163 h 242"/>
                  <a:gd name="T90" fmla="*/ 18 w 208"/>
                  <a:gd name="T91" fmla="*/ 167 h 242"/>
                  <a:gd name="T92" fmla="*/ 18 w 208"/>
                  <a:gd name="T93" fmla="*/ 242 h 242"/>
                  <a:gd name="T94" fmla="*/ 173 w 208"/>
                  <a:gd name="T95" fmla="*/ 233 h 242"/>
                  <a:gd name="T96" fmla="*/ 166 w 208"/>
                  <a:gd name="T97" fmla="*/ 220 h 242"/>
                  <a:gd name="T98" fmla="*/ 157 w 208"/>
                  <a:gd name="T99" fmla="*/ 213 h 242"/>
                  <a:gd name="T100" fmla="*/ 138 w 208"/>
                  <a:gd name="T101" fmla="*/ 197 h 242"/>
                  <a:gd name="T102" fmla="*/ 125 w 208"/>
                  <a:gd name="T103" fmla="*/ 189 h 242"/>
                  <a:gd name="T104" fmla="*/ 128 w 208"/>
                  <a:gd name="T105" fmla="*/ 159 h 242"/>
                  <a:gd name="T106" fmla="*/ 122 w 208"/>
                  <a:gd name="T107" fmla="*/ 154 h 242"/>
                  <a:gd name="T108" fmla="*/ 128 w 208"/>
                  <a:gd name="T109" fmla="*/ 141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8" h="242">
                    <a:moveTo>
                      <a:pt x="128" y="141"/>
                    </a:moveTo>
                    <a:lnTo>
                      <a:pt x="139" y="135"/>
                    </a:lnTo>
                    <a:lnTo>
                      <a:pt x="139" y="111"/>
                    </a:lnTo>
                    <a:lnTo>
                      <a:pt x="144" y="107"/>
                    </a:lnTo>
                    <a:lnTo>
                      <a:pt x="161" y="91"/>
                    </a:lnTo>
                    <a:lnTo>
                      <a:pt x="169" y="80"/>
                    </a:lnTo>
                    <a:lnTo>
                      <a:pt x="185" y="69"/>
                    </a:lnTo>
                    <a:lnTo>
                      <a:pt x="208" y="55"/>
                    </a:lnTo>
                    <a:lnTo>
                      <a:pt x="200" y="53"/>
                    </a:lnTo>
                    <a:lnTo>
                      <a:pt x="183" y="52"/>
                    </a:lnTo>
                    <a:lnTo>
                      <a:pt x="169" y="49"/>
                    </a:lnTo>
                    <a:lnTo>
                      <a:pt x="166" y="52"/>
                    </a:lnTo>
                    <a:lnTo>
                      <a:pt x="162" y="55"/>
                    </a:lnTo>
                    <a:lnTo>
                      <a:pt x="154" y="55"/>
                    </a:lnTo>
                    <a:lnTo>
                      <a:pt x="151" y="51"/>
                    </a:lnTo>
                    <a:lnTo>
                      <a:pt x="147" y="48"/>
                    </a:lnTo>
                    <a:lnTo>
                      <a:pt x="136" y="45"/>
                    </a:lnTo>
                    <a:lnTo>
                      <a:pt x="133" y="45"/>
                    </a:lnTo>
                    <a:lnTo>
                      <a:pt x="129" y="43"/>
                    </a:lnTo>
                    <a:lnTo>
                      <a:pt x="128" y="42"/>
                    </a:lnTo>
                    <a:lnTo>
                      <a:pt x="119" y="41"/>
                    </a:lnTo>
                    <a:lnTo>
                      <a:pt x="114" y="36"/>
                    </a:lnTo>
                    <a:lnTo>
                      <a:pt x="120" y="39"/>
                    </a:lnTo>
                    <a:lnTo>
                      <a:pt x="123" y="36"/>
                    </a:lnTo>
                    <a:lnTo>
                      <a:pt x="119" y="35"/>
                    </a:lnTo>
                    <a:lnTo>
                      <a:pt x="114" y="35"/>
                    </a:lnTo>
                    <a:lnTo>
                      <a:pt x="109" y="35"/>
                    </a:lnTo>
                    <a:lnTo>
                      <a:pt x="105" y="35"/>
                    </a:lnTo>
                    <a:lnTo>
                      <a:pt x="100" y="35"/>
                    </a:lnTo>
                    <a:lnTo>
                      <a:pt x="97" y="39"/>
                    </a:lnTo>
                    <a:lnTo>
                      <a:pt x="93" y="39"/>
                    </a:lnTo>
                    <a:lnTo>
                      <a:pt x="87" y="34"/>
                    </a:lnTo>
                    <a:lnTo>
                      <a:pt x="84" y="34"/>
                    </a:lnTo>
                    <a:lnTo>
                      <a:pt x="80" y="34"/>
                    </a:lnTo>
                    <a:lnTo>
                      <a:pt x="73" y="32"/>
                    </a:lnTo>
                    <a:lnTo>
                      <a:pt x="68" y="24"/>
                    </a:lnTo>
                    <a:lnTo>
                      <a:pt x="68" y="24"/>
                    </a:lnTo>
                    <a:lnTo>
                      <a:pt x="66" y="20"/>
                    </a:lnTo>
                    <a:lnTo>
                      <a:pt x="62" y="20"/>
                    </a:lnTo>
                    <a:lnTo>
                      <a:pt x="58" y="20"/>
                    </a:lnTo>
                    <a:lnTo>
                      <a:pt x="55" y="20"/>
                    </a:lnTo>
                    <a:lnTo>
                      <a:pt x="54" y="16"/>
                    </a:lnTo>
                    <a:lnTo>
                      <a:pt x="57" y="12"/>
                    </a:lnTo>
                    <a:lnTo>
                      <a:pt x="58" y="8"/>
                    </a:lnTo>
                    <a:lnTo>
                      <a:pt x="62" y="5"/>
                    </a:lnTo>
                    <a:lnTo>
                      <a:pt x="60" y="2"/>
                    </a:lnTo>
                    <a:lnTo>
                      <a:pt x="60" y="2"/>
                    </a:lnTo>
                    <a:lnTo>
                      <a:pt x="56" y="0"/>
                    </a:lnTo>
                    <a:lnTo>
                      <a:pt x="56" y="10"/>
                    </a:lnTo>
                    <a:lnTo>
                      <a:pt x="54" y="12"/>
                    </a:lnTo>
                    <a:lnTo>
                      <a:pt x="52" y="16"/>
                    </a:lnTo>
                    <a:lnTo>
                      <a:pt x="0" y="16"/>
                    </a:lnTo>
                    <a:lnTo>
                      <a:pt x="1" y="20"/>
                    </a:lnTo>
                    <a:lnTo>
                      <a:pt x="1" y="23"/>
                    </a:lnTo>
                    <a:lnTo>
                      <a:pt x="1" y="24"/>
                    </a:lnTo>
                    <a:lnTo>
                      <a:pt x="4" y="26"/>
                    </a:lnTo>
                    <a:lnTo>
                      <a:pt x="4" y="30"/>
                    </a:lnTo>
                    <a:lnTo>
                      <a:pt x="3" y="31"/>
                    </a:lnTo>
                    <a:lnTo>
                      <a:pt x="1" y="33"/>
                    </a:lnTo>
                    <a:lnTo>
                      <a:pt x="1" y="34"/>
                    </a:lnTo>
                    <a:lnTo>
                      <a:pt x="1" y="38"/>
                    </a:lnTo>
                    <a:lnTo>
                      <a:pt x="2" y="40"/>
                    </a:lnTo>
                    <a:lnTo>
                      <a:pt x="3" y="45"/>
                    </a:lnTo>
                    <a:lnTo>
                      <a:pt x="1" y="51"/>
                    </a:lnTo>
                    <a:lnTo>
                      <a:pt x="3" y="56"/>
                    </a:lnTo>
                    <a:lnTo>
                      <a:pt x="6" y="64"/>
                    </a:lnTo>
                    <a:lnTo>
                      <a:pt x="9" y="70"/>
                    </a:lnTo>
                    <a:lnTo>
                      <a:pt x="9" y="78"/>
                    </a:lnTo>
                    <a:lnTo>
                      <a:pt x="10" y="92"/>
                    </a:lnTo>
                    <a:lnTo>
                      <a:pt x="10" y="104"/>
                    </a:lnTo>
                    <a:lnTo>
                      <a:pt x="10" y="112"/>
                    </a:lnTo>
                    <a:lnTo>
                      <a:pt x="12" y="114"/>
                    </a:lnTo>
                    <a:lnTo>
                      <a:pt x="12" y="116"/>
                    </a:lnTo>
                    <a:lnTo>
                      <a:pt x="12" y="122"/>
                    </a:lnTo>
                    <a:lnTo>
                      <a:pt x="15" y="124"/>
                    </a:lnTo>
                    <a:lnTo>
                      <a:pt x="17" y="127"/>
                    </a:lnTo>
                    <a:lnTo>
                      <a:pt x="18" y="132"/>
                    </a:lnTo>
                    <a:lnTo>
                      <a:pt x="18" y="136"/>
                    </a:lnTo>
                    <a:lnTo>
                      <a:pt x="18" y="141"/>
                    </a:lnTo>
                    <a:lnTo>
                      <a:pt x="16" y="142"/>
                    </a:lnTo>
                    <a:lnTo>
                      <a:pt x="16" y="142"/>
                    </a:lnTo>
                    <a:lnTo>
                      <a:pt x="17" y="144"/>
                    </a:lnTo>
                    <a:lnTo>
                      <a:pt x="13" y="147"/>
                    </a:lnTo>
                    <a:lnTo>
                      <a:pt x="11" y="150"/>
                    </a:lnTo>
                    <a:lnTo>
                      <a:pt x="8" y="152"/>
                    </a:lnTo>
                    <a:lnTo>
                      <a:pt x="8" y="154"/>
                    </a:lnTo>
                    <a:lnTo>
                      <a:pt x="8" y="156"/>
                    </a:lnTo>
                    <a:lnTo>
                      <a:pt x="9" y="158"/>
                    </a:lnTo>
                    <a:lnTo>
                      <a:pt x="12" y="160"/>
                    </a:lnTo>
                    <a:lnTo>
                      <a:pt x="12" y="163"/>
                    </a:lnTo>
                    <a:lnTo>
                      <a:pt x="17" y="164"/>
                    </a:lnTo>
                    <a:lnTo>
                      <a:pt x="18" y="167"/>
                    </a:lnTo>
                    <a:lnTo>
                      <a:pt x="21" y="169"/>
                    </a:lnTo>
                    <a:lnTo>
                      <a:pt x="18" y="242"/>
                    </a:lnTo>
                    <a:lnTo>
                      <a:pt x="172" y="239"/>
                    </a:lnTo>
                    <a:lnTo>
                      <a:pt x="173" y="233"/>
                    </a:lnTo>
                    <a:lnTo>
                      <a:pt x="172" y="227"/>
                    </a:lnTo>
                    <a:lnTo>
                      <a:pt x="166" y="220"/>
                    </a:lnTo>
                    <a:lnTo>
                      <a:pt x="160" y="216"/>
                    </a:lnTo>
                    <a:lnTo>
                      <a:pt x="157" y="213"/>
                    </a:lnTo>
                    <a:lnTo>
                      <a:pt x="150" y="204"/>
                    </a:lnTo>
                    <a:lnTo>
                      <a:pt x="138" y="197"/>
                    </a:lnTo>
                    <a:lnTo>
                      <a:pt x="130" y="193"/>
                    </a:lnTo>
                    <a:lnTo>
                      <a:pt x="125" y="189"/>
                    </a:lnTo>
                    <a:lnTo>
                      <a:pt x="126" y="174"/>
                    </a:lnTo>
                    <a:lnTo>
                      <a:pt x="128" y="159"/>
                    </a:lnTo>
                    <a:lnTo>
                      <a:pt x="126" y="159"/>
                    </a:lnTo>
                    <a:lnTo>
                      <a:pt x="122" y="154"/>
                    </a:lnTo>
                    <a:lnTo>
                      <a:pt x="126" y="145"/>
                    </a:lnTo>
                    <a:lnTo>
                      <a:pt x="128" y="141"/>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59" name="Line 48">
                <a:extLst>
                  <a:ext uri="{FF2B5EF4-FFF2-40B4-BE49-F238E27FC236}">
                    <a16:creationId xmlns:a16="http://schemas.microsoft.com/office/drawing/2014/main" id="{2692BF54-F4AB-D445-9119-37B7D3328D7C}"/>
                  </a:ext>
                </a:extLst>
              </p:cNvPr>
              <p:cNvSpPr>
                <a:spLocks noChangeShapeType="1"/>
              </p:cNvSpPr>
              <p:nvPr/>
            </p:nvSpPr>
            <p:spPr bwMode="auto">
              <a:xfrm>
                <a:off x="17268694" y="6230048"/>
                <a:ext cx="0" cy="0"/>
              </a:xfrm>
              <a:prstGeom prst="line">
                <a:avLst/>
              </a:prstGeom>
              <a:grpFill/>
              <a:ln w="6350">
                <a:solidFill>
                  <a:srgbClr val="000000"/>
                </a:solidFill>
                <a:round/>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0" name="Line 49">
                <a:extLst>
                  <a:ext uri="{FF2B5EF4-FFF2-40B4-BE49-F238E27FC236}">
                    <a16:creationId xmlns:a16="http://schemas.microsoft.com/office/drawing/2014/main" id="{707374C1-C3C0-3B44-85E4-BDFA1CAE7665}"/>
                  </a:ext>
                </a:extLst>
              </p:cNvPr>
              <p:cNvSpPr>
                <a:spLocks noChangeShapeType="1"/>
              </p:cNvSpPr>
              <p:nvPr/>
            </p:nvSpPr>
            <p:spPr bwMode="auto">
              <a:xfrm>
                <a:off x="17268694" y="6230048"/>
                <a:ext cx="0" cy="0"/>
              </a:xfrm>
              <a:prstGeom prst="line">
                <a:avLst/>
              </a:pr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1" name="Freeform 50">
                <a:extLst>
                  <a:ext uri="{FF2B5EF4-FFF2-40B4-BE49-F238E27FC236}">
                    <a16:creationId xmlns:a16="http://schemas.microsoft.com/office/drawing/2014/main" id="{A0CAEE25-6D07-4346-BE2C-AEAF2557AE68}"/>
                  </a:ext>
                </a:extLst>
              </p:cNvPr>
              <p:cNvSpPr>
                <a:spLocks/>
              </p:cNvSpPr>
              <p:nvPr/>
            </p:nvSpPr>
            <p:spPr bwMode="auto">
              <a:xfrm>
                <a:off x="17595737" y="5936303"/>
                <a:ext cx="1621860" cy="1528820"/>
              </a:xfrm>
              <a:custGeom>
                <a:avLst/>
                <a:gdLst>
                  <a:gd name="T0" fmla="*/ 12 w 287"/>
                  <a:gd name="T1" fmla="*/ 44 h 270"/>
                  <a:gd name="T2" fmla="*/ 29 w 287"/>
                  <a:gd name="T3" fmla="*/ 36 h 270"/>
                  <a:gd name="T4" fmla="*/ 52 w 287"/>
                  <a:gd name="T5" fmla="*/ 17 h 270"/>
                  <a:gd name="T6" fmla="*/ 77 w 287"/>
                  <a:gd name="T7" fmla="*/ 0 h 270"/>
                  <a:gd name="T8" fmla="*/ 75 w 287"/>
                  <a:gd name="T9" fmla="*/ 6 h 270"/>
                  <a:gd name="T10" fmla="*/ 65 w 287"/>
                  <a:gd name="T11" fmla="*/ 19 h 270"/>
                  <a:gd name="T12" fmla="*/ 67 w 287"/>
                  <a:gd name="T13" fmla="*/ 29 h 270"/>
                  <a:gd name="T14" fmla="*/ 77 w 287"/>
                  <a:gd name="T15" fmla="*/ 28 h 270"/>
                  <a:gd name="T16" fmla="*/ 111 w 287"/>
                  <a:gd name="T17" fmla="*/ 45 h 270"/>
                  <a:gd name="T18" fmla="*/ 135 w 287"/>
                  <a:gd name="T19" fmla="*/ 39 h 270"/>
                  <a:gd name="T20" fmla="*/ 169 w 287"/>
                  <a:gd name="T21" fmla="*/ 28 h 270"/>
                  <a:gd name="T22" fmla="*/ 198 w 287"/>
                  <a:gd name="T23" fmla="*/ 38 h 270"/>
                  <a:gd name="T24" fmla="*/ 217 w 287"/>
                  <a:gd name="T25" fmla="*/ 55 h 270"/>
                  <a:gd name="T26" fmla="*/ 232 w 287"/>
                  <a:gd name="T27" fmla="*/ 56 h 270"/>
                  <a:gd name="T28" fmla="*/ 219 w 287"/>
                  <a:gd name="T29" fmla="*/ 62 h 270"/>
                  <a:gd name="T30" fmla="*/ 193 w 287"/>
                  <a:gd name="T31" fmla="*/ 64 h 270"/>
                  <a:gd name="T32" fmla="*/ 201 w 287"/>
                  <a:gd name="T33" fmla="*/ 74 h 270"/>
                  <a:gd name="T34" fmla="*/ 204 w 287"/>
                  <a:gd name="T35" fmla="*/ 75 h 270"/>
                  <a:gd name="T36" fmla="*/ 234 w 287"/>
                  <a:gd name="T37" fmla="*/ 88 h 270"/>
                  <a:gd name="T38" fmla="*/ 246 w 287"/>
                  <a:gd name="T39" fmla="*/ 109 h 270"/>
                  <a:gd name="T40" fmla="*/ 245 w 287"/>
                  <a:gd name="T41" fmla="*/ 141 h 270"/>
                  <a:gd name="T42" fmla="*/ 233 w 287"/>
                  <a:gd name="T43" fmla="*/ 168 h 270"/>
                  <a:gd name="T44" fmla="*/ 246 w 287"/>
                  <a:gd name="T45" fmla="*/ 166 h 270"/>
                  <a:gd name="T46" fmla="*/ 255 w 287"/>
                  <a:gd name="T47" fmla="*/ 153 h 270"/>
                  <a:gd name="T48" fmla="*/ 275 w 287"/>
                  <a:gd name="T49" fmla="*/ 154 h 270"/>
                  <a:gd name="T50" fmla="*/ 287 w 287"/>
                  <a:gd name="T51" fmla="*/ 197 h 270"/>
                  <a:gd name="T52" fmla="*/ 275 w 287"/>
                  <a:gd name="T53" fmla="*/ 220 h 270"/>
                  <a:gd name="T54" fmla="*/ 266 w 287"/>
                  <a:gd name="T55" fmla="*/ 249 h 270"/>
                  <a:gd name="T56" fmla="*/ 141 w 287"/>
                  <a:gd name="T57" fmla="*/ 270 h 270"/>
                  <a:gd name="T58" fmla="*/ 158 w 287"/>
                  <a:gd name="T59" fmla="*/ 235 h 270"/>
                  <a:gd name="T60" fmla="*/ 145 w 287"/>
                  <a:gd name="T61" fmla="*/ 191 h 270"/>
                  <a:gd name="T62" fmla="*/ 144 w 287"/>
                  <a:gd name="T63" fmla="*/ 165 h 270"/>
                  <a:gd name="T64" fmla="*/ 148 w 287"/>
                  <a:gd name="T65" fmla="*/ 147 h 270"/>
                  <a:gd name="T66" fmla="*/ 153 w 287"/>
                  <a:gd name="T67" fmla="*/ 122 h 270"/>
                  <a:gd name="T68" fmla="*/ 166 w 287"/>
                  <a:gd name="T69" fmla="*/ 106 h 270"/>
                  <a:gd name="T70" fmla="*/ 169 w 287"/>
                  <a:gd name="T71" fmla="*/ 122 h 270"/>
                  <a:gd name="T72" fmla="*/ 175 w 287"/>
                  <a:gd name="T73" fmla="*/ 111 h 270"/>
                  <a:gd name="T74" fmla="*/ 180 w 287"/>
                  <a:gd name="T75" fmla="*/ 94 h 270"/>
                  <a:gd name="T76" fmla="*/ 184 w 287"/>
                  <a:gd name="T77" fmla="*/ 81 h 270"/>
                  <a:gd name="T78" fmla="*/ 189 w 287"/>
                  <a:gd name="T79" fmla="*/ 74 h 270"/>
                  <a:gd name="T80" fmla="*/ 187 w 287"/>
                  <a:gd name="T81" fmla="*/ 65 h 270"/>
                  <a:gd name="T82" fmla="*/ 159 w 287"/>
                  <a:gd name="T83" fmla="*/ 68 h 270"/>
                  <a:gd name="T84" fmla="*/ 129 w 287"/>
                  <a:gd name="T85" fmla="*/ 85 h 270"/>
                  <a:gd name="T86" fmla="*/ 127 w 287"/>
                  <a:gd name="T87" fmla="*/ 76 h 270"/>
                  <a:gd name="T88" fmla="*/ 118 w 287"/>
                  <a:gd name="T89" fmla="*/ 75 h 270"/>
                  <a:gd name="T90" fmla="*/ 107 w 287"/>
                  <a:gd name="T91" fmla="*/ 101 h 270"/>
                  <a:gd name="T92" fmla="*/ 95 w 287"/>
                  <a:gd name="T93" fmla="*/ 100 h 270"/>
                  <a:gd name="T94" fmla="*/ 84 w 287"/>
                  <a:gd name="T95" fmla="*/ 81 h 270"/>
                  <a:gd name="T96" fmla="*/ 58 w 287"/>
                  <a:gd name="T97" fmla="*/ 74 h 270"/>
                  <a:gd name="T98" fmla="*/ 29 w 287"/>
                  <a:gd name="T99" fmla="*/ 65 h 270"/>
                  <a:gd name="T100" fmla="*/ 9 w 287"/>
                  <a:gd name="T101" fmla="*/ 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7" h="270">
                    <a:moveTo>
                      <a:pt x="0" y="51"/>
                    </a:moveTo>
                    <a:cubicBezTo>
                      <a:pt x="2" y="49"/>
                      <a:pt x="2" y="49"/>
                      <a:pt x="2" y="49"/>
                    </a:cubicBezTo>
                    <a:cubicBezTo>
                      <a:pt x="6" y="49"/>
                      <a:pt x="6" y="49"/>
                      <a:pt x="6" y="49"/>
                    </a:cubicBezTo>
                    <a:cubicBezTo>
                      <a:pt x="11" y="46"/>
                      <a:pt x="11" y="46"/>
                      <a:pt x="11" y="46"/>
                    </a:cubicBezTo>
                    <a:cubicBezTo>
                      <a:pt x="12" y="44"/>
                      <a:pt x="12" y="44"/>
                      <a:pt x="12" y="44"/>
                    </a:cubicBezTo>
                    <a:cubicBezTo>
                      <a:pt x="14" y="40"/>
                      <a:pt x="14" y="40"/>
                      <a:pt x="14" y="40"/>
                    </a:cubicBezTo>
                    <a:cubicBezTo>
                      <a:pt x="17" y="37"/>
                      <a:pt x="17" y="37"/>
                      <a:pt x="17" y="37"/>
                    </a:cubicBezTo>
                    <a:cubicBezTo>
                      <a:pt x="20" y="36"/>
                      <a:pt x="20" y="36"/>
                      <a:pt x="20" y="36"/>
                    </a:cubicBezTo>
                    <a:cubicBezTo>
                      <a:pt x="23" y="36"/>
                      <a:pt x="23" y="36"/>
                      <a:pt x="23" y="36"/>
                    </a:cubicBezTo>
                    <a:cubicBezTo>
                      <a:pt x="29" y="36"/>
                      <a:pt x="29" y="36"/>
                      <a:pt x="29" y="36"/>
                    </a:cubicBezTo>
                    <a:cubicBezTo>
                      <a:pt x="32" y="34"/>
                      <a:pt x="32" y="34"/>
                      <a:pt x="32" y="34"/>
                    </a:cubicBezTo>
                    <a:cubicBezTo>
                      <a:pt x="42" y="27"/>
                      <a:pt x="42" y="27"/>
                      <a:pt x="42" y="27"/>
                    </a:cubicBezTo>
                    <a:cubicBezTo>
                      <a:pt x="45" y="26"/>
                      <a:pt x="45" y="26"/>
                      <a:pt x="45" y="26"/>
                    </a:cubicBezTo>
                    <a:cubicBezTo>
                      <a:pt x="49" y="22"/>
                      <a:pt x="49" y="22"/>
                      <a:pt x="49" y="22"/>
                    </a:cubicBezTo>
                    <a:cubicBezTo>
                      <a:pt x="52" y="17"/>
                      <a:pt x="52" y="17"/>
                      <a:pt x="52" y="17"/>
                    </a:cubicBezTo>
                    <a:cubicBezTo>
                      <a:pt x="56" y="14"/>
                      <a:pt x="56" y="14"/>
                      <a:pt x="56" y="14"/>
                    </a:cubicBezTo>
                    <a:cubicBezTo>
                      <a:pt x="61" y="9"/>
                      <a:pt x="61" y="9"/>
                      <a:pt x="61" y="9"/>
                    </a:cubicBezTo>
                    <a:cubicBezTo>
                      <a:pt x="65" y="4"/>
                      <a:pt x="65" y="4"/>
                      <a:pt x="65" y="4"/>
                    </a:cubicBezTo>
                    <a:cubicBezTo>
                      <a:pt x="70" y="1"/>
                      <a:pt x="70" y="1"/>
                      <a:pt x="70" y="1"/>
                    </a:cubicBezTo>
                    <a:cubicBezTo>
                      <a:pt x="77" y="0"/>
                      <a:pt x="77" y="0"/>
                      <a:pt x="77" y="0"/>
                    </a:cubicBezTo>
                    <a:cubicBezTo>
                      <a:pt x="80" y="0"/>
                      <a:pt x="80" y="0"/>
                      <a:pt x="80" y="0"/>
                    </a:cubicBezTo>
                    <a:cubicBezTo>
                      <a:pt x="85" y="2"/>
                      <a:pt x="85" y="2"/>
                      <a:pt x="85" y="2"/>
                    </a:cubicBezTo>
                    <a:cubicBezTo>
                      <a:pt x="83" y="3"/>
                      <a:pt x="83" y="3"/>
                      <a:pt x="83" y="3"/>
                    </a:cubicBezTo>
                    <a:cubicBezTo>
                      <a:pt x="79" y="5"/>
                      <a:pt x="79" y="5"/>
                      <a:pt x="79" y="5"/>
                    </a:cubicBezTo>
                    <a:cubicBezTo>
                      <a:pt x="75" y="6"/>
                      <a:pt x="75" y="6"/>
                      <a:pt x="75" y="6"/>
                    </a:cubicBezTo>
                    <a:cubicBezTo>
                      <a:pt x="76" y="8"/>
                      <a:pt x="76" y="8"/>
                      <a:pt x="76" y="8"/>
                    </a:cubicBezTo>
                    <a:cubicBezTo>
                      <a:pt x="70" y="14"/>
                      <a:pt x="70" y="14"/>
                      <a:pt x="70" y="14"/>
                    </a:cubicBezTo>
                    <a:cubicBezTo>
                      <a:pt x="70" y="14"/>
                      <a:pt x="68" y="14"/>
                      <a:pt x="68" y="15"/>
                    </a:cubicBezTo>
                    <a:cubicBezTo>
                      <a:pt x="68" y="16"/>
                      <a:pt x="65" y="23"/>
                      <a:pt x="65" y="23"/>
                    </a:cubicBezTo>
                    <a:cubicBezTo>
                      <a:pt x="65" y="19"/>
                      <a:pt x="65" y="19"/>
                      <a:pt x="65" y="19"/>
                    </a:cubicBezTo>
                    <a:cubicBezTo>
                      <a:pt x="63" y="17"/>
                      <a:pt x="63" y="17"/>
                      <a:pt x="63" y="17"/>
                    </a:cubicBezTo>
                    <a:cubicBezTo>
                      <a:pt x="62" y="27"/>
                      <a:pt x="62" y="27"/>
                      <a:pt x="62" y="27"/>
                    </a:cubicBezTo>
                    <a:cubicBezTo>
                      <a:pt x="62" y="33"/>
                      <a:pt x="62" y="33"/>
                      <a:pt x="62" y="33"/>
                    </a:cubicBezTo>
                    <a:cubicBezTo>
                      <a:pt x="65" y="31"/>
                      <a:pt x="65" y="31"/>
                      <a:pt x="65" y="31"/>
                    </a:cubicBezTo>
                    <a:cubicBezTo>
                      <a:pt x="67" y="29"/>
                      <a:pt x="67" y="29"/>
                      <a:pt x="67" y="29"/>
                    </a:cubicBezTo>
                    <a:cubicBezTo>
                      <a:pt x="68" y="29"/>
                      <a:pt x="68" y="29"/>
                      <a:pt x="68" y="29"/>
                    </a:cubicBezTo>
                    <a:cubicBezTo>
                      <a:pt x="69" y="31"/>
                      <a:pt x="69" y="31"/>
                      <a:pt x="69" y="31"/>
                    </a:cubicBezTo>
                    <a:cubicBezTo>
                      <a:pt x="72" y="31"/>
                      <a:pt x="72" y="31"/>
                      <a:pt x="72" y="31"/>
                    </a:cubicBezTo>
                    <a:cubicBezTo>
                      <a:pt x="74" y="30"/>
                      <a:pt x="74" y="30"/>
                      <a:pt x="74" y="30"/>
                    </a:cubicBezTo>
                    <a:cubicBezTo>
                      <a:pt x="77" y="28"/>
                      <a:pt x="77" y="28"/>
                      <a:pt x="77" y="28"/>
                    </a:cubicBezTo>
                    <a:cubicBezTo>
                      <a:pt x="82" y="29"/>
                      <a:pt x="82" y="29"/>
                      <a:pt x="82" y="29"/>
                    </a:cubicBezTo>
                    <a:cubicBezTo>
                      <a:pt x="92" y="34"/>
                      <a:pt x="92" y="34"/>
                      <a:pt x="92" y="34"/>
                    </a:cubicBezTo>
                    <a:cubicBezTo>
                      <a:pt x="98" y="41"/>
                      <a:pt x="98" y="41"/>
                      <a:pt x="98" y="41"/>
                    </a:cubicBezTo>
                    <a:cubicBezTo>
                      <a:pt x="102" y="44"/>
                      <a:pt x="102" y="44"/>
                      <a:pt x="102" y="44"/>
                    </a:cubicBezTo>
                    <a:cubicBezTo>
                      <a:pt x="111" y="45"/>
                      <a:pt x="111" y="45"/>
                      <a:pt x="111" y="45"/>
                    </a:cubicBezTo>
                    <a:cubicBezTo>
                      <a:pt x="114" y="44"/>
                      <a:pt x="114" y="44"/>
                      <a:pt x="114" y="44"/>
                    </a:cubicBezTo>
                    <a:cubicBezTo>
                      <a:pt x="121" y="46"/>
                      <a:pt x="121" y="46"/>
                      <a:pt x="121" y="46"/>
                    </a:cubicBezTo>
                    <a:cubicBezTo>
                      <a:pt x="127" y="48"/>
                      <a:pt x="127" y="48"/>
                      <a:pt x="127" y="48"/>
                    </a:cubicBezTo>
                    <a:cubicBezTo>
                      <a:pt x="130" y="44"/>
                      <a:pt x="130" y="44"/>
                      <a:pt x="130" y="44"/>
                    </a:cubicBezTo>
                    <a:cubicBezTo>
                      <a:pt x="135" y="39"/>
                      <a:pt x="135" y="39"/>
                      <a:pt x="135" y="39"/>
                    </a:cubicBezTo>
                    <a:cubicBezTo>
                      <a:pt x="139" y="35"/>
                      <a:pt x="139" y="35"/>
                      <a:pt x="139" y="35"/>
                    </a:cubicBezTo>
                    <a:cubicBezTo>
                      <a:pt x="148" y="33"/>
                      <a:pt x="148" y="33"/>
                      <a:pt x="148" y="33"/>
                    </a:cubicBezTo>
                    <a:cubicBezTo>
                      <a:pt x="154" y="31"/>
                      <a:pt x="154" y="31"/>
                      <a:pt x="154" y="31"/>
                    </a:cubicBezTo>
                    <a:cubicBezTo>
                      <a:pt x="160" y="31"/>
                      <a:pt x="160" y="31"/>
                      <a:pt x="160" y="31"/>
                    </a:cubicBezTo>
                    <a:cubicBezTo>
                      <a:pt x="169" y="28"/>
                      <a:pt x="169" y="28"/>
                      <a:pt x="169" y="28"/>
                    </a:cubicBezTo>
                    <a:cubicBezTo>
                      <a:pt x="175" y="26"/>
                      <a:pt x="175" y="26"/>
                      <a:pt x="175" y="26"/>
                    </a:cubicBezTo>
                    <a:cubicBezTo>
                      <a:pt x="178" y="28"/>
                      <a:pt x="178" y="28"/>
                      <a:pt x="178" y="28"/>
                    </a:cubicBezTo>
                    <a:cubicBezTo>
                      <a:pt x="180" y="36"/>
                      <a:pt x="180" y="36"/>
                      <a:pt x="180" y="36"/>
                    </a:cubicBezTo>
                    <a:cubicBezTo>
                      <a:pt x="191" y="38"/>
                      <a:pt x="191" y="38"/>
                      <a:pt x="191" y="38"/>
                    </a:cubicBezTo>
                    <a:cubicBezTo>
                      <a:pt x="198" y="38"/>
                      <a:pt x="198" y="38"/>
                      <a:pt x="198" y="38"/>
                    </a:cubicBezTo>
                    <a:cubicBezTo>
                      <a:pt x="203" y="39"/>
                      <a:pt x="203" y="39"/>
                      <a:pt x="203" y="39"/>
                    </a:cubicBezTo>
                    <a:cubicBezTo>
                      <a:pt x="207" y="44"/>
                      <a:pt x="207" y="44"/>
                      <a:pt x="207" y="44"/>
                    </a:cubicBezTo>
                    <a:cubicBezTo>
                      <a:pt x="213" y="51"/>
                      <a:pt x="213" y="51"/>
                      <a:pt x="213" y="51"/>
                    </a:cubicBezTo>
                    <a:cubicBezTo>
                      <a:pt x="215" y="53"/>
                      <a:pt x="215" y="53"/>
                      <a:pt x="215" y="53"/>
                    </a:cubicBezTo>
                    <a:cubicBezTo>
                      <a:pt x="215" y="53"/>
                      <a:pt x="216" y="54"/>
                      <a:pt x="217" y="55"/>
                    </a:cubicBezTo>
                    <a:cubicBezTo>
                      <a:pt x="218" y="56"/>
                      <a:pt x="219" y="58"/>
                      <a:pt x="219" y="58"/>
                    </a:cubicBezTo>
                    <a:cubicBezTo>
                      <a:pt x="224" y="59"/>
                      <a:pt x="224" y="59"/>
                      <a:pt x="224" y="59"/>
                    </a:cubicBezTo>
                    <a:cubicBezTo>
                      <a:pt x="224" y="59"/>
                      <a:pt x="226" y="57"/>
                      <a:pt x="226" y="57"/>
                    </a:cubicBezTo>
                    <a:cubicBezTo>
                      <a:pt x="226" y="56"/>
                      <a:pt x="230" y="54"/>
                      <a:pt x="230" y="54"/>
                    </a:cubicBezTo>
                    <a:cubicBezTo>
                      <a:pt x="232" y="56"/>
                      <a:pt x="232" y="56"/>
                      <a:pt x="232" y="56"/>
                    </a:cubicBezTo>
                    <a:cubicBezTo>
                      <a:pt x="232" y="56"/>
                      <a:pt x="234" y="57"/>
                      <a:pt x="232" y="58"/>
                    </a:cubicBezTo>
                    <a:cubicBezTo>
                      <a:pt x="231" y="58"/>
                      <a:pt x="230" y="60"/>
                      <a:pt x="229" y="60"/>
                    </a:cubicBezTo>
                    <a:cubicBezTo>
                      <a:pt x="227" y="60"/>
                      <a:pt x="225" y="60"/>
                      <a:pt x="225" y="60"/>
                    </a:cubicBezTo>
                    <a:cubicBezTo>
                      <a:pt x="221" y="60"/>
                      <a:pt x="221" y="60"/>
                      <a:pt x="221" y="60"/>
                    </a:cubicBezTo>
                    <a:cubicBezTo>
                      <a:pt x="219" y="62"/>
                      <a:pt x="219" y="62"/>
                      <a:pt x="219" y="62"/>
                    </a:cubicBezTo>
                    <a:cubicBezTo>
                      <a:pt x="208" y="62"/>
                      <a:pt x="208" y="62"/>
                      <a:pt x="208" y="62"/>
                    </a:cubicBezTo>
                    <a:cubicBezTo>
                      <a:pt x="205" y="63"/>
                      <a:pt x="205" y="63"/>
                      <a:pt x="205" y="63"/>
                    </a:cubicBezTo>
                    <a:cubicBezTo>
                      <a:pt x="201" y="61"/>
                      <a:pt x="201" y="61"/>
                      <a:pt x="201" y="61"/>
                    </a:cubicBezTo>
                    <a:cubicBezTo>
                      <a:pt x="197" y="59"/>
                      <a:pt x="197" y="59"/>
                      <a:pt x="197" y="59"/>
                    </a:cubicBezTo>
                    <a:cubicBezTo>
                      <a:pt x="193" y="64"/>
                      <a:pt x="193" y="64"/>
                      <a:pt x="193" y="64"/>
                    </a:cubicBezTo>
                    <a:cubicBezTo>
                      <a:pt x="194" y="67"/>
                      <a:pt x="194" y="67"/>
                      <a:pt x="194" y="67"/>
                    </a:cubicBezTo>
                    <a:cubicBezTo>
                      <a:pt x="194" y="69"/>
                      <a:pt x="194" y="69"/>
                      <a:pt x="194" y="69"/>
                    </a:cubicBezTo>
                    <a:cubicBezTo>
                      <a:pt x="194" y="69"/>
                      <a:pt x="194" y="71"/>
                      <a:pt x="195" y="71"/>
                    </a:cubicBezTo>
                    <a:cubicBezTo>
                      <a:pt x="195" y="71"/>
                      <a:pt x="196" y="72"/>
                      <a:pt x="196" y="72"/>
                    </a:cubicBezTo>
                    <a:cubicBezTo>
                      <a:pt x="201" y="74"/>
                      <a:pt x="201" y="74"/>
                      <a:pt x="201" y="74"/>
                    </a:cubicBezTo>
                    <a:cubicBezTo>
                      <a:pt x="203" y="72"/>
                      <a:pt x="203" y="72"/>
                      <a:pt x="203" y="72"/>
                    </a:cubicBezTo>
                    <a:cubicBezTo>
                      <a:pt x="203" y="72"/>
                      <a:pt x="200" y="70"/>
                      <a:pt x="201" y="70"/>
                    </a:cubicBezTo>
                    <a:cubicBezTo>
                      <a:pt x="202" y="70"/>
                      <a:pt x="206" y="72"/>
                      <a:pt x="206" y="72"/>
                    </a:cubicBezTo>
                    <a:cubicBezTo>
                      <a:pt x="206" y="72"/>
                      <a:pt x="205" y="74"/>
                      <a:pt x="205" y="74"/>
                    </a:cubicBezTo>
                    <a:cubicBezTo>
                      <a:pt x="204" y="75"/>
                      <a:pt x="204" y="75"/>
                      <a:pt x="204" y="75"/>
                    </a:cubicBezTo>
                    <a:cubicBezTo>
                      <a:pt x="205" y="76"/>
                      <a:pt x="210" y="77"/>
                      <a:pt x="210" y="77"/>
                    </a:cubicBezTo>
                    <a:cubicBezTo>
                      <a:pt x="211" y="77"/>
                      <a:pt x="214" y="79"/>
                      <a:pt x="214" y="79"/>
                    </a:cubicBezTo>
                    <a:cubicBezTo>
                      <a:pt x="219" y="82"/>
                      <a:pt x="219" y="82"/>
                      <a:pt x="219" y="82"/>
                    </a:cubicBezTo>
                    <a:cubicBezTo>
                      <a:pt x="226" y="85"/>
                      <a:pt x="226" y="85"/>
                      <a:pt x="226" y="85"/>
                    </a:cubicBezTo>
                    <a:cubicBezTo>
                      <a:pt x="234" y="88"/>
                      <a:pt x="234" y="88"/>
                      <a:pt x="234" y="88"/>
                    </a:cubicBezTo>
                    <a:cubicBezTo>
                      <a:pt x="242" y="96"/>
                      <a:pt x="242" y="96"/>
                      <a:pt x="242" y="96"/>
                    </a:cubicBezTo>
                    <a:cubicBezTo>
                      <a:pt x="246" y="101"/>
                      <a:pt x="246" y="101"/>
                      <a:pt x="246" y="101"/>
                    </a:cubicBezTo>
                    <a:cubicBezTo>
                      <a:pt x="244" y="103"/>
                      <a:pt x="244" y="103"/>
                      <a:pt x="244" y="103"/>
                    </a:cubicBezTo>
                    <a:cubicBezTo>
                      <a:pt x="244" y="103"/>
                      <a:pt x="243" y="103"/>
                      <a:pt x="243" y="104"/>
                    </a:cubicBezTo>
                    <a:cubicBezTo>
                      <a:pt x="244" y="105"/>
                      <a:pt x="246" y="109"/>
                      <a:pt x="246" y="109"/>
                    </a:cubicBezTo>
                    <a:cubicBezTo>
                      <a:pt x="245" y="110"/>
                      <a:pt x="247" y="113"/>
                      <a:pt x="247" y="113"/>
                    </a:cubicBezTo>
                    <a:cubicBezTo>
                      <a:pt x="249" y="124"/>
                      <a:pt x="249" y="124"/>
                      <a:pt x="249" y="124"/>
                    </a:cubicBezTo>
                    <a:cubicBezTo>
                      <a:pt x="250" y="130"/>
                      <a:pt x="250" y="130"/>
                      <a:pt x="250" y="130"/>
                    </a:cubicBezTo>
                    <a:cubicBezTo>
                      <a:pt x="249" y="136"/>
                      <a:pt x="249" y="136"/>
                      <a:pt x="249" y="136"/>
                    </a:cubicBezTo>
                    <a:cubicBezTo>
                      <a:pt x="245" y="141"/>
                      <a:pt x="245" y="141"/>
                      <a:pt x="245" y="141"/>
                    </a:cubicBezTo>
                    <a:cubicBezTo>
                      <a:pt x="242" y="147"/>
                      <a:pt x="242" y="147"/>
                      <a:pt x="242" y="147"/>
                    </a:cubicBezTo>
                    <a:cubicBezTo>
                      <a:pt x="242" y="147"/>
                      <a:pt x="240" y="151"/>
                      <a:pt x="239" y="152"/>
                    </a:cubicBezTo>
                    <a:cubicBezTo>
                      <a:pt x="239" y="152"/>
                      <a:pt x="235" y="155"/>
                      <a:pt x="235" y="156"/>
                    </a:cubicBezTo>
                    <a:cubicBezTo>
                      <a:pt x="235" y="156"/>
                      <a:pt x="233" y="160"/>
                      <a:pt x="233" y="160"/>
                    </a:cubicBezTo>
                    <a:cubicBezTo>
                      <a:pt x="233" y="168"/>
                      <a:pt x="233" y="168"/>
                      <a:pt x="233" y="168"/>
                    </a:cubicBezTo>
                    <a:cubicBezTo>
                      <a:pt x="235" y="170"/>
                      <a:pt x="235" y="170"/>
                      <a:pt x="235" y="170"/>
                    </a:cubicBezTo>
                    <a:cubicBezTo>
                      <a:pt x="240" y="172"/>
                      <a:pt x="240" y="172"/>
                      <a:pt x="240" y="172"/>
                    </a:cubicBezTo>
                    <a:cubicBezTo>
                      <a:pt x="242" y="170"/>
                      <a:pt x="242" y="170"/>
                      <a:pt x="242" y="170"/>
                    </a:cubicBezTo>
                    <a:cubicBezTo>
                      <a:pt x="242" y="170"/>
                      <a:pt x="244" y="169"/>
                      <a:pt x="244" y="168"/>
                    </a:cubicBezTo>
                    <a:cubicBezTo>
                      <a:pt x="245" y="168"/>
                      <a:pt x="246" y="166"/>
                      <a:pt x="246" y="166"/>
                    </a:cubicBezTo>
                    <a:cubicBezTo>
                      <a:pt x="246" y="166"/>
                      <a:pt x="249" y="164"/>
                      <a:pt x="249" y="164"/>
                    </a:cubicBezTo>
                    <a:cubicBezTo>
                      <a:pt x="249" y="164"/>
                      <a:pt x="249" y="161"/>
                      <a:pt x="249" y="161"/>
                    </a:cubicBezTo>
                    <a:cubicBezTo>
                      <a:pt x="249" y="161"/>
                      <a:pt x="250" y="157"/>
                      <a:pt x="250" y="157"/>
                    </a:cubicBezTo>
                    <a:cubicBezTo>
                      <a:pt x="250" y="157"/>
                      <a:pt x="252" y="156"/>
                      <a:pt x="252" y="156"/>
                    </a:cubicBezTo>
                    <a:cubicBezTo>
                      <a:pt x="252" y="155"/>
                      <a:pt x="255" y="153"/>
                      <a:pt x="255" y="153"/>
                    </a:cubicBezTo>
                    <a:cubicBezTo>
                      <a:pt x="255" y="153"/>
                      <a:pt x="259" y="150"/>
                      <a:pt x="259" y="150"/>
                    </a:cubicBezTo>
                    <a:cubicBezTo>
                      <a:pt x="260" y="150"/>
                      <a:pt x="262" y="147"/>
                      <a:pt x="262" y="147"/>
                    </a:cubicBezTo>
                    <a:cubicBezTo>
                      <a:pt x="265" y="147"/>
                      <a:pt x="265" y="147"/>
                      <a:pt x="265" y="147"/>
                    </a:cubicBezTo>
                    <a:cubicBezTo>
                      <a:pt x="269" y="148"/>
                      <a:pt x="269" y="148"/>
                      <a:pt x="269" y="148"/>
                    </a:cubicBezTo>
                    <a:cubicBezTo>
                      <a:pt x="275" y="154"/>
                      <a:pt x="275" y="154"/>
                      <a:pt x="275" y="154"/>
                    </a:cubicBezTo>
                    <a:cubicBezTo>
                      <a:pt x="279" y="162"/>
                      <a:pt x="279" y="162"/>
                      <a:pt x="279" y="162"/>
                    </a:cubicBezTo>
                    <a:cubicBezTo>
                      <a:pt x="283" y="184"/>
                      <a:pt x="283" y="184"/>
                      <a:pt x="283" y="184"/>
                    </a:cubicBezTo>
                    <a:cubicBezTo>
                      <a:pt x="286" y="189"/>
                      <a:pt x="286" y="189"/>
                      <a:pt x="286" y="189"/>
                    </a:cubicBezTo>
                    <a:cubicBezTo>
                      <a:pt x="286" y="193"/>
                      <a:pt x="286" y="193"/>
                      <a:pt x="286" y="193"/>
                    </a:cubicBezTo>
                    <a:cubicBezTo>
                      <a:pt x="286" y="193"/>
                      <a:pt x="287" y="196"/>
                      <a:pt x="287" y="197"/>
                    </a:cubicBezTo>
                    <a:cubicBezTo>
                      <a:pt x="287" y="198"/>
                      <a:pt x="287" y="213"/>
                      <a:pt x="287" y="213"/>
                    </a:cubicBezTo>
                    <a:cubicBezTo>
                      <a:pt x="280" y="213"/>
                      <a:pt x="280" y="213"/>
                      <a:pt x="280" y="213"/>
                    </a:cubicBezTo>
                    <a:cubicBezTo>
                      <a:pt x="278" y="213"/>
                      <a:pt x="278" y="213"/>
                      <a:pt x="278" y="213"/>
                    </a:cubicBezTo>
                    <a:cubicBezTo>
                      <a:pt x="278" y="216"/>
                      <a:pt x="278" y="216"/>
                      <a:pt x="278" y="216"/>
                    </a:cubicBezTo>
                    <a:cubicBezTo>
                      <a:pt x="275" y="220"/>
                      <a:pt x="275" y="220"/>
                      <a:pt x="275" y="220"/>
                    </a:cubicBezTo>
                    <a:cubicBezTo>
                      <a:pt x="274" y="225"/>
                      <a:pt x="274" y="225"/>
                      <a:pt x="274" y="225"/>
                    </a:cubicBezTo>
                    <a:cubicBezTo>
                      <a:pt x="272" y="229"/>
                      <a:pt x="272" y="229"/>
                      <a:pt x="272" y="229"/>
                    </a:cubicBezTo>
                    <a:cubicBezTo>
                      <a:pt x="269" y="233"/>
                      <a:pt x="269" y="233"/>
                      <a:pt x="269" y="233"/>
                    </a:cubicBezTo>
                    <a:cubicBezTo>
                      <a:pt x="266" y="243"/>
                      <a:pt x="266" y="243"/>
                      <a:pt x="266" y="243"/>
                    </a:cubicBezTo>
                    <a:cubicBezTo>
                      <a:pt x="266" y="249"/>
                      <a:pt x="266" y="249"/>
                      <a:pt x="266" y="249"/>
                    </a:cubicBezTo>
                    <a:cubicBezTo>
                      <a:pt x="262" y="254"/>
                      <a:pt x="262" y="254"/>
                      <a:pt x="262" y="254"/>
                    </a:cubicBezTo>
                    <a:cubicBezTo>
                      <a:pt x="259" y="259"/>
                      <a:pt x="259" y="259"/>
                      <a:pt x="259" y="259"/>
                    </a:cubicBezTo>
                    <a:cubicBezTo>
                      <a:pt x="213" y="267"/>
                      <a:pt x="213" y="267"/>
                      <a:pt x="213" y="267"/>
                    </a:cubicBezTo>
                    <a:cubicBezTo>
                      <a:pt x="212" y="265"/>
                      <a:pt x="212" y="265"/>
                      <a:pt x="212" y="265"/>
                    </a:cubicBezTo>
                    <a:cubicBezTo>
                      <a:pt x="141" y="270"/>
                      <a:pt x="141" y="270"/>
                      <a:pt x="141" y="270"/>
                    </a:cubicBezTo>
                    <a:cubicBezTo>
                      <a:pt x="146" y="265"/>
                      <a:pt x="146" y="265"/>
                      <a:pt x="146" y="265"/>
                    </a:cubicBezTo>
                    <a:cubicBezTo>
                      <a:pt x="148" y="261"/>
                      <a:pt x="148" y="261"/>
                      <a:pt x="148" y="261"/>
                    </a:cubicBezTo>
                    <a:cubicBezTo>
                      <a:pt x="152" y="254"/>
                      <a:pt x="152" y="254"/>
                      <a:pt x="152" y="254"/>
                    </a:cubicBezTo>
                    <a:cubicBezTo>
                      <a:pt x="156" y="245"/>
                      <a:pt x="156" y="245"/>
                      <a:pt x="156" y="245"/>
                    </a:cubicBezTo>
                    <a:cubicBezTo>
                      <a:pt x="158" y="235"/>
                      <a:pt x="158" y="235"/>
                      <a:pt x="158" y="235"/>
                    </a:cubicBezTo>
                    <a:cubicBezTo>
                      <a:pt x="157" y="217"/>
                      <a:pt x="157" y="217"/>
                      <a:pt x="157" y="217"/>
                    </a:cubicBezTo>
                    <a:cubicBezTo>
                      <a:pt x="157" y="209"/>
                      <a:pt x="157" y="209"/>
                      <a:pt x="157" y="209"/>
                    </a:cubicBezTo>
                    <a:cubicBezTo>
                      <a:pt x="153" y="203"/>
                      <a:pt x="153" y="203"/>
                      <a:pt x="153" y="203"/>
                    </a:cubicBezTo>
                    <a:cubicBezTo>
                      <a:pt x="149" y="195"/>
                      <a:pt x="149" y="195"/>
                      <a:pt x="149" y="195"/>
                    </a:cubicBezTo>
                    <a:cubicBezTo>
                      <a:pt x="145" y="191"/>
                      <a:pt x="145" y="191"/>
                      <a:pt x="145" y="191"/>
                    </a:cubicBezTo>
                    <a:cubicBezTo>
                      <a:pt x="142" y="184"/>
                      <a:pt x="142" y="184"/>
                      <a:pt x="142" y="184"/>
                    </a:cubicBezTo>
                    <a:cubicBezTo>
                      <a:pt x="144" y="179"/>
                      <a:pt x="144" y="179"/>
                      <a:pt x="144" y="179"/>
                    </a:cubicBezTo>
                    <a:cubicBezTo>
                      <a:pt x="146" y="177"/>
                      <a:pt x="146" y="177"/>
                      <a:pt x="146" y="177"/>
                    </a:cubicBezTo>
                    <a:cubicBezTo>
                      <a:pt x="146" y="173"/>
                      <a:pt x="146" y="173"/>
                      <a:pt x="146" y="173"/>
                    </a:cubicBezTo>
                    <a:cubicBezTo>
                      <a:pt x="144" y="165"/>
                      <a:pt x="144" y="165"/>
                      <a:pt x="144" y="165"/>
                    </a:cubicBezTo>
                    <a:cubicBezTo>
                      <a:pt x="141" y="162"/>
                      <a:pt x="141" y="162"/>
                      <a:pt x="141" y="162"/>
                    </a:cubicBezTo>
                    <a:cubicBezTo>
                      <a:pt x="144" y="160"/>
                      <a:pt x="144" y="160"/>
                      <a:pt x="144" y="160"/>
                    </a:cubicBezTo>
                    <a:cubicBezTo>
                      <a:pt x="145" y="155"/>
                      <a:pt x="145" y="155"/>
                      <a:pt x="145" y="155"/>
                    </a:cubicBezTo>
                    <a:cubicBezTo>
                      <a:pt x="146" y="150"/>
                      <a:pt x="146" y="150"/>
                      <a:pt x="146" y="150"/>
                    </a:cubicBezTo>
                    <a:cubicBezTo>
                      <a:pt x="148" y="147"/>
                      <a:pt x="148" y="147"/>
                      <a:pt x="148" y="147"/>
                    </a:cubicBezTo>
                    <a:cubicBezTo>
                      <a:pt x="148" y="139"/>
                      <a:pt x="148" y="139"/>
                      <a:pt x="148" y="139"/>
                    </a:cubicBezTo>
                    <a:cubicBezTo>
                      <a:pt x="147" y="135"/>
                      <a:pt x="147" y="135"/>
                      <a:pt x="147" y="135"/>
                    </a:cubicBezTo>
                    <a:cubicBezTo>
                      <a:pt x="148" y="130"/>
                      <a:pt x="148" y="130"/>
                      <a:pt x="148" y="130"/>
                    </a:cubicBezTo>
                    <a:cubicBezTo>
                      <a:pt x="151" y="126"/>
                      <a:pt x="151" y="126"/>
                      <a:pt x="151" y="126"/>
                    </a:cubicBezTo>
                    <a:cubicBezTo>
                      <a:pt x="153" y="122"/>
                      <a:pt x="153" y="122"/>
                      <a:pt x="153" y="122"/>
                    </a:cubicBezTo>
                    <a:cubicBezTo>
                      <a:pt x="153" y="117"/>
                      <a:pt x="153" y="117"/>
                      <a:pt x="153" y="117"/>
                    </a:cubicBezTo>
                    <a:cubicBezTo>
                      <a:pt x="157" y="116"/>
                      <a:pt x="157" y="116"/>
                      <a:pt x="157" y="116"/>
                    </a:cubicBezTo>
                    <a:cubicBezTo>
                      <a:pt x="163" y="116"/>
                      <a:pt x="163" y="116"/>
                      <a:pt x="163" y="116"/>
                    </a:cubicBezTo>
                    <a:cubicBezTo>
                      <a:pt x="165" y="108"/>
                      <a:pt x="165" y="108"/>
                      <a:pt x="165" y="108"/>
                    </a:cubicBezTo>
                    <a:cubicBezTo>
                      <a:pt x="166" y="106"/>
                      <a:pt x="166" y="106"/>
                      <a:pt x="166" y="106"/>
                    </a:cubicBezTo>
                    <a:cubicBezTo>
                      <a:pt x="168" y="105"/>
                      <a:pt x="168" y="105"/>
                      <a:pt x="168" y="105"/>
                    </a:cubicBezTo>
                    <a:cubicBezTo>
                      <a:pt x="171" y="114"/>
                      <a:pt x="171" y="114"/>
                      <a:pt x="171" y="114"/>
                    </a:cubicBezTo>
                    <a:cubicBezTo>
                      <a:pt x="167" y="119"/>
                      <a:pt x="167" y="119"/>
                      <a:pt x="167" y="119"/>
                    </a:cubicBezTo>
                    <a:cubicBezTo>
                      <a:pt x="167" y="121"/>
                      <a:pt x="167" y="121"/>
                      <a:pt x="167" y="121"/>
                    </a:cubicBezTo>
                    <a:cubicBezTo>
                      <a:pt x="167" y="121"/>
                      <a:pt x="168" y="122"/>
                      <a:pt x="169" y="122"/>
                    </a:cubicBezTo>
                    <a:cubicBezTo>
                      <a:pt x="170" y="122"/>
                      <a:pt x="170" y="122"/>
                      <a:pt x="170" y="122"/>
                    </a:cubicBezTo>
                    <a:cubicBezTo>
                      <a:pt x="170" y="122"/>
                      <a:pt x="172" y="121"/>
                      <a:pt x="172" y="121"/>
                    </a:cubicBezTo>
                    <a:cubicBezTo>
                      <a:pt x="172" y="120"/>
                      <a:pt x="173" y="117"/>
                      <a:pt x="173" y="117"/>
                    </a:cubicBezTo>
                    <a:cubicBezTo>
                      <a:pt x="174" y="116"/>
                      <a:pt x="174" y="116"/>
                      <a:pt x="174" y="116"/>
                    </a:cubicBezTo>
                    <a:cubicBezTo>
                      <a:pt x="175" y="111"/>
                      <a:pt x="175" y="111"/>
                      <a:pt x="175" y="111"/>
                    </a:cubicBezTo>
                    <a:cubicBezTo>
                      <a:pt x="175" y="108"/>
                      <a:pt x="175" y="108"/>
                      <a:pt x="175" y="108"/>
                    </a:cubicBezTo>
                    <a:cubicBezTo>
                      <a:pt x="175" y="104"/>
                      <a:pt x="175" y="104"/>
                      <a:pt x="175" y="104"/>
                    </a:cubicBezTo>
                    <a:cubicBezTo>
                      <a:pt x="175" y="100"/>
                      <a:pt x="175" y="100"/>
                      <a:pt x="175" y="100"/>
                    </a:cubicBezTo>
                    <a:cubicBezTo>
                      <a:pt x="178" y="96"/>
                      <a:pt x="178" y="96"/>
                      <a:pt x="178" y="96"/>
                    </a:cubicBezTo>
                    <a:cubicBezTo>
                      <a:pt x="180" y="94"/>
                      <a:pt x="180" y="94"/>
                      <a:pt x="180" y="94"/>
                    </a:cubicBezTo>
                    <a:cubicBezTo>
                      <a:pt x="185" y="93"/>
                      <a:pt x="185" y="93"/>
                      <a:pt x="185" y="93"/>
                    </a:cubicBezTo>
                    <a:cubicBezTo>
                      <a:pt x="187" y="91"/>
                      <a:pt x="187" y="91"/>
                      <a:pt x="187" y="91"/>
                    </a:cubicBezTo>
                    <a:cubicBezTo>
                      <a:pt x="183" y="87"/>
                      <a:pt x="183" y="87"/>
                      <a:pt x="183" y="87"/>
                    </a:cubicBezTo>
                    <a:cubicBezTo>
                      <a:pt x="182" y="84"/>
                      <a:pt x="182" y="84"/>
                      <a:pt x="182" y="84"/>
                    </a:cubicBezTo>
                    <a:cubicBezTo>
                      <a:pt x="184" y="81"/>
                      <a:pt x="184" y="81"/>
                      <a:pt x="184" y="81"/>
                    </a:cubicBezTo>
                    <a:cubicBezTo>
                      <a:pt x="186" y="78"/>
                      <a:pt x="186" y="78"/>
                      <a:pt x="186" y="78"/>
                    </a:cubicBezTo>
                    <a:cubicBezTo>
                      <a:pt x="187" y="77"/>
                      <a:pt x="187" y="77"/>
                      <a:pt x="187" y="77"/>
                    </a:cubicBezTo>
                    <a:cubicBezTo>
                      <a:pt x="187" y="75"/>
                      <a:pt x="187" y="75"/>
                      <a:pt x="187" y="75"/>
                    </a:cubicBezTo>
                    <a:cubicBezTo>
                      <a:pt x="188" y="74"/>
                      <a:pt x="188" y="74"/>
                      <a:pt x="188" y="74"/>
                    </a:cubicBezTo>
                    <a:cubicBezTo>
                      <a:pt x="188" y="74"/>
                      <a:pt x="188" y="74"/>
                      <a:pt x="189" y="74"/>
                    </a:cubicBezTo>
                    <a:cubicBezTo>
                      <a:pt x="189" y="74"/>
                      <a:pt x="193" y="73"/>
                      <a:pt x="193" y="73"/>
                    </a:cubicBezTo>
                    <a:cubicBezTo>
                      <a:pt x="195" y="73"/>
                      <a:pt x="195" y="73"/>
                      <a:pt x="195" y="73"/>
                    </a:cubicBezTo>
                    <a:cubicBezTo>
                      <a:pt x="193" y="70"/>
                      <a:pt x="193" y="70"/>
                      <a:pt x="193" y="70"/>
                    </a:cubicBezTo>
                    <a:cubicBezTo>
                      <a:pt x="189" y="67"/>
                      <a:pt x="189" y="67"/>
                      <a:pt x="189" y="67"/>
                    </a:cubicBezTo>
                    <a:cubicBezTo>
                      <a:pt x="187" y="65"/>
                      <a:pt x="187" y="65"/>
                      <a:pt x="187" y="65"/>
                    </a:cubicBezTo>
                    <a:cubicBezTo>
                      <a:pt x="184" y="63"/>
                      <a:pt x="184" y="63"/>
                      <a:pt x="184" y="63"/>
                    </a:cubicBezTo>
                    <a:cubicBezTo>
                      <a:pt x="179" y="61"/>
                      <a:pt x="179" y="61"/>
                      <a:pt x="179" y="61"/>
                    </a:cubicBezTo>
                    <a:cubicBezTo>
                      <a:pt x="170" y="60"/>
                      <a:pt x="170" y="60"/>
                      <a:pt x="170" y="60"/>
                    </a:cubicBezTo>
                    <a:cubicBezTo>
                      <a:pt x="163" y="64"/>
                      <a:pt x="163" y="64"/>
                      <a:pt x="163" y="64"/>
                    </a:cubicBezTo>
                    <a:cubicBezTo>
                      <a:pt x="159" y="68"/>
                      <a:pt x="159" y="68"/>
                      <a:pt x="159" y="68"/>
                    </a:cubicBezTo>
                    <a:cubicBezTo>
                      <a:pt x="152" y="69"/>
                      <a:pt x="152" y="69"/>
                      <a:pt x="152" y="69"/>
                    </a:cubicBezTo>
                    <a:cubicBezTo>
                      <a:pt x="144" y="69"/>
                      <a:pt x="144" y="69"/>
                      <a:pt x="144" y="69"/>
                    </a:cubicBezTo>
                    <a:cubicBezTo>
                      <a:pt x="140" y="72"/>
                      <a:pt x="140" y="72"/>
                      <a:pt x="140" y="72"/>
                    </a:cubicBezTo>
                    <a:cubicBezTo>
                      <a:pt x="135" y="81"/>
                      <a:pt x="135" y="81"/>
                      <a:pt x="135" y="81"/>
                    </a:cubicBezTo>
                    <a:cubicBezTo>
                      <a:pt x="129" y="85"/>
                      <a:pt x="129" y="85"/>
                      <a:pt x="129" y="85"/>
                    </a:cubicBezTo>
                    <a:cubicBezTo>
                      <a:pt x="128" y="84"/>
                      <a:pt x="128" y="84"/>
                      <a:pt x="128" y="84"/>
                    </a:cubicBezTo>
                    <a:cubicBezTo>
                      <a:pt x="130" y="80"/>
                      <a:pt x="130" y="80"/>
                      <a:pt x="130" y="80"/>
                    </a:cubicBezTo>
                    <a:cubicBezTo>
                      <a:pt x="133" y="77"/>
                      <a:pt x="133" y="77"/>
                      <a:pt x="133" y="77"/>
                    </a:cubicBezTo>
                    <a:cubicBezTo>
                      <a:pt x="131" y="74"/>
                      <a:pt x="131" y="74"/>
                      <a:pt x="131" y="74"/>
                    </a:cubicBezTo>
                    <a:cubicBezTo>
                      <a:pt x="127" y="76"/>
                      <a:pt x="127" y="76"/>
                      <a:pt x="127" y="76"/>
                    </a:cubicBezTo>
                    <a:cubicBezTo>
                      <a:pt x="125" y="77"/>
                      <a:pt x="125" y="77"/>
                      <a:pt x="125" y="77"/>
                    </a:cubicBezTo>
                    <a:cubicBezTo>
                      <a:pt x="123" y="81"/>
                      <a:pt x="123" y="81"/>
                      <a:pt x="123" y="81"/>
                    </a:cubicBezTo>
                    <a:cubicBezTo>
                      <a:pt x="121" y="82"/>
                      <a:pt x="121" y="82"/>
                      <a:pt x="121" y="82"/>
                    </a:cubicBezTo>
                    <a:cubicBezTo>
                      <a:pt x="120" y="82"/>
                      <a:pt x="120" y="82"/>
                      <a:pt x="120" y="82"/>
                    </a:cubicBezTo>
                    <a:cubicBezTo>
                      <a:pt x="118" y="75"/>
                      <a:pt x="118" y="75"/>
                      <a:pt x="118" y="75"/>
                    </a:cubicBezTo>
                    <a:cubicBezTo>
                      <a:pt x="117" y="75"/>
                      <a:pt x="117" y="75"/>
                      <a:pt x="117" y="75"/>
                    </a:cubicBezTo>
                    <a:cubicBezTo>
                      <a:pt x="115" y="81"/>
                      <a:pt x="115" y="81"/>
                      <a:pt x="115" y="81"/>
                    </a:cubicBezTo>
                    <a:cubicBezTo>
                      <a:pt x="114" y="85"/>
                      <a:pt x="114" y="85"/>
                      <a:pt x="114" y="85"/>
                    </a:cubicBezTo>
                    <a:cubicBezTo>
                      <a:pt x="110" y="90"/>
                      <a:pt x="110" y="90"/>
                      <a:pt x="110" y="90"/>
                    </a:cubicBezTo>
                    <a:cubicBezTo>
                      <a:pt x="107" y="101"/>
                      <a:pt x="107" y="101"/>
                      <a:pt x="107" y="101"/>
                    </a:cubicBezTo>
                    <a:cubicBezTo>
                      <a:pt x="105" y="107"/>
                      <a:pt x="105" y="107"/>
                      <a:pt x="105" y="107"/>
                    </a:cubicBezTo>
                    <a:cubicBezTo>
                      <a:pt x="99" y="112"/>
                      <a:pt x="99" y="112"/>
                      <a:pt x="99" y="112"/>
                    </a:cubicBezTo>
                    <a:cubicBezTo>
                      <a:pt x="97" y="108"/>
                      <a:pt x="97" y="108"/>
                      <a:pt x="97" y="108"/>
                    </a:cubicBezTo>
                    <a:cubicBezTo>
                      <a:pt x="96" y="101"/>
                      <a:pt x="96" y="101"/>
                      <a:pt x="96" y="101"/>
                    </a:cubicBezTo>
                    <a:cubicBezTo>
                      <a:pt x="95" y="100"/>
                      <a:pt x="95" y="100"/>
                      <a:pt x="95" y="100"/>
                    </a:cubicBezTo>
                    <a:cubicBezTo>
                      <a:pt x="93" y="97"/>
                      <a:pt x="93" y="97"/>
                      <a:pt x="93" y="97"/>
                    </a:cubicBezTo>
                    <a:cubicBezTo>
                      <a:pt x="94" y="94"/>
                      <a:pt x="94" y="94"/>
                      <a:pt x="94" y="94"/>
                    </a:cubicBezTo>
                    <a:cubicBezTo>
                      <a:pt x="93" y="88"/>
                      <a:pt x="93" y="88"/>
                      <a:pt x="93" y="88"/>
                    </a:cubicBezTo>
                    <a:cubicBezTo>
                      <a:pt x="90" y="85"/>
                      <a:pt x="90" y="85"/>
                      <a:pt x="90" y="85"/>
                    </a:cubicBezTo>
                    <a:cubicBezTo>
                      <a:pt x="84" y="81"/>
                      <a:pt x="84" y="81"/>
                      <a:pt x="84" y="81"/>
                    </a:cubicBezTo>
                    <a:cubicBezTo>
                      <a:pt x="82" y="77"/>
                      <a:pt x="82" y="77"/>
                      <a:pt x="82" y="77"/>
                    </a:cubicBezTo>
                    <a:cubicBezTo>
                      <a:pt x="75" y="76"/>
                      <a:pt x="75" y="76"/>
                      <a:pt x="75" y="76"/>
                    </a:cubicBezTo>
                    <a:cubicBezTo>
                      <a:pt x="66" y="76"/>
                      <a:pt x="66" y="76"/>
                      <a:pt x="66" y="76"/>
                    </a:cubicBezTo>
                    <a:cubicBezTo>
                      <a:pt x="64" y="74"/>
                      <a:pt x="64" y="74"/>
                      <a:pt x="64" y="74"/>
                    </a:cubicBezTo>
                    <a:cubicBezTo>
                      <a:pt x="58" y="74"/>
                      <a:pt x="58" y="74"/>
                      <a:pt x="58" y="74"/>
                    </a:cubicBezTo>
                    <a:cubicBezTo>
                      <a:pt x="50" y="73"/>
                      <a:pt x="50" y="73"/>
                      <a:pt x="50" y="73"/>
                    </a:cubicBezTo>
                    <a:cubicBezTo>
                      <a:pt x="49" y="71"/>
                      <a:pt x="49" y="71"/>
                      <a:pt x="49" y="71"/>
                    </a:cubicBezTo>
                    <a:cubicBezTo>
                      <a:pt x="43" y="68"/>
                      <a:pt x="43" y="68"/>
                      <a:pt x="43" y="68"/>
                    </a:cubicBezTo>
                    <a:cubicBezTo>
                      <a:pt x="36" y="67"/>
                      <a:pt x="36" y="67"/>
                      <a:pt x="36" y="67"/>
                    </a:cubicBezTo>
                    <a:cubicBezTo>
                      <a:pt x="29" y="65"/>
                      <a:pt x="29" y="65"/>
                      <a:pt x="29" y="65"/>
                    </a:cubicBezTo>
                    <a:cubicBezTo>
                      <a:pt x="21" y="62"/>
                      <a:pt x="21" y="62"/>
                      <a:pt x="21" y="62"/>
                    </a:cubicBezTo>
                    <a:cubicBezTo>
                      <a:pt x="16" y="59"/>
                      <a:pt x="16" y="59"/>
                      <a:pt x="16" y="59"/>
                    </a:cubicBezTo>
                    <a:cubicBezTo>
                      <a:pt x="12" y="59"/>
                      <a:pt x="12" y="59"/>
                      <a:pt x="12" y="59"/>
                    </a:cubicBezTo>
                    <a:cubicBezTo>
                      <a:pt x="11" y="59"/>
                      <a:pt x="11" y="59"/>
                      <a:pt x="11" y="59"/>
                    </a:cubicBezTo>
                    <a:cubicBezTo>
                      <a:pt x="9" y="57"/>
                      <a:pt x="9" y="57"/>
                      <a:pt x="9" y="57"/>
                    </a:cubicBezTo>
                    <a:cubicBezTo>
                      <a:pt x="7" y="54"/>
                      <a:pt x="7" y="54"/>
                      <a:pt x="7" y="54"/>
                    </a:cubicBezTo>
                    <a:cubicBezTo>
                      <a:pt x="0" y="52"/>
                      <a:pt x="0" y="52"/>
                      <a:pt x="0" y="52"/>
                    </a:cubicBezTo>
                    <a:lnTo>
                      <a:pt x="0" y="51"/>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2" name="Freeform 51">
                <a:extLst>
                  <a:ext uri="{FF2B5EF4-FFF2-40B4-BE49-F238E27FC236}">
                    <a16:creationId xmlns:a16="http://schemas.microsoft.com/office/drawing/2014/main" id="{7E479396-0E43-D743-A240-0C263F1864A0}"/>
                  </a:ext>
                </a:extLst>
              </p:cNvPr>
              <p:cNvSpPr>
                <a:spLocks/>
              </p:cNvSpPr>
              <p:nvPr/>
            </p:nvSpPr>
            <p:spPr bwMode="auto">
              <a:xfrm>
                <a:off x="17135207" y="6116557"/>
                <a:ext cx="1134635" cy="1208370"/>
              </a:xfrm>
              <a:custGeom>
                <a:avLst/>
                <a:gdLst>
                  <a:gd name="T0" fmla="*/ 175 w 201"/>
                  <a:gd name="T1" fmla="*/ 65 h 213"/>
                  <a:gd name="T2" fmla="*/ 172 w 201"/>
                  <a:gd name="T3" fmla="*/ 53 h 213"/>
                  <a:gd name="T4" fmla="*/ 157 w 201"/>
                  <a:gd name="T5" fmla="*/ 44 h 213"/>
                  <a:gd name="T6" fmla="*/ 140 w 201"/>
                  <a:gd name="T7" fmla="*/ 42 h 213"/>
                  <a:gd name="T8" fmla="*/ 125 w 201"/>
                  <a:gd name="T9" fmla="*/ 36 h 213"/>
                  <a:gd name="T10" fmla="*/ 103 w 201"/>
                  <a:gd name="T11" fmla="*/ 30 h 213"/>
                  <a:gd name="T12" fmla="*/ 93 w 201"/>
                  <a:gd name="T13" fmla="*/ 27 h 213"/>
                  <a:gd name="T14" fmla="*/ 82 w 201"/>
                  <a:gd name="T15" fmla="*/ 20 h 213"/>
                  <a:gd name="T16" fmla="*/ 78 w 201"/>
                  <a:gd name="T17" fmla="*/ 18 h 213"/>
                  <a:gd name="T18" fmla="*/ 70 w 201"/>
                  <a:gd name="T19" fmla="*/ 17 h 213"/>
                  <a:gd name="T20" fmla="*/ 67 w 201"/>
                  <a:gd name="T21" fmla="*/ 15 h 213"/>
                  <a:gd name="T22" fmla="*/ 70 w 201"/>
                  <a:gd name="T23" fmla="*/ 2 h 213"/>
                  <a:gd name="T24" fmla="*/ 61 w 201"/>
                  <a:gd name="T25" fmla="*/ 3 h 213"/>
                  <a:gd name="T26" fmla="*/ 47 w 201"/>
                  <a:gd name="T27" fmla="*/ 9 h 213"/>
                  <a:gd name="T28" fmla="*/ 33 w 201"/>
                  <a:gd name="T29" fmla="*/ 16 h 213"/>
                  <a:gd name="T30" fmla="*/ 21 w 201"/>
                  <a:gd name="T31" fmla="*/ 15 h 213"/>
                  <a:gd name="T32" fmla="*/ 5 w 201"/>
                  <a:gd name="T33" fmla="*/ 55 h 213"/>
                  <a:gd name="T34" fmla="*/ 7 w 201"/>
                  <a:gd name="T35" fmla="*/ 72 h 213"/>
                  <a:gd name="T36" fmla="*/ 10 w 201"/>
                  <a:gd name="T37" fmla="*/ 112 h 213"/>
                  <a:gd name="T38" fmla="*/ 42 w 201"/>
                  <a:gd name="T39" fmla="*/ 135 h 213"/>
                  <a:gd name="T40" fmla="*/ 60 w 201"/>
                  <a:gd name="T41" fmla="*/ 152 h 213"/>
                  <a:gd name="T42" fmla="*/ 63 w 201"/>
                  <a:gd name="T43" fmla="*/ 173 h 213"/>
                  <a:gd name="T44" fmla="*/ 65 w 201"/>
                  <a:gd name="T45" fmla="*/ 187 h 213"/>
                  <a:gd name="T46" fmla="*/ 67 w 201"/>
                  <a:gd name="T47" fmla="*/ 203 h 213"/>
                  <a:gd name="T48" fmla="*/ 82 w 201"/>
                  <a:gd name="T49" fmla="*/ 209 h 213"/>
                  <a:gd name="T50" fmla="*/ 184 w 201"/>
                  <a:gd name="T51" fmla="*/ 195 h 213"/>
                  <a:gd name="T52" fmla="*/ 178 w 201"/>
                  <a:gd name="T53" fmla="*/ 172 h 213"/>
                  <a:gd name="T54" fmla="*/ 182 w 201"/>
                  <a:gd name="T55" fmla="*/ 155 h 213"/>
                  <a:gd name="T56" fmla="*/ 182 w 201"/>
                  <a:gd name="T57" fmla="*/ 140 h 213"/>
                  <a:gd name="T58" fmla="*/ 184 w 201"/>
                  <a:gd name="T59" fmla="*/ 131 h 213"/>
                  <a:gd name="T60" fmla="*/ 186 w 201"/>
                  <a:gd name="T61" fmla="*/ 121 h 213"/>
                  <a:gd name="T62" fmla="*/ 188 w 201"/>
                  <a:gd name="T63" fmla="*/ 105 h 213"/>
                  <a:gd name="T64" fmla="*/ 197 w 201"/>
                  <a:gd name="T65" fmla="*/ 85 h 213"/>
                  <a:gd name="T66" fmla="*/ 201 w 201"/>
                  <a:gd name="T67" fmla="*/ 79 h 213"/>
                  <a:gd name="T68" fmla="*/ 201 w 201"/>
                  <a:gd name="T69" fmla="*/ 73 h 213"/>
                  <a:gd name="T70" fmla="*/ 194 w 201"/>
                  <a:gd name="T71" fmla="*/ 79 h 213"/>
                  <a:gd name="T72" fmla="*/ 187 w 201"/>
                  <a:gd name="T73" fmla="*/ 92 h 213"/>
                  <a:gd name="T74" fmla="*/ 177 w 201"/>
                  <a:gd name="T75" fmla="*/ 101 h 213"/>
                  <a:gd name="T76" fmla="*/ 168 w 201"/>
                  <a:gd name="T77" fmla="*/ 107 h 213"/>
                  <a:gd name="T78" fmla="*/ 174 w 201"/>
                  <a:gd name="T79" fmla="*/ 93 h 213"/>
                  <a:gd name="T80" fmla="*/ 179 w 201"/>
                  <a:gd name="T81" fmla="*/ 87 h 213"/>
                  <a:gd name="T82" fmla="*/ 180 w 201"/>
                  <a:gd name="T83" fmla="*/ 78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1" h="213">
                    <a:moveTo>
                      <a:pt x="178" y="69"/>
                    </a:moveTo>
                    <a:cubicBezTo>
                      <a:pt x="177" y="68"/>
                      <a:pt x="177" y="68"/>
                      <a:pt x="177" y="68"/>
                    </a:cubicBezTo>
                    <a:cubicBezTo>
                      <a:pt x="175" y="65"/>
                      <a:pt x="175" y="65"/>
                      <a:pt x="175" y="65"/>
                    </a:cubicBezTo>
                    <a:cubicBezTo>
                      <a:pt x="176" y="62"/>
                      <a:pt x="176" y="62"/>
                      <a:pt x="176" y="62"/>
                    </a:cubicBezTo>
                    <a:cubicBezTo>
                      <a:pt x="175" y="56"/>
                      <a:pt x="175" y="56"/>
                      <a:pt x="175" y="56"/>
                    </a:cubicBezTo>
                    <a:cubicBezTo>
                      <a:pt x="172" y="53"/>
                      <a:pt x="172" y="53"/>
                      <a:pt x="172" y="53"/>
                    </a:cubicBezTo>
                    <a:cubicBezTo>
                      <a:pt x="166" y="49"/>
                      <a:pt x="166" y="49"/>
                      <a:pt x="166" y="49"/>
                    </a:cubicBezTo>
                    <a:cubicBezTo>
                      <a:pt x="164" y="45"/>
                      <a:pt x="164" y="45"/>
                      <a:pt x="164" y="45"/>
                    </a:cubicBezTo>
                    <a:cubicBezTo>
                      <a:pt x="157" y="44"/>
                      <a:pt x="157" y="44"/>
                      <a:pt x="157" y="44"/>
                    </a:cubicBezTo>
                    <a:cubicBezTo>
                      <a:pt x="148" y="44"/>
                      <a:pt x="148" y="44"/>
                      <a:pt x="148" y="44"/>
                    </a:cubicBezTo>
                    <a:cubicBezTo>
                      <a:pt x="146" y="42"/>
                      <a:pt x="146" y="42"/>
                      <a:pt x="146" y="42"/>
                    </a:cubicBezTo>
                    <a:cubicBezTo>
                      <a:pt x="140" y="42"/>
                      <a:pt x="140" y="42"/>
                      <a:pt x="140" y="42"/>
                    </a:cubicBezTo>
                    <a:cubicBezTo>
                      <a:pt x="132" y="41"/>
                      <a:pt x="132" y="41"/>
                      <a:pt x="132" y="41"/>
                    </a:cubicBezTo>
                    <a:cubicBezTo>
                      <a:pt x="131" y="39"/>
                      <a:pt x="131" y="39"/>
                      <a:pt x="131" y="39"/>
                    </a:cubicBezTo>
                    <a:cubicBezTo>
                      <a:pt x="125" y="36"/>
                      <a:pt x="125" y="36"/>
                      <a:pt x="125" y="36"/>
                    </a:cubicBezTo>
                    <a:cubicBezTo>
                      <a:pt x="118" y="35"/>
                      <a:pt x="118" y="35"/>
                      <a:pt x="118" y="35"/>
                    </a:cubicBezTo>
                    <a:cubicBezTo>
                      <a:pt x="111" y="33"/>
                      <a:pt x="111" y="33"/>
                      <a:pt x="111" y="33"/>
                    </a:cubicBezTo>
                    <a:cubicBezTo>
                      <a:pt x="103" y="30"/>
                      <a:pt x="103" y="30"/>
                      <a:pt x="103" y="30"/>
                    </a:cubicBezTo>
                    <a:cubicBezTo>
                      <a:pt x="98" y="27"/>
                      <a:pt x="98" y="27"/>
                      <a:pt x="98" y="27"/>
                    </a:cubicBezTo>
                    <a:cubicBezTo>
                      <a:pt x="94" y="27"/>
                      <a:pt x="94" y="27"/>
                      <a:pt x="94" y="27"/>
                    </a:cubicBezTo>
                    <a:cubicBezTo>
                      <a:pt x="93" y="27"/>
                      <a:pt x="93" y="27"/>
                      <a:pt x="93" y="27"/>
                    </a:cubicBezTo>
                    <a:cubicBezTo>
                      <a:pt x="91" y="25"/>
                      <a:pt x="91" y="25"/>
                      <a:pt x="91" y="25"/>
                    </a:cubicBezTo>
                    <a:cubicBezTo>
                      <a:pt x="89" y="22"/>
                      <a:pt x="89" y="22"/>
                      <a:pt x="89" y="22"/>
                    </a:cubicBezTo>
                    <a:cubicBezTo>
                      <a:pt x="82" y="20"/>
                      <a:pt x="82" y="20"/>
                      <a:pt x="82" y="20"/>
                    </a:cubicBezTo>
                    <a:cubicBezTo>
                      <a:pt x="82" y="20"/>
                      <a:pt x="82" y="20"/>
                      <a:pt x="82" y="20"/>
                    </a:cubicBezTo>
                    <a:cubicBezTo>
                      <a:pt x="81" y="20"/>
                      <a:pt x="81" y="20"/>
                      <a:pt x="81" y="20"/>
                    </a:cubicBezTo>
                    <a:cubicBezTo>
                      <a:pt x="78" y="18"/>
                      <a:pt x="78" y="18"/>
                      <a:pt x="78" y="18"/>
                    </a:cubicBezTo>
                    <a:cubicBezTo>
                      <a:pt x="75" y="16"/>
                      <a:pt x="75" y="16"/>
                      <a:pt x="75" y="16"/>
                    </a:cubicBezTo>
                    <a:cubicBezTo>
                      <a:pt x="72" y="15"/>
                      <a:pt x="72" y="15"/>
                      <a:pt x="72" y="15"/>
                    </a:cubicBezTo>
                    <a:cubicBezTo>
                      <a:pt x="70" y="17"/>
                      <a:pt x="70" y="17"/>
                      <a:pt x="70" y="17"/>
                    </a:cubicBezTo>
                    <a:cubicBezTo>
                      <a:pt x="67" y="18"/>
                      <a:pt x="67" y="18"/>
                      <a:pt x="67" y="18"/>
                    </a:cubicBezTo>
                    <a:cubicBezTo>
                      <a:pt x="66" y="17"/>
                      <a:pt x="66" y="17"/>
                      <a:pt x="66" y="17"/>
                    </a:cubicBezTo>
                    <a:cubicBezTo>
                      <a:pt x="67" y="15"/>
                      <a:pt x="67" y="15"/>
                      <a:pt x="67" y="15"/>
                    </a:cubicBezTo>
                    <a:cubicBezTo>
                      <a:pt x="68" y="9"/>
                      <a:pt x="68" y="9"/>
                      <a:pt x="68" y="9"/>
                    </a:cubicBezTo>
                    <a:cubicBezTo>
                      <a:pt x="69" y="7"/>
                      <a:pt x="69" y="7"/>
                      <a:pt x="69" y="7"/>
                    </a:cubicBezTo>
                    <a:cubicBezTo>
                      <a:pt x="70" y="2"/>
                      <a:pt x="70" y="2"/>
                      <a:pt x="70" y="2"/>
                    </a:cubicBezTo>
                    <a:cubicBezTo>
                      <a:pt x="67" y="0"/>
                      <a:pt x="67" y="0"/>
                      <a:pt x="67" y="0"/>
                    </a:cubicBezTo>
                    <a:cubicBezTo>
                      <a:pt x="65" y="1"/>
                      <a:pt x="65" y="1"/>
                      <a:pt x="65" y="1"/>
                    </a:cubicBezTo>
                    <a:cubicBezTo>
                      <a:pt x="61" y="3"/>
                      <a:pt x="61" y="3"/>
                      <a:pt x="61" y="3"/>
                    </a:cubicBezTo>
                    <a:cubicBezTo>
                      <a:pt x="57" y="4"/>
                      <a:pt x="57" y="4"/>
                      <a:pt x="57" y="4"/>
                    </a:cubicBezTo>
                    <a:cubicBezTo>
                      <a:pt x="52" y="6"/>
                      <a:pt x="52" y="6"/>
                      <a:pt x="52" y="6"/>
                    </a:cubicBezTo>
                    <a:cubicBezTo>
                      <a:pt x="47" y="9"/>
                      <a:pt x="47" y="9"/>
                      <a:pt x="47" y="9"/>
                    </a:cubicBezTo>
                    <a:cubicBezTo>
                      <a:pt x="39" y="13"/>
                      <a:pt x="39" y="13"/>
                      <a:pt x="39" y="13"/>
                    </a:cubicBezTo>
                    <a:cubicBezTo>
                      <a:pt x="37" y="16"/>
                      <a:pt x="37" y="16"/>
                      <a:pt x="37" y="16"/>
                    </a:cubicBezTo>
                    <a:cubicBezTo>
                      <a:pt x="33" y="16"/>
                      <a:pt x="33" y="16"/>
                      <a:pt x="33" y="16"/>
                    </a:cubicBezTo>
                    <a:cubicBezTo>
                      <a:pt x="28" y="14"/>
                      <a:pt x="28" y="14"/>
                      <a:pt x="28" y="14"/>
                    </a:cubicBezTo>
                    <a:cubicBezTo>
                      <a:pt x="25" y="11"/>
                      <a:pt x="25" y="11"/>
                      <a:pt x="25" y="11"/>
                    </a:cubicBezTo>
                    <a:cubicBezTo>
                      <a:pt x="21" y="15"/>
                      <a:pt x="21" y="15"/>
                      <a:pt x="21" y="15"/>
                    </a:cubicBezTo>
                    <a:cubicBezTo>
                      <a:pt x="20" y="43"/>
                      <a:pt x="20" y="43"/>
                      <a:pt x="20" y="43"/>
                    </a:cubicBezTo>
                    <a:cubicBezTo>
                      <a:pt x="7" y="51"/>
                      <a:pt x="7" y="51"/>
                      <a:pt x="7" y="51"/>
                    </a:cubicBezTo>
                    <a:cubicBezTo>
                      <a:pt x="5" y="55"/>
                      <a:pt x="5" y="55"/>
                      <a:pt x="5" y="55"/>
                    </a:cubicBezTo>
                    <a:cubicBezTo>
                      <a:pt x="0" y="66"/>
                      <a:pt x="0" y="66"/>
                      <a:pt x="0" y="66"/>
                    </a:cubicBezTo>
                    <a:cubicBezTo>
                      <a:pt x="5" y="72"/>
                      <a:pt x="5" y="72"/>
                      <a:pt x="5" y="72"/>
                    </a:cubicBezTo>
                    <a:cubicBezTo>
                      <a:pt x="7" y="72"/>
                      <a:pt x="7" y="72"/>
                      <a:pt x="7" y="72"/>
                    </a:cubicBezTo>
                    <a:cubicBezTo>
                      <a:pt x="5" y="89"/>
                      <a:pt x="5" y="89"/>
                      <a:pt x="5" y="89"/>
                    </a:cubicBezTo>
                    <a:cubicBezTo>
                      <a:pt x="4" y="107"/>
                      <a:pt x="4" y="107"/>
                      <a:pt x="4" y="107"/>
                    </a:cubicBezTo>
                    <a:cubicBezTo>
                      <a:pt x="10" y="112"/>
                      <a:pt x="10" y="112"/>
                      <a:pt x="10" y="112"/>
                    </a:cubicBezTo>
                    <a:cubicBezTo>
                      <a:pt x="19" y="117"/>
                      <a:pt x="19" y="117"/>
                      <a:pt x="19" y="117"/>
                    </a:cubicBezTo>
                    <a:cubicBezTo>
                      <a:pt x="33" y="125"/>
                      <a:pt x="33" y="125"/>
                      <a:pt x="33" y="125"/>
                    </a:cubicBezTo>
                    <a:cubicBezTo>
                      <a:pt x="42" y="135"/>
                      <a:pt x="42" y="135"/>
                      <a:pt x="42" y="135"/>
                    </a:cubicBezTo>
                    <a:cubicBezTo>
                      <a:pt x="45" y="139"/>
                      <a:pt x="45" y="139"/>
                      <a:pt x="45" y="139"/>
                    </a:cubicBezTo>
                    <a:cubicBezTo>
                      <a:pt x="52" y="144"/>
                      <a:pt x="52" y="144"/>
                      <a:pt x="52" y="144"/>
                    </a:cubicBezTo>
                    <a:cubicBezTo>
                      <a:pt x="60" y="152"/>
                      <a:pt x="60" y="152"/>
                      <a:pt x="60" y="152"/>
                    </a:cubicBezTo>
                    <a:cubicBezTo>
                      <a:pt x="61" y="159"/>
                      <a:pt x="61" y="159"/>
                      <a:pt x="61" y="159"/>
                    </a:cubicBezTo>
                    <a:cubicBezTo>
                      <a:pt x="60" y="166"/>
                      <a:pt x="60" y="166"/>
                      <a:pt x="60" y="166"/>
                    </a:cubicBezTo>
                    <a:cubicBezTo>
                      <a:pt x="63" y="173"/>
                      <a:pt x="63" y="173"/>
                      <a:pt x="63" y="173"/>
                    </a:cubicBezTo>
                    <a:cubicBezTo>
                      <a:pt x="65" y="176"/>
                      <a:pt x="65" y="176"/>
                      <a:pt x="65" y="176"/>
                    </a:cubicBezTo>
                    <a:cubicBezTo>
                      <a:pt x="65" y="183"/>
                      <a:pt x="65" y="183"/>
                      <a:pt x="65" y="183"/>
                    </a:cubicBezTo>
                    <a:cubicBezTo>
                      <a:pt x="65" y="187"/>
                      <a:pt x="65" y="187"/>
                      <a:pt x="65" y="187"/>
                    </a:cubicBezTo>
                    <a:cubicBezTo>
                      <a:pt x="65" y="193"/>
                      <a:pt x="65" y="193"/>
                      <a:pt x="65" y="193"/>
                    </a:cubicBezTo>
                    <a:cubicBezTo>
                      <a:pt x="67" y="198"/>
                      <a:pt x="67" y="198"/>
                      <a:pt x="67" y="198"/>
                    </a:cubicBezTo>
                    <a:cubicBezTo>
                      <a:pt x="67" y="203"/>
                      <a:pt x="67" y="203"/>
                      <a:pt x="67" y="203"/>
                    </a:cubicBezTo>
                    <a:cubicBezTo>
                      <a:pt x="72" y="203"/>
                      <a:pt x="72" y="203"/>
                      <a:pt x="72" y="203"/>
                    </a:cubicBezTo>
                    <a:cubicBezTo>
                      <a:pt x="72" y="203"/>
                      <a:pt x="76" y="207"/>
                      <a:pt x="77" y="207"/>
                    </a:cubicBezTo>
                    <a:cubicBezTo>
                      <a:pt x="78" y="207"/>
                      <a:pt x="82" y="209"/>
                      <a:pt x="82" y="209"/>
                    </a:cubicBezTo>
                    <a:cubicBezTo>
                      <a:pt x="85" y="213"/>
                      <a:pt x="85" y="213"/>
                      <a:pt x="85" y="213"/>
                    </a:cubicBezTo>
                    <a:cubicBezTo>
                      <a:pt x="184" y="207"/>
                      <a:pt x="184" y="207"/>
                      <a:pt x="184" y="207"/>
                    </a:cubicBezTo>
                    <a:cubicBezTo>
                      <a:pt x="184" y="195"/>
                      <a:pt x="184" y="195"/>
                      <a:pt x="184" y="195"/>
                    </a:cubicBezTo>
                    <a:cubicBezTo>
                      <a:pt x="184" y="191"/>
                      <a:pt x="184" y="191"/>
                      <a:pt x="184" y="191"/>
                    </a:cubicBezTo>
                    <a:cubicBezTo>
                      <a:pt x="179" y="179"/>
                      <a:pt x="179" y="179"/>
                      <a:pt x="179" y="179"/>
                    </a:cubicBezTo>
                    <a:cubicBezTo>
                      <a:pt x="178" y="172"/>
                      <a:pt x="178" y="172"/>
                      <a:pt x="178" y="172"/>
                    </a:cubicBezTo>
                    <a:cubicBezTo>
                      <a:pt x="179" y="164"/>
                      <a:pt x="179" y="164"/>
                      <a:pt x="179" y="164"/>
                    </a:cubicBezTo>
                    <a:cubicBezTo>
                      <a:pt x="181" y="158"/>
                      <a:pt x="181" y="158"/>
                      <a:pt x="181" y="158"/>
                    </a:cubicBezTo>
                    <a:cubicBezTo>
                      <a:pt x="182" y="155"/>
                      <a:pt x="182" y="155"/>
                      <a:pt x="182" y="155"/>
                    </a:cubicBezTo>
                    <a:cubicBezTo>
                      <a:pt x="184" y="152"/>
                      <a:pt x="184" y="152"/>
                      <a:pt x="184" y="152"/>
                    </a:cubicBezTo>
                    <a:cubicBezTo>
                      <a:pt x="182" y="147"/>
                      <a:pt x="182" y="147"/>
                      <a:pt x="182" y="147"/>
                    </a:cubicBezTo>
                    <a:cubicBezTo>
                      <a:pt x="182" y="140"/>
                      <a:pt x="182" y="140"/>
                      <a:pt x="182" y="140"/>
                    </a:cubicBezTo>
                    <a:cubicBezTo>
                      <a:pt x="182" y="136"/>
                      <a:pt x="182" y="136"/>
                      <a:pt x="182" y="136"/>
                    </a:cubicBezTo>
                    <a:cubicBezTo>
                      <a:pt x="184" y="133"/>
                      <a:pt x="184" y="133"/>
                      <a:pt x="184" y="133"/>
                    </a:cubicBezTo>
                    <a:cubicBezTo>
                      <a:pt x="184" y="131"/>
                      <a:pt x="184" y="131"/>
                      <a:pt x="184" y="131"/>
                    </a:cubicBezTo>
                    <a:cubicBezTo>
                      <a:pt x="188" y="127"/>
                      <a:pt x="188" y="127"/>
                      <a:pt x="188" y="127"/>
                    </a:cubicBezTo>
                    <a:cubicBezTo>
                      <a:pt x="188" y="125"/>
                      <a:pt x="188" y="125"/>
                      <a:pt x="188" y="125"/>
                    </a:cubicBezTo>
                    <a:cubicBezTo>
                      <a:pt x="186" y="121"/>
                      <a:pt x="186" y="121"/>
                      <a:pt x="186" y="121"/>
                    </a:cubicBezTo>
                    <a:cubicBezTo>
                      <a:pt x="186" y="118"/>
                      <a:pt x="186" y="118"/>
                      <a:pt x="186" y="118"/>
                    </a:cubicBezTo>
                    <a:cubicBezTo>
                      <a:pt x="187" y="110"/>
                      <a:pt x="187" y="110"/>
                      <a:pt x="187" y="110"/>
                    </a:cubicBezTo>
                    <a:cubicBezTo>
                      <a:pt x="188" y="105"/>
                      <a:pt x="188" y="105"/>
                      <a:pt x="188" y="105"/>
                    </a:cubicBezTo>
                    <a:cubicBezTo>
                      <a:pt x="191" y="99"/>
                      <a:pt x="191" y="99"/>
                      <a:pt x="191" y="99"/>
                    </a:cubicBezTo>
                    <a:cubicBezTo>
                      <a:pt x="196" y="89"/>
                      <a:pt x="196" y="89"/>
                      <a:pt x="196" y="89"/>
                    </a:cubicBezTo>
                    <a:cubicBezTo>
                      <a:pt x="197" y="85"/>
                      <a:pt x="197" y="85"/>
                      <a:pt x="197" y="85"/>
                    </a:cubicBezTo>
                    <a:cubicBezTo>
                      <a:pt x="197" y="82"/>
                      <a:pt x="197" y="82"/>
                      <a:pt x="197" y="82"/>
                    </a:cubicBezTo>
                    <a:cubicBezTo>
                      <a:pt x="201" y="81"/>
                      <a:pt x="201" y="81"/>
                      <a:pt x="201" y="81"/>
                    </a:cubicBezTo>
                    <a:cubicBezTo>
                      <a:pt x="201" y="79"/>
                      <a:pt x="201" y="79"/>
                      <a:pt x="201" y="79"/>
                    </a:cubicBezTo>
                    <a:cubicBezTo>
                      <a:pt x="201" y="77"/>
                      <a:pt x="201" y="77"/>
                      <a:pt x="201" y="77"/>
                    </a:cubicBezTo>
                    <a:cubicBezTo>
                      <a:pt x="201" y="75"/>
                      <a:pt x="201" y="75"/>
                      <a:pt x="201" y="75"/>
                    </a:cubicBezTo>
                    <a:cubicBezTo>
                      <a:pt x="201" y="73"/>
                      <a:pt x="201" y="73"/>
                      <a:pt x="201" y="73"/>
                    </a:cubicBezTo>
                    <a:cubicBezTo>
                      <a:pt x="201" y="71"/>
                      <a:pt x="201" y="71"/>
                      <a:pt x="201" y="71"/>
                    </a:cubicBezTo>
                    <a:cubicBezTo>
                      <a:pt x="197" y="75"/>
                      <a:pt x="197" y="75"/>
                      <a:pt x="197" y="75"/>
                    </a:cubicBezTo>
                    <a:cubicBezTo>
                      <a:pt x="194" y="79"/>
                      <a:pt x="194" y="79"/>
                      <a:pt x="194" y="79"/>
                    </a:cubicBezTo>
                    <a:cubicBezTo>
                      <a:pt x="193" y="84"/>
                      <a:pt x="193" y="84"/>
                      <a:pt x="193" y="84"/>
                    </a:cubicBezTo>
                    <a:cubicBezTo>
                      <a:pt x="190" y="90"/>
                      <a:pt x="190" y="90"/>
                      <a:pt x="190" y="90"/>
                    </a:cubicBezTo>
                    <a:cubicBezTo>
                      <a:pt x="187" y="92"/>
                      <a:pt x="187" y="92"/>
                      <a:pt x="187" y="92"/>
                    </a:cubicBezTo>
                    <a:cubicBezTo>
                      <a:pt x="181" y="95"/>
                      <a:pt x="181" y="95"/>
                      <a:pt x="181" y="95"/>
                    </a:cubicBezTo>
                    <a:cubicBezTo>
                      <a:pt x="178" y="99"/>
                      <a:pt x="178" y="99"/>
                      <a:pt x="178" y="99"/>
                    </a:cubicBezTo>
                    <a:cubicBezTo>
                      <a:pt x="177" y="101"/>
                      <a:pt x="177" y="101"/>
                      <a:pt x="177" y="101"/>
                    </a:cubicBezTo>
                    <a:cubicBezTo>
                      <a:pt x="175" y="105"/>
                      <a:pt x="175" y="105"/>
                      <a:pt x="175" y="105"/>
                    </a:cubicBezTo>
                    <a:cubicBezTo>
                      <a:pt x="171" y="110"/>
                      <a:pt x="171" y="110"/>
                      <a:pt x="171" y="110"/>
                    </a:cubicBezTo>
                    <a:cubicBezTo>
                      <a:pt x="168" y="107"/>
                      <a:pt x="168" y="107"/>
                      <a:pt x="168" y="107"/>
                    </a:cubicBezTo>
                    <a:cubicBezTo>
                      <a:pt x="171" y="103"/>
                      <a:pt x="171" y="103"/>
                      <a:pt x="171" y="103"/>
                    </a:cubicBezTo>
                    <a:cubicBezTo>
                      <a:pt x="173" y="96"/>
                      <a:pt x="173" y="96"/>
                      <a:pt x="173" y="96"/>
                    </a:cubicBezTo>
                    <a:cubicBezTo>
                      <a:pt x="174" y="93"/>
                      <a:pt x="174" y="93"/>
                      <a:pt x="174" y="93"/>
                    </a:cubicBezTo>
                    <a:cubicBezTo>
                      <a:pt x="175" y="91"/>
                      <a:pt x="175" y="91"/>
                      <a:pt x="175" y="91"/>
                    </a:cubicBezTo>
                    <a:cubicBezTo>
                      <a:pt x="177" y="89"/>
                      <a:pt x="177" y="89"/>
                      <a:pt x="177" y="89"/>
                    </a:cubicBezTo>
                    <a:cubicBezTo>
                      <a:pt x="179" y="87"/>
                      <a:pt x="179" y="87"/>
                      <a:pt x="179" y="87"/>
                    </a:cubicBezTo>
                    <a:cubicBezTo>
                      <a:pt x="180" y="85"/>
                      <a:pt x="180" y="85"/>
                      <a:pt x="180" y="85"/>
                    </a:cubicBezTo>
                    <a:cubicBezTo>
                      <a:pt x="179" y="80"/>
                      <a:pt x="179" y="80"/>
                      <a:pt x="179" y="80"/>
                    </a:cubicBezTo>
                    <a:cubicBezTo>
                      <a:pt x="180" y="78"/>
                      <a:pt x="180" y="78"/>
                      <a:pt x="180" y="78"/>
                    </a:cubicBezTo>
                    <a:cubicBezTo>
                      <a:pt x="179" y="76"/>
                      <a:pt x="179" y="76"/>
                      <a:pt x="179" y="76"/>
                    </a:cubicBezTo>
                    <a:lnTo>
                      <a:pt x="178" y="69"/>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3" name="Freeform 52">
                <a:extLst>
                  <a:ext uri="{FF2B5EF4-FFF2-40B4-BE49-F238E27FC236}">
                    <a16:creationId xmlns:a16="http://schemas.microsoft.com/office/drawing/2014/main" id="{6107C174-0DA0-6447-A7FD-CC4D6EDD763C}"/>
                  </a:ext>
                </a:extLst>
              </p:cNvPr>
              <p:cNvSpPr>
                <a:spLocks/>
              </p:cNvSpPr>
              <p:nvPr/>
            </p:nvSpPr>
            <p:spPr bwMode="auto">
              <a:xfrm>
                <a:off x="18797114" y="7258160"/>
                <a:ext cx="907712" cy="1041465"/>
              </a:xfrm>
              <a:custGeom>
                <a:avLst/>
                <a:gdLst>
                  <a:gd name="T0" fmla="*/ 114 w 136"/>
                  <a:gd name="T1" fmla="*/ 8 h 156"/>
                  <a:gd name="T2" fmla="*/ 101 w 136"/>
                  <a:gd name="T3" fmla="*/ 17 h 156"/>
                  <a:gd name="T4" fmla="*/ 93 w 136"/>
                  <a:gd name="T5" fmla="*/ 22 h 156"/>
                  <a:gd name="T6" fmla="*/ 88 w 136"/>
                  <a:gd name="T7" fmla="*/ 27 h 156"/>
                  <a:gd name="T8" fmla="*/ 82 w 136"/>
                  <a:gd name="T9" fmla="*/ 27 h 156"/>
                  <a:gd name="T10" fmla="*/ 74 w 136"/>
                  <a:gd name="T11" fmla="*/ 33 h 156"/>
                  <a:gd name="T12" fmla="*/ 69 w 136"/>
                  <a:gd name="T13" fmla="*/ 33 h 156"/>
                  <a:gd name="T14" fmla="*/ 65 w 136"/>
                  <a:gd name="T15" fmla="*/ 31 h 156"/>
                  <a:gd name="T16" fmla="*/ 60 w 136"/>
                  <a:gd name="T17" fmla="*/ 29 h 156"/>
                  <a:gd name="T18" fmla="*/ 55 w 136"/>
                  <a:gd name="T19" fmla="*/ 27 h 156"/>
                  <a:gd name="T20" fmla="*/ 47 w 136"/>
                  <a:gd name="T21" fmla="*/ 23 h 156"/>
                  <a:gd name="T22" fmla="*/ 0 w 136"/>
                  <a:gd name="T23" fmla="*/ 28 h 156"/>
                  <a:gd name="T24" fmla="*/ 16 w 136"/>
                  <a:gd name="T25" fmla="*/ 136 h 156"/>
                  <a:gd name="T26" fmla="*/ 22 w 136"/>
                  <a:gd name="T27" fmla="*/ 133 h 156"/>
                  <a:gd name="T28" fmla="*/ 31 w 136"/>
                  <a:gd name="T29" fmla="*/ 140 h 156"/>
                  <a:gd name="T30" fmla="*/ 34 w 136"/>
                  <a:gd name="T31" fmla="*/ 146 h 156"/>
                  <a:gd name="T32" fmla="*/ 42 w 136"/>
                  <a:gd name="T33" fmla="*/ 148 h 156"/>
                  <a:gd name="T34" fmla="*/ 46 w 136"/>
                  <a:gd name="T35" fmla="*/ 151 h 156"/>
                  <a:gd name="T36" fmla="*/ 49 w 136"/>
                  <a:gd name="T37" fmla="*/ 149 h 156"/>
                  <a:gd name="T38" fmla="*/ 52 w 136"/>
                  <a:gd name="T39" fmla="*/ 146 h 156"/>
                  <a:gd name="T40" fmla="*/ 60 w 136"/>
                  <a:gd name="T41" fmla="*/ 150 h 156"/>
                  <a:gd name="T42" fmla="*/ 67 w 136"/>
                  <a:gd name="T43" fmla="*/ 148 h 156"/>
                  <a:gd name="T44" fmla="*/ 71 w 136"/>
                  <a:gd name="T45" fmla="*/ 144 h 156"/>
                  <a:gd name="T46" fmla="*/ 75 w 136"/>
                  <a:gd name="T47" fmla="*/ 146 h 156"/>
                  <a:gd name="T48" fmla="*/ 83 w 136"/>
                  <a:gd name="T49" fmla="*/ 155 h 156"/>
                  <a:gd name="T50" fmla="*/ 85 w 136"/>
                  <a:gd name="T51" fmla="*/ 156 h 156"/>
                  <a:gd name="T52" fmla="*/ 92 w 136"/>
                  <a:gd name="T53" fmla="*/ 149 h 156"/>
                  <a:gd name="T54" fmla="*/ 94 w 136"/>
                  <a:gd name="T55" fmla="*/ 142 h 156"/>
                  <a:gd name="T56" fmla="*/ 100 w 136"/>
                  <a:gd name="T57" fmla="*/ 128 h 156"/>
                  <a:gd name="T58" fmla="*/ 105 w 136"/>
                  <a:gd name="T59" fmla="*/ 130 h 156"/>
                  <a:gd name="T60" fmla="*/ 109 w 136"/>
                  <a:gd name="T61" fmla="*/ 116 h 156"/>
                  <a:gd name="T62" fmla="*/ 118 w 136"/>
                  <a:gd name="T63" fmla="*/ 110 h 156"/>
                  <a:gd name="T64" fmla="*/ 129 w 136"/>
                  <a:gd name="T65" fmla="*/ 99 h 156"/>
                  <a:gd name="T66" fmla="*/ 131 w 136"/>
                  <a:gd name="T67" fmla="*/ 91 h 156"/>
                  <a:gd name="T68" fmla="*/ 132 w 136"/>
                  <a:gd name="T69" fmla="*/ 77 h 156"/>
                  <a:gd name="T70" fmla="*/ 133 w 136"/>
                  <a:gd name="T71" fmla="*/ 70 h 156"/>
                  <a:gd name="T72" fmla="*/ 133 w 136"/>
                  <a:gd name="T73" fmla="*/ 61 h 156"/>
                  <a:gd name="T74" fmla="*/ 133 w 136"/>
                  <a:gd name="T75" fmla="*/ 55 h 156"/>
                  <a:gd name="T76" fmla="*/ 126 w 136"/>
                  <a:gd name="T7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6" h="156">
                    <a:moveTo>
                      <a:pt x="121" y="5"/>
                    </a:moveTo>
                    <a:lnTo>
                      <a:pt x="114" y="8"/>
                    </a:lnTo>
                    <a:lnTo>
                      <a:pt x="108" y="13"/>
                    </a:lnTo>
                    <a:lnTo>
                      <a:pt x="101" y="17"/>
                    </a:lnTo>
                    <a:lnTo>
                      <a:pt x="96" y="21"/>
                    </a:lnTo>
                    <a:lnTo>
                      <a:pt x="93" y="22"/>
                    </a:lnTo>
                    <a:lnTo>
                      <a:pt x="91" y="24"/>
                    </a:lnTo>
                    <a:lnTo>
                      <a:pt x="88" y="27"/>
                    </a:lnTo>
                    <a:lnTo>
                      <a:pt x="85" y="27"/>
                    </a:lnTo>
                    <a:lnTo>
                      <a:pt x="82" y="27"/>
                    </a:lnTo>
                    <a:lnTo>
                      <a:pt x="78" y="29"/>
                    </a:lnTo>
                    <a:lnTo>
                      <a:pt x="74" y="33"/>
                    </a:lnTo>
                    <a:lnTo>
                      <a:pt x="71" y="33"/>
                    </a:lnTo>
                    <a:lnTo>
                      <a:pt x="69" y="33"/>
                    </a:lnTo>
                    <a:lnTo>
                      <a:pt x="68" y="33"/>
                    </a:lnTo>
                    <a:lnTo>
                      <a:pt x="65" y="31"/>
                    </a:lnTo>
                    <a:lnTo>
                      <a:pt x="62" y="28"/>
                    </a:lnTo>
                    <a:lnTo>
                      <a:pt x="60" y="29"/>
                    </a:lnTo>
                    <a:lnTo>
                      <a:pt x="56" y="28"/>
                    </a:lnTo>
                    <a:lnTo>
                      <a:pt x="55" y="27"/>
                    </a:lnTo>
                    <a:lnTo>
                      <a:pt x="51" y="24"/>
                    </a:lnTo>
                    <a:lnTo>
                      <a:pt x="47" y="23"/>
                    </a:lnTo>
                    <a:lnTo>
                      <a:pt x="39" y="22"/>
                    </a:lnTo>
                    <a:lnTo>
                      <a:pt x="0" y="28"/>
                    </a:lnTo>
                    <a:lnTo>
                      <a:pt x="11" y="134"/>
                    </a:lnTo>
                    <a:lnTo>
                      <a:pt x="16" y="136"/>
                    </a:lnTo>
                    <a:lnTo>
                      <a:pt x="21" y="134"/>
                    </a:lnTo>
                    <a:lnTo>
                      <a:pt x="22" y="133"/>
                    </a:lnTo>
                    <a:lnTo>
                      <a:pt x="27" y="137"/>
                    </a:lnTo>
                    <a:lnTo>
                      <a:pt x="31" y="140"/>
                    </a:lnTo>
                    <a:lnTo>
                      <a:pt x="33" y="144"/>
                    </a:lnTo>
                    <a:lnTo>
                      <a:pt x="34" y="146"/>
                    </a:lnTo>
                    <a:lnTo>
                      <a:pt x="39" y="147"/>
                    </a:lnTo>
                    <a:lnTo>
                      <a:pt x="42" y="148"/>
                    </a:lnTo>
                    <a:lnTo>
                      <a:pt x="44" y="149"/>
                    </a:lnTo>
                    <a:lnTo>
                      <a:pt x="46" y="151"/>
                    </a:lnTo>
                    <a:lnTo>
                      <a:pt x="49" y="150"/>
                    </a:lnTo>
                    <a:lnTo>
                      <a:pt x="49" y="149"/>
                    </a:lnTo>
                    <a:lnTo>
                      <a:pt x="51" y="147"/>
                    </a:lnTo>
                    <a:lnTo>
                      <a:pt x="52" y="146"/>
                    </a:lnTo>
                    <a:lnTo>
                      <a:pt x="55" y="148"/>
                    </a:lnTo>
                    <a:lnTo>
                      <a:pt x="60" y="150"/>
                    </a:lnTo>
                    <a:lnTo>
                      <a:pt x="66" y="149"/>
                    </a:lnTo>
                    <a:lnTo>
                      <a:pt x="67" y="148"/>
                    </a:lnTo>
                    <a:lnTo>
                      <a:pt x="69" y="145"/>
                    </a:lnTo>
                    <a:lnTo>
                      <a:pt x="71" y="144"/>
                    </a:lnTo>
                    <a:lnTo>
                      <a:pt x="72" y="143"/>
                    </a:lnTo>
                    <a:lnTo>
                      <a:pt x="75" y="146"/>
                    </a:lnTo>
                    <a:lnTo>
                      <a:pt x="79" y="151"/>
                    </a:lnTo>
                    <a:lnTo>
                      <a:pt x="83" y="155"/>
                    </a:lnTo>
                    <a:lnTo>
                      <a:pt x="86" y="155"/>
                    </a:lnTo>
                    <a:lnTo>
                      <a:pt x="85" y="156"/>
                    </a:lnTo>
                    <a:lnTo>
                      <a:pt x="88" y="153"/>
                    </a:lnTo>
                    <a:lnTo>
                      <a:pt x="92" y="149"/>
                    </a:lnTo>
                    <a:lnTo>
                      <a:pt x="94" y="146"/>
                    </a:lnTo>
                    <a:lnTo>
                      <a:pt x="94" y="142"/>
                    </a:lnTo>
                    <a:lnTo>
                      <a:pt x="97" y="131"/>
                    </a:lnTo>
                    <a:lnTo>
                      <a:pt x="100" y="128"/>
                    </a:lnTo>
                    <a:lnTo>
                      <a:pt x="104" y="131"/>
                    </a:lnTo>
                    <a:lnTo>
                      <a:pt x="105" y="130"/>
                    </a:lnTo>
                    <a:lnTo>
                      <a:pt x="106" y="120"/>
                    </a:lnTo>
                    <a:lnTo>
                      <a:pt x="109" y="116"/>
                    </a:lnTo>
                    <a:lnTo>
                      <a:pt x="113" y="110"/>
                    </a:lnTo>
                    <a:lnTo>
                      <a:pt x="118" y="110"/>
                    </a:lnTo>
                    <a:lnTo>
                      <a:pt x="121" y="106"/>
                    </a:lnTo>
                    <a:lnTo>
                      <a:pt x="129" y="99"/>
                    </a:lnTo>
                    <a:lnTo>
                      <a:pt x="131" y="94"/>
                    </a:lnTo>
                    <a:lnTo>
                      <a:pt x="131" y="91"/>
                    </a:lnTo>
                    <a:lnTo>
                      <a:pt x="132" y="83"/>
                    </a:lnTo>
                    <a:lnTo>
                      <a:pt x="132" y="77"/>
                    </a:lnTo>
                    <a:lnTo>
                      <a:pt x="133" y="74"/>
                    </a:lnTo>
                    <a:lnTo>
                      <a:pt x="133" y="70"/>
                    </a:lnTo>
                    <a:lnTo>
                      <a:pt x="133" y="62"/>
                    </a:lnTo>
                    <a:lnTo>
                      <a:pt x="133" y="61"/>
                    </a:lnTo>
                    <a:lnTo>
                      <a:pt x="132" y="58"/>
                    </a:lnTo>
                    <a:lnTo>
                      <a:pt x="133" y="55"/>
                    </a:lnTo>
                    <a:lnTo>
                      <a:pt x="136" y="55"/>
                    </a:lnTo>
                    <a:lnTo>
                      <a:pt x="126" y="0"/>
                    </a:lnTo>
                    <a:lnTo>
                      <a:pt x="121" y="5"/>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4" name="Freeform 53">
                <a:extLst>
                  <a:ext uri="{FF2B5EF4-FFF2-40B4-BE49-F238E27FC236}">
                    <a16:creationId xmlns:a16="http://schemas.microsoft.com/office/drawing/2014/main" id="{FEC7E4E0-E383-A541-B7BE-2B96C53064C1}"/>
                  </a:ext>
                </a:extLst>
              </p:cNvPr>
              <p:cNvSpPr>
                <a:spLocks/>
              </p:cNvSpPr>
              <p:nvPr/>
            </p:nvSpPr>
            <p:spPr bwMode="auto">
              <a:xfrm>
                <a:off x="18209773" y="7438418"/>
                <a:ext cx="667432" cy="1148282"/>
              </a:xfrm>
              <a:custGeom>
                <a:avLst/>
                <a:gdLst>
                  <a:gd name="T0" fmla="*/ 5 w 100"/>
                  <a:gd name="T1" fmla="*/ 167 h 172"/>
                  <a:gd name="T2" fmla="*/ 16 w 100"/>
                  <a:gd name="T3" fmla="*/ 163 h 172"/>
                  <a:gd name="T4" fmla="*/ 24 w 100"/>
                  <a:gd name="T5" fmla="*/ 163 h 172"/>
                  <a:gd name="T6" fmla="*/ 31 w 100"/>
                  <a:gd name="T7" fmla="*/ 168 h 172"/>
                  <a:gd name="T8" fmla="*/ 32 w 100"/>
                  <a:gd name="T9" fmla="*/ 163 h 172"/>
                  <a:gd name="T10" fmla="*/ 38 w 100"/>
                  <a:gd name="T11" fmla="*/ 161 h 172"/>
                  <a:gd name="T12" fmla="*/ 44 w 100"/>
                  <a:gd name="T13" fmla="*/ 163 h 172"/>
                  <a:gd name="T14" fmla="*/ 49 w 100"/>
                  <a:gd name="T15" fmla="*/ 161 h 172"/>
                  <a:gd name="T16" fmla="*/ 52 w 100"/>
                  <a:gd name="T17" fmla="*/ 154 h 172"/>
                  <a:gd name="T18" fmla="*/ 55 w 100"/>
                  <a:gd name="T19" fmla="*/ 150 h 172"/>
                  <a:gd name="T20" fmla="*/ 59 w 100"/>
                  <a:gd name="T21" fmla="*/ 157 h 172"/>
                  <a:gd name="T22" fmla="*/ 66 w 100"/>
                  <a:gd name="T23" fmla="*/ 157 h 172"/>
                  <a:gd name="T24" fmla="*/ 68 w 100"/>
                  <a:gd name="T25" fmla="*/ 150 h 172"/>
                  <a:gd name="T26" fmla="*/ 74 w 100"/>
                  <a:gd name="T27" fmla="*/ 145 h 172"/>
                  <a:gd name="T28" fmla="*/ 78 w 100"/>
                  <a:gd name="T29" fmla="*/ 139 h 172"/>
                  <a:gd name="T30" fmla="*/ 80 w 100"/>
                  <a:gd name="T31" fmla="*/ 131 h 172"/>
                  <a:gd name="T32" fmla="*/ 81 w 100"/>
                  <a:gd name="T33" fmla="*/ 127 h 172"/>
                  <a:gd name="T34" fmla="*/ 90 w 100"/>
                  <a:gd name="T35" fmla="*/ 125 h 172"/>
                  <a:gd name="T36" fmla="*/ 98 w 100"/>
                  <a:gd name="T37" fmla="*/ 123 h 172"/>
                  <a:gd name="T38" fmla="*/ 99 w 100"/>
                  <a:gd name="T39" fmla="*/ 115 h 172"/>
                  <a:gd name="T40" fmla="*/ 98 w 100"/>
                  <a:gd name="T41" fmla="*/ 112 h 172"/>
                  <a:gd name="T42" fmla="*/ 99 w 100"/>
                  <a:gd name="T43" fmla="*/ 107 h 172"/>
                  <a:gd name="T44" fmla="*/ 88 w 100"/>
                  <a:gd name="T45" fmla="*/ 0 h 172"/>
                  <a:gd name="T46" fmla="*/ 27 w 100"/>
                  <a:gd name="T47" fmla="*/ 5 h 172"/>
                  <a:gd name="T48" fmla="*/ 16 w 100"/>
                  <a:gd name="T49" fmla="*/ 12 h 172"/>
                  <a:gd name="T50" fmla="*/ 8 w 100"/>
                  <a:gd name="T51" fmla="*/ 12 h 172"/>
                  <a:gd name="T52" fmla="*/ 10 w 100"/>
                  <a:gd name="T53" fmla="*/ 106 h 172"/>
                  <a:gd name="T54" fmla="*/ 10 w 100"/>
                  <a:gd name="T55" fmla="*/ 113 h 172"/>
                  <a:gd name="T56" fmla="*/ 15 w 100"/>
                  <a:gd name="T57" fmla="*/ 124 h 172"/>
                  <a:gd name="T58" fmla="*/ 16 w 100"/>
                  <a:gd name="T59" fmla="*/ 134 h 172"/>
                  <a:gd name="T60" fmla="*/ 11 w 100"/>
                  <a:gd name="T61" fmla="*/ 140 h 172"/>
                  <a:gd name="T62" fmla="*/ 8 w 100"/>
                  <a:gd name="T63" fmla="*/ 147 h 172"/>
                  <a:gd name="T64" fmla="*/ 4 w 100"/>
                  <a:gd name="T65" fmla="*/ 156 h 172"/>
                  <a:gd name="T66" fmla="*/ 0 w 100"/>
                  <a:gd name="T67" fmla="*/ 161 h 172"/>
                  <a:gd name="T68" fmla="*/ 1 w 100"/>
                  <a:gd name="T69" fmla="*/ 171 h 172"/>
                  <a:gd name="T70" fmla="*/ 2 w 100"/>
                  <a:gd name="T7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2">
                    <a:moveTo>
                      <a:pt x="5" y="172"/>
                    </a:moveTo>
                    <a:lnTo>
                      <a:pt x="5" y="167"/>
                    </a:lnTo>
                    <a:lnTo>
                      <a:pt x="13" y="167"/>
                    </a:lnTo>
                    <a:lnTo>
                      <a:pt x="16" y="163"/>
                    </a:lnTo>
                    <a:lnTo>
                      <a:pt x="19" y="163"/>
                    </a:lnTo>
                    <a:lnTo>
                      <a:pt x="24" y="163"/>
                    </a:lnTo>
                    <a:lnTo>
                      <a:pt x="27" y="166"/>
                    </a:lnTo>
                    <a:lnTo>
                      <a:pt x="31" y="168"/>
                    </a:lnTo>
                    <a:lnTo>
                      <a:pt x="32" y="167"/>
                    </a:lnTo>
                    <a:lnTo>
                      <a:pt x="32" y="163"/>
                    </a:lnTo>
                    <a:lnTo>
                      <a:pt x="36" y="162"/>
                    </a:lnTo>
                    <a:lnTo>
                      <a:pt x="38" y="161"/>
                    </a:lnTo>
                    <a:lnTo>
                      <a:pt x="42" y="161"/>
                    </a:lnTo>
                    <a:lnTo>
                      <a:pt x="44" y="163"/>
                    </a:lnTo>
                    <a:lnTo>
                      <a:pt x="48" y="164"/>
                    </a:lnTo>
                    <a:lnTo>
                      <a:pt x="49" y="161"/>
                    </a:lnTo>
                    <a:lnTo>
                      <a:pt x="49" y="157"/>
                    </a:lnTo>
                    <a:lnTo>
                      <a:pt x="52" y="154"/>
                    </a:lnTo>
                    <a:lnTo>
                      <a:pt x="53" y="150"/>
                    </a:lnTo>
                    <a:lnTo>
                      <a:pt x="55" y="150"/>
                    </a:lnTo>
                    <a:lnTo>
                      <a:pt x="56" y="154"/>
                    </a:lnTo>
                    <a:lnTo>
                      <a:pt x="59" y="157"/>
                    </a:lnTo>
                    <a:lnTo>
                      <a:pt x="60" y="158"/>
                    </a:lnTo>
                    <a:lnTo>
                      <a:pt x="66" y="157"/>
                    </a:lnTo>
                    <a:lnTo>
                      <a:pt x="68" y="153"/>
                    </a:lnTo>
                    <a:lnTo>
                      <a:pt x="68" y="150"/>
                    </a:lnTo>
                    <a:lnTo>
                      <a:pt x="71" y="145"/>
                    </a:lnTo>
                    <a:lnTo>
                      <a:pt x="74" y="145"/>
                    </a:lnTo>
                    <a:lnTo>
                      <a:pt x="76" y="143"/>
                    </a:lnTo>
                    <a:lnTo>
                      <a:pt x="78" y="139"/>
                    </a:lnTo>
                    <a:lnTo>
                      <a:pt x="80" y="135"/>
                    </a:lnTo>
                    <a:lnTo>
                      <a:pt x="80" y="131"/>
                    </a:lnTo>
                    <a:lnTo>
                      <a:pt x="81" y="129"/>
                    </a:lnTo>
                    <a:lnTo>
                      <a:pt x="81" y="127"/>
                    </a:lnTo>
                    <a:lnTo>
                      <a:pt x="82" y="126"/>
                    </a:lnTo>
                    <a:lnTo>
                      <a:pt x="90" y="125"/>
                    </a:lnTo>
                    <a:lnTo>
                      <a:pt x="94" y="123"/>
                    </a:lnTo>
                    <a:lnTo>
                      <a:pt x="98" y="123"/>
                    </a:lnTo>
                    <a:lnTo>
                      <a:pt x="100" y="121"/>
                    </a:lnTo>
                    <a:lnTo>
                      <a:pt x="99" y="115"/>
                    </a:lnTo>
                    <a:lnTo>
                      <a:pt x="100" y="113"/>
                    </a:lnTo>
                    <a:lnTo>
                      <a:pt x="98" y="112"/>
                    </a:lnTo>
                    <a:lnTo>
                      <a:pt x="97" y="108"/>
                    </a:lnTo>
                    <a:lnTo>
                      <a:pt x="99" y="107"/>
                    </a:lnTo>
                    <a:lnTo>
                      <a:pt x="88" y="1"/>
                    </a:lnTo>
                    <a:lnTo>
                      <a:pt x="88" y="0"/>
                    </a:lnTo>
                    <a:lnTo>
                      <a:pt x="27" y="4"/>
                    </a:lnTo>
                    <a:lnTo>
                      <a:pt x="27" y="5"/>
                    </a:lnTo>
                    <a:lnTo>
                      <a:pt x="20" y="9"/>
                    </a:lnTo>
                    <a:lnTo>
                      <a:pt x="16" y="12"/>
                    </a:lnTo>
                    <a:lnTo>
                      <a:pt x="13" y="13"/>
                    </a:lnTo>
                    <a:lnTo>
                      <a:pt x="8" y="12"/>
                    </a:lnTo>
                    <a:lnTo>
                      <a:pt x="11" y="103"/>
                    </a:lnTo>
                    <a:lnTo>
                      <a:pt x="10" y="106"/>
                    </a:lnTo>
                    <a:lnTo>
                      <a:pt x="10" y="109"/>
                    </a:lnTo>
                    <a:lnTo>
                      <a:pt x="10" y="113"/>
                    </a:lnTo>
                    <a:lnTo>
                      <a:pt x="11" y="117"/>
                    </a:lnTo>
                    <a:lnTo>
                      <a:pt x="15" y="124"/>
                    </a:lnTo>
                    <a:lnTo>
                      <a:pt x="16" y="130"/>
                    </a:lnTo>
                    <a:lnTo>
                      <a:pt x="16" y="134"/>
                    </a:lnTo>
                    <a:lnTo>
                      <a:pt x="13" y="136"/>
                    </a:lnTo>
                    <a:lnTo>
                      <a:pt x="11" y="140"/>
                    </a:lnTo>
                    <a:lnTo>
                      <a:pt x="10" y="145"/>
                    </a:lnTo>
                    <a:lnTo>
                      <a:pt x="8" y="147"/>
                    </a:lnTo>
                    <a:lnTo>
                      <a:pt x="5" y="150"/>
                    </a:lnTo>
                    <a:lnTo>
                      <a:pt x="4" y="156"/>
                    </a:lnTo>
                    <a:lnTo>
                      <a:pt x="2" y="157"/>
                    </a:lnTo>
                    <a:lnTo>
                      <a:pt x="0" y="161"/>
                    </a:lnTo>
                    <a:lnTo>
                      <a:pt x="0" y="167"/>
                    </a:lnTo>
                    <a:lnTo>
                      <a:pt x="1" y="171"/>
                    </a:lnTo>
                    <a:lnTo>
                      <a:pt x="2" y="172"/>
                    </a:lnTo>
                    <a:lnTo>
                      <a:pt x="2" y="172"/>
                    </a:lnTo>
                    <a:lnTo>
                      <a:pt x="5" y="172"/>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5" name="Freeform 54">
                <a:extLst>
                  <a:ext uri="{FF2B5EF4-FFF2-40B4-BE49-F238E27FC236}">
                    <a16:creationId xmlns:a16="http://schemas.microsoft.com/office/drawing/2014/main" id="{3ACC7368-D979-684B-BB79-5A9B669DFB95}"/>
                  </a:ext>
                </a:extLst>
              </p:cNvPr>
              <p:cNvSpPr>
                <a:spLocks/>
              </p:cNvSpPr>
              <p:nvPr/>
            </p:nvSpPr>
            <p:spPr bwMode="auto">
              <a:xfrm>
                <a:off x="17455574" y="7291544"/>
                <a:ext cx="860988" cy="1508789"/>
              </a:xfrm>
              <a:custGeom>
                <a:avLst/>
                <a:gdLst>
                  <a:gd name="T0" fmla="*/ 88 w 129"/>
                  <a:gd name="T1" fmla="*/ 217 h 226"/>
                  <a:gd name="T2" fmla="*/ 96 w 129"/>
                  <a:gd name="T3" fmla="*/ 222 h 226"/>
                  <a:gd name="T4" fmla="*/ 102 w 129"/>
                  <a:gd name="T5" fmla="*/ 222 h 226"/>
                  <a:gd name="T6" fmla="*/ 102 w 129"/>
                  <a:gd name="T7" fmla="*/ 216 h 226"/>
                  <a:gd name="T8" fmla="*/ 105 w 129"/>
                  <a:gd name="T9" fmla="*/ 209 h 226"/>
                  <a:gd name="T10" fmla="*/ 113 w 129"/>
                  <a:gd name="T11" fmla="*/ 206 h 226"/>
                  <a:gd name="T12" fmla="*/ 112 w 129"/>
                  <a:gd name="T13" fmla="*/ 200 h 226"/>
                  <a:gd name="T14" fmla="*/ 112 w 129"/>
                  <a:gd name="T15" fmla="*/ 195 h 226"/>
                  <a:gd name="T16" fmla="*/ 115 w 129"/>
                  <a:gd name="T17" fmla="*/ 194 h 226"/>
                  <a:gd name="T18" fmla="*/ 113 w 129"/>
                  <a:gd name="T19" fmla="*/ 189 h 226"/>
                  <a:gd name="T20" fmla="*/ 115 w 129"/>
                  <a:gd name="T21" fmla="*/ 179 h 226"/>
                  <a:gd name="T22" fmla="*/ 118 w 129"/>
                  <a:gd name="T23" fmla="*/ 172 h 226"/>
                  <a:gd name="T24" fmla="*/ 123 w 129"/>
                  <a:gd name="T25" fmla="*/ 167 h 226"/>
                  <a:gd name="T26" fmla="*/ 126 w 129"/>
                  <a:gd name="T27" fmla="*/ 158 h 226"/>
                  <a:gd name="T28" fmla="*/ 129 w 129"/>
                  <a:gd name="T29" fmla="*/ 152 h 226"/>
                  <a:gd name="T30" fmla="*/ 124 w 129"/>
                  <a:gd name="T31" fmla="*/ 139 h 226"/>
                  <a:gd name="T32" fmla="*/ 123 w 129"/>
                  <a:gd name="T33" fmla="*/ 131 h 226"/>
                  <a:gd name="T34" fmla="*/ 124 w 129"/>
                  <a:gd name="T35" fmla="*/ 125 h 226"/>
                  <a:gd name="T36" fmla="*/ 122 w 129"/>
                  <a:gd name="T37" fmla="*/ 34 h 226"/>
                  <a:gd name="T38" fmla="*/ 116 w 129"/>
                  <a:gd name="T39" fmla="*/ 26 h 226"/>
                  <a:gd name="T40" fmla="*/ 113 w 129"/>
                  <a:gd name="T41" fmla="*/ 17 h 226"/>
                  <a:gd name="T42" fmla="*/ 107 w 129"/>
                  <a:gd name="T43" fmla="*/ 3 h 226"/>
                  <a:gd name="T44" fmla="*/ 24 w 129"/>
                  <a:gd name="T45" fmla="*/ 5 h 226"/>
                  <a:gd name="T46" fmla="*/ 22 w 129"/>
                  <a:gd name="T47" fmla="*/ 3 h 226"/>
                  <a:gd name="T48" fmla="*/ 21 w 129"/>
                  <a:gd name="T49" fmla="*/ 8 h 226"/>
                  <a:gd name="T50" fmla="*/ 28 w 129"/>
                  <a:gd name="T51" fmla="*/ 14 h 226"/>
                  <a:gd name="T52" fmla="*/ 38 w 129"/>
                  <a:gd name="T53" fmla="*/ 23 h 226"/>
                  <a:gd name="T54" fmla="*/ 36 w 129"/>
                  <a:gd name="T55" fmla="*/ 32 h 226"/>
                  <a:gd name="T56" fmla="*/ 31 w 129"/>
                  <a:gd name="T57" fmla="*/ 43 h 226"/>
                  <a:gd name="T58" fmla="*/ 27 w 129"/>
                  <a:gd name="T59" fmla="*/ 47 h 226"/>
                  <a:gd name="T60" fmla="*/ 15 w 129"/>
                  <a:gd name="T61" fmla="*/ 50 h 226"/>
                  <a:gd name="T62" fmla="*/ 12 w 129"/>
                  <a:gd name="T63" fmla="*/ 55 h 226"/>
                  <a:gd name="T64" fmla="*/ 15 w 129"/>
                  <a:gd name="T65" fmla="*/ 65 h 226"/>
                  <a:gd name="T66" fmla="*/ 13 w 129"/>
                  <a:gd name="T67" fmla="*/ 70 h 226"/>
                  <a:gd name="T68" fmla="*/ 11 w 129"/>
                  <a:gd name="T69" fmla="*/ 77 h 226"/>
                  <a:gd name="T70" fmla="*/ 2 w 129"/>
                  <a:gd name="T71" fmla="*/ 86 h 226"/>
                  <a:gd name="T72" fmla="*/ 0 w 129"/>
                  <a:gd name="T73" fmla="*/ 95 h 226"/>
                  <a:gd name="T74" fmla="*/ 0 w 129"/>
                  <a:gd name="T75" fmla="*/ 113 h 226"/>
                  <a:gd name="T76" fmla="*/ 21 w 129"/>
                  <a:gd name="T77" fmla="*/ 136 h 226"/>
                  <a:gd name="T78" fmla="*/ 25 w 129"/>
                  <a:gd name="T79" fmla="*/ 150 h 226"/>
                  <a:gd name="T80" fmla="*/ 31 w 129"/>
                  <a:gd name="T81" fmla="*/ 151 h 226"/>
                  <a:gd name="T82" fmla="*/ 39 w 129"/>
                  <a:gd name="T83" fmla="*/ 150 h 226"/>
                  <a:gd name="T84" fmla="*/ 45 w 129"/>
                  <a:gd name="T85" fmla="*/ 156 h 226"/>
                  <a:gd name="T86" fmla="*/ 41 w 129"/>
                  <a:gd name="T87" fmla="*/ 167 h 226"/>
                  <a:gd name="T88" fmla="*/ 39 w 129"/>
                  <a:gd name="T89" fmla="*/ 175 h 226"/>
                  <a:gd name="T90" fmla="*/ 44 w 129"/>
                  <a:gd name="T91" fmla="*/ 185 h 226"/>
                  <a:gd name="T92" fmla="*/ 53 w 129"/>
                  <a:gd name="T93" fmla="*/ 189 h 226"/>
                  <a:gd name="T94" fmla="*/ 68 w 129"/>
                  <a:gd name="T95" fmla="*/ 200 h 226"/>
                  <a:gd name="T96" fmla="*/ 70 w 129"/>
                  <a:gd name="T97" fmla="*/ 214 h 226"/>
                  <a:gd name="T98" fmla="*/ 74 w 129"/>
                  <a:gd name="T99" fmla="*/ 222 h 226"/>
                  <a:gd name="T100" fmla="*/ 76 w 129"/>
                  <a:gd name="T101" fmla="*/ 222 h 226"/>
                  <a:gd name="T102" fmla="*/ 83 w 129"/>
                  <a:gd name="T103" fmla="*/ 221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9" h="226">
                    <a:moveTo>
                      <a:pt x="86" y="218"/>
                    </a:moveTo>
                    <a:lnTo>
                      <a:pt x="88" y="217"/>
                    </a:lnTo>
                    <a:lnTo>
                      <a:pt x="92" y="219"/>
                    </a:lnTo>
                    <a:lnTo>
                      <a:pt x="96" y="222"/>
                    </a:lnTo>
                    <a:lnTo>
                      <a:pt x="99" y="222"/>
                    </a:lnTo>
                    <a:lnTo>
                      <a:pt x="102" y="222"/>
                    </a:lnTo>
                    <a:lnTo>
                      <a:pt x="104" y="221"/>
                    </a:lnTo>
                    <a:lnTo>
                      <a:pt x="102" y="216"/>
                    </a:lnTo>
                    <a:lnTo>
                      <a:pt x="102" y="211"/>
                    </a:lnTo>
                    <a:lnTo>
                      <a:pt x="105" y="209"/>
                    </a:lnTo>
                    <a:lnTo>
                      <a:pt x="111" y="207"/>
                    </a:lnTo>
                    <a:lnTo>
                      <a:pt x="113" y="206"/>
                    </a:lnTo>
                    <a:lnTo>
                      <a:pt x="112" y="203"/>
                    </a:lnTo>
                    <a:lnTo>
                      <a:pt x="112" y="200"/>
                    </a:lnTo>
                    <a:lnTo>
                      <a:pt x="112" y="199"/>
                    </a:lnTo>
                    <a:lnTo>
                      <a:pt x="112" y="195"/>
                    </a:lnTo>
                    <a:lnTo>
                      <a:pt x="115" y="194"/>
                    </a:lnTo>
                    <a:lnTo>
                      <a:pt x="115" y="194"/>
                    </a:lnTo>
                    <a:lnTo>
                      <a:pt x="114" y="193"/>
                    </a:lnTo>
                    <a:lnTo>
                      <a:pt x="113" y="189"/>
                    </a:lnTo>
                    <a:lnTo>
                      <a:pt x="113" y="183"/>
                    </a:lnTo>
                    <a:lnTo>
                      <a:pt x="115" y="179"/>
                    </a:lnTo>
                    <a:lnTo>
                      <a:pt x="117" y="178"/>
                    </a:lnTo>
                    <a:lnTo>
                      <a:pt x="118" y="172"/>
                    </a:lnTo>
                    <a:lnTo>
                      <a:pt x="121" y="169"/>
                    </a:lnTo>
                    <a:lnTo>
                      <a:pt x="123" y="167"/>
                    </a:lnTo>
                    <a:lnTo>
                      <a:pt x="124" y="162"/>
                    </a:lnTo>
                    <a:lnTo>
                      <a:pt x="126" y="158"/>
                    </a:lnTo>
                    <a:lnTo>
                      <a:pt x="129" y="156"/>
                    </a:lnTo>
                    <a:lnTo>
                      <a:pt x="129" y="152"/>
                    </a:lnTo>
                    <a:lnTo>
                      <a:pt x="128" y="146"/>
                    </a:lnTo>
                    <a:lnTo>
                      <a:pt x="124" y="139"/>
                    </a:lnTo>
                    <a:lnTo>
                      <a:pt x="123" y="135"/>
                    </a:lnTo>
                    <a:lnTo>
                      <a:pt x="123" y="131"/>
                    </a:lnTo>
                    <a:lnTo>
                      <a:pt x="123" y="128"/>
                    </a:lnTo>
                    <a:lnTo>
                      <a:pt x="124" y="125"/>
                    </a:lnTo>
                    <a:lnTo>
                      <a:pt x="121" y="34"/>
                    </a:lnTo>
                    <a:lnTo>
                      <a:pt x="122" y="34"/>
                    </a:lnTo>
                    <a:lnTo>
                      <a:pt x="118" y="31"/>
                    </a:lnTo>
                    <a:lnTo>
                      <a:pt x="116" y="26"/>
                    </a:lnTo>
                    <a:lnTo>
                      <a:pt x="114" y="23"/>
                    </a:lnTo>
                    <a:lnTo>
                      <a:pt x="113" y="17"/>
                    </a:lnTo>
                    <a:lnTo>
                      <a:pt x="109" y="13"/>
                    </a:lnTo>
                    <a:lnTo>
                      <a:pt x="107" y="3"/>
                    </a:lnTo>
                    <a:lnTo>
                      <a:pt x="107" y="0"/>
                    </a:lnTo>
                    <a:lnTo>
                      <a:pt x="24" y="5"/>
                    </a:lnTo>
                    <a:lnTo>
                      <a:pt x="22" y="3"/>
                    </a:lnTo>
                    <a:lnTo>
                      <a:pt x="22" y="3"/>
                    </a:lnTo>
                    <a:lnTo>
                      <a:pt x="21" y="6"/>
                    </a:lnTo>
                    <a:lnTo>
                      <a:pt x="21" y="8"/>
                    </a:lnTo>
                    <a:lnTo>
                      <a:pt x="24" y="11"/>
                    </a:lnTo>
                    <a:lnTo>
                      <a:pt x="28" y="14"/>
                    </a:lnTo>
                    <a:lnTo>
                      <a:pt x="33" y="18"/>
                    </a:lnTo>
                    <a:lnTo>
                      <a:pt x="38" y="23"/>
                    </a:lnTo>
                    <a:lnTo>
                      <a:pt x="38" y="26"/>
                    </a:lnTo>
                    <a:lnTo>
                      <a:pt x="36" y="32"/>
                    </a:lnTo>
                    <a:lnTo>
                      <a:pt x="34" y="35"/>
                    </a:lnTo>
                    <a:lnTo>
                      <a:pt x="31" y="43"/>
                    </a:lnTo>
                    <a:lnTo>
                      <a:pt x="29" y="45"/>
                    </a:lnTo>
                    <a:lnTo>
                      <a:pt x="27" y="47"/>
                    </a:lnTo>
                    <a:lnTo>
                      <a:pt x="21" y="50"/>
                    </a:lnTo>
                    <a:lnTo>
                      <a:pt x="15" y="50"/>
                    </a:lnTo>
                    <a:lnTo>
                      <a:pt x="12" y="51"/>
                    </a:lnTo>
                    <a:lnTo>
                      <a:pt x="12" y="55"/>
                    </a:lnTo>
                    <a:lnTo>
                      <a:pt x="12" y="58"/>
                    </a:lnTo>
                    <a:lnTo>
                      <a:pt x="15" y="65"/>
                    </a:lnTo>
                    <a:lnTo>
                      <a:pt x="17" y="67"/>
                    </a:lnTo>
                    <a:lnTo>
                      <a:pt x="13" y="70"/>
                    </a:lnTo>
                    <a:lnTo>
                      <a:pt x="13" y="77"/>
                    </a:lnTo>
                    <a:lnTo>
                      <a:pt x="11" y="77"/>
                    </a:lnTo>
                    <a:lnTo>
                      <a:pt x="8" y="80"/>
                    </a:lnTo>
                    <a:lnTo>
                      <a:pt x="2" y="86"/>
                    </a:lnTo>
                    <a:lnTo>
                      <a:pt x="3" y="92"/>
                    </a:lnTo>
                    <a:lnTo>
                      <a:pt x="0" y="95"/>
                    </a:lnTo>
                    <a:lnTo>
                      <a:pt x="0" y="104"/>
                    </a:lnTo>
                    <a:lnTo>
                      <a:pt x="0" y="113"/>
                    </a:lnTo>
                    <a:lnTo>
                      <a:pt x="6" y="123"/>
                    </a:lnTo>
                    <a:lnTo>
                      <a:pt x="21" y="136"/>
                    </a:lnTo>
                    <a:lnTo>
                      <a:pt x="25" y="142"/>
                    </a:lnTo>
                    <a:lnTo>
                      <a:pt x="25" y="150"/>
                    </a:lnTo>
                    <a:lnTo>
                      <a:pt x="30" y="154"/>
                    </a:lnTo>
                    <a:lnTo>
                      <a:pt x="31" y="151"/>
                    </a:lnTo>
                    <a:lnTo>
                      <a:pt x="34" y="150"/>
                    </a:lnTo>
                    <a:lnTo>
                      <a:pt x="39" y="150"/>
                    </a:lnTo>
                    <a:lnTo>
                      <a:pt x="42" y="153"/>
                    </a:lnTo>
                    <a:lnTo>
                      <a:pt x="45" y="156"/>
                    </a:lnTo>
                    <a:lnTo>
                      <a:pt x="42" y="162"/>
                    </a:lnTo>
                    <a:lnTo>
                      <a:pt x="41" y="167"/>
                    </a:lnTo>
                    <a:lnTo>
                      <a:pt x="41" y="170"/>
                    </a:lnTo>
                    <a:lnTo>
                      <a:pt x="39" y="175"/>
                    </a:lnTo>
                    <a:lnTo>
                      <a:pt x="39" y="180"/>
                    </a:lnTo>
                    <a:lnTo>
                      <a:pt x="44" y="185"/>
                    </a:lnTo>
                    <a:lnTo>
                      <a:pt x="51" y="190"/>
                    </a:lnTo>
                    <a:lnTo>
                      <a:pt x="53" y="189"/>
                    </a:lnTo>
                    <a:lnTo>
                      <a:pt x="64" y="196"/>
                    </a:lnTo>
                    <a:lnTo>
                      <a:pt x="68" y="200"/>
                    </a:lnTo>
                    <a:lnTo>
                      <a:pt x="71" y="209"/>
                    </a:lnTo>
                    <a:lnTo>
                      <a:pt x="70" y="214"/>
                    </a:lnTo>
                    <a:lnTo>
                      <a:pt x="69" y="217"/>
                    </a:lnTo>
                    <a:lnTo>
                      <a:pt x="74" y="222"/>
                    </a:lnTo>
                    <a:lnTo>
                      <a:pt x="74" y="226"/>
                    </a:lnTo>
                    <a:lnTo>
                      <a:pt x="76" y="222"/>
                    </a:lnTo>
                    <a:lnTo>
                      <a:pt x="80" y="222"/>
                    </a:lnTo>
                    <a:lnTo>
                      <a:pt x="83" y="221"/>
                    </a:lnTo>
                    <a:lnTo>
                      <a:pt x="86" y="218"/>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6" name="Freeform 55">
                <a:extLst>
                  <a:ext uri="{FF2B5EF4-FFF2-40B4-BE49-F238E27FC236}">
                    <a16:creationId xmlns:a16="http://schemas.microsoft.com/office/drawing/2014/main" id="{7E5DAF36-4FA1-9744-A8B5-4E3A34FB43CC}"/>
                  </a:ext>
                </a:extLst>
              </p:cNvPr>
              <p:cNvSpPr>
                <a:spLocks/>
              </p:cNvSpPr>
              <p:nvPr/>
            </p:nvSpPr>
            <p:spPr bwMode="auto">
              <a:xfrm>
                <a:off x="16401029" y="6957737"/>
                <a:ext cx="1308170" cy="961354"/>
              </a:xfrm>
              <a:custGeom>
                <a:avLst/>
                <a:gdLst>
                  <a:gd name="T0" fmla="*/ 196 w 231"/>
                  <a:gd name="T1" fmla="*/ 154 h 170"/>
                  <a:gd name="T2" fmla="*/ 201 w 231"/>
                  <a:gd name="T3" fmla="*/ 150 h 170"/>
                  <a:gd name="T4" fmla="*/ 206 w 231"/>
                  <a:gd name="T5" fmla="*/ 139 h 170"/>
                  <a:gd name="T6" fmla="*/ 200 w 231"/>
                  <a:gd name="T7" fmla="*/ 128 h 170"/>
                  <a:gd name="T8" fmla="*/ 200 w 231"/>
                  <a:gd name="T9" fmla="*/ 120 h 170"/>
                  <a:gd name="T10" fmla="*/ 211 w 231"/>
                  <a:gd name="T11" fmla="*/ 118 h 170"/>
                  <a:gd name="T12" fmla="*/ 220 w 231"/>
                  <a:gd name="T13" fmla="*/ 113 h 170"/>
                  <a:gd name="T14" fmla="*/ 226 w 231"/>
                  <a:gd name="T15" fmla="*/ 101 h 170"/>
                  <a:gd name="T16" fmla="*/ 231 w 231"/>
                  <a:gd name="T17" fmla="*/ 90 h 170"/>
                  <a:gd name="T18" fmla="*/ 225 w 231"/>
                  <a:gd name="T19" fmla="*/ 81 h 170"/>
                  <a:gd name="T20" fmla="*/ 215 w 231"/>
                  <a:gd name="T21" fmla="*/ 72 h 170"/>
                  <a:gd name="T22" fmla="*/ 211 w 231"/>
                  <a:gd name="T23" fmla="*/ 66 h 170"/>
                  <a:gd name="T24" fmla="*/ 214 w 231"/>
                  <a:gd name="T25" fmla="*/ 65 h 170"/>
                  <a:gd name="T26" fmla="*/ 206 w 231"/>
                  <a:gd name="T27" fmla="*/ 59 h 170"/>
                  <a:gd name="T28" fmla="*/ 196 w 231"/>
                  <a:gd name="T29" fmla="*/ 55 h 170"/>
                  <a:gd name="T30" fmla="*/ 194 w 231"/>
                  <a:gd name="T31" fmla="*/ 45 h 170"/>
                  <a:gd name="T32" fmla="*/ 194 w 231"/>
                  <a:gd name="T33" fmla="*/ 35 h 170"/>
                  <a:gd name="T34" fmla="*/ 192 w 231"/>
                  <a:gd name="T35" fmla="*/ 25 h 170"/>
                  <a:gd name="T36" fmla="*/ 7 w 231"/>
                  <a:gd name="T37" fmla="*/ 22 h 170"/>
                  <a:gd name="T38" fmla="*/ 8 w 231"/>
                  <a:gd name="T39" fmla="*/ 0 h 170"/>
                  <a:gd name="T40" fmla="*/ 4 w 231"/>
                  <a:gd name="T41" fmla="*/ 23 h 170"/>
                  <a:gd name="T42" fmla="*/ 3 w 231"/>
                  <a:gd name="T43" fmla="*/ 31 h 170"/>
                  <a:gd name="T44" fmla="*/ 7 w 231"/>
                  <a:gd name="T45" fmla="*/ 37 h 170"/>
                  <a:gd name="T46" fmla="*/ 5 w 231"/>
                  <a:gd name="T47" fmla="*/ 42 h 170"/>
                  <a:gd name="T48" fmla="*/ 4 w 231"/>
                  <a:gd name="T49" fmla="*/ 52 h 170"/>
                  <a:gd name="T50" fmla="*/ 0 w 231"/>
                  <a:gd name="T51" fmla="*/ 56 h 170"/>
                  <a:gd name="T52" fmla="*/ 4 w 231"/>
                  <a:gd name="T53" fmla="*/ 62 h 170"/>
                  <a:gd name="T54" fmla="*/ 4 w 231"/>
                  <a:gd name="T55" fmla="*/ 69 h 170"/>
                  <a:gd name="T56" fmla="*/ 6 w 231"/>
                  <a:gd name="T57" fmla="*/ 71 h 170"/>
                  <a:gd name="T58" fmla="*/ 12 w 231"/>
                  <a:gd name="T59" fmla="*/ 85 h 170"/>
                  <a:gd name="T60" fmla="*/ 16 w 231"/>
                  <a:gd name="T61" fmla="*/ 96 h 170"/>
                  <a:gd name="T62" fmla="*/ 19 w 231"/>
                  <a:gd name="T63" fmla="*/ 102 h 170"/>
                  <a:gd name="T64" fmla="*/ 20 w 231"/>
                  <a:gd name="T65" fmla="*/ 104 h 170"/>
                  <a:gd name="T66" fmla="*/ 18 w 231"/>
                  <a:gd name="T67" fmla="*/ 109 h 170"/>
                  <a:gd name="T68" fmla="*/ 20 w 231"/>
                  <a:gd name="T69" fmla="*/ 116 h 170"/>
                  <a:gd name="T70" fmla="*/ 24 w 231"/>
                  <a:gd name="T71" fmla="*/ 118 h 170"/>
                  <a:gd name="T72" fmla="*/ 26 w 231"/>
                  <a:gd name="T73" fmla="*/ 135 h 170"/>
                  <a:gd name="T74" fmla="*/ 27 w 231"/>
                  <a:gd name="T75" fmla="*/ 142 h 170"/>
                  <a:gd name="T76" fmla="*/ 28 w 231"/>
                  <a:gd name="T77" fmla="*/ 154 h 170"/>
                  <a:gd name="T78" fmla="*/ 30 w 231"/>
                  <a:gd name="T79" fmla="*/ 162 h 170"/>
                  <a:gd name="T80" fmla="*/ 188 w 231"/>
                  <a:gd name="T81" fmla="*/ 170 h 170"/>
                  <a:gd name="T82" fmla="*/ 189 w 231"/>
                  <a:gd name="T83" fmla="*/ 161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1" h="170">
                    <a:moveTo>
                      <a:pt x="189" y="161"/>
                    </a:moveTo>
                    <a:cubicBezTo>
                      <a:pt x="196" y="154"/>
                      <a:pt x="196" y="154"/>
                      <a:pt x="196" y="154"/>
                    </a:cubicBezTo>
                    <a:cubicBezTo>
                      <a:pt x="199" y="150"/>
                      <a:pt x="199" y="150"/>
                      <a:pt x="199" y="150"/>
                    </a:cubicBezTo>
                    <a:cubicBezTo>
                      <a:pt x="201" y="150"/>
                      <a:pt x="201" y="150"/>
                      <a:pt x="201" y="150"/>
                    </a:cubicBezTo>
                    <a:cubicBezTo>
                      <a:pt x="202" y="142"/>
                      <a:pt x="202" y="142"/>
                      <a:pt x="202" y="142"/>
                    </a:cubicBezTo>
                    <a:cubicBezTo>
                      <a:pt x="206" y="139"/>
                      <a:pt x="206" y="139"/>
                      <a:pt x="206" y="139"/>
                    </a:cubicBezTo>
                    <a:cubicBezTo>
                      <a:pt x="204" y="136"/>
                      <a:pt x="204" y="136"/>
                      <a:pt x="204" y="136"/>
                    </a:cubicBezTo>
                    <a:cubicBezTo>
                      <a:pt x="200" y="128"/>
                      <a:pt x="200" y="128"/>
                      <a:pt x="200" y="128"/>
                    </a:cubicBezTo>
                    <a:cubicBezTo>
                      <a:pt x="200" y="124"/>
                      <a:pt x="200" y="124"/>
                      <a:pt x="200" y="124"/>
                    </a:cubicBezTo>
                    <a:cubicBezTo>
                      <a:pt x="200" y="120"/>
                      <a:pt x="200" y="120"/>
                      <a:pt x="200" y="120"/>
                    </a:cubicBezTo>
                    <a:cubicBezTo>
                      <a:pt x="204" y="118"/>
                      <a:pt x="204" y="118"/>
                      <a:pt x="204" y="118"/>
                    </a:cubicBezTo>
                    <a:cubicBezTo>
                      <a:pt x="211" y="118"/>
                      <a:pt x="211" y="118"/>
                      <a:pt x="211" y="118"/>
                    </a:cubicBezTo>
                    <a:cubicBezTo>
                      <a:pt x="218" y="115"/>
                      <a:pt x="218" y="115"/>
                      <a:pt x="218" y="115"/>
                    </a:cubicBezTo>
                    <a:cubicBezTo>
                      <a:pt x="220" y="113"/>
                      <a:pt x="220" y="113"/>
                      <a:pt x="220" y="113"/>
                    </a:cubicBezTo>
                    <a:cubicBezTo>
                      <a:pt x="223" y="110"/>
                      <a:pt x="223" y="110"/>
                      <a:pt x="223" y="110"/>
                    </a:cubicBezTo>
                    <a:cubicBezTo>
                      <a:pt x="226" y="101"/>
                      <a:pt x="226" y="101"/>
                      <a:pt x="226" y="101"/>
                    </a:cubicBezTo>
                    <a:cubicBezTo>
                      <a:pt x="229" y="97"/>
                      <a:pt x="229" y="97"/>
                      <a:pt x="229" y="97"/>
                    </a:cubicBezTo>
                    <a:cubicBezTo>
                      <a:pt x="231" y="90"/>
                      <a:pt x="231" y="90"/>
                      <a:pt x="231" y="90"/>
                    </a:cubicBezTo>
                    <a:cubicBezTo>
                      <a:pt x="231" y="87"/>
                      <a:pt x="231" y="87"/>
                      <a:pt x="231" y="87"/>
                    </a:cubicBezTo>
                    <a:cubicBezTo>
                      <a:pt x="225" y="81"/>
                      <a:pt x="225" y="81"/>
                      <a:pt x="225" y="81"/>
                    </a:cubicBezTo>
                    <a:cubicBezTo>
                      <a:pt x="219" y="76"/>
                      <a:pt x="219" y="76"/>
                      <a:pt x="219" y="76"/>
                    </a:cubicBezTo>
                    <a:cubicBezTo>
                      <a:pt x="215" y="72"/>
                      <a:pt x="215" y="72"/>
                      <a:pt x="215" y="72"/>
                    </a:cubicBezTo>
                    <a:cubicBezTo>
                      <a:pt x="211" y="69"/>
                      <a:pt x="211" y="69"/>
                      <a:pt x="211" y="69"/>
                    </a:cubicBezTo>
                    <a:cubicBezTo>
                      <a:pt x="211" y="66"/>
                      <a:pt x="211" y="66"/>
                      <a:pt x="211" y="66"/>
                    </a:cubicBezTo>
                    <a:cubicBezTo>
                      <a:pt x="212" y="63"/>
                      <a:pt x="212" y="63"/>
                      <a:pt x="212" y="63"/>
                    </a:cubicBezTo>
                    <a:cubicBezTo>
                      <a:pt x="214" y="65"/>
                      <a:pt x="214" y="65"/>
                      <a:pt x="214" y="65"/>
                    </a:cubicBezTo>
                    <a:cubicBezTo>
                      <a:pt x="211" y="61"/>
                      <a:pt x="211" y="61"/>
                      <a:pt x="211" y="61"/>
                    </a:cubicBezTo>
                    <a:cubicBezTo>
                      <a:pt x="211" y="61"/>
                      <a:pt x="207" y="59"/>
                      <a:pt x="206" y="59"/>
                    </a:cubicBezTo>
                    <a:cubicBezTo>
                      <a:pt x="205" y="59"/>
                      <a:pt x="201" y="55"/>
                      <a:pt x="201" y="55"/>
                    </a:cubicBezTo>
                    <a:cubicBezTo>
                      <a:pt x="196" y="55"/>
                      <a:pt x="196" y="55"/>
                      <a:pt x="196" y="55"/>
                    </a:cubicBezTo>
                    <a:cubicBezTo>
                      <a:pt x="196" y="50"/>
                      <a:pt x="196" y="50"/>
                      <a:pt x="196" y="50"/>
                    </a:cubicBezTo>
                    <a:cubicBezTo>
                      <a:pt x="194" y="45"/>
                      <a:pt x="194" y="45"/>
                      <a:pt x="194" y="45"/>
                    </a:cubicBezTo>
                    <a:cubicBezTo>
                      <a:pt x="194" y="39"/>
                      <a:pt x="194" y="39"/>
                      <a:pt x="194" y="39"/>
                    </a:cubicBezTo>
                    <a:cubicBezTo>
                      <a:pt x="194" y="35"/>
                      <a:pt x="194" y="35"/>
                      <a:pt x="194" y="35"/>
                    </a:cubicBezTo>
                    <a:cubicBezTo>
                      <a:pt x="194" y="28"/>
                      <a:pt x="194" y="28"/>
                      <a:pt x="194" y="28"/>
                    </a:cubicBezTo>
                    <a:cubicBezTo>
                      <a:pt x="192" y="25"/>
                      <a:pt x="192" y="25"/>
                      <a:pt x="192" y="25"/>
                    </a:cubicBezTo>
                    <a:cubicBezTo>
                      <a:pt x="189" y="18"/>
                      <a:pt x="189" y="18"/>
                      <a:pt x="189" y="18"/>
                    </a:cubicBezTo>
                    <a:cubicBezTo>
                      <a:pt x="7" y="22"/>
                      <a:pt x="7" y="22"/>
                      <a:pt x="7" y="22"/>
                    </a:cubicBezTo>
                    <a:cubicBezTo>
                      <a:pt x="8" y="0"/>
                      <a:pt x="8" y="0"/>
                      <a:pt x="8" y="0"/>
                    </a:cubicBezTo>
                    <a:cubicBezTo>
                      <a:pt x="8" y="0"/>
                      <a:pt x="8" y="0"/>
                      <a:pt x="8" y="0"/>
                    </a:cubicBezTo>
                    <a:cubicBezTo>
                      <a:pt x="7" y="23"/>
                      <a:pt x="7" y="23"/>
                      <a:pt x="7" y="23"/>
                    </a:cubicBezTo>
                    <a:cubicBezTo>
                      <a:pt x="4" y="23"/>
                      <a:pt x="4" y="23"/>
                      <a:pt x="4" y="23"/>
                    </a:cubicBezTo>
                    <a:cubicBezTo>
                      <a:pt x="4" y="26"/>
                      <a:pt x="4" y="26"/>
                      <a:pt x="4" y="26"/>
                    </a:cubicBezTo>
                    <a:cubicBezTo>
                      <a:pt x="3" y="31"/>
                      <a:pt x="3" y="31"/>
                      <a:pt x="3" y="31"/>
                    </a:cubicBezTo>
                    <a:cubicBezTo>
                      <a:pt x="5" y="32"/>
                      <a:pt x="5" y="32"/>
                      <a:pt x="5" y="32"/>
                    </a:cubicBezTo>
                    <a:cubicBezTo>
                      <a:pt x="7" y="37"/>
                      <a:pt x="7" y="37"/>
                      <a:pt x="7" y="37"/>
                    </a:cubicBezTo>
                    <a:cubicBezTo>
                      <a:pt x="7" y="41"/>
                      <a:pt x="7" y="41"/>
                      <a:pt x="7" y="41"/>
                    </a:cubicBezTo>
                    <a:cubicBezTo>
                      <a:pt x="5" y="42"/>
                      <a:pt x="5" y="42"/>
                      <a:pt x="5" y="42"/>
                    </a:cubicBezTo>
                    <a:cubicBezTo>
                      <a:pt x="4" y="45"/>
                      <a:pt x="4" y="45"/>
                      <a:pt x="4" y="45"/>
                    </a:cubicBezTo>
                    <a:cubicBezTo>
                      <a:pt x="4" y="52"/>
                      <a:pt x="4" y="52"/>
                      <a:pt x="4" y="52"/>
                    </a:cubicBezTo>
                    <a:cubicBezTo>
                      <a:pt x="1" y="53"/>
                      <a:pt x="1" y="53"/>
                      <a:pt x="1" y="53"/>
                    </a:cubicBezTo>
                    <a:cubicBezTo>
                      <a:pt x="0" y="56"/>
                      <a:pt x="0" y="56"/>
                      <a:pt x="0" y="56"/>
                    </a:cubicBezTo>
                    <a:cubicBezTo>
                      <a:pt x="0" y="59"/>
                      <a:pt x="0" y="59"/>
                      <a:pt x="0" y="59"/>
                    </a:cubicBezTo>
                    <a:cubicBezTo>
                      <a:pt x="4" y="62"/>
                      <a:pt x="4" y="62"/>
                      <a:pt x="4" y="62"/>
                    </a:cubicBezTo>
                    <a:cubicBezTo>
                      <a:pt x="4" y="66"/>
                      <a:pt x="4" y="66"/>
                      <a:pt x="4" y="66"/>
                    </a:cubicBezTo>
                    <a:cubicBezTo>
                      <a:pt x="4" y="69"/>
                      <a:pt x="4" y="69"/>
                      <a:pt x="4" y="69"/>
                    </a:cubicBezTo>
                    <a:cubicBezTo>
                      <a:pt x="3" y="67"/>
                      <a:pt x="3" y="67"/>
                      <a:pt x="3" y="67"/>
                    </a:cubicBezTo>
                    <a:cubicBezTo>
                      <a:pt x="6" y="71"/>
                      <a:pt x="6" y="71"/>
                      <a:pt x="6" y="71"/>
                    </a:cubicBezTo>
                    <a:cubicBezTo>
                      <a:pt x="9" y="80"/>
                      <a:pt x="9" y="80"/>
                      <a:pt x="9" y="80"/>
                    </a:cubicBezTo>
                    <a:cubicBezTo>
                      <a:pt x="12" y="85"/>
                      <a:pt x="12" y="85"/>
                      <a:pt x="12" y="85"/>
                    </a:cubicBezTo>
                    <a:cubicBezTo>
                      <a:pt x="14" y="91"/>
                      <a:pt x="14" y="91"/>
                      <a:pt x="14" y="91"/>
                    </a:cubicBezTo>
                    <a:cubicBezTo>
                      <a:pt x="16" y="96"/>
                      <a:pt x="16" y="96"/>
                      <a:pt x="16" y="96"/>
                    </a:cubicBezTo>
                    <a:cubicBezTo>
                      <a:pt x="18" y="99"/>
                      <a:pt x="18" y="99"/>
                      <a:pt x="18" y="99"/>
                    </a:cubicBezTo>
                    <a:cubicBezTo>
                      <a:pt x="19" y="102"/>
                      <a:pt x="19" y="102"/>
                      <a:pt x="19" y="102"/>
                    </a:cubicBezTo>
                    <a:cubicBezTo>
                      <a:pt x="20" y="103"/>
                      <a:pt x="20" y="103"/>
                      <a:pt x="20" y="103"/>
                    </a:cubicBezTo>
                    <a:cubicBezTo>
                      <a:pt x="20" y="104"/>
                      <a:pt x="20" y="104"/>
                      <a:pt x="20" y="104"/>
                    </a:cubicBezTo>
                    <a:cubicBezTo>
                      <a:pt x="17" y="105"/>
                      <a:pt x="17" y="105"/>
                      <a:pt x="17" y="105"/>
                    </a:cubicBezTo>
                    <a:cubicBezTo>
                      <a:pt x="18" y="109"/>
                      <a:pt x="18" y="109"/>
                      <a:pt x="18" y="109"/>
                    </a:cubicBezTo>
                    <a:cubicBezTo>
                      <a:pt x="19" y="114"/>
                      <a:pt x="19" y="114"/>
                      <a:pt x="19" y="114"/>
                    </a:cubicBezTo>
                    <a:cubicBezTo>
                      <a:pt x="20" y="116"/>
                      <a:pt x="20" y="116"/>
                      <a:pt x="20" y="116"/>
                    </a:cubicBezTo>
                    <a:cubicBezTo>
                      <a:pt x="22" y="116"/>
                      <a:pt x="22" y="116"/>
                      <a:pt x="22" y="116"/>
                    </a:cubicBezTo>
                    <a:cubicBezTo>
                      <a:pt x="24" y="118"/>
                      <a:pt x="24" y="118"/>
                      <a:pt x="24" y="118"/>
                    </a:cubicBezTo>
                    <a:cubicBezTo>
                      <a:pt x="26" y="125"/>
                      <a:pt x="26" y="125"/>
                      <a:pt x="26" y="125"/>
                    </a:cubicBezTo>
                    <a:cubicBezTo>
                      <a:pt x="26" y="135"/>
                      <a:pt x="26" y="135"/>
                      <a:pt x="26" y="135"/>
                    </a:cubicBezTo>
                    <a:cubicBezTo>
                      <a:pt x="25" y="139"/>
                      <a:pt x="25" y="139"/>
                      <a:pt x="25" y="139"/>
                    </a:cubicBezTo>
                    <a:cubicBezTo>
                      <a:pt x="27" y="142"/>
                      <a:pt x="27" y="142"/>
                      <a:pt x="27" y="142"/>
                    </a:cubicBezTo>
                    <a:cubicBezTo>
                      <a:pt x="28" y="144"/>
                      <a:pt x="28" y="144"/>
                      <a:pt x="28" y="144"/>
                    </a:cubicBezTo>
                    <a:cubicBezTo>
                      <a:pt x="28" y="154"/>
                      <a:pt x="28" y="154"/>
                      <a:pt x="28" y="154"/>
                    </a:cubicBezTo>
                    <a:cubicBezTo>
                      <a:pt x="30" y="161"/>
                      <a:pt x="30" y="161"/>
                      <a:pt x="30" y="161"/>
                    </a:cubicBezTo>
                    <a:cubicBezTo>
                      <a:pt x="30" y="162"/>
                      <a:pt x="30" y="162"/>
                      <a:pt x="30" y="162"/>
                    </a:cubicBezTo>
                    <a:cubicBezTo>
                      <a:pt x="176" y="160"/>
                      <a:pt x="176" y="160"/>
                      <a:pt x="176" y="160"/>
                    </a:cubicBezTo>
                    <a:cubicBezTo>
                      <a:pt x="188" y="170"/>
                      <a:pt x="188" y="170"/>
                      <a:pt x="188" y="170"/>
                    </a:cubicBezTo>
                    <a:cubicBezTo>
                      <a:pt x="190" y="168"/>
                      <a:pt x="190" y="168"/>
                      <a:pt x="190" y="168"/>
                    </a:cubicBezTo>
                    <a:lnTo>
                      <a:pt x="189" y="161"/>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7" name="Freeform 366">
                <a:extLst>
                  <a:ext uri="{FF2B5EF4-FFF2-40B4-BE49-F238E27FC236}">
                    <a16:creationId xmlns:a16="http://schemas.microsoft.com/office/drawing/2014/main" id="{27A3C631-5BFE-6B4B-8931-8DDBD227ED1E}"/>
                  </a:ext>
                </a:extLst>
              </p:cNvPr>
              <p:cNvSpPr>
                <a:spLocks/>
              </p:cNvSpPr>
              <p:nvPr/>
            </p:nvSpPr>
            <p:spPr bwMode="auto">
              <a:xfrm>
                <a:off x="10446454" y="10182275"/>
                <a:ext cx="2911080" cy="2263184"/>
              </a:xfrm>
              <a:custGeom>
                <a:avLst/>
                <a:gdLst>
                  <a:gd name="connsiteX0" fmla="*/ 302516 w 770887"/>
                  <a:gd name="connsiteY0" fmla="*/ 482511 h 599162"/>
                  <a:gd name="connsiteX1" fmla="*/ 307819 w 770887"/>
                  <a:gd name="connsiteY1" fmla="*/ 487813 h 599162"/>
                  <a:gd name="connsiteX2" fmla="*/ 318423 w 770887"/>
                  <a:gd name="connsiteY2" fmla="*/ 494883 h 599162"/>
                  <a:gd name="connsiteX3" fmla="*/ 311354 w 770887"/>
                  <a:gd name="connsiteY3" fmla="*/ 496651 h 599162"/>
                  <a:gd name="connsiteX4" fmla="*/ 307819 w 770887"/>
                  <a:gd name="connsiteY4" fmla="*/ 496651 h 599162"/>
                  <a:gd name="connsiteX5" fmla="*/ 300749 w 770887"/>
                  <a:gd name="connsiteY5" fmla="*/ 501953 h 599162"/>
                  <a:gd name="connsiteX6" fmla="*/ 300749 w 770887"/>
                  <a:gd name="connsiteY6" fmla="*/ 503720 h 599162"/>
                  <a:gd name="connsiteX7" fmla="*/ 300749 w 770887"/>
                  <a:gd name="connsiteY7" fmla="*/ 509023 h 599162"/>
                  <a:gd name="connsiteX8" fmla="*/ 304284 w 770887"/>
                  <a:gd name="connsiteY8" fmla="*/ 509023 h 599162"/>
                  <a:gd name="connsiteX9" fmla="*/ 311354 w 770887"/>
                  <a:gd name="connsiteY9" fmla="*/ 517860 h 599162"/>
                  <a:gd name="connsiteX10" fmla="*/ 311354 w 770887"/>
                  <a:gd name="connsiteY10" fmla="*/ 521395 h 599162"/>
                  <a:gd name="connsiteX11" fmla="*/ 306051 w 770887"/>
                  <a:gd name="connsiteY11" fmla="*/ 523162 h 599162"/>
                  <a:gd name="connsiteX12" fmla="*/ 302516 w 770887"/>
                  <a:gd name="connsiteY12" fmla="*/ 523162 h 599162"/>
                  <a:gd name="connsiteX13" fmla="*/ 298982 w 770887"/>
                  <a:gd name="connsiteY13" fmla="*/ 524930 h 599162"/>
                  <a:gd name="connsiteX14" fmla="*/ 297214 w 770887"/>
                  <a:gd name="connsiteY14" fmla="*/ 524930 h 599162"/>
                  <a:gd name="connsiteX15" fmla="*/ 291912 w 770887"/>
                  <a:gd name="connsiteY15" fmla="*/ 528465 h 599162"/>
                  <a:gd name="connsiteX16" fmla="*/ 291912 w 770887"/>
                  <a:gd name="connsiteY16" fmla="*/ 533767 h 599162"/>
                  <a:gd name="connsiteX17" fmla="*/ 291912 w 770887"/>
                  <a:gd name="connsiteY17" fmla="*/ 535534 h 599162"/>
                  <a:gd name="connsiteX18" fmla="*/ 288377 w 770887"/>
                  <a:gd name="connsiteY18" fmla="*/ 540837 h 599162"/>
                  <a:gd name="connsiteX19" fmla="*/ 283075 w 770887"/>
                  <a:gd name="connsiteY19" fmla="*/ 531999 h 599162"/>
                  <a:gd name="connsiteX20" fmla="*/ 283075 w 770887"/>
                  <a:gd name="connsiteY20" fmla="*/ 533767 h 599162"/>
                  <a:gd name="connsiteX21" fmla="*/ 281307 w 770887"/>
                  <a:gd name="connsiteY21" fmla="*/ 537302 h 599162"/>
                  <a:gd name="connsiteX22" fmla="*/ 276005 w 770887"/>
                  <a:gd name="connsiteY22" fmla="*/ 542604 h 599162"/>
                  <a:gd name="connsiteX23" fmla="*/ 272470 w 770887"/>
                  <a:gd name="connsiteY23" fmla="*/ 549674 h 599162"/>
                  <a:gd name="connsiteX24" fmla="*/ 272470 w 770887"/>
                  <a:gd name="connsiteY24" fmla="*/ 551441 h 599162"/>
                  <a:gd name="connsiteX25" fmla="*/ 272470 w 770887"/>
                  <a:gd name="connsiteY25" fmla="*/ 558511 h 599162"/>
                  <a:gd name="connsiteX26" fmla="*/ 256563 w 770887"/>
                  <a:gd name="connsiteY26" fmla="*/ 558511 h 599162"/>
                  <a:gd name="connsiteX27" fmla="*/ 268935 w 770887"/>
                  <a:gd name="connsiteY27" fmla="*/ 554976 h 599162"/>
                  <a:gd name="connsiteX28" fmla="*/ 270703 w 770887"/>
                  <a:gd name="connsiteY28" fmla="*/ 551441 h 599162"/>
                  <a:gd name="connsiteX29" fmla="*/ 272470 w 770887"/>
                  <a:gd name="connsiteY29" fmla="*/ 547906 h 599162"/>
                  <a:gd name="connsiteX30" fmla="*/ 270703 w 770887"/>
                  <a:gd name="connsiteY30" fmla="*/ 542604 h 599162"/>
                  <a:gd name="connsiteX31" fmla="*/ 267168 w 770887"/>
                  <a:gd name="connsiteY31" fmla="*/ 540837 h 599162"/>
                  <a:gd name="connsiteX32" fmla="*/ 265400 w 770887"/>
                  <a:gd name="connsiteY32" fmla="*/ 540837 h 599162"/>
                  <a:gd name="connsiteX33" fmla="*/ 261866 w 770887"/>
                  <a:gd name="connsiteY33" fmla="*/ 537302 h 599162"/>
                  <a:gd name="connsiteX34" fmla="*/ 261866 w 770887"/>
                  <a:gd name="connsiteY34" fmla="*/ 535534 h 599162"/>
                  <a:gd name="connsiteX35" fmla="*/ 260098 w 770887"/>
                  <a:gd name="connsiteY35" fmla="*/ 524930 h 599162"/>
                  <a:gd name="connsiteX36" fmla="*/ 263633 w 770887"/>
                  <a:gd name="connsiteY36" fmla="*/ 521395 h 599162"/>
                  <a:gd name="connsiteX37" fmla="*/ 265400 w 770887"/>
                  <a:gd name="connsiteY37" fmla="*/ 517860 h 599162"/>
                  <a:gd name="connsiteX38" fmla="*/ 270703 w 770887"/>
                  <a:gd name="connsiteY38" fmla="*/ 514325 h 599162"/>
                  <a:gd name="connsiteX39" fmla="*/ 272470 w 770887"/>
                  <a:gd name="connsiteY39" fmla="*/ 516093 h 599162"/>
                  <a:gd name="connsiteX40" fmla="*/ 277772 w 770887"/>
                  <a:gd name="connsiteY40" fmla="*/ 521395 h 599162"/>
                  <a:gd name="connsiteX41" fmla="*/ 281307 w 770887"/>
                  <a:gd name="connsiteY41" fmla="*/ 528465 h 599162"/>
                  <a:gd name="connsiteX42" fmla="*/ 281307 w 770887"/>
                  <a:gd name="connsiteY42" fmla="*/ 521395 h 599162"/>
                  <a:gd name="connsiteX43" fmla="*/ 279540 w 770887"/>
                  <a:gd name="connsiteY43" fmla="*/ 514325 h 599162"/>
                  <a:gd name="connsiteX44" fmla="*/ 276005 w 770887"/>
                  <a:gd name="connsiteY44" fmla="*/ 509023 h 599162"/>
                  <a:gd name="connsiteX45" fmla="*/ 281307 w 770887"/>
                  <a:gd name="connsiteY45" fmla="*/ 507255 h 599162"/>
                  <a:gd name="connsiteX46" fmla="*/ 288377 w 770887"/>
                  <a:gd name="connsiteY46" fmla="*/ 510790 h 599162"/>
                  <a:gd name="connsiteX47" fmla="*/ 291912 w 770887"/>
                  <a:gd name="connsiteY47" fmla="*/ 510790 h 599162"/>
                  <a:gd name="connsiteX48" fmla="*/ 291912 w 770887"/>
                  <a:gd name="connsiteY48" fmla="*/ 507255 h 599162"/>
                  <a:gd name="connsiteX49" fmla="*/ 291912 w 770887"/>
                  <a:gd name="connsiteY49" fmla="*/ 505488 h 599162"/>
                  <a:gd name="connsiteX50" fmla="*/ 291912 w 770887"/>
                  <a:gd name="connsiteY50" fmla="*/ 501953 h 599162"/>
                  <a:gd name="connsiteX51" fmla="*/ 291912 w 770887"/>
                  <a:gd name="connsiteY51" fmla="*/ 496651 h 599162"/>
                  <a:gd name="connsiteX52" fmla="*/ 290144 w 770887"/>
                  <a:gd name="connsiteY52" fmla="*/ 493116 h 599162"/>
                  <a:gd name="connsiteX53" fmla="*/ 297214 w 770887"/>
                  <a:gd name="connsiteY53" fmla="*/ 487813 h 599162"/>
                  <a:gd name="connsiteX54" fmla="*/ 55075 w 770887"/>
                  <a:gd name="connsiteY54" fmla="*/ 374697 h 599162"/>
                  <a:gd name="connsiteX55" fmla="*/ 58610 w 770887"/>
                  <a:gd name="connsiteY55" fmla="*/ 374697 h 599162"/>
                  <a:gd name="connsiteX56" fmla="*/ 63912 w 770887"/>
                  <a:gd name="connsiteY56" fmla="*/ 385302 h 599162"/>
                  <a:gd name="connsiteX57" fmla="*/ 63912 w 770887"/>
                  <a:gd name="connsiteY57" fmla="*/ 390604 h 599162"/>
                  <a:gd name="connsiteX58" fmla="*/ 60377 w 770887"/>
                  <a:gd name="connsiteY58" fmla="*/ 395906 h 599162"/>
                  <a:gd name="connsiteX59" fmla="*/ 56842 w 770887"/>
                  <a:gd name="connsiteY59" fmla="*/ 395906 h 599162"/>
                  <a:gd name="connsiteX60" fmla="*/ 51540 w 770887"/>
                  <a:gd name="connsiteY60" fmla="*/ 395906 h 599162"/>
                  <a:gd name="connsiteX61" fmla="*/ 44470 w 770887"/>
                  <a:gd name="connsiteY61" fmla="*/ 390604 h 599162"/>
                  <a:gd name="connsiteX62" fmla="*/ 35633 w 770887"/>
                  <a:gd name="connsiteY62" fmla="*/ 383534 h 599162"/>
                  <a:gd name="connsiteX63" fmla="*/ 44470 w 770887"/>
                  <a:gd name="connsiteY63" fmla="*/ 378232 h 599162"/>
                  <a:gd name="connsiteX64" fmla="*/ 49773 w 770887"/>
                  <a:gd name="connsiteY64" fmla="*/ 378232 h 599162"/>
                  <a:gd name="connsiteX65" fmla="*/ 4447 w 770887"/>
                  <a:gd name="connsiteY65" fmla="*/ 224465 h 599162"/>
                  <a:gd name="connsiteX66" fmla="*/ 5929 w 770887"/>
                  <a:gd name="connsiteY66" fmla="*/ 230488 h 599162"/>
                  <a:gd name="connsiteX67" fmla="*/ 8894 w 770887"/>
                  <a:gd name="connsiteY67" fmla="*/ 233499 h 599162"/>
                  <a:gd name="connsiteX68" fmla="*/ 16306 w 770887"/>
                  <a:gd name="connsiteY68" fmla="*/ 235005 h 599162"/>
                  <a:gd name="connsiteX69" fmla="*/ 23717 w 770887"/>
                  <a:gd name="connsiteY69" fmla="*/ 235005 h 599162"/>
                  <a:gd name="connsiteX70" fmla="*/ 28164 w 770887"/>
                  <a:gd name="connsiteY70" fmla="*/ 238016 h 599162"/>
                  <a:gd name="connsiteX71" fmla="*/ 28164 w 770887"/>
                  <a:gd name="connsiteY71" fmla="*/ 242533 h 599162"/>
                  <a:gd name="connsiteX72" fmla="*/ 31129 w 770887"/>
                  <a:gd name="connsiteY72" fmla="*/ 245544 h 599162"/>
                  <a:gd name="connsiteX73" fmla="*/ 37058 w 770887"/>
                  <a:gd name="connsiteY73" fmla="*/ 251566 h 599162"/>
                  <a:gd name="connsiteX74" fmla="*/ 44470 w 770887"/>
                  <a:gd name="connsiteY74" fmla="*/ 262106 h 599162"/>
                  <a:gd name="connsiteX75" fmla="*/ 40023 w 770887"/>
                  <a:gd name="connsiteY75" fmla="*/ 262106 h 599162"/>
                  <a:gd name="connsiteX76" fmla="*/ 31129 w 770887"/>
                  <a:gd name="connsiteY76" fmla="*/ 262106 h 599162"/>
                  <a:gd name="connsiteX77" fmla="*/ 29647 w 770887"/>
                  <a:gd name="connsiteY77" fmla="*/ 265117 h 599162"/>
                  <a:gd name="connsiteX78" fmla="*/ 23717 w 770887"/>
                  <a:gd name="connsiteY78" fmla="*/ 259095 h 599162"/>
                  <a:gd name="connsiteX79" fmla="*/ 20753 w 770887"/>
                  <a:gd name="connsiteY79" fmla="*/ 250061 h 599162"/>
                  <a:gd name="connsiteX80" fmla="*/ 19270 w 770887"/>
                  <a:gd name="connsiteY80" fmla="*/ 247050 h 599162"/>
                  <a:gd name="connsiteX81" fmla="*/ 16306 w 770887"/>
                  <a:gd name="connsiteY81" fmla="*/ 244038 h 599162"/>
                  <a:gd name="connsiteX82" fmla="*/ 14823 w 770887"/>
                  <a:gd name="connsiteY82" fmla="*/ 244038 h 599162"/>
                  <a:gd name="connsiteX83" fmla="*/ 13341 w 770887"/>
                  <a:gd name="connsiteY83" fmla="*/ 244038 h 599162"/>
                  <a:gd name="connsiteX84" fmla="*/ 10376 w 770887"/>
                  <a:gd name="connsiteY84" fmla="*/ 244038 h 599162"/>
                  <a:gd name="connsiteX85" fmla="*/ 8894 w 770887"/>
                  <a:gd name="connsiteY85" fmla="*/ 244038 h 599162"/>
                  <a:gd name="connsiteX86" fmla="*/ 4447 w 770887"/>
                  <a:gd name="connsiteY86" fmla="*/ 244038 h 599162"/>
                  <a:gd name="connsiteX87" fmla="*/ 2964 w 770887"/>
                  <a:gd name="connsiteY87" fmla="*/ 242533 h 599162"/>
                  <a:gd name="connsiteX88" fmla="*/ 1482 w 770887"/>
                  <a:gd name="connsiteY88" fmla="*/ 239521 h 599162"/>
                  <a:gd name="connsiteX89" fmla="*/ 0 w 770887"/>
                  <a:gd name="connsiteY89" fmla="*/ 235005 h 599162"/>
                  <a:gd name="connsiteX90" fmla="*/ 0 w 770887"/>
                  <a:gd name="connsiteY90" fmla="*/ 230488 h 599162"/>
                  <a:gd name="connsiteX91" fmla="*/ 4447 w 770887"/>
                  <a:gd name="connsiteY91" fmla="*/ 224465 h 599162"/>
                  <a:gd name="connsiteX92" fmla="*/ 277183 w 770887"/>
                  <a:gd name="connsiteY92" fmla="*/ 0 h 599162"/>
                  <a:gd name="connsiteX93" fmla="*/ 283168 w 770887"/>
                  <a:gd name="connsiteY93" fmla="*/ 5977 h 599162"/>
                  <a:gd name="connsiteX94" fmla="*/ 286160 w 770887"/>
                  <a:gd name="connsiteY94" fmla="*/ 10459 h 599162"/>
                  <a:gd name="connsiteX95" fmla="*/ 283168 w 770887"/>
                  <a:gd name="connsiteY95" fmla="*/ 10459 h 599162"/>
                  <a:gd name="connsiteX96" fmla="*/ 283168 w 770887"/>
                  <a:gd name="connsiteY96" fmla="*/ 14942 h 599162"/>
                  <a:gd name="connsiteX97" fmla="*/ 287656 w 770887"/>
                  <a:gd name="connsiteY97" fmla="*/ 17930 h 599162"/>
                  <a:gd name="connsiteX98" fmla="*/ 293640 w 770887"/>
                  <a:gd name="connsiteY98" fmla="*/ 17930 h 599162"/>
                  <a:gd name="connsiteX99" fmla="*/ 293640 w 770887"/>
                  <a:gd name="connsiteY99" fmla="*/ 13447 h 599162"/>
                  <a:gd name="connsiteX100" fmla="*/ 296632 w 770887"/>
                  <a:gd name="connsiteY100" fmla="*/ 10459 h 599162"/>
                  <a:gd name="connsiteX101" fmla="*/ 299624 w 770887"/>
                  <a:gd name="connsiteY101" fmla="*/ 13447 h 599162"/>
                  <a:gd name="connsiteX102" fmla="*/ 304113 w 770887"/>
                  <a:gd name="connsiteY102" fmla="*/ 19424 h 599162"/>
                  <a:gd name="connsiteX103" fmla="*/ 313089 w 770887"/>
                  <a:gd name="connsiteY103" fmla="*/ 17930 h 599162"/>
                  <a:gd name="connsiteX104" fmla="*/ 325058 w 770887"/>
                  <a:gd name="connsiteY104" fmla="*/ 20918 h 599162"/>
                  <a:gd name="connsiteX105" fmla="*/ 325058 w 770887"/>
                  <a:gd name="connsiteY105" fmla="*/ 25401 h 599162"/>
                  <a:gd name="connsiteX106" fmla="*/ 328050 w 770887"/>
                  <a:gd name="connsiteY106" fmla="*/ 31377 h 599162"/>
                  <a:gd name="connsiteX107" fmla="*/ 335530 w 770887"/>
                  <a:gd name="connsiteY107" fmla="*/ 37354 h 599162"/>
                  <a:gd name="connsiteX108" fmla="*/ 351987 w 770887"/>
                  <a:gd name="connsiteY108" fmla="*/ 37354 h 599162"/>
                  <a:gd name="connsiteX109" fmla="*/ 356475 w 770887"/>
                  <a:gd name="connsiteY109" fmla="*/ 37354 h 599162"/>
                  <a:gd name="connsiteX110" fmla="*/ 360963 w 770887"/>
                  <a:gd name="connsiteY110" fmla="*/ 34366 h 599162"/>
                  <a:gd name="connsiteX111" fmla="*/ 366948 w 770887"/>
                  <a:gd name="connsiteY111" fmla="*/ 34366 h 599162"/>
                  <a:gd name="connsiteX112" fmla="*/ 374428 w 770887"/>
                  <a:gd name="connsiteY112" fmla="*/ 38848 h 599162"/>
                  <a:gd name="connsiteX113" fmla="*/ 375924 w 770887"/>
                  <a:gd name="connsiteY113" fmla="*/ 43331 h 599162"/>
                  <a:gd name="connsiteX114" fmla="*/ 375924 w 770887"/>
                  <a:gd name="connsiteY114" fmla="*/ 47813 h 599162"/>
                  <a:gd name="connsiteX115" fmla="*/ 375924 w 770887"/>
                  <a:gd name="connsiteY115" fmla="*/ 48560 h 599162"/>
                  <a:gd name="connsiteX116" fmla="*/ 375924 w 770887"/>
                  <a:gd name="connsiteY116" fmla="*/ 50802 h 599162"/>
                  <a:gd name="connsiteX117" fmla="*/ 383404 w 770887"/>
                  <a:gd name="connsiteY117" fmla="*/ 46319 h 599162"/>
                  <a:gd name="connsiteX118" fmla="*/ 392381 w 770887"/>
                  <a:gd name="connsiteY118" fmla="*/ 43331 h 599162"/>
                  <a:gd name="connsiteX119" fmla="*/ 398365 w 770887"/>
                  <a:gd name="connsiteY119" fmla="*/ 43331 h 599162"/>
                  <a:gd name="connsiteX120" fmla="*/ 410334 w 770887"/>
                  <a:gd name="connsiteY120" fmla="*/ 47813 h 599162"/>
                  <a:gd name="connsiteX121" fmla="*/ 420806 w 770887"/>
                  <a:gd name="connsiteY121" fmla="*/ 50802 h 599162"/>
                  <a:gd name="connsiteX122" fmla="*/ 432775 w 770887"/>
                  <a:gd name="connsiteY122" fmla="*/ 47813 h 599162"/>
                  <a:gd name="connsiteX123" fmla="*/ 438759 w 770887"/>
                  <a:gd name="connsiteY123" fmla="*/ 43331 h 599162"/>
                  <a:gd name="connsiteX124" fmla="*/ 444743 w 770887"/>
                  <a:gd name="connsiteY124" fmla="*/ 43331 h 599162"/>
                  <a:gd name="connsiteX125" fmla="*/ 447736 w 770887"/>
                  <a:gd name="connsiteY125" fmla="*/ 43331 h 599162"/>
                  <a:gd name="connsiteX126" fmla="*/ 455216 w 770887"/>
                  <a:gd name="connsiteY126" fmla="*/ 50802 h 599162"/>
                  <a:gd name="connsiteX127" fmla="*/ 462696 w 770887"/>
                  <a:gd name="connsiteY127" fmla="*/ 56778 h 599162"/>
                  <a:gd name="connsiteX128" fmla="*/ 476161 w 770887"/>
                  <a:gd name="connsiteY128" fmla="*/ 58272 h 599162"/>
                  <a:gd name="connsiteX129" fmla="*/ 482145 w 770887"/>
                  <a:gd name="connsiteY129" fmla="*/ 110568 h 599162"/>
                  <a:gd name="connsiteX130" fmla="*/ 500098 w 770887"/>
                  <a:gd name="connsiteY130" fmla="*/ 242056 h 599162"/>
                  <a:gd name="connsiteX131" fmla="*/ 521043 w 770887"/>
                  <a:gd name="connsiteY131" fmla="*/ 400438 h 599162"/>
                  <a:gd name="connsiteX132" fmla="*/ 525531 w 770887"/>
                  <a:gd name="connsiteY132" fmla="*/ 409403 h 599162"/>
                  <a:gd name="connsiteX133" fmla="*/ 540492 w 770887"/>
                  <a:gd name="connsiteY133" fmla="*/ 409403 h 599162"/>
                  <a:gd name="connsiteX134" fmla="*/ 543484 w 770887"/>
                  <a:gd name="connsiteY134" fmla="*/ 400438 h 599162"/>
                  <a:gd name="connsiteX135" fmla="*/ 555453 w 770887"/>
                  <a:gd name="connsiteY135" fmla="*/ 400438 h 599162"/>
                  <a:gd name="connsiteX136" fmla="*/ 555453 w 770887"/>
                  <a:gd name="connsiteY136" fmla="*/ 404920 h 599162"/>
                  <a:gd name="connsiteX137" fmla="*/ 559941 w 770887"/>
                  <a:gd name="connsiteY137" fmla="*/ 410897 h 599162"/>
                  <a:gd name="connsiteX138" fmla="*/ 579390 w 770887"/>
                  <a:gd name="connsiteY138" fmla="*/ 424344 h 599162"/>
                  <a:gd name="connsiteX139" fmla="*/ 595847 w 770887"/>
                  <a:gd name="connsiteY139" fmla="*/ 442274 h 599162"/>
                  <a:gd name="connsiteX140" fmla="*/ 604823 w 770887"/>
                  <a:gd name="connsiteY140" fmla="*/ 434803 h 599162"/>
                  <a:gd name="connsiteX141" fmla="*/ 610807 w 770887"/>
                  <a:gd name="connsiteY141" fmla="*/ 419862 h 599162"/>
                  <a:gd name="connsiteX142" fmla="*/ 618288 w 770887"/>
                  <a:gd name="connsiteY142" fmla="*/ 412391 h 599162"/>
                  <a:gd name="connsiteX143" fmla="*/ 625768 w 770887"/>
                  <a:gd name="connsiteY143" fmla="*/ 407908 h 599162"/>
                  <a:gd name="connsiteX144" fmla="*/ 639233 w 770887"/>
                  <a:gd name="connsiteY144" fmla="*/ 413885 h 599162"/>
                  <a:gd name="connsiteX145" fmla="*/ 655690 w 770887"/>
                  <a:gd name="connsiteY145" fmla="*/ 425838 h 599162"/>
                  <a:gd name="connsiteX146" fmla="*/ 672146 w 770887"/>
                  <a:gd name="connsiteY146" fmla="*/ 442274 h 599162"/>
                  <a:gd name="connsiteX147" fmla="*/ 684115 w 770887"/>
                  <a:gd name="connsiteY147" fmla="*/ 455722 h 599162"/>
                  <a:gd name="connsiteX148" fmla="*/ 708052 w 770887"/>
                  <a:gd name="connsiteY148" fmla="*/ 479629 h 599162"/>
                  <a:gd name="connsiteX149" fmla="*/ 723013 w 770887"/>
                  <a:gd name="connsiteY149" fmla="*/ 500547 h 599162"/>
                  <a:gd name="connsiteX150" fmla="*/ 731989 w 770887"/>
                  <a:gd name="connsiteY150" fmla="*/ 502041 h 599162"/>
                  <a:gd name="connsiteX151" fmla="*/ 742462 w 770887"/>
                  <a:gd name="connsiteY151" fmla="*/ 503535 h 599162"/>
                  <a:gd name="connsiteX152" fmla="*/ 760415 w 770887"/>
                  <a:gd name="connsiteY152" fmla="*/ 509512 h 599162"/>
                  <a:gd name="connsiteX153" fmla="*/ 767895 w 770887"/>
                  <a:gd name="connsiteY153" fmla="*/ 513994 h 599162"/>
                  <a:gd name="connsiteX154" fmla="*/ 767895 w 770887"/>
                  <a:gd name="connsiteY154" fmla="*/ 519971 h 599162"/>
                  <a:gd name="connsiteX155" fmla="*/ 770887 w 770887"/>
                  <a:gd name="connsiteY155" fmla="*/ 533419 h 599162"/>
                  <a:gd name="connsiteX156" fmla="*/ 770887 w 770887"/>
                  <a:gd name="connsiteY156" fmla="*/ 539395 h 599162"/>
                  <a:gd name="connsiteX157" fmla="*/ 770887 w 770887"/>
                  <a:gd name="connsiteY157" fmla="*/ 545372 h 599162"/>
                  <a:gd name="connsiteX158" fmla="*/ 770887 w 770887"/>
                  <a:gd name="connsiteY158" fmla="*/ 558820 h 599162"/>
                  <a:gd name="connsiteX159" fmla="*/ 764903 w 770887"/>
                  <a:gd name="connsiteY159" fmla="*/ 563302 h 599162"/>
                  <a:gd name="connsiteX160" fmla="*/ 760415 w 770887"/>
                  <a:gd name="connsiteY160" fmla="*/ 557325 h 599162"/>
                  <a:gd name="connsiteX161" fmla="*/ 755926 w 770887"/>
                  <a:gd name="connsiteY161" fmla="*/ 549855 h 599162"/>
                  <a:gd name="connsiteX162" fmla="*/ 751438 w 770887"/>
                  <a:gd name="connsiteY162" fmla="*/ 552843 h 599162"/>
                  <a:gd name="connsiteX163" fmla="*/ 755926 w 770887"/>
                  <a:gd name="connsiteY163" fmla="*/ 560314 h 599162"/>
                  <a:gd name="connsiteX164" fmla="*/ 752934 w 770887"/>
                  <a:gd name="connsiteY164" fmla="*/ 561808 h 599162"/>
                  <a:gd name="connsiteX165" fmla="*/ 748446 w 770887"/>
                  <a:gd name="connsiteY165" fmla="*/ 558820 h 599162"/>
                  <a:gd name="connsiteX166" fmla="*/ 739470 w 770887"/>
                  <a:gd name="connsiteY166" fmla="*/ 555831 h 599162"/>
                  <a:gd name="connsiteX167" fmla="*/ 739470 w 770887"/>
                  <a:gd name="connsiteY167" fmla="*/ 549855 h 599162"/>
                  <a:gd name="connsiteX168" fmla="*/ 736478 w 770887"/>
                  <a:gd name="connsiteY168" fmla="*/ 542384 h 599162"/>
                  <a:gd name="connsiteX169" fmla="*/ 731989 w 770887"/>
                  <a:gd name="connsiteY169" fmla="*/ 539395 h 599162"/>
                  <a:gd name="connsiteX170" fmla="*/ 728997 w 770887"/>
                  <a:gd name="connsiteY170" fmla="*/ 533419 h 599162"/>
                  <a:gd name="connsiteX171" fmla="*/ 717029 w 770887"/>
                  <a:gd name="connsiteY171" fmla="*/ 524454 h 599162"/>
                  <a:gd name="connsiteX172" fmla="*/ 706556 w 770887"/>
                  <a:gd name="connsiteY172" fmla="*/ 525948 h 599162"/>
                  <a:gd name="connsiteX173" fmla="*/ 709548 w 770887"/>
                  <a:gd name="connsiteY173" fmla="*/ 530430 h 599162"/>
                  <a:gd name="connsiteX174" fmla="*/ 712540 w 770887"/>
                  <a:gd name="connsiteY174" fmla="*/ 533419 h 599162"/>
                  <a:gd name="connsiteX175" fmla="*/ 723013 w 770887"/>
                  <a:gd name="connsiteY175" fmla="*/ 539395 h 599162"/>
                  <a:gd name="connsiteX176" fmla="*/ 728997 w 770887"/>
                  <a:gd name="connsiteY176" fmla="*/ 545372 h 599162"/>
                  <a:gd name="connsiteX177" fmla="*/ 728997 w 770887"/>
                  <a:gd name="connsiteY177" fmla="*/ 549855 h 599162"/>
                  <a:gd name="connsiteX178" fmla="*/ 733485 w 770887"/>
                  <a:gd name="connsiteY178" fmla="*/ 554337 h 599162"/>
                  <a:gd name="connsiteX179" fmla="*/ 736478 w 770887"/>
                  <a:gd name="connsiteY179" fmla="*/ 558820 h 599162"/>
                  <a:gd name="connsiteX180" fmla="*/ 739470 w 770887"/>
                  <a:gd name="connsiteY180" fmla="*/ 569279 h 599162"/>
                  <a:gd name="connsiteX181" fmla="*/ 739470 w 770887"/>
                  <a:gd name="connsiteY181" fmla="*/ 572267 h 599162"/>
                  <a:gd name="connsiteX182" fmla="*/ 734981 w 770887"/>
                  <a:gd name="connsiteY182" fmla="*/ 573761 h 599162"/>
                  <a:gd name="connsiteX183" fmla="*/ 731989 w 770887"/>
                  <a:gd name="connsiteY183" fmla="*/ 566290 h 599162"/>
                  <a:gd name="connsiteX184" fmla="*/ 731989 w 770887"/>
                  <a:gd name="connsiteY184" fmla="*/ 573761 h 599162"/>
                  <a:gd name="connsiteX185" fmla="*/ 728997 w 770887"/>
                  <a:gd name="connsiteY185" fmla="*/ 579738 h 599162"/>
                  <a:gd name="connsiteX186" fmla="*/ 724509 w 770887"/>
                  <a:gd name="connsiteY186" fmla="*/ 578244 h 599162"/>
                  <a:gd name="connsiteX187" fmla="*/ 717029 w 770887"/>
                  <a:gd name="connsiteY187" fmla="*/ 570773 h 599162"/>
                  <a:gd name="connsiteX188" fmla="*/ 709548 w 770887"/>
                  <a:gd name="connsiteY188" fmla="*/ 561808 h 599162"/>
                  <a:gd name="connsiteX189" fmla="*/ 703564 w 770887"/>
                  <a:gd name="connsiteY189" fmla="*/ 564796 h 599162"/>
                  <a:gd name="connsiteX190" fmla="*/ 699076 w 770887"/>
                  <a:gd name="connsiteY190" fmla="*/ 564796 h 599162"/>
                  <a:gd name="connsiteX191" fmla="*/ 702068 w 770887"/>
                  <a:gd name="connsiteY191" fmla="*/ 555831 h 599162"/>
                  <a:gd name="connsiteX192" fmla="*/ 709548 w 770887"/>
                  <a:gd name="connsiteY192" fmla="*/ 554337 h 599162"/>
                  <a:gd name="connsiteX193" fmla="*/ 706556 w 770887"/>
                  <a:gd name="connsiteY193" fmla="*/ 545372 h 599162"/>
                  <a:gd name="connsiteX194" fmla="*/ 697580 w 770887"/>
                  <a:gd name="connsiteY194" fmla="*/ 549855 h 599162"/>
                  <a:gd name="connsiteX195" fmla="*/ 700572 w 770887"/>
                  <a:gd name="connsiteY195" fmla="*/ 540890 h 599162"/>
                  <a:gd name="connsiteX196" fmla="*/ 696084 w 770887"/>
                  <a:gd name="connsiteY196" fmla="*/ 534913 h 599162"/>
                  <a:gd name="connsiteX197" fmla="*/ 694588 w 770887"/>
                  <a:gd name="connsiteY197" fmla="*/ 530430 h 599162"/>
                  <a:gd name="connsiteX198" fmla="*/ 694588 w 770887"/>
                  <a:gd name="connsiteY198" fmla="*/ 525948 h 599162"/>
                  <a:gd name="connsiteX199" fmla="*/ 700572 w 770887"/>
                  <a:gd name="connsiteY199" fmla="*/ 516983 h 599162"/>
                  <a:gd name="connsiteX200" fmla="*/ 693091 w 770887"/>
                  <a:gd name="connsiteY200" fmla="*/ 516983 h 599162"/>
                  <a:gd name="connsiteX201" fmla="*/ 690099 w 770887"/>
                  <a:gd name="connsiteY201" fmla="*/ 519971 h 599162"/>
                  <a:gd name="connsiteX202" fmla="*/ 690099 w 770887"/>
                  <a:gd name="connsiteY202" fmla="*/ 522959 h 599162"/>
                  <a:gd name="connsiteX203" fmla="*/ 690099 w 770887"/>
                  <a:gd name="connsiteY203" fmla="*/ 531925 h 599162"/>
                  <a:gd name="connsiteX204" fmla="*/ 685611 w 770887"/>
                  <a:gd name="connsiteY204" fmla="*/ 534913 h 599162"/>
                  <a:gd name="connsiteX205" fmla="*/ 682619 w 770887"/>
                  <a:gd name="connsiteY205" fmla="*/ 537901 h 599162"/>
                  <a:gd name="connsiteX206" fmla="*/ 682619 w 770887"/>
                  <a:gd name="connsiteY206" fmla="*/ 533419 h 599162"/>
                  <a:gd name="connsiteX207" fmla="*/ 681123 w 770887"/>
                  <a:gd name="connsiteY207" fmla="*/ 527442 h 599162"/>
                  <a:gd name="connsiteX208" fmla="*/ 679627 w 770887"/>
                  <a:gd name="connsiteY208" fmla="*/ 519971 h 599162"/>
                  <a:gd name="connsiteX209" fmla="*/ 678131 w 770887"/>
                  <a:gd name="connsiteY209" fmla="*/ 515489 h 599162"/>
                  <a:gd name="connsiteX210" fmla="*/ 676635 w 770887"/>
                  <a:gd name="connsiteY210" fmla="*/ 511006 h 599162"/>
                  <a:gd name="connsiteX211" fmla="*/ 676635 w 770887"/>
                  <a:gd name="connsiteY211" fmla="*/ 506524 h 599162"/>
                  <a:gd name="connsiteX212" fmla="*/ 681123 w 770887"/>
                  <a:gd name="connsiteY212" fmla="*/ 503535 h 599162"/>
                  <a:gd name="connsiteX213" fmla="*/ 684115 w 770887"/>
                  <a:gd name="connsiteY213" fmla="*/ 499053 h 599162"/>
                  <a:gd name="connsiteX214" fmla="*/ 690099 w 770887"/>
                  <a:gd name="connsiteY214" fmla="*/ 493076 h 599162"/>
                  <a:gd name="connsiteX215" fmla="*/ 684115 w 770887"/>
                  <a:gd name="connsiteY215" fmla="*/ 482617 h 599162"/>
                  <a:gd name="connsiteX216" fmla="*/ 681123 w 770887"/>
                  <a:gd name="connsiteY216" fmla="*/ 484111 h 599162"/>
                  <a:gd name="connsiteX217" fmla="*/ 678131 w 770887"/>
                  <a:gd name="connsiteY217" fmla="*/ 491582 h 599162"/>
                  <a:gd name="connsiteX218" fmla="*/ 672146 w 770887"/>
                  <a:gd name="connsiteY218" fmla="*/ 499053 h 599162"/>
                  <a:gd name="connsiteX219" fmla="*/ 667658 w 770887"/>
                  <a:gd name="connsiteY219" fmla="*/ 502041 h 599162"/>
                  <a:gd name="connsiteX220" fmla="*/ 666162 w 770887"/>
                  <a:gd name="connsiteY220" fmla="*/ 505029 h 599162"/>
                  <a:gd name="connsiteX221" fmla="*/ 669154 w 770887"/>
                  <a:gd name="connsiteY221" fmla="*/ 516983 h 599162"/>
                  <a:gd name="connsiteX222" fmla="*/ 675139 w 770887"/>
                  <a:gd name="connsiteY222" fmla="*/ 533419 h 599162"/>
                  <a:gd name="connsiteX223" fmla="*/ 669154 w 770887"/>
                  <a:gd name="connsiteY223" fmla="*/ 531925 h 599162"/>
                  <a:gd name="connsiteX224" fmla="*/ 660178 w 770887"/>
                  <a:gd name="connsiteY224" fmla="*/ 513994 h 599162"/>
                  <a:gd name="connsiteX225" fmla="*/ 649705 w 770887"/>
                  <a:gd name="connsiteY225" fmla="*/ 499053 h 599162"/>
                  <a:gd name="connsiteX226" fmla="*/ 646713 w 770887"/>
                  <a:gd name="connsiteY226" fmla="*/ 508018 h 599162"/>
                  <a:gd name="connsiteX227" fmla="*/ 643721 w 770887"/>
                  <a:gd name="connsiteY227" fmla="*/ 506524 h 599162"/>
                  <a:gd name="connsiteX228" fmla="*/ 639233 w 770887"/>
                  <a:gd name="connsiteY228" fmla="*/ 496064 h 599162"/>
                  <a:gd name="connsiteX229" fmla="*/ 633249 w 770887"/>
                  <a:gd name="connsiteY229" fmla="*/ 491582 h 599162"/>
                  <a:gd name="connsiteX230" fmla="*/ 618288 w 770887"/>
                  <a:gd name="connsiteY230" fmla="*/ 475146 h 599162"/>
                  <a:gd name="connsiteX231" fmla="*/ 618288 w 770887"/>
                  <a:gd name="connsiteY231" fmla="*/ 464687 h 599162"/>
                  <a:gd name="connsiteX232" fmla="*/ 615296 w 770887"/>
                  <a:gd name="connsiteY232" fmla="*/ 470664 h 599162"/>
                  <a:gd name="connsiteX233" fmla="*/ 607815 w 770887"/>
                  <a:gd name="connsiteY233" fmla="*/ 467675 h 599162"/>
                  <a:gd name="connsiteX234" fmla="*/ 591358 w 770887"/>
                  <a:gd name="connsiteY234" fmla="*/ 452734 h 599162"/>
                  <a:gd name="connsiteX235" fmla="*/ 580886 w 770887"/>
                  <a:gd name="connsiteY235" fmla="*/ 440780 h 599162"/>
                  <a:gd name="connsiteX236" fmla="*/ 574902 w 770887"/>
                  <a:gd name="connsiteY236" fmla="*/ 442274 h 599162"/>
                  <a:gd name="connsiteX237" fmla="*/ 561437 w 770887"/>
                  <a:gd name="connsiteY237" fmla="*/ 439286 h 599162"/>
                  <a:gd name="connsiteX238" fmla="*/ 552461 w 770887"/>
                  <a:gd name="connsiteY238" fmla="*/ 430321 h 599162"/>
                  <a:gd name="connsiteX239" fmla="*/ 552461 w 770887"/>
                  <a:gd name="connsiteY239" fmla="*/ 419862 h 599162"/>
                  <a:gd name="connsiteX240" fmla="*/ 547972 w 770887"/>
                  <a:gd name="connsiteY240" fmla="*/ 422850 h 599162"/>
                  <a:gd name="connsiteX241" fmla="*/ 530020 w 770887"/>
                  <a:gd name="connsiteY241" fmla="*/ 422850 h 599162"/>
                  <a:gd name="connsiteX242" fmla="*/ 521043 w 770887"/>
                  <a:gd name="connsiteY242" fmla="*/ 421356 h 599162"/>
                  <a:gd name="connsiteX243" fmla="*/ 510571 w 770887"/>
                  <a:gd name="connsiteY243" fmla="*/ 418368 h 599162"/>
                  <a:gd name="connsiteX244" fmla="*/ 491122 w 770887"/>
                  <a:gd name="connsiteY244" fmla="*/ 416873 h 599162"/>
                  <a:gd name="connsiteX245" fmla="*/ 471673 w 770887"/>
                  <a:gd name="connsiteY245" fmla="*/ 421356 h 599162"/>
                  <a:gd name="connsiteX246" fmla="*/ 458208 w 770887"/>
                  <a:gd name="connsiteY246" fmla="*/ 424344 h 599162"/>
                  <a:gd name="connsiteX247" fmla="*/ 461200 w 770887"/>
                  <a:gd name="connsiteY247" fmla="*/ 412391 h 599162"/>
                  <a:gd name="connsiteX248" fmla="*/ 456712 w 770887"/>
                  <a:gd name="connsiteY248" fmla="*/ 415379 h 599162"/>
                  <a:gd name="connsiteX249" fmla="*/ 449232 w 770887"/>
                  <a:gd name="connsiteY249" fmla="*/ 410897 h 599162"/>
                  <a:gd name="connsiteX250" fmla="*/ 443247 w 770887"/>
                  <a:gd name="connsiteY250" fmla="*/ 407908 h 599162"/>
                  <a:gd name="connsiteX251" fmla="*/ 437263 w 770887"/>
                  <a:gd name="connsiteY251" fmla="*/ 407908 h 599162"/>
                  <a:gd name="connsiteX252" fmla="*/ 432775 w 770887"/>
                  <a:gd name="connsiteY252" fmla="*/ 407908 h 599162"/>
                  <a:gd name="connsiteX253" fmla="*/ 425294 w 770887"/>
                  <a:gd name="connsiteY253" fmla="*/ 412391 h 599162"/>
                  <a:gd name="connsiteX254" fmla="*/ 419310 w 770887"/>
                  <a:gd name="connsiteY254" fmla="*/ 415379 h 599162"/>
                  <a:gd name="connsiteX255" fmla="*/ 413326 w 770887"/>
                  <a:gd name="connsiteY255" fmla="*/ 422850 h 599162"/>
                  <a:gd name="connsiteX256" fmla="*/ 410334 w 770887"/>
                  <a:gd name="connsiteY256" fmla="*/ 425838 h 599162"/>
                  <a:gd name="connsiteX257" fmla="*/ 402853 w 770887"/>
                  <a:gd name="connsiteY257" fmla="*/ 424344 h 599162"/>
                  <a:gd name="connsiteX258" fmla="*/ 410334 w 770887"/>
                  <a:gd name="connsiteY258" fmla="*/ 418368 h 599162"/>
                  <a:gd name="connsiteX259" fmla="*/ 419310 w 770887"/>
                  <a:gd name="connsiteY259" fmla="*/ 409403 h 599162"/>
                  <a:gd name="connsiteX260" fmla="*/ 425294 w 770887"/>
                  <a:gd name="connsiteY260" fmla="*/ 403426 h 599162"/>
                  <a:gd name="connsiteX261" fmla="*/ 429783 w 770887"/>
                  <a:gd name="connsiteY261" fmla="*/ 397449 h 599162"/>
                  <a:gd name="connsiteX262" fmla="*/ 426791 w 770887"/>
                  <a:gd name="connsiteY262" fmla="*/ 397449 h 599162"/>
                  <a:gd name="connsiteX263" fmla="*/ 420806 w 770887"/>
                  <a:gd name="connsiteY263" fmla="*/ 394461 h 599162"/>
                  <a:gd name="connsiteX264" fmla="*/ 420806 w 770887"/>
                  <a:gd name="connsiteY264" fmla="*/ 384002 h 599162"/>
                  <a:gd name="connsiteX265" fmla="*/ 414822 w 770887"/>
                  <a:gd name="connsiteY265" fmla="*/ 388484 h 599162"/>
                  <a:gd name="connsiteX266" fmla="*/ 413326 w 770887"/>
                  <a:gd name="connsiteY266" fmla="*/ 389978 h 599162"/>
                  <a:gd name="connsiteX267" fmla="*/ 402853 w 770887"/>
                  <a:gd name="connsiteY267" fmla="*/ 389978 h 599162"/>
                  <a:gd name="connsiteX268" fmla="*/ 393877 w 770887"/>
                  <a:gd name="connsiteY268" fmla="*/ 388484 h 599162"/>
                  <a:gd name="connsiteX269" fmla="*/ 389389 w 770887"/>
                  <a:gd name="connsiteY269" fmla="*/ 392967 h 599162"/>
                  <a:gd name="connsiteX270" fmla="*/ 386397 w 770887"/>
                  <a:gd name="connsiteY270" fmla="*/ 401932 h 599162"/>
                  <a:gd name="connsiteX271" fmla="*/ 392381 w 770887"/>
                  <a:gd name="connsiteY271" fmla="*/ 409403 h 599162"/>
                  <a:gd name="connsiteX272" fmla="*/ 389389 w 770887"/>
                  <a:gd name="connsiteY272" fmla="*/ 421356 h 599162"/>
                  <a:gd name="connsiteX273" fmla="*/ 381908 w 770887"/>
                  <a:gd name="connsiteY273" fmla="*/ 428827 h 599162"/>
                  <a:gd name="connsiteX274" fmla="*/ 374428 w 770887"/>
                  <a:gd name="connsiteY274" fmla="*/ 428827 h 599162"/>
                  <a:gd name="connsiteX275" fmla="*/ 365452 w 770887"/>
                  <a:gd name="connsiteY275" fmla="*/ 428827 h 599162"/>
                  <a:gd name="connsiteX276" fmla="*/ 362459 w 770887"/>
                  <a:gd name="connsiteY276" fmla="*/ 439286 h 599162"/>
                  <a:gd name="connsiteX277" fmla="*/ 350491 w 770887"/>
                  <a:gd name="connsiteY277" fmla="*/ 443769 h 599162"/>
                  <a:gd name="connsiteX278" fmla="*/ 348995 w 770887"/>
                  <a:gd name="connsiteY278" fmla="*/ 446757 h 599162"/>
                  <a:gd name="connsiteX279" fmla="*/ 338522 w 770887"/>
                  <a:gd name="connsiteY279" fmla="*/ 454228 h 599162"/>
                  <a:gd name="connsiteX280" fmla="*/ 328050 w 770887"/>
                  <a:gd name="connsiteY280" fmla="*/ 457216 h 599162"/>
                  <a:gd name="connsiteX281" fmla="*/ 322065 w 770887"/>
                  <a:gd name="connsiteY281" fmla="*/ 458710 h 599162"/>
                  <a:gd name="connsiteX282" fmla="*/ 319073 w 770887"/>
                  <a:gd name="connsiteY282" fmla="*/ 454228 h 599162"/>
                  <a:gd name="connsiteX283" fmla="*/ 317577 w 770887"/>
                  <a:gd name="connsiteY283" fmla="*/ 451239 h 599162"/>
                  <a:gd name="connsiteX284" fmla="*/ 325058 w 770887"/>
                  <a:gd name="connsiteY284" fmla="*/ 448251 h 599162"/>
                  <a:gd name="connsiteX285" fmla="*/ 331042 w 770887"/>
                  <a:gd name="connsiteY285" fmla="*/ 440780 h 599162"/>
                  <a:gd name="connsiteX286" fmla="*/ 323561 w 770887"/>
                  <a:gd name="connsiteY286" fmla="*/ 440780 h 599162"/>
                  <a:gd name="connsiteX287" fmla="*/ 320569 w 770887"/>
                  <a:gd name="connsiteY287" fmla="*/ 436298 h 599162"/>
                  <a:gd name="connsiteX288" fmla="*/ 328050 w 770887"/>
                  <a:gd name="connsiteY288" fmla="*/ 425838 h 599162"/>
                  <a:gd name="connsiteX289" fmla="*/ 331042 w 770887"/>
                  <a:gd name="connsiteY289" fmla="*/ 415379 h 599162"/>
                  <a:gd name="connsiteX290" fmla="*/ 335530 w 770887"/>
                  <a:gd name="connsiteY290" fmla="*/ 400438 h 599162"/>
                  <a:gd name="connsiteX291" fmla="*/ 343010 w 770887"/>
                  <a:gd name="connsiteY291" fmla="*/ 391473 h 599162"/>
                  <a:gd name="connsiteX292" fmla="*/ 369940 w 770887"/>
                  <a:gd name="connsiteY292" fmla="*/ 394461 h 599162"/>
                  <a:gd name="connsiteX293" fmla="*/ 365452 w 770887"/>
                  <a:gd name="connsiteY293" fmla="*/ 388484 h 599162"/>
                  <a:gd name="connsiteX294" fmla="*/ 357971 w 770887"/>
                  <a:gd name="connsiteY294" fmla="*/ 386990 h 599162"/>
                  <a:gd name="connsiteX295" fmla="*/ 344507 w 770887"/>
                  <a:gd name="connsiteY295" fmla="*/ 381013 h 599162"/>
                  <a:gd name="connsiteX296" fmla="*/ 334034 w 770887"/>
                  <a:gd name="connsiteY296" fmla="*/ 385496 h 599162"/>
                  <a:gd name="connsiteX297" fmla="*/ 325058 w 770887"/>
                  <a:gd name="connsiteY297" fmla="*/ 392967 h 599162"/>
                  <a:gd name="connsiteX298" fmla="*/ 316081 w 770887"/>
                  <a:gd name="connsiteY298" fmla="*/ 400438 h 599162"/>
                  <a:gd name="connsiteX299" fmla="*/ 311593 w 770887"/>
                  <a:gd name="connsiteY299" fmla="*/ 409403 h 599162"/>
                  <a:gd name="connsiteX300" fmla="*/ 310097 w 770887"/>
                  <a:gd name="connsiteY300" fmla="*/ 416873 h 599162"/>
                  <a:gd name="connsiteX301" fmla="*/ 304113 w 770887"/>
                  <a:gd name="connsiteY301" fmla="*/ 416873 h 599162"/>
                  <a:gd name="connsiteX302" fmla="*/ 304113 w 770887"/>
                  <a:gd name="connsiteY302" fmla="*/ 419862 h 599162"/>
                  <a:gd name="connsiteX303" fmla="*/ 307105 w 770887"/>
                  <a:gd name="connsiteY303" fmla="*/ 425838 h 599162"/>
                  <a:gd name="connsiteX304" fmla="*/ 305609 w 770887"/>
                  <a:gd name="connsiteY304" fmla="*/ 430321 h 599162"/>
                  <a:gd name="connsiteX305" fmla="*/ 301120 w 770887"/>
                  <a:gd name="connsiteY305" fmla="*/ 434803 h 599162"/>
                  <a:gd name="connsiteX306" fmla="*/ 290648 w 770887"/>
                  <a:gd name="connsiteY306" fmla="*/ 440780 h 599162"/>
                  <a:gd name="connsiteX307" fmla="*/ 284664 w 770887"/>
                  <a:gd name="connsiteY307" fmla="*/ 445263 h 599162"/>
                  <a:gd name="connsiteX308" fmla="*/ 277183 w 770887"/>
                  <a:gd name="connsiteY308" fmla="*/ 452734 h 599162"/>
                  <a:gd name="connsiteX309" fmla="*/ 275687 w 770887"/>
                  <a:gd name="connsiteY309" fmla="*/ 460204 h 599162"/>
                  <a:gd name="connsiteX310" fmla="*/ 286160 w 770887"/>
                  <a:gd name="connsiteY310" fmla="*/ 463193 h 599162"/>
                  <a:gd name="connsiteX311" fmla="*/ 287656 w 770887"/>
                  <a:gd name="connsiteY311" fmla="*/ 473652 h 599162"/>
                  <a:gd name="connsiteX312" fmla="*/ 283168 w 770887"/>
                  <a:gd name="connsiteY312" fmla="*/ 479629 h 599162"/>
                  <a:gd name="connsiteX313" fmla="*/ 275687 w 770887"/>
                  <a:gd name="connsiteY313" fmla="*/ 484111 h 599162"/>
                  <a:gd name="connsiteX314" fmla="*/ 266711 w 770887"/>
                  <a:gd name="connsiteY314" fmla="*/ 496064 h 599162"/>
                  <a:gd name="connsiteX315" fmla="*/ 253246 w 770887"/>
                  <a:gd name="connsiteY315" fmla="*/ 505029 h 599162"/>
                  <a:gd name="connsiteX316" fmla="*/ 226317 w 770887"/>
                  <a:gd name="connsiteY316" fmla="*/ 518477 h 599162"/>
                  <a:gd name="connsiteX317" fmla="*/ 224821 w 770887"/>
                  <a:gd name="connsiteY317" fmla="*/ 530430 h 599162"/>
                  <a:gd name="connsiteX318" fmla="*/ 214348 w 770887"/>
                  <a:gd name="connsiteY318" fmla="*/ 534913 h 599162"/>
                  <a:gd name="connsiteX319" fmla="*/ 203876 w 770887"/>
                  <a:gd name="connsiteY319" fmla="*/ 540890 h 599162"/>
                  <a:gd name="connsiteX320" fmla="*/ 190411 w 770887"/>
                  <a:gd name="connsiteY320" fmla="*/ 545372 h 599162"/>
                  <a:gd name="connsiteX321" fmla="*/ 185923 w 770887"/>
                  <a:gd name="connsiteY321" fmla="*/ 548360 h 599162"/>
                  <a:gd name="connsiteX322" fmla="*/ 179939 w 770887"/>
                  <a:gd name="connsiteY322" fmla="*/ 552843 h 599162"/>
                  <a:gd name="connsiteX323" fmla="*/ 175450 w 770887"/>
                  <a:gd name="connsiteY323" fmla="*/ 557325 h 599162"/>
                  <a:gd name="connsiteX324" fmla="*/ 172458 w 770887"/>
                  <a:gd name="connsiteY324" fmla="*/ 566290 h 599162"/>
                  <a:gd name="connsiteX325" fmla="*/ 164978 w 770887"/>
                  <a:gd name="connsiteY325" fmla="*/ 567785 h 599162"/>
                  <a:gd name="connsiteX326" fmla="*/ 154505 w 770887"/>
                  <a:gd name="connsiteY326" fmla="*/ 570773 h 599162"/>
                  <a:gd name="connsiteX327" fmla="*/ 147025 w 770887"/>
                  <a:gd name="connsiteY327" fmla="*/ 570773 h 599162"/>
                  <a:gd name="connsiteX328" fmla="*/ 139545 w 770887"/>
                  <a:gd name="connsiteY328" fmla="*/ 573761 h 599162"/>
                  <a:gd name="connsiteX329" fmla="*/ 129072 w 770887"/>
                  <a:gd name="connsiteY329" fmla="*/ 579738 h 599162"/>
                  <a:gd name="connsiteX330" fmla="*/ 132064 w 770887"/>
                  <a:gd name="connsiteY330" fmla="*/ 587209 h 599162"/>
                  <a:gd name="connsiteX331" fmla="*/ 129072 w 770887"/>
                  <a:gd name="connsiteY331" fmla="*/ 588703 h 599162"/>
                  <a:gd name="connsiteX332" fmla="*/ 121592 w 770887"/>
                  <a:gd name="connsiteY332" fmla="*/ 584220 h 599162"/>
                  <a:gd name="connsiteX333" fmla="*/ 114111 w 770887"/>
                  <a:gd name="connsiteY333" fmla="*/ 581232 h 599162"/>
                  <a:gd name="connsiteX334" fmla="*/ 108127 w 770887"/>
                  <a:gd name="connsiteY334" fmla="*/ 572267 h 599162"/>
                  <a:gd name="connsiteX335" fmla="*/ 106631 w 770887"/>
                  <a:gd name="connsiteY335" fmla="*/ 575255 h 599162"/>
                  <a:gd name="connsiteX336" fmla="*/ 106631 w 770887"/>
                  <a:gd name="connsiteY336" fmla="*/ 587209 h 599162"/>
                  <a:gd name="connsiteX337" fmla="*/ 97655 w 770887"/>
                  <a:gd name="connsiteY337" fmla="*/ 587209 h 599162"/>
                  <a:gd name="connsiteX338" fmla="*/ 97655 w 770887"/>
                  <a:gd name="connsiteY338" fmla="*/ 591691 h 599162"/>
                  <a:gd name="connsiteX339" fmla="*/ 88678 w 770887"/>
                  <a:gd name="connsiteY339" fmla="*/ 591691 h 599162"/>
                  <a:gd name="connsiteX340" fmla="*/ 88678 w 770887"/>
                  <a:gd name="connsiteY340" fmla="*/ 590197 h 599162"/>
                  <a:gd name="connsiteX341" fmla="*/ 84190 w 770887"/>
                  <a:gd name="connsiteY341" fmla="*/ 588703 h 599162"/>
                  <a:gd name="connsiteX342" fmla="*/ 78206 w 770887"/>
                  <a:gd name="connsiteY342" fmla="*/ 588703 h 599162"/>
                  <a:gd name="connsiteX343" fmla="*/ 70725 w 770887"/>
                  <a:gd name="connsiteY343" fmla="*/ 590197 h 599162"/>
                  <a:gd name="connsiteX344" fmla="*/ 61749 w 770887"/>
                  <a:gd name="connsiteY344" fmla="*/ 599162 h 599162"/>
                  <a:gd name="connsiteX345" fmla="*/ 45292 w 770887"/>
                  <a:gd name="connsiteY345" fmla="*/ 599162 h 599162"/>
                  <a:gd name="connsiteX346" fmla="*/ 30331 w 770887"/>
                  <a:gd name="connsiteY346" fmla="*/ 599162 h 599162"/>
                  <a:gd name="connsiteX347" fmla="*/ 30331 w 770887"/>
                  <a:gd name="connsiteY347" fmla="*/ 593185 h 599162"/>
                  <a:gd name="connsiteX348" fmla="*/ 40804 w 770887"/>
                  <a:gd name="connsiteY348" fmla="*/ 581232 h 599162"/>
                  <a:gd name="connsiteX349" fmla="*/ 58757 w 770887"/>
                  <a:gd name="connsiteY349" fmla="*/ 581232 h 599162"/>
                  <a:gd name="connsiteX350" fmla="*/ 66237 w 770887"/>
                  <a:gd name="connsiteY350" fmla="*/ 581232 h 599162"/>
                  <a:gd name="connsiteX351" fmla="*/ 73717 w 770887"/>
                  <a:gd name="connsiteY351" fmla="*/ 576750 h 599162"/>
                  <a:gd name="connsiteX352" fmla="*/ 84190 w 770887"/>
                  <a:gd name="connsiteY352" fmla="*/ 573761 h 599162"/>
                  <a:gd name="connsiteX353" fmla="*/ 88678 w 770887"/>
                  <a:gd name="connsiteY353" fmla="*/ 570773 h 599162"/>
                  <a:gd name="connsiteX354" fmla="*/ 93166 w 770887"/>
                  <a:gd name="connsiteY354" fmla="*/ 563302 h 599162"/>
                  <a:gd name="connsiteX355" fmla="*/ 102143 w 770887"/>
                  <a:gd name="connsiteY355" fmla="*/ 558820 h 599162"/>
                  <a:gd name="connsiteX356" fmla="*/ 115607 w 770887"/>
                  <a:gd name="connsiteY356" fmla="*/ 557325 h 599162"/>
                  <a:gd name="connsiteX357" fmla="*/ 123088 w 770887"/>
                  <a:gd name="connsiteY357" fmla="*/ 557325 h 599162"/>
                  <a:gd name="connsiteX358" fmla="*/ 129072 w 770887"/>
                  <a:gd name="connsiteY358" fmla="*/ 563302 h 599162"/>
                  <a:gd name="connsiteX359" fmla="*/ 135056 w 770887"/>
                  <a:gd name="connsiteY359" fmla="*/ 558820 h 599162"/>
                  <a:gd name="connsiteX360" fmla="*/ 141041 w 770887"/>
                  <a:gd name="connsiteY360" fmla="*/ 549855 h 599162"/>
                  <a:gd name="connsiteX361" fmla="*/ 148521 w 770887"/>
                  <a:gd name="connsiteY361" fmla="*/ 542384 h 599162"/>
                  <a:gd name="connsiteX362" fmla="*/ 156001 w 770887"/>
                  <a:gd name="connsiteY362" fmla="*/ 537901 h 599162"/>
                  <a:gd name="connsiteX363" fmla="*/ 170962 w 770887"/>
                  <a:gd name="connsiteY363" fmla="*/ 534913 h 599162"/>
                  <a:gd name="connsiteX364" fmla="*/ 176946 w 770887"/>
                  <a:gd name="connsiteY364" fmla="*/ 528936 h 599162"/>
                  <a:gd name="connsiteX365" fmla="*/ 184427 w 770887"/>
                  <a:gd name="connsiteY365" fmla="*/ 521465 h 599162"/>
                  <a:gd name="connsiteX366" fmla="*/ 193403 w 770887"/>
                  <a:gd name="connsiteY366" fmla="*/ 513994 h 599162"/>
                  <a:gd name="connsiteX367" fmla="*/ 200884 w 770887"/>
                  <a:gd name="connsiteY367" fmla="*/ 509512 h 599162"/>
                  <a:gd name="connsiteX368" fmla="*/ 203876 w 770887"/>
                  <a:gd name="connsiteY368" fmla="*/ 500547 h 599162"/>
                  <a:gd name="connsiteX369" fmla="*/ 205372 w 770887"/>
                  <a:gd name="connsiteY369" fmla="*/ 487099 h 599162"/>
                  <a:gd name="connsiteX370" fmla="*/ 208364 w 770887"/>
                  <a:gd name="connsiteY370" fmla="*/ 478134 h 599162"/>
                  <a:gd name="connsiteX371" fmla="*/ 209860 w 770887"/>
                  <a:gd name="connsiteY371" fmla="*/ 475146 h 599162"/>
                  <a:gd name="connsiteX372" fmla="*/ 217340 w 770887"/>
                  <a:gd name="connsiteY372" fmla="*/ 464687 h 599162"/>
                  <a:gd name="connsiteX373" fmla="*/ 212852 w 770887"/>
                  <a:gd name="connsiteY373" fmla="*/ 464687 h 599162"/>
                  <a:gd name="connsiteX374" fmla="*/ 205372 w 770887"/>
                  <a:gd name="connsiteY374" fmla="*/ 466181 h 599162"/>
                  <a:gd name="connsiteX375" fmla="*/ 200884 w 770887"/>
                  <a:gd name="connsiteY375" fmla="*/ 466181 h 599162"/>
                  <a:gd name="connsiteX376" fmla="*/ 193403 w 770887"/>
                  <a:gd name="connsiteY376" fmla="*/ 464687 h 599162"/>
                  <a:gd name="connsiteX377" fmla="*/ 190411 w 770887"/>
                  <a:gd name="connsiteY377" fmla="*/ 461699 h 599162"/>
                  <a:gd name="connsiteX378" fmla="*/ 197891 w 770887"/>
                  <a:gd name="connsiteY378" fmla="*/ 454228 h 599162"/>
                  <a:gd name="connsiteX379" fmla="*/ 190411 w 770887"/>
                  <a:gd name="connsiteY379" fmla="*/ 455722 h 599162"/>
                  <a:gd name="connsiteX380" fmla="*/ 185923 w 770887"/>
                  <a:gd name="connsiteY380" fmla="*/ 460204 h 599162"/>
                  <a:gd name="connsiteX381" fmla="*/ 182931 w 770887"/>
                  <a:gd name="connsiteY381" fmla="*/ 470664 h 599162"/>
                  <a:gd name="connsiteX382" fmla="*/ 178442 w 770887"/>
                  <a:gd name="connsiteY382" fmla="*/ 475146 h 599162"/>
                  <a:gd name="connsiteX383" fmla="*/ 176946 w 770887"/>
                  <a:gd name="connsiteY383" fmla="*/ 470664 h 599162"/>
                  <a:gd name="connsiteX384" fmla="*/ 172458 w 770887"/>
                  <a:gd name="connsiteY384" fmla="*/ 464687 h 599162"/>
                  <a:gd name="connsiteX385" fmla="*/ 164978 w 770887"/>
                  <a:gd name="connsiteY385" fmla="*/ 457216 h 599162"/>
                  <a:gd name="connsiteX386" fmla="*/ 153009 w 770887"/>
                  <a:gd name="connsiteY386" fmla="*/ 449745 h 599162"/>
                  <a:gd name="connsiteX387" fmla="*/ 150017 w 770887"/>
                  <a:gd name="connsiteY387" fmla="*/ 449745 h 599162"/>
                  <a:gd name="connsiteX388" fmla="*/ 139545 w 770887"/>
                  <a:gd name="connsiteY388" fmla="*/ 457216 h 599162"/>
                  <a:gd name="connsiteX389" fmla="*/ 133560 w 770887"/>
                  <a:gd name="connsiteY389" fmla="*/ 457216 h 599162"/>
                  <a:gd name="connsiteX390" fmla="*/ 124584 w 770887"/>
                  <a:gd name="connsiteY390" fmla="*/ 457216 h 599162"/>
                  <a:gd name="connsiteX391" fmla="*/ 126080 w 770887"/>
                  <a:gd name="connsiteY391" fmla="*/ 437792 h 599162"/>
                  <a:gd name="connsiteX392" fmla="*/ 127576 w 770887"/>
                  <a:gd name="connsiteY392" fmla="*/ 431815 h 599162"/>
                  <a:gd name="connsiteX393" fmla="*/ 132064 w 770887"/>
                  <a:gd name="connsiteY393" fmla="*/ 425838 h 599162"/>
                  <a:gd name="connsiteX394" fmla="*/ 132064 w 770887"/>
                  <a:gd name="connsiteY394" fmla="*/ 418368 h 599162"/>
                  <a:gd name="connsiteX395" fmla="*/ 130568 w 770887"/>
                  <a:gd name="connsiteY395" fmla="*/ 406414 h 599162"/>
                  <a:gd name="connsiteX396" fmla="*/ 127576 w 770887"/>
                  <a:gd name="connsiteY396" fmla="*/ 394461 h 599162"/>
                  <a:gd name="connsiteX397" fmla="*/ 124584 w 770887"/>
                  <a:gd name="connsiteY397" fmla="*/ 397449 h 599162"/>
                  <a:gd name="connsiteX398" fmla="*/ 118600 w 770887"/>
                  <a:gd name="connsiteY398" fmla="*/ 403426 h 599162"/>
                  <a:gd name="connsiteX399" fmla="*/ 114111 w 770887"/>
                  <a:gd name="connsiteY399" fmla="*/ 406414 h 599162"/>
                  <a:gd name="connsiteX400" fmla="*/ 109623 w 770887"/>
                  <a:gd name="connsiteY400" fmla="*/ 406414 h 599162"/>
                  <a:gd name="connsiteX401" fmla="*/ 105135 w 770887"/>
                  <a:gd name="connsiteY401" fmla="*/ 401932 h 599162"/>
                  <a:gd name="connsiteX402" fmla="*/ 102143 w 770887"/>
                  <a:gd name="connsiteY402" fmla="*/ 401932 h 599162"/>
                  <a:gd name="connsiteX403" fmla="*/ 96158 w 770887"/>
                  <a:gd name="connsiteY403" fmla="*/ 398943 h 599162"/>
                  <a:gd name="connsiteX404" fmla="*/ 91670 w 770887"/>
                  <a:gd name="connsiteY404" fmla="*/ 394461 h 599162"/>
                  <a:gd name="connsiteX405" fmla="*/ 87182 w 770887"/>
                  <a:gd name="connsiteY405" fmla="*/ 391473 h 599162"/>
                  <a:gd name="connsiteX406" fmla="*/ 82694 w 770887"/>
                  <a:gd name="connsiteY406" fmla="*/ 386990 h 599162"/>
                  <a:gd name="connsiteX407" fmla="*/ 81198 w 770887"/>
                  <a:gd name="connsiteY407" fmla="*/ 382508 h 599162"/>
                  <a:gd name="connsiteX408" fmla="*/ 79702 w 770887"/>
                  <a:gd name="connsiteY408" fmla="*/ 372048 h 599162"/>
                  <a:gd name="connsiteX409" fmla="*/ 85686 w 770887"/>
                  <a:gd name="connsiteY409" fmla="*/ 367566 h 599162"/>
                  <a:gd name="connsiteX410" fmla="*/ 91670 w 770887"/>
                  <a:gd name="connsiteY410" fmla="*/ 367566 h 599162"/>
                  <a:gd name="connsiteX411" fmla="*/ 99151 w 770887"/>
                  <a:gd name="connsiteY411" fmla="*/ 367566 h 599162"/>
                  <a:gd name="connsiteX412" fmla="*/ 106631 w 770887"/>
                  <a:gd name="connsiteY412" fmla="*/ 372048 h 599162"/>
                  <a:gd name="connsiteX413" fmla="*/ 109623 w 770887"/>
                  <a:gd name="connsiteY413" fmla="*/ 364578 h 599162"/>
                  <a:gd name="connsiteX414" fmla="*/ 105135 w 770887"/>
                  <a:gd name="connsiteY414" fmla="*/ 360095 h 599162"/>
                  <a:gd name="connsiteX415" fmla="*/ 103639 w 770887"/>
                  <a:gd name="connsiteY415" fmla="*/ 360095 h 599162"/>
                  <a:gd name="connsiteX416" fmla="*/ 96158 w 770887"/>
                  <a:gd name="connsiteY416" fmla="*/ 360095 h 599162"/>
                  <a:gd name="connsiteX417" fmla="*/ 91670 w 770887"/>
                  <a:gd name="connsiteY417" fmla="*/ 360095 h 599162"/>
                  <a:gd name="connsiteX418" fmla="*/ 82694 w 770887"/>
                  <a:gd name="connsiteY418" fmla="*/ 354118 h 599162"/>
                  <a:gd name="connsiteX419" fmla="*/ 79702 w 770887"/>
                  <a:gd name="connsiteY419" fmla="*/ 348142 h 599162"/>
                  <a:gd name="connsiteX420" fmla="*/ 76710 w 770887"/>
                  <a:gd name="connsiteY420" fmla="*/ 340671 h 599162"/>
                  <a:gd name="connsiteX421" fmla="*/ 73717 w 770887"/>
                  <a:gd name="connsiteY421" fmla="*/ 333200 h 599162"/>
                  <a:gd name="connsiteX422" fmla="*/ 73717 w 770887"/>
                  <a:gd name="connsiteY422" fmla="*/ 330212 h 599162"/>
                  <a:gd name="connsiteX423" fmla="*/ 76710 w 770887"/>
                  <a:gd name="connsiteY423" fmla="*/ 327223 h 599162"/>
                  <a:gd name="connsiteX424" fmla="*/ 81198 w 770887"/>
                  <a:gd name="connsiteY424" fmla="*/ 319752 h 599162"/>
                  <a:gd name="connsiteX425" fmla="*/ 88678 w 770887"/>
                  <a:gd name="connsiteY425" fmla="*/ 310787 h 599162"/>
                  <a:gd name="connsiteX426" fmla="*/ 97655 w 770887"/>
                  <a:gd name="connsiteY426" fmla="*/ 304811 h 599162"/>
                  <a:gd name="connsiteX427" fmla="*/ 103639 w 770887"/>
                  <a:gd name="connsiteY427" fmla="*/ 297340 h 599162"/>
                  <a:gd name="connsiteX428" fmla="*/ 105135 w 770887"/>
                  <a:gd name="connsiteY428" fmla="*/ 289869 h 599162"/>
                  <a:gd name="connsiteX429" fmla="*/ 112615 w 770887"/>
                  <a:gd name="connsiteY429" fmla="*/ 282398 h 599162"/>
                  <a:gd name="connsiteX430" fmla="*/ 118600 w 770887"/>
                  <a:gd name="connsiteY430" fmla="*/ 280904 h 599162"/>
                  <a:gd name="connsiteX431" fmla="*/ 123088 w 770887"/>
                  <a:gd name="connsiteY431" fmla="*/ 283892 h 599162"/>
                  <a:gd name="connsiteX432" fmla="*/ 127576 w 770887"/>
                  <a:gd name="connsiteY432" fmla="*/ 289869 h 599162"/>
                  <a:gd name="connsiteX433" fmla="*/ 130568 w 770887"/>
                  <a:gd name="connsiteY433" fmla="*/ 289869 h 599162"/>
                  <a:gd name="connsiteX434" fmla="*/ 136552 w 770887"/>
                  <a:gd name="connsiteY434" fmla="*/ 289869 h 599162"/>
                  <a:gd name="connsiteX435" fmla="*/ 139545 w 770887"/>
                  <a:gd name="connsiteY435" fmla="*/ 289869 h 599162"/>
                  <a:gd name="connsiteX436" fmla="*/ 144033 w 770887"/>
                  <a:gd name="connsiteY436" fmla="*/ 283892 h 599162"/>
                  <a:gd name="connsiteX437" fmla="*/ 148521 w 770887"/>
                  <a:gd name="connsiteY437" fmla="*/ 283892 h 599162"/>
                  <a:gd name="connsiteX438" fmla="*/ 150017 w 770887"/>
                  <a:gd name="connsiteY438" fmla="*/ 280904 h 599162"/>
                  <a:gd name="connsiteX439" fmla="*/ 153009 w 770887"/>
                  <a:gd name="connsiteY439" fmla="*/ 276422 h 599162"/>
                  <a:gd name="connsiteX440" fmla="*/ 154505 w 770887"/>
                  <a:gd name="connsiteY440" fmla="*/ 280904 h 599162"/>
                  <a:gd name="connsiteX441" fmla="*/ 158994 w 770887"/>
                  <a:gd name="connsiteY441" fmla="*/ 280904 h 599162"/>
                  <a:gd name="connsiteX442" fmla="*/ 161986 w 770887"/>
                  <a:gd name="connsiteY442" fmla="*/ 280904 h 599162"/>
                  <a:gd name="connsiteX443" fmla="*/ 167970 w 770887"/>
                  <a:gd name="connsiteY443" fmla="*/ 280904 h 599162"/>
                  <a:gd name="connsiteX444" fmla="*/ 172458 w 770887"/>
                  <a:gd name="connsiteY444" fmla="*/ 276422 h 599162"/>
                  <a:gd name="connsiteX445" fmla="*/ 176946 w 770887"/>
                  <a:gd name="connsiteY445" fmla="*/ 276422 h 599162"/>
                  <a:gd name="connsiteX446" fmla="*/ 178442 w 770887"/>
                  <a:gd name="connsiteY446" fmla="*/ 265962 h 599162"/>
                  <a:gd name="connsiteX447" fmla="*/ 175450 w 770887"/>
                  <a:gd name="connsiteY447" fmla="*/ 258491 h 599162"/>
                  <a:gd name="connsiteX448" fmla="*/ 172458 w 770887"/>
                  <a:gd name="connsiteY448" fmla="*/ 246538 h 599162"/>
                  <a:gd name="connsiteX449" fmla="*/ 178442 w 770887"/>
                  <a:gd name="connsiteY449" fmla="*/ 246538 h 599162"/>
                  <a:gd name="connsiteX450" fmla="*/ 184427 w 770887"/>
                  <a:gd name="connsiteY450" fmla="*/ 240561 h 599162"/>
                  <a:gd name="connsiteX451" fmla="*/ 182931 w 770887"/>
                  <a:gd name="connsiteY451" fmla="*/ 231596 h 599162"/>
                  <a:gd name="connsiteX452" fmla="*/ 173954 w 770887"/>
                  <a:gd name="connsiteY452" fmla="*/ 230102 h 599162"/>
                  <a:gd name="connsiteX453" fmla="*/ 169466 w 770887"/>
                  <a:gd name="connsiteY453" fmla="*/ 230102 h 599162"/>
                  <a:gd name="connsiteX454" fmla="*/ 164978 w 770887"/>
                  <a:gd name="connsiteY454" fmla="*/ 231596 h 599162"/>
                  <a:gd name="connsiteX455" fmla="*/ 160490 w 770887"/>
                  <a:gd name="connsiteY455" fmla="*/ 234585 h 599162"/>
                  <a:gd name="connsiteX456" fmla="*/ 157497 w 770887"/>
                  <a:gd name="connsiteY456" fmla="*/ 240561 h 599162"/>
                  <a:gd name="connsiteX457" fmla="*/ 153009 w 770887"/>
                  <a:gd name="connsiteY457" fmla="*/ 240561 h 599162"/>
                  <a:gd name="connsiteX458" fmla="*/ 148521 w 770887"/>
                  <a:gd name="connsiteY458" fmla="*/ 231596 h 599162"/>
                  <a:gd name="connsiteX459" fmla="*/ 136552 w 770887"/>
                  <a:gd name="connsiteY459" fmla="*/ 231596 h 599162"/>
                  <a:gd name="connsiteX460" fmla="*/ 123088 w 770887"/>
                  <a:gd name="connsiteY460" fmla="*/ 231596 h 599162"/>
                  <a:gd name="connsiteX461" fmla="*/ 112615 w 770887"/>
                  <a:gd name="connsiteY461" fmla="*/ 228608 h 599162"/>
                  <a:gd name="connsiteX462" fmla="*/ 102143 w 770887"/>
                  <a:gd name="connsiteY462" fmla="*/ 224125 h 599162"/>
                  <a:gd name="connsiteX463" fmla="*/ 96158 w 770887"/>
                  <a:gd name="connsiteY463" fmla="*/ 216654 h 599162"/>
                  <a:gd name="connsiteX464" fmla="*/ 94662 w 770887"/>
                  <a:gd name="connsiteY464" fmla="*/ 201713 h 599162"/>
                  <a:gd name="connsiteX465" fmla="*/ 102143 w 770887"/>
                  <a:gd name="connsiteY465" fmla="*/ 198724 h 599162"/>
                  <a:gd name="connsiteX466" fmla="*/ 106631 w 770887"/>
                  <a:gd name="connsiteY466" fmla="*/ 195736 h 599162"/>
                  <a:gd name="connsiteX467" fmla="*/ 96158 w 770887"/>
                  <a:gd name="connsiteY467" fmla="*/ 191254 h 599162"/>
                  <a:gd name="connsiteX468" fmla="*/ 90174 w 770887"/>
                  <a:gd name="connsiteY468" fmla="*/ 186771 h 599162"/>
                  <a:gd name="connsiteX469" fmla="*/ 82694 w 770887"/>
                  <a:gd name="connsiteY469" fmla="*/ 180794 h 599162"/>
                  <a:gd name="connsiteX470" fmla="*/ 81198 w 770887"/>
                  <a:gd name="connsiteY470" fmla="*/ 177806 h 599162"/>
                  <a:gd name="connsiteX471" fmla="*/ 87182 w 770887"/>
                  <a:gd name="connsiteY471" fmla="*/ 173324 h 599162"/>
                  <a:gd name="connsiteX472" fmla="*/ 91670 w 770887"/>
                  <a:gd name="connsiteY472" fmla="*/ 173324 h 599162"/>
                  <a:gd name="connsiteX473" fmla="*/ 100647 w 770887"/>
                  <a:gd name="connsiteY473" fmla="*/ 171829 h 599162"/>
                  <a:gd name="connsiteX474" fmla="*/ 112615 w 770887"/>
                  <a:gd name="connsiteY474" fmla="*/ 164359 h 599162"/>
                  <a:gd name="connsiteX475" fmla="*/ 114111 w 770887"/>
                  <a:gd name="connsiteY475" fmla="*/ 167347 h 599162"/>
                  <a:gd name="connsiteX476" fmla="*/ 121592 w 770887"/>
                  <a:gd name="connsiteY476" fmla="*/ 164359 h 599162"/>
                  <a:gd name="connsiteX477" fmla="*/ 121592 w 770887"/>
                  <a:gd name="connsiteY477" fmla="*/ 162864 h 599162"/>
                  <a:gd name="connsiteX478" fmla="*/ 126080 w 770887"/>
                  <a:gd name="connsiteY478" fmla="*/ 161370 h 599162"/>
                  <a:gd name="connsiteX479" fmla="*/ 135056 w 770887"/>
                  <a:gd name="connsiteY479" fmla="*/ 159876 h 599162"/>
                  <a:gd name="connsiteX480" fmla="*/ 145529 w 770887"/>
                  <a:gd name="connsiteY480" fmla="*/ 159876 h 599162"/>
                  <a:gd name="connsiteX481" fmla="*/ 150017 w 770887"/>
                  <a:gd name="connsiteY481" fmla="*/ 162864 h 599162"/>
                  <a:gd name="connsiteX482" fmla="*/ 147025 w 770887"/>
                  <a:gd name="connsiteY482" fmla="*/ 170335 h 599162"/>
                  <a:gd name="connsiteX483" fmla="*/ 147025 w 770887"/>
                  <a:gd name="connsiteY483" fmla="*/ 173324 h 599162"/>
                  <a:gd name="connsiteX484" fmla="*/ 151513 w 770887"/>
                  <a:gd name="connsiteY484" fmla="*/ 176312 h 599162"/>
                  <a:gd name="connsiteX485" fmla="*/ 156001 w 770887"/>
                  <a:gd name="connsiteY485" fmla="*/ 180794 h 599162"/>
                  <a:gd name="connsiteX486" fmla="*/ 164978 w 770887"/>
                  <a:gd name="connsiteY486" fmla="*/ 180794 h 599162"/>
                  <a:gd name="connsiteX487" fmla="*/ 176946 w 770887"/>
                  <a:gd name="connsiteY487" fmla="*/ 183783 h 599162"/>
                  <a:gd name="connsiteX488" fmla="*/ 185923 w 770887"/>
                  <a:gd name="connsiteY488" fmla="*/ 179300 h 599162"/>
                  <a:gd name="connsiteX489" fmla="*/ 191907 w 770887"/>
                  <a:gd name="connsiteY489" fmla="*/ 173324 h 599162"/>
                  <a:gd name="connsiteX490" fmla="*/ 199387 w 770887"/>
                  <a:gd name="connsiteY490" fmla="*/ 168841 h 599162"/>
                  <a:gd name="connsiteX491" fmla="*/ 191907 w 770887"/>
                  <a:gd name="connsiteY491" fmla="*/ 165853 h 599162"/>
                  <a:gd name="connsiteX492" fmla="*/ 185923 w 770887"/>
                  <a:gd name="connsiteY492" fmla="*/ 162864 h 599162"/>
                  <a:gd name="connsiteX493" fmla="*/ 181435 w 770887"/>
                  <a:gd name="connsiteY493" fmla="*/ 159876 h 599162"/>
                  <a:gd name="connsiteX494" fmla="*/ 181435 w 770887"/>
                  <a:gd name="connsiteY494" fmla="*/ 153899 h 599162"/>
                  <a:gd name="connsiteX495" fmla="*/ 179939 w 770887"/>
                  <a:gd name="connsiteY495" fmla="*/ 146428 h 599162"/>
                  <a:gd name="connsiteX496" fmla="*/ 157497 w 770887"/>
                  <a:gd name="connsiteY496" fmla="*/ 140452 h 599162"/>
                  <a:gd name="connsiteX497" fmla="*/ 157497 w 770887"/>
                  <a:gd name="connsiteY497" fmla="*/ 118039 h 599162"/>
                  <a:gd name="connsiteX498" fmla="*/ 147025 w 770887"/>
                  <a:gd name="connsiteY498" fmla="*/ 107580 h 599162"/>
                  <a:gd name="connsiteX499" fmla="*/ 126080 w 770887"/>
                  <a:gd name="connsiteY499" fmla="*/ 85168 h 599162"/>
                  <a:gd name="connsiteX500" fmla="*/ 129072 w 770887"/>
                  <a:gd name="connsiteY500" fmla="*/ 85168 h 599162"/>
                  <a:gd name="connsiteX501" fmla="*/ 129072 w 770887"/>
                  <a:gd name="connsiteY501" fmla="*/ 80685 h 599162"/>
                  <a:gd name="connsiteX502" fmla="*/ 136552 w 770887"/>
                  <a:gd name="connsiteY502" fmla="*/ 80685 h 599162"/>
                  <a:gd name="connsiteX503" fmla="*/ 136552 w 770887"/>
                  <a:gd name="connsiteY503" fmla="*/ 74708 h 599162"/>
                  <a:gd name="connsiteX504" fmla="*/ 138048 w 770887"/>
                  <a:gd name="connsiteY504" fmla="*/ 67238 h 599162"/>
                  <a:gd name="connsiteX505" fmla="*/ 142537 w 770887"/>
                  <a:gd name="connsiteY505" fmla="*/ 67238 h 599162"/>
                  <a:gd name="connsiteX506" fmla="*/ 147025 w 770887"/>
                  <a:gd name="connsiteY506" fmla="*/ 70226 h 599162"/>
                  <a:gd name="connsiteX507" fmla="*/ 154505 w 770887"/>
                  <a:gd name="connsiteY507" fmla="*/ 70226 h 599162"/>
                  <a:gd name="connsiteX508" fmla="*/ 157497 w 770887"/>
                  <a:gd name="connsiteY508" fmla="*/ 70226 h 599162"/>
                  <a:gd name="connsiteX509" fmla="*/ 164978 w 770887"/>
                  <a:gd name="connsiteY509" fmla="*/ 70226 h 599162"/>
                  <a:gd name="connsiteX510" fmla="*/ 178442 w 770887"/>
                  <a:gd name="connsiteY510" fmla="*/ 65743 h 599162"/>
                  <a:gd name="connsiteX511" fmla="*/ 182931 w 770887"/>
                  <a:gd name="connsiteY511" fmla="*/ 61261 h 599162"/>
                  <a:gd name="connsiteX512" fmla="*/ 187419 w 770887"/>
                  <a:gd name="connsiteY512" fmla="*/ 53790 h 599162"/>
                  <a:gd name="connsiteX513" fmla="*/ 187419 w 770887"/>
                  <a:gd name="connsiteY513" fmla="*/ 41837 h 599162"/>
                  <a:gd name="connsiteX514" fmla="*/ 191907 w 770887"/>
                  <a:gd name="connsiteY514" fmla="*/ 41837 h 599162"/>
                  <a:gd name="connsiteX515" fmla="*/ 196395 w 770887"/>
                  <a:gd name="connsiteY515" fmla="*/ 37354 h 599162"/>
                  <a:gd name="connsiteX516" fmla="*/ 205372 w 770887"/>
                  <a:gd name="connsiteY516" fmla="*/ 29883 h 599162"/>
                  <a:gd name="connsiteX517" fmla="*/ 221829 w 770887"/>
                  <a:gd name="connsiteY517" fmla="*/ 26895 h 599162"/>
                  <a:gd name="connsiteX518" fmla="*/ 227813 w 770887"/>
                  <a:gd name="connsiteY518" fmla="*/ 19424 h 599162"/>
                  <a:gd name="connsiteX519" fmla="*/ 233797 w 770887"/>
                  <a:gd name="connsiteY519" fmla="*/ 16436 h 599162"/>
                  <a:gd name="connsiteX520" fmla="*/ 238285 w 770887"/>
                  <a:gd name="connsiteY520" fmla="*/ 11953 h 599162"/>
                  <a:gd name="connsiteX521" fmla="*/ 262223 w 770887"/>
                  <a:gd name="connsiteY521" fmla="*/ 13447 h 599162"/>
                  <a:gd name="connsiteX522" fmla="*/ 265215 w 770887"/>
                  <a:gd name="connsiteY522" fmla="*/ 5977 h 599162"/>
                  <a:gd name="connsiteX523" fmla="*/ 277183 w 770887"/>
                  <a:gd name="connsiteY523" fmla="*/ 0 h 59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Lst>
                <a:rect l="l" t="t" r="r" b="b"/>
                <a:pathLst>
                  <a:path w="770887" h="599162">
                    <a:moveTo>
                      <a:pt x="302516" y="482511"/>
                    </a:moveTo>
                    <a:lnTo>
                      <a:pt x="307819" y="487813"/>
                    </a:lnTo>
                    <a:lnTo>
                      <a:pt x="318423" y="494883"/>
                    </a:lnTo>
                    <a:lnTo>
                      <a:pt x="311354" y="496651"/>
                    </a:lnTo>
                    <a:lnTo>
                      <a:pt x="307819" y="496651"/>
                    </a:lnTo>
                    <a:lnTo>
                      <a:pt x="300749" y="501953"/>
                    </a:lnTo>
                    <a:lnTo>
                      <a:pt x="300749" y="503720"/>
                    </a:lnTo>
                    <a:lnTo>
                      <a:pt x="300749" y="509023"/>
                    </a:lnTo>
                    <a:lnTo>
                      <a:pt x="304284" y="509023"/>
                    </a:lnTo>
                    <a:lnTo>
                      <a:pt x="311354" y="517860"/>
                    </a:lnTo>
                    <a:lnTo>
                      <a:pt x="311354" y="521395"/>
                    </a:lnTo>
                    <a:lnTo>
                      <a:pt x="306051" y="523162"/>
                    </a:lnTo>
                    <a:lnTo>
                      <a:pt x="302516" y="523162"/>
                    </a:lnTo>
                    <a:lnTo>
                      <a:pt x="298982" y="524930"/>
                    </a:lnTo>
                    <a:lnTo>
                      <a:pt x="297214" y="524930"/>
                    </a:lnTo>
                    <a:lnTo>
                      <a:pt x="291912" y="528465"/>
                    </a:lnTo>
                    <a:lnTo>
                      <a:pt x="291912" y="533767"/>
                    </a:lnTo>
                    <a:lnTo>
                      <a:pt x="291912" y="535534"/>
                    </a:lnTo>
                    <a:lnTo>
                      <a:pt x="288377" y="540837"/>
                    </a:lnTo>
                    <a:lnTo>
                      <a:pt x="283075" y="531999"/>
                    </a:lnTo>
                    <a:lnTo>
                      <a:pt x="283075" y="533767"/>
                    </a:lnTo>
                    <a:lnTo>
                      <a:pt x="281307" y="537302"/>
                    </a:lnTo>
                    <a:lnTo>
                      <a:pt x="276005" y="542604"/>
                    </a:lnTo>
                    <a:lnTo>
                      <a:pt x="272470" y="549674"/>
                    </a:lnTo>
                    <a:lnTo>
                      <a:pt x="272470" y="551441"/>
                    </a:lnTo>
                    <a:lnTo>
                      <a:pt x="272470" y="558511"/>
                    </a:lnTo>
                    <a:lnTo>
                      <a:pt x="256563" y="558511"/>
                    </a:lnTo>
                    <a:lnTo>
                      <a:pt x="268935" y="554976"/>
                    </a:lnTo>
                    <a:lnTo>
                      <a:pt x="270703" y="551441"/>
                    </a:lnTo>
                    <a:lnTo>
                      <a:pt x="272470" y="547906"/>
                    </a:lnTo>
                    <a:lnTo>
                      <a:pt x="270703" y="542604"/>
                    </a:lnTo>
                    <a:lnTo>
                      <a:pt x="267168" y="540837"/>
                    </a:lnTo>
                    <a:lnTo>
                      <a:pt x="265400" y="540837"/>
                    </a:lnTo>
                    <a:lnTo>
                      <a:pt x="261866" y="537302"/>
                    </a:lnTo>
                    <a:lnTo>
                      <a:pt x="261866" y="535534"/>
                    </a:lnTo>
                    <a:lnTo>
                      <a:pt x="260098" y="524930"/>
                    </a:lnTo>
                    <a:lnTo>
                      <a:pt x="263633" y="521395"/>
                    </a:lnTo>
                    <a:lnTo>
                      <a:pt x="265400" y="517860"/>
                    </a:lnTo>
                    <a:lnTo>
                      <a:pt x="270703" y="514325"/>
                    </a:lnTo>
                    <a:lnTo>
                      <a:pt x="272470" y="516093"/>
                    </a:lnTo>
                    <a:lnTo>
                      <a:pt x="277772" y="521395"/>
                    </a:lnTo>
                    <a:lnTo>
                      <a:pt x="281307" y="528465"/>
                    </a:lnTo>
                    <a:lnTo>
                      <a:pt x="281307" y="521395"/>
                    </a:lnTo>
                    <a:lnTo>
                      <a:pt x="279540" y="514325"/>
                    </a:lnTo>
                    <a:lnTo>
                      <a:pt x="276005" y="509023"/>
                    </a:lnTo>
                    <a:lnTo>
                      <a:pt x="281307" y="507255"/>
                    </a:lnTo>
                    <a:lnTo>
                      <a:pt x="288377" y="510790"/>
                    </a:lnTo>
                    <a:lnTo>
                      <a:pt x="291912" y="510790"/>
                    </a:lnTo>
                    <a:lnTo>
                      <a:pt x="291912" y="507255"/>
                    </a:lnTo>
                    <a:lnTo>
                      <a:pt x="291912" y="505488"/>
                    </a:lnTo>
                    <a:lnTo>
                      <a:pt x="291912" y="501953"/>
                    </a:lnTo>
                    <a:lnTo>
                      <a:pt x="291912" y="496651"/>
                    </a:lnTo>
                    <a:lnTo>
                      <a:pt x="290144" y="493116"/>
                    </a:lnTo>
                    <a:lnTo>
                      <a:pt x="297214" y="487813"/>
                    </a:lnTo>
                    <a:close/>
                    <a:moveTo>
                      <a:pt x="55075" y="374697"/>
                    </a:moveTo>
                    <a:lnTo>
                      <a:pt x="58610" y="374697"/>
                    </a:lnTo>
                    <a:lnTo>
                      <a:pt x="63912" y="385302"/>
                    </a:lnTo>
                    <a:lnTo>
                      <a:pt x="63912" y="390604"/>
                    </a:lnTo>
                    <a:lnTo>
                      <a:pt x="60377" y="395906"/>
                    </a:lnTo>
                    <a:lnTo>
                      <a:pt x="56842" y="395906"/>
                    </a:lnTo>
                    <a:lnTo>
                      <a:pt x="51540" y="395906"/>
                    </a:lnTo>
                    <a:lnTo>
                      <a:pt x="44470" y="390604"/>
                    </a:lnTo>
                    <a:lnTo>
                      <a:pt x="35633" y="383534"/>
                    </a:lnTo>
                    <a:lnTo>
                      <a:pt x="44470" y="378232"/>
                    </a:lnTo>
                    <a:lnTo>
                      <a:pt x="49773" y="378232"/>
                    </a:lnTo>
                    <a:close/>
                    <a:moveTo>
                      <a:pt x="4447" y="224465"/>
                    </a:moveTo>
                    <a:cubicBezTo>
                      <a:pt x="4447" y="224465"/>
                      <a:pt x="4447" y="224465"/>
                      <a:pt x="5929" y="230488"/>
                    </a:cubicBezTo>
                    <a:cubicBezTo>
                      <a:pt x="5929" y="230488"/>
                      <a:pt x="5929" y="230488"/>
                      <a:pt x="8894" y="233499"/>
                    </a:cubicBezTo>
                    <a:cubicBezTo>
                      <a:pt x="8894" y="233499"/>
                      <a:pt x="8894" y="233499"/>
                      <a:pt x="16306" y="235005"/>
                    </a:cubicBezTo>
                    <a:cubicBezTo>
                      <a:pt x="16306" y="235005"/>
                      <a:pt x="16306" y="235005"/>
                      <a:pt x="23717" y="235005"/>
                    </a:cubicBezTo>
                    <a:cubicBezTo>
                      <a:pt x="23717" y="235005"/>
                      <a:pt x="23717" y="235005"/>
                      <a:pt x="28164" y="238016"/>
                    </a:cubicBezTo>
                    <a:cubicBezTo>
                      <a:pt x="28164" y="238016"/>
                      <a:pt x="28164" y="238016"/>
                      <a:pt x="28164" y="242533"/>
                    </a:cubicBezTo>
                    <a:cubicBezTo>
                      <a:pt x="28164" y="242533"/>
                      <a:pt x="28164" y="242533"/>
                      <a:pt x="31129" y="245544"/>
                    </a:cubicBezTo>
                    <a:cubicBezTo>
                      <a:pt x="31129" y="245544"/>
                      <a:pt x="31129" y="245544"/>
                      <a:pt x="37058" y="251566"/>
                    </a:cubicBezTo>
                    <a:cubicBezTo>
                      <a:pt x="37058" y="251566"/>
                      <a:pt x="37058" y="251566"/>
                      <a:pt x="44470" y="262106"/>
                    </a:cubicBezTo>
                    <a:cubicBezTo>
                      <a:pt x="44470" y="262106"/>
                      <a:pt x="44470" y="262106"/>
                      <a:pt x="40023" y="262106"/>
                    </a:cubicBezTo>
                    <a:cubicBezTo>
                      <a:pt x="40023" y="262106"/>
                      <a:pt x="40023" y="262106"/>
                      <a:pt x="31129" y="262106"/>
                    </a:cubicBezTo>
                    <a:lnTo>
                      <a:pt x="29647" y="265117"/>
                    </a:lnTo>
                    <a:cubicBezTo>
                      <a:pt x="29647" y="265117"/>
                      <a:pt x="29647" y="265117"/>
                      <a:pt x="23717" y="259095"/>
                    </a:cubicBezTo>
                    <a:cubicBezTo>
                      <a:pt x="23717" y="259095"/>
                      <a:pt x="23717" y="259095"/>
                      <a:pt x="20753" y="250061"/>
                    </a:cubicBezTo>
                    <a:cubicBezTo>
                      <a:pt x="20753" y="250061"/>
                      <a:pt x="20753" y="250061"/>
                      <a:pt x="19270" y="247050"/>
                    </a:cubicBezTo>
                    <a:cubicBezTo>
                      <a:pt x="19270" y="247050"/>
                      <a:pt x="19270" y="247050"/>
                      <a:pt x="16306" y="244038"/>
                    </a:cubicBezTo>
                    <a:cubicBezTo>
                      <a:pt x="16306" y="244038"/>
                      <a:pt x="16306" y="244038"/>
                      <a:pt x="14823" y="244038"/>
                    </a:cubicBezTo>
                    <a:cubicBezTo>
                      <a:pt x="14823" y="244038"/>
                      <a:pt x="14823" y="244038"/>
                      <a:pt x="13341" y="244038"/>
                    </a:cubicBezTo>
                    <a:cubicBezTo>
                      <a:pt x="13341" y="244038"/>
                      <a:pt x="10376" y="244038"/>
                      <a:pt x="10376" y="244038"/>
                    </a:cubicBezTo>
                    <a:cubicBezTo>
                      <a:pt x="8894" y="242533"/>
                      <a:pt x="8894" y="244038"/>
                      <a:pt x="8894" y="244038"/>
                    </a:cubicBezTo>
                    <a:cubicBezTo>
                      <a:pt x="8894" y="244038"/>
                      <a:pt x="8894" y="244038"/>
                      <a:pt x="4447" y="244038"/>
                    </a:cubicBezTo>
                    <a:cubicBezTo>
                      <a:pt x="-1483" y="242533"/>
                      <a:pt x="2964" y="242533"/>
                      <a:pt x="2964" y="242533"/>
                    </a:cubicBezTo>
                    <a:cubicBezTo>
                      <a:pt x="1482" y="241027"/>
                      <a:pt x="1482" y="241027"/>
                      <a:pt x="1482" y="239521"/>
                    </a:cubicBezTo>
                    <a:cubicBezTo>
                      <a:pt x="1482" y="239521"/>
                      <a:pt x="0" y="236510"/>
                      <a:pt x="0" y="235005"/>
                    </a:cubicBezTo>
                    <a:cubicBezTo>
                      <a:pt x="0" y="235005"/>
                      <a:pt x="0" y="230488"/>
                      <a:pt x="0" y="230488"/>
                    </a:cubicBezTo>
                    <a:cubicBezTo>
                      <a:pt x="0" y="230488"/>
                      <a:pt x="0" y="230488"/>
                      <a:pt x="4447" y="224465"/>
                    </a:cubicBezTo>
                    <a:close/>
                    <a:moveTo>
                      <a:pt x="277183" y="0"/>
                    </a:moveTo>
                    <a:cubicBezTo>
                      <a:pt x="277183" y="0"/>
                      <a:pt x="277183" y="0"/>
                      <a:pt x="283168" y="5977"/>
                    </a:cubicBezTo>
                    <a:cubicBezTo>
                      <a:pt x="283168" y="5977"/>
                      <a:pt x="283168" y="5977"/>
                      <a:pt x="286160" y="10459"/>
                    </a:cubicBezTo>
                    <a:cubicBezTo>
                      <a:pt x="286160" y="10459"/>
                      <a:pt x="286160" y="10459"/>
                      <a:pt x="283168" y="10459"/>
                    </a:cubicBezTo>
                    <a:cubicBezTo>
                      <a:pt x="283168" y="10459"/>
                      <a:pt x="283168" y="10459"/>
                      <a:pt x="283168" y="14942"/>
                    </a:cubicBezTo>
                    <a:cubicBezTo>
                      <a:pt x="283168" y="14942"/>
                      <a:pt x="283168" y="14942"/>
                      <a:pt x="287656" y="17930"/>
                    </a:cubicBezTo>
                    <a:cubicBezTo>
                      <a:pt x="287656" y="17930"/>
                      <a:pt x="287656" y="17930"/>
                      <a:pt x="293640" y="17930"/>
                    </a:cubicBezTo>
                    <a:cubicBezTo>
                      <a:pt x="293640" y="17930"/>
                      <a:pt x="293640" y="17930"/>
                      <a:pt x="293640" y="13447"/>
                    </a:cubicBezTo>
                    <a:cubicBezTo>
                      <a:pt x="293640" y="13447"/>
                      <a:pt x="293640" y="13447"/>
                      <a:pt x="296632" y="10459"/>
                    </a:cubicBezTo>
                    <a:cubicBezTo>
                      <a:pt x="296632" y="10459"/>
                      <a:pt x="296632" y="10459"/>
                      <a:pt x="299624" y="13447"/>
                    </a:cubicBezTo>
                    <a:cubicBezTo>
                      <a:pt x="299624" y="13447"/>
                      <a:pt x="299624" y="13447"/>
                      <a:pt x="304113" y="19424"/>
                    </a:cubicBezTo>
                    <a:cubicBezTo>
                      <a:pt x="304113" y="19424"/>
                      <a:pt x="304113" y="19424"/>
                      <a:pt x="313089" y="17930"/>
                    </a:cubicBezTo>
                    <a:cubicBezTo>
                      <a:pt x="313089" y="17930"/>
                      <a:pt x="313089" y="17930"/>
                      <a:pt x="325058" y="20918"/>
                    </a:cubicBezTo>
                    <a:cubicBezTo>
                      <a:pt x="325058" y="20918"/>
                      <a:pt x="325058" y="20918"/>
                      <a:pt x="325058" y="25401"/>
                    </a:cubicBezTo>
                    <a:cubicBezTo>
                      <a:pt x="325058" y="25401"/>
                      <a:pt x="325058" y="25401"/>
                      <a:pt x="328050" y="31377"/>
                    </a:cubicBezTo>
                    <a:cubicBezTo>
                      <a:pt x="328050" y="31377"/>
                      <a:pt x="328050" y="31377"/>
                      <a:pt x="335530" y="37354"/>
                    </a:cubicBezTo>
                    <a:cubicBezTo>
                      <a:pt x="335530" y="37354"/>
                      <a:pt x="335530" y="37354"/>
                      <a:pt x="351987" y="37354"/>
                    </a:cubicBezTo>
                    <a:cubicBezTo>
                      <a:pt x="351987" y="37354"/>
                      <a:pt x="351987" y="37354"/>
                      <a:pt x="356475" y="37354"/>
                    </a:cubicBezTo>
                    <a:cubicBezTo>
                      <a:pt x="356475" y="37354"/>
                      <a:pt x="356475" y="37354"/>
                      <a:pt x="360963" y="34366"/>
                    </a:cubicBezTo>
                    <a:cubicBezTo>
                      <a:pt x="360963" y="34366"/>
                      <a:pt x="360963" y="34366"/>
                      <a:pt x="366948" y="34366"/>
                    </a:cubicBezTo>
                    <a:cubicBezTo>
                      <a:pt x="366948" y="34366"/>
                      <a:pt x="366948" y="34366"/>
                      <a:pt x="374428" y="38848"/>
                    </a:cubicBezTo>
                    <a:cubicBezTo>
                      <a:pt x="374428" y="38848"/>
                      <a:pt x="374428" y="38848"/>
                      <a:pt x="375924" y="43331"/>
                    </a:cubicBezTo>
                    <a:cubicBezTo>
                      <a:pt x="375924" y="43331"/>
                      <a:pt x="375924" y="43331"/>
                      <a:pt x="375924" y="47813"/>
                    </a:cubicBezTo>
                    <a:cubicBezTo>
                      <a:pt x="375924" y="47813"/>
                      <a:pt x="375924" y="47813"/>
                      <a:pt x="375924" y="48560"/>
                    </a:cubicBezTo>
                    <a:lnTo>
                      <a:pt x="375924" y="50802"/>
                    </a:lnTo>
                    <a:cubicBezTo>
                      <a:pt x="375924" y="50802"/>
                      <a:pt x="375924" y="50802"/>
                      <a:pt x="383404" y="46319"/>
                    </a:cubicBezTo>
                    <a:cubicBezTo>
                      <a:pt x="383404" y="46319"/>
                      <a:pt x="383404" y="46319"/>
                      <a:pt x="392381" y="43331"/>
                    </a:cubicBezTo>
                    <a:cubicBezTo>
                      <a:pt x="392381" y="43331"/>
                      <a:pt x="392381" y="43331"/>
                      <a:pt x="398365" y="43331"/>
                    </a:cubicBezTo>
                    <a:cubicBezTo>
                      <a:pt x="398365" y="43331"/>
                      <a:pt x="398365" y="43331"/>
                      <a:pt x="410334" y="47813"/>
                    </a:cubicBezTo>
                    <a:cubicBezTo>
                      <a:pt x="410334" y="47813"/>
                      <a:pt x="410334" y="47813"/>
                      <a:pt x="420806" y="50802"/>
                    </a:cubicBezTo>
                    <a:cubicBezTo>
                      <a:pt x="420806" y="50802"/>
                      <a:pt x="420806" y="50802"/>
                      <a:pt x="432775" y="47813"/>
                    </a:cubicBezTo>
                    <a:cubicBezTo>
                      <a:pt x="432775" y="47813"/>
                      <a:pt x="432775" y="47813"/>
                      <a:pt x="438759" y="43331"/>
                    </a:cubicBezTo>
                    <a:cubicBezTo>
                      <a:pt x="438759" y="43331"/>
                      <a:pt x="438759" y="43331"/>
                      <a:pt x="444743" y="43331"/>
                    </a:cubicBezTo>
                    <a:cubicBezTo>
                      <a:pt x="444743" y="43331"/>
                      <a:pt x="444743" y="43331"/>
                      <a:pt x="447736" y="43331"/>
                    </a:cubicBezTo>
                    <a:cubicBezTo>
                      <a:pt x="447736" y="43331"/>
                      <a:pt x="447736" y="43331"/>
                      <a:pt x="455216" y="50802"/>
                    </a:cubicBezTo>
                    <a:cubicBezTo>
                      <a:pt x="455216" y="50802"/>
                      <a:pt x="455216" y="50802"/>
                      <a:pt x="462696" y="56778"/>
                    </a:cubicBezTo>
                    <a:cubicBezTo>
                      <a:pt x="462696" y="56778"/>
                      <a:pt x="462696" y="56778"/>
                      <a:pt x="476161" y="58272"/>
                    </a:cubicBezTo>
                    <a:lnTo>
                      <a:pt x="482145" y="110568"/>
                    </a:lnTo>
                    <a:cubicBezTo>
                      <a:pt x="482145" y="110568"/>
                      <a:pt x="482145" y="110568"/>
                      <a:pt x="500098" y="242056"/>
                    </a:cubicBezTo>
                    <a:cubicBezTo>
                      <a:pt x="500098" y="242056"/>
                      <a:pt x="500098" y="242056"/>
                      <a:pt x="521043" y="400438"/>
                    </a:cubicBezTo>
                    <a:cubicBezTo>
                      <a:pt x="521043" y="400438"/>
                      <a:pt x="521043" y="400438"/>
                      <a:pt x="525531" y="409403"/>
                    </a:cubicBezTo>
                    <a:cubicBezTo>
                      <a:pt x="525531" y="409403"/>
                      <a:pt x="525531" y="409403"/>
                      <a:pt x="540492" y="409403"/>
                    </a:cubicBezTo>
                    <a:cubicBezTo>
                      <a:pt x="540492" y="409403"/>
                      <a:pt x="540492" y="409403"/>
                      <a:pt x="543484" y="400438"/>
                    </a:cubicBezTo>
                    <a:cubicBezTo>
                      <a:pt x="543484" y="400438"/>
                      <a:pt x="543484" y="400438"/>
                      <a:pt x="555453" y="400438"/>
                    </a:cubicBezTo>
                    <a:cubicBezTo>
                      <a:pt x="555453" y="400438"/>
                      <a:pt x="555453" y="400438"/>
                      <a:pt x="555453" y="404920"/>
                    </a:cubicBezTo>
                    <a:cubicBezTo>
                      <a:pt x="555453" y="404920"/>
                      <a:pt x="555453" y="404920"/>
                      <a:pt x="559941" y="410897"/>
                    </a:cubicBezTo>
                    <a:cubicBezTo>
                      <a:pt x="559941" y="410897"/>
                      <a:pt x="559941" y="410897"/>
                      <a:pt x="579390" y="424344"/>
                    </a:cubicBezTo>
                    <a:cubicBezTo>
                      <a:pt x="579390" y="424344"/>
                      <a:pt x="579390" y="424344"/>
                      <a:pt x="595847" y="442274"/>
                    </a:cubicBezTo>
                    <a:cubicBezTo>
                      <a:pt x="595847" y="442274"/>
                      <a:pt x="595847" y="442274"/>
                      <a:pt x="604823" y="434803"/>
                    </a:cubicBezTo>
                    <a:cubicBezTo>
                      <a:pt x="604823" y="434803"/>
                      <a:pt x="604823" y="434803"/>
                      <a:pt x="610807" y="419862"/>
                    </a:cubicBezTo>
                    <a:cubicBezTo>
                      <a:pt x="610807" y="419862"/>
                      <a:pt x="610807" y="419862"/>
                      <a:pt x="618288" y="412391"/>
                    </a:cubicBezTo>
                    <a:cubicBezTo>
                      <a:pt x="618288" y="412391"/>
                      <a:pt x="618288" y="412391"/>
                      <a:pt x="625768" y="407908"/>
                    </a:cubicBezTo>
                    <a:cubicBezTo>
                      <a:pt x="625768" y="407908"/>
                      <a:pt x="625768" y="407908"/>
                      <a:pt x="639233" y="413885"/>
                    </a:cubicBezTo>
                    <a:cubicBezTo>
                      <a:pt x="639233" y="413885"/>
                      <a:pt x="639233" y="413885"/>
                      <a:pt x="655690" y="425838"/>
                    </a:cubicBezTo>
                    <a:cubicBezTo>
                      <a:pt x="655690" y="425838"/>
                      <a:pt x="655690" y="425838"/>
                      <a:pt x="672146" y="442274"/>
                    </a:cubicBezTo>
                    <a:cubicBezTo>
                      <a:pt x="672146" y="442274"/>
                      <a:pt x="672146" y="442274"/>
                      <a:pt x="684115" y="455722"/>
                    </a:cubicBezTo>
                    <a:cubicBezTo>
                      <a:pt x="684115" y="455722"/>
                      <a:pt x="684115" y="455722"/>
                      <a:pt x="708052" y="479629"/>
                    </a:cubicBezTo>
                    <a:cubicBezTo>
                      <a:pt x="708052" y="479629"/>
                      <a:pt x="708052" y="479629"/>
                      <a:pt x="723013" y="500547"/>
                    </a:cubicBezTo>
                    <a:cubicBezTo>
                      <a:pt x="723013" y="500547"/>
                      <a:pt x="723013" y="500547"/>
                      <a:pt x="731989" y="502041"/>
                    </a:cubicBezTo>
                    <a:cubicBezTo>
                      <a:pt x="731989" y="502041"/>
                      <a:pt x="731989" y="502041"/>
                      <a:pt x="742462" y="503535"/>
                    </a:cubicBezTo>
                    <a:cubicBezTo>
                      <a:pt x="742462" y="503535"/>
                      <a:pt x="742462" y="503535"/>
                      <a:pt x="760415" y="509512"/>
                    </a:cubicBezTo>
                    <a:cubicBezTo>
                      <a:pt x="760415" y="509512"/>
                      <a:pt x="760415" y="509512"/>
                      <a:pt x="767895" y="513994"/>
                    </a:cubicBezTo>
                    <a:cubicBezTo>
                      <a:pt x="767895" y="513994"/>
                      <a:pt x="767895" y="513994"/>
                      <a:pt x="767895" y="519971"/>
                    </a:cubicBezTo>
                    <a:cubicBezTo>
                      <a:pt x="767895" y="519971"/>
                      <a:pt x="767895" y="519971"/>
                      <a:pt x="770887" y="533419"/>
                    </a:cubicBezTo>
                    <a:cubicBezTo>
                      <a:pt x="770887" y="533419"/>
                      <a:pt x="770887" y="533419"/>
                      <a:pt x="770887" y="539395"/>
                    </a:cubicBezTo>
                    <a:cubicBezTo>
                      <a:pt x="770887" y="539395"/>
                      <a:pt x="770887" y="539395"/>
                      <a:pt x="770887" y="545372"/>
                    </a:cubicBezTo>
                    <a:cubicBezTo>
                      <a:pt x="770887" y="545372"/>
                      <a:pt x="770887" y="545372"/>
                      <a:pt x="770887" y="558820"/>
                    </a:cubicBezTo>
                    <a:cubicBezTo>
                      <a:pt x="770887" y="558820"/>
                      <a:pt x="770887" y="558820"/>
                      <a:pt x="764903" y="563302"/>
                    </a:cubicBezTo>
                    <a:cubicBezTo>
                      <a:pt x="764903" y="563302"/>
                      <a:pt x="764903" y="563302"/>
                      <a:pt x="760415" y="557325"/>
                    </a:cubicBezTo>
                    <a:cubicBezTo>
                      <a:pt x="760415" y="557325"/>
                      <a:pt x="760415" y="557325"/>
                      <a:pt x="755926" y="549855"/>
                    </a:cubicBezTo>
                    <a:cubicBezTo>
                      <a:pt x="755926" y="549855"/>
                      <a:pt x="755926" y="549855"/>
                      <a:pt x="751438" y="552843"/>
                    </a:cubicBezTo>
                    <a:cubicBezTo>
                      <a:pt x="751438" y="552843"/>
                      <a:pt x="751438" y="552843"/>
                      <a:pt x="755926" y="560314"/>
                    </a:cubicBezTo>
                    <a:cubicBezTo>
                      <a:pt x="755926" y="560314"/>
                      <a:pt x="755926" y="560314"/>
                      <a:pt x="752934" y="561808"/>
                    </a:cubicBezTo>
                    <a:cubicBezTo>
                      <a:pt x="752934" y="561808"/>
                      <a:pt x="752934" y="561808"/>
                      <a:pt x="748446" y="558820"/>
                    </a:cubicBezTo>
                    <a:cubicBezTo>
                      <a:pt x="748446" y="558820"/>
                      <a:pt x="748446" y="558820"/>
                      <a:pt x="739470" y="555831"/>
                    </a:cubicBezTo>
                    <a:cubicBezTo>
                      <a:pt x="739470" y="555831"/>
                      <a:pt x="739470" y="555831"/>
                      <a:pt x="739470" y="549855"/>
                    </a:cubicBezTo>
                    <a:cubicBezTo>
                      <a:pt x="739470" y="549855"/>
                      <a:pt x="739470" y="549855"/>
                      <a:pt x="736478" y="542384"/>
                    </a:cubicBezTo>
                    <a:cubicBezTo>
                      <a:pt x="736478" y="542384"/>
                      <a:pt x="736478" y="542384"/>
                      <a:pt x="731989" y="539395"/>
                    </a:cubicBezTo>
                    <a:cubicBezTo>
                      <a:pt x="731989" y="539395"/>
                      <a:pt x="731989" y="539395"/>
                      <a:pt x="728997" y="533419"/>
                    </a:cubicBezTo>
                    <a:cubicBezTo>
                      <a:pt x="728997" y="533419"/>
                      <a:pt x="728997" y="533419"/>
                      <a:pt x="717029" y="524454"/>
                    </a:cubicBezTo>
                    <a:cubicBezTo>
                      <a:pt x="717029" y="524454"/>
                      <a:pt x="717029" y="524454"/>
                      <a:pt x="706556" y="525948"/>
                    </a:cubicBezTo>
                    <a:cubicBezTo>
                      <a:pt x="706556" y="525948"/>
                      <a:pt x="706556" y="525948"/>
                      <a:pt x="709548" y="530430"/>
                    </a:cubicBezTo>
                    <a:cubicBezTo>
                      <a:pt x="709548" y="530430"/>
                      <a:pt x="709548" y="530430"/>
                      <a:pt x="712540" y="533419"/>
                    </a:cubicBezTo>
                    <a:cubicBezTo>
                      <a:pt x="712540" y="533419"/>
                      <a:pt x="712540" y="533419"/>
                      <a:pt x="723013" y="539395"/>
                    </a:cubicBezTo>
                    <a:cubicBezTo>
                      <a:pt x="723013" y="539395"/>
                      <a:pt x="723013" y="539395"/>
                      <a:pt x="728997" y="545372"/>
                    </a:cubicBezTo>
                    <a:cubicBezTo>
                      <a:pt x="728997" y="545372"/>
                      <a:pt x="728997" y="545372"/>
                      <a:pt x="728997" y="549855"/>
                    </a:cubicBezTo>
                    <a:cubicBezTo>
                      <a:pt x="728997" y="549855"/>
                      <a:pt x="728997" y="549855"/>
                      <a:pt x="733485" y="554337"/>
                    </a:cubicBezTo>
                    <a:cubicBezTo>
                      <a:pt x="733485" y="554337"/>
                      <a:pt x="733485" y="554337"/>
                      <a:pt x="736478" y="558820"/>
                    </a:cubicBezTo>
                    <a:cubicBezTo>
                      <a:pt x="736478" y="558820"/>
                      <a:pt x="736478" y="558820"/>
                      <a:pt x="739470" y="569279"/>
                    </a:cubicBezTo>
                    <a:cubicBezTo>
                      <a:pt x="739470" y="569279"/>
                      <a:pt x="739470" y="569279"/>
                      <a:pt x="739470" y="572267"/>
                    </a:cubicBezTo>
                    <a:cubicBezTo>
                      <a:pt x="739470" y="572267"/>
                      <a:pt x="739470" y="572267"/>
                      <a:pt x="734981" y="573761"/>
                    </a:cubicBezTo>
                    <a:cubicBezTo>
                      <a:pt x="734981" y="573761"/>
                      <a:pt x="734981" y="573761"/>
                      <a:pt x="731989" y="566290"/>
                    </a:cubicBezTo>
                    <a:cubicBezTo>
                      <a:pt x="731989" y="566290"/>
                      <a:pt x="731989" y="566290"/>
                      <a:pt x="731989" y="573761"/>
                    </a:cubicBezTo>
                    <a:cubicBezTo>
                      <a:pt x="731989" y="573761"/>
                      <a:pt x="731989" y="573761"/>
                      <a:pt x="728997" y="579738"/>
                    </a:cubicBezTo>
                    <a:cubicBezTo>
                      <a:pt x="728997" y="579738"/>
                      <a:pt x="728997" y="579738"/>
                      <a:pt x="724509" y="578244"/>
                    </a:cubicBezTo>
                    <a:cubicBezTo>
                      <a:pt x="724509" y="578244"/>
                      <a:pt x="724509" y="578244"/>
                      <a:pt x="717029" y="570773"/>
                    </a:cubicBezTo>
                    <a:cubicBezTo>
                      <a:pt x="717029" y="570773"/>
                      <a:pt x="717029" y="570773"/>
                      <a:pt x="709548" y="561808"/>
                    </a:cubicBezTo>
                    <a:cubicBezTo>
                      <a:pt x="709548" y="561808"/>
                      <a:pt x="709548" y="561808"/>
                      <a:pt x="703564" y="564796"/>
                    </a:cubicBezTo>
                    <a:cubicBezTo>
                      <a:pt x="703564" y="564796"/>
                      <a:pt x="703564" y="564796"/>
                      <a:pt x="699076" y="564796"/>
                    </a:cubicBezTo>
                    <a:cubicBezTo>
                      <a:pt x="699076" y="564796"/>
                      <a:pt x="699076" y="564796"/>
                      <a:pt x="702068" y="555831"/>
                    </a:cubicBezTo>
                    <a:cubicBezTo>
                      <a:pt x="702068" y="555831"/>
                      <a:pt x="702068" y="555831"/>
                      <a:pt x="709548" y="554337"/>
                    </a:cubicBezTo>
                    <a:cubicBezTo>
                      <a:pt x="709548" y="554337"/>
                      <a:pt x="709548" y="554337"/>
                      <a:pt x="706556" y="545372"/>
                    </a:cubicBezTo>
                    <a:cubicBezTo>
                      <a:pt x="706556" y="545372"/>
                      <a:pt x="706556" y="545372"/>
                      <a:pt x="697580" y="549855"/>
                    </a:cubicBezTo>
                    <a:cubicBezTo>
                      <a:pt x="697580" y="549855"/>
                      <a:pt x="697580" y="549855"/>
                      <a:pt x="700572" y="540890"/>
                    </a:cubicBezTo>
                    <a:cubicBezTo>
                      <a:pt x="700572" y="540890"/>
                      <a:pt x="700572" y="540890"/>
                      <a:pt x="696084" y="534913"/>
                    </a:cubicBezTo>
                    <a:cubicBezTo>
                      <a:pt x="696084" y="534913"/>
                      <a:pt x="696084" y="534913"/>
                      <a:pt x="694588" y="530430"/>
                    </a:cubicBezTo>
                    <a:cubicBezTo>
                      <a:pt x="694588" y="530430"/>
                      <a:pt x="694588" y="530430"/>
                      <a:pt x="694588" y="525948"/>
                    </a:cubicBezTo>
                    <a:cubicBezTo>
                      <a:pt x="694588" y="525948"/>
                      <a:pt x="694588" y="525948"/>
                      <a:pt x="700572" y="516983"/>
                    </a:cubicBezTo>
                    <a:cubicBezTo>
                      <a:pt x="700572" y="516983"/>
                      <a:pt x="700572" y="516983"/>
                      <a:pt x="693091" y="516983"/>
                    </a:cubicBezTo>
                    <a:cubicBezTo>
                      <a:pt x="693091" y="516983"/>
                      <a:pt x="693091" y="516983"/>
                      <a:pt x="690099" y="519971"/>
                    </a:cubicBezTo>
                    <a:cubicBezTo>
                      <a:pt x="690099" y="519971"/>
                      <a:pt x="690099" y="519971"/>
                      <a:pt x="690099" y="522959"/>
                    </a:cubicBezTo>
                    <a:cubicBezTo>
                      <a:pt x="690099" y="522959"/>
                      <a:pt x="690099" y="522959"/>
                      <a:pt x="690099" y="531925"/>
                    </a:cubicBezTo>
                    <a:cubicBezTo>
                      <a:pt x="690099" y="531925"/>
                      <a:pt x="690099" y="531925"/>
                      <a:pt x="685611" y="534913"/>
                    </a:cubicBezTo>
                    <a:cubicBezTo>
                      <a:pt x="685611" y="534913"/>
                      <a:pt x="685611" y="534913"/>
                      <a:pt x="682619" y="537901"/>
                    </a:cubicBezTo>
                    <a:cubicBezTo>
                      <a:pt x="682619" y="537901"/>
                      <a:pt x="682619" y="534913"/>
                      <a:pt x="682619" y="533419"/>
                    </a:cubicBezTo>
                    <a:cubicBezTo>
                      <a:pt x="682619" y="531925"/>
                      <a:pt x="681123" y="527442"/>
                      <a:pt x="681123" y="527442"/>
                    </a:cubicBezTo>
                    <a:cubicBezTo>
                      <a:pt x="681123" y="527442"/>
                      <a:pt x="679627" y="522959"/>
                      <a:pt x="679627" y="519971"/>
                    </a:cubicBezTo>
                    <a:cubicBezTo>
                      <a:pt x="679627" y="518477"/>
                      <a:pt x="678131" y="515489"/>
                      <a:pt x="678131" y="515489"/>
                    </a:cubicBezTo>
                    <a:cubicBezTo>
                      <a:pt x="678131" y="515489"/>
                      <a:pt x="676635" y="512500"/>
                      <a:pt x="676635" y="511006"/>
                    </a:cubicBezTo>
                    <a:cubicBezTo>
                      <a:pt x="676635" y="508018"/>
                      <a:pt x="676635" y="506524"/>
                      <a:pt x="676635" y="506524"/>
                    </a:cubicBezTo>
                    <a:cubicBezTo>
                      <a:pt x="676635" y="506524"/>
                      <a:pt x="678131" y="503535"/>
                      <a:pt x="681123" y="503535"/>
                    </a:cubicBezTo>
                    <a:cubicBezTo>
                      <a:pt x="682619" y="502041"/>
                      <a:pt x="684115" y="499053"/>
                      <a:pt x="684115" y="499053"/>
                    </a:cubicBezTo>
                    <a:cubicBezTo>
                      <a:pt x="684115" y="499053"/>
                      <a:pt x="684115" y="499053"/>
                      <a:pt x="690099" y="493076"/>
                    </a:cubicBezTo>
                    <a:cubicBezTo>
                      <a:pt x="690099" y="493076"/>
                      <a:pt x="690099" y="493076"/>
                      <a:pt x="684115" y="482617"/>
                    </a:cubicBezTo>
                    <a:cubicBezTo>
                      <a:pt x="684115" y="482617"/>
                      <a:pt x="684115" y="482617"/>
                      <a:pt x="681123" y="484111"/>
                    </a:cubicBezTo>
                    <a:cubicBezTo>
                      <a:pt x="681123" y="484111"/>
                      <a:pt x="681123" y="484111"/>
                      <a:pt x="678131" y="491582"/>
                    </a:cubicBezTo>
                    <a:cubicBezTo>
                      <a:pt x="678131" y="491582"/>
                      <a:pt x="678131" y="491582"/>
                      <a:pt x="672146" y="499053"/>
                    </a:cubicBezTo>
                    <a:cubicBezTo>
                      <a:pt x="672146" y="499053"/>
                      <a:pt x="672146" y="499053"/>
                      <a:pt x="667658" y="502041"/>
                    </a:cubicBezTo>
                    <a:cubicBezTo>
                      <a:pt x="667658" y="502041"/>
                      <a:pt x="667658" y="502041"/>
                      <a:pt x="666162" y="505029"/>
                    </a:cubicBezTo>
                    <a:cubicBezTo>
                      <a:pt x="666162" y="505029"/>
                      <a:pt x="666162" y="505029"/>
                      <a:pt x="669154" y="516983"/>
                    </a:cubicBezTo>
                    <a:cubicBezTo>
                      <a:pt x="669154" y="516983"/>
                      <a:pt x="669154" y="516983"/>
                      <a:pt x="675139" y="533419"/>
                    </a:cubicBezTo>
                    <a:cubicBezTo>
                      <a:pt x="675139" y="533419"/>
                      <a:pt x="675139" y="533419"/>
                      <a:pt x="669154" y="531925"/>
                    </a:cubicBezTo>
                    <a:cubicBezTo>
                      <a:pt x="669154" y="531925"/>
                      <a:pt x="669154" y="531925"/>
                      <a:pt x="660178" y="513994"/>
                    </a:cubicBezTo>
                    <a:cubicBezTo>
                      <a:pt x="660178" y="513994"/>
                      <a:pt x="660178" y="513994"/>
                      <a:pt x="649705" y="499053"/>
                    </a:cubicBezTo>
                    <a:cubicBezTo>
                      <a:pt x="649705" y="499053"/>
                      <a:pt x="649705" y="499053"/>
                      <a:pt x="646713" y="508018"/>
                    </a:cubicBezTo>
                    <a:cubicBezTo>
                      <a:pt x="646713" y="508018"/>
                      <a:pt x="646713" y="508018"/>
                      <a:pt x="643721" y="506524"/>
                    </a:cubicBezTo>
                    <a:cubicBezTo>
                      <a:pt x="643721" y="506524"/>
                      <a:pt x="643721" y="506524"/>
                      <a:pt x="639233" y="496064"/>
                    </a:cubicBezTo>
                    <a:cubicBezTo>
                      <a:pt x="639233" y="496064"/>
                      <a:pt x="639233" y="496064"/>
                      <a:pt x="633249" y="491582"/>
                    </a:cubicBezTo>
                    <a:cubicBezTo>
                      <a:pt x="633249" y="491582"/>
                      <a:pt x="633249" y="491582"/>
                      <a:pt x="618288" y="475146"/>
                    </a:cubicBezTo>
                    <a:cubicBezTo>
                      <a:pt x="618288" y="475146"/>
                      <a:pt x="618288" y="475146"/>
                      <a:pt x="618288" y="464687"/>
                    </a:cubicBezTo>
                    <a:cubicBezTo>
                      <a:pt x="618288" y="464687"/>
                      <a:pt x="618288" y="464687"/>
                      <a:pt x="615296" y="470664"/>
                    </a:cubicBezTo>
                    <a:cubicBezTo>
                      <a:pt x="615296" y="470664"/>
                      <a:pt x="615296" y="470664"/>
                      <a:pt x="607815" y="467675"/>
                    </a:cubicBezTo>
                    <a:cubicBezTo>
                      <a:pt x="607815" y="467675"/>
                      <a:pt x="607815" y="467675"/>
                      <a:pt x="591358" y="452734"/>
                    </a:cubicBezTo>
                    <a:cubicBezTo>
                      <a:pt x="591358" y="452734"/>
                      <a:pt x="591358" y="452734"/>
                      <a:pt x="580886" y="440780"/>
                    </a:cubicBezTo>
                    <a:cubicBezTo>
                      <a:pt x="580886" y="440780"/>
                      <a:pt x="580886" y="440780"/>
                      <a:pt x="574902" y="442274"/>
                    </a:cubicBezTo>
                    <a:cubicBezTo>
                      <a:pt x="574902" y="442274"/>
                      <a:pt x="574902" y="442274"/>
                      <a:pt x="561437" y="439286"/>
                    </a:cubicBezTo>
                    <a:cubicBezTo>
                      <a:pt x="561437" y="439286"/>
                      <a:pt x="561437" y="439286"/>
                      <a:pt x="552461" y="430321"/>
                    </a:cubicBezTo>
                    <a:cubicBezTo>
                      <a:pt x="552461" y="430321"/>
                      <a:pt x="552461" y="430321"/>
                      <a:pt x="552461" y="419862"/>
                    </a:cubicBezTo>
                    <a:cubicBezTo>
                      <a:pt x="552461" y="419862"/>
                      <a:pt x="552461" y="419862"/>
                      <a:pt x="547972" y="422850"/>
                    </a:cubicBezTo>
                    <a:cubicBezTo>
                      <a:pt x="547972" y="422850"/>
                      <a:pt x="547972" y="422850"/>
                      <a:pt x="530020" y="422850"/>
                    </a:cubicBezTo>
                    <a:cubicBezTo>
                      <a:pt x="530020" y="422850"/>
                      <a:pt x="530020" y="422850"/>
                      <a:pt x="521043" y="421356"/>
                    </a:cubicBezTo>
                    <a:cubicBezTo>
                      <a:pt x="521043" y="421356"/>
                      <a:pt x="521043" y="421356"/>
                      <a:pt x="510571" y="418368"/>
                    </a:cubicBezTo>
                    <a:cubicBezTo>
                      <a:pt x="510571" y="418368"/>
                      <a:pt x="510571" y="418368"/>
                      <a:pt x="491122" y="416873"/>
                    </a:cubicBezTo>
                    <a:cubicBezTo>
                      <a:pt x="491122" y="416873"/>
                      <a:pt x="491122" y="416873"/>
                      <a:pt x="471673" y="421356"/>
                    </a:cubicBezTo>
                    <a:cubicBezTo>
                      <a:pt x="471673" y="421356"/>
                      <a:pt x="471673" y="421356"/>
                      <a:pt x="458208" y="424344"/>
                    </a:cubicBezTo>
                    <a:cubicBezTo>
                      <a:pt x="458208" y="424344"/>
                      <a:pt x="458208" y="424344"/>
                      <a:pt x="461200" y="412391"/>
                    </a:cubicBezTo>
                    <a:cubicBezTo>
                      <a:pt x="461200" y="412391"/>
                      <a:pt x="461200" y="412391"/>
                      <a:pt x="456712" y="415379"/>
                    </a:cubicBezTo>
                    <a:cubicBezTo>
                      <a:pt x="456712" y="415379"/>
                      <a:pt x="456712" y="415379"/>
                      <a:pt x="449232" y="410897"/>
                    </a:cubicBezTo>
                    <a:cubicBezTo>
                      <a:pt x="449232" y="410897"/>
                      <a:pt x="449232" y="410897"/>
                      <a:pt x="443247" y="407908"/>
                    </a:cubicBezTo>
                    <a:cubicBezTo>
                      <a:pt x="443247" y="407908"/>
                      <a:pt x="443247" y="407908"/>
                      <a:pt x="437263" y="407908"/>
                    </a:cubicBezTo>
                    <a:cubicBezTo>
                      <a:pt x="437263" y="407908"/>
                      <a:pt x="437263" y="407908"/>
                      <a:pt x="432775" y="407908"/>
                    </a:cubicBezTo>
                    <a:cubicBezTo>
                      <a:pt x="432775" y="407908"/>
                      <a:pt x="432775" y="407908"/>
                      <a:pt x="425294" y="412391"/>
                    </a:cubicBezTo>
                    <a:cubicBezTo>
                      <a:pt x="425294" y="412391"/>
                      <a:pt x="425294" y="412391"/>
                      <a:pt x="419310" y="415379"/>
                    </a:cubicBezTo>
                    <a:cubicBezTo>
                      <a:pt x="419310" y="415379"/>
                      <a:pt x="419310" y="415379"/>
                      <a:pt x="413326" y="422850"/>
                    </a:cubicBezTo>
                    <a:cubicBezTo>
                      <a:pt x="413326" y="422850"/>
                      <a:pt x="413326" y="422850"/>
                      <a:pt x="410334" y="425838"/>
                    </a:cubicBezTo>
                    <a:cubicBezTo>
                      <a:pt x="410334" y="425838"/>
                      <a:pt x="410334" y="425838"/>
                      <a:pt x="402853" y="424344"/>
                    </a:cubicBezTo>
                    <a:cubicBezTo>
                      <a:pt x="402853" y="424344"/>
                      <a:pt x="402853" y="424344"/>
                      <a:pt x="410334" y="418368"/>
                    </a:cubicBezTo>
                    <a:cubicBezTo>
                      <a:pt x="410334" y="418368"/>
                      <a:pt x="410334" y="418368"/>
                      <a:pt x="419310" y="409403"/>
                    </a:cubicBezTo>
                    <a:cubicBezTo>
                      <a:pt x="419310" y="409403"/>
                      <a:pt x="419310" y="409403"/>
                      <a:pt x="425294" y="403426"/>
                    </a:cubicBezTo>
                    <a:cubicBezTo>
                      <a:pt x="425294" y="403426"/>
                      <a:pt x="425294" y="403426"/>
                      <a:pt x="429783" y="397449"/>
                    </a:cubicBezTo>
                    <a:cubicBezTo>
                      <a:pt x="429783" y="397449"/>
                      <a:pt x="429783" y="397449"/>
                      <a:pt x="426791" y="397449"/>
                    </a:cubicBezTo>
                    <a:cubicBezTo>
                      <a:pt x="426791" y="397449"/>
                      <a:pt x="426791" y="397449"/>
                      <a:pt x="420806" y="394461"/>
                    </a:cubicBezTo>
                    <a:cubicBezTo>
                      <a:pt x="420806" y="394461"/>
                      <a:pt x="420806" y="394461"/>
                      <a:pt x="420806" y="384002"/>
                    </a:cubicBezTo>
                    <a:cubicBezTo>
                      <a:pt x="420806" y="384002"/>
                      <a:pt x="420806" y="384002"/>
                      <a:pt x="414822" y="388484"/>
                    </a:cubicBezTo>
                    <a:cubicBezTo>
                      <a:pt x="414822" y="388484"/>
                      <a:pt x="414822" y="388484"/>
                      <a:pt x="413326" y="389978"/>
                    </a:cubicBezTo>
                    <a:cubicBezTo>
                      <a:pt x="413326" y="389978"/>
                      <a:pt x="413326" y="389978"/>
                      <a:pt x="402853" y="389978"/>
                    </a:cubicBezTo>
                    <a:cubicBezTo>
                      <a:pt x="402853" y="389978"/>
                      <a:pt x="402853" y="389978"/>
                      <a:pt x="393877" y="388484"/>
                    </a:cubicBezTo>
                    <a:cubicBezTo>
                      <a:pt x="393877" y="388484"/>
                      <a:pt x="393877" y="388484"/>
                      <a:pt x="389389" y="392967"/>
                    </a:cubicBezTo>
                    <a:cubicBezTo>
                      <a:pt x="389389" y="392967"/>
                      <a:pt x="389389" y="392967"/>
                      <a:pt x="386397" y="401932"/>
                    </a:cubicBezTo>
                    <a:cubicBezTo>
                      <a:pt x="386397" y="401932"/>
                      <a:pt x="386397" y="401932"/>
                      <a:pt x="392381" y="409403"/>
                    </a:cubicBezTo>
                    <a:cubicBezTo>
                      <a:pt x="392381" y="409403"/>
                      <a:pt x="392381" y="409403"/>
                      <a:pt x="389389" y="421356"/>
                    </a:cubicBezTo>
                    <a:cubicBezTo>
                      <a:pt x="389389" y="421356"/>
                      <a:pt x="389389" y="421356"/>
                      <a:pt x="381908" y="428827"/>
                    </a:cubicBezTo>
                    <a:cubicBezTo>
                      <a:pt x="381908" y="428827"/>
                      <a:pt x="381908" y="428827"/>
                      <a:pt x="374428" y="428827"/>
                    </a:cubicBezTo>
                    <a:cubicBezTo>
                      <a:pt x="374428" y="428827"/>
                      <a:pt x="374428" y="428827"/>
                      <a:pt x="365452" y="428827"/>
                    </a:cubicBezTo>
                    <a:cubicBezTo>
                      <a:pt x="365452" y="428827"/>
                      <a:pt x="365452" y="428827"/>
                      <a:pt x="362459" y="439286"/>
                    </a:cubicBezTo>
                    <a:cubicBezTo>
                      <a:pt x="362459" y="439286"/>
                      <a:pt x="362459" y="439286"/>
                      <a:pt x="350491" y="443769"/>
                    </a:cubicBezTo>
                    <a:cubicBezTo>
                      <a:pt x="350491" y="443769"/>
                      <a:pt x="350491" y="443769"/>
                      <a:pt x="348995" y="446757"/>
                    </a:cubicBezTo>
                    <a:cubicBezTo>
                      <a:pt x="348995" y="446757"/>
                      <a:pt x="348995" y="446757"/>
                      <a:pt x="338522" y="454228"/>
                    </a:cubicBezTo>
                    <a:cubicBezTo>
                      <a:pt x="338522" y="454228"/>
                      <a:pt x="338522" y="454228"/>
                      <a:pt x="328050" y="457216"/>
                    </a:cubicBezTo>
                    <a:cubicBezTo>
                      <a:pt x="328050" y="457216"/>
                      <a:pt x="328050" y="457216"/>
                      <a:pt x="322065" y="458710"/>
                    </a:cubicBezTo>
                    <a:cubicBezTo>
                      <a:pt x="322065" y="458710"/>
                      <a:pt x="322065" y="458710"/>
                      <a:pt x="319073" y="454228"/>
                    </a:cubicBezTo>
                    <a:cubicBezTo>
                      <a:pt x="319073" y="454228"/>
                      <a:pt x="319073" y="454228"/>
                      <a:pt x="317577" y="451239"/>
                    </a:cubicBezTo>
                    <a:cubicBezTo>
                      <a:pt x="317577" y="451239"/>
                      <a:pt x="317577" y="451239"/>
                      <a:pt x="325058" y="448251"/>
                    </a:cubicBezTo>
                    <a:cubicBezTo>
                      <a:pt x="325058" y="448251"/>
                      <a:pt x="325058" y="448251"/>
                      <a:pt x="331042" y="440780"/>
                    </a:cubicBezTo>
                    <a:cubicBezTo>
                      <a:pt x="331042" y="440780"/>
                      <a:pt x="331042" y="440780"/>
                      <a:pt x="323561" y="440780"/>
                    </a:cubicBezTo>
                    <a:cubicBezTo>
                      <a:pt x="323561" y="440780"/>
                      <a:pt x="323561" y="440780"/>
                      <a:pt x="320569" y="436298"/>
                    </a:cubicBezTo>
                    <a:cubicBezTo>
                      <a:pt x="320569" y="436298"/>
                      <a:pt x="320569" y="436298"/>
                      <a:pt x="328050" y="425838"/>
                    </a:cubicBezTo>
                    <a:cubicBezTo>
                      <a:pt x="328050" y="425838"/>
                      <a:pt x="328050" y="425838"/>
                      <a:pt x="331042" y="415379"/>
                    </a:cubicBezTo>
                    <a:cubicBezTo>
                      <a:pt x="331042" y="415379"/>
                      <a:pt x="331042" y="415379"/>
                      <a:pt x="335530" y="400438"/>
                    </a:cubicBezTo>
                    <a:cubicBezTo>
                      <a:pt x="335530" y="400438"/>
                      <a:pt x="335530" y="400438"/>
                      <a:pt x="343010" y="391473"/>
                    </a:cubicBezTo>
                    <a:cubicBezTo>
                      <a:pt x="343010" y="391473"/>
                      <a:pt x="343010" y="391473"/>
                      <a:pt x="369940" y="394461"/>
                    </a:cubicBezTo>
                    <a:cubicBezTo>
                      <a:pt x="369940" y="394461"/>
                      <a:pt x="369940" y="394461"/>
                      <a:pt x="365452" y="388484"/>
                    </a:cubicBezTo>
                    <a:cubicBezTo>
                      <a:pt x="365452" y="388484"/>
                      <a:pt x="365452" y="388484"/>
                      <a:pt x="357971" y="386990"/>
                    </a:cubicBezTo>
                    <a:cubicBezTo>
                      <a:pt x="357971" y="386990"/>
                      <a:pt x="357971" y="386990"/>
                      <a:pt x="344507" y="381013"/>
                    </a:cubicBezTo>
                    <a:cubicBezTo>
                      <a:pt x="344507" y="381013"/>
                      <a:pt x="344507" y="381013"/>
                      <a:pt x="334034" y="385496"/>
                    </a:cubicBezTo>
                    <a:cubicBezTo>
                      <a:pt x="334034" y="385496"/>
                      <a:pt x="334034" y="385496"/>
                      <a:pt x="325058" y="392967"/>
                    </a:cubicBezTo>
                    <a:cubicBezTo>
                      <a:pt x="325058" y="392967"/>
                      <a:pt x="325058" y="392967"/>
                      <a:pt x="316081" y="400438"/>
                    </a:cubicBezTo>
                    <a:cubicBezTo>
                      <a:pt x="316081" y="400438"/>
                      <a:pt x="316081" y="400438"/>
                      <a:pt x="311593" y="409403"/>
                    </a:cubicBezTo>
                    <a:cubicBezTo>
                      <a:pt x="311593" y="409403"/>
                      <a:pt x="311593" y="409403"/>
                      <a:pt x="310097" y="416873"/>
                    </a:cubicBezTo>
                    <a:cubicBezTo>
                      <a:pt x="310097" y="416873"/>
                      <a:pt x="310097" y="416873"/>
                      <a:pt x="304113" y="416873"/>
                    </a:cubicBezTo>
                    <a:cubicBezTo>
                      <a:pt x="304113" y="416873"/>
                      <a:pt x="304113" y="416873"/>
                      <a:pt x="304113" y="419862"/>
                    </a:cubicBezTo>
                    <a:cubicBezTo>
                      <a:pt x="304113" y="419862"/>
                      <a:pt x="304113" y="419862"/>
                      <a:pt x="307105" y="425838"/>
                    </a:cubicBezTo>
                    <a:cubicBezTo>
                      <a:pt x="307105" y="425838"/>
                      <a:pt x="307105" y="425838"/>
                      <a:pt x="305609" y="430321"/>
                    </a:cubicBezTo>
                    <a:cubicBezTo>
                      <a:pt x="305609" y="430321"/>
                      <a:pt x="305609" y="430321"/>
                      <a:pt x="301120" y="434803"/>
                    </a:cubicBezTo>
                    <a:cubicBezTo>
                      <a:pt x="301120" y="434803"/>
                      <a:pt x="301120" y="434803"/>
                      <a:pt x="290648" y="440780"/>
                    </a:cubicBezTo>
                    <a:cubicBezTo>
                      <a:pt x="290648" y="440780"/>
                      <a:pt x="290648" y="440780"/>
                      <a:pt x="284664" y="445263"/>
                    </a:cubicBezTo>
                    <a:cubicBezTo>
                      <a:pt x="284664" y="445263"/>
                      <a:pt x="284664" y="445263"/>
                      <a:pt x="277183" y="452734"/>
                    </a:cubicBezTo>
                    <a:cubicBezTo>
                      <a:pt x="277183" y="452734"/>
                      <a:pt x="277183" y="452734"/>
                      <a:pt x="275687" y="460204"/>
                    </a:cubicBezTo>
                    <a:cubicBezTo>
                      <a:pt x="275687" y="460204"/>
                      <a:pt x="275687" y="460204"/>
                      <a:pt x="286160" y="463193"/>
                    </a:cubicBezTo>
                    <a:cubicBezTo>
                      <a:pt x="286160" y="463193"/>
                      <a:pt x="286160" y="463193"/>
                      <a:pt x="287656" y="473652"/>
                    </a:cubicBezTo>
                    <a:cubicBezTo>
                      <a:pt x="287656" y="473652"/>
                      <a:pt x="287656" y="473652"/>
                      <a:pt x="283168" y="479629"/>
                    </a:cubicBezTo>
                    <a:cubicBezTo>
                      <a:pt x="283168" y="479629"/>
                      <a:pt x="283168" y="479629"/>
                      <a:pt x="275687" y="484111"/>
                    </a:cubicBezTo>
                    <a:cubicBezTo>
                      <a:pt x="275687" y="484111"/>
                      <a:pt x="275687" y="484111"/>
                      <a:pt x="266711" y="496064"/>
                    </a:cubicBezTo>
                    <a:cubicBezTo>
                      <a:pt x="266711" y="496064"/>
                      <a:pt x="266711" y="496064"/>
                      <a:pt x="253246" y="505029"/>
                    </a:cubicBezTo>
                    <a:cubicBezTo>
                      <a:pt x="253246" y="505029"/>
                      <a:pt x="253246" y="505029"/>
                      <a:pt x="226317" y="518477"/>
                    </a:cubicBezTo>
                    <a:cubicBezTo>
                      <a:pt x="226317" y="518477"/>
                      <a:pt x="226317" y="518477"/>
                      <a:pt x="224821" y="530430"/>
                    </a:cubicBezTo>
                    <a:cubicBezTo>
                      <a:pt x="224821" y="530430"/>
                      <a:pt x="224821" y="530430"/>
                      <a:pt x="214348" y="534913"/>
                    </a:cubicBezTo>
                    <a:cubicBezTo>
                      <a:pt x="214348" y="534913"/>
                      <a:pt x="214348" y="534913"/>
                      <a:pt x="203876" y="540890"/>
                    </a:cubicBezTo>
                    <a:cubicBezTo>
                      <a:pt x="203876" y="540890"/>
                      <a:pt x="203876" y="540890"/>
                      <a:pt x="190411" y="545372"/>
                    </a:cubicBezTo>
                    <a:cubicBezTo>
                      <a:pt x="190411" y="545372"/>
                      <a:pt x="190411" y="545372"/>
                      <a:pt x="185923" y="548360"/>
                    </a:cubicBezTo>
                    <a:cubicBezTo>
                      <a:pt x="185923" y="548360"/>
                      <a:pt x="185923" y="548360"/>
                      <a:pt x="179939" y="552843"/>
                    </a:cubicBezTo>
                    <a:cubicBezTo>
                      <a:pt x="179939" y="552843"/>
                      <a:pt x="179939" y="552843"/>
                      <a:pt x="175450" y="557325"/>
                    </a:cubicBezTo>
                    <a:cubicBezTo>
                      <a:pt x="175450" y="557325"/>
                      <a:pt x="175450" y="557325"/>
                      <a:pt x="172458" y="566290"/>
                    </a:cubicBezTo>
                    <a:cubicBezTo>
                      <a:pt x="172458" y="566290"/>
                      <a:pt x="172458" y="566290"/>
                      <a:pt x="164978" y="567785"/>
                    </a:cubicBezTo>
                    <a:cubicBezTo>
                      <a:pt x="164978" y="567785"/>
                      <a:pt x="164978" y="567785"/>
                      <a:pt x="154505" y="570773"/>
                    </a:cubicBezTo>
                    <a:cubicBezTo>
                      <a:pt x="154505" y="570773"/>
                      <a:pt x="154505" y="570773"/>
                      <a:pt x="147025" y="570773"/>
                    </a:cubicBezTo>
                    <a:cubicBezTo>
                      <a:pt x="147025" y="570773"/>
                      <a:pt x="147025" y="570773"/>
                      <a:pt x="139545" y="573761"/>
                    </a:cubicBezTo>
                    <a:cubicBezTo>
                      <a:pt x="139545" y="573761"/>
                      <a:pt x="139545" y="573761"/>
                      <a:pt x="129072" y="579738"/>
                    </a:cubicBezTo>
                    <a:cubicBezTo>
                      <a:pt x="129072" y="579738"/>
                      <a:pt x="129072" y="579738"/>
                      <a:pt x="132064" y="587209"/>
                    </a:cubicBezTo>
                    <a:cubicBezTo>
                      <a:pt x="132064" y="587209"/>
                      <a:pt x="132064" y="587209"/>
                      <a:pt x="129072" y="588703"/>
                    </a:cubicBezTo>
                    <a:cubicBezTo>
                      <a:pt x="129072" y="588703"/>
                      <a:pt x="129072" y="588703"/>
                      <a:pt x="121592" y="584220"/>
                    </a:cubicBezTo>
                    <a:cubicBezTo>
                      <a:pt x="121592" y="584220"/>
                      <a:pt x="121592" y="584220"/>
                      <a:pt x="114111" y="581232"/>
                    </a:cubicBezTo>
                    <a:cubicBezTo>
                      <a:pt x="114111" y="581232"/>
                      <a:pt x="114111" y="581232"/>
                      <a:pt x="108127" y="572267"/>
                    </a:cubicBezTo>
                    <a:cubicBezTo>
                      <a:pt x="108127" y="572267"/>
                      <a:pt x="108127" y="572267"/>
                      <a:pt x="106631" y="575255"/>
                    </a:cubicBezTo>
                    <a:cubicBezTo>
                      <a:pt x="106631" y="575255"/>
                      <a:pt x="106631" y="575255"/>
                      <a:pt x="106631" y="587209"/>
                    </a:cubicBezTo>
                    <a:cubicBezTo>
                      <a:pt x="106631" y="587209"/>
                      <a:pt x="106631" y="587209"/>
                      <a:pt x="97655" y="587209"/>
                    </a:cubicBezTo>
                    <a:cubicBezTo>
                      <a:pt x="97655" y="587209"/>
                      <a:pt x="97655" y="587209"/>
                      <a:pt x="97655" y="591691"/>
                    </a:cubicBezTo>
                    <a:cubicBezTo>
                      <a:pt x="97655" y="591691"/>
                      <a:pt x="97655" y="591691"/>
                      <a:pt x="88678" y="591691"/>
                    </a:cubicBezTo>
                    <a:cubicBezTo>
                      <a:pt x="88678" y="591691"/>
                      <a:pt x="88678" y="591691"/>
                      <a:pt x="88678" y="590197"/>
                    </a:cubicBezTo>
                    <a:cubicBezTo>
                      <a:pt x="88678" y="588703"/>
                      <a:pt x="84190" y="588703"/>
                      <a:pt x="84190" y="588703"/>
                    </a:cubicBezTo>
                    <a:cubicBezTo>
                      <a:pt x="84190" y="588703"/>
                      <a:pt x="84190" y="588703"/>
                      <a:pt x="78206" y="588703"/>
                    </a:cubicBezTo>
                    <a:cubicBezTo>
                      <a:pt x="78206" y="588703"/>
                      <a:pt x="78206" y="588703"/>
                      <a:pt x="70725" y="590197"/>
                    </a:cubicBezTo>
                    <a:cubicBezTo>
                      <a:pt x="70725" y="590197"/>
                      <a:pt x="70725" y="590197"/>
                      <a:pt x="61749" y="599162"/>
                    </a:cubicBezTo>
                    <a:cubicBezTo>
                      <a:pt x="61749" y="599162"/>
                      <a:pt x="61749" y="599162"/>
                      <a:pt x="45292" y="599162"/>
                    </a:cubicBezTo>
                    <a:cubicBezTo>
                      <a:pt x="45292" y="599162"/>
                      <a:pt x="45292" y="599162"/>
                      <a:pt x="30331" y="599162"/>
                    </a:cubicBezTo>
                    <a:cubicBezTo>
                      <a:pt x="30331" y="599162"/>
                      <a:pt x="30331" y="599162"/>
                      <a:pt x="30331" y="593185"/>
                    </a:cubicBezTo>
                    <a:cubicBezTo>
                      <a:pt x="30331" y="593185"/>
                      <a:pt x="30331" y="593185"/>
                      <a:pt x="40804" y="581232"/>
                    </a:cubicBezTo>
                    <a:cubicBezTo>
                      <a:pt x="40804" y="581232"/>
                      <a:pt x="40804" y="581232"/>
                      <a:pt x="58757" y="581232"/>
                    </a:cubicBezTo>
                    <a:cubicBezTo>
                      <a:pt x="58757" y="581232"/>
                      <a:pt x="58757" y="581232"/>
                      <a:pt x="66237" y="581232"/>
                    </a:cubicBezTo>
                    <a:cubicBezTo>
                      <a:pt x="66237" y="581232"/>
                      <a:pt x="66237" y="581232"/>
                      <a:pt x="73717" y="576750"/>
                    </a:cubicBezTo>
                    <a:cubicBezTo>
                      <a:pt x="73717" y="576750"/>
                      <a:pt x="73717" y="576750"/>
                      <a:pt x="84190" y="573761"/>
                    </a:cubicBezTo>
                    <a:cubicBezTo>
                      <a:pt x="84190" y="573761"/>
                      <a:pt x="84190" y="573761"/>
                      <a:pt x="88678" y="570773"/>
                    </a:cubicBezTo>
                    <a:cubicBezTo>
                      <a:pt x="88678" y="570773"/>
                      <a:pt x="88678" y="570773"/>
                      <a:pt x="93166" y="563302"/>
                    </a:cubicBezTo>
                    <a:cubicBezTo>
                      <a:pt x="93166" y="563302"/>
                      <a:pt x="93166" y="563302"/>
                      <a:pt x="102143" y="558820"/>
                    </a:cubicBezTo>
                    <a:cubicBezTo>
                      <a:pt x="102143" y="558820"/>
                      <a:pt x="102143" y="558820"/>
                      <a:pt x="115607" y="557325"/>
                    </a:cubicBezTo>
                    <a:cubicBezTo>
                      <a:pt x="115607" y="557325"/>
                      <a:pt x="115607" y="557325"/>
                      <a:pt x="123088" y="557325"/>
                    </a:cubicBezTo>
                    <a:cubicBezTo>
                      <a:pt x="123088" y="557325"/>
                      <a:pt x="123088" y="557325"/>
                      <a:pt x="129072" y="563302"/>
                    </a:cubicBezTo>
                    <a:cubicBezTo>
                      <a:pt x="129072" y="563302"/>
                      <a:pt x="129072" y="563302"/>
                      <a:pt x="135056" y="558820"/>
                    </a:cubicBezTo>
                    <a:cubicBezTo>
                      <a:pt x="135056" y="558820"/>
                      <a:pt x="135056" y="558820"/>
                      <a:pt x="141041" y="549855"/>
                    </a:cubicBezTo>
                    <a:cubicBezTo>
                      <a:pt x="141041" y="549855"/>
                      <a:pt x="141041" y="549855"/>
                      <a:pt x="148521" y="542384"/>
                    </a:cubicBezTo>
                    <a:cubicBezTo>
                      <a:pt x="148521" y="542384"/>
                      <a:pt x="148521" y="542384"/>
                      <a:pt x="156001" y="537901"/>
                    </a:cubicBezTo>
                    <a:cubicBezTo>
                      <a:pt x="156001" y="537901"/>
                      <a:pt x="156001" y="537901"/>
                      <a:pt x="170962" y="534913"/>
                    </a:cubicBezTo>
                    <a:cubicBezTo>
                      <a:pt x="170962" y="534913"/>
                      <a:pt x="170962" y="534913"/>
                      <a:pt x="176946" y="528936"/>
                    </a:cubicBezTo>
                    <a:cubicBezTo>
                      <a:pt x="176946" y="528936"/>
                      <a:pt x="176946" y="528936"/>
                      <a:pt x="184427" y="521465"/>
                    </a:cubicBezTo>
                    <a:cubicBezTo>
                      <a:pt x="184427" y="521465"/>
                      <a:pt x="184427" y="521465"/>
                      <a:pt x="193403" y="513994"/>
                    </a:cubicBezTo>
                    <a:cubicBezTo>
                      <a:pt x="193403" y="513994"/>
                      <a:pt x="193403" y="513994"/>
                      <a:pt x="200884" y="509512"/>
                    </a:cubicBezTo>
                    <a:cubicBezTo>
                      <a:pt x="200884" y="509512"/>
                      <a:pt x="200884" y="509512"/>
                      <a:pt x="203876" y="500547"/>
                    </a:cubicBezTo>
                    <a:cubicBezTo>
                      <a:pt x="203876" y="500547"/>
                      <a:pt x="203876" y="500547"/>
                      <a:pt x="205372" y="487099"/>
                    </a:cubicBezTo>
                    <a:cubicBezTo>
                      <a:pt x="205372" y="487099"/>
                      <a:pt x="205372" y="487099"/>
                      <a:pt x="208364" y="478134"/>
                    </a:cubicBezTo>
                    <a:cubicBezTo>
                      <a:pt x="208364" y="478134"/>
                      <a:pt x="208364" y="478134"/>
                      <a:pt x="209860" y="475146"/>
                    </a:cubicBezTo>
                    <a:cubicBezTo>
                      <a:pt x="209860" y="475146"/>
                      <a:pt x="209860" y="475146"/>
                      <a:pt x="217340" y="464687"/>
                    </a:cubicBezTo>
                    <a:cubicBezTo>
                      <a:pt x="217340" y="464687"/>
                      <a:pt x="217340" y="464687"/>
                      <a:pt x="212852" y="464687"/>
                    </a:cubicBezTo>
                    <a:cubicBezTo>
                      <a:pt x="212852" y="464687"/>
                      <a:pt x="212852" y="464687"/>
                      <a:pt x="205372" y="466181"/>
                    </a:cubicBezTo>
                    <a:cubicBezTo>
                      <a:pt x="205372" y="466181"/>
                      <a:pt x="205372" y="466181"/>
                      <a:pt x="200884" y="466181"/>
                    </a:cubicBezTo>
                    <a:cubicBezTo>
                      <a:pt x="200884" y="466181"/>
                      <a:pt x="200884" y="466181"/>
                      <a:pt x="193403" y="464687"/>
                    </a:cubicBezTo>
                    <a:cubicBezTo>
                      <a:pt x="193403" y="464687"/>
                      <a:pt x="193403" y="464687"/>
                      <a:pt x="190411" y="461699"/>
                    </a:cubicBezTo>
                    <a:cubicBezTo>
                      <a:pt x="190411" y="461699"/>
                      <a:pt x="190411" y="461699"/>
                      <a:pt x="197891" y="454228"/>
                    </a:cubicBezTo>
                    <a:cubicBezTo>
                      <a:pt x="197891" y="454228"/>
                      <a:pt x="197891" y="454228"/>
                      <a:pt x="190411" y="455722"/>
                    </a:cubicBezTo>
                    <a:cubicBezTo>
                      <a:pt x="190411" y="455722"/>
                      <a:pt x="190411" y="455722"/>
                      <a:pt x="185923" y="460204"/>
                    </a:cubicBezTo>
                    <a:cubicBezTo>
                      <a:pt x="185923" y="460204"/>
                      <a:pt x="185923" y="460204"/>
                      <a:pt x="182931" y="470664"/>
                    </a:cubicBezTo>
                    <a:cubicBezTo>
                      <a:pt x="182931" y="470664"/>
                      <a:pt x="182931" y="470664"/>
                      <a:pt x="178442" y="475146"/>
                    </a:cubicBezTo>
                    <a:cubicBezTo>
                      <a:pt x="178442" y="475146"/>
                      <a:pt x="178442" y="475146"/>
                      <a:pt x="176946" y="470664"/>
                    </a:cubicBezTo>
                    <a:cubicBezTo>
                      <a:pt x="176946" y="470664"/>
                      <a:pt x="176946" y="470664"/>
                      <a:pt x="172458" y="464687"/>
                    </a:cubicBezTo>
                    <a:cubicBezTo>
                      <a:pt x="172458" y="464687"/>
                      <a:pt x="172458" y="464687"/>
                      <a:pt x="164978" y="457216"/>
                    </a:cubicBezTo>
                    <a:cubicBezTo>
                      <a:pt x="164978" y="457216"/>
                      <a:pt x="164978" y="457216"/>
                      <a:pt x="153009" y="449745"/>
                    </a:cubicBezTo>
                    <a:cubicBezTo>
                      <a:pt x="153009" y="449745"/>
                      <a:pt x="153009" y="449745"/>
                      <a:pt x="150017" y="449745"/>
                    </a:cubicBezTo>
                    <a:cubicBezTo>
                      <a:pt x="150017" y="449745"/>
                      <a:pt x="150017" y="449745"/>
                      <a:pt x="139545" y="457216"/>
                    </a:cubicBezTo>
                    <a:cubicBezTo>
                      <a:pt x="139545" y="457216"/>
                      <a:pt x="139545" y="457216"/>
                      <a:pt x="133560" y="457216"/>
                    </a:cubicBezTo>
                    <a:cubicBezTo>
                      <a:pt x="133560" y="457216"/>
                      <a:pt x="133560" y="457216"/>
                      <a:pt x="124584" y="457216"/>
                    </a:cubicBezTo>
                    <a:cubicBezTo>
                      <a:pt x="124584" y="457216"/>
                      <a:pt x="124584" y="457216"/>
                      <a:pt x="126080" y="437792"/>
                    </a:cubicBezTo>
                    <a:cubicBezTo>
                      <a:pt x="126080" y="437792"/>
                      <a:pt x="126080" y="437792"/>
                      <a:pt x="127576" y="431815"/>
                    </a:cubicBezTo>
                    <a:cubicBezTo>
                      <a:pt x="127576" y="431815"/>
                      <a:pt x="127576" y="431815"/>
                      <a:pt x="132064" y="425838"/>
                    </a:cubicBezTo>
                    <a:cubicBezTo>
                      <a:pt x="132064" y="425838"/>
                      <a:pt x="132064" y="425838"/>
                      <a:pt x="132064" y="418368"/>
                    </a:cubicBezTo>
                    <a:cubicBezTo>
                      <a:pt x="132064" y="418368"/>
                      <a:pt x="132064" y="418368"/>
                      <a:pt x="130568" y="406414"/>
                    </a:cubicBezTo>
                    <a:cubicBezTo>
                      <a:pt x="130568" y="406414"/>
                      <a:pt x="130568" y="406414"/>
                      <a:pt x="127576" y="394461"/>
                    </a:cubicBezTo>
                    <a:cubicBezTo>
                      <a:pt x="127576" y="394461"/>
                      <a:pt x="127576" y="394461"/>
                      <a:pt x="124584" y="397449"/>
                    </a:cubicBezTo>
                    <a:cubicBezTo>
                      <a:pt x="124584" y="397449"/>
                      <a:pt x="124584" y="397449"/>
                      <a:pt x="118600" y="403426"/>
                    </a:cubicBezTo>
                    <a:cubicBezTo>
                      <a:pt x="118600" y="403426"/>
                      <a:pt x="118600" y="403426"/>
                      <a:pt x="114111" y="406414"/>
                    </a:cubicBezTo>
                    <a:cubicBezTo>
                      <a:pt x="114111" y="406414"/>
                      <a:pt x="114111" y="406414"/>
                      <a:pt x="109623" y="406414"/>
                    </a:cubicBezTo>
                    <a:cubicBezTo>
                      <a:pt x="109623" y="406414"/>
                      <a:pt x="109623" y="406414"/>
                      <a:pt x="105135" y="401932"/>
                    </a:cubicBezTo>
                    <a:cubicBezTo>
                      <a:pt x="105135" y="401932"/>
                      <a:pt x="105135" y="401932"/>
                      <a:pt x="102143" y="401932"/>
                    </a:cubicBezTo>
                    <a:cubicBezTo>
                      <a:pt x="102143" y="401932"/>
                      <a:pt x="102143" y="401932"/>
                      <a:pt x="96158" y="398943"/>
                    </a:cubicBezTo>
                    <a:cubicBezTo>
                      <a:pt x="96158" y="398943"/>
                      <a:pt x="96158" y="398943"/>
                      <a:pt x="91670" y="394461"/>
                    </a:cubicBezTo>
                    <a:cubicBezTo>
                      <a:pt x="91670" y="394461"/>
                      <a:pt x="91670" y="394461"/>
                      <a:pt x="87182" y="391473"/>
                    </a:cubicBezTo>
                    <a:cubicBezTo>
                      <a:pt x="87182" y="391473"/>
                      <a:pt x="87182" y="391473"/>
                      <a:pt x="82694" y="386990"/>
                    </a:cubicBezTo>
                    <a:cubicBezTo>
                      <a:pt x="82694" y="386990"/>
                      <a:pt x="82694" y="386990"/>
                      <a:pt x="81198" y="382508"/>
                    </a:cubicBezTo>
                    <a:cubicBezTo>
                      <a:pt x="81198" y="382508"/>
                      <a:pt x="81198" y="382508"/>
                      <a:pt x="79702" y="372048"/>
                    </a:cubicBezTo>
                    <a:cubicBezTo>
                      <a:pt x="79702" y="372048"/>
                      <a:pt x="79702" y="372048"/>
                      <a:pt x="85686" y="367566"/>
                    </a:cubicBezTo>
                    <a:cubicBezTo>
                      <a:pt x="85686" y="367566"/>
                      <a:pt x="85686" y="367566"/>
                      <a:pt x="91670" y="367566"/>
                    </a:cubicBezTo>
                    <a:cubicBezTo>
                      <a:pt x="91670" y="367566"/>
                      <a:pt x="91670" y="367566"/>
                      <a:pt x="99151" y="367566"/>
                    </a:cubicBezTo>
                    <a:cubicBezTo>
                      <a:pt x="99151" y="367566"/>
                      <a:pt x="99151" y="367566"/>
                      <a:pt x="106631" y="372048"/>
                    </a:cubicBezTo>
                    <a:cubicBezTo>
                      <a:pt x="106631" y="372048"/>
                      <a:pt x="106631" y="372048"/>
                      <a:pt x="109623" y="364578"/>
                    </a:cubicBezTo>
                    <a:cubicBezTo>
                      <a:pt x="109623" y="364578"/>
                      <a:pt x="109623" y="364578"/>
                      <a:pt x="105135" y="360095"/>
                    </a:cubicBezTo>
                    <a:cubicBezTo>
                      <a:pt x="105135" y="360095"/>
                      <a:pt x="105135" y="360095"/>
                      <a:pt x="103639" y="360095"/>
                    </a:cubicBezTo>
                    <a:cubicBezTo>
                      <a:pt x="103639" y="360095"/>
                      <a:pt x="103639" y="360095"/>
                      <a:pt x="96158" y="360095"/>
                    </a:cubicBezTo>
                    <a:cubicBezTo>
                      <a:pt x="96158" y="360095"/>
                      <a:pt x="96158" y="360095"/>
                      <a:pt x="91670" y="360095"/>
                    </a:cubicBezTo>
                    <a:cubicBezTo>
                      <a:pt x="91670" y="360095"/>
                      <a:pt x="91670" y="360095"/>
                      <a:pt x="82694" y="354118"/>
                    </a:cubicBezTo>
                    <a:cubicBezTo>
                      <a:pt x="82694" y="354118"/>
                      <a:pt x="82694" y="354118"/>
                      <a:pt x="79702" y="348142"/>
                    </a:cubicBezTo>
                    <a:cubicBezTo>
                      <a:pt x="79702" y="348142"/>
                      <a:pt x="79702" y="348142"/>
                      <a:pt x="76710" y="340671"/>
                    </a:cubicBezTo>
                    <a:cubicBezTo>
                      <a:pt x="76710" y="340671"/>
                      <a:pt x="76710" y="340671"/>
                      <a:pt x="73717" y="333200"/>
                    </a:cubicBezTo>
                    <a:cubicBezTo>
                      <a:pt x="73717" y="333200"/>
                      <a:pt x="73717" y="333200"/>
                      <a:pt x="73717" y="330212"/>
                    </a:cubicBezTo>
                    <a:cubicBezTo>
                      <a:pt x="73717" y="330212"/>
                      <a:pt x="73717" y="330212"/>
                      <a:pt x="76710" y="327223"/>
                    </a:cubicBezTo>
                    <a:cubicBezTo>
                      <a:pt x="76710" y="327223"/>
                      <a:pt x="76710" y="327223"/>
                      <a:pt x="81198" y="319752"/>
                    </a:cubicBezTo>
                    <a:cubicBezTo>
                      <a:pt x="81198" y="319752"/>
                      <a:pt x="81198" y="319752"/>
                      <a:pt x="88678" y="310787"/>
                    </a:cubicBezTo>
                    <a:cubicBezTo>
                      <a:pt x="88678" y="310787"/>
                      <a:pt x="88678" y="310787"/>
                      <a:pt x="97655" y="304811"/>
                    </a:cubicBezTo>
                    <a:cubicBezTo>
                      <a:pt x="97655" y="304811"/>
                      <a:pt x="97655" y="304811"/>
                      <a:pt x="103639" y="297340"/>
                    </a:cubicBezTo>
                    <a:cubicBezTo>
                      <a:pt x="103639" y="297340"/>
                      <a:pt x="103639" y="297340"/>
                      <a:pt x="105135" y="289869"/>
                    </a:cubicBezTo>
                    <a:cubicBezTo>
                      <a:pt x="105135" y="289869"/>
                      <a:pt x="105135" y="289869"/>
                      <a:pt x="112615" y="282398"/>
                    </a:cubicBezTo>
                    <a:cubicBezTo>
                      <a:pt x="112615" y="282398"/>
                      <a:pt x="112615" y="282398"/>
                      <a:pt x="118600" y="280904"/>
                    </a:cubicBezTo>
                    <a:cubicBezTo>
                      <a:pt x="118600" y="280904"/>
                      <a:pt x="118600" y="280904"/>
                      <a:pt x="123088" y="283892"/>
                    </a:cubicBezTo>
                    <a:cubicBezTo>
                      <a:pt x="123088" y="283892"/>
                      <a:pt x="123088" y="283892"/>
                      <a:pt x="127576" y="289869"/>
                    </a:cubicBezTo>
                    <a:cubicBezTo>
                      <a:pt x="127576" y="289869"/>
                      <a:pt x="127576" y="289869"/>
                      <a:pt x="130568" y="289869"/>
                    </a:cubicBezTo>
                    <a:cubicBezTo>
                      <a:pt x="130568" y="289869"/>
                      <a:pt x="130568" y="289869"/>
                      <a:pt x="136552" y="289869"/>
                    </a:cubicBezTo>
                    <a:cubicBezTo>
                      <a:pt x="136552" y="289869"/>
                      <a:pt x="136552" y="289869"/>
                      <a:pt x="139545" y="289869"/>
                    </a:cubicBezTo>
                    <a:cubicBezTo>
                      <a:pt x="139545" y="289869"/>
                      <a:pt x="139545" y="289869"/>
                      <a:pt x="144033" y="283892"/>
                    </a:cubicBezTo>
                    <a:cubicBezTo>
                      <a:pt x="144033" y="283892"/>
                      <a:pt x="144033" y="283892"/>
                      <a:pt x="148521" y="283892"/>
                    </a:cubicBezTo>
                    <a:cubicBezTo>
                      <a:pt x="148521" y="283892"/>
                      <a:pt x="148521" y="283892"/>
                      <a:pt x="150017" y="280904"/>
                    </a:cubicBezTo>
                    <a:cubicBezTo>
                      <a:pt x="150017" y="280904"/>
                      <a:pt x="150017" y="280904"/>
                      <a:pt x="153009" y="276422"/>
                    </a:cubicBezTo>
                    <a:cubicBezTo>
                      <a:pt x="153009" y="276422"/>
                      <a:pt x="153009" y="276422"/>
                      <a:pt x="154505" y="280904"/>
                    </a:cubicBezTo>
                    <a:cubicBezTo>
                      <a:pt x="154505" y="280904"/>
                      <a:pt x="154505" y="280904"/>
                      <a:pt x="158994" y="280904"/>
                    </a:cubicBezTo>
                    <a:cubicBezTo>
                      <a:pt x="158994" y="280904"/>
                      <a:pt x="158994" y="280904"/>
                      <a:pt x="161986" y="280904"/>
                    </a:cubicBezTo>
                    <a:cubicBezTo>
                      <a:pt x="161986" y="280904"/>
                      <a:pt x="161986" y="280904"/>
                      <a:pt x="167970" y="280904"/>
                    </a:cubicBezTo>
                    <a:cubicBezTo>
                      <a:pt x="167970" y="280904"/>
                      <a:pt x="167970" y="280904"/>
                      <a:pt x="172458" y="276422"/>
                    </a:cubicBezTo>
                    <a:cubicBezTo>
                      <a:pt x="172458" y="276422"/>
                      <a:pt x="172458" y="276422"/>
                      <a:pt x="176946" y="276422"/>
                    </a:cubicBezTo>
                    <a:cubicBezTo>
                      <a:pt x="176946" y="276422"/>
                      <a:pt x="176946" y="276422"/>
                      <a:pt x="178442" y="265962"/>
                    </a:cubicBezTo>
                    <a:cubicBezTo>
                      <a:pt x="178442" y="265962"/>
                      <a:pt x="178442" y="265962"/>
                      <a:pt x="175450" y="258491"/>
                    </a:cubicBezTo>
                    <a:cubicBezTo>
                      <a:pt x="175450" y="258491"/>
                      <a:pt x="175450" y="258491"/>
                      <a:pt x="172458" y="246538"/>
                    </a:cubicBezTo>
                    <a:cubicBezTo>
                      <a:pt x="172458" y="246538"/>
                      <a:pt x="172458" y="246538"/>
                      <a:pt x="178442" y="246538"/>
                    </a:cubicBezTo>
                    <a:cubicBezTo>
                      <a:pt x="178442" y="246538"/>
                      <a:pt x="178442" y="246538"/>
                      <a:pt x="184427" y="240561"/>
                    </a:cubicBezTo>
                    <a:cubicBezTo>
                      <a:pt x="184427" y="240561"/>
                      <a:pt x="184427" y="240561"/>
                      <a:pt x="182931" y="231596"/>
                    </a:cubicBezTo>
                    <a:cubicBezTo>
                      <a:pt x="182931" y="231596"/>
                      <a:pt x="182931" y="231596"/>
                      <a:pt x="173954" y="230102"/>
                    </a:cubicBezTo>
                    <a:cubicBezTo>
                      <a:pt x="173954" y="230102"/>
                      <a:pt x="173954" y="230102"/>
                      <a:pt x="169466" y="230102"/>
                    </a:cubicBezTo>
                    <a:cubicBezTo>
                      <a:pt x="169466" y="230102"/>
                      <a:pt x="169466" y="230102"/>
                      <a:pt x="164978" y="231596"/>
                    </a:cubicBezTo>
                    <a:cubicBezTo>
                      <a:pt x="164978" y="231596"/>
                      <a:pt x="164978" y="231596"/>
                      <a:pt x="160490" y="234585"/>
                    </a:cubicBezTo>
                    <a:cubicBezTo>
                      <a:pt x="160490" y="234585"/>
                      <a:pt x="160490" y="234585"/>
                      <a:pt x="157497" y="240561"/>
                    </a:cubicBezTo>
                    <a:cubicBezTo>
                      <a:pt x="157497" y="240561"/>
                      <a:pt x="157497" y="240561"/>
                      <a:pt x="153009" y="240561"/>
                    </a:cubicBezTo>
                    <a:cubicBezTo>
                      <a:pt x="153009" y="240561"/>
                      <a:pt x="153009" y="240561"/>
                      <a:pt x="148521" y="231596"/>
                    </a:cubicBezTo>
                    <a:cubicBezTo>
                      <a:pt x="148521" y="231596"/>
                      <a:pt x="148521" y="231596"/>
                      <a:pt x="136552" y="231596"/>
                    </a:cubicBezTo>
                    <a:cubicBezTo>
                      <a:pt x="136552" y="231596"/>
                      <a:pt x="136552" y="231596"/>
                      <a:pt x="123088" y="231596"/>
                    </a:cubicBezTo>
                    <a:cubicBezTo>
                      <a:pt x="123088" y="231596"/>
                      <a:pt x="123088" y="231596"/>
                      <a:pt x="112615" y="228608"/>
                    </a:cubicBezTo>
                    <a:cubicBezTo>
                      <a:pt x="112615" y="228608"/>
                      <a:pt x="112615" y="228608"/>
                      <a:pt x="102143" y="224125"/>
                    </a:cubicBezTo>
                    <a:cubicBezTo>
                      <a:pt x="102143" y="224125"/>
                      <a:pt x="102143" y="224125"/>
                      <a:pt x="96158" y="216654"/>
                    </a:cubicBezTo>
                    <a:cubicBezTo>
                      <a:pt x="96158" y="216654"/>
                      <a:pt x="96158" y="216654"/>
                      <a:pt x="94662" y="201713"/>
                    </a:cubicBezTo>
                    <a:cubicBezTo>
                      <a:pt x="94662" y="201713"/>
                      <a:pt x="94662" y="201713"/>
                      <a:pt x="102143" y="198724"/>
                    </a:cubicBezTo>
                    <a:cubicBezTo>
                      <a:pt x="102143" y="198724"/>
                      <a:pt x="102143" y="198724"/>
                      <a:pt x="106631" y="195736"/>
                    </a:cubicBezTo>
                    <a:cubicBezTo>
                      <a:pt x="106631" y="195736"/>
                      <a:pt x="106631" y="195736"/>
                      <a:pt x="96158" y="191254"/>
                    </a:cubicBezTo>
                    <a:cubicBezTo>
                      <a:pt x="96158" y="191254"/>
                      <a:pt x="96158" y="191254"/>
                      <a:pt x="90174" y="186771"/>
                    </a:cubicBezTo>
                    <a:cubicBezTo>
                      <a:pt x="90174" y="186771"/>
                      <a:pt x="90174" y="186771"/>
                      <a:pt x="82694" y="180794"/>
                    </a:cubicBezTo>
                    <a:cubicBezTo>
                      <a:pt x="82694" y="180794"/>
                      <a:pt x="82694" y="180794"/>
                      <a:pt x="81198" y="177806"/>
                    </a:cubicBezTo>
                    <a:cubicBezTo>
                      <a:pt x="81198" y="177806"/>
                      <a:pt x="81198" y="177806"/>
                      <a:pt x="87182" y="173324"/>
                    </a:cubicBezTo>
                    <a:cubicBezTo>
                      <a:pt x="87182" y="173324"/>
                      <a:pt x="87182" y="173324"/>
                      <a:pt x="91670" y="173324"/>
                    </a:cubicBezTo>
                    <a:cubicBezTo>
                      <a:pt x="91670" y="173324"/>
                      <a:pt x="91670" y="173324"/>
                      <a:pt x="100647" y="171829"/>
                    </a:cubicBezTo>
                    <a:cubicBezTo>
                      <a:pt x="100647" y="171829"/>
                      <a:pt x="100647" y="171829"/>
                      <a:pt x="112615" y="164359"/>
                    </a:cubicBezTo>
                    <a:cubicBezTo>
                      <a:pt x="112615" y="164359"/>
                      <a:pt x="112615" y="164359"/>
                      <a:pt x="114111" y="167347"/>
                    </a:cubicBezTo>
                    <a:cubicBezTo>
                      <a:pt x="114111" y="167347"/>
                      <a:pt x="114111" y="167347"/>
                      <a:pt x="121592" y="164359"/>
                    </a:cubicBezTo>
                    <a:cubicBezTo>
                      <a:pt x="121592" y="164359"/>
                      <a:pt x="121592" y="164359"/>
                      <a:pt x="121592" y="162864"/>
                    </a:cubicBezTo>
                    <a:cubicBezTo>
                      <a:pt x="121592" y="162864"/>
                      <a:pt x="121592" y="162864"/>
                      <a:pt x="126080" y="161370"/>
                    </a:cubicBezTo>
                    <a:cubicBezTo>
                      <a:pt x="126080" y="161370"/>
                      <a:pt x="126080" y="161370"/>
                      <a:pt x="135056" y="159876"/>
                    </a:cubicBezTo>
                    <a:cubicBezTo>
                      <a:pt x="135056" y="159876"/>
                      <a:pt x="135056" y="159876"/>
                      <a:pt x="145529" y="159876"/>
                    </a:cubicBezTo>
                    <a:cubicBezTo>
                      <a:pt x="145529" y="159876"/>
                      <a:pt x="145529" y="159876"/>
                      <a:pt x="150017" y="162864"/>
                    </a:cubicBezTo>
                    <a:cubicBezTo>
                      <a:pt x="150017" y="162864"/>
                      <a:pt x="150017" y="162864"/>
                      <a:pt x="147025" y="170335"/>
                    </a:cubicBezTo>
                    <a:cubicBezTo>
                      <a:pt x="147025" y="170335"/>
                      <a:pt x="147025" y="170335"/>
                      <a:pt x="147025" y="173324"/>
                    </a:cubicBezTo>
                    <a:cubicBezTo>
                      <a:pt x="147025" y="173324"/>
                      <a:pt x="147025" y="173324"/>
                      <a:pt x="151513" y="176312"/>
                    </a:cubicBezTo>
                    <a:cubicBezTo>
                      <a:pt x="151513" y="176312"/>
                      <a:pt x="151513" y="176312"/>
                      <a:pt x="156001" y="180794"/>
                    </a:cubicBezTo>
                    <a:cubicBezTo>
                      <a:pt x="156001" y="180794"/>
                      <a:pt x="156001" y="180794"/>
                      <a:pt x="164978" y="180794"/>
                    </a:cubicBezTo>
                    <a:cubicBezTo>
                      <a:pt x="164978" y="180794"/>
                      <a:pt x="164978" y="180794"/>
                      <a:pt x="176946" y="183783"/>
                    </a:cubicBezTo>
                    <a:cubicBezTo>
                      <a:pt x="176946" y="183783"/>
                      <a:pt x="176946" y="183783"/>
                      <a:pt x="185923" y="179300"/>
                    </a:cubicBezTo>
                    <a:cubicBezTo>
                      <a:pt x="185923" y="179300"/>
                      <a:pt x="185923" y="179300"/>
                      <a:pt x="191907" y="173324"/>
                    </a:cubicBezTo>
                    <a:cubicBezTo>
                      <a:pt x="191907" y="173324"/>
                      <a:pt x="191907" y="173324"/>
                      <a:pt x="199387" y="168841"/>
                    </a:cubicBezTo>
                    <a:cubicBezTo>
                      <a:pt x="199387" y="168841"/>
                      <a:pt x="193403" y="165853"/>
                      <a:pt x="191907" y="165853"/>
                    </a:cubicBezTo>
                    <a:cubicBezTo>
                      <a:pt x="188915" y="165853"/>
                      <a:pt x="185923" y="162864"/>
                      <a:pt x="185923" y="162864"/>
                    </a:cubicBezTo>
                    <a:cubicBezTo>
                      <a:pt x="185923" y="162864"/>
                      <a:pt x="185923" y="162864"/>
                      <a:pt x="181435" y="159876"/>
                    </a:cubicBezTo>
                    <a:cubicBezTo>
                      <a:pt x="181435" y="159876"/>
                      <a:pt x="181435" y="159876"/>
                      <a:pt x="181435" y="153899"/>
                    </a:cubicBezTo>
                    <a:cubicBezTo>
                      <a:pt x="181435" y="153899"/>
                      <a:pt x="181435" y="153899"/>
                      <a:pt x="179939" y="146428"/>
                    </a:cubicBezTo>
                    <a:cubicBezTo>
                      <a:pt x="179939" y="146428"/>
                      <a:pt x="179939" y="146428"/>
                      <a:pt x="157497" y="140452"/>
                    </a:cubicBezTo>
                    <a:cubicBezTo>
                      <a:pt x="157497" y="140452"/>
                      <a:pt x="157497" y="140452"/>
                      <a:pt x="157497" y="118039"/>
                    </a:cubicBezTo>
                    <a:cubicBezTo>
                      <a:pt x="157497" y="118039"/>
                      <a:pt x="157497" y="118039"/>
                      <a:pt x="147025" y="107580"/>
                    </a:cubicBezTo>
                    <a:cubicBezTo>
                      <a:pt x="147025" y="107580"/>
                      <a:pt x="147025" y="107580"/>
                      <a:pt x="126080" y="85168"/>
                    </a:cubicBezTo>
                    <a:cubicBezTo>
                      <a:pt x="126080" y="85168"/>
                      <a:pt x="126080" y="85168"/>
                      <a:pt x="129072" y="85168"/>
                    </a:cubicBezTo>
                    <a:cubicBezTo>
                      <a:pt x="129072" y="85168"/>
                      <a:pt x="129072" y="85168"/>
                      <a:pt x="129072" y="80685"/>
                    </a:cubicBezTo>
                    <a:cubicBezTo>
                      <a:pt x="129072" y="80685"/>
                      <a:pt x="129072" y="80685"/>
                      <a:pt x="136552" y="80685"/>
                    </a:cubicBezTo>
                    <a:cubicBezTo>
                      <a:pt x="136552" y="80685"/>
                      <a:pt x="136552" y="80685"/>
                      <a:pt x="136552" y="74708"/>
                    </a:cubicBezTo>
                    <a:cubicBezTo>
                      <a:pt x="136552" y="74708"/>
                      <a:pt x="136552" y="74708"/>
                      <a:pt x="138048" y="67238"/>
                    </a:cubicBezTo>
                    <a:cubicBezTo>
                      <a:pt x="138048" y="67238"/>
                      <a:pt x="138048" y="67238"/>
                      <a:pt x="142537" y="67238"/>
                    </a:cubicBezTo>
                    <a:cubicBezTo>
                      <a:pt x="142537" y="67238"/>
                      <a:pt x="142537" y="67238"/>
                      <a:pt x="147025" y="70226"/>
                    </a:cubicBezTo>
                    <a:cubicBezTo>
                      <a:pt x="147025" y="70226"/>
                      <a:pt x="147025" y="70226"/>
                      <a:pt x="154505" y="70226"/>
                    </a:cubicBezTo>
                    <a:cubicBezTo>
                      <a:pt x="154505" y="70226"/>
                      <a:pt x="154505" y="70226"/>
                      <a:pt x="157497" y="70226"/>
                    </a:cubicBezTo>
                    <a:cubicBezTo>
                      <a:pt x="157497" y="70226"/>
                      <a:pt x="157497" y="70226"/>
                      <a:pt x="164978" y="70226"/>
                    </a:cubicBezTo>
                    <a:cubicBezTo>
                      <a:pt x="164978" y="70226"/>
                      <a:pt x="164978" y="70226"/>
                      <a:pt x="178442" y="65743"/>
                    </a:cubicBezTo>
                    <a:cubicBezTo>
                      <a:pt x="178442" y="65743"/>
                      <a:pt x="178442" y="65743"/>
                      <a:pt x="182931" y="61261"/>
                    </a:cubicBezTo>
                    <a:cubicBezTo>
                      <a:pt x="182931" y="61261"/>
                      <a:pt x="182931" y="61261"/>
                      <a:pt x="187419" y="53790"/>
                    </a:cubicBezTo>
                    <a:cubicBezTo>
                      <a:pt x="187419" y="53790"/>
                      <a:pt x="187419" y="53790"/>
                      <a:pt x="187419" y="41837"/>
                    </a:cubicBezTo>
                    <a:cubicBezTo>
                      <a:pt x="187419" y="41837"/>
                      <a:pt x="187419" y="41837"/>
                      <a:pt x="191907" y="41837"/>
                    </a:cubicBezTo>
                    <a:cubicBezTo>
                      <a:pt x="191907" y="41837"/>
                      <a:pt x="191907" y="41837"/>
                      <a:pt x="196395" y="37354"/>
                    </a:cubicBezTo>
                    <a:cubicBezTo>
                      <a:pt x="196395" y="37354"/>
                      <a:pt x="196395" y="37354"/>
                      <a:pt x="205372" y="29883"/>
                    </a:cubicBezTo>
                    <a:cubicBezTo>
                      <a:pt x="205372" y="29883"/>
                      <a:pt x="205372" y="29883"/>
                      <a:pt x="221829" y="26895"/>
                    </a:cubicBezTo>
                    <a:cubicBezTo>
                      <a:pt x="221829" y="26895"/>
                      <a:pt x="221829" y="26895"/>
                      <a:pt x="227813" y="19424"/>
                    </a:cubicBezTo>
                    <a:cubicBezTo>
                      <a:pt x="227813" y="19424"/>
                      <a:pt x="227813" y="19424"/>
                      <a:pt x="233797" y="16436"/>
                    </a:cubicBezTo>
                    <a:cubicBezTo>
                      <a:pt x="233797" y="16436"/>
                      <a:pt x="233797" y="16436"/>
                      <a:pt x="238285" y="11953"/>
                    </a:cubicBezTo>
                    <a:cubicBezTo>
                      <a:pt x="238285" y="11953"/>
                      <a:pt x="238285" y="11953"/>
                      <a:pt x="262223" y="13447"/>
                    </a:cubicBezTo>
                    <a:cubicBezTo>
                      <a:pt x="262223" y="13447"/>
                      <a:pt x="262223" y="13447"/>
                      <a:pt x="265215" y="5977"/>
                    </a:cubicBezTo>
                    <a:cubicBezTo>
                      <a:pt x="265215" y="5977"/>
                      <a:pt x="265215" y="5977"/>
                      <a:pt x="277183" y="0"/>
                    </a:cubicBez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sp>
            <p:nvSpPr>
              <p:cNvPr id="368" name="Freeform 367">
                <a:extLst>
                  <a:ext uri="{FF2B5EF4-FFF2-40B4-BE49-F238E27FC236}">
                    <a16:creationId xmlns:a16="http://schemas.microsoft.com/office/drawing/2014/main" id="{2C1E4BBD-1B1F-5241-83CF-BA7223E9F3D7}"/>
                  </a:ext>
                </a:extLst>
              </p:cNvPr>
              <p:cNvSpPr>
                <a:spLocks/>
              </p:cNvSpPr>
              <p:nvPr/>
            </p:nvSpPr>
            <p:spPr bwMode="auto">
              <a:xfrm>
                <a:off x="13611160" y="11250441"/>
                <a:ext cx="1775369" cy="1128259"/>
              </a:xfrm>
              <a:custGeom>
                <a:avLst/>
                <a:gdLst>
                  <a:gd name="connsiteX0" fmla="*/ 373837 w 470138"/>
                  <a:gd name="connsiteY0" fmla="*/ 178512 h 298698"/>
                  <a:gd name="connsiteX1" fmla="*/ 376847 w 470138"/>
                  <a:gd name="connsiteY1" fmla="*/ 178512 h 298698"/>
                  <a:gd name="connsiteX2" fmla="*/ 382865 w 470138"/>
                  <a:gd name="connsiteY2" fmla="*/ 178512 h 298698"/>
                  <a:gd name="connsiteX3" fmla="*/ 391894 w 470138"/>
                  <a:gd name="connsiteY3" fmla="*/ 184447 h 298698"/>
                  <a:gd name="connsiteX4" fmla="*/ 399417 w 470138"/>
                  <a:gd name="connsiteY4" fmla="*/ 191866 h 298698"/>
                  <a:gd name="connsiteX5" fmla="*/ 405436 w 470138"/>
                  <a:gd name="connsiteY5" fmla="*/ 193350 h 298698"/>
                  <a:gd name="connsiteX6" fmla="*/ 409950 w 470138"/>
                  <a:gd name="connsiteY6" fmla="*/ 193350 h 298698"/>
                  <a:gd name="connsiteX7" fmla="*/ 417474 w 470138"/>
                  <a:gd name="connsiteY7" fmla="*/ 193350 h 298698"/>
                  <a:gd name="connsiteX8" fmla="*/ 432521 w 470138"/>
                  <a:gd name="connsiteY8" fmla="*/ 199285 h 298698"/>
                  <a:gd name="connsiteX9" fmla="*/ 441549 w 470138"/>
                  <a:gd name="connsiteY9" fmla="*/ 206704 h 298698"/>
                  <a:gd name="connsiteX10" fmla="*/ 441549 w 470138"/>
                  <a:gd name="connsiteY10" fmla="*/ 212639 h 298698"/>
                  <a:gd name="connsiteX11" fmla="*/ 444558 w 470138"/>
                  <a:gd name="connsiteY11" fmla="*/ 225993 h 298698"/>
                  <a:gd name="connsiteX12" fmla="*/ 449072 w 470138"/>
                  <a:gd name="connsiteY12" fmla="*/ 225993 h 298698"/>
                  <a:gd name="connsiteX13" fmla="*/ 452082 w 470138"/>
                  <a:gd name="connsiteY13" fmla="*/ 225993 h 298698"/>
                  <a:gd name="connsiteX14" fmla="*/ 452082 w 470138"/>
                  <a:gd name="connsiteY14" fmla="*/ 234896 h 298698"/>
                  <a:gd name="connsiteX15" fmla="*/ 456596 w 470138"/>
                  <a:gd name="connsiteY15" fmla="*/ 234896 h 298698"/>
                  <a:gd name="connsiteX16" fmla="*/ 462615 w 470138"/>
                  <a:gd name="connsiteY16" fmla="*/ 240831 h 298698"/>
                  <a:gd name="connsiteX17" fmla="*/ 470138 w 470138"/>
                  <a:gd name="connsiteY17" fmla="*/ 240831 h 298698"/>
                  <a:gd name="connsiteX18" fmla="*/ 462615 w 470138"/>
                  <a:gd name="connsiteY18" fmla="*/ 251217 h 298698"/>
                  <a:gd name="connsiteX19" fmla="*/ 456596 w 470138"/>
                  <a:gd name="connsiteY19" fmla="*/ 254185 h 298698"/>
                  <a:gd name="connsiteX20" fmla="*/ 449072 w 470138"/>
                  <a:gd name="connsiteY20" fmla="*/ 267539 h 298698"/>
                  <a:gd name="connsiteX21" fmla="*/ 440044 w 470138"/>
                  <a:gd name="connsiteY21" fmla="*/ 270506 h 298698"/>
                  <a:gd name="connsiteX22" fmla="*/ 421988 w 470138"/>
                  <a:gd name="connsiteY22" fmla="*/ 270506 h 298698"/>
                  <a:gd name="connsiteX23" fmla="*/ 418978 w 470138"/>
                  <a:gd name="connsiteY23" fmla="*/ 274958 h 298698"/>
                  <a:gd name="connsiteX24" fmla="*/ 406941 w 470138"/>
                  <a:gd name="connsiteY24" fmla="*/ 274958 h 298698"/>
                  <a:gd name="connsiteX25" fmla="*/ 403931 w 470138"/>
                  <a:gd name="connsiteY25" fmla="*/ 285344 h 298698"/>
                  <a:gd name="connsiteX26" fmla="*/ 402427 w 470138"/>
                  <a:gd name="connsiteY26" fmla="*/ 292763 h 298698"/>
                  <a:gd name="connsiteX27" fmla="*/ 399417 w 470138"/>
                  <a:gd name="connsiteY27" fmla="*/ 295731 h 298698"/>
                  <a:gd name="connsiteX28" fmla="*/ 396408 w 470138"/>
                  <a:gd name="connsiteY28" fmla="*/ 298698 h 298698"/>
                  <a:gd name="connsiteX29" fmla="*/ 391894 w 470138"/>
                  <a:gd name="connsiteY29" fmla="*/ 298698 h 298698"/>
                  <a:gd name="connsiteX30" fmla="*/ 387380 w 470138"/>
                  <a:gd name="connsiteY30" fmla="*/ 291279 h 298698"/>
                  <a:gd name="connsiteX31" fmla="*/ 376847 w 470138"/>
                  <a:gd name="connsiteY31" fmla="*/ 286828 h 298698"/>
                  <a:gd name="connsiteX32" fmla="*/ 370828 w 470138"/>
                  <a:gd name="connsiteY32" fmla="*/ 280893 h 298698"/>
                  <a:gd name="connsiteX33" fmla="*/ 370828 w 470138"/>
                  <a:gd name="connsiteY33" fmla="*/ 277925 h 298698"/>
                  <a:gd name="connsiteX34" fmla="*/ 370828 w 470138"/>
                  <a:gd name="connsiteY34" fmla="*/ 273474 h 298698"/>
                  <a:gd name="connsiteX35" fmla="*/ 370828 w 470138"/>
                  <a:gd name="connsiteY35" fmla="*/ 267539 h 298698"/>
                  <a:gd name="connsiteX36" fmla="*/ 370828 w 470138"/>
                  <a:gd name="connsiteY36" fmla="*/ 264571 h 298698"/>
                  <a:gd name="connsiteX37" fmla="*/ 370828 w 470138"/>
                  <a:gd name="connsiteY37" fmla="*/ 252701 h 298698"/>
                  <a:gd name="connsiteX38" fmla="*/ 370828 w 470138"/>
                  <a:gd name="connsiteY38" fmla="*/ 249733 h 298698"/>
                  <a:gd name="connsiteX39" fmla="*/ 370828 w 470138"/>
                  <a:gd name="connsiteY39" fmla="*/ 242315 h 298698"/>
                  <a:gd name="connsiteX40" fmla="*/ 363304 w 470138"/>
                  <a:gd name="connsiteY40" fmla="*/ 231928 h 298698"/>
                  <a:gd name="connsiteX41" fmla="*/ 358790 w 470138"/>
                  <a:gd name="connsiteY41" fmla="*/ 227477 h 298698"/>
                  <a:gd name="connsiteX42" fmla="*/ 358790 w 470138"/>
                  <a:gd name="connsiteY42" fmla="*/ 223025 h 298698"/>
                  <a:gd name="connsiteX43" fmla="*/ 358790 w 470138"/>
                  <a:gd name="connsiteY43" fmla="*/ 220058 h 298698"/>
                  <a:gd name="connsiteX44" fmla="*/ 363304 w 470138"/>
                  <a:gd name="connsiteY44" fmla="*/ 214123 h 298698"/>
                  <a:gd name="connsiteX45" fmla="*/ 370828 w 470138"/>
                  <a:gd name="connsiteY45" fmla="*/ 212639 h 298698"/>
                  <a:gd name="connsiteX46" fmla="*/ 376847 w 470138"/>
                  <a:gd name="connsiteY46" fmla="*/ 206704 h 298698"/>
                  <a:gd name="connsiteX47" fmla="*/ 376847 w 470138"/>
                  <a:gd name="connsiteY47" fmla="*/ 199285 h 298698"/>
                  <a:gd name="connsiteX48" fmla="*/ 373837 w 470138"/>
                  <a:gd name="connsiteY48" fmla="*/ 185931 h 298698"/>
                  <a:gd name="connsiteX49" fmla="*/ 373837 w 470138"/>
                  <a:gd name="connsiteY49" fmla="*/ 182963 h 298698"/>
                  <a:gd name="connsiteX50" fmla="*/ 373837 w 470138"/>
                  <a:gd name="connsiteY50" fmla="*/ 178512 h 298698"/>
                  <a:gd name="connsiteX51" fmla="*/ 275720 w 470138"/>
                  <a:gd name="connsiteY51" fmla="*/ 116651 h 298698"/>
                  <a:gd name="connsiteX52" fmla="*/ 281022 w 470138"/>
                  <a:gd name="connsiteY52" fmla="*/ 116651 h 298698"/>
                  <a:gd name="connsiteX53" fmla="*/ 284556 w 470138"/>
                  <a:gd name="connsiteY53" fmla="*/ 116651 h 298698"/>
                  <a:gd name="connsiteX54" fmla="*/ 288091 w 470138"/>
                  <a:gd name="connsiteY54" fmla="*/ 120186 h 298698"/>
                  <a:gd name="connsiteX55" fmla="*/ 291626 w 470138"/>
                  <a:gd name="connsiteY55" fmla="*/ 125488 h 298698"/>
                  <a:gd name="connsiteX56" fmla="*/ 291626 w 470138"/>
                  <a:gd name="connsiteY56" fmla="*/ 130790 h 298698"/>
                  <a:gd name="connsiteX57" fmla="*/ 284556 w 470138"/>
                  <a:gd name="connsiteY57" fmla="*/ 134325 h 298698"/>
                  <a:gd name="connsiteX58" fmla="*/ 281022 w 470138"/>
                  <a:gd name="connsiteY58" fmla="*/ 130790 h 298698"/>
                  <a:gd name="connsiteX59" fmla="*/ 281022 w 470138"/>
                  <a:gd name="connsiteY59" fmla="*/ 125488 h 298698"/>
                  <a:gd name="connsiteX60" fmla="*/ 275720 w 470138"/>
                  <a:gd name="connsiteY60" fmla="*/ 121953 h 298698"/>
                  <a:gd name="connsiteX61" fmla="*/ 275720 w 470138"/>
                  <a:gd name="connsiteY61" fmla="*/ 120186 h 298698"/>
                  <a:gd name="connsiteX62" fmla="*/ 309302 w 470138"/>
                  <a:gd name="connsiteY62" fmla="*/ 107814 h 298698"/>
                  <a:gd name="connsiteX63" fmla="*/ 314604 w 470138"/>
                  <a:gd name="connsiteY63" fmla="*/ 107814 h 298698"/>
                  <a:gd name="connsiteX64" fmla="*/ 319906 w 470138"/>
                  <a:gd name="connsiteY64" fmla="*/ 113116 h 298698"/>
                  <a:gd name="connsiteX65" fmla="*/ 323441 w 470138"/>
                  <a:gd name="connsiteY65" fmla="*/ 116651 h 298698"/>
                  <a:gd name="connsiteX66" fmla="*/ 330511 w 470138"/>
                  <a:gd name="connsiteY66" fmla="*/ 120186 h 298698"/>
                  <a:gd name="connsiteX67" fmla="*/ 330511 w 470138"/>
                  <a:gd name="connsiteY67" fmla="*/ 116651 h 298698"/>
                  <a:gd name="connsiteX68" fmla="*/ 339348 w 470138"/>
                  <a:gd name="connsiteY68" fmla="*/ 116651 h 298698"/>
                  <a:gd name="connsiteX69" fmla="*/ 344650 w 470138"/>
                  <a:gd name="connsiteY69" fmla="*/ 116651 h 298698"/>
                  <a:gd name="connsiteX70" fmla="*/ 351720 w 470138"/>
                  <a:gd name="connsiteY70" fmla="*/ 121954 h 298698"/>
                  <a:gd name="connsiteX71" fmla="*/ 364092 w 470138"/>
                  <a:gd name="connsiteY71" fmla="*/ 130791 h 298698"/>
                  <a:gd name="connsiteX72" fmla="*/ 364092 w 470138"/>
                  <a:gd name="connsiteY72" fmla="*/ 139628 h 298698"/>
                  <a:gd name="connsiteX73" fmla="*/ 358789 w 470138"/>
                  <a:gd name="connsiteY73" fmla="*/ 144930 h 298698"/>
                  <a:gd name="connsiteX74" fmla="*/ 353487 w 470138"/>
                  <a:gd name="connsiteY74" fmla="*/ 144930 h 298698"/>
                  <a:gd name="connsiteX75" fmla="*/ 348185 w 470138"/>
                  <a:gd name="connsiteY75" fmla="*/ 144930 h 298698"/>
                  <a:gd name="connsiteX76" fmla="*/ 348185 w 470138"/>
                  <a:gd name="connsiteY76" fmla="*/ 146698 h 298698"/>
                  <a:gd name="connsiteX77" fmla="*/ 335813 w 470138"/>
                  <a:gd name="connsiteY77" fmla="*/ 146698 h 298698"/>
                  <a:gd name="connsiteX78" fmla="*/ 330511 w 470138"/>
                  <a:gd name="connsiteY78" fmla="*/ 146698 h 298698"/>
                  <a:gd name="connsiteX79" fmla="*/ 328743 w 470138"/>
                  <a:gd name="connsiteY79" fmla="*/ 146698 h 298698"/>
                  <a:gd name="connsiteX80" fmla="*/ 325209 w 470138"/>
                  <a:gd name="connsiteY80" fmla="*/ 141396 h 298698"/>
                  <a:gd name="connsiteX81" fmla="*/ 323441 w 470138"/>
                  <a:gd name="connsiteY81" fmla="*/ 134326 h 298698"/>
                  <a:gd name="connsiteX82" fmla="*/ 325209 w 470138"/>
                  <a:gd name="connsiteY82" fmla="*/ 127256 h 298698"/>
                  <a:gd name="connsiteX83" fmla="*/ 316371 w 470138"/>
                  <a:gd name="connsiteY83" fmla="*/ 127256 h 298698"/>
                  <a:gd name="connsiteX84" fmla="*/ 309302 w 470138"/>
                  <a:gd name="connsiteY84" fmla="*/ 125488 h 298698"/>
                  <a:gd name="connsiteX85" fmla="*/ 309302 w 470138"/>
                  <a:gd name="connsiteY85" fmla="*/ 120186 h 298698"/>
                  <a:gd name="connsiteX86" fmla="*/ 309302 w 470138"/>
                  <a:gd name="connsiteY86" fmla="*/ 116651 h 298698"/>
                  <a:gd name="connsiteX87" fmla="*/ 309302 w 470138"/>
                  <a:gd name="connsiteY87" fmla="*/ 111349 h 298698"/>
                  <a:gd name="connsiteX88" fmla="*/ 258045 w 470138"/>
                  <a:gd name="connsiteY88" fmla="*/ 93675 h 298698"/>
                  <a:gd name="connsiteX89" fmla="*/ 261580 w 470138"/>
                  <a:gd name="connsiteY89" fmla="*/ 93675 h 298698"/>
                  <a:gd name="connsiteX90" fmla="*/ 272184 w 470138"/>
                  <a:gd name="connsiteY90" fmla="*/ 93675 h 298698"/>
                  <a:gd name="connsiteX91" fmla="*/ 281021 w 470138"/>
                  <a:gd name="connsiteY91" fmla="*/ 93675 h 298698"/>
                  <a:gd name="connsiteX92" fmla="*/ 282788 w 470138"/>
                  <a:gd name="connsiteY92" fmla="*/ 100745 h 298698"/>
                  <a:gd name="connsiteX93" fmla="*/ 302230 w 470138"/>
                  <a:gd name="connsiteY93" fmla="*/ 100745 h 298698"/>
                  <a:gd name="connsiteX94" fmla="*/ 293393 w 470138"/>
                  <a:gd name="connsiteY94" fmla="*/ 106047 h 298698"/>
                  <a:gd name="connsiteX95" fmla="*/ 291625 w 470138"/>
                  <a:gd name="connsiteY95" fmla="*/ 107815 h 298698"/>
                  <a:gd name="connsiteX96" fmla="*/ 291625 w 470138"/>
                  <a:gd name="connsiteY96" fmla="*/ 104280 h 298698"/>
                  <a:gd name="connsiteX97" fmla="*/ 286323 w 470138"/>
                  <a:gd name="connsiteY97" fmla="*/ 104280 h 298698"/>
                  <a:gd name="connsiteX98" fmla="*/ 282788 w 470138"/>
                  <a:gd name="connsiteY98" fmla="*/ 104280 h 298698"/>
                  <a:gd name="connsiteX99" fmla="*/ 277486 w 470138"/>
                  <a:gd name="connsiteY99" fmla="*/ 104280 h 298698"/>
                  <a:gd name="connsiteX100" fmla="*/ 273951 w 470138"/>
                  <a:gd name="connsiteY100" fmla="*/ 104280 h 298698"/>
                  <a:gd name="connsiteX101" fmla="*/ 270417 w 470138"/>
                  <a:gd name="connsiteY101" fmla="*/ 104280 h 298698"/>
                  <a:gd name="connsiteX102" fmla="*/ 265114 w 470138"/>
                  <a:gd name="connsiteY102" fmla="*/ 104280 h 298698"/>
                  <a:gd name="connsiteX103" fmla="*/ 258045 w 470138"/>
                  <a:gd name="connsiteY103" fmla="*/ 102512 h 298698"/>
                  <a:gd name="connsiteX104" fmla="*/ 258045 w 470138"/>
                  <a:gd name="connsiteY104" fmla="*/ 100745 h 298698"/>
                  <a:gd name="connsiteX105" fmla="*/ 258045 w 470138"/>
                  <a:gd name="connsiteY105" fmla="*/ 97210 h 298698"/>
                  <a:gd name="connsiteX106" fmla="*/ 187348 w 470138"/>
                  <a:gd name="connsiteY106" fmla="*/ 51256 h 298698"/>
                  <a:gd name="connsiteX107" fmla="*/ 194417 w 470138"/>
                  <a:gd name="connsiteY107" fmla="*/ 51256 h 298698"/>
                  <a:gd name="connsiteX108" fmla="*/ 197952 w 470138"/>
                  <a:gd name="connsiteY108" fmla="*/ 51256 h 298698"/>
                  <a:gd name="connsiteX109" fmla="*/ 201487 w 470138"/>
                  <a:gd name="connsiteY109" fmla="*/ 53023 h 298698"/>
                  <a:gd name="connsiteX110" fmla="*/ 203254 w 470138"/>
                  <a:gd name="connsiteY110" fmla="*/ 56558 h 298698"/>
                  <a:gd name="connsiteX111" fmla="*/ 208557 w 470138"/>
                  <a:gd name="connsiteY111" fmla="*/ 65395 h 298698"/>
                  <a:gd name="connsiteX112" fmla="*/ 213859 w 470138"/>
                  <a:gd name="connsiteY112" fmla="*/ 65395 h 298698"/>
                  <a:gd name="connsiteX113" fmla="*/ 217394 w 470138"/>
                  <a:gd name="connsiteY113" fmla="*/ 74233 h 298698"/>
                  <a:gd name="connsiteX114" fmla="*/ 217394 w 470138"/>
                  <a:gd name="connsiteY114" fmla="*/ 81303 h 298698"/>
                  <a:gd name="connsiteX115" fmla="*/ 217394 w 470138"/>
                  <a:gd name="connsiteY115" fmla="*/ 86605 h 298698"/>
                  <a:gd name="connsiteX116" fmla="*/ 212092 w 470138"/>
                  <a:gd name="connsiteY116" fmla="*/ 86605 h 298698"/>
                  <a:gd name="connsiteX117" fmla="*/ 206789 w 470138"/>
                  <a:gd name="connsiteY117" fmla="*/ 81303 h 298698"/>
                  <a:gd name="connsiteX118" fmla="*/ 203254 w 470138"/>
                  <a:gd name="connsiteY118" fmla="*/ 77768 h 298698"/>
                  <a:gd name="connsiteX119" fmla="*/ 194417 w 470138"/>
                  <a:gd name="connsiteY119" fmla="*/ 81303 h 298698"/>
                  <a:gd name="connsiteX120" fmla="*/ 187348 w 470138"/>
                  <a:gd name="connsiteY120" fmla="*/ 83070 h 298698"/>
                  <a:gd name="connsiteX121" fmla="*/ 182046 w 470138"/>
                  <a:gd name="connsiteY121" fmla="*/ 79535 h 298698"/>
                  <a:gd name="connsiteX122" fmla="*/ 178511 w 470138"/>
                  <a:gd name="connsiteY122" fmla="*/ 74233 h 298698"/>
                  <a:gd name="connsiteX123" fmla="*/ 169674 w 470138"/>
                  <a:gd name="connsiteY123" fmla="*/ 68930 h 298698"/>
                  <a:gd name="connsiteX124" fmla="*/ 169674 w 470138"/>
                  <a:gd name="connsiteY124" fmla="*/ 63628 h 298698"/>
                  <a:gd name="connsiteX125" fmla="*/ 169674 w 470138"/>
                  <a:gd name="connsiteY125" fmla="*/ 56558 h 298698"/>
                  <a:gd name="connsiteX126" fmla="*/ 174976 w 470138"/>
                  <a:gd name="connsiteY126" fmla="*/ 56558 h 298698"/>
                  <a:gd name="connsiteX127" fmla="*/ 180278 w 470138"/>
                  <a:gd name="connsiteY127" fmla="*/ 56558 h 298698"/>
                  <a:gd name="connsiteX128" fmla="*/ 180278 w 470138"/>
                  <a:gd name="connsiteY128" fmla="*/ 53023 h 298698"/>
                  <a:gd name="connsiteX129" fmla="*/ 12372 w 470138"/>
                  <a:gd name="connsiteY129" fmla="*/ 15908 h 298698"/>
                  <a:gd name="connsiteX130" fmla="*/ 12372 w 470138"/>
                  <a:gd name="connsiteY130" fmla="*/ 21210 h 298698"/>
                  <a:gd name="connsiteX131" fmla="*/ 12372 w 470138"/>
                  <a:gd name="connsiteY131" fmla="*/ 24745 h 298698"/>
                  <a:gd name="connsiteX132" fmla="*/ 8837 w 470138"/>
                  <a:gd name="connsiteY132" fmla="*/ 28280 h 298698"/>
                  <a:gd name="connsiteX133" fmla="*/ 7069 w 470138"/>
                  <a:gd name="connsiteY133" fmla="*/ 31815 h 298698"/>
                  <a:gd name="connsiteX134" fmla="*/ 7069 w 470138"/>
                  <a:gd name="connsiteY134" fmla="*/ 38885 h 298698"/>
                  <a:gd name="connsiteX135" fmla="*/ 0 w 470138"/>
                  <a:gd name="connsiteY135" fmla="*/ 35350 h 298698"/>
                  <a:gd name="connsiteX136" fmla="*/ 0 w 470138"/>
                  <a:gd name="connsiteY136" fmla="*/ 31815 h 298698"/>
                  <a:gd name="connsiteX137" fmla="*/ 0 w 470138"/>
                  <a:gd name="connsiteY137" fmla="*/ 28280 h 298698"/>
                  <a:gd name="connsiteX138" fmla="*/ 7069 w 470138"/>
                  <a:gd name="connsiteY138" fmla="*/ 21210 h 298698"/>
                  <a:gd name="connsiteX139" fmla="*/ 58325 w 470138"/>
                  <a:gd name="connsiteY139" fmla="*/ 0 h 298698"/>
                  <a:gd name="connsiteX140" fmla="*/ 63627 w 470138"/>
                  <a:gd name="connsiteY140" fmla="*/ 0 h 298698"/>
                  <a:gd name="connsiteX141" fmla="*/ 77767 w 470138"/>
                  <a:gd name="connsiteY141" fmla="*/ 0 h 298698"/>
                  <a:gd name="connsiteX142" fmla="*/ 83069 w 470138"/>
                  <a:gd name="connsiteY142" fmla="*/ 0 h 298698"/>
                  <a:gd name="connsiteX143" fmla="*/ 88372 w 470138"/>
                  <a:gd name="connsiteY143" fmla="*/ 8837 h 298698"/>
                  <a:gd name="connsiteX144" fmla="*/ 88372 w 470138"/>
                  <a:gd name="connsiteY144" fmla="*/ 10604 h 298698"/>
                  <a:gd name="connsiteX145" fmla="*/ 88372 w 470138"/>
                  <a:gd name="connsiteY145" fmla="*/ 15907 h 298698"/>
                  <a:gd name="connsiteX146" fmla="*/ 86604 w 470138"/>
                  <a:gd name="connsiteY146" fmla="*/ 21209 h 298698"/>
                  <a:gd name="connsiteX147" fmla="*/ 86604 w 470138"/>
                  <a:gd name="connsiteY147" fmla="*/ 22977 h 298698"/>
                  <a:gd name="connsiteX148" fmla="*/ 81302 w 470138"/>
                  <a:gd name="connsiteY148" fmla="*/ 28279 h 298698"/>
                  <a:gd name="connsiteX149" fmla="*/ 77767 w 470138"/>
                  <a:gd name="connsiteY149" fmla="*/ 28279 h 298698"/>
                  <a:gd name="connsiteX150" fmla="*/ 72465 w 470138"/>
                  <a:gd name="connsiteY150" fmla="*/ 28279 h 298698"/>
                  <a:gd name="connsiteX151" fmla="*/ 68930 w 470138"/>
                  <a:gd name="connsiteY151" fmla="*/ 28279 h 298698"/>
                  <a:gd name="connsiteX152" fmla="*/ 60092 w 470138"/>
                  <a:gd name="connsiteY152" fmla="*/ 22977 h 298698"/>
                  <a:gd name="connsiteX153" fmla="*/ 58325 w 470138"/>
                  <a:gd name="connsiteY153" fmla="*/ 22977 h 298698"/>
                  <a:gd name="connsiteX154" fmla="*/ 49488 w 470138"/>
                  <a:gd name="connsiteY154" fmla="*/ 15907 h 298698"/>
                  <a:gd name="connsiteX155" fmla="*/ 49488 w 470138"/>
                  <a:gd name="connsiteY155" fmla="*/ 7070 h 298698"/>
                  <a:gd name="connsiteX156" fmla="*/ 49488 w 470138"/>
                  <a:gd name="connsiteY156" fmla="*/ 3535 h 29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Lst>
                <a:rect l="l" t="t" r="r" b="b"/>
                <a:pathLst>
                  <a:path w="470138" h="298698">
                    <a:moveTo>
                      <a:pt x="373837" y="178512"/>
                    </a:moveTo>
                    <a:cubicBezTo>
                      <a:pt x="376847" y="178512"/>
                      <a:pt x="376847" y="178512"/>
                      <a:pt x="376847" y="178512"/>
                    </a:cubicBezTo>
                    <a:cubicBezTo>
                      <a:pt x="382865" y="178512"/>
                      <a:pt x="382865" y="178512"/>
                      <a:pt x="382865" y="178512"/>
                    </a:cubicBezTo>
                    <a:cubicBezTo>
                      <a:pt x="391894" y="184447"/>
                      <a:pt x="391894" y="184447"/>
                      <a:pt x="391894" y="184447"/>
                    </a:cubicBezTo>
                    <a:cubicBezTo>
                      <a:pt x="399417" y="191866"/>
                      <a:pt x="399417" y="191866"/>
                      <a:pt x="399417" y="191866"/>
                    </a:cubicBezTo>
                    <a:cubicBezTo>
                      <a:pt x="399417" y="191866"/>
                      <a:pt x="403931" y="193350"/>
                      <a:pt x="405436" y="193350"/>
                    </a:cubicBezTo>
                    <a:cubicBezTo>
                      <a:pt x="406941" y="193350"/>
                      <a:pt x="408445" y="193350"/>
                      <a:pt x="409950" y="193350"/>
                    </a:cubicBezTo>
                    <a:cubicBezTo>
                      <a:pt x="411455" y="193350"/>
                      <a:pt x="417474" y="193350"/>
                      <a:pt x="417474" y="193350"/>
                    </a:cubicBezTo>
                    <a:cubicBezTo>
                      <a:pt x="432521" y="199285"/>
                      <a:pt x="432521" y="199285"/>
                      <a:pt x="432521" y="199285"/>
                    </a:cubicBezTo>
                    <a:cubicBezTo>
                      <a:pt x="441549" y="206704"/>
                      <a:pt x="441549" y="206704"/>
                      <a:pt x="441549" y="206704"/>
                    </a:cubicBezTo>
                    <a:cubicBezTo>
                      <a:pt x="441549" y="212639"/>
                      <a:pt x="441549" y="212639"/>
                      <a:pt x="441549" y="212639"/>
                    </a:cubicBezTo>
                    <a:cubicBezTo>
                      <a:pt x="444558" y="225993"/>
                      <a:pt x="444558" y="225993"/>
                      <a:pt x="444558" y="225993"/>
                    </a:cubicBezTo>
                    <a:cubicBezTo>
                      <a:pt x="449072" y="225993"/>
                      <a:pt x="449072" y="225993"/>
                      <a:pt x="449072" y="225993"/>
                    </a:cubicBezTo>
                    <a:cubicBezTo>
                      <a:pt x="452082" y="225993"/>
                      <a:pt x="452082" y="225993"/>
                      <a:pt x="452082" y="225993"/>
                    </a:cubicBezTo>
                    <a:cubicBezTo>
                      <a:pt x="452082" y="234896"/>
                      <a:pt x="452082" y="234896"/>
                      <a:pt x="452082" y="234896"/>
                    </a:cubicBezTo>
                    <a:cubicBezTo>
                      <a:pt x="456596" y="234896"/>
                      <a:pt x="456596" y="234896"/>
                      <a:pt x="456596" y="234896"/>
                    </a:cubicBezTo>
                    <a:cubicBezTo>
                      <a:pt x="462615" y="240831"/>
                      <a:pt x="462615" y="240831"/>
                      <a:pt x="462615" y="240831"/>
                    </a:cubicBezTo>
                    <a:cubicBezTo>
                      <a:pt x="470138" y="240831"/>
                      <a:pt x="470138" y="240831"/>
                      <a:pt x="470138" y="240831"/>
                    </a:cubicBezTo>
                    <a:cubicBezTo>
                      <a:pt x="462615" y="251217"/>
                      <a:pt x="462615" y="251217"/>
                      <a:pt x="462615" y="251217"/>
                    </a:cubicBezTo>
                    <a:cubicBezTo>
                      <a:pt x="456596" y="254185"/>
                      <a:pt x="456596" y="254185"/>
                      <a:pt x="456596" y="254185"/>
                    </a:cubicBezTo>
                    <a:cubicBezTo>
                      <a:pt x="449072" y="267539"/>
                      <a:pt x="449072" y="267539"/>
                      <a:pt x="449072" y="267539"/>
                    </a:cubicBezTo>
                    <a:cubicBezTo>
                      <a:pt x="440044" y="270506"/>
                      <a:pt x="440044" y="270506"/>
                      <a:pt x="440044" y="270506"/>
                    </a:cubicBezTo>
                    <a:cubicBezTo>
                      <a:pt x="421988" y="270506"/>
                      <a:pt x="421988" y="270506"/>
                      <a:pt x="421988" y="270506"/>
                    </a:cubicBezTo>
                    <a:cubicBezTo>
                      <a:pt x="418978" y="274958"/>
                      <a:pt x="418978" y="274958"/>
                      <a:pt x="418978" y="274958"/>
                    </a:cubicBezTo>
                    <a:cubicBezTo>
                      <a:pt x="406941" y="274958"/>
                      <a:pt x="406941" y="274958"/>
                      <a:pt x="406941" y="274958"/>
                    </a:cubicBezTo>
                    <a:cubicBezTo>
                      <a:pt x="403931" y="285344"/>
                      <a:pt x="403931" y="285344"/>
                      <a:pt x="403931" y="285344"/>
                    </a:cubicBezTo>
                    <a:cubicBezTo>
                      <a:pt x="402427" y="292763"/>
                      <a:pt x="402427" y="292763"/>
                      <a:pt x="402427" y="292763"/>
                    </a:cubicBezTo>
                    <a:cubicBezTo>
                      <a:pt x="399417" y="295731"/>
                      <a:pt x="399417" y="295731"/>
                      <a:pt x="399417" y="295731"/>
                    </a:cubicBezTo>
                    <a:cubicBezTo>
                      <a:pt x="396408" y="298698"/>
                      <a:pt x="396408" y="298698"/>
                      <a:pt x="396408" y="298698"/>
                    </a:cubicBezTo>
                    <a:cubicBezTo>
                      <a:pt x="391894" y="298698"/>
                      <a:pt x="391894" y="298698"/>
                      <a:pt x="391894" y="298698"/>
                    </a:cubicBezTo>
                    <a:cubicBezTo>
                      <a:pt x="387380" y="291279"/>
                      <a:pt x="387380" y="291279"/>
                      <a:pt x="387380" y="291279"/>
                    </a:cubicBezTo>
                    <a:cubicBezTo>
                      <a:pt x="376847" y="286828"/>
                      <a:pt x="376847" y="286828"/>
                      <a:pt x="376847" y="286828"/>
                    </a:cubicBezTo>
                    <a:cubicBezTo>
                      <a:pt x="370828" y="280893"/>
                      <a:pt x="370828" y="280893"/>
                      <a:pt x="370828" y="280893"/>
                    </a:cubicBezTo>
                    <a:cubicBezTo>
                      <a:pt x="370828" y="277925"/>
                      <a:pt x="370828" y="277925"/>
                      <a:pt x="370828" y="277925"/>
                    </a:cubicBezTo>
                    <a:cubicBezTo>
                      <a:pt x="370828" y="273474"/>
                      <a:pt x="370828" y="273474"/>
                      <a:pt x="370828" y="273474"/>
                    </a:cubicBezTo>
                    <a:cubicBezTo>
                      <a:pt x="370828" y="267539"/>
                      <a:pt x="370828" y="267539"/>
                      <a:pt x="370828" y="267539"/>
                    </a:cubicBezTo>
                    <a:cubicBezTo>
                      <a:pt x="370828" y="264571"/>
                      <a:pt x="370828" y="264571"/>
                      <a:pt x="370828" y="264571"/>
                    </a:cubicBezTo>
                    <a:cubicBezTo>
                      <a:pt x="370828" y="252701"/>
                      <a:pt x="370828" y="252701"/>
                      <a:pt x="370828" y="252701"/>
                    </a:cubicBezTo>
                    <a:cubicBezTo>
                      <a:pt x="370828" y="249733"/>
                      <a:pt x="370828" y="249733"/>
                      <a:pt x="370828" y="249733"/>
                    </a:cubicBezTo>
                    <a:cubicBezTo>
                      <a:pt x="370828" y="242315"/>
                      <a:pt x="370828" y="242315"/>
                      <a:pt x="370828" y="242315"/>
                    </a:cubicBezTo>
                    <a:cubicBezTo>
                      <a:pt x="363304" y="231928"/>
                      <a:pt x="363304" y="231928"/>
                      <a:pt x="363304" y="231928"/>
                    </a:cubicBezTo>
                    <a:cubicBezTo>
                      <a:pt x="358790" y="227477"/>
                      <a:pt x="358790" y="227477"/>
                      <a:pt x="358790" y="227477"/>
                    </a:cubicBezTo>
                    <a:cubicBezTo>
                      <a:pt x="358790" y="223025"/>
                      <a:pt x="358790" y="223025"/>
                      <a:pt x="358790" y="223025"/>
                    </a:cubicBezTo>
                    <a:cubicBezTo>
                      <a:pt x="358790" y="220058"/>
                      <a:pt x="358790" y="220058"/>
                      <a:pt x="358790" y="220058"/>
                    </a:cubicBezTo>
                    <a:cubicBezTo>
                      <a:pt x="363304" y="214123"/>
                      <a:pt x="363304" y="214123"/>
                      <a:pt x="363304" y="214123"/>
                    </a:cubicBezTo>
                    <a:cubicBezTo>
                      <a:pt x="370828" y="212639"/>
                      <a:pt x="370828" y="212639"/>
                      <a:pt x="370828" y="212639"/>
                    </a:cubicBezTo>
                    <a:cubicBezTo>
                      <a:pt x="376847" y="206704"/>
                      <a:pt x="376847" y="206704"/>
                      <a:pt x="376847" y="206704"/>
                    </a:cubicBezTo>
                    <a:lnTo>
                      <a:pt x="376847" y="199285"/>
                    </a:lnTo>
                    <a:cubicBezTo>
                      <a:pt x="373837" y="185931"/>
                      <a:pt x="373837" y="185931"/>
                      <a:pt x="373837" y="185931"/>
                    </a:cubicBezTo>
                    <a:cubicBezTo>
                      <a:pt x="373837" y="182963"/>
                      <a:pt x="373837" y="182963"/>
                      <a:pt x="373837" y="182963"/>
                    </a:cubicBezTo>
                    <a:cubicBezTo>
                      <a:pt x="373837" y="178512"/>
                      <a:pt x="373837" y="178512"/>
                      <a:pt x="373837" y="178512"/>
                    </a:cubicBezTo>
                    <a:close/>
                    <a:moveTo>
                      <a:pt x="275720" y="116651"/>
                    </a:moveTo>
                    <a:lnTo>
                      <a:pt x="281022" y="116651"/>
                    </a:lnTo>
                    <a:lnTo>
                      <a:pt x="284556" y="116651"/>
                    </a:lnTo>
                    <a:lnTo>
                      <a:pt x="288091" y="120186"/>
                    </a:lnTo>
                    <a:lnTo>
                      <a:pt x="291626" y="125488"/>
                    </a:lnTo>
                    <a:lnTo>
                      <a:pt x="291626" y="130790"/>
                    </a:lnTo>
                    <a:lnTo>
                      <a:pt x="284556" y="134325"/>
                    </a:lnTo>
                    <a:lnTo>
                      <a:pt x="281022" y="130790"/>
                    </a:lnTo>
                    <a:lnTo>
                      <a:pt x="281022" y="125488"/>
                    </a:lnTo>
                    <a:lnTo>
                      <a:pt x="275720" y="121953"/>
                    </a:lnTo>
                    <a:lnTo>
                      <a:pt x="275720" y="120186"/>
                    </a:lnTo>
                    <a:close/>
                    <a:moveTo>
                      <a:pt x="309302" y="107814"/>
                    </a:moveTo>
                    <a:lnTo>
                      <a:pt x="314604" y="107814"/>
                    </a:lnTo>
                    <a:lnTo>
                      <a:pt x="319906" y="113116"/>
                    </a:lnTo>
                    <a:lnTo>
                      <a:pt x="323441" y="116651"/>
                    </a:lnTo>
                    <a:lnTo>
                      <a:pt x="330511" y="120186"/>
                    </a:lnTo>
                    <a:lnTo>
                      <a:pt x="330511" y="116651"/>
                    </a:lnTo>
                    <a:lnTo>
                      <a:pt x="339348" y="116651"/>
                    </a:lnTo>
                    <a:lnTo>
                      <a:pt x="344650" y="116651"/>
                    </a:lnTo>
                    <a:lnTo>
                      <a:pt x="351720" y="121954"/>
                    </a:lnTo>
                    <a:lnTo>
                      <a:pt x="364092" y="130791"/>
                    </a:lnTo>
                    <a:lnTo>
                      <a:pt x="364092" y="139628"/>
                    </a:lnTo>
                    <a:lnTo>
                      <a:pt x="358789" y="144930"/>
                    </a:lnTo>
                    <a:lnTo>
                      <a:pt x="353487" y="144930"/>
                    </a:lnTo>
                    <a:lnTo>
                      <a:pt x="348185" y="144930"/>
                    </a:lnTo>
                    <a:lnTo>
                      <a:pt x="348185" y="146698"/>
                    </a:lnTo>
                    <a:lnTo>
                      <a:pt x="335813" y="146698"/>
                    </a:lnTo>
                    <a:lnTo>
                      <a:pt x="330511" y="146698"/>
                    </a:lnTo>
                    <a:lnTo>
                      <a:pt x="328743" y="146698"/>
                    </a:lnTo>
                    <a:lnTo>
                      <a:pt x="325209" y="141396"/>
                    </a:lnTo>
                    <a:lnTo>
                      <a:pt x="323441" y="134326"/>
                    </a:lnTo>
                    <a:lnTo>
                      <a:pt x="325209" y="127256"/>
                    </a:lnTo>
                    <a:lnTo>
                      <a:pt x="316371" y="127256"/>
                    </a:lnTo>
                    <a:lnTo>
                      <a:pt x="309302" y="125488"/>
                    </a:lnTo>
                    <a:lnTo>
                      <a:pt x="309302" y="120186"/>
                    </a:lnTo>
                    <a:lnTo>
                      <a:pt x="309302" y="116651"/>
                    </a:lnTo>
                    <a:lnTo>
                      <a:pt x="309302" y="111349"/>
                    </a:lnTo>
                    <a:close/>
                    <a:moveTo>
                      <a:pt x="258045" y="93675"/>
                    </a:moveTo>
                    <a:lnTo>
                      <a:pt x="261580" y="93675"/>
                    </a:lnTo>
                    <a:lnTo>
                      <a:pt x="272184" y="93675"/>
                    </a:lnTo>
                    <a:lnTo>
                      <a:pt x="281021" y="93675"/>
                    </a:lnTo>
                    <a:lnTo>
                      <a:pt x="282788" y="100745"/>
                    </a:lnTo>
                    <a:lnTo>
                      <a:pt x="302230" y="100745"/>
                    </a:lnTo>
                    <a:lnTo>
                      <a:pt x="293393" y="106047"/>
                    </a:lnTo>
                    <a:lnTo>
                      <a:pt x="291625" y="107815"/>
                    </a:lnTo>
                    <a:lnTo>
                      <a:pt x="291625" y="104280"/>
                    </a:lnTo>
                    <a:lnTo>
                      <a:pt x="286323" y="104280"/>
                    </a:lnTo>
                    <a:lnTo>
                      <a:pt x="282788" y="104280"/>
                    </a:lnTo>
                    <a:lnTo>
                      <a:pt x="277486" y="104280"/>
                    </a:lnTo>
                    <a:lnTo>
                      <a:pt x="273951" y="104280"/>
                    </a:lnTo>
                    <a:lnTo>
                      <a:pt x="270417" y="104280"/>
                    </a:lnTo>
                    <a:lnTo>
                      <a:pt x="265114" y="104280"/>
                    </a:lnTo>
                    <a:lnTo>
                      <a:pt x="258045" y="102512"/>
                    </a:lnTo>
                    <a:lnTo>
                      <a:pt x="258045" y="100745"/>
                    </a:lnTo>
                    <a:lnTo>
                      <a:pt x="258045" y="97210"/>
                    </a:lnTo>
                    <a:close/>
                    <a:moveTo>
                      <a:pt x="187348" y="51256"/>
                    </a:moveTo>
                    <a:lnTo>
                      <a:pt x="194417" y="51256"/>
                    </a:lnTo>
                    <a:lnTo>
                      <a:pt x="197952" y="51256"/>
                    </a:lnTo>
                    <a:lnTo>
                      <a:pt x="201487" y="53023"/>
                    </a:lnTo>
                    <a:lnTo>
                      <a:pt x="203254" y="56558"/>
                    </a:lnTo>
                    <a:lnTo>
                      <a:pt x="208557" y="65395"/>
                    </a:lnTo>
                    <a:lnTo>
                      <a:pt x="213859" y="65395"/>
                    </a:lnTo>
                    <a:lnTo>
                      <a:pt x="217394" y="74233"/>
                    </a:lnTo>
                    <a:lnTo>
                      <a:pt x="217394" y="81303"/>
                    </a:lnTo>
                    <a:lnTo>
                      <a:pt x="217394" y="86605"/>
                    </a:lnTo>
                    <a:lnTo>
                      <a:pt x="212092" y="86605"/>
                    </a:lnTo>
                    <a:lnTo>
                      <a:pt x="206789" y="81303"/>
                    </a:lnTo>
                    <a:lnTo>
                      <a:pt x="203254" y="77768"/>
                    </a:lnTo>
                    <a:lnTo>
                      <a:pt x="194417" y="81303"/>
                    </a:lnTo>
                    <a:lnTo>
                      <a:pt x="187348" y="83070"/>
                    </a:lnTo>
                    <a:lnTo>
                      <a:pt x="182046" y="79535"/>
                    </a:lnTo>
                    <a:lnTo>
                      <a:pt x="178511" y="74233"/>
                    </a:lnTo>
                    <a:lnTo>
                      <a:pt x="169674" y="68930"/>
                    </a:lnTo>
                    <a:lnTo>
                      <a:pt x="169674" y="63628"/>
                    </a:lnTo>
                    <a:lnTo>
                      <a:pt x="169674" y="56558"/>
                    </a:lnTo>
                    <a:lnTo>
                      <a:pt x="174976" y="56558"/>
                    </a:lnTo>
                    <a:lnTo>
                      <a:pt x="180278" y="56558"/>
                    </a:lnTo>
                    <a:lnTo>
                      <a:pt x="180278" y="53023"/>
                    </a:lnTo>
                    <a:close/>
                    <a:moveTo>
                      <a:pt x="12372" y="15908"/>
                    </a:moveTo>
                    <a:lnTo>
                      <a:pt x="12372" y="21210"/>
                    </a:lnTo>
                    <a:lnTo>
                      <a:pt x="12372" y="24745"/>
                    </a:lnTo>
                    <a:lnTo>
                      <a:pt x="8837" y="28280"/>
                    </a:lnTo>
                    <a:lnTo>
                      <a:pt x="7069" y="31815"/>
                    </a:lnTo>
                    <a:lnTo>
                      <a:pt x="7069" y="38885"/>
                    </a:lnTo>
                    <a:lnTo>
                      <a:pt x="0" y="35350"/>
                    </a:lnTo>
                    <a:lnTo>
                      <a:pt x="0" y="31815"/>
                    </a:lnTo>
                    <a:lnTo>
                      <a:pt x="0" y="28280"/>
                    </a:lnTo>
                    <a:lnTo>
                      <a:pt x="7069" y="21210"/>
                    </a:lnTo>
                    <a:close/>
                    <a:moveTo>
                      <a:pt x="58325" y="0"/>
                    </a:moveTo>
                    <a:lnTo>
                      <a:pt x="63627" y="0"/>
                    </a:lnTo>
                    <a:lnTo>
                      <a:pt x="77767" y="0"/>
                    </a:lnTo>
                    <a:lnTo>
                      <a:pt x="83069" y="0"/>
                    </a:lnTo>
                    <a:lnTo>
                      <a:pt x="88372" y="8837"/>
                    </a:lnTo>
                    <a:lnTo>
                      <a:pt x="88372" y="10604"/>
                    </a:lnTo>
                    <a:lnTo>
                      <a:pt x="88372" y="15907"/>
                    </a:lnTo>
                    <a:lnTo>
                      <a:pt x="86604" y="21209"/>
                    </a:lnTo>
                    <a:lnTo>
                      <a:pt x="86604" y="22977"/>
                    </a:lnTo>
                    <a:lnTo>
                      <a:pt x="81302" y="28279"/>
                    </a:lnTo>
                    <a:lnTo>
                      <a:pt x="77767" y="28279"/>
                    </a:lnTo>
                    <a:lnTo>
                      <a:pt x="72465" y="28279"/>
                    </a:lnTo>
                    <a:lnTo>
                      <a:pt x="68930" y="28279"/>
                    </a:lnTo>
                    <a:lnTo>
                      <a:pt x="60092" y="22977"/>
                    </a:lnTo>
                    <a:lnTo>
                      <a:pt x="58325" y="22977"/>
                    </a:lnTo>
                    <a:lnTo>
                      <a:pt x="49488" y="15907"/>
                    </a:lnTo>
                    <a:lnTo>
                      <a:pt x="49488" y="7070"/>
                    </a:lnTo>
                    <a:lnTo>
                      <a:pt x="49488" y="3535"/>
                    </a:lnTo>
                    <a:close/>
                  </a:path>
                </a:pathLst>
              </a:custGeom>
              <a:grpFill/>
              <a:ln w="6350" cap="flat">
                <a:solidFill>
                  <a:srgbClr val="FFFFFF"/>
                </a:solidFill>
                <a:prstDash val="solid"/>
                <a:miter lim="800000"/>
                <a:headEnd/>
                <a:tailEnd/>
              </a:ln>
            </p:spPr>
            <p:txBody>
              <a:bodyPr/>
              <a:lstStyle/>
              <a:p>
                <a:pPr defTabSz="685663">
                  <a:defRPr/>
                </a:pPr>
                <a:endParaRPr lang="en-US" sz="675" dirty="0">
                  <a:latin typeface="Arial" panose="020B0604020202020204" pitchFamily="34" charset="0"/>
                  <a:cs typeface="Arial" panose="020B0604020202020204" pitchFamily="34" charset="0"/>
                </a:endParaRPr>
              </a:p>
            </p:txBody>
          </p:sp>
        </p:grpSp>
        <p:grpSp>
          <p:nvGrpSpPr>
            <p:cNvPr id="252" name="Group 251">
              <a:extLst>
                <a:ext uri="{FF2B5EF4-FFF2-40B4-BE49-F238E27FC236}">
                  <a16:creationId xmlns:a16="http://schemas.microsoft.com/office/drawing/2014/main" id="{CD0ABB23-6D54-144C-832B-434FD854D21C}"/>
                </a:ext>
              </a:extLst>
            </p:cNvPr>
            <p:cNvGrpSpPr/>
            <p:nvPr/>
          </p:nvGrpSpPr>
          <p:grpSpPr>
            <a:xfrm>
              <a:off x="6574413" y="5518024"/>
              <a:ext cx="3325262" cy="2041460"/>
              <a:chOff x="6719087" y="5314824"/>
              <a:chExt cx="3325262" cy="2041460"/>
            </a:xfrm>
          </p:grpSpPr>
          <p:sp>
            <p:nvSpPr>
              <p:cNvPr id="258" name="Rectangle 257">
                <a:extLst>
                  <a:ext uri="{FF2B5EF4-FFF2-40B4-BE49-F238E27FC236}">
                    <a16:creationId xmlns:a16="http://schemas.microsoft.com/office/drawing/2014/main" id="{48773EC6-65C0-9B41-BE06-E8B376837E97}"/>
                  </a:ext>
                </a:extLst>
              </p:cNvPr>
              <p:cNvSpPr/>
              <p:nvPr/>
            </p:nvSpPr>
            <p:spPr>
              <a:xfrm>
                <a:off x="6719087" y="5314824"/>
                <a:ext cx="3325262" cy="2041460"/>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latin typeface="Arial" panose="020B0604020202020204" pitchFamily="34" charset="0"/>
                  <a:cs typeface="Arial" panose="020B0604020202020204" pitchFamily="34" charset="0"/>
                </a:endParaRPr>
              </a:p>
            </p:txBody>
          </p:sp>
          <p:grpSp>
            <p:nvGrpSpPr>
              <p:cNvPr id="259" name="Group 258">
                <a:extLst>
                  <a:ext uri="{FF2B5EF4-FFF2-40B4-BE49-F238E27FC236}">
                    <a16:creationId xmlns:a16="http://schemas.microsoft.com/office/drawing/2014/main" id="{19A74720-C44F-7247-BDE9-24ACC6AB7675}"/>
                  </a:ext>
                </a:extLst>
              </p:cNvPr>
              <p:cNvGrpSpPr/>
              <p:nvPr/>
            </p:nvGrpSpPr>
            <p:grpSpPr>
              <a:xfrm>
                <a:off x="6891418" y="5658893"/>
                <a:ext cx="2874649" cy="1366026"/>
                <a:chOff x="20367925" y="7771565"/>
                <a:chExt cx="2874649" cy="1366026"/>
              </a:xfrm>
            </p:grpSpPr>
            <p:sp>
              <p:nvSpPr>
                <p:cNvPr id="260" name="Subtitle 2">
                  <a:extLst>
                    <a:ext uri="{FF2B5EF4-FFF2-40B4-BE49-F238E27FC236}">
                      <a16:creationId xmlns:a16="http://schemas.microsoft.com/office/drawing/2014/main" id="{06256346-D24C-1F43-929F-849D69BD7293}"/>
                    </a:ext>
                  </a:extLst>
                </p:cNvPr>
                <p:cNvSpPr txBox="1">
                  <a:spLocks/>
                </p:cNvSpPr>
                <p:nvPr/>
              </p:nvSpPr>
              <p:spPr>
                <a:xfrm>
                  <a:off x="20367925" y="8417895"/>
                  <a:ext cx="2874649" cy="719696"/>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1050" dirty="0">
                      <a:solidFill>
                        <a:schemeClr val="bg1"/>
                      </a:solidFill>
                      <a:latin typeface="Arial" panose="020B0604020202020204" pitchFamily="34" charset="0"/>
                      <a:ea typeface="Roboto Light" panose="02000000000000000000" pitchFamily="2" charset="0"/>
                      <a:cs typeface="Arial" panose="020B0604020202020204" pitchFamily="34" charset="0"/>
                    </a:rPr>
                    <a:t>Write your title.</a:t>
                  </a:r>
                </a:p>
              </p:txBody>
            </p:sp>
            <p:sp>
              <p:nvSpPr>
                <p:cNvPr id="261" name="Rectangle 260">
                  <a:extLst>
                    <a:ext uri="{FF2B5EF4-FFF2-40B4-BE49-F238E27FC236}">
                      <a16:creationId xmlns:a16="http://schemas.microsoft.com/office/drawing/2014/main" id="{89A4D20E-56C7-DA43-80A2-512D0D5BA80B}"/>
                    </a:ext>
                  </a:extLst>
                </p:cNvPr>
                <p:cNvSpPr/>
                <p:nvPr/>
              </p:nvSpPr>
              <p:spPr>
                <a:xfrm>
                  <a:off x="20479570" y="7771565"/>
                  <a:ext cx="2651358" cy="523221"/>
                </a:xfrm>
                <a:prstGeom prst="rect">
                  <a:avLst/>
                </a:prstGeom>
              </p:spPr>
              <p:txBody>
                <a:bodyPr wrap="square">
                  <a:spAutoFit/>
                </a:bodyPr>
                <a:lstStyle/>
                <a:p>
                  <a:pPr algn="ctr"/>
                  <a:r>
                    <a:rPr lang="en-US" sz="675" dirty="0">
                      <a:solidFill>
                        <a:schemeClr val="bg1"/>
                      </a:solidFill>
                      <a:latin typeface="Arial" panose="020B0604020202020204" pitchFamily="34" charset="0"/>
                      <a:ea typeface="Roboto" panose="02000000000000000000" pitchFamily="2" charset="0"/>
                      <a:cs typeface="Arial" panose="020B0604020202020204" pitchFamily="34" charset="0"/>
                    </a:rPr>
                    <a:t>+120</a:t>
                  </a:r>
                </a:p>
              </p:txBody>
            </p:sp>
          </p:grpSp>
        </p:grpSp>
        <p:grpSp>
          <p:nvGrpSpPr>
            <p:cNvPr id="253" name="Group 252">
              <a:extLst>
                <a:ext uri="{FF2B5EF4-FFF2-40B4-BE49-F238E27FC236}">
                  <a16:creationId xmlns:a16="http://schemas.microsoft.com/office/drawing/2014/main" id="{C26A53B2-B68A-E749-9FF6-CD21F6A8416F}"/>
                </a:ext>
              </a:extLst>
            </p:cNvPr>
            <p:cNvGrpSpPr/>
            <p:nvPr/>
          </p:nvGrpSpPr>
          <p:grpSpPr>
            <a:xfrm>
              <a:off x="1833138" y="8081664"/>
              <a:ext cx="3325262" cy="2041460"/>
              <a:chOff x="6719087" y="5314824"/>
              <a:chExt cx="3325262" cy="2041460"/>
            </a:xfrm>
          </p:grpSpPr>
          <p:sp>
            <p:nvSpPr>
              <p:cNvPr id="254" name="Rectangle 253">
                <a:extLst>
                  <a:ext uri="{FF2B5EF4-FFF2-40B4-BE49-F238E27FC236}">
                    <a16:creationId xmlns:a16="http://schemas.microsoft.com/office/drawing/2014/main" id="{4F2D1D16-70F5-4247-BEAB-57FBC5E15A22}"/>
                  </a:ext>
                </a:extLst>
              </p:cNvPr>
              <p:cNvSpPr/>
              <p:nvPr/>
            </p:nvSpPr>
            <p:spPr>
              <a:xfrm>
                <a:off x="6719087" y="5314824"/>
                <a:ext cx="3325262" cy="2041460"/>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latin typeface="Arial" panose="020B0604020202020204" pitchFamily="34" charset="0"/>
                  <a:cs typeface="Arial" panose="020B0604020202020204" pitchFamily="34" charset="0"/>
                </a:endParaRPr>
              </a:p>
            </p:txBody>
          </p:sp>
          <p:grpSp>
            <p:nvGrpSpPr>
              <p:cNvPr id="255" name="Group 254">
                <a:extLst>
                  <a:ext uri="{FF2B5EF4-FFF2-40B4-BE49-F238E27FC236}">
                    <a16:creationId xmlns:a16="http://schemas.microsoft.com/office/drawing/2014/main" id="{4977FC7D-9B62-6B4A-8C35-332A88B33401}"/>
                  </a:ext>
                </a:extLst>
              </p:cNvPr>
              <p:cNvGrpSpPr/>
              <p:nvPr/>
            </p:nvGrpSpPr>
            <p:grpSpPr>
              <a:xfrm>
                <a:off x="6891418" y="5658893"/>
                <a:ext cx="2874649" cy="1366026"/>
                <a:chOff x="20367925" y="7771565"/>
                <a:chExt cx="2874649" cy="1366026"/>
              </a:xfrm>
            </p:grpSpPr>
            <p:sp>
              <p:nvSpPr>
                <p:cNvPr id="256" name="Subtitle 2">
                  <a:extLst>
                    <a:ext uri="{FF2B5EF4-FFF2-40B4-BE49-F238E27FC236}">
                      <a16:creationId xmlns:a16="http://schemas.microsoft.com/office/drawing/2014/main" id="{4CA85EB1-878B-8249-8B3E-2FB7F1C2B4F8}"/>
                    </a:ext>
                  </a:extLst>
                </p:cNvPr>
                <p:cNvSpPr txBox="1">
                  <a:spLocks/>
                </p:cNvSpPr>
                <p:nvPr/>
              </p:nvSpPr>
              <p:spPr>
                <a:xfrm>
                  <a:off x="20367925" y="8417895"/>
                  <a:ext cx="2874649" cy="719696"/>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1050" dirty="0">
                      <a:solidFill>
                        <a:schemeClr val="bg1"/>
                      </a:solidFill>
                      <a:latin typeface="Arial" panose="020B0604020202020204" pitchFamily="34" charset="0"/>
                      <a:ea typeface="Roboto Light" panose="02000000000000000000" pitchFamily="2" charset="0"/>
                      <a:cs typeface="Arial" panose="020B0604020202020204" pitchFamily="34" charset="0"/>
                    </a:rPr>
                    <a:t>Write your title.</a:t>
                  </a:r>
                </a:p>
              </p:txBody>
            </p:sp>
            <p:sp>
              <p:nvSpPr>
                <p:cNvPr id="257" name="Rectangle 256">
                  <a:extLst>
                    <a:ext uri="{FF2B5EF4-FFF2-40B4-BE49-F238E27FC236}">
                      <a16:creationId xmlns:a16="http://schemas.microsoft.com/office/drawing/2014/main" id="{20CABF58-D888-FF46-B756-F43F6DE3A7A4}"/>
                    </a:ext>
                  </a:extLst>
                </p:cNvPr>
                <p:cNvSpPr/>
                <p:nvPr/>
              </p:nvSpPr>
              <p:spPr>
                <a:xfrm>
                  <a:off x="20479570" y="7771565"/>
                  <a:ext cx="2651358" cy="523221"/>
                </a:xfrm>
                <a:prstGeom prst="rect">
                  <a:avLst/>
                </a:prstGeom>
              </p:spPr>
              <p:txBody>
                <a:bodyPr wrap="square">
                  <a:spAutoFit/>
                </a:bodyPr>
                <a:lstStyle/>
                <a:p>
                  <a:pPr algn="ctr"/>
                  <a:r>
                    <a:rPr lang="en-US" sz="675" dirty="0">
                      <a:solidFill>
                        <a:schemeClr val="bg1"/>
                      </a:solidFill>
                      <a:latin typeface="Arial" panose="020B0604020202020204" pitchFamily="34" charset="0"/>
                      <a:ea typeface="Roboto" panose="02000000000000000000" pitchFamily="2" charset="0"/>
                      <a:cs typeface="Arial" panose="020B0604020202020204" pitchFamily="34" charset="0"/>
                    </a:rPr>
                    <a:t>+2345</a:t>
                  </a:r>
                </a:p>
              </p:txBody>
            </p:sp>
          </p:grpSp>
        </p:grpSp>
      </p:grpSp>
      <p:sp>
        <p:nvSpPr>
          <p:cNvPr id="3" name="Text Placeholder 5">
            <a:extLst>
              <a:ext uri="{FF2B5EF4-FFF2-40B4-BE49-F238E27FC236}">
                <a16:creationId xmlns:a16="http://schemas.microsoft.com/office/drawing/2014/main" id="{7F0985A7-0661-0F9D-F4EA-6FCED4689C65}"/>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accent1"/>
                </a:solidFill>
              </a:rPr>
              <a:t>United States Editable Map</a:t>
            </a:r>
          </a:p>
        </p:txBody>
      </p:sp>
      <p:sp>
        <p:nvSpPr>
          <p:cNvPr id="4" name="TextBox 3">
            <a:extLst>
              <a:ext uri="{FF2B5EF4-FFF2-40B4-BE49-F238E27FC236}">
                <a16:creationId xmlns:a16="http://schemas.microsoft.com/office/drawing/2014/main" id="{88292BF6-B9E6-C093-FF9E-939EEF9F7CA6}"/>
              </a:ext>
            </a:extLst>
          </p:cNvPr>
          <p:cNvSpPr txBox="1"/>
          <p:nvPr/>
        </p:nvSpPr>
        <p:spPr>
          <a:xfrm>
            <a:off x="2495107" y="567070"/>
            <a:ext cx="0" cy="0"/>
          </a:xfrm>
          <a:prstGeom prst="rect">
            <a:avLst/>
          </a:prstGeom>
          <a:noFill/>
        </p:spPr>
        <p:txBody>
          <a:bodyPr wrap="none" rtlCol="0">
            <a:noAutofit/>
          </a:bodyPr>
          <a:lstStyle/>
          <a:p>
            <a:pPr>
              <a:spcBef>
                <a:spcPts val="750"/>
              </a:spcBef>
              <a:buClr>
                <a:schemeClr val="accent2"/>
              </a:buClr>
              <a:buSzPct val="100000"/>
            </a:pPr>
            <a:endParaRPr lang="en-US" sz="1400" dirty="0" err="1">
              <a:solidFill>
                <a:schemeClr val="accent4"/>
              </a:solidFill>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D49937E9-E557-B503-51AA-4E09A8889DC2}"/>
              </a:ext>
            </a:extLst>
          </p:cNvPr>
          <p:cNvGrpSpPr/>
          <p:nvPr/>
        </p:nvGrpSpPr>
        <p:grpSpPr>
          <a:xfrm>
            <a:off x="5363008" y="2111744"/>
            <a:ext cx="3242410" cy="1826659"/>
            <a:chOff x="5363008" y="2111744"/>
            <a:chExt cx="3242410" cy="1826659"/>
          </a:xfrm>
        </p:grpSpPr>
        <p:sp>
          <p:nvSpPr>
            <p:cNvPr id="218" name="Oval 217">
              <a:extLst>
                <a:ext uri="{FF2B5EF4-FFF2-40B4-BE49-F238E27FC236}">
                  <a16:creationId xmlns:a16="http://schemas.microsoft.com/office/drawing/2014/main" id="{65C99E2A-8D92-5540-A5F2-E72781F0EB54}"/>
                </a:ext>
              </a:extLst>
            </p:cNvPr>
            <p:cNvSpPr/>
            <p:nvPr/>
          </p:nvSpPr>
          <p:spPr>
            <a:xfrm>
              <a:off x="5363008" y="2129877"/>
              <a:ext cx="611272" cy="6112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219" name="Group 218">
              <a:extLst>
                <a:ext uri="{FF2B5EF4-FFF2-40B4-BE49-F238E27FC236}">
                  <a16:creationId xmlns:a16="http://schemas.microsoft.com/office/drawing/2014/main" id="{703400F8-F1C8-6048-8573-F4478B580ADF}"/>
                </a:ext>
              </a:extLst>
            </p:cNvPr>
            <p:cNvGrpSpPr/>
            <p:nvPr/>
          </p:nvGrpSpPr>
          <p:grpSpPr>
            <a:xfrm>
              <a:off x="6059773" y="2111744"/>
              <a:ext cx="2545645" cy="657077"/>
              <a:chOff x="1739385" y="6662633"/>
              <a:chExt cx="6788387" cy="1752204"/>
            </a:xfrm>
          </p:grpSpPr>
          <p:sp>
            <p:nvSpPr>
              <p:cNvPr id="226" name="Subtitle 2">
                <a:extLst>
                  <a:ext uri="{FF2B5EF4-FFF2-40B4-BE49-F238E27FC236}">
                    <a16:creationId xmlns:a16="http://schemas.microsoft.com/office/drawing/2014/main" id="{F3DF623B-C417-E141-86B4-DC9D77432CF4}"/>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227" name="Rectangle 226">
                <a:extLst>
                  <a:ext uri="{FF2B5EF4-FFF2-40B4-BE49-F238E27FC236}">
                    <a16:creationId xmlns:a16="http://schemas.microsoft.com/office/drawing/2014/main" id="{974FA75D-3F9F-F549-A1DA-48FD5A5F91CA}"/>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sp>
          <p:nvSpPr>
            <p:cNvPr id="220" name="Oval 219">
              <a:extLst>
                <a:ext uri="{FF2B5EF4-FFF2-40B4-BE49-F238E27FC236}">
                  <a16:creationId xmlns:a16="http://schemas.microsoft.com/office/drawing/2014/main" id="{38145470-1FFF-B145-80F3-9B2626169350}"/>
                </a:ext>
              </a:extLst>
            </p:cNvPr>
            <p:cNvSpPr/>
            <p:nvPr/>
          </p:nvSpPr>
          <p:spPr>
            <a:xfrm>
              <a:off x="5363008" y="3291171"/>
              <a:ext cx="611272" cy="6112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222" name="Shape 2808">
              <a:extLst>
                <a:ext uri="{FF2B5EF4-FFF2-40B4-BE49-F238E27FC236}">
                  <a16:creationId xmlns:a16="http://schemas.microsoft.com/office/drawing/2014/main" id="{D9C916B1-E0DE-194B-B050-CCB31EB0ECC3}"/>
                </a:ext>
              </a:extLst>
            </p:cNvPr>
            <p:cNvSpPr/>
            <p:nvPr/>
          </p:nvSpPr>
          <p:spPr>
            <a:xfrm>
              <a:off x="5506546" y="2269207"/>
              <a:ext cx="330923" cy="330923"/>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chemeClr val="tx2"/>
                </a:solidFill>
              </a:endParaRPr>
            </a:p>
          </p:txBody>
        </p:sp>
        <p:sp>
          <p:nvSpPr>
            <p:cNvPr id="223" name="Shape 2944">
              <a:extLst>
                <a:ext uri="{FF2B5EF4-FFF2-40B4-BE49-F238E27FC236}">
                  <a16:creationId xmlns:a16="http://schemas.microsoft.com/office/drawing/2014/main" id="{EEFCE2AC-29C7-3543-9713-3DDCD9DED6EF}"/>
                </a:ext>
              </a:extLst>
            </p:cNvPr>
            <p:cNvSpPr/>
            <p:nvPr/>
          </p:nvSpPr>
          <p:spPr>
            <a:xfrm>
              <a:off x="5503183" y="3431345"/>
              <a:ext cx="330923" cy="33092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4284" tIns="14284" rIns="14284" bIns="14284" anchor="ctr"/>
            <a:lstStyle/>
            <a:p>
              <a:pPr algn="ct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latin typeface="Montserrat" pitchFamily="2" charset="77"/>
              </a:endParaRPr>
            </a:p>
          </p:txBody>
        </p:sp>
        <p:grpSp>
          <p:nvGrpSpPr>
            <p:cNvPr id="5" name="Group 4">
              <a:extLst>
                <a:ext uri="{FF2B5EF4-FFF2-40B4-BE49-F238E27FC236}">
                  <a16:creationId xmlns:a16="http://schemas.microsoft.com/office/drawing/2014/main" id="{FC1414B4-4CD4-45FF-2259-DA46C8BF2372}"/>
                </a:ext>
              </a:extLst>
            </p:cNvPr>
            <p:cNvGrpSpPr/>
            <p:nvPr/>
          </p:nvGrpSpPr>
          <p:grpSpPr>
            <a:xfrm>
              <a:off x="6059773" y="3281326"/>
              <a:ext cx="2545645" cy="657077"/>
              <a:chOff x="1739385" y="6662633"/>
              <a:chExt cx="6788387" cy="1752204"/>
            </a:xfrm>
          </p:grpSpPr>
          <p:sp>
            <p:nvSpPr>
              <p:cNvPr id="6" name="Subtitle 2">
                <a:extLst>
                  <a:ext uri="{FF2B5EF4-FFF2-40B4-BE49-F238E27FC236}">
                    <a16:creationId xmlns:a16="http://schemas.microsoft.com/office/drawing/2014/main" id="{35142D27-F9EF-E805-F9FD-5367563BB7B2}"/>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7" name="Rectangle 6">
                <a:extLst>
                  <a:ext uri="{FF2B5EF4-FFF2-40B4-BE49-F238E27FC236}">
                    <a16:creationId xmlns:a16="http://schemas.microsoft.com/office/drawing/2014/main" id="{E518DF97-0963-969B-5115-DDD73D0B7BE9}"/>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grpSp>
    </p:spTree>
    <p:extLst>
      <p:ext uri="{BB962C8B-B14F-4D97-AF65-F5344CB8AC3E}">
        <p14:creationId xmlns:p14="http://schemas.microsoft.com/office/powerpoint/2010/main" val="5464650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2" name="Group 81">
            <a:extLst>
              <a:ext uri="{FF2B5EF4-FFF2-40B4-BE49-F238E27FC236}">
                <a16:creationId xmlns:a16="http://schemas.microsoft.com/office/drawing/2014/main" id="{1B2EBB52-4BD5-EA43-8A32-A90F6CE39049}"/>
              </a:ext>
            </a:extLst>
          </p:cNvPr>
          <p:cNvGrpSpPr/>
          <p:nvPr/>
        </p:nvGrpSpPr>
        <p:grpSpPr>
          <a:xfrm>
            <a:off x="5205146" y="1376749"/>
            <a:ext cx="3001515" cy="3299403"/>
            <a:chOff x="8029079" y="2927480"/>
            <a:chExt cx="8466170" cy="9306404"/>
          </a:xfrm>
          <a:solidFill>
            <a:srgbClr val="EFF1F8"/>
          </a:solidFill>
        </p:grpSpPr>
        <p:sp>
          <p:nvSpPr>
            <p:cNvPr id="83" name="Freeform 1">
              <a:extLst>
                <a:ext uri="{FF2B5EF4-FFF2-40B4-BE49-F238E27FC236}">
                  <a16:creationId xmlns:a16="http://schemas.microsoft.com/office/drawing/2014/main" id="{B1A60ACC-5CF2-E941-9C01-BA6798E7178E}"/>
                </a:ext>
              </a:extLst>
            </p:cNvPr>
            <p:cNvSpPr>
              <a:spLocks noChangeArrowheads="1"/>
            </p:cNvSpPr>
            <p:nvPr/>
          </p:nvSpPr>
          <p:spPr bwMode="auto">
            <a:xfrm>
              <a:off x="9704776" y="6257592"/>
              <a:ext cx="2657473" cy="1804129"/>
            </a:xfrm>
            <a:custGeom>
              <a:avLst/>
              <a:gdLst>
                <a:gd name="T0" fmla="*/ 4767 w 6149"/>
                <a:gd name="T1" fmla="*/ 3541 h 4174"/>
                <a:gd name="T2" fmla="*/ 5057 w 6149"/>
                <a:gd name="T3" fmla="*/ 3274 h 4174"/>
                <a:gd name="T4" fmla="*/ 5391 w 6149"/>
                <a:gd name="T5" fmla="*/ 3037 h 4174"/>
                <a:gd name="T6" fmla="*/ 5473 w 6149"/>
                <a:gd name="T7" fmla="*/ 2532 h 4174"/>
                <a:gd name="T8" fmla="*/ 5688 w 6149"/>
                <a:gd name="T9" fmla="*/ 2339 h 4174"/>
                <a:gd name="T10" fmla="*/ 5992 w 6149"/>
                <a:gd name="T11" fmla="*/ 2272 h 4174"/>
                <a:gd name="T12" fmla="*/ 6029 w 6149"/>
                <a:gd name="T13" fmla="*/ 2072 h 4174"/>
                <a:gd name="T14" fmla="*/ 6051 w 6149"/>
                <a:gd name="T15" fmla="*/ 1775 h 4174"/>
                <a:gd name="T16" fmla="*/ 5829 w 6149"/>
                <a:gd name="T17" fmla="*/ 1738 h 4174"/>
                <a:gd name="T18" fmla="*/ 5651 w 6149"/>
                <a:gd name="T19" fmla="*/ 1552 h 4174"/>
                <a:gd name="T20" fmla="*/ 5243 w 6149"/>
                <a:gd name="T21" fmla="*/ 1270 h 4174"/>
                <a:gd name="T22" fmla="*/ 5064 w 6149"/>
                <a:gd name="T23" fmla="*/ 1307 h 4174"/>
                <a:gd name="T24" fmla="*/ 4842 w 6149"/>
                <a:gd name="T25" fmla="*/ 1292 h 4174"/>
                <a:gd name="T26" fmla="*/ 4738 w 6149"/>
                <a:gd name="T27" fmla="*/ 1344 h 4174"/>
                <a:gd name="T28" fmla="*/ 4522 w 6149"/>
                <a:gd name="T29" fmla="*/ 1344 h 4174"/>
                <a:gd name="T30" fmla="*/ 4463 w 6149"/>
                <a:gd name="T31" fmla="*/ 1322 h 4174"/>
                <a:gd name="T32" fmla="*/ 4181 w 6149"/>
                <a:gd name="T33" fmla="*/ 1188 h 4174"/>
                <a:gd name="T34" fmla="*/ 3891 w 6149"/>
                <a:gd name="T35" fmla="*/ 1173 h 4174"/>
                <a:gd name="T36" fmla="*/ 3616 w 6149"/>
                <a:gd name="T37" fmla="*/ 1255 h 4174"/>
                <a:gd name="T38" fmla="*/ 3535 w 6149"/>
                <a:gd name="T39" fmla="*/ 1121 h 4174"/>
                <a:gd name="T40" fmla="*/ 3535 w 6149"/>
                <a:gd name="T41" fmla="*/ 943 h 4174"/>
                <a:gd name="T42" fmla="*/ 3200 w 6149"/>
                <a:gd name="T43" fmla="*/ 1106 h 4174"/>
                <a:gd name="T44" fmla="*/ 3490 w 6149"/>
                <a:gd name="T45" fmla="*/ 1619 h 4174"/>
                <a:gd name="T46" fmla="*/ 3416 w 6149"/>
                <a:gd name="T47" fmla="*/ 1938 h 4174"/>
                <a:gd name="T48" fmla="*/ 3104 w 6149"/>
                <a:gd name="T49" fmla="*/ 1864 h 4174"/>
                <a:gd name="T50" fmla="*/ 3178 w 6149"/>
                <a:gd name="T51" fmla="*/ 1233 h 4174"/>
                <a:gd name="T52" fmla="*/ 3349 w 6149"/>
                <a:gd name="T53" fmla="*/ 914 h 4174"/>
                <a:gd name="T54" fmla="*/ 3512 w 6149"/>
                <a:gd name="T55" fmla="*/ 654 h 4174"/>
                <a:gd name="T56" fmla="*/ 3572 w 6149"/>
                <a:gd name="T57" fmla="*/ 104 h 4174"/>
                <a:gd name="T58" fmla="*/ 3119 w 6149"/>
                <a:gd name="T59" fmla="*/ 7 h 4174"/>
                <a:gd name="T60" fmla="*/ 2673 w 6149"/>
                <a:gd name="T61" fmla="*/ 260 h 4174"/>
                <a:gd name="T62" fmla="*/ 1953 w 6149"/>
                <a:gd name="T63" fmla="*/ 676 h 4174"/>
                <a:gd name="T64" fmla="*/ 2376 w 6149"/>
                <a:gd name="T65" fmla="*/ 1084 h 4174"/>
                <a:gd name="T66" fmla="*/ 2302 w 6149"/>
                <a:gd name="T67" fmla="*/ 1263 h 4174"/>
                <a:gd name="T68" fmla="*/ 2257 w 6149"/>
                <a:gd name="T69" fmla="*/ 1597 h 4174"/>
                <a:gd name="T70" fmla="*/ 1945 w 6149"/>
                <a:gd name="T71" fmla="*/ 1894 h 4174"/>
                <a:gd name="T72" fmla="*/ 1589 w 6149"/>
                <a:gd name="T73" fmla="*/ 1834 h 4174"/>
                <a:gd name="T74" fmla="*/ 1277 w 6149"/>
                <a:gd name="T75" fmla="*/ 2161 h 4174"/>
                <a:gd name="T76" fmla="*/ 1374 w 6149"/>
                <a:gd name="T77" fmla="*/ 1797 h 4174"/>
                <a:gd name="T78" fmla="*/ 1285 w 6149"/>
                <a:gd name="T79" fmla="*/ 1471 h 4174"/>
                <a:gd name="T80" fmla="*/ 935 w 6149"/>
                <a:gd name="T81" fmla="*/ 1218 h 4174"/>
                <a:gd name="T82" fmla="*/ 735 w 6149"/>
                <a:gd name="T83" fmla="*/ 1381 h 4174"/>
                <a:gd name="T84" fmla="*/ 653 w 6149"/>
                <a:gd name="T85" fmla="*/ 1775 h 4174"/>
                <a:gd name="T86" fmla="*/ 690 w 6149"/>
                <a:gd name="T87" fmla="*/ 2287 h 4174"/>
                <a:gd name="T88" fmla="*/ 319 w 6149"/>
                <a:gd name="T89" fmla="*/ 2621 h 4174"/>
                <a:gd name="T90" fmla="*/ 230 w 6149"/>
                <a:gd name="T91" fmla="*/ 2948 h 4174"/>
                <a:gd name="T92" fmla="*/ 89 w 6149"/>
                <a:gd name="T93" fmla="*/ 3422 h 4174"/>
                <a:gd name="T94" fmla="*/ 623 w 6149"/>
                <a:gd name="T95" fmla="*/ 3705 h 4174"/>
                <a:gd name="T96" fmla="*/ 1366 w 6149"/>
                <a:gd name="T97" fmla="*/ 3942 h 4174"/>
                <a:gd name="T98" fmla="*/ 1663 w 6149"/>
                <a:gd name="T99" fmla="*/ 4098 h 4174"/>
                <a:gd name="T100" fmla="*/ 1886 w 6149"/>
                <a:gd name="T101" fmla="*/ 3853 h 4174"/>
                <a:gd name="T102" fmla="*/ 2473 w 6149"/>
                <a:gd name="T103" fmla="*/ 3883 h 4174"/>
                <a:gd name="T104" fmla="*/ 2510 w 6149"/>
                <a:gd name="T105" fmla="*/ 3987 h 4174"/>
                <a:gd name="T106" fmla="*/ 3074 w 6149"/>
                <a:gd name="T107" fmla="*/ 3913 h 4174"/>
                <a:gd name="T108" fmla="*/ 3549 w 6149"/>
                <a:gd name="T109" fmla="*/ 3876 h 4174"/>
                <a:gd name="T110" fmla="*/ 4121 w 6149"/>
                <a:gd name="T111" fmla="*/ 3972 h 4174"/>
                <a:gd name="T112" fmla="*/ 4567 w 6149"/>
                <a:gd name="T113" fmla="*/ 4135 h 4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149" h="4174">
                  <a:moveTo>
                    <a:pt x="4648" y="3838"/>
                  </a:moveTo>
                  <a:lnTo>
                    <a:pt x="4648" y="3838"/>
                  </a:lnTo>
                  <a:cubicBezTo>
                    <a:pt x="4708" y="3846"/>
                    <a:pt x="4738" y="3801"/>
                    <a:pt x="4730" y="3742"/>
                  </a:cubicBezTo>
                  <a:cubicBezTo>
                    <a:pt x="4723" y="3719"/>
                    <a:pt x="4708" y="3690"/>
                    <a:pt x="4708" y="3660"/>
                  </a:cubicBezTo>
                  <a:cubicBezTo>
                    <a:pt x="4708" y="3623"/>
                    <a:pt x="4738" y="3638"/>
                    <a:pt x="4767" y="3623"/>
                  </a:cubicBezTo>
                  <a:cubicBezTo>
                    <a:pt x="4767" y="3593"/>
                    <a:pt x="4767" y="3564"/>
                    <a:pt x="4767" y="3541"/>
                  </a:cubicBezTo>
                  <a:cubicBezTo>
                    <a:pt x="4804" y="3534"/>
                    <a:pt x="4827" y="3564"/>
                    <a:pt x="4856" y="3556"/>
                  </a:cubicBezTo>
                  <a:cubicBezTo>
                    <a:pt x="4856" y="3541"/>
                    <a:pt x="4856" y="3519"/>
                    <a:pt x="4856" y="3504"/>
                  </a:cubicBezTo>
                  <a:cubicBezTo>
                    <a:pt x="4819" y="3489"/>
                    <a:pt x="4871" y="3430"/>
                    <a:pt x="4879" y="3415"/>
                  </a:cubicBezTo>
                  <a:cubicBezTo>
                    <a:pt x="4893" y="3415"/>
                    <a:pt x="4908" y="3415"/>
                    <a:pt x="4931" y="3415"/>
                  </a:cubicBezTo>
                  <a:cubicBezTo>
                    <a:pt x="4931" y="3370"/>
                    <a:pt x="4931" y="3326"/>
                    <a:pt x="4931" y="3281"/>
                  </a:cubicBezTo>
                  <a:cubicBezTo>
                    <a:pt x="4975" y="3281"/>
                    <a:pt x="5012" y="3281"/>
                    <a:pt x="5057" y="3274"/>
                  </a:cubicBezTo>
                  <a:cubicBezTo>
                    <a:pt x="5072" y="3267"/>
                    <a:pt x="5079" y="3252"/>
                    <a:pt x="5101" y="3259"/>
                  </a:cubicBezTo>
                  <a:cubicBezTo>
                    <a:pt x="5124" y="3259"/>
                    <a:pt x="5139" y="3281"/>
                    <a:pt x="5161" y="3274"/>
                  </a:cubicBezTo>
                  <a:cubicBezTo>
                    <a:pt x="5161" y="3222"/>
                    <a:pt x="5243" y="3237"/>
                    <a:pt x="5265" y="3207"/>
                  </a:cubicBezTo>
                  <a:cubicBezTo>
                    <a:pt x="5287" y="3177"/>
                    <a:pt x="5280" y="3170"/>
                    <a:pt x="5309" y="3155"/>
                  </a:cubicBezTo>
                  <a:cubicBezTo>
                    <a:pt x="5332" y="3140"/>
                    <a:pt x="5369" y="3140"/>
                    <a:pt x="5369" y="3103"/>
                  </a:cubicBezTo>
                  <a:cubicBezTo>
                    <a:pt x="5376" y="3081"/>
                    <a:pt x="5369" y="3060"/>
                    <a:pt x="5391" y="3037"/>
                  </a:cubicBezTo>
                  <a:cubicBezTo>
                    <a:pt x="5413" y="3023"/>
                    <a:pt x="5436" y="3008"/>
                    <a:pt x="5443" y="2985"/>
                  </a:cubicBezTo>
                  <a:cubicBezTo>
                    <a:pt x="5443" y="2955"/>
                    <a:pt x="5443" y="2933"/>
                    <a:pt x="5465" y="2911"/>
                  </a:cubicBezTo>
                  <a:cubicBezTo>
                    <a:pt x="5480" y="2896"/>
                    <a:pt x="5503" y="2896"/>
                    <a:pt x="5495" y="2866"/>
                  </a:cubicBezTo>
                  <a:cubicBezTo>
                    <a:pt x="5584" y="2859"/>
                    <a:pt x="5651" y="2859"/>
                    <a:pt x="5644" y="2748"/>
                  </a:cubicBezTo>
                  <a:cubicBezTo>
                    <a:pt x="5636" y="2703"/>
                    <a:pt x="5577" y="2592"/>
                    <a:pt x="5517" y="2592"/>
                  </a:cubicBezTo>
                  <a:cubicBezTo>
                    <a:pt x="5517" y="2570"/>
                    <a:pt x="5495" y="2540"/>
                    <a:pt x="5473" y="2532"/>
                  </a:cubicBezTo>
                  <a:cubicBezTo>
                    <a:pt x="5450" y="2584"/>
                    <a:pt x="5428" y="2532"/>
                    <a:pt x="5398" y="2518"/>
                  </a:cubicBezTo>
                  <a:cubicBezTo>
                    <a:pt x="5361" y="2503"/>
                    <a:pt x="5324" y="2555"/>
                    <a:pt x="5295" y="2532"/>
                  </a:cubicBezTo>
                  <a:cubicBezTo>
                    <a:pt x="5228" y="2473"/>
                    <a:pt x="5272" y="2443"/>
                    <a:pt x="5324" y="2399"/>
                  </a:cubicBezTo>
                  <a:cubicBezTo>
                    <a:pt x="5384" y="2347"/>
                    <a:pt x="5332" y="2332"/>
                    <a:pt x="5287" y="2302"/>
                  </a:cubicBezTo>
                  <a:cubicBezTo>
                    <a:pt x="5235" y="2265"/>
                    <a:pt x="5391" y="2198"/>
                    <a:pt x="5384" y="2295"/>
                  </a:cubicBezTo>
                  <a:cubicBezTo>
                    <a:pt x="5421" y="2302"/>
                    <a:pt x="5695" y="2265"/>
                    <a:pt x="5688" y="2339"/>
                  </a:cubicBezTo>
                  <a:cubicBezTo>
                    <a:pt x="5718" y="2339"/>
                    <a:pt x="5785" y="2310"/>
                    <a:pt x="5792" y="2347"/>
                  </a:cubicBezTo>
                  <a:cubicBezTo>
                    <a:pt x="5814" y="2354"/>
                    <a:pt x="5837" y="2339"/>
                    <a:pt x="5859" y="2347"/>
                  </a:cubicBezTo>
                  <a:cubicBezTo>
                    <a:pt x="5881" y="2354"/>
                    <a:pt x="5874" y="2399"/>
                    <a:pt x="5896" y="2391"/>
                  </a:cubicBezTo>
                  <a:cubicBezTo>
                    <a:pt x="5917" y="2376"/>
                    <a:pt x="5903" y="2339"/>
                    <a:pt x="5925" y="2324"/>
                  </a:cubicBezTo>
                  <a:cubicBezTo>
                    <a:pt x="5940" y="2317"/>
                    <a:pt x="5962" y="2332"/>
                    <a:pt x="5977" y="2324"/>
                  </a:cubicBezTo>
                  <a:cubicBezTo>
                    <a:pt x="5999" y="2317"/>
                    <a:pt x="5992" y="2287"/>
                    <a:pt x="5992" y="2272"/>
                  </a:cubicBezTo>
                  <a:cubicBezTo>
                    <a:pt x="5999" y="2243"/>
                    <a:pt x="6036" y="2250"/>
                    <a:pt x="6059" y="2250"/>
                  </a:cubicBezTo>
                  <a:cubicBezTo>
                    <a:pt x="6073" y="2243"/>
                    <a:pt x="6088" y="2228"/>
                    <a:pt x="6103" y="2206"/>
                  </a:cubicBezTo>
                  <a:cubicBezTo>
                    <a:pt x="6096" y="2206"/>
                    <a:pt x="6096" y="2198"/>
                    <a:pt x="6096" y="2191"/>
                  </a:cubicBezTo>
                  <a:cubicBezTo>
                    <a:pt x="6066" y="2191"/>
                    <a:pt x="6081" y="2161"/>
                    <a:pt x="6073" y="2139"/>
                  </a:cubicBezTo>
                  <a:cubicBezTo>
                    <a:pt x="6066" y="2124"/>
                    <a:pt x="6051" y="2109"/>
                    <a:pt x="6029" y="2102"/>
                  </a:cubicBezTo>
                  <a:cubicBezTo>
                    <a:pt x="6021" y="2094"/>
                    <a:pt x="6021" y="2079"/>
                    <a:pt x="6029" y="2072"/>
                  </a:cubicBezTo>
                  <a:cubicBezTo>
                    <a:pt x="6036" y="2079"/>
                    <a:pt x="6051" y="2072"/>
                    <a:pt x="6059" y="2072"/>
                  </a:cubicBezTo>
                  <a:cubicBezTo>
                    <a:pt x="6059" y="2027"/>
                    <a:pt x="6081" y="2005"/>
                    <a:pt x="6096" y="1961"/>
                  </a:cubicBezTo>
                  <a:cubicBezTo>
                    <a:pt x="6110" y="1931"/>
                    <a:pt x="6110" y="1894"/>
                    <a:pt x="6066" y="1894"/>
                  </a:cubicBezTo>
                  <a:cubicBezTo>
                    <a:pt x="6066" y="1879"/>
                    <a:pt x="6066" y="1857"/>
                    <a:pt x="6066" y="1834"/>
                  </a:cubicBezTo>
                  <a:cubicBezTo>
                    <a:pt x="6059" y="1834"/>
                    <a:pt x="6051" y="1834"/>
                    <a:pt x="6044" y="1834"/>
                  </a:cubicBezTo>
                  <a:cubicBezTo>
                    <a:pt x="6044" y="1812"/>
                    <a:pt x="6044" y="1797"/>
                    <a:pt x="6051" y="1775"/>
                  </a:cubicBezTo>
                  <a:cubicBezTo>
                    <a:pt x="6088" y="1797"/>
                    <a:pt x="6148" y="1767"/>
                    <a:pt x="6110" y="1716"/>
                  </a:cubicBezTo>
                  <a:cubicBezTo>
                    <a:pt x="6096" y="1708"/>
                    <a:pt x="6081" y="1716"/>
                    <a:pt x="6073" y="1708"/>
                  </a:cubicBezTo>
                  <a:cubicBezTo>
                    <a:pt x="6073" y="1693"/>
                    <a:pt x="6073" y="1686"/>
                    <a:pt x="6066" y="1678"/>
                  </a:cubicBezTo>
                  <a:cubicBezTo>
                    <a:pt x="6051" y="1656"/>
                    <a:pt x="6029" y="1656"/>
                    <a:pt x="6006" y="1656"/>
                  </a:cubicBezTo>
                  <a:cubicBezTo>
                    <a:pt x="5977" y="1693"/>
                    <a:pt x="5874" y="1671"/>
                    <a:pt x="5829" y="1678"/>
                  </a:cubicBezTo>
                  <a:cubicBezTo>
                    <a:pt x="5822" y="1693"/>
                    <a:pt x="5837" y="1716"/>
                    <a:pt x="5829" y="1738"/>
                  </a:cubicBezTo>
                  <a:cubicBezTo>
                    <a:pt x="5800" y="1745"/>
                    <a:pt x="5807" y="1708"/>
                    <a:pt x="5777" y="1716"/>
                  </a:cubicBezTo>
                  <a:cubicBezTo>
                    <a:pt x="5777" y="1701"/>
                    <a:pt x="5777" y="1686"/>
                    <a:pt x="5777" y="1671"/>
                  </a:cubicBezTo>
                  <a:cubicBezTo>
                    <a:pt x="5762" y="1671"/>
                    <a:pt x="5748" y="1671"/>
                    <a:pt x="5733" y="1663"/>
                  </a:cubicBezTo>
                  <a:cubicBezTo>
                    <a:pt x="5733" y="1641"/>
                    <a:pt x="5733" y="1619"/>
                    <a:pt x="5733" y="1589"/>
                  </a:cubicBezTo>
                  <a:cubicBezTo>
                    <a:pt x="5703" y="1589"/>
                    <a:pt x="5681" y="1589"/>
                    <a:pt x="5651" y="1589"/>
                  </a:cubicBezTo>
                  <a:cubicBezTo>
                    <a:pt x="5651" y="1574"/>
                    <a:pt x="5651" y="1560"/>
                    <a:pt x="5651" y="1552"/>
                  </a:cubicBezTo>
                  <a:cubicBezTo>
                    <a:pt x="5621" y="1545"/>
                    <a:pt x="5555" y="1567"/>
                    <a:pt x="5525" y="1537"/>
                  </a:cubicBezTo>
                  <a:cubicBezTo>
                    <a:pt x="5510" y="1508"/>
                    <a:pt x="5525" y="1463"/>
                    <a:pt x="5525" y="1433"/>
                  </a:cubicBezTo>
                  <a:cubicBezTo>
                    <a:pt x="5488" y="1426"/>
                    <a:pt x="5413" y="1448"/>
                    <a:pt x="5398" y="1396"/>
                  </a:cubicBezTo>
                  <a:cubicBezTo>
                    <a:pt x="5391" y="1359"/>
                    <a:pt x="5347" y="1381"/>
                    <a:pt x="5317" y="1374"/>
                  </a:cubicBezTo>
                  <a:cubicBezTo>
                    <a:pt x="5309" y="1344"/>
                    <a:pt x="5347" y="1300"/>
                    <a:pt x="5317" y="1277"/>
                  </a:cubicBezTo>
                  <a:cubicBezTo>
                    <a:pt x="5302" y="1263"/>
                    <a:pt x="5265" y="1270"/>
                    <a:pt x="5243" y="1270"/>
                  </a:cubicBezTo>
                  <a:cubicBezTo>
                    <a:pt x="5250" y="1300"/>
                    <a:pt x="5228" y="1314"/>
                    <a:pt x="5228" y="1344"/>
                  </a:cubicBezTo>
                  <a:cubicBezTo>
                    <a:pt x="5205" y="1352"/>
                    <a:pt x="5190" y="1337"/>
                    <a:pt x="5176" y="1322"/>
                  </a:cubicBezTo>
                  <a:cubicBezTo>
                    <a:pt x="5183" y="1307"/>
                    <a:pt x="5176" y="1300"/>
                    <a:pt x="5176" y="1292"/>
                  </a:cubicBezTo>
                  <a:cubicBezTo>
                    <a:pt x="5139" y="1285"/>
                    <a:pt x="5124" y="1314"/>
                    <a:pt x="5109" y="1329"/>
                  </a:cubicBezTo>
                  <a:cubicBezTo>
                    <a:pt x="5109" y="1322"/>
                    <a:pt x="5101" y="1314"/>
                    <a:pt x="5109" y="1300"/>
                  </a:cubicBezTo>
                  <a:cubicBezTo>
                    <a:pt x="5094" y="1300"/>
                    <a:pt x="5079" y="1300"/>
                    <a:pt x="5064" y="1307"/>
                  </a:cubicBezTo>
                  <a:cubicBezTo>
                    <a:pt x="5109" y="1366"/>
                    <a:pt x="5020" y="1389"/>
                    <a:pt x="5042" y="1448"/>
                  </a:cubicBezTo>
                  <a:cubicBezTo>
                    <a:pt x="5012" y="1448"/>
                    <a:pt x="4871" y="1463"/>
                    <a:pt x="4871" y="1433"/>
                  </a:cubicBezTo>
                  <a:cubicBezTo>
                    <a:pt x="4834" y="1426"/>
                    <a:pt x="4819" y="1478"/>
                    <a:pt x="4782" y="1463"/>
                  </a:cubicBezTo>
                  <a:cubicBezTo>
                    <a:pt x="4797" y="1433"/>
                    <a:pt x="4804" y="1404"/>
                    <a:pt x="4804" y="1366"/>
                  </a:cubicBezTo>
                  <a:cubicBezTo>
                    <a:pt x="4812" y="1352"/>
                    <a:pt x="4804" y="1329"/>
                    <a:pt x="4819" y="1314"/>
                  </a:cubicBezTo>
                  <a:cubicBezTo>
                    <a:pt x="4834" y="1307"/>
                    <a:pt x="4834" y="1307"/>
                    <a:pt x="4842" y="1292"/>
                  </a:cubicBezTo>
                  <a:cubicBezTo>
                    <a:pt x="4827" y="1292"/>
                    <a:pt x="4804" y="1292"/>
                    <a:pt x="4790" y="1292"/>
                  </a:cubicBezTo>
                  <a:cubicBezTo>
                    <a:pt x="4790" y="1307"/>
                    <a:pt x="4790" y="1322"/>
                    <a:pt x="4790" y="1329"/>
                  </a:cubicBezTo>
                  <a:cubicBezTo>
                    <a:pt x="4782" y="1322"/>
                    <a:pt x="4782" y="1307"/>
                    <a:pt x="4782" y="1300"/>
                  </a:cubicBezTo>
                  <a:cubicBezTo>
                    <a:pt x="4760" y="1300"/>
                    <a:pt x="4738" y="1300"/>
                    <a:pt x="4715" y="1307"/>
                  </a:cubicBezTo>
                  <a:cubicBezTo>
                    <a:pt x="4715" y="1314"/>
                    <a:pt x="4723" y="1329"/>
                    <a:pt x="4738" y="1329"/>
                  </a:cubicBezTo>
                  <a:cubicBezTo>
                    <a:pt x="4738" y="1337"/>
                    <a:pt x="4738" y="1344"/>
                    <a:pt x="4738" y="1344"/>
                  </a:cubicBezTo>
                  <a:cubicBezTo>
                    <a:pt x="4715" y="1344"/>
                    <a:pt x="4678" y="1352"/>
                    <a:pt x="4663" y="1329"/>
                  </a:cubicBezTo>
                  <a:cubicBezTo>
                    <a:pt x="4656" y="1314"/>
                    <a:pt x="4656" y="1292"/>
                    <a:pt x="4626" y="1300"/>
                  </a:cubicBezTo>
                  <a:cubicBezTo>
                    <a:pt x="4626" y="1314"/>
                    <a:pt x="4619" y="1322"/>
                    <a:pt x="4619" y="1329"/>
                  </a:cubicBezTo>
                  <a:cubicBezTo>
                    <a:pt x="4611" y="1307"/>
                    <a:pt x="4582" y="1314"/>
                    <a:pt x="4567" y="1322"/>
                  </a:cubicBezTo>
                  <a:cubicBezTo>
                    <a:pt x="4582" y="1352"/>
                    <a:pt x="4589" y="1426"/>
                    <a:pt x="4537" y="1411"/>
                  </a:cubicBezTo>
                  <a:cubicBezTo>
                    <a:pt x="4537" y="1389"/>
                    <a:pt x="4552" y="1352"/>
                    <a:pt x="4522" y="1344"/>
                  </a:cubicBezTo>
                  <a:cubicBezTo>
                    <a:pt x="4500" y="1337"/>
                    <a:pt x="4470" y="1352"/>
                    <a:pt x="4478" y="1381"/>
                  </a:cubicBezTo>
                  <a:cubicBezTo>
                    <a:pt x="4455" y="1389"/>
                    <a:pt x="4441" y="1389"/>
                    <a:pt x="4418" y="1381"/>
                  </a:cubicBezTo>
                  <a:cubicBezTo>
                    <a:pt x="4426" y="1366"/>
                    <a:pt x="4433" y="1359"/>
                    <a:pt x="4448" y="1359"/>
                  </a:cubicBezTo>
                  <a:cubicBezTo>
                    <a:pt x="4463" y="1352"/>
                    <a:pt x="4455" y="1352"/>
                    <a:pt x="4470" y="1344"/>
                  </a:cubicBezTo>
                  <a:cubicBezTo>
                    <a:pt x="4470" y="1344"/>
                    <a:pt x="4478" y="1329"/>
                    <a:pt x="4478" y="1322"/>
                  </a:cubicBezTo>
                  <a:cubicBezTo>
                    <a:pt x="4478" y="1322"/>
                    <a:pt x="4470" y="1322"/>
                    <a:pt x="4463" y="1322"/>
                  </a:cubicBezTo>
                  <a:cubicBezTo>
                    <a:pt x="4455" y="1270"/>
                    <a:pt x="4537" y="1277"/>
                    <a:pt x="4522" y="1218"/>
                  </a:cubicBezTo>
                  <a:cubicBezTo>
                    <a:pt x="4500" y="1211"/>
                    <a:pt x="4478" y="1173"/>
                    <a:pt x="4455" y="1159"/>
                  </a:cubicBezTo>
                  <a:cubicBezTo>
                    <a:pt x="4433" y="1144"/>
                    <a:pt x="4433" y="1114"/>
                    <a:pt x="4433" y="1092"/>
                  </a:cubicBezTo>
                  <a:cubicBezTo>
                    <a:pt x="4411" y="1084"/>
                    <a:pt x="4344" y="1106"/>
                    <a:pt x="4344" y="1129"/>
                  </a:cubicBezTo>
                  <a:cubicBezTo>
                    <a:pt x="4322" y="1121"/>
                    <a:pt x="4292" y="1114"/>
                    <a:pt x="4270" y="1121"/>
                  </a:cubicBezTo>
                  <a:cubicBezTo>
                    <a:pt x="4292" y="1159"/>
                    <a:pt x="4210" y="1211"/>
                    <a:pt x="4181" y="1188"/>
                  </a:cubicBezTo>
                  <a:cubicBezTo>
                    <a:pt x="4136" y="1159"/>
                    <a:pt x="4143" y="1270"/>
                    <a:pt x="4143" y="1285"/>
                  </a:cubicBezTo>
                  <a:cubicBezTo>
                    <a:pt x="4091" y="1285"/>
                    <a:pt x="4025" y="1292"/>
                    <a:pt x="3980" y="1285"/>
                  </a:cubicBezTo>
                  <a:cubicBezTo>
                    <a:pt x="3965" y="1240"/>
                    <a:pt x="3921" y="1225"/>
                    <a:pt x="3928" y="1285"/>
                  </a:cubicBezTo>
                  <a:cubicBezTo>
                    <a:pt x="3906" y="1285"/>
                    <a:pt x="3876" y="1270"/>
                    <a:pt x="3854" y="1277"/>
                  </a:cubicBezTo>
                  <a:cubicBezTo>
                    <a:pt x="3824" y="1292"/>
                    <a:pt x="3846" y="1314"/>
                    <a:pt x="3846" y="1337"/>
                  </a:cubicBezTo>
                  <a:cubicBezTo>
                    <a:pt x="3743" y="1322"/>
                    <a:pt x="3898" y="1203"/>
                    <a:pt x="3891" y="1173"/>
                  </a:cubicBezTo>
                  <a:cubicBezTo>
                    <a:pt x="3846" y="1173"/>
                    <a:pt x="3817" y="1188"/>
                    <a:pt x="3817" y="1136"/>
                  </a:cubicBezTo>
                  <a:cubicBezTo>
                    <a:pt x="3787" y="1136"/>
                    <a:pt x="3780" y="1114"/>
                    <a:pt x="3750" y="1106"/>
                  </a:cubicBezTo>
                  <a:cubicBezTo>
                    <a:pt x="3757" y="1129"/>
                    <a:pt x="3802" y="1218"/>
                    <a:pt x="3765" y="1225"/>
                  </a:cubicBezTo>
                  <a:cubicBezTo>
                    <a:pt x="3765" y="1233"/>
                    <a:pt x="3765" y="1248"/>
                    <a:pt x="3765" y="1255"/>
                  </a:cubicBezTo>
                  <a:cubicBezTo>
                    <a:pt x="3728" y="1263"/>
                    <a:pt x="3713" y="1255"/>
                    <a:pt x="3683" y="1248"/>
                  </a:cubicBezTo>
                  <a:cubicBezTo>
                    <a:pt x="3653" y="1240"/>
                    <a:pt x="3639" y="1255"/>
                    <a:pt x="3616" y="1255"/>
                  </a:cubicBezTo>
                  <a:cubicBezTo>
                    <a:pt x="3616" y="1248"/>
                    <a:pt x="3609" y="1240"/>
                    <a:pt x="3609" y="1233"/>
                  </a:cubicBezTo>
                  <a:cubicBezTo>
                    <a:pt x="3579" y="1225"/>
                    <a:pt x="3609" y="1196"/>
                    <a:pt x="3594" y="1181"/>
                  </a:cubicBezTo>
                  <a:cubicBezTo>
                    <a:pt x="3579" y="1173"/>
                    <a:pt x="3549" y="1188"/>
                    <a:pt x="3535" y="1196"/>
                  </a:cubicBezTo>
                  <a:cubicBezTo>
                    <a:pt x="3535" y="1211"/>
                    <a:pt x="3520" y="1218"/>
                    <a:pt x="3505" y="1218"/>
                  </a:cubicBezTo>
                  <a:cubicBezTo>
                    <a:pt x="3497" y="1211"/>
                    <a:pt x="3497" y="1196"/>
                    <a:pt x="3505" y="1188"/>
                  </a:cubicBezTo>
                  <a:cubicBezTo>
                    <a:pt x="3535" y="1173"/>
                    <a:pt x="3535" y="1151"/>
                    <a:pt x="3535" y="1121"/>
                  </a:cubicBezTo>
                  <a:cubicBezTo>
                    <a:pt x="3520" y="1114"/>
                    <a:pt x="3505" y="1114"/>
                    <a:pt x="3497" y="1121"/>
                  </a:cubicBezTo>
                  <a:cubicBezTo>
                    <a:pt x="3497" y="1136"/>
                    <a:pt x="3490" y="1151"/>
                    <a:pt x="3490" y="1166"/>
                  </a:cubicBezTo>
                  <a:cubicBezTo>
                    <a:pt x="3483" y="1159"/>
                    <a:pt x="3468" y="1151"/>
                    <a:pt x="3460" y="1144"/>
                  </a:cubicBezTo>
                  <a:cubicBezTo>
                    <a:pt x="3453" y="1084"/>
                    <a:pt x="3497" y="1084"/>
                    <a:pt x="3542" y="1084"/>
                  </a:cubicBezTo>
                  <a:cubicBezTo>
                    <a:pt x="3542" y="1055"/>
                    <a:pt x="3505" y="1025"/>
                    <a:pt x="3520" y="995"/>
                  </a:cubicBezTo>
                  <a:cubicBezTo>
                    <a:pt x="3527" y="973"/>
                    <a:pt x="3549" y="966"/>
                    <a:pt x="3535" y="943"/>
                  </a:cubicBezTo>
                  <a:cubicBezTo>
                    <a:pt x="3497" y="951"/>
                    <a:pt x="3483" y="988"/>
                    <a:pt x="3453" y="988"/>
                  </a:cubicBezTo>
                  <a:cubicBezTo>
                    <a:pt x="3446" y="1003"/>
                    <a:pt x="3453" y="1017"/>
                    <a:pt x="3446" y="1032"/>
                  </a:cubicBezTo>
                  <a:cubicBezTo>
                    <a:pt x="3438" y="1032"/>
                    <a:pt x="3423" y="1040"/>
                    <a:pt x="3416" y="1032"/>
                  </a:cubicBezTo>
                  <a:cubicBezTo>
                    <a:pt x="3408" y="1084"/>
                    <a:pt x="3401" y="1084"/>
                    <a:pt x="3349" y="1084"/>
                  </a:cubicBezTo>
                  <a:cubicBezTo>
                    <a:pt x="3349" y="1025"/>
                    <a:pt x="3327" y="1017"/>
                    <a:pt x="3275" y="1040"/>
                  </a:cubicBezTo>
                  <a:cubicBezTo>
                    <a:pt x="3260" y="1069"/>
                    <a:pt x="3245" y="1106"/>
                    <a:pt x="3200" y="1106"/>
                  </a:cubicBezTo>
                  <a:cubicBezTo>
                    <a:pt x="3193" y="1136"/>
                    <a:pt x="3252" y="1121"/>
                    <a:pt x="3267" y="1136"/>
                  </a:cubicBezTo>
                  <a:cubicBezTo>
                    <a:pt x="3312" y="1159"/>
                    <a:pt x="3282" y="1218"/>
                    <a:pt x="3304" y="1255"/>
                  </a:cubicBezTo>
                  <a:cubicBezTo>
                    <a:pt x="3364" y="1248"/>
                    <a:pt x="3327" y="1381"/>
                    <a:pt x="3341" y="1411"/>
                  </a:cubicBezTo>
                  <a:cubicBezTo>
                    <a:pt x="3356" y="1448"/>
                    <a:pt x="3394" y="1418"/>
                    <a:pt x="3408" y="1463"/>
                  </a:cubicBezTo>
                  <a:cubicBezTo>
                    <a:pt x="3423" y="1515"/>
                    <a:pt x="3386" y="1582"/>
                    <a:pt x="3386" y="1634"/>
                  </a:cubicBezTo>
                  <a:cubicBezTo>
                    <a:pt x="3423" y="1641"/>
                    <a:pt x="3460" y="1611"/>
                    <a:pt x="3490" y="1619"/>
                  </a:cubicBezTo>
                  <a:cubicBezTo>
                    <a:pt x="3490" y="1641"/>
                    <a:pt x="3512" y="1649"/>
                    <a:pt x="3520" y="1663"/>
                  </a:cubicBezTo>
                  <a:cubicBezTo>
                    <a:pt x="3520" y="1678"/>
                    <a:pt x="3520" y="1701"/>
                    <a:pt x="3512" y="1716"/>
                  </a:cubicBezTo>
                  <a:cubicBezTo>
                    <a:pt x="3497" y="1716"/>
                    <a:pt x="3483" y="1723"/>
                    <a:pt x="3490" y="1745"/>
                  </a:cubicBezTo>
                  <a:cubicBezTo>
                    <a:pt x="3520" y="1753"/>
                    <a:pt x="3535" y="1775"/>
                    <a:pt x="3549" y="1805"/>
                  </a:cubicBezTo>
                  <a:cubicBezTo>
                    <a:pt x="3527" y="1812"/>
                    <a:pt x="3520" y="1849"/>
                    <a:pt x="3520" y="1879"/>
                  </a:cubicBezTo>
                  <a:cubicBezTo>
                    <a:pt x="3475" y="1886"/>
                    <a:pt x="3453" y="1923"/>
                    <a:pt x="3416" y="1938"/>
                  </a:cubicBezTo>
                  <a:cubicBezTo>
                    <a:pt x="3416" y="1901"/>
                    <a:pt x="3371" y="1894"/>
                    <a:pt x="3349" y="1901"/>
                  </a:cubicBezTo>
                  <a:cubicBezTo>
                    <a:pt x="3349" y="1908"/>
                    <a:pt x="3341" y="1923"/>
                    <a:pt x="3341" y="1931"/>
                  </a:cubicBezTo>
                  <a:cubicBezTo>
                    <a:pt x="3289" y="1923"/>
                    <a:pt x="3312" y="1849"/>
                    <a:pt x="3275" y="1827"/>
                  </a:cubicBezTo>
                  <a:cubicBezTo>
                    <a:pt x="3252" y="1805"/>
                    <a:pt x="3208" y="1827"/>
                    <a:pt x="3200" y="1782"/>
                  </a:cubicBezTo>
                  <a:cubicBezTo>
                    <a:pt x="3171" y="1805"/>
                    <a:pt x="3163" y="1834"/>
                    <a:pt x="3156" y="1871"/>
                  </a:cubicBezTo>
                  <a:cubicBezTo>
                    <a:pt x="3141" y="1871"/>
                    <a:pt x="3126" y="1864"/>
                    <a:pt x="3104" y="1864"/>
                  </a:cubicBezTo>
                  <a:cubicBezTo>
                    <a:pt x="3104" y="1819"/>
                    <a:pt x="3141" y="1738"/>
                    <a:pt x="3082" y="1723"/>
                  </a:cubicBezTo>
                  <a:cubicBezTo>
                    <a:pt x="3044" y="1716"/>
                    <a:pt x="3022" y="1716"/>
                    <a:pt x="3030" y="1671"/>
                  </a:cubicBezTo>
                  <a:cubicBezTo>
                    <a:pt x="3119" y="1649"/>
                    <a:pt x="2992" y="1463"/>
                    <a:pt x="2992" y="1418"/>
                  </a:cubicBezTo>
                  <a:cubicBezTo>
                    <a:pt x="3022" y="1426"/>
                    <a:pt x="3052" y="1396"/>
                    <a:pt x="3074" y="1381"/>
                  </a:cubicBezTo>
                  <a:cubicBezTo>
                    <a:pt x="3111" y="1352"/>
                    <a:pt x="3104" y="1314"/>
                    <a:pt x="3111" y="1270"/>
                  </a:cubicBezTo>
                  <a:cubicBezTo>
                    <a:pt x="3149" y="1277"/>
                    <a:pt x="3134" y="1225"/>
                    <a:pt x="3178" y="1233"/>
                  </a:cubicBezTo>
                  <a:cubicBezTo>
                    <a:pt x="3178" y="1211"/>
                    <a:pt x="3163" y="1196"/>
                    <a:pt x="3156" y="1173"/>
                  </a:cubicBezTo>
                  <a:cubicBezTo>
                    <a:pt x="3111" y="1173"/>
                    <a:pt x="3119" y="1106"/>
                    <a:pt x="3119" y="1077"/>
                  </a:cubicBezTo>
                  <a:cubicBezTo>
                    <a:pt x="3119" y="1055"/>
                    <a:pt x="3111" y="1032"/>
                    <a:pt x="3119" y="1017"/>
                  </a:cubicBezTo>
                  <a:cubicBezTo>
                    <a:pt x="3134" y="988"/>
                    <a:pt x="3163" y="1010"/>
                    <a:pt x="3186" y="1003"/>
                  </a:cubicBezTo>
                  <a:cubicBezTo>
                    <a:pt x="3186" y="973"/>
                    <a:pt x="3171" y="921"/>
                    <a:pt x="3223" y="921"/>
                  </a:cubicBezTo>
                  <a:cubicBezTo>
                    <a:pt x="3260" y="914"/>
                    <a:pt x="3312" y="936"/>
                    <a:pt x="3349" y="914"/>
                  </a:cubicBezTo>
                  <a:cubicBezTo>
                    <a:pt x="3371" y="906"/>
                    <a:pt x="3379" y="884"/>
                    <a:pt x="3401" y="891"/>
                  </a:cubicBezTo>
                  <a:cubicBezTo>
                    <a:pt x="3423" y="891"/>
                    <a:pt x="3438" y="891"/>
                    <a:pt x="3453" y="876"/>
                  </a:cubicBezTo>
                  <a:cubicBezTo>
                    <a:pt x="3475" y="847"/>
                    <a:pt x="3431" y="824"/>
                    <a:pt x="3431" y="795"/>
                  </a:cubicBezTo>
                  <a:lnTo>
                    <a:pt x="3438" y="795"/>
                  </a:lnTo>
                  <a:cubicBezTo>
                    <a:pt x="3438" y="772"/>
                    <a:pt x="3438" y="713"/>
                    <a:pt x="3475" y="750"/>
                  </a:cubicBezTo>
                  <a:cubicBezTo>
                    <a:pt x="3475" y="713"/>
                    <a:pt x="3505" y="683"/>
                    <a:pt x="3512" y="654"/>
                  </a:cubicBezTo>
                  <a:cubicBezTo>
                    <a:pt x="3549" y="631"/>
                    <a:pt x="3542" y="564"/>
                    <a:pt x="3579" y="542"/>
                  </a:cubicBezTo>
                  <a:cubicBezTo>
                    <a:pt x="3579" y="527"/>
                    <a:pt x="3579" y="498"/>
                    <a:pt x="3586" y="483"/>
                  </a:cubicBezTo>
                  <a:cubicBezTo>
                    <a:pt x="3624" y="475"/>
                    <a:pt x="3594" y="423"/>
                    <a:pt x="3653" y="423"/>
                  </a:cubicBezTo>
                  <a:cubicBezTo>
                    <a:pt x="3646" y="379"/>
                    <a:pt x="3668" y="327"/>
                    <a:pt x="3653" y="282"/>
                  </a:cubicBezTo>
                  <a:cubicBezTo>
                    <a:pt x="3639" y="238"/>
                    <a:pt x="3601" y="215"/>
                    <a:pt x="3609" y="171"/>
                  </a:cubicBezTo>
                  <a:cubicBezTo>
                    <a:pt x="3609" y="134"/>
                    <a:pt x="3609" y="119"/>
                    <a:pt x="3572" y="104"/>
                  </a:cubicBezTo>
                  <a:cubicBezTo>
                    <a:pt x="3549" y="104"/>
                    <a:pt x="3520" y="97"/>
                    <a:pt x="3520" y="67"/>
                  </a:cubicBezTo>
                  <a:cubicBezTo>
                    <a:pt x="3483" y="37"/>
                    <a:pt x="3468" y="15"/>
                    <a:pt x="3416" y="15"/>
                  </a:cubicBezTo>
                  <a:cubicBezTo>
                    <a:pt x="3416" y="22"/>
                    <a:pt x="3408" y="30"/>
                    <a:pt x="3408" y="37"/>
                  </a:cubicBezTo>
                  <a:cubicBezTo>
                    <a:pt x="3379" y="37"/>
                    <a:pt x="3341" y="37"/>
                    <a:pt x="3304" y="37"/>
                  </a:cubicBezTo>
                  <a:cubicBezTo>
                    <a:pt x="3275" y="30"/>
                    <a:pt x="3245" y="7"/>
                    <a:pt x="3208" y="7"/>
                  </a:cubicBezTo>
                  <a:cubicBezTo>
                    <a:pt x="3178" y="0"/>
                    <a:pt x="3149" y="15"/>
                    <a:pt x="3119" y="7"/>
                  </a:cubicBezTo>
                  <a:cubicBezTo>
                    <a:pt x="3111" y="7"/>
                    <a:pt x="3104" y="7"/>
                    <a:pt x="3096" y="0"/>
                  </a:cubicBezTo>
                  <a:cubicBezTo>
                    <a:pt x="3082" y="22"/>
                    <a:pt x="3059" y="45"/>
                    <a:pt x="3052" y="59"/>
                  </a:cubicBezTo>
                  <a:lnTo>
                    <a:pt x="3030" y="119"/>
                  </a:lnTo>
                  <a:cubicBezTo>
                    <a:pt x="2955" y="126"/>
                    <a:pt x="2814" y="82"/>
                    <a:pt x="2799" y="193"/>
                  </a:cubicBezTo>
                  <a:cubicBezTo>
                    <a:pt x="2770" y="208"/>
                    <a:pt x="2733" y="201"/>
                    <a:pt x="2710" y="223"/>
                  </a:cubicBezTo>
                  <a:cubicBezTo>
                    <a:pt x="2695" y="238"/>
                    <a:pt x="2688" y="253"/>
                    <a:pt x="2673" y="260"/>
                  </a:cubicBezTo>
                  <a:cubicBezTo>
                    <a:pt x="2636" y="290"/>
                    <a:pt x="2584" y="304"/>
                    <a:pt x="2539" y="304"/>
                  </a:cubicBezTo>
                  <a:cubicBezTo>
                    <a:pt x="2517" y="349"/>
                    <a:pt x="2443" y="349"/>
                    <a:pt x="2398" y="371"/>
                  </a:cubicBezTo>
                  <a:cubicBezTo>
                    <a:pt x="2376" y="386"/>
                    <a:pt x="2361" y="401"/>
                    <a:pt x="2347" y="423"/>
                  </a:cubicBezTo>
                  <a:cubicBezTo>
                    <a:pt x="2324" y="461"/>
                    <a:pt x="2287" y="453"/>
                    <a:pt x="2250" y="461"/>
                  </a:cubicBezTo>
                  <a:cubicBezTo>
                    <a:pt x="2183" y="475"/>
                    <a:pt x="2131" y="550"/>
                    <a:pt x="2101" y="602"/>
                  </a:cubicBezTo>
                  <a:cubicBezTo>
                    <a:pt x="2072" y="654"/>
                    <a:pt x="2012" y="676"/>
                    <a:pt x="1953" y="676"/>
                  </a:cubicBezTo>
                  <a:cubicBezTo>
                    <a:pt x="1916" y="698"/>
                    <a:pt x="1945" y="772"/>
                    <a:pt x="1886" y="765"/>
                  </a:cubicBezTo>
                  <a:cubicBezTo>
                    <a:pt x="1908" y="832"/>
                    <a:pt x="1931" y="899"/>
                    <a:pt x="1945" y="966"/>
                  </a:cubicBezTo>
                  <a:cubicBezTo>
                    <a:pt x="1953" y="1010"/>
                    <a:pt x="1982" y="1032"/>
                    <a:pt x="2020" y="1047"/>
                  </a:cubicBezTo>
                  <a:cubicBezTo>
                    <a:pt x="2087" y="1069"/>
                    <a:pt x="2183" y="1084"/>
                    <a:pt x="2257" y="1077"/>
                  </a:cubicBezTo>
                  <a:cubicBezTo>
                    <a:pt x="2279" y="1069"/>
                    <a:pt x="2294" y="1055"/>
                    <a:pt x="2317" y="1062"/>
                  </a:cubicBezTo>
                  <a:cubicBezTo>
                    <a:pt x="2339" y="1062"/>
                    <a:pt x="2354" y="1077"/>
                    <a:pt x="2376" y="1084"/>
                  </a:cubicBezTo>
                  <a:cubicBezTo>
                    <a:pt x="2391" y="1032"/>
                    <a:pt x="2398" y="1003"/>
                    <a:pt x="2458" y="1010"/>
                  </a:cubicBezTo>
                  <a:cubicBezTo>
                    <a:pt x="2465" y="1040"/>
                    <a:pt x="2443" y="1092"/>
                    <a:pt x="2495" y="1092"/>
                  </a:cubicBezTo>
                  <a:cubicBezTo>
                    <a:pt x="2495" y="1144"/>
                    <a:pt x="2495" y="1196"/>
                    <a:pt x="2487" y="1248"/>
                  </a:cubicBezTo>
                  <a:cubicBezTo>
                    <a:pt x="2465" y="1248"/>
                    <a:pt x="2443" y="1255"/>
                    <a:pt x="2421" y="1255"/>
                  </a:cubicBezTo>
                  <a:cubicBezTo>
                    <a:pt x="2421" y="1248"/>
                    <a:pt x="2413" y="1225"/>
                    <a:pt x="2421" y="1218"/>
                  </a:cubicBezTo>
                  <a:cubicBezTo>
                    <a:pt x="2376" y="1233"/>
                    <a:pt x="2347" y="1263"/>
                    <a:pt x="2302" y="1263"/>
                  </a:cubicBezTo>
                  <a:cubicBezTo>
                    <a:pt x="2242" y="1270"/>
                    <a:pt x="2190" y="1255"/>
                    <a:pt x="2139" y="1263"/>
                  </a:cubicBezTo>
                  <a:cubicBezTo>
                    <a:pt x="2131" y="1285"/>
                    <a:pt x="2124" y="1307"/>
                    <a:pt x="2131" y="1329"/>
                  </a:cubicBezTo>
                  <a:cubicBezTo>
                    <a:pt x="2139" y="1359"/>
                    <a:pt x="2168" y="1366"/>
                    <a:pt x="2168" y="1396"/>
                  </a:cubicBezTo>
                  <a:cubicBezTo>
                    <a:pt x="2176" y="1441"/>
                    <a:pt x="2116" y="1433"/>
                    <a:pt x="2087" y="1433"/>
                  </a:cubicBezTo>
                  <a:cubicBezTo>
                    <a:pt x="2101" y="1485"/>
                    <a:pt x="2131" y="1500"/>
                    <a:pt x="2190" y="1508"/>
                  </a:cubicBezTo>
                  <a:cubicBezTo>
                    <a:pt x="2235" y="1522"/>
                    <a:pt x="2257" y="1545"/>
                    <a:pt x="2257" y="1597"/>
                  </a:cubicBezTo>
                  <a:cubicBezTo>
                    <a:pt x="2250" y="1634"/>
                    <a:pt x="2235" y="1701"/>
                    <a:pt x="2183" y="1686"/>
                  </a:cubicBezTo>
                  <a:cubicBezTo>
                    <a:pt x="2146" y="1678"/>
                    <a:pt x="2139" y="1634"/>
                    <a:pt x="2094" y="1649"/>
                  </a:cubicBezTo>
                  <a:cubicBezTo>
                    <a:pt x="2109" y="1693"/>
                    <a:pt x="2079" y="1871"/>
                    <a:pt x="2139" y="1886"/>
                  </a:cubicBezTo>
                  <a:cubicBezTo>
                    <a:pt x="2139" y="1931"/>
                    <a:pt x="2064" y="1923"/>
                    <a:pt x="2064" y="1961"/>
                  </a:cubicBezTo>
                  <a:cubicBezTo>
                    <a:pt x="2034" y="1968"/>
                    <a:pt x="2020" y="1938"/>
                    <a:pt x="2027" y="1908"/>
                  </a:cubicBezTo>
                  <a:cubicBezTo>
                    <a:pt x="1990" y="1916"/>
                    <a:pt x="1975" y="1894"/>
                    <a:pt x="1945" y="1894"/>
                  </a:cubicBezTo>
                  <a:cubicBezTo>
                    <a:pt x="1945" y="1871"/>
                    <a:pt x="1945" y="1849"/>
                    <a:pt x="1945" y="1834"/>
                  </a:cubicBezTo>
                  <a:lnTo>
                    <a:pt x="1938" y="1842"/>
                  </a:lnTo>
                  <a:cubicBezTo>
                    <a:pt x="1923" y="1849"/>
                    <a:pt x="1901" y="1849"/>
                    <a:pt x="1879" y="1849"/>
                  </a:cubicBezTo>
                  <a:cubicBezTo>
                    <a:pt x="1886" y="1857"/>
                    <a:pt x="1879" y="1871"/>
                    <a:pt x="1879" y="1886"/>
                  </a:cubicBezTo>
                  <a:cubicBezTo>
                    <a:pt x="1834" y="1864"/>
                    <a:pt x="1782" y="1864"/>
                    <a:pt x="1730" y="1857"/>
                  </a:cubicBezTo>
                  <a:cubicBezTo>
                    <a:pt x="1685" y="1842"/>
                    <a:pt x="1641" y="1819"/>
                    <a:pt x="1589" y="1834"/>
                  </a:cubicBezTo>
                  <a:cubicBezTo>
                    <a:pt x="1589" y="1871"/>
                    <a:pt x="1567" y="1923"/>
                    <a:pt x="1537" y="1961"/>
                  </a:cubicBezTo>
                  <a:cubicBezTo>
                    <a:pt x="1515" y="1983"/>
                    <a:pt x="1485" y="1976"/>
                    <a:pt x="1455" y="1990"/>
                  </a:cubicBezTo>
                  <a:cubicBezTo>
                    <a:pt x="1455" y="2013"/>
                    <a:pt x="1477" y="2035"/>
                    <a:pt x="1470" y="2065"/>
                  </a:cubicBezTo>
                  <a:cubicBezTo>
                    <a:pt x="1448" y="2065"/>
                    <a:pt x="1433" y="2072"/>
                    <a:pt x="1426" y="2094"/>
                  </a:cubicBezTo>
                  <a:cubicBezTo>
                    <a:pt x="1381" y="2094"/>
                    <a:pt x="1337" y="2072"/>
                    <a:pt x="1292" y="2087"/>
                  </a:cubicBezTo>
                  <a:cubicBezTo>
                    <a:pt x="1277" y="2109"/>
                    <a:pt x="1292" y="2139"/>
                    <a:pt x="1277" y="2161"/>
                  </a:cubicBezTo>
                  <a:cubicBezTo>
                    <a:pt x="1225" y="2131"/>
                    <a:pt x="1232" y="2094"/>
                    <a:pt x="1158" y="2094"/>
                  </a:cubicBezTo>
                  <a:cubicBezTo>
                    <a:pt x="1151" y="2065"/>
                    <a:pt x="1151" y="1931"/>
                    <a:pt x="1210" y="1968"/>
                  </a:cubicBezTo>
                  <a:cubicBezTo>
                    <a:pt x="1247" y="1983"/>
                    <a:pt x="1262" y="1990"/>
                    <a:pt x="1307" y="1983"/>
                  </a:cubicBezTo>
                  <a:cubicBezTo>
                    <a:pt x="1351" y="1976"/>
                    <a:pt x="1374" y="1953"/>
                    <a:pt x="1418" y="1938"/>
                  </a:cubicBezTo>
                  <a:cubicBezTo>
                    <a:pt x="1411" y="1908"/>
                    <a:pt x="1366" y="1916"/>
                    <a:pt x="1359" y="1879"/>
                  </a:cubicBezTo>
                  <a:cubicBezTo>
                    <a:pt x="1351" y="1857"/>
                    <a:pt x="1374" y="1827"/>
                    <a:pt x="1374" y="1797"/>
                  </a:cubicBezTo>
                  <a:cubicBezTo>
                    <a:pt x="1381" y="1745"/>
                    <a:pt x="1344" y="1767"/>
                    <a:pt x="1344" y="1745"/>
                  </a:cubicBezTo>
                  <a:cubicBezTo>
                    <a:pt x="1337" y="1716"/>
                    <a:pt x="1351" y="1671"/>
                    <a:pt x="1381" y="1663"/>
                  </a:cubicBezTo>
                  <a:cubicBezTo>
                    <a:pt x="1455" y="1738"/>
                    <a:pt x="1463" y="1619"/>
                    <a:pt x="1455" y="1574"/>
                  </a:cubicBezTo>
                  <a:cubicBezTo>
                    <a:pt x="1433" y="1574"/>
                    <a:pt x="1411" y="1574"/>
                    <a:pt x="1396" y="1567"/>
                  </a:cubicBezTo>
                  <a:cubicBezTo>
                    <a:pt x="1388" y="1522"/>
                    <a:pt x="1396" y="1485"/>
                    <a:pt x="1396" y="1448"/>
                  </a:cubicBezTo>
                  <a:cubicBezTo>
                    <a:pt x="1337" y="1441"/>
                    <a:pt x="1322" y="1448"/>
                    <a:pt x="1285" y="1471"/>
                  </a:cubicBezTo>
                  <a:cubicBezTo>
                    <a:pt x="1262" y="1485"/>
                    <a:pt x="1195" y="1537"/>
                    <a:pt x="1210" y="1471"/>
                  </a:cubicBezTo>
                  <a:cubicBezTo>
                    <a:pt x="1151" y="1463"/>
                    <a:pt x="1077" y="1456"/>
                    <a:pt x="1017" y="1448"/>
                  </a:cubicBezTo>
                  <a:cubicBezTo>
                    <a:pt x="965" y="1433"/>
                    <a:pt x="980" y="1374"/>
                    <a:pt x="1032" y="1374"/>
                  </a:cubicBezTo>
                  <a:cubicBezTo>
                    <a:pt x="1032" y="1344"/>
                    <a:pt x="1017" y="1292"/>
                    <a:pt x="1069" y="1300"/>
                  </a:cubicBezTo>
                  <a:cubicBezTo>
                    <a:pt x="1077" y="1263"/>
                    <a:pt x="1077" y="1233"/>
                    <a:pt x="1077" y="1196"/>
                  </a:cubicBezTo>
                  <a:cubicBezTo>
                    <a:pt x="1032" y="1196"/>
                    <a:pt x="965" y="1181"/>
                    <a:pt x="935" y="1218"/>
                  </a:cubicBezTo>
                  <a:cubicBezTo>
                    <a:pt x="921" y="1255"/>
                    <a:pt x="935" y="1292"/>
                    <a:pt x="898" y="1314"/>
                  </a:cubicBezTo>
                  <a:cubicBezTo>
                    <a:pt x="869" y="1329"/>
                    <a:pt x="817" y="1329"/>
                    <a:pt x="794" y="1300"/>
                  </a:cubicBezTo>
                  <a:cubicBezTo>
                    <a:pt x="780" y="1277"/>
                    <a:pt x="780" y="1240"/>
                    <a:pt x="750" y="1233"/>
                  </a:cubicBezTo>
                  <a:cubicBezTo>
                    <a:pt x="690" y="1314"/>
                    <a:pt x="824" y="1374"/>
                    <a:pt x="824" y="1456"/>
                  </a:cubicBezTo>
                  <a:cubicBezTo>
                    <a:pt x="794" y="1463"/>
                    <a:pt x="787" y="1433"/>
                    <a:pt x="765" y="1418"/>
                  </a:cubicBezTo>
                  <a:cubicBezTo>
                    <a:pt x="750" y="1396"/>
                    <a:pt x="728" y="1418"/>
                    <a:pt x="735" y="1381"/>
                  </a:cubicBezTo>
                  <a:cubicBezTo>
                    <a:pt x="661" y="1366"/>
                    <a:pt x="713" y="1441"/>
                    <a:pt x="713" y="1471"/>
                  </a:cubicBezTo>
                  <a:cubicBezTo>
                    <a:pt x="713" y="1500"/>
                    <a:pt x="668" y="1500"/>
                    <a:pt x="653" y="1522"/>
                  </a:cubicBezTo>
                  <a:cubicBezTo>
                    <a:pt x="638" y="1545"/>
                    <a:pt x="653" y="1574"/>
                    <a:pt x="653" y="1597"/>
                  </a:cubicBezTo>
                  <a:cubicBezTo>
                    <a:pt x="675" y="1604"/>
                    <a:pt x="713" y="1611"/>
                    <a:pt x="720" y="1634"/>
                  </a:cubicBezTo>
                  <a:cubicBezTo>
                    <a:pt x="690" y="1649"/>
                    <a:pt x="713" y="1686"/>
                    <a:pt x="698" y="1716"/>
                  </a:cubicBezTo>
                  <a:cubicBezTo>
                    <a:pt x="690" y="1738"/>
                    <a:pt x="668" y="1753"/>
                    <a:pt x="653" y="1775"/>
                  </a:cubicBezTo>
                  <a:cubicBezTo>
                    <a:pt x="690" y="1775"/>
                    <a:pt x="735" y="1775"/>
                    <a:pt x="772" y="1775"/>
                  </a:cubicBezTo>
                  <a:cubicBezTo>
                    <a:pt x="772" y="1812"/>
                    <a:pt x="772" y="1857"/>
                    <a:pt x="787" y="1886"/>
                  </a:cubicBezTo>
                  <a:cubicBezTo>
                    <a:pt x="802" y="1916"/>
                    <a:pt x="817" y="1946"/>
                    <a:pt x="794" y="1976"/>
                  </a:cubicBezTo>
                  <a:cubicBezTo>
                    <a:pt x="772" y="1998"/>
                    <a:pt x="750" y="2013"/>
                    <a:pt x="750" y="2050"/>
                  </a:cubicBezTo>
                  <a:cubicBezTo>
                    <a:pt x="742" y="2079"/>
                    <a:pt x="750" y="2116"/>
                    <a:pt x="750" y="2146"/>
                  </a:cubicBezTo>
                  <a:cubicBezTo>
                    <a:pt x="750" y="2198"/>
                    <a:pt x="742" y="2258"/>
                    <a:pt x="690" y="2287"/>
                  </a:cubicBezTo>
                  <a:cubicBezTo>
                    <a:pt x="631" y="2324"/>
                    <a:pt x="549" y="2332"/>
                    <a:pt x="483" y="2354"/>
                  </a:cubicBezTo>
                  <a:cubicBezTo>
                    <a:pt x="483" y="2399"/>
                    <a:pt x="505" y="2413"/>
                    <a:pt x="468" y="2443"/>
                  </a:cubicBezTo>
                  <a:cubicBezTo>
                    <a:pt x="490" y="2458"/>
                    <a:pt x="616" y="2495"/>
                    <a:pt x="579" y="2532"/>
                  </a:cubicBezTo>
                  <a:cubicBezTo>
                    <a:pt x="527" y="2584"/>
                    <a:pt x="438" y="2555"/>
                    <a:pt x="393" y="2621"/>
                  </a:cubicBezTo>
                  <a:cubicBezTo>
                    <a:pt x="386" y="2614"/>
                    <a:pt x="334" y="2592"/>
                    <a:pt x="327" y="2614"/>
                  </a:cubicBezTo>
                  <a:cubicBezTo>
                    <a:pt x="327" y="2621"/>
                    <a:pt x="327" y="2621"/>
                    <a:pt x="319" y="2621"/>
                  </a:cubicBezTo>
                  <a:cubicBezTo>
                    <a:pt x="312" y="2614"/>
                    <a:pt x="312" y="2614"/>
                    <a:pt x="304" y="2614"/>
                  </a:cubicBezTo>
                  <a:cubicBezTo>
                    <a:pt x="304" y="2636"/>
                    <a:pt x="297" y="2651"/>
                    <a:pt x="297" y="2666"/>
                  </a:cubicBezTo>
                  <a:cubicBezTo>
                    <a:pt x="297" y="2703"/>
                    <a:pt x="297" y="2748"/>
                    <a:pt x="341" y="2763"/>
                  </a:cubicBezTo>
                  <a:cubicBezTo>
                    <a:pt x="378" y="2770"/>
                    <a:pt x="408" y="2755"/>
                    <a:pt x="401" y="2807"/>
                  </a:cubicBezTo>
                  <a:cubicBezTo>
                    <a:pt x="401" y="2852"/>
                    <a:pt x="371" y="2889"/>
                    <a:pt x="341" y="2918"/>
                  </a:cubicBezTo>
                  <a:cubicBezTo>
                    <a:pt x="304" y="2955"/>
                    <a:pt x="289" y="2948"/>
                    <a:pt x="230" y="2948"/>
                  </a:cubicBezTo>
                  <a:cubicBezTo>
                    <a:pt x="223" y="2970"/>
                    <a:pt x="208" y="3000"/>
                    <a:pt x="185" y="3015"/>
                  </a:cubicBezTo>
                  <a:cubicBezTo>
                    <a:pt x="156" y="3045"/>
                    <a:pt x="119" y="3015"/>
                    <a:pt x="81" y="3023"/>
                  </a:cubicBezTo>
                  <a:cubicBezTo>
                    <a:pt x="59" y="3133"/>
                    <a:pt x="245" y="3045"/>
                    <a:pt x="230" y="3163"/>
                  </a:cubicBezTo>
                  <a:cubicBezTo>
                    <a:pt x="223" y="3163"/>
                    <a:pt x="0" y="3163"/>
                    <a:pt x="52" y="3222"/>
                  </a:cubicBezTo>
                  <a:cubicBezTo>
                    <a:pt x="74" y="3259"/>
                    <a:pt x="89" y="3289"/>
                    <a:pt x="111" y="3326"/>
                  </a:cubicBezTo>
                  <a:cubicBezTo>
                    <a:pt x="119" y="3348"/>
                    <a:pt x="81" y="3385"/>
                    <a:pt x="89" y="3422"/>
                  </a:cubicBezTo>
                  <a:cubicBezTo>
                    <a:pt x="89" y="3445"/>
                    <a:pt x="96" y="3459"/>
                    <a:pt x="111" y="3474"/>
                  </a:cubicBezTo>
                  <a:cubicBezTo>
                    <a:pt x="133" y="3482"/>
                    <a:pt x="156" y="3497"/>
                    <a:pt x="178" y="3504"/>
                  </a:cubicBezTo>
                  <a:cubicBezTo>
                    <a:pt x="252" y="3526"/>
                    <a:pt x="238" y="3445"/>
                    <a:pt x="289" y="3445"/>
                  </a:cubicBezTo>
                  <a:cubicBezTo>
                    <a:pt x="297" y="3445"/>
                    <a:pt x="371" y="3519"/>
                    <a:pt x="371" y="3512"/>
                  </a:cubicBezTo>
                  <a:cubicBezTo>
                    <a:pt x="378" y="3579"/>
                    <a:pt x="371" y="3645"/>
                    <a:pt x="423" y="3697"/>
                  </a:cubicBezTo>
                  <a:cubicBezTo>
                    <a:pt x="475" y="3749"/>
                    <a:pt x="564" y="3697"/>
                    <a:pt x="623" y="3705"/>
                  </a:cubicBezTo>
                  <a:cubicBezTo>
                    <a:pt x="698" y="3712"/>
                    <a:pt x="728" y="3734"/>
                    <a:pt x="757" y="3801"/>
                  </a:cubicBezTo>
                  <a:cubicBezTo>
                    <a:pt x="787" y="3861"/>
                    <a:pt x="802" y="3898"/>
                    <a:pt x="869" y="3890"/>
                  </a:cubicBezTo>
                  <a:cubicBezTo>
                    <a:pt x="906" y="3890"/>
                    <a:pt x="928" y="3913"/>
                    <a:pt x="958" y="3905"/>
                  </a:cubicBezTo>
                  <a:cubicBezTo>
                    <a:pt x="995" y="3898"/>
                    <a:pt x="1017" y="3890"/>
                    <a:pt x="1054" y="3913"/>
                  </a:cubicBezTo>
                  <a:cubicBezTo>
                    <a:pt x="1121" y="3942"/>
                    <a:pt x="1210" y="3905"/>
                    <a:pt x="1285" y="3913"/>
                  </a:cubicBezTo>
                  <a:cubicBezTo>
                    <a:pt x="1322" y="3913"/>
                    <a:pt x="1344" y="3905"/>
                    <a:pt x="1366" y="3942"/>
                  </a:cubicBezTo>
                  <a:cubicBezTo>
                    <a:pt x="1374" y="3957"/>
                    <a:pt x="1411" y="3957"/>
                    <a:pt x="1433" y="3965"/>
                  </a:cubicBezTo>
                  <a:cubicBezTo>
                    <a:pt x="1470" y="3979"/>
                    <a:pt x="1477" y="4091"/>
                    <a:pt x="1463" y="4128"/>
                  </a:cubicBezTo>
                  <a:cubicBezTo>
                    <a:pt x="1455" y="4128"/>
                    <a:pt x="1455" y="4128"/>
                    <a:pt x="1455" y="4128"/>
                  </a:cubicBezTo>
                  <a:cubicBezTo>
                    <a:pt x="1455" y="4173"/>
                    <a:pt x="1544" y="4158"/>
                    <a:pt x="1574" y="4158"/>
                  </a:cubicBezTo>
                  <a:cubicBezTo>
                    <a:pt x="1596" y="4158"/>
                    <a:pt x="1619" y="4165"/>
                    <a:pt x="1641" y="4158"/>
                  </a:cubicBezTo>
                  <a:cubicBezTo>
                    <a:pt x="1671" y="4158"/>
                    <a:pt x="1656" y="4121"/>
                    <a:pt x="1663" y="4098"/>
                  </a:cubicBezTo>
                  <a:cubicBezTo>
                    <a:pt x="1685" y="4098"/>
                    <a:pt x="1715" y="4113"/>
                    <a:pt x="1737" y="4106"/>
                  </a:cubicBezTo>
                  <a:cubicBezTo>
                    <a:pt x="1760" y="4098"/>
                    <a:pt x="1775" y="4069"/>
                    <a:pt x="1797" y="4076"/>
                  </a:cubicBezTo>
                  <a:cubicBezTo>
                    <a:pt x="1804" y="4039"/>
                    <a:pt x="1789" y="4031"/>
                    <a:pt x="1760" y="4016"/>
                  </a:cubicBezTo>
                  <a:cubicBezTo>
                    <a:pt x="1775" y="3994"/>
                    <a:pt x="1797" y="3957"/>
                    <a:pt x="1834" y="3957"/>
                  </a:cubicBezTo>
                  <a:cubicBezTo>
                    <a:pt x="1834" y="3935"/>
                    <a:pt x="1849" y="3935"/>
                    <a:pt x="1864" y="3927"/>
                  </a:cubicBezTo>
                  <a:cubicBezTo>
                    <a:pt x="1893" y="3913"/>
                    <a:pt x="1893" y="3876"/>
                    <a:pt x="1886" y="3853"/>
                  </a:cubicBezTo>
                  <a:cubicBezTo>
                    <a:pt x="1923" y="3846"/>
                    <a:pt x="1931" y="3831"/>
                    <a:pt x="1931" y="3801"/>
                  </a:cubicBezTo>
                  <a:cubicBezTo>
                    <a:pt x="1982" y="3801"/>
                    <a:pt x="2012" y="3771"/>
                    <a:pt x="2057" y="3764"/>
                  </a:cubicBezTo>
                  <a:cubicBezTo>
                    <a:pt x="2079" y="3757"/>
                    <a:pt x="2146" y="3749"/>
                    <a:pt x="2146" y="3786"/>
                  </a:cubicBezTo>
                  <a:cubicBezTo>
                    <a:pt x="2161" y="3771"/>
                    <a:pt x="2190" y="3779"/>
                    <a:pt x="2213" y="3779"/>
                  </a:cubicBezTo>
                  <a:cubicBezTo>
                    <a:pt x="2250" y="3727"/>
                    <a:pt x="2279" y="3697"/>
                    <a:pt x="2354" y="3712"/>
                  </a:cubicBezTo>
                  <a:cubicBezTo>
                    <a:pt x="2421" y="3727"/>
                    <a:pt x="2428" y="3831"/>
                    <a:pt x="2473" y="3883"/>
                  </a:cubicBezTo>
                  <a:cubicBezTo>
                    <a:pt x="2458" y="3883"/>
                    <a:pt x="2443" y="3890"/>
                    <a:pt x="2435" y="3905"/>
                  </a:cubicBezTo>
                  <a:cubicBezTo>
                    <a:pt x="2435" y="3898"/>
                    <a:pt x="2428" y="3883"/>
                    <a:pt x="2428" y="3876"/>
                  </a:cubicBezTo>
                  <a:cubicBezTo>
                    <a:pt x="2406" y="3890"/>
                    <a:pt x="2361" y="3876"/>
                    <a:pt x="2332" y="3876"/>
                  </a:cubicBezTo>
                  <a:cubicBezTo>
                    <a:pt x="2347" y="3905"/>
                    <a:pt x="2354" y="3987"/>
                    <a:pt x="2391" y="3994"/>
                  </a:cubicBezTo>
                  <a:cubicBezTo>
                    <a:pt x="2391" y="3979"/>
                    <a:pt x="2421" y="3920"/>
                    <a:pt x="2435" y="3957"/>
                  </a:cubicBezTo>
                  <a:cubicBezTo>
                    <a:pt x="2465" y="3994"/>
                    <a:pt x="2473" y="3979"/>
                    <a:pt x="2510" y="3987"/>
                  </a:cubicBezTo>
                  <a:cubicBezTo>
                    <a:pt x="2621" y="4009"/>
                    <a:pt x="2703" y="3950"/>
                    <a:pt x="2799" y="3950"/>
                  </a:cubicBezTo>
                  <a:cubicBezTo>
                    <a:pt x="2807" y="3905"/>
                    <a:pt x="2851" y="3853"/>
                    <a:pt x="2903" y="3883"/>
                  </a:cubicBezTo>
                  <a:cubicBezTo>
                    <a:pt x="2926" y="3890"/>
                    <a:pt x="2948" y="3905"/>
                    <a:pt x="2970" y="3898"/>
                  </a:cubicBezTo>
                  <a:cubicBezTo>
                    <a:pt x="2992" y="3883"/>
                    <a:pt x="2985" y="3846"/>
                    <a:pt x="3015" y="3853"/>
                  </a:cubicBezTo>
                  <a:cubicBezTo>
                    <a:pt x="3015" y="3883"/>
                    <a:pt x="3007" y="3905"/>
                    <a:pt x="3015" y="3927"/>
                  </a:cubicBezTo>
                  <a:cubicBezTo>
                    <a:pt x="3030" y="3965"/>
                    <a:pt x="3067" y="3935"/>
                    <a:pt x="3074" y="3913"/>
                  </a:cubicBezTo>
                  <a:cubicBezTo>
                    <a:pt x="3119" y="3905"/>
                    <a:pt x="3149" y="3957"/>
                    <a:pt x="3186" y="3972"/>
                  </a:cubicBezTo>
                  <a:cubicBezTo>
                    <a:pt x="3245" y="4002"/>
                    <a:pt x="3312" y="3965"/>
                    <a:pt x="3371" y="3965"/>
                  </a:cubicBezTo>
                  <a:cubicBezTo>
                    <a:pt x="3371" y="3935"/>
                    <a:pt x="3371" y="3913"/>
                    <a:pt x="3371" y="3883"/>
                  </a:cubicBezTo>
                  <a:cubicBezTo>
                    <a:pt x="3416" y="3876"/>
                    <a:pt x="3460" y="3905"/>
                    <a:pt x="3505" y="3905"/>
                  </a:cubicBezTo>
                  <a:cubicBezTo>
                    <a:pt x="3505" y="3898"/>
                    <a:pt x="3505" y="3890"/>
                    <a:pt x="3505" y="3876"/>
                  </a:cubicBezTo>
                  <a:cubicBezTo>
                    <a:pt x="3520" y="3876"/>
                    <a:pt x="3535" y="3876"/>
                    <a:pt x="3549" y="3876"/>
                  </a:cubicBezTo>
                  <a:cubicBezTo>
                    <a:pt x="3557" y="3853"/>
                    <a:pt x="3564" y="3786"/>
                    <a:pt x="3601" y="3816"/>
                  </a:cubicBezTo>
                  <a:cubicBezTo>
                    <a:pt x="3631" y="3838"/>
                    <a:pt x="3624" y="3876"/>
                    <a:pt x="3676" y="3876"/>
                  </a:cubicBezTo>
                  <a:cubicBezTo>
                    <a:pt x="3713" y="3876"/>
                    <a:pt x="3750" y="3883"/>
                    <a:pt x="3750" y="3927"/>
                  </a:cubicBezTo>
                  <a:cubicBezTo>
                    <a:pt x="3750" y="3965"/>
                    <a:pt x="3839" y="3935"/>
                    <a:pt x="3854" y="3935"/>
                  </a:cubicBezTo>
                  <a:cubicBezTo>
                    <a:pt x="3913" y="3927"/>
                    <a:pt x="3943" y="3935"/>
                    <a:pt x="3995" y="3965"/>
                  </a:cubicBezTo>
                  <a:cubicBezTo>
                    <a:pt x="4032" y="3979"/>
                    <a:pt x="4077" y="3979"/>
                    <a:pt x="4121" y="3972"/>
                  </a:cubicBezTo>
                  <a:cubicBezTo>
                    <a:pt x="4166" y="3972"/>
                    <a:pt x="4181" y="3965"/>
                    <a:pt x="4210" y="3935"/>
                  </a:cubicBezTo>
                  <a:cubicBezTo>
                    <a:pt x="4218" y="3927"/>
                    <a:pt x="4240" y="3913"/>
                    <a:pt x="4247" y="3920"/>
                  </a:cubicBezTo>
                  <a:cubicBezTo>
                    <a:pt x="4270" y="3942"/>
                    <a:pt x="4277" y="3942"/>
                    <a:pt x="4307" y="3942"/>
                  </a:cubicBezTo>
                  <a:cubicBezTo>
                    <a:pt x="4314" y="3965"/>
                    <a:pt x="4351" y="3965"/>
                    <a:pt x="4366" y="3994"/>
                  </a:cubicBezTo>
                  <a:cubicBezTo>
                    <a:pt x="4388" y="4054"/>
                    <a:pt x="4433" y="4106"/>
                    <a:pt x="4500" y="4113"/>
                  </a:cubicBezTo>
                  <a:cubicBezTo>
                    <a:pt x="4522" y="4121"/>
                    <a:pt x="4552" y="4121"/>
                    <a:pt x="4567" y="4135"/>
                  </a:cubicBezTo>
                  <a:cubicBezTo>
                    <a:pt x="4641" y="4069"/>
                    <a:pt x="4641" y="3898"/>
                    <a:pt x="4648" y="3838"/>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84" name="Freeform 2">
              <a:extLst>
                <a:ext uri="{FF2B5EF4-FFF2-40B4-BE49-F238E27FC236}">
                  <a16:creationId xmlns:a16="http://schemas.microsoft.com/office/drawing/2014/main" id="{F939EDC9-37E2-D744-90D3-93C955C83395}"/>
                </a:ext>
              </a:extLst>
            </p:cNvPr>
            <p:cNvSpPr>
              <a:spLocks noChangeArrowheads="1"/>
            </p:cNvSpPr>
            <p:nvPr/>
          </p:nvSpPr>
          <p:spPr bwMode="auto">
            <a:xfrm>
              <a:off x="8029079" y="6779588"/>
              <a:ext cx="1852987" cy="1514553"/>
            </a:xfrm>
            <a:custGeom>
              <a:avLst/>
              <a:gdLst>
                <a:gd name="T0" fmla="*/ 3112 w 4286"/>
                <a:gd name="T1" fmla="*/ 3452 h 3505"/>
                <a:gd name="T2" fmla="*/ 3283 w 4286"/>
                <a:gd name="T3" fmla="*/ 3496 h 3505"/>
                <a:gd name="T4" fmla="*/ 3409 w 4286"/>
                <a:gd name="T5" fmla="*/ 3088 h 3505"/>
                <a:gd name="T6" fmla="*/ 3684 w 4286"/>
                <a:gd name="T7" fmla="*/ 3117 h 3505"/>
                <a:gd name="T8" fmla="*/ 3654 w 4286"/>
                <a:gd name="T9" fmla="*/ 2805 h 3505"/>
                <a:gd name="T10" fmla="*/ 3951 w 4286"/>
                <a:gd name="T11" fmla="*/ 2605 h 3505"/>
                <a:gd name="T12" fmla="*/ 3795 w 4286"/>
                <a:gd name="T13" fmla="*/ 2382 h 3505"/>
                <a:gd name="T14" fmla="*/ 3988 w 4286"/>
                <a:gd name="T15" fmla="*/ 2263 h 3505"/>
                <a:gd name="T16" fmla="*/ 4062 w 4286"/>
                <a:gd name="T17" fmla="*/ 1804 h 3505"/>
                <a:gd name="T18" fmla="*/ 4181 w 4286"/>
                <a:gd name="T19" fmla="*/ 1403 h 3505"/>
                <a:gd name="T20" fmla="*/ 3958 w 4286"/>
                <a:gd name="T21" fmla="*/ 1210 h 3505"/>
                <a:gd name="T22" fmla="*/ 3602 w 4286"/>
                <a:gd name="T23" fmla="*/ 861 h 3505"/>
                <a:gd name="T24" fmla="*/ 3513 w 4286"/>
                <a:gd name="T25" fmla="*/ 415 h 3505"/>
                <a:gd name="T26" fmla="*/ 3119 w 4286"/>
                <a:gd name="T27" fmla="*/ 252 h 3505"/>
                <a:gd name="T28" fmla="*/ 2763 w 4286"/>
                <a:gd name="T29" fmla="*/ 133 h 3505"/>
                <a:gd name="T30" fmla="*/ 2347 w 4286"/>
                <a:gd name="T31" fmla="*/ 59 h 3505"/>
                <a:gd name="T32" fmla="*/ 2102 w 4286"/>
                <a:gd name="T33" fmla="*/ 44 h 3505"/>
                <a:gd name="T34" fmla="*/ 2117 w 4286"/>
                <a:gd name="T35" fmla="*/ 237 h 3505"/>
                <a:gd name="T36" fmla="*/ 1701 w 4286"/>
                <a:gd name="T37" fmla="*/ 141 h 3505"/>
                <a:gd name="T38" fmla="*/ 1270 w 4286"/>
                <a:gd name="T39" fmla="*/ 282 h 3505"/>
                <a:gd name="T40" fmla="*/ 891 w 4286"/>
                <a:gd name="T41" fmla="*/ 155 h 3505"/>
                <a:gd name="T42" fmla="*/ 572 w 4286"/>
                <a:gd name="T43" fmla="*/ 170 h 3505"/>
                <a:gd name="T44" fmla="*/ 194 w 4286"/>
                <a:gd name="T45" fmla="*/ 334 h 3505"/>
                <a:gd name="T46" fmla="*/ 15 w 4286"/>
                <a:gd name="T47" fmla="*/ 512 h 3505"/>
                <a:gd name="T48" fmla="*/ 401 w 4286"/>
                <a:gd name="T49" fmla="*/ 438 h 3505"/>
                <a:gd name="T50" fmla="*/ 194 w 4286"/>
                <a:gd name="T51" fmla="*/ 586 h 3505"/>
                <a:gd name="T52" fmla="*/ 320 w 4286"/>
                <a:gd name="T53" fmla="*/ 816 h 3505"/>
                <a:gd name="T54" fmla="*/ 349 w 4286"/>
                <a:gd name="T55" fmla="*/ 987 h 3505"/>
                <a:gd name="T56" fmla="*/ 869 w 4286"/>
                <a:gd name="T57" fmla="*/ 1307 h 3505"/>
                <a:gd name="T58" fmla="*/ 1330 w 4286"/>
                <a:gd name="T59" fmla="*/ 1225 h 3505"/>
                <a:gd name="T60" fmla="*/ 1567 w 4286"/>
                <a:gd name="T61" fmla="*/ 1113 h 3505"/>
                <a:gd name="T62" fmla="*/ 1389 w 4286"/>
                <a:gd name="T63" fmla="*/ 1477 h 3505"/>
                <a:gd name="T64" fmla="*/ 1159 w 4286"/>
                <a:gd name="T65" fmla="*/ 1537 h 3505"/>
                <a:gd name="T66" fmla="*/ 1010 w 4286"/>
                <a:gd name="T67" fmla="*/ 1618 h 3505"/>
                <a:gd name="T68" fmla="*/ 825 w 4286"/>
                <a:gd name="T69" fmla="*/ 1648 h 3505"/>
                <a:gd name="T70" fmla="*/ 624 w 4286"/>
                <a:gd name="T71" fmla="*/ 1707 h 3505"/>
                <a:gd name="T72" fmla="*/ 580 w 4286"/>
                <a:gd name="T73" fmla="*/ 1514 h 3505"/>
                <a:gd name="T74" fmla="*/ 728 w 4286"/>
                <a:gd name="T75" fmla="*/ 2026 h 3505"/>
                <a:gd name="T76" fmla="*/ 1166 w 4286"/>
                <a:gd name="T77" fmla="*/ 2546 h 3505"/>
                <a:gd name="T78" fmla="*/ 1545 w 4286"/>
                <a:gd name="T79" fmla="*/ 2850 h 3505"/>
                <a:gd name="T80" fmla="*/ 1998 w 4286"/>
                <a:gd name="T81" fmla="*/ 2880 h 3505"/>
                <a:gd name="T82" fmla="*/ 2280 w 4286"/>
                <a:gd name="T83" fmla="*/ 2754 h 3505"/>
                <a:gd name="T84" fmla="*/ 2629 w 4286"/>
                <a:gd name="T85" fmla="*/ 2598 h 3505"/>
                <a:gd name="T86" fmla="*/ 2785 w 4286"/>
                <a:gd name="T87" fmla="*/ 2070 h 3505"/>
                <a:gd name="T88" fmla="*/ 2956 w 4286"/>
                <a:gd name="T89" fmla="*/ 1922 h 3505"/>
                <a:gd name="T90" fmla="*/ 3260 w 4286"/>
                <a:gd name="T91" fmla="*/ 1907 h 3505"/>
                <a:gd name="T92" fmla="*/ 2963 w 4286"/>
                <a:gd name="T93" fmla="*/ 2011 h 3505"/>
                <a:gd name="T94" fmla="*/ 2971 w 4286"/>
                <a:gd name="T95" fmla="*/ 2182 h 3505"/>
                <a:gd name="T96" fmla="*/ 2978 w 4286"/>
                <a:gd name="T97" fmla="*/ 2390 h 3505"/>
                <a:gd name="T98" fmla="*/ 3030 w 4286"/>
                <a:gd name="T99" fmla="*/ 2479 h 3505"/>
                <a:gd name="T100" fmla="*/ 2978 w 4286"/>
                <a:gd name="T101" fmla="*/ 2709 h 3505"/>
                <a:gd name="T102" fmla="*/ 3053 w 4286"/>
                <a:gd name="T103" fmla="*/ 2850 h 3505"/>
                <a:gd name="T104" fmla="*/ 3082 w 4286"/>
                <a:gd name="T105" fmla="*/ 3013 h 3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86" h="3505">
                  <a:moveTo>
                    <a:pt x="3053" y="3259"/>
                  </a:moveTo>
                  <a:lnTo>
                    <a:pt x="3053" y="3259"/>
                  </a:lnTo>
                  <a:lnTo>
                    <a:pt x="3053" y="3266"/>
                  </a:lnTo>
                  <a:cubicBezTo>
                    <a:pt x="3105" y="3281"/>
                    <a:pt x="3201" y="3362"/>
                    <a:pt x="3208" y="3400"/>
                  </a:cubicBezTo>
                  <a:cubicBezTo>
                    <a:pt x="3216" y="3437"/>
                    <a:pt x="3171" y="3422"/>
                    <a:pt x="3149" y="3422"/>
                  </a:cubicBezTo>
                  <a:cubicBezTo>
                    <a:pt x="3142" y="3444"/>
                    <a:pt x="3119" y="3437"/>
                    <a:pt x="3112" y="3452"/>
                  </a:cubicBezTo>
                  <a:cubicBezTo>
                    <a:pt x="3112" y="3489"/>
                    <a:pt x="3164" y="3481"/>
                    <a:pt x="3179" y="3481"/>
                  </a:cubicBezTo>
                  <a:cubicBezTo>
                    <a:pt x="3179" y="3474"/>
                    <a:pt x="3186" y="3467"/>
                    <a:pt x="3186" y="3459"/>
                  </a:cubicBezTo>
                  <a:cubicBezTo>
                    <a:pt x="3194" y="3459"/>
                    <a:pt x="3201" y="3459"/>
                    <a:pt x="3208" y="3459"/>
                  </a:cubicBezTo>
                  <a:cubicBezTo>
                    <a:pt x="3216" y="3459"/>
                    <a:pt x="3216" y="3459"/>
                    <a:pt x="3216" y="3459"/>
                  </a:cubicBezTo>
                  <a:cubicBezTo>
                    <a:pt x="3216" y="3474"/>
                    <a:pt x="3216" y="3481"/>
                    <a:pt x="3216" y="3496"/>
                  </a:cubicBezTo>
                  <a:cubicBezTo>
                    <a:pt x="3238" y="3489"/>
                    <a:pt x="3260" y="3504"/>
                    <a:pt x="3283" y="3496"/>
                  </a:cubicBezTo>
                  <a:cubicBezTo>
                    <a:pt x="3290" y="3496"/>
                    <a:pt x="3298" y="3474"/>
                    <a:pt x="3305" y="3474"/>
                  </a:cubicBezTo>
                  <a:cubicBezTo>
                    <a:pt x="3320" y="3474"/>
                    <a:pt x="3335" y="3474"/>
                    <a:pt x="3357" y="3474"/>
                  </a:cubicBezTo>
                  <a:cubicBezTo>
                    <a:pt x="3357" y="3444"/>
                    <a:pt x="3350" y="3385"/>
                    <a:pt x="3379" y="3370"/>
                  </a:cubicBezTo>
                  <a:cubicBezTo>
                    <a:pt x="3409" y="3355"/>
                    <a:pt x="3387" y="3310"/>
                    <a:pt x="3394" y="3281"/>
                  </a:cubicBezTo>
                  <a:cubicBezTo>
                    <a:pt x="3409" y="3251"/>
                    <a:pt x="3453" y="3147"/>
                    <a:pt x="3387" y="3140"/>
                  </a:cubicBezTo>
                  <a:cubicBezTo>
                    <a:pt x="3394" y="3117"/>
                    <a:pt x="3409" y="3103"/>
                    <a:pt x="3409" y="3088"/>
                  </a:cubicBezTo>
                  <a:cubicBezTo>
                    <a:pt x="3446" y="3080"/>
                    <a:pt x="3439" y="3103"/>
                    <a:pt x="3461" y="3125"/>
                  </a:cubicBezTo>
                  <a:cubicBezTo>
                    <a:pt x="3483" y="3147"/>
                    <a:pt x="3513" y="3140"/>
                    <a:pt x="3543" y="3147"/>
                  </a:cubicBezTo>
                  <a:cubicBezTo>
                    <a:pt x="3543" y="3162"/>
                    <a:pt x="3543" y="3177"/>
                    <a:pt x="3543" y="3199"/>
                  </a:cubicBezTo>
                  <a:cubicBezTo>
                    <a:pt x="3572" y="3192"/>
                    <a:pt x="3580" y="3207"/>
                    <a:pt x="3595" y="3229"/>
                  </a:cubicBezTo>
                  <a:cubicBezTo>
                    <a:pt x="3610" y="3177"/>
                    <a:pt x="3699" y="3221"/>
                    <a:pt x="3699" y="3162"/>
                  </a:cubicBezTo>
                  <a:cubicBezTo>
                    <a:pt x="3699" y="3147"/>
                    <a:pt x="3676" y="3132"/>
                    <a:pt x="3684" y="3117"/>
                  </a:cubicBezTo>
                  <a:cubicBezTo>
                    <a:pt x="3684" y="3103"/>
                    <a:pt x="3758" y="3103"/>
                    <a:pt x="3773" y="3103"/>
                  </a:cubicBezTo>
                  <a:cubicBezTo>
                    <a:pt x="3780" y="3013"/>
                    <a:pt x="3765" y="2954"/>
                    <a:pt x="3699" y="2895"/>
                  </a:cubicBezTo>
                  <a:cubicBezTo>
                    <a:pt x="3661" y="2865"/>
                    <a:pt x="3661" y="2843"/>
                    <a:pt x="3610" y="2843"/>
                  </a:cubicBezTo>
                  <a:cubicBezTo>
                    <a:pt x="3602" y="2843"/>
                    <a:pt x="3572" y="2843"/>
                    <a:pt x="3565" y="2835"/>
                  </a:cubicBezTo>
                  <a:cubicBezTo>
                    <a:pt x="3565" y="2828"/>
                    <a:pt x="3557" y="2805"/>
                    <a:pt x="3557" y="2805"/>
                  </a:cubicBezTo>
                  <a:cubicBezTo>
                    <a:pt x="3595" y="2805"/>
                    <a:pt x="3624" y="2820"/>
                    <a:pt x="3654" y="2805"/>
                  </a:cubicBezTo>
                  <a:cubicBezTo>
                    <a:pt x="3676" y="2805"/>
                    <a:pt x="3691" y="2791"/>
                    <a:pt x="3713" y="2783"/>
                  </a:cubicBezTo>
                  <a:cubicBezTo>
                    <a:pt x="3743" y="2776"/>
                    <a:pt x="3728" y="2739"/>
                    <a:pt x="3743" y="2716"/>
                  </a:cubicBezTo>
                  <a:cubicBezTo>
                    <a:pt x="3765" y="2679"/>
                    <a:pt x="3825" y="2694"/>
                    <a:pt x="3855" y="2687"/>
                  </a:cubicBezTo>
                  <a:cubicBezTo>
                    <a:pt x="3855" y="2672"/>
                    <a:pt x="3862" y="2657"/>
                    <a:pt x="3862" y="2650"/>
                  </a:cubicBezTo>
                  <a:cubicBezTo>
                    <a:pt x="3884" y="2650"/>
                    <a:pt x="3907" y="2650"/>
                    <a:pt x="3929" y="2635"/>
                  </a:cubicBezTo>
                  <a:cubicBezTo>
                    <a:pt x="3936" y="2627"/>
                    <a:pt x="3944" y="2613"/>
                    <a:pt x="3951" y="2605"/>
                  </a:cubicBezTo>
                  <a:cubicBezTo>
                    <a:pt x="3981" y="2598"/>
                    <a:pt x="4003" y="2613"/>
                    <a:pt x="4033" y="2613"/>
                  </a:cubicBezTo>
                  <a:cubicBezTo>
                    <a:pt x="4055" y="2613"/>
                    <a:pt x="4077" y="2590"/>
                    <a:pt x="4100" y="2598"/>
                  </a:cubicBezTo>
                  <a:cubicBezTo>
                    <a:pt x="4055" y="2553"/>
                    <a:pt x="3936" y="2494"/>
                    <a:pt x="3877" y="2553"/>
                  </a:cubicBezTo>
                  <a:cubicBezTo>
                    <a:pt x="3780" y="2635"/>
                    <a:pt x="3817" y="2494"/>
                    <a:pt x="3758" y="2494"/>
                  </a:cubicBezTo>
                  <a:cubicBezTo>
                    <a:pt x="3758" y="2479"/>
                    <a:pt x="3780" y="2442"/>
                    <a:pt x="3795" y="2442"/>
                  </a:cubicBezTo>
                  <a:cubicBezTo>
                    <a:pt x="3795" y="2419"/>
                    <a:pt x="3795" y="2405"/>
                    <a:pt x="3795" y="2382"/>
                  </a:cubicBezTo>
                  <a:cubicBezTo>
                    <a:pt x="3773" y="2375"/>
                    <a:pt x="3743" y="2375"/>
                    <a:pt x="3758" y="2345"/>
                  </a:cubicBezTo>
                  <a:cubicBezTo>
                    <a:pt x="3780" y="2345"/>
                    <a:pt x="3802" y="2353"/>
                    <a:pt x="3825" y="2345"/>
                  </a:cubicBezTo>
                  <a:cubicBezTo>
                    <a:pt x="3847" y="2338"/>
                    <a:pt x="3847" y="2301"/>
                    <a:pt x="3884" y="2293"/>
                  </a:cubicBezTo>
                  <a:cubicBezTo>
                    <a:pt x="3899" y="2293"/>
                    <a:pt x="3914" y="2286"/>
                    <a:pt x="3929" y="2286"/>
                  </a:cubicBezTo>
                  <a:cubicBezTo>
                    <a:pt x="3944" y="2286"/>
                    <a:pt x="3958" y="2271"/>
                    <a:pt x="3981" y="2263"/>
                  </a:cubicBezTo>
                  <a:lnTo>
                    <a:pt x="3988" y="2263"/>
                  </a:lnTo>
                  <a:cubicBezTo>
                    <a:pt x="3973" y="2248"/>
                    <a:pt x="3966" y="2234"/>
                    <a:pt x="3966" y="2211"/>
                  </a:cubicBezTo>
                  <a:cubicBezTo>
                    <a:pt x="3958" y="2174"/>
                    <a:pt x="3996" y="2137"/>
                    <a:pt x="3988" y="2115"/>
                  </a:cubicBezTo>
                  <a:cubicBezTo>
                    <a:pt x="3966" y="2078"/>
                    <a:pt x="3951" y="2048"/>
                    <a:pt x="3929" y="2011"/>
                  </a:cubicBezTo>
                  <a:cubicBezTo>
                    <a:pt x="3877" y="1952"/>
                    <a:pt x="4100" y="1952"/>
                    <a:pt x="4107" y="1952"/>
                  </a:cubicBezTo>
                  <a:cubicBezTo>
                    <a:pt x="4122" y="1834"/>
                    <a:pt x="3936" y="1922"/>
                    <a:pt x="3958" y="1812"/>
                  </a:cubicBezTo>
                  <a:cubicBezTo>
                    <a:pt x="3996" y="1804"/>
                    <a:pt x="4033" y="1834"/>
                    <a:pt x="4062" y="1804"/>
                  </a:cubicBezTo>
                  <a:cubicBezTo>
                    <a:pt x="4085" y="1789"/>
                    <a:pt x="4100" y="1759"/>
                    <a:pt x="4107" y="1737"/>
                  </a:cubicBezTo>
                  <a:cubicBezTo>
                    <a:pt x="4166" y="1737"/>
                    <a:pt x="4181" y="1744"/>
                    <a:pt x="4218" y="1707"/>
                  </a:cubicBezTo>
                  <a:cubicBezTo>
                    <a:pt x="4248" y="1678"/>
                    <a:pt x="4278" y="1641"/>
                    <a:pt x="4278" y="1596"/>
                  </a:cubicBezTo>
                  <a:cubicBezTo>
                    <a:pt x="4285" y="1544"/>
                    <a:pt x="4255" y="1559"/>
                    <a:pt x="4218" y="1552"/>
                  </a:cubicBezTo>
                  <a:cubicBezTo>
                    <a:pt x="4174" y="1537"/>
                    <a:pt x="4174" y="1492"/>
                    <a:pt x="4174" y="1455"/>
                  </a:cubicBezTo>
                  <a:cubicBezTo>
                    <a:pt x="4174" y="1440"/>
                    <a:pt x="4181" y="1425"/>
                    <a:pt x="4181" y="1403"/>
                  </a:cubicBezTo>
                  <a:cubicBezTo>
                    <a:pt x="4174" y="1403"/>
                    <a:pt x="4159" y="1403"/>
                    <a:pt x="4159" y="1403"/>
                  </a:cubicBezTo>
                  <a:cubicBezTo>
                    <a:pt x="4159" y="1403"/>
                    <a:pt x="4174" y="1403"/>
                    <a:pt x="4181" y="1403"/>
                  </a:cubicBezTo>
                  <a:cubicBezTo>
                    <a:pt x="4181" y="1373"/>
                    <a:pt x="4181" y="1344"/>
                    <a:pt x="4152" y="1336"/>
                  </a:cubicBezTo>
                  <a:cubicBezTo>
                    <a:pt x="4129" y="1329"/>
                    <a:pt x="4055" y="1366"/>
                    <a:pt x="4070" y="1314"/>
                  </a:cubicBezTo>
                  <a:cubicBezTo>
                    <a:pt x="4070" y="1277"/>
                    <a:pt x="4092" y="1262"/>
                    <a:pt x="4055" y="1225"/>
                  </a:cubicBezTo>
                  <a:cubicBezTo>
                    <a:pt x="4033" y="1202"/>
                    <a:pt x="3988" y="1210"/>
                    <a:pt x="3958" y="1210"/>
                  </a:cubicBezTo>
                  <a:lnTo>
                    <a:pt x="3958" y="1202"/>
                  </a:lnTo>
                  <a:cubicBezTo>
                    <a:pt x="3914" y="1210"/>
                    <a:pt x="3921" y="1158"/>
                    <a:pt x="3884" y="1143"/>
                  </a:cubicBezTo>
                  <a:cubicBezTo>
                    <a:pt x="3855" y="1128"/>
                    <a:pt x="3802" y="1150"/>
                    <a:pt x="3773" y="1128"/>
                  </a:cubicBezTo>
                  <a:cubicBezTo>
                    <a:pt x="3728" y="1084"/>
                    <a:pt x="3825" y="928"/>
                    <a:pt x="3699" y="995"/>
                  </a:cubicBezTo>
                  <a:cubicBezTo>
                    <a:pt x="3669" y="965"/>
                    <a:pt x="3691" y="928"/>
                    <a:pt x="3669" y="898"/>
                  </a:cubicBezTo>
                  <a:cubicBezTo>
                    <a:pt x="3654" y="876"/>
                    <a:pt x="3617" y="891"/>
                    <a:pt x="3602" y="861"/>
                  </a:cubicBezTo>
                  <a:cubicBezTo>
                    <a:pt x="3580" y="809"/>
                    <a:pt x="3676" y="765"/>
                    <a:pt x="3691" y="720"/>
                  </a:cubicBezTo>
                  <a:cubicBezTo>
                    <a:pt x="3706" y="660"/>
                    <a:pt x="3654" y="594"/>
                    <a:pt x="3610" y="653"/>
                  </a:cubicBezTo>
                  <a:cubicBezTo>
                    <a:pt x="3565" y="705"/>
                    <a:pt x="3535" y="668"/>
                    <a:pt x="3550" y="608"/>
                  </a:cubicBezTo>
                  <a:cubicBezTo>
                    <a:pt x="3498" y="616"/>
                    <a:pt x="3468" y="564"/>
                    <a:pt x="3476" y="512"/>
                  </a:cubicBezTo>
                  <a:cubicBezTo>
                    <a:pt x="3483" y="460"/>
                    <a:pt x="3528" y="452"/>
                    <a:pt x="3572" y="423"/>
                  </a:cubicBezTo>
                  <a:cubicBezTo>
                    <a:pt x="3557" y="408"/>
                    <a:pt x="3535" y="415"/>
                    <a:pt x="3513" y="415"/>
                  </a:cubicBezTo>
                  <a:cubicBezTo>
                    <a:pt x="3505" y="386"/>
                    <a:pt x="3520" y="356"/>
                    <a:pt x="3520" y="326"/>
                  </a:cubicBezTo>
                  <a:cubicBezTo>
                    <a:pt x="3483" y="319"/>
                    <a:pt x="3446" y="304"/>
                    <a:pt x="3424" y="334"/>
                  </a:cubicBezTo>
                  <a:cubicBezTo>
                    <a:pt x="3409" y="356"/>
                    <a:pt x="3416" y="438"/>
                    <a:pt x="3372" y="415"/>
                  </a:cubicBezTo>
                  <a:cubicBezTo>
                    <a:pt x="3357" y="363"/>
                    <a:pt x="3268" y="386"/>
                    <a:pt x="3223" y="386"/>
                  </a:cubicBezTo>
                  <a:cubicBezTo>
                    <a:pt x="3216" y="363"/>
                    <a:pt x="3216" y="341"/>
                    <a:pt x="3216" y="319"/>
                  </a:cubicBezTo>
                  <a:cubicBezTo>
                    <a:pt x="3186" y="311"/>
                    <a:pt x="3149" y="245"/>
                    <a:pt x="3119" y="252"/>
                  </a:cubicBezTo>
                  <a:cubicBezTo>
                    <a:pt x="3097" y="274"/>
                    <a:pt x="3097" y="304"/>
                    <a:pt x="3067" y="311"/>
                  </a:cubicBezTo>
                  <a:cubicBezTo>
                    <a:pt x="3060" y="274"/>
                    <a:pt x="3053" y="260"/>
                    <a:pt x="3023" y="237"/>
                  </a:cubicBezTo>
                  <a:cubicBezTo>
                    <a:pt x="3000" y="215"/>
                    <a:pt x="3008" y="193"/>
                    <a:pt x="2993" y="170"/>
                  </a:cubicBezTo>
                  <a:cubicBezTo>
                    <a:pt x="2971" y="133"/>
                    <a:pt x="2911" y="170"/>
                    <a:pt x="2882" y="148"/>
                  </a:cubicBezTo>
                  <a:cubicBezTo>
                    <a:pt x="2852" y="133"/>
                    <a:pt x="2859" y="103"/>
                    <a:pt x="2852" y="74"/>
                  </a:cubicBezTo>
                  <a:cubicBezTo>
                    <a:pt x="2822" y="66"/>
                    <a:pt x="2770" y="96"/>
                    <a:pt x="2763" y="133"/>
                  </a:cubicBezTo>
                  <a:cubicBezTo>
                    <a:pt x="2741" y="133"/>
                    <a:pt x="2733" y="126"/>
                    <a:pt x="2733" y="103"/>
                  </a:cubicBezTo>
                  <a:cubicBezTo>
                    <a:pt x="2703" y="96"/>
                    <a:pt x="2689" y="141"/>
                    <a:pt x="2689" y="163"/>
                  </a:cubicBezTo>
                  <a:cubicBezTo>
                    <a:pt x="2659" y="170"/>
                    <a:pt x="2651" y="133"/>
                    <a:pt x="2644" y="111"/>
                  </a:cubicBezTo>
                  <a:cubicBezTo>
                    <a:pt x="2629" y="81"/>
                    <a:pt x="2600" y="74"/>
                    <a:pt x="2562" y="81"/>
                  </a:cubicBezTo>
                  <a:cubicBezTo>
                    <a:pt x="2525" y="81"/>
                    <a:pt x="2503" y="74"/>
                    <a:pt x="2473" y="59"/>
                  </a:cubicBezTo>
                  <a:cubicBezTo>
                    <a:pt x="2436" y="44"/>
                    <a:pt x="2384" y="59"/>
                    <a:pt x="2347" y="59"/>
                  </a:cubicBezTo>
                  <a:cubicBezTo>
                    <a:pt x="2347" y="74"/>
                    <a:pt x="2340" y="89"/>
                    <a:pt x="2340" y="96"/>
                  </a:cubicBezTo>
                  <a:cubicBezTo>
                    <a:pt x="2317" y="103"/>
                    <a:pt x="2288" y="103"/>
                    <a:pt x="2280" y="81"/>
                  </a:cubicBezTo>
                  <a:cubicBezTo>
                    <a:pt x="2273" y="59"/>
                    <a:pt x="2280" y="29"/>
                    <a:pt x="2265" y="22"/>
                  </a:cubicBezTo>
                  <a:cubicBezTo>
                    <a:pt x="2243" y="0"/>
                    <a:pt x="2154" y="22"/>
                    <a:pt x="2132" y="37"/>
                  </a:cubicBezTo>
                  <a:cubicBezTo>
                    <a:pt x="2124" y="37"/>
                    <a:pt x="2109" y="44"/>
                    <a:pt x="2102" y="44"/>
                  </a:cubicBezTo>
                  <a:lnTo>
                    <a:pt x="2102" y="44"/>
                  </a:lnTo>
                  <a:cubicBezTo>
                    <a:pt x="2109" y="52"/>
                    <a:pt x="2109" y="52"/>
                    <a:pt x="2117" y="52"/>
                  </a:cubicBezTo>
                  <a:cubicBezTo>
                    <a:pt x="2124" y="96"/>
                    <a:pt x="2095" y="133"/>
                    <a:pt x="2102" y="170"/>
                  </a:cubicBezTo>
                  <a:cubicBezTo>
                    <a:pt x="2139" y="170"/>
                    <a:pt x="2169" y="170"/>
                    <a:pt x="2198" y="170"/>
                  </a:cubicBezTo>
                  <a:cubicBezTo>
                    <a:pt x="2198" y="178"/>
                    <a:pt x="2198" y="178"/>
                    <a:pt x="2198" y="185"/>
                  </a:cubicBezTo>
                  <a:cubicBezTo>
                    <a:pt x="2191" y="185"/>
                    <a:pt x="2191" y="193"/>
                    <a:pt x="2184" y="193"/>
                  </a:cubicBezTo>
                  <a:cubicBezTo>
                    <a:pt x="2161" y="193"/>
                    <a:pt x="2132" y="222"/>
                    <a:pt x="2117" y="237"/>
                  </a:cubicBezTo>
                  <a:cubicBezTo>
                    <a:pt x="2102" y="222"/>
                    <a:pt x="2080" y="230"/>
                    <a:pt x="2057" y="230"/>
                  </a:cubicBezTo>
                  <a:lnTo>
                    <a:pt x="2057" y="237"/>
                  </a:lnTo>
                  <a:cubicBezTo>
                    <a:pt x="2020" y="237"/>
                    <a:pt x="2006" y="267"/>
                    <a:pt x="1998" y="304"/>
                  </a:cubicBezTo>
                  <a:cubicBezTo>
                    <a:pt x="1953" y="304"/>
                    <a:pt x="1886" y="311"/>
                    <a:pt x="1842" y="289"/>
                  </a:cubicBezTo>
                  <a:cubicBezTo>
                    <a:pt x="1783" y="267"/>
                    <a:pt x="1820" y="200"/>
                    <a:pt x="1820" y="148"/>
                  </a:cubicBezTo>
                  <a:cubicBezTo>
                    <a:pt x="1783" y="148"/>
                    <a:pt x="1738" y="141"/>
                    <a:pt x="1701" y="141"/>
                  </a:cubicBezTo>
                  <a:cubicBezTo>
                    <a:pt x="1679" y="148"/>
                    <a:pt x="1656" y="148"/>
                    <a:pt x="1641" y="155"/>
                  </a:cubicBezTo>
                  <a:cubicBezTo>
                    <a:pt x="1619" y="163"/>
                    <a:pt x="1612" y="178"/>
                    <a:pt x="1590" y="185"/>
                  </a:cubicBezTo>
                  <a:cubicBezTo>
                    <a:pt x="1567" y="193"/>
                    <a:pt x="1552" y="193"/>
                    <a:pt x="1530" y="193"/>
                  </a:cubicBezTo>
                  <a:cubicBezTo>
                    <a:pt x="1493" y="193"/>
                    <a:pt x="1501" y="193"/>
                    <a:pt x="1478" y="215"/>
                  </a:cubicBezTo>
                  <a:cubicBezTo>
                    <a:pt x="1449" y="237"/>
                    <a:pt x="1426" y="252"/>
                    <a:pt x="1396" y="267"/>
                  </a:cubicBezTo>
                  <a:cubicBezTo>
                    <a:pt x="1396" y="304"/>
                    <a:pt x="1300" y="282"/>
                    <a:pt x="1270" y="282"/>
                  </a:cubicBezTo>
                  <a:cubicBezTo>
                    <a:pt x="1211" y="282"/>
                    <a:pt x="1189" y="267"/>
                    <a:pt x="1151" y="222"/>
                  </a:cubicBezTo>
                  <a:cubicBezTo>
                    <a:pt x="1144" y="207"/>
                    <a:pt x="1122" y="170"/>
                    <a:pt x="1107" y="163"/>
                  </a:cubicBezTo>
                  <a:cubicBezTo>
                    <a:pt x="1092" y="155"/>
                    <a:pt x="1055" y="163"/>
                    <a:pt x="1040" y="163"/>
                  </a:cubicBezTo>
                  <a:cubicBezTo>
                    <a:pt x="1018" y="163"/>
                    <a:pt x="996" y="155"/>
                    <a:pt x="981" y="148"/>
                  </a:cubicBezTo>
                  <a:cubicBezTo>
                    <a:pt x="958" y="148"/>
                    <a:pt x="944" y="141"/>
                    <a:pt x="936" y="170"/>
                  </a:cubicBezTo>
                  <a:cubicBezTo>
                    <a:pt x="914" y="178"/>
                    <a:pt x="906" y="163"/>
                    <a:pt x="891" y="155"/>
                  </a:cubicBezTo>
                  <a:cubicBezTo>
                    <a:pt x="869" y="148"/>
                    <a:pt x="877" y="148"/>
                    <a:pt x="854" y="155"/>
                  </a:cubicBezTo>
                  <a:cubicBezTo>
                    <a:pt x="825" y="163"/>
                    <a:pt x="795" y="178"/>
                    <a:pt x="758" y="155"/>
                  </a:cubicBezTo>
                  <a:cubicBezTo>
                    <a:pt x="750" y="155"/>
                    <a:pt x="736" y="133"/>
                    <a:pt x="721" y="126"/>
                  </a:cubicBezTo>
                  <a:cubicBezTo>
                    <a:pt x="706" y="126"/>
                    <a:pt x="699" y="148"/>
                    <a:pt x="691" y="148"/>
                  </a:cubicBezTo>
                  <a:cubicBezTo>
                    <a:pt x="639" y="170"/>
                    <a:pt x="639" y="133"/>
                    <a:pt x="632" y="96"/>
                  </a:cubicBezTo>
                  <a:cubicBezTo>
                    <a:pt x="602" y="96"/>
                    <a:pt x="580" y="148"/>
                    <a:pt x="572" y="170"/>
                  </a:cubicBezTo>
                  <a:cubicBezTo>
                    <a:pt x="542" y="170"/>
                    <a:pt x="550" y="103"/>
                    <a:pt x="542" y="81"/>
                  </a:cubicBezTo>
                  <a:cubicBezTo>
                    <a:pt x="513" y="29"/>
                    <a:pt x="513" y="111"/>
                    <a:pt x="513" y="133"/>
                  </a:cubicBezTo>
                  <a:cubicBezTo>
                    <a:pt x="505" y="178"/>
                    <a:pt x="498" y="200"/>
                    <a:pt x="491" y="237"/>
                  </a:cubicBezTo>
                  <a:cubicBezTo>
                    <a:pt x="476" y="267"/>
                    <a:pt x="483" y="311"/>
                    <a:pt x="461" y="341"/>
                  </a:cubicBezTo>
                  <a:cubicBezTo>
                    <a:pt x="394" y="341"/>
                    <a:pt x="320" y="334"/>
                    <a:pt x="245" y="334"/>
                  </a:cubicBezTo>
                  <a:cubicBezTo>
                    <a:pt x="231" y="334"/>
                    <a:pt x="208" y="334"/>
                    <a:pt x="194" y="334"/>
                  </a:cubicBezTo>
                  <a:cubicBezTo>
                    <a:pt x="186" y="326"/>
                    <a:pt x="171" y="311"/>
                    <a:pt x="164" y="311"/>
                  </a:cubicBezTo>
                  <a:cubicBezTo>
                    <a:pt x="134" y="319"/>
                    <a:pt x="149" y="334"/>
                    <a:pt x="127" y="341"/>
                  </a:cubicBezTo>
                  <a:cubicBezTo>
                    <a:pt x="119" y="349"/>
                    <a:pt x="97" y="349"/>
                    <a:pt x="82" y="349"/>
                  </a:cubicBezTo>
                  <a:cubicBezTo>
                    <a:pt x="75" y="363"/>
                    <a:pt x="60" y="363"/>
                    <a:pt x="52" y="378"/>
                  </a:cubicBezTo>
                  <a:cubicBezTo>
                    <a:pt x="45" y="400"/>
                    <a:pt x="60" y="423"/>
                    <a:pt x="37" y="438"/>
                  </a:cubicBezTo>
                  <a:cubicBezTo>
                    <a:pt x="30" y="460"/>
                    <a:pt x="23" y="482"/>
                    <a:pt x="15" y="512"/>
                  </a:cubicBezTo>
                  <a:cubicBezTo>
                    <a:pt x="0" y="586"/>
                    <a:pt x="0" y="586"/>
                    <a:pt x="0" y="586"/>
                  </a:cubicBezTo>
                  <a:cubicBezTo>
                    <a:pt x="23" y="601"/>
                    <a:pt x="75" y="601"/>
                    <a:pt x="104" y="608"/>
                  </a:cubicBezTo>
                  <a:cubicBezTo>
                    <a:pt x="164" y="608"/>
                    <a:pt x="149" y="556"/>
                    <a:pt x="171" y="519"/>
                  </a:cubicBezTo>
                  <a:cubicBezTo>
                    <a:pt x="201" y="482"/>
                    <a:pt x="253" y="512"/>
                    <a:pt x="297" y="497"/>
                  </a:cubicBezTo>
                  <a:cubicBezTo>
                    <a:pt x="305" y="497"/>
                    <a:pt x="334" y="475"/>
                    <a:pt x="349" y="467"/>
                  </a:cubicBezTo>
                  <a:cubicBezTo>
                    <a:pt x="364" y="460"/>
                    <a:pt x="372" y="430"/>
                    <a:pt x="401" y="438"/>
                  </a:cubicBezTo>
                  <a:cubicBezTo>
                    <a:pt x="387" y="452"/>
                    <a:pt x="387" y="490"/>
                    <a:pt x="379" y="497"/>
                  </a:cubicBezTo>
                  <a:cubicBezTo>
                    <a:pt x="364" y="512"/>
                    <a:pt x="342" y="505"/>
                    <a:pt x="320" y="512"/>
                  </a:cubicBezTo>
                  <a:cubicBezTo>
                    <a:pt x="312" y="519"/>
                    <a:pt x="297" y="542"/>
                    <a:pt x="283" y="549"/>
                  </a:cubicBezTo>
                  <a:cubicBezTo>
                    <a:pt x="260" y="564"/>
                    <a:pt x="260" y="564"/>
                    <a:pt x="231" y="564"/>
                  </a:cubicBezTo>
                  <a:cubicBezTo>
                    <a:pt x="208" y="564"/>
                    <a:pt x="201" y="564"/>
                    <a:pt x="201" y="571"/>
                  </a:cubicBezTo>
                  <a:cubicBezTo>
                    <a:pt x="194" y="571"/>
                    <a:pt x="194" y="579"/>
                    <a:pt x="194" y="586"/>
                  </a:cubicBezTo>
                  <a:cubicBezTo>
                    <a:pt x="179" y="608"/>
                    <a:pt x="186" y="668"/>
                    <a:pt x="186" y="690"/>
                  </a:cubicBezTo>
                  <a:cubicBezTo>
                    <a:pt x="208" y="683"/>
                    <a:pt x="231" y="690"/>
                    <a:pt x="238" y="720"/>
                  </a:cubicBezTo>
                  <a:cubicBezTo>
                    <a:pt x="245" y="750"/>
                    <a:pt x="223" y="727"/>
                    <a:pt x="208" y="757"/>
                  </a:cubicBezTo>
                  <a:cubicBezTo>
                    <a:pt x="231" y="757"/>
                    <a:pt x="260" y="765"/>
                    <a:pt x="283" y="779"/>
                  </a:cubicBezTo>
                  <a:cubicBezTo>
                    <a:pt x="320" y="794"/>
                    <a:pt x="260" y="816"/>
                    <a:pt x="268" y="854"/>
                  </a:cubicBezTo>
                  <a:cubicBezTo>
                    <a:pt x="290" y="854"/>
                    <a:pt x="290" y="816"/>
                    <a:pt x="320" y="816"/>
                  </a:cubicBezTo>
                  <a:cubicBezTo>
                    <a:pt x="320" y="839"/>
                    <a:pt x="320" y="846"/>
                    <a:pt x="305" y="861"/>
                  </a:cubicBezTo>
                  <a:cubicBezTo>
                    <a:pt x="297" y="876"/>
                    <a:pt x="275" y="868"/>
                    <a:pt x="290" y="891"/>
                  </a:cubicBezTo>
                  <a:cubicBezTo>
                    <a:pt x="312" y="883"/>
                    <a:pt x="334" y="839"/>
                    <a:pt x="364" y="854"/>
                  </a:cubicBezTo>
                  <a:lnTo>
                    <a:pt x="364" y="861"/>
                  </a:lnTo>
                  <a:cubicBezTo>
                    <a:pt x="327" y="868"/>
                    <a:pt x="342" y="920"/>
                    <a:pt x="305" y="920"/>
                  </a:cubicBezTo>
                  <a:cubicBezTo>
                    <a:pt x="327" y="943"/>
                    <a:pt x="342" y="957"/>
                    <a:pt x="349" y="987"/>
                  </a:cubicBezTo>
                  <a:cubicBezTo>
                    <a:pt x="394" y="987"/>
                    <a:pt x="439" y="1054"/>
                    <a:pt x="476" y="1076"/>
                  </a:cubicBezTo>
                  <a:cubicBezTo>
                    <a:pt x="520" y="1099"/>
                    <a:pt x="557" y="1121"/>
                    <a:pt x="602" y="1158"/>
                  </a:cubicBezTo>
                  <a:cubicBezTo>
                    <a:pt x="617" y="1173"/>
                    <a:pt x="639" y="1188"/>
                    <a:pt x="654" y="1202"/>
                  </a:cubicBezTo>
                  <a:cubicBezTo>
                    <a:pt x="676" y="1225"/>
                    <a:pt x="691" y="1247"/>
                    <a:pt x="721" y="1262"/>
                  </a:cubicBezTo>
                  <a:cubicBezTo>
                    <a:pt x="758" y="1269"/>
                    <a:pt x="825" y="1247"/>
                    <a:pt x="825" y="1314"/>
                  </a:cubicBezTo>
                  <a:cubicBezTo>
                    <a:pt x="839" y="1314"/>
                    <a:pt x="862" y="1314"/>
                    <a:pt x="869" y="1307"/>
                  </a:cubicBezTo>
                  <a:cubicBezTo>
                    <a:pt x="869" y="1277"/>
                    <a:pt x="951" y="1307"/>
                    <a:pt x="981" y="1307"/>
                  </a:cubicBezTo>
                  <a:cubicBezTo>
                    <a:pt x="1003" y="1307"/>
                    <a:pt x="1033" y="1321"/>
                    <a:pt x="1062" y="1321"/>
                  </a:cubicBezTo>
                  <a:cubicBezTo>
                    <a:pt x="1085" y="1314"/>
                    <a:pt x="1092" y="1307"/>
                    <a:pt x="1122" y="1307"/>
                  </a:cubicBezTo>
                  <a:cubicBezTo>
                    <a:pt x="1122" y="1299"/>
                    <a:pt x="1122" y="1299"/>
                    <a:pt x="1122" y="1292"/>
                  </a:cubicBezTo>
                  <a:cubicBezTo>
                    <a:pt x="1166" y="1262"/>
                    <a:pt x="1218" y="1292"/>
                    <a:pt x="1270" y="1277"/>
                  </a:cubicBezTo>
                  <a:cubicBezTo>
                    <a:pt x="1293" y="1262"/>
                    <a:pt x="1300" y="1232"/>
                    <a:pt x="1330" y="1225"/>
                  </a:cubicBezTo>
                  <a:cubicBezTo>
                    <a:pt x="1344" y="1225"/>
                    <a:pt x="1374" y="1240"/>
                    <a:pt x="1396" y="1232"/>
                  </a:cubicBezTo>
                  <a:cubicBezTo>
                    <a:pt x="1404" y="1225"/>
                    <a:pt x="1426" y="1188"/>
                    <a:pt x="1411" y="1188"/>
                  </a:cubicBezTo>
                  <a:cubicBezTo>
                    <a:pt x="1396" y="1188"/>
                    <a:pt x="1389" y="1188"/>
                    <a:pt x="1374" y="1188"/>
                  </a:cubicBezTo>
                  <a:cubicBezTo>
                    <a:pt x="1374" y="1165"/>
                    <a:pt x="1396" y="1150"/>
                    <a:pt x="1419" y="1158"/>
                  </a:cubicBezTo>
                  <a:cubicBezTo>
                    <a:pt x="1449" y="1173"/>
                    <a:pt x="1426" y="1202"/>
                    <a:pt x="1471" y="1180"/>
                  </a:cubicBezTo>
                  <a:cubicBezTo>
                    <a:pt x="1471" y="1128"/>
                    <a:pt x="1530" y="1106"/>
                    <a:pt x="1567" y="1113"/>
                  </a:cubicBezTo>
                  <a:cubicBezTo>
                    <a:pt x="1567" y="1158"/>
                    <a:pt x="1612" y="1165"/>
                    <a:pt x="1649" y="1143"/>
                  </a:cubicBezTo>
                  <a:cubicBezTo>
                    <a:pt x="1634" y="1158"/>
                    <a:pt x="1627" y="1173"/>
                    <a:pt x="1612" y="1188"/>
                  </a:cubicBezTo>
                  <a:cubicBezTo>
                    <a:pt x="1597" y="1202"/>
                    <a:pt x="1582" y="1202"/>
                    <a:pt x="1575" y="1232"/>
                  </a:cubicBezTo>
                  <a:cubicBezTo>
                    <a:pt x="1552" y="1269"/>
                    <a:pt x="1538" y="1307"/>
                    <a:pt x="1530" y="1359"/>
                  </a:cubicBezTo>
                  <a:cubicBezTo>
                    <a:pt x="1501" y="1366"/>
                    <a:pt x="1471" y="1410"/>
                    <a:pt x="1441" y="1440"/>
                  </a:cubicBezTo>
                  <a:cubicBezTo>
                    <a:pt x="1426" y="1448"/>
                    <a:pt x="1404" y="1462"/>
                    <a:pt x="1389" y="1477"/>
                  </a:cubicBezTo>
                  <a:cubicBezTo>
                    <a:pt x="1382" y="1492"/>
                    <a:pt x="1389" y="1514"/>
                    <a:pt x="1382" y="1529"/>
                  </a:cubicBezTo>
                  <a:cubicBezTo>
                    <a:pt x="1352" y="1529"/>
                    <a:pt x="1330" y="1522"/>
                    <a:pt x="1300" y="1522"/>
                  </a:cubicBezTo>
                  <a:cubicBezTo>
                    <a:pt x="1285" y="1529"/>
                    <a:pt x="1300" y="1544"/>
                    <a:pt x="1278" y="1537"/>
                  </a:cubicBezTo>
                  <a:cubicBezTo>
                    <a:pt x="1263" y="1529"/>
                    <a:pt x="1270" y="1514"/>
                    <a:pt x="1248" y="1507"/>
                  </a:cubicBezTo>
                  <a:cubicBezTo>
                    <a:pt x="1241" y="1499"/>
                    <a:pt x="1218" y="1507"/>
                    <a:pt x="1211" y="1507"/>
                  </a:cubicBezTo>
                  <a:cubicBezTo>
                    <a:pt x="1196" y="1514"/>
                    <a:pt x="1181" y="1522"/>
                    <a:pt x="1159" y="1537"/>
                  </a:cubicBezTo>
                  <a:cubicBezTo>
                    <a:pt x="1174" y="1537"/>
                    <a:pt x="1189" y="1537"/>
                    <a:pt x="1204" y="1537"/>
                  </a:cubicBezTo>
                  <a:cubicBezTo>
                    <a:pt x="1196" y="1566"/>
                    <a:pt x="1144" y="1589"/>
                    <a:pt x="1144" y="1618"/>
                  </a:cubicBezTo>
                  <a:cubicBezTo>
                    <a:pt x="1136" y="1618"/>
                    <a:pt x="1122" y="1626"/>
                    <a:pt x="1114" y="1626"/>
                  </a:cubicBezTo>
                  <a:cubicBezTo>
                    <a:pt x="1114" y="1626"/>
                    <a:pt x="1114" y="1626"/>
                    <a:pt x="1114" y="1633"/>
                  </a:cubicBezTo>
                  <a:cubicBezTo>
                    <a:pt x="1107" y="1633"/>
                    <a:pt x="1099" y="1633"/>
                    <a:pt x="1092" y="1626"/>
                  </a:cubicBezTo>
                  <a:cubicBezTo>
                    <a:pt x="1099" y="1574"/>
                    <a:pt x="1033" y="1604"/>
                    <a:pt x="1010" y="1618"/>
                  </a:cubicBezTo>
                  <a:cubicBezTo>
                    <a:pt x="1010" y="1626"/>
                    <a:pt x="1010" y="1633"/>
                    <a:pt x="1010" y="1641"/>
                  </a:cubicBezTo>
                  <a:cubicBezTo>
                    <a:pt x="1003" y="1641"/>
                    <a:pt x="996" y="1641"/>
                    <a:pt x="988" y="1641"/>
                  </a:cubicBezTo>
                  <a:cubicBezTo>
                    <a:pt x="973" y="1648"/>
                    <a:pt x="951" y="1633"/>
                    <a:pt x="958" y="1663"/>
                  </a:cubicBezTo>
                  <a:cubicBezTo>
                    <a:pt x="958" y="1670"/>
                    <a:pt x="951" y="1670"/>
                    <a:pt x="944" y="1670"/>
                  </a:cubicBezTo>
                  <a:cubicBezTo>
                    <a:pt x="944" y="1663"/>
                    <a:pt x="936" y="1648"/>
                    <a:pt x="936" y="1641"/>
                  </a:cubicBezTo>
                  <a:cubicBezTo>
                    <a:pt x="899" y="1633"/>
                    <a:pt x="862" y="1648"/>
                    <a:pt x="825" y="1648"/>
                  </a:cubicBezTo>
                  <a:lnTo>
                    <a:pt x="832" y="1648"/>
                  </a:lnTo>
                  <a:cubicBezTo>
                    <a:pt x="839" y="1655"/>
                    <a:pt x="839" y="1670"/>
                    <a:pt x="832" y="1678"/>
                  </a:cubicBezTo>
                  <a:cubicBezTo>
                    <a:pt x="802" y="1693"/>
                    <a:pt x="802" y="1655"/>
                    <a:pt x="780" y="1648"/>
                  </a:cubicBezTo>
                  <a:cubicBezTo>
                    <a:pt x="765" y="1648"/>
                    <a:pt x="743" y="1663"/>
                    <a:pt x="728" y="1663"/>
                  </a:cubicBezTo>
                  <a:cubicBezTo>
                    <a:pt x="706" y="1670"/>
                    <a:pt x="684" y="1670"/>
                    <a:pt x="661" y="1678"/>
                  </a:cubicBezTo>
                  <a:cubicBezTo>
                    <a:pt x="646" y="1685"/>
                    <a:pt x="639" y="1700"/>
                    <a:pt x="624" y="1707"/>
                  </a:cubicBezTo>
                  <a:cubicBezTo>
                    <a:pt x="624" y="1685"/>
                    <a:pt x="654" y="1693"/>
                    <a:pt x="654" y="1663"/>
                  </a:cubicBezTo>
                  <a:cubicBezTo>
                    <a:pt x="580" y="1670"/>
                    <a:pt x="646" y="1604"/>
                    <a:pt x="661" y="1566"/>
                  </a:cubicBezTo>
                  <a:cubicBezTo>
                    <a:pt x="639" y="1581"/>
                    <a:pt x="624" y="1566"/>
                    <a:pt x="602" y="1566"/>
                  </a:cubicBezTo>
                  <a:cubicBezTo>
                    <a:pt x="587" y="1574"/>
                    <a:pt x="572" y="1589"/>
                    <a:pt x="557" y="1589"/>
                  </a:cubicBezTo>
                  <a:cubicBezTo>
                    <a:pt x="528" y="1581"/>
                    <a:pt x="513" y="1559"/>
                    <a:pt x="542" y="1537"/>
                  </a:cubicBezTo>
                  <a:cubicBezTo>
                    <a:pt x="557" y="1529"/>
                    <a:pt x="580" y="1544"/>
                    <a:pt x="580" y="1514"/>
                  </a:cubicBezTo>
                  <a:cubicBezTo>
                    <a:pt x="557" y="1514"/>
                    <a:pt x="535" y="1507"/>
                    <a:pt x="520" y="1522"/>
                  </a:cubicBezTo>
                  <a:cubicBezTo>
                    <a:pt x="505" y="1529"/>
                    <a:pt x="520" y="1544"/>
                    <a:pt x="513" y="1552"/>
                  </a:cubicBezTo>
                  <a:cubicBezTo>
                    <a:pt x="505" y="1566"/>
                    <a:pt x="498" y="1566"/>
                    <a:pt x="491" y="1581"/>
                  </a:cubicBezTo>
                  <a:cubicBezTo>
                    <a:pt x="424" y="1604"/>
                    <a:pt x="513" y="1700"/>
                    <a:pt x="528" y="1737"/>
                  </a:cubicBezTo>
                  <a:cubicBezTo>
                    <a:pt x="550" y="1767"/>
                    <a:pt x="557" y="1797"/>
                    <a:pt x="580" y="1826"/>
                  </a:cubicBezTo>
                  <a:cubicBezTo>
                    <a:pt x="624" y="1900"/>
                    <a:pt x="684" y="1959"/>
                    <a:pt x="728" y="2026"/>
                  </a:cubicBezTo>
                  <a:cubicBezTo>
                    <a:pt x="758" y="2063"/>
                    <a:pt x="765" y="2085"/>
                    <a:pt x="802" y="2108"/>
                  </a:cubicBezTo>
                  <a:cubicBezTo>
                    <a:pt x="839" y="2137"/>
                    <a:pt x="854" y="2167"/>
                    <a:pt x="891" y="2197"/>
                  </a:cubicBezTo>
                  <a:cubicBezTo>
                    <a:pt x="921" y="2226"/>
                    <a:pt x="944" y="2248"/>
                    <a:pt x="966" y="2286"/>
                  </a:cubicBezTo>
                  <a:cubicBezTo>
                    <a:pt x="981" y="2315"/>
                    <a:pt x="996" y="2345"/>
                    <a:pt x="1033" y="2338"/>
                  </a:cubicBezTo>
                  <a:cubicBezTo>
                    <a:pt x="1025" y="2345"/>
                    <a:pt x="1025" y="2345"/>
                    <a:pt x="1018" y="2353"/>
                  </a:cubicBezTo>
                  <a:cubicBezTo>
                    <a:pt x="1025" y="2427"/>
                    <a:pt x="1114" y="2501"/>
                    <a:pt x="1166" y="2546"/>
                  </a:cubicBezTo>
                  <a:cubicBezTo>
                    <a:pt x="1196" y="2575"/>
                    <a:pt x="1218" y="2605"/>
                    <a:pt x="1248" y="2627"/>
                  </a:cubicBezTo>
                  <a:cubicBezTo>
                    <a:pt x="1278" y="2650"/>
                    <a:pt x="1293" y="2650"/>
                    <a:pt x="1307" y="2672"/>
                  </a:cubicBezTo>
                  <a:cubicBezTo>
                    <a:pt x="1322" y="2694"/>
                    <a:pt x="1337" y="2709"/>
                    <a:pt x="1352" y="2724"/>
                  </a:cubicBezTo>
                  <a:cubicBezTo>
                    <a:pt x="1382" y="2754"/>
                    <a:pt x="1419" y="2761"/>
                    <a:pt x="1449" y="2791"/>
                  </a:cubicBezTo>
                  <a:cubicBezTo>
                    <a:pt x="1471" y="2805"/>
                    <a:pt x="1478" y="2828"/>
                    <a:pt x="1493" y="2835"/>
                  </a:cubicBezTo>
                  <a:cubicBezTo>
                    <a:pt x="1515" y="2850"/>
                    <a:pt x="1523" y="2850"/>
                    <a:pt x="1545" y="2850"/>
                  </a:cubicBezTo>
                  <a:cubicBezTo>
                    <a:pt x="1590" y="2858"/>
                    <a:pt x="1604" y="2910"/>
                    <a:pt x="1649" y="2902"/>
                  </a:cubicBezTo>
                  <a:cubicBezTo>
                    <a:pt x="1664" y="2902"/>
                    <a:pt x="1671" y="2887"/>
                    <a:pt x="1694" y="2887"/>
                  </a:cubicBezTo>
                  <a:cubicBezTo>
                    <a:pt x="1716" y="2887"/>
                    <a:pt x="1723" y="2902"/>
                    <a:pt x="1746" y="2910"/>
                  </a:cubicBezTo>
                  <a:cubicBezTo>
                    <a:pt x="1768" y="2902"/>
                    <a:pt x="1805" y="2917"/>
                    <a:pt x="1827" y="2939"/>
                  </a:cubicBezTo>
                  <a:cubicBezTo>
                    <a:pt x="1849" y="2917"/>
                    <a:pt x="1886" y="2910"/>
                    <a:pt x="1894" y="2895"/>
                  </a:cubicBezTo>
                  <a:cubicBezTo>
                    <a:pt x="1931" y="2895"/>
                    <a:pt x="1968" y="2902"/>
                    <a:pt x="1998" y="2880"/>
                  </a:cubicBezTo>
                  <a:cubicBezTo>
                    <a:pt x="2028" y="2872"/>
                    <a:pt x="2028" y="2858"/>
                    <a:pt x="2057" y="2850"/>
                  </a:cubicBezTo>
                  <a:cubicBezTo>
                    <a:pt x="2080" y="2850"/>
                    <a:pt x="2095" y="2858"/>
                    <a:pt x="2117" y="2858"/>
                  </a:cubicBezTo>
                  <a:cubicBezTo>
                    <a:pt x="2132" y="2828"/>
                    <a:pt x="2146" y="2813"/>
                    <a:pt x="2184" y="2805"/>
                  </a:cubicBezTo>
                  <a:cubicBezTo>
                    <a:pt x="2206" y="2805"/>
                    <a:pt x="2258" y="2813"/>
                    <a:pt x="2258" y="2776"/>
                  </a:cubicBezTo>
                  <a:cubicBezTo>
                    <a:pt x="2236" y="2783"/>
                    <a:pt x="2206" y="2776"/>
                    <a:pt x="2198" y="2805"/>
                  </a:cubicBezTo>
                  <a:cubicBezTo>
                    <a:pt x="2176" y="2768"/>
                    <a:pt x="2258" y="2754"/>
                    <a:pt x="2280" y="2754"/>
                  </a:cubicBezTo>
                  <a:cubicBezTo>
                    <a:pt x="2317" y="2761"/>
                    <a:pt x="2354" y="2768"/>
                    <a:pt x="2392" y="2746"/>
                  </a:cubicBezTo>
                  <a:cubicBezTo>
                    <a:pt x="2406" y="2716"/>
                    <a:pt x="2436" y="2724"/>
                    <a:pt x="2466" y="2716"/>
                  </a:cubicBezTo>
                  <a:cubicBezTo>
                    <a:pt x="2496" y="2716"/>
                    <a:pt x="2518" y="2702"/>
                    <a:pt x="2540" y="2687"/>
                  </a:cubicBezTo>
                  <a:cubicBezTo>
                    <a:pt x="2570" y="2672"/>
                    <a:pt x="2585" y="2642"/>
                    <a:pt x="2614" y="2642"/>
                  </a:cubicBezTo>
                  <a:cubicBezTo>
                    <a:pt x="2622" y="2627"/>
                    <a:pt x="2622" y="2613"/>
                    <a:pt x="2622" y="2605"/>
                  </a:cubicBezTo>
                  <a:lnTo>
                    <a:pt x="2629" y="2598"/>
                  </a:lnTo>
                  <a:cubicBezTo>
                    <a:pt x="2659" y="2546"/>
                    <a:pt x="2689" y="2516"/>
                    <a:pt x="2733" y="2471"/>
                  </a:cubicBezTo>
                  <a:cubicBezTo>
                    <a:pt x="2778" y="2434"/>
                    <a:pt x="2763" y="2382"/>
                    <a:pt x="2770" y="2323"/>
                  </a:cubicBezTo>
                  <a:cubicBezTo>
                    <a:pt x="2800" y="2323"/>
                    <a:pt x="2785" y="2263"/>
                    <a:pt x="2785" y="2241"/>
                  </a:cubicBezTo>
                  <a:cubicBezTo>
                    <a:pt x="2785" y="2226"/>
                    <a:pt x="2793" y="2204"/>
                    <a:pt x="2785" y="2189"/>
                  </a:cubicBezTo>
                  <a:cubicBezTo>
                    <a:pt x="2785" y="2174"/>
                    <a:pt x="2770" y="2167"/>
                    <a:pt x="2770" y="2152"/>
                  </a:cubicBezTo>
                  <a:cubicBezTo>
                    <a:pt x="2763" y="2122"/>
                    <a:pt x="2770" y="2093"/>
                    <a:pt x="2785" y="2070"/>
                  </a:cubicBezTo>
                  <a:cubicBezTo>
                    <a:pt x="2800" y="2048"/>
                    <a:pt x="2822" y="2033"/>
                    <a:pt x="2830" y="2011"/>
                  </a:cubicBezTo>
                  <a:cubicBezTo>
                    <a:pt x="2837" y="2003"/>
                    <a:pt x="2837" y="2003"/>
                    <a:pt x="2845" y="1996"/>
                  </a:cubicBezTo>
                  <a:cubicBezTo>
                    <a:pt x="2822" y="1996"/>
                    <a:pt x="2800" y="1989"/>
                    <a:pt x="2785" y="1981"/>
                  </a:cubicBezTo>
                  <a:cubicBezTo>
                    <a:pt x="2815" y="1966"/>
                    <a:pt x="2815" y="1944"/>
                    <a:pt x="2822" y="1914"/>
                  </a:cubicBezTo>
                  <a:cubicBezTo>
                    <a:pt x="2859" y="1907"/>
                    <a:pt x="2867" y="1944"/>
                    <a:pt x="2897" y="1944"/>
                  </a:cubicBezTo>
                  <a:cubicBezTo>
                    <a:pt x="2926" y="1944"/>
                    <a:pt x="2919" y="1914"/>
                    <a:pt x="2956" y="1922"/>
                  </a:cubicBezTo>
                  <a:cubicBezTo>
                    <a:pt x="2956" y="1914"/>
                    <a:pt x="2956" y="1907"/>
                    <a:pt x="2956" y="1907"/>
                  </a:cubicBezTo>
                  <a:cubicBezTo>
                    <a:pt x="2934" y="1900"/>
                    <a:pt x="2911" y="1907"/>
                    <a:pt x="2889" y="1900"/>
                  </a:cubicBezTo>
                  <a:cubicBezTo>
                    <a:pt x="2897" y="1885"/>
                    <a:pt x="2911" y="1885"/>
                    <a:pt x="2934" y="1885"/>
                  </a:cubicBezTo>
                  <a:cubicBezTo>
                    <a:pt x="2948" y="1804"/>
                    <a:pt x="3053" y="1892"/>
                    <a:pt x="3082" y="1907"/>
                  </a:cubicBezTo>
                  <a:cubicBezTo>
                    <a:pt x="3119" y="1937"/>
                    <a:pt x="3208" y="1929"/>
                    <a:pt x="3253" y="1907"/>
                  </a:cubicBezTo>
                  <a:cubicBezTo>
                    <a:pt x="3260" y="1907"/>
                    <a:pt x="3260" y="1907"/>
                    <a:pt x="3260" y="1907"/>
                  </a:cubicBezTo>
                  <a:cubicBezTo>
                    <a:pt x="3260" y="1907"/>
                    <a:pt x="3260" y="1907"/>
                    <a:pt x="3253" y="1907"/>
                  </a:cubicBezTo>
                  <a:cubicBezTo>
                    <a:pt x="3238" y="1914"/>
                    <a:pt x="3208" y="1959"/>
                    <a:pt x="3186" y="1966"/>
                  </a:cubicBezTo>
                  <a:cubicBezTo>
                    <a:pt x="3164" y="1981"/>
                    <a:pt x="3164" y="1966"/>
                    <a:pt x="3134" y="1959"/>
                  </a:cubicBezTo>
                  <a:cubicBezTo>
                    <a:pt x="3119" y="1959"/>
                    <a:pt x="3097" y="1959"/>
                    <a:pt x="3082" y="1944"/>
                  </a:cubicBezTo>
                  <a:cubicBezTo>
                    <a:pt x="3045" y="1922"/>
                    <a:pt x="3038" y="1870"/>
                    <a:pt x="3000" y="1922"/>
                  </a:cubicBezTo>
                  <a:cubicBezTo>
                    <a:pt x="2978" y="1944"/>
                    <a:pt x="2986" y="1996"/>
                    <a:pt x="2963" y="2011"/>
                  </a:cubicBezTo>
                  <a:cubicBezTo>
                    <a:pt x="2978" y="2018"/>
                    <a:pt x="2993" y="2026"/>
                    <a:pt x="2993" y="2048"/>
                  </a:cubicBezTo>
                  <a:cubicBezTo>
                    <a:pt x="2963" y="2048"/>
                    <a:pt x="2963" y="2122"/>
                    <a:pt x="2963" y="2145"/>
                  </a:cubicBezTo>
                  <a:cubicBezTo>
                    <a:pt x="2978" y="2152"/>
                    <a:pt x="2993" y="2152"/>
                    <a:pt x="3008" y="2152"/>
                  </a:cubicBezTo>
                  <a:cubicBezTo>
                    <a:pt x="3023" y="2122"/>
                    <a:pt x="3134" y="2115"/>
                    <a:pt x="3156" y="2130"/>
                  </a:cubicBezTo>
                  <a:cubicBezTo>
                    <a:pt x="3119" y="2145"/>
                    <a:pt x="3097" y="2167"/>
                    <a:pt x="3053" y="2167"/>
                  </a:cubicBezTo>
                  <a:cubicBezTo>
                    <a:pt x="3030" y="2167"/>
                    <a:pt x="2986" y="2152"/>
                    <a:pt x="2971" y="2182"/>
                  </a:cubicBezTo>
                  <a:cubicBezTo>
                    <a:pt x="2956" y="2204"/>
                    <a:pt x="2971" y="2234"/>
                    <a:pt x="2971" y="2256"/>
                  </a:cubicBezTo>
                  <a:cubicBezTo>
                    <a:pt x="2971" y="2286"/>
                    <a:pt x="2948" y="2308"/>
                    <a:pt x="2956" y="2330"/>
                  </a:cubicBezTo>
                  <a:cubicBezTo>
                    <a:pt x="2963" y="2338"/>
                    <a:pt x="3090" y="2345"/>
                    <a:pt x="3090" y="2360"/>
                  </a:cubicBezTo>
                  <a:cubicBezTo>
                    <a:pt x="3090" y="2368"/>
                    <a:pt x="3090" y="2368"/>
                    <a:pt x="3090" y="2375"/>
                  </a:cubicBezTo>
                  <a:cubicBezTo>
                    <a:pt x="3045" y="2375"/>
                    <a:pt x="3000" y="2368"/>
                    <a:pt x="2963" y="2375"/>
                  </a:cubicBezTo>
                  <a:cubicBezTo>
                    <a:pt x="2971" y="2382"/>
                    <a:pt x="2971" y="2382"/>
                    <a:pt x="2978" y="2390"/>
                  </a:cubicBezTo>
                  <a:cubicBezTo>
                    <a:pt x="2978" y="2397"/>
                    <a:pt x="2986" y="2405"/>
                    <a:pt x="2986" y="2419"/>
                  </a:cubicBezTo>
                  <a:cubicBezTo>
                    <a:pt x="3015" y="2419"/>
                    <a:pt x="3045" y="2419"/>
                    <a:pt x="3067" y="2397"/>
                  </a:cubicBezTo>
                  <a:cubicBezTo>
                    <a:pt x="3090" y="2382"/>
                    <a:pt x="3105" y="2368"/>
                    <a:pt x="3134" y="2375"/>
                  </a:cubicBezTo>
                  <a:cubicBezTo>
                    <a:pt x="3127" y="2375"/>
                    <a:pt x="3119" y="2382"/>
                    <a:pt x="3119" y="2382"/>
                  </a:cubicBezTo>
                  <a:cubicBezTo>
                    <a:pt x="3112" y="2412"/>
                    <a:pt x="3075" y="2427"/>
                    <a:pt x="3060" y="2449"/>
                  </a:cubicBezTo>
                  <a:cubicBezTo>
                    <a:pt x="3045" y="2464"/>
                    <a:pt x="3045" y="2471"/>
                    <a:pt x="3030" y="2479"/>
                  </a:cubicBezTo>
                  <a:cubicBezTo>
                    <a:pt x="3015" y="2494"/>
                    <a:pt x="2993" y="2486"/>
                    <a:pt x="3000" y="2516"/>
                  </a:cubicBezTo>
                  <a:lnTo>
                    <a:pt x="3008" y="2516"/>
                  </a:lnTo>
                  <a:cubicBezTo>
                    <a:pt x="3008" y="2546"/>
                    <a:pt x="3008" y="2568"/>
                    <a:pt x="2993" y="2590"/>
                  </a:cubicBezTo>
                  <a:cubicBezTo>
                    <a:pt x="2986" y="2605"/>
                    <a:pt x="2978" y="2605"/>
                    <a:pt x="2978" y="2627"/>
                  </a:cubicBezTo>
                  <a:cubicBezTo>
                    <a:pt x="2978" y="2642"/>
                    <a:pt x="2986" y="2650"/>
                    <a:pt x="2993" y="2657"/>
                  </a:cubicBezTo>
                  <a:cubicBezTo>
                    <a:pt x="2986" y="2672"/>
                    <a:pt x="2971" y="2687"/>
                    <a:pt x="2978" y="2709"/>
                  </a:cubicBezTo>
                  <a:cubicBezTo>
                    <a:pt x="3000" y="2709"/>
                    <a:pt x="3045" y="2702"/>
                    <a:pt x="3045" y="2724"/>
                  </a:cubicBezTo>
                  <a:cubicBezTo>
                    <a:pt x="3030" y="2724"/>
                    <a:pt x="3008" y="2739"/>
                    <a:pt x="3000" y="2754"/>
                  </a:cubicBezTo>
                  <a:cubicBezTo>
                    <a:pt x="3030" y="2761"/>
                    <a:pt x="3060" y="2754"/>
                    <a:pt x="3090" y="2754"/>
                  </a:cubicBezTo>
                  <a:cubicBezTo>
                    <a:pt x="3090" y="2761"/>
                    <a:pt x="3090" y="2768"/>
                    <a:pt x="3090" y="2776"/>
                  </a:cubicBezTo>
                  <a:cubicBezTo>
                    <a:pt x="3067" y="2768"/>
                    <a:pt x="3053" y="2776"/>
                    <a:pt x="3038" y="2783"/>
                  </a:cubicBezTo>
                  <a:cubicBezTo>
                    <a:pt x="3060" y="2798"/>
                    <a:pt x="3053" y="2828"/>
                    <a:pt x="3053" y="2850"/>
                  </a:cubicBezTo>
                  <a:cubicBezTo>
                    <a:pt x="3075" y="2850"/>
                    <a:pt x="3105" y="2843"/>
                    <a:pt x="3134" y="2850"/>
                  </a:cubicBezTo>
                  <a:cubicBezTo>
                    <a:pt x="3127" y="2865"/>
                    <a:pt x="3127" y="2880"/>
                    <a:pt x="3127" y="2887"/>
                  </a:cubicBezTo>
                  <a:cubicBezTo>
                    <a:pt x="3097" y="2895"/>
                    <a:pt x="3075" y="2902"/>
                    <a:pt x="3053" y="2910"/>
                  </a:cubicBezTo>
                  <a:cubicBezTo>
                    <a:pt x="3060" y="2924"/>
                    <a:pt x="3067" y="2954"/>
                    <a:pt x="3082" y="2962"/>
                  </a:cubicBezTo>
                  <a:cubicBezTo>
                    <a:pt x="3097" y="2976"/>
                    <a:pt x="3112" y="2976"/>
                    <a:pt x="3134" y="2976"/>
                  </a:cubicBezTo>
                  <a:cubicBezTo>
                    <a:pt x="3142" y="3013"/>
                    <a:pt x="3105" y="2999"/>
                    <a:pt x="3082" y="3013"/>
                  </a:cubicBezTo>
                  <a:cubicBezTo>
                    <a:pt x="3075" y="3073"/>
                    <a:pt x="3075" y="3125"/>
                    <a:pt x="3060" y="3177"/>
                  </a:cubicBezTo>
                  <a:cubicBezTo>
                    <a:pt x="3053" y="3184"/>
                    <a:pt x="3053" y="3199"/>
                    <a:pt x="3045" y="3207"/>
                  </a:cubicBezTo>
                  <a:cubicBezTo>
                    <a:pt x="3038" y="3221"/>
                    <a:pt x="3038" y="3236"/>
                    <a:pt x="3038" y="3244"/>
                  </a:cubicBezTo>
                  <a:cubicBezTo>
                    <a:pt x="3045" y="3251"/>
                    <a:pt x="3053" y="3251"/>
                    <a:pt x="3053" y="3259"/>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85" name="Freeform 3">
              <a:extLst>
                <a:ext uri="{FF2B5EF4-FFF2-40B4-BE49-F238E27FC236}">
                  <a16:creationId xmlns:a16="http://schemas.microsoft.com/office/drawing/2014/main" id="{ED310ABA-C13C-3949-99A8-5919540BF00A}"/>
                </a:ext>
              </a:extLst>
            </p:cNvPr>
            <p:cNvSpPr>
              <a:spLocks noChangeArrowheads="1"/>
            </p:cNvSpPr>
            <p:nvPr/>
          </p:nvSpPr>
          <p:spPr bwMode="auto">
            <a:xfrm>
              <a:off x="9434072" y="7604497"/>
              <a:ext cx="3813" cy="1904"/>
            </a:xfrm>
            <a:custGeom>
              <a:avLst/>
              <a:gdLst>
                <a:gd name="T0" fmla="*/ 0 w 8"/>
                <a:gd name="T1" fmla="*/ 0 h 1"/>
                <a:gd name="T2" fmla="*/ 0 w 8"/>
                <a:gd name="T3" fmla="*/ 0 h 1"/>
                <a:gd name="T4" fmla="*/ 7 w 8"/>
                <a:gd name="T5" fmla="*/ 0 h 1"/>
                <a:gd name="T6" fmla="*/ 0 w 8"/>
                <a:gd name="T7" fmla="*/ 0 h 1"/>
              </a:gdLst>
              <a:ahLst/>
              <a:cxnLst>
                <a:cxn ang="0">
                  <a:pos x="T0" y="T1"/>
                </a:cxn>
                <a:cxn ang="0">
                  <a:pos x="T2" y="T3"/>
                </a:cxn>
                <a:cxn ang="0">
                  <a:pos x="T4" y="T5"/>
                </a:cxn>
                <a:cxn ang="0">
                  <a:pos x="T6" y="T7"/>
                </a:cxn>
              </a:cxnLst>
              <a:rect l="0" t="0" r="r" b="b"/>
              <a:pathLst>
                <a:path w="8" h="1">
                  <a:moveTo>
                    <a:pt x="0" y="0"/>
                  </a:moveTo>
                  <a:lnTo>
                    <a:pt x="0" y="0"/>
                  </a:lnTo>
                  <a:cubicBezTo>
                    <a:pt x="7" y="0"/>
                    <a:pt x="7" y="0"/>
                    <a:pt x="7" y="0"/>
                  </a:cubicBezTo>
                  <a:cubicBezTo>
                    <a:pt x="7" y="0"/>
                    <a:pt x="7" y="0"/>
                    <a:pt x="0" y="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86" name="Freeform 4">
              <a:extLst>
                <a:ext uri="{FF2B5EF4-FFF2-40B4-BE49-F238E27FC236}">
                  <a16:creationId xmlns:a16="http://schemas.microsoft.com/office/drawing/2014/main" id="{364A0D28-74E8-FA4F-90AB-DBC15B57F1EE}"/>
                </a:ext>
              </a:extLst>
            </p:cNvPr>
            <p:cNvSpPr>
              <a:spLocks noChangeArrowheads="1"/>
            </p:cNvSpPr>
            <p:nvPr/>
          </p:nvSpPr>
          <p:spPr bwMode="auto">
            <a:xfrm>
              <a:off x="9430260" y="9663906"/>
              <a:ext cx="200167" cy="299101"/>
            </a:xfrm>
            <a:custGeom>
              <a:avLst/>
              <a:gdLst>
                <a:gd name="T0" fmla="*/ 312 w 462"/>
                <a:gd name="T1" fmla="*/ 660 h 691"/>
                <a:gd name="T2" fmla="*/ 312 w 462"/>
                <a:gd name="T3" fmla="*/ 660 h 691"/>
                <a:gd name="T4" fmla="*/ 372 w 462"/>
                <a:gd name="T5" fmla="*/ 683 h 691"/>
                <a:gd name="T6" fmla="*/ 394 w 462"/>
                <a:gd name="T7" fmla="*/ 631 h 691"/>
                <a:gd name="T8" fmla="*/ 409 w 462"/>
                <a:gd name="T9" fmla="*/ 534 h 691"/>
                <a:gd name="T10" fmla="*/ 416 w 462"/>
                <a:gd name="T11" fmla="*/ 534 h 691"/>
                <a:gd name="T12" fmla="*/ 379 w 462"/>
                <a:gd name="T13" fmla="*/ 475 h 691"/>
                <a:gd name="T14" fmla="*/ 431 w 462"/>
                <a:gd name="T15" fmla="*/ 460 h 691"/>
                <a:gd name="T16" fmla="*/ 454 w 462"/>
                <a:gd name="T17" fmla="*/ 445 h 691"/>
                <a:gd name="T18" fmla="*/ 402 w 462"/>
                <a:gd name="T19" fmla="*/ 371 h 691"/>
                <a:gd name="T20" fmla="*/ 416 w 462"/>
                <a:gd name="T21" fmla="*/ 274 h 691"/>
                <a:gd name="T22" fmla="*/ 402 w 462"/>
                <a:gd name="T23" fmla="*/ 200 h 691"/>
                <a:gd name="T24" fmla="*/ 342 w 462"/>
                <a:gd name="T25" fmla="*/ 170 h 691"/>
                <a:gd name="T26" fmla="*/ 327 w 462"/>
                <a:gd name="T27" fmla="*/ 170 h 691"/>
                <a:gd name="T28" fmla="*/ 186 w 462"/>
                <a:gd name="T29" fmla="*/ 141 h 691"/>
                <a:gd name="T30" fmla="*/ 127 w 462"/>
                <a:gd name="T31" fmla="*/ 0 h 691"/>
                <a:gd name="T32" fmla="*/ 60 w 462"/>
                <a:gd name="T33" fmla="*/ 29 h 691"/>
                <a:gd name="T34" fmla="*/ 0 w 462"/>
                <a:gd name="T35" fmla="*/ 29 h 691"/>
                <a:gd name="T36" fmla="*/ 30 w 462"/>
                <a:gd name="T37" fmla="*/ 111 h 691"/>
                <a:gd name="T38" fmla="*/ 67 w 462"/>
                <a:gd name="T39" fmla="*/ 193 h 691"/>
                <a:gd name="T40" fmla="*/ 157 w 462"/>
                <a:gd name="T41" fmla="*/ 222 h 691"/>
                <a:gd name="T42" fmla="*/ 105 w 462"/>
                <a:gd name="T43" fmla="*/ 259 h 691"/>
                <a:gd name="T44" fmla="*/ 186 w 462"/>
                <a:gd name="T45" fmla="*/ 282 h 691"/>
                <a:gd name="T46" fmla="*/ 119 w 462"/>
                <a:gd name="T47" fmla="*/ 282 h 691"/>
                <a:gd name="T48" fmla="*/ 186 w 462"/>
                <a:gd name="T49" fmla="*/ 475 h 691"/>
                <a:gd name="T50" fmla="*/ 179 w 462"/>
                <a:gd name="T51" fmla="*/ 475 h 691"/>
                <a:gd name="T52" fmla="*/ 208 w 462"/>
                <a:gd name="T53" fmla="*/ 527 h 691"/>
                <a:gd name="T54" fmla="*/ 246 w 462"/>
                <a:gd name="T55" fmla="*/ 586 h 691"/>
                <a:gd name="T56" fmla="*/ 260 w 462"/>
                <a:gd name="T57" fmla="*/ 653 h 691"/>
                <a:gd name="T58" fmla="*/ 305 w 462"/>
                <a:gd name="T59" fmla="*/ 690 h 691"/>
                <a:gd name="T60" fmla="*/ 312 w 462"/>
                <a:gd name="T61" fmla="*/ 690 h 691"/>
                <a:gd name="T62" fmla="*/ 312 w 462"/>
                <a:gd name="T63" fmla="*/ 66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2" h="691">
                  <a:moveTo>
                    <a:pt x="312" y="660"/>
                  </a:moveTo>
                  <a:lnTo>
                    <a:pt x="312" y="660"/>
                  </a:lnTo>
                  <a:cubicBezTo>
                    <a:pt x="335" y="660"/>
                    <a:pt x="350" y="690"/>
                    <a:pt x="372" y="683"/>
                  </a:cubicBezTo>
                  <a:cubicBezTo>
                    <a:pt x="379" y="660"/>
                    <a:pt x="372" y="645"/>
                    <a:pt x="394" y="631"/>
                  </a:cubicBezTo>
                  <a:cubicBezTo>
                    <a:pt x="424" y="608"/>
                    <a:pt x="409" y="564"/>
                    <a:pt x="409" y="534"/>
                  </a:cubicBezTo>
                  <a:cubicBezTo>
                    <a:pt x="416" y="534"/>
                    <a:pt x="416" y="534"/>
                    <a:pt x="416" y="534"/>
                  </a:cubicBezTo>
                  <a:cubicBezTo>
                    <a:pt x="431" y="490"/>
                    <a:pt x="379" y="512"/>
                    <a:pt x="379" y="475"/>
                  </a:cubicBezTo>
                  <a:cubicBezTo>
                    <a:pt x="394" y="475"/>
                    <a:pt x="431" y="475"/>
                    <a:pt x="431" y="460"/>
                  </a:cubicBezTo>
                  <a:cubicBezTo>
                    <a:pt x="439" y="445"/>
                    <a:pt x="439" y="445"/>
                    <a:pt x="454" y="445"/>
                  </a:cubicBezTo>
                  <a:cubicBezTo>
                    <a:pt x="461" y="408"/>
                    <a:pt x="439" y="386"/>
                    <a:pt x="402" y="371"/>
                  </a:cubicBezTo>
                  <a:cubicBezTo>
                    <a:pt x="402" y="348"/>
                    <a:pt x="431" y="304"/>
                    <a:pt x="416" y="274"/>
                  </a:cubicBezTo>
                  <a:cubicBezTo>
                    <a:pt x="454" y="259"/>
                    <a:pt x="416" y="215"/>
                    <a:pt x="402" y="200"/>
                  </a:cubicBezTo>
                  <a:cubicBezTo>
                    <a:pt x="379" y="178"/>
                    <a:pt x="365" y="170"/>
                    <a:pt x="342" y="170"/>
                  </a:cubicBezTo>
                  <a:cubicBezTo>
                    <a:pt x="335" y="170"/>
                    <a:pt x="327" y="170"/>
                    <a:pt x="327" y="170"/>
                  </a:cubicBezTo>
                  <a:cubicBezTo>
                    <a:pt x="283" y="170"/>
                    <a:pt x="231" y="148"/>
                    <a:pt x="186" y="141"/>
                  </a:cubicBezTo>
                  <a:cubicBezTo>
                    <a:pt x="186" y="81"/>
                    <a:pt x="142" y="59"/>
                    <a:pt x="127" y="0"/>
                  </a:cubicBezTo>
                  <a:cubicBezTo>
                    <a:pt x="90" y="0"/>
                    <a:pt x="67" y="0"/>
                    <a:pt x="60" y="29"/>
                  </a:cubicBezTo>
                  <a:cubicBezTo>
                    <a:pt x="38" y="37"/>
                    <a:pt x="23" y="29"/>
                    <a:pt x="0" y="29"/>
                  </a:cubicBezTo>
                  <a:cubicBezTo>
                    <a:pt x="15" y="59"/>
                    <a:pt x="23" y="81"/>
                    <a:pt x="30" y="111"/>
                  </a:cubicBezTo>
                  <a:cubicBezTo>
                    <a:pt x="45" y="141"/>
                    <a:pt x="45" y="170"/>
                    <a:pt x="67" y="193"/>
                  </a:cubicBezTo>
                  <a:cubicBezTo>
                    <a:pt x="82" y="200"/>
                    <a:pt x="142" y="222"/>
                    <a:pt x="157" y="222"/>
                  </a:cubicBezTo>
                  <a:cubicBezTo>
                    <a:pt x="134" y="222"/>
                    <a:pt x="67" y="222"/>
                    <a:pt x="105" y="259"/>
                  </a:cubicBezTo>
                  <a:cubicBezTo>
                    <a:pt x="127" y="282"/>
                    <a:pt x="171" y="252"/>
                    <a:pt x="186" y="282"/>
                  </a:cubicBezTo>
                  <a:cubicBezTo>
                    <a:pt x="164" y="282"/>
                    <a:pt x="134" y="274"/>
                    <a:pt x="119" y="282"/>
                  </a:cubicBezTo>
                  <a:cubicBezTo>
                    <a:pt x="149" y="341"/>
                    <a:pt x="194" y="400"/>
                    <a:pt x="186" y="475"/>
                  </a:cubicBezTo>
                  <a:cubicBezTo>
                    <a:pt x="179" y="475"/>
                    <a:pt x="179" y="475"/>
                    <a:pt x="179" y="475"/>
                  </a:cubicBezTo>
                  <a:cubicBezTo>
                    <a:pt x="171" y="497"/>
                    <a:pt x="201" y="505"/>
                    <a:pt x="208" y="527"/>
                  </a:cubicBezTo>
                  <a:cubicBezTo>
                    <a:pt x="223" y="549"/>
                    <a:pt x="231" y="564"/>
                    <a:pt x="246" y="586"/>
                  </a:cubicBezTo>
                  <a:cubicBezTo>
                    <a:pt x="260" y="616"/>
                    <a:pt x="253" y="631"/>
                    <a:pt x="260" y="653"/>
                  </a:cubicBezTo>
                  <a:cubicBezTo>
                    <a:pt x="268" y="675"/>
                    <a:pt x="290" y="675"/>
                    <a:pt x="305" y="690"/>
                  </a:cubicBezTo>
                  <a:lnTo>
                    <a:pt x="312" y="690"/>
                  </a:lnTo>
                  <a:cubicBezTo>
                    <a:pt x="312" y="683"/>
                    <a:pt x="312" y="668"/>
                    <a:pt x="312" y="66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87" name="Freeform 5">
              <a:extLst>
                <a:ext uri="{FF2B5EF4-FFF2-40B4-BE49-F238E27FC236}">
                  <a16:creationId xmlns:a16="http://schemas.microsoft.com/office/drawing/2014/main" id="{9E86A79E-504A-F14F-8881-6BE3B4700053}"/>
                </a:ext>
              </a:extLst>
            </p:cNvPr>
            <p:cNvSpPr>
              <a:spLocks noChangeArrowheads="1"/>
            </p:cNvSpPr>
            <p:nvPr/>
          </p:nvSpPr>
          <p:spPr bwMode="auto">
            <a:xfrm>
              <a:off x="9523671" y="8919014"/>
              <a:ext cx="1416430" cy="2179432"/>
            </a:xfrm>
            <a:custGeom>
              <a:avLst/>
              <a:gdLst>
                <a:gd name="T0" fmla="*/ 720 w 3276"/>
                <a:gd name="T1" fmla="*/ 4158 h 5043"/>
                <a:gd name="T2" fmla="*/ 809 w 3276"/>
                <a:gd name="T3" fmla="*/ 4262 h 5043"/>
                <a:gd name="T4" fmla="*/ 891 w 3276"/>
                <a:gd name="T5" fmla="*/ 4411 h 5043"/>
                <a:gd name="T6" fmla="*/ 1262 w 3276"/>
                <a:gd name="T7" fmla="*/ 4745 h 5043"/>
                <a:gd name="T8" fmla="*/ 1500 w 3276"/>
                <a:gd name="T9" fmla="*/ 4864 h 5043"/>
                <a:gd name="T10" fmla="*/ 1730 w 3276"/>
                <a:gd name="T11" fmla="*/ 4968 h 5043"/>
                <a:gd name="T12" fmla="*/ 2050 w 3276"/>
                <a:gd name="T13" fmla="*/ 4886 h 5043"/>
                <a:gd name="T14" fmla="*/ 2398 w 3276"/>
                <a:gd name="T15" fmla="*/ 4938 h 5043"/>
                <a:gd name="T16" fmla="*/ 2629 w 3276"/>
                <a:gd name="T17" fmla="*/ 4634 h 5043"/>
                <a:gd name="T18" fmla="*/ 2525 w 3276"/>
                <a:gd name="T19" fmla="*/ 4262 h 5043"/>
                <a:gd name="T20" fmla="*/ 2941 w 3276"/>
                <a:gd name="T21" fmla="*/ 4180 h 5043"/>
                <a:gd name="T22" fmla="*/ 3067 w 3276"/>
                <a:gd name="T23" fmla="*/ 4040 h 5043"/>
                <a:gd name="T24" fmla="*/ 3253 w 3276"/>
                <a:gd name="T25" fmla="*/ 3787 h 5043"/>
                <a:gd name="T26" fmla="*/ 2993 w 3276"/>
                <a:gd name="T27" fmla="*/ 3601 h 5043"/>
                <a:gd name="T28" fmla="*/ 2933 w 3276"/>
                <a:gd name="T29" fmla="*/ 3497 h 5043"/>
                <a:gd name="T30" fmla="*/ 2822 w 3276"/>
                <a:gd name="T31" fmla="*/ 3297 h 5043"/>
                <a:gd name="T32" fmla="*/ 2673 w 3276"/>
                <a:gd name="T33" fmla="*/ 3393 h 5043"/>
                <a:gd name="T34" fmla="*/ 2473 w 3276"/>
                <a:gd name="T35" fmla="*/ 3430 h 5043"/>
                <a:gd name="T36" fmla="*/ 2131 w 3276"/>
                <a:gd name="T37" fmla="*/ 3386 h 5043"/>
                <a:gd name="T38" fmla="*/ 2064 w 3276"/>
                <a:gd name="T39" fmla="*/ 3119 h 5043"/>
                <a:gd name="T40" fmla="*/ 2406 w 3276"/>
                <a:gd name="T41" fmla="*/ 3289 h 5043"/>
                <a:gd name="T42" fmla="*/ 2465 w 3276"/>
                <a:gd name="T43" fmla="*/ 3030 h 5043"/>
                <a:gd name="T44" fmla="*/ 2361 w 3276"/>
                <a:gd name="T45" fmla="*/ 2992 h 5043"/>
                <a:gd name="T46" fmla="*/ 2109 w 3276"/>
                <a:gd name="T47" fmla="*/ 2985 h 5043"/>
                <a:gd name="T48" fmla="*/ 2101 w 3276"/>
                <a:gd name="T49" fmla="*/ 2888 h 5043"/>
                <a:gd name="T50" fmla="*/ 2042 w 3276"/>
                <a:gd name="T51" fmla="*/ 2658 h 5043"/>
                <a:gd name="T52" fmla="*/ 2191 w 3276"/>
                <a:gd name="T53" fmla="*/ 2480 h 5043"/>
                <a:gd name="T54" fmla="*/ 2198 w 3276"/>
                <a:gd name="T55" fmla="*/ 2198 h 5043"/>
                <a:gd name="T56" fmla="*/ 2599 w 3276"/>
                <a:gd name="T57" fmla="*/ 1864 h 5043"/>
                <a:gd name="T58" fmla="*/ 2421 w 3276"/>
                <a:gd name="T59" fmla="*/ 1470 h 5043"/>
                <a:gd name="T60" fmla="*/ 2569 w 3276"/>
                <a:gd name="T61" fmla="*/ 1225 h 5043"/>
                <a:gd name="T62" fmla="*/ 2614 w 3276"/>
                <a:gd name="T63" fmla="*/ 883 h 5043"/>
                <a:gd name="T64" fmla="*/ 2658 w 3276"/>
                <a:gd name="T65" fmla="*/ 601 h 5043"/>
                <a:gd name="T66" fmla="*/ 2822 w 3276"/>
                <a:gd name="T67" fmla="*/ 230 h 5043"/>
                <a:gd name="T68" fmla="*/ 2718 w 3276"/>
                <a:gd name="T69" fmla="*/ 156 h 5043"/>
                <a:gd name="T70" fmla="*/ 2495 w 3276"/>
                <a:gd name="T71" fmla="*/ 141 h 5043"/>
                <a:gd name="T72" fmla="*/ 2302 w 3276"/>
                <a:gd name="T73" fmla="*/ 334 h 5043"/>
                <a:gd name="T74" fmla="*/ 2176 w 3276"/>
                <a:gd name="T75" fmla="*/ 430 h 5043"/>
                <a:gd name="T76" fmla="*/ 1856 w 3276"/>
                <a:gd name="T77" fmla="*/ 534 h 5043"/>
                <a:gd name="T78" fmla="*/ 1760 w 3276"/>
                <a:gd name="T79" fmla="*/ 720 h 5043"/>
                <a:gd name="T80" fmla="*/ 1396 w 3276"/>
                <a:gd name="T81" fmla="*/ 616 h 5043"/>
                <a:gd name="T82" fmla="*/ 1322 w 3276"/>
                <a:gd name="T83" fmla="*/ 928 h 5043"/>
                <a:gd name="T84" fmla="*/ 1002 w 3276"/>
                <a:gd name="T85" fmla="*/ 1024 h 5043"/>
                <a:gd name="T86" fmla="*/ 676 w 3276"/>
                <a:gd name="T87" fmla="*/ 1106 h 5043"/>
                <a:gd name="T88" fmla="*/ 356 w 3276"/>
                <a:gd name="T89" fmla="*/ 1173 h 5043"/>
                <a:gd name="T90" fmla="*/ 260 w 3276"/>
                <a:gd name="T91" fmla="*/ 1411 h 5043"/>
                <a:gd name="T92" fmla="*/ 289 w 3276"/>
                <a:gd name="T93" fmla="*/ 1730 h 5043"/>
                <a:gd name="T94" fmla="*/ 89 w 3276"/>
                <a:gd name="T95" fmla="*/ 1886 h 5043"/>
                <a:gd name="T96" fmla="*/ 200 w 3276"/>
                <a:gd name="T97" fmla="*/ 1997 h 5043"/>
                <a:gd name="T98" fmla="*/ 200 w 3276"/>
                <a:gd name="T99" fmla="*/ 2257 h 5043"/>
                <a:gd name="T100" fmla="*/ 96 w 3276"/>
                <a:gd name="T101" fmla="*/ 2413 h 5043"/>
                <a:gd name="T102" fmla="*/ 104 w 3276"/>
                <a:gd name="T103" fmla="*/ 2487 h 5043"/>
                <a:gd name="T104" fmla="*/ 260 w 3276"/>
                <a:gd name="T105" fmla="*/ 2688 h 5043"/>
                <a:gd name="T106" fmla="*/ 275 w 3276"/>
                <a:gd name="T107" fmla="*/ 2851 h 5043"/>
                <a:gd name="T108" fmla="*/ 394 w 3276"/>
                <a:gd name="T109" fmla="*/ 3170 h 5043"/>
                <a:gd name="T110" fmla="*/ 379 w 3276"/>
                <a:gd name="T111" fmla="*/ 3505 h 5043"/>
                <a:gd name="T112" fmla="*/ 468 w 3276"/>
                <a:gd name="T113" fmla="*/ 3750 h 5043"/>
                <a:gd name="T114" fmla="*/ 616 w 3276"/>
                <a:gd name="T115" fmla="*/ 4114 h 50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76" h="5043">
                  <a:moveTo>
                    <a:pt x="616" y="4114"/>
                  </a:moveTo>
                  <a:lnTo>
                    <a:pt x="616" y="4114"/>
                  </a:lnTo>
                  <a:cubicBezTo>
                    <a:pt x="639" y="4106"/>
                    <a:pt x="668" y="4143"/>
                    <a:pt x="639" y="4151"/>
                  </a:cubicBezTo>
                  <a:cubicBezTo>
                    <a:pt x="646" y="4166"/>
                    <a:pt x="654" y="4180"/>
                    <a:pt x="668" y="4173"/>
                  </a:cubicBezTo>
                  <a:cubicBezTo>
                    <a:pt x="676" y="4143"/>
                    <a:pt x="691" y="4136"/>
                    <a:pt x="720" y="4158"/>
                  </a:cubicBezTo>
                  <a:cubicBezTo>
                    <a:pt x="757" y="4180"/>
                    <a:pt x="720" y="4188"/>
                    <a:pt x="728" y="4210"/>
                  </a:cubicBezTo>
                  <a:cubicBezTo>
                    <a:pt x="743" y="4210"/>
                    <a:pt x="757" y="4210"/>
                    <a:pt x="772" y="4218"/>
                  </a:cubicBezTo>
                  <a:cubicBezTo>
                    <a:pt x="772" y="4225"/>
                    <a:pt x="765" y="4240"/>
                    <a:pt x="772" y="4247"/>
                  </a:cubicBezTo>
                  <a:cubicBezTo>
                    <a:pt x="772" y="4240"/>
                    <a:pt x="809" y="4210"/>
                    <a:pt x="817" y="4210"/>
                  </a:cubicBezTo>
                  <a:cubicBezTo>
                    <a:pt x="817" y="4225"/>
                    <a:pt x="817" y="4247"/>
                    <a:pt x="809" y="4262"/>
                  </a:cubicBezTo>
                  <a:cubicBezTo>
                    <a:pt x="839" y="4270"/>
                    <a:pt x="839" y="4292"/>
                    <a:pt x="854" y="4314"/>
                  </a:cubicBezTo>
                  <a:cubicBezTo>
                    <a:pt x="861" y="4314"/>
                    <a:pt x="869" y="4314"/>
                    <a:pt x="876" y="4314"/>
                  </a:cubicBezTo>
                  <a:cubicBezTo>
                    <a:pt x="876" y="4292"/>
                    <a:pt x="921" y="4292"/>
                    <a:pt x="913" y="4322"/>
                  </a:cubicBezTo>
                  <a:cubicBezTo>
                    <a:pt x="899" y="4337"/>
                    <a:pt x="876" y="4344"/>
                    <a:pt x="876" y="4366"/>
                  </a:cubicBezTo>
                  <a:cubicBezTo>
                    <a:pt x="876" y="4381"/>
                    <a:pt x="891" y="4388"/>
                    <a:pt x="891" y="4411"/>
                  </a:cubicBezTo>
                  <a:cubicBezTo>
                    <a:pt x="891" y="4455"/>
                    <a:pt x="906" y="4448"/>
                    <a:pt x="951" y="4463"/>
                  </a:cubicBezTo>
                  <a:cubicBezTo>
                    <a:pt x="980" y="4470"/>
                    <a:pt x="1017" y="4537"/>
                    <a:pt x="1010" y="4567"/>
                  </a:cubicBezTo>
                  <a:cubicBezTo>
                    <a:pt x="1047" y="4567"/>
                    <a:pt x="1069" y="4604"/>
                    <a:pt x="1091" y="4619"/>
                  </a:cubicBezTo>
                  <a:cubicBezTo>
                    <a:pt x="1121" y="4641"/>
                    <a:pt x="1188" y="4626"/>
                    <a:pt x="1196" y="4663"/>
                  </a:cubicBezTo>
                  <a:cubicBezTo>
                    <a:pt x="1203" y="4708"/>
                    <a:pt x="1210" y="4730"/>
                    <a:pt x="1262" y="4745"/>
                  </a:cubicBezTo>
                  <a:cubicBezTo>
                    <a:pt x="1277" y="4752"/>
                    <a:pt x="1299" y="4752"/>
                    <a:pt x="1322" y="4752"/>
                  </a:cubicBezTo>
                  <a:cubicBezTo>
                    <a:pt x="1344" y="4752"/>
                    <a:pt x="1381" y="4730"/>
                    <a:pt x="1403" y="4737"/>
                  </a:cubicBezTo>
                  <a:cubicBezTo>
                    <a:pt x="1403" y="4760"/>
                    <a:pt x="1403" y="4782"/>
                    <a:pt x="1403" y="4804"/>
                  </a:cubicBezTo>
                  <a:cubicBezTo>
                    <a:pt x="1426" y="4804"/>
                    <a:pt x="1463" y="4797"/>
                    <a:pt x="1478" y="4819"/>
                  </a:cubicBezTo>
                  <a:cubicBezTo>
                    <a:pt x="1485" y="4827"/>
                    <a:pt x="1485" y="4864"/>
                    <a:pt x="1500" y="4864"/>
                  </a:cubicBezTo>
                  <a:cubicBezTo>
                    <a:pt x="1500" y="4856"/>
                    <a:pt x="1500" y="4856"/>
                    <a:pt x="1500" y="4856"/>
                  </a:cubicBezTo>
                  <a:cubicBezTo>
                    <a:pt x="1530" y="4849"/>
                    <a:pt x="1545" y="4893"/>
                    <a:pt x="1567" y="4908"/>
                  </a:cubicBezTo>
                  <a:cubicBezTo>
                    <a:pt x="1596" y="4916"/>
                    <a:pt x="1634" y="4901"/>
                    <a:pt x="1648" y="4931"/>
                  </a:cubicBezTo>
                  <a:cubicBezTo>
                    <a:pt x="1648" y="4938"/>
                    <a:pt x="1648" y="4945"/>
                    <a:pt x="1648" y="4968"/>
                  </a:cubicBezTo>
                  <a:cubicBezTo>
                    <a:pt x="1671" y="4960"/>
                    <a:pt x="1708" y="4953"/>
                    <a:pt x="1730" y="4968"/>
                  </a:cubicBezTo>
                  <a:cubicBezTo>
                    <a:pt x="1738" y="4975"/>
                    <a:pt x="1745" y="5034"/>
                    <a:pt x="1738" y="5034"/>
                  </a:cubicBezTo>
                  <a:cubicBezTo>
                    <a:pt x="1760" y="5042"/>
                    <a:pt x="1782" y="5027"/>
                    <a:pt x="1797" y="5020"/>
                  </a:cubicBezTo>
                  <a:cubicBezTo>
                    <a:pt x="1827" y="5020"/>
                    <a:pt x="1856" y="5020"/>
                    <a:pt x="1879" y="5027"/>
                  </a:cubicBezTo>
                  <a:cubicBezTo>
                    <a:pt x="1946" y="5034"/>
                    <a:pt x="1946" y="5020"/>
                    <a:pt x="1960" y="4968"/>
                  </a:cubicBezTo>
                  <a:cubicBezTo>
                    <a:pt x="1968" y="4923"/>
                    <a:pt x="2005" y="4893"/>
                    <a:pt x="2050" y="4886"/>
                  </a:cubicBezTo>
                  <a:cubicBezTo>
                    <a:pt x="2072" y="4886"/>
                    <a:pt x="2094" y="4879"/>
                    <a:pt x="2116" y="4893"/>
                  </a:cubicBezTo>
                  <a:cubicBezTo>
                    <a:pt x="2124" y="4908"/>
                    <a:pt x="2131" y="4938"/>
                    <a:pt x="2153" y="4931"/>
                  </a:cubicBezTo>
                  <a:cubicBezTo>
                    <a:pt x="2161" y="4923"/>
                    <a:pt x="2161" y="4908"/>
                    <a:pt x="2161" y="4901"/>
                  </a:cubicBezTo>
                  <a:cubicBezTo>
                    <a:pt x="2205" y="4886"/>
                    <a:pt x="2243" y="4893"/>
                    <a:pt x="2287" y="4908"/>
                  </a:cubicBezTo>
                  <a:cubicBezTo>
                    <a:pt x="2317" y="4908"/>
                    <a:pt x="2369" y="4938"/>
                    <a:pt x="2398" y="4938"/>
                  </a:cubicBezTo>
                  <a:cubicBezTo>
                    <a:pt x="2406" y="4901"/>
                    <a:pt x="2406" y="4856"/>
                    <a:pt x="2436" y="4827"/>
                  </a:cubicBezTo>
                  <a:cubicBezTo>
                    <a:pt x="2473" y="4789"/>
                    <a:pt x="2532" y="4804"/>
                    <a:pt x="2577" y="4804"/>
                  </a:cubicBezTo>
                  <a:cubicBezTo>
                    <a:pt x="2577" y="4782"/>
                    <a:pt x="2577" y="4760"/>
                    <a:pt x="2599" y="4745"/>
                  </a:cubicBezTo>
                  <a:cubicBezTo>
                    <a:pt x="2606" y="4737"/>
                    <a:pt x="2621" y="4737"/>
                    <a:pt x="2621" y="4722"/>
                  </a:cubicBezTo>
                  <a:cubicBezTo>
                    <a:pt x="2629" y="4693"/>
                    <a:pt x="2636" y="4663"/>
                    <a:pt x="2629" y="4634"/>
                  </a:cubicBezTo>
                  <a:cubicBezTo>
                    <a:pt x="2606" y="4574"/>
                    <a:pt x="2465" y="4619"/>
                    <a:pt x="2428" y="4574"/>
                  </a:cubicBezTo>
                  <a:cubicBezTo>
                    <a:pt x="2450" y="4552"/>
                    <a:pt x="2503" y="4522"/>
                    <a:pt x="2525" y="4500"/>
                  </a:cubicBezTo>
                  <a:cubicBezTo>
                    <a:pt x="2547" y="4470"/>
                    <a:pt x="2540" y="4426"/>
                    <a:pt x="2540" y="4381"/>
                  </a:cubicBezTo>
                  <a:cubicBezTo>
                    <a:pt x="2532" y="4388"/>
                    <a:pt x="2525" y="4381"/>
                    <a:pt x="2517" y="4381"/>
                  </a:cubicBezTo>
                  <a:cubicBezTo>
                    <a:pt x="2532" y="4351"/>
                    <a:pt x="2525" y="4299"/>
                    <a:pt x="2525" y="4262"/>
                  </a:cubicBezTo>
                  <a:cubicBezTo>
                    <a:pt x="2562" y="4262"/>
                    <a:pt x="2644" y="4277"/>
                    <a:pt x="2666" y="4232"/>
                  </a:cubicBezTo>
                  <a:cubicBezTo>
                    <a:pt x="2681" y="4203"/>
                    <a:pt x="2681" y="4166"/>
                    <a:pt x="2688" y="4129"/>
                  </a:cubicBezTo>
                  <a:cubicBezTo>
                    <a:pt x="2695" y="4099"/>
                    <a:pt x="2785" y="4121"/>
                    <a:pt x="2800" y="4143"/>
                  </a:cubicBezTo>
                  <a:cubicBezTo>
                    <a:pt x="2844" y="4203"/>
                    <a:pt x="2844" y="4114"/>
                    <a:pt x="2889" y="4129"/>
                  </a:cubicBezTo>
                  <a:cubicBezTo>
                    <a:pt x="2911" y="4143"/>
                    <a:pt x="2918" y="4166"/>
                    <a:pt x="2941" y="4180"/>
                  </a:cubicBezTo>
                  <a:cubicBezTo>
                    <a:pt x="2955" y="4188"/>
                    <a:pt x="2978" y="4188"/>
                    <a:pt x="3000" y="4195"/>
                  </a:cubicBezTo>
                  <a:cubicBezTo>
                    <a:pt x="3000" y="4195"/>
                    <a:pt x="3000" y="4203"/>
                    <a:pt x="3008" y="4203"/>
                  </a:cubicBezTo>
                  <a:cubicBezTo>
                    <a:pt x="3015" y="4173"/>
                    <a:pt x="3022" y="4136"/>
                    <a:pt x="3037" y="4129"/>
                  </a:cubicBezTo>
                  <a:cubicBezTo>
                    <a:pt x="3052" y="4121"/>
                    <a:pt x="3104" y="4121"/>
                    <a:pt x="3097" y="4091"/>
                  </a:cubicBezTo>
                  <a:cubicBezTo>
                    <a:pt x="3060" y="4091"/>
                    <a:pt x="3015" y="4047"/>
                    <a:pt x="3067" y="4040"/>
                  </a:cubicBezTo>
                  <a:cubicBezTo>
                    <a:pt x="3111" y="4040"/>
                    <a:pt x="3119" y="4114"/>
                    <a:pt x="3156" y="4114"/>
                  </a:cubicBezTo>
                  <a:cubicBezTo>
                    <a:pt x="3200" y="4114"/>
                    <a:pt x="3163" y="4025"/>
                    <a:pt x="3163" y="4002"/>
                  </a:cubicBezTo>
                  <a:cubicBezTo>
                    <a:pt x="3171" y="3965"/>
                    <a:pt x="3193" y="3965"/>
                    <a:pt x="3230" y="3965"/>
                  </a:cubicBezTo>
                  <a:cubicBezTo>
                    <a:pt x="3230" y="3950"/>
                    <a:pt x="3223" y="3913"/>
                    <a:pt x="3245" y="3913"/>
                  </a:cubicBezTo>
                  <a:cubicBezTo>
                    <a:pt x="3253" y="3891"/>
                    <a:pt x="3275" y="3802"/>
                    <a:pt x="3253" y="3787"/>
                  </a:cubicBezTo>
                  <a:cubicBezTo>
                    <a:pt x="3215" y="3765"/>
                    <a:pt x="3163" y="3780"/>
                    <a:pt x="3126" y="3780"/>
                  </a:cubicBezTo>
                  <a:cubicBezTo>
                    <a:pt x="3126" y="3765"/>
                    <a:pt x="3119" y="3750"/>
                    <a:pt x="3111" y="3735"/>
                  </a:cubicBezTo>
                  <a:cubicBezTo>
                    <a:pt x="3111" y="3713"/>
                    <a:pt x="3111" y="3690"/>
                    <a:pt x="3119" y="3668"/>
                  </a:cubicBezTo>
                  <a:cubicBezTo>
                    <a:pt x="3119" y="3646"/>
                    <a:pt x="3134" y="3594"/>
                    <a:pt x="3111" y="3579"/>
                  </a:cubicBezTo>
                  <a:cubicBezTo>
                    <a:pt x="3089" y="3564"/>
                    <a:pt x="2993" y="3564"/>
                    <a:pt x="2993" y="3601"/>
                  </a:cubicBezTo>
                  <a:cubicBezTo>
                    <a:pt x="2985" y="3601"/>
                    <a:pt x="2985" y="3601"/>
                    <a:pt x="2978" y="3601"/>
                  </a:cubicBezTo>
                  <a:cubicBezTo>
                    <a:pt x="2978" y="3572"/>
                    <a:pt x="2985" y="3557"/>
                    <a:pt x="2985" y="3535"/>
                  </a:cubicBezTo>
                  <a:cubicBezTo>
                    <a:pt x="2978" y="3527"/>
                    <a:pt x="2970" y="3527"/>
                    <a:pt x="2963" y="3520"/>
                  </a:cubicBezTo>
                  <a:cubicBezTo>
                    <a:pt x="2941" y="3512"/>
                    <a:pt x="2933" y="3527"/>
                    <a:pt x="2911" y="3520"/>
                  </a:cubicBezTo>
                  <a:cubicBezTo>
                    <a:pt x="2889" y="3497"/>
                    <a:pt x="2911" y="3497"/>
                    <a:pt x="2933" y="3497"/>
                  </a:cubicBezTo>
                  <a:cubicBezTo>
                    <a:pt x="2941" y="3468"/>
                    <a:pt x="2963" y="3378"/>
                    <a:pt x="2926" y="3364"/>
                  </a:cubicBezTo>
                  <a:cubicBezTo>
                    <a:pt x="2903" y="3356"/>
                    <a:pt x="2844" y="3356"/>
                    <a:pt x="2851" y="3386"/>
                  </a:cubicBezTo>
                  <a:cubicBezTo>
                    <a:pt x="2844" y="3386"/>
                    <a:pt x="2829" y="3386"/>
                    <a:pt x="2829" y="3386"/>
                  </a:cubicBezTo>
                  <a:cubicBezTo>
                    <a:pt x="2822" y="3349"/>
                    <a:pt x="2851" y="3334"/>
                    <a:pt x="2851" y="3297"/>
                  </a:cubicBezTo>
                  <a:cubicBezTo>
                    <a:pt x="2844" y="3297"/>
                    <a:pt x="2829" y="3297"/>
                    <a:pt x="2822" y="3297"/>
                  </a:cubicBezTo>
                  <a:cubicBezTo>
                    <a:pt x="2822" y="3304"/>
                    <a:pt x="2822" y="3319"/>
                    <a:pt x="2822" y="3327"/>
                  </a:cubicBezTo>
                  <a:cubicBezTo>
                    <a:pt x="2814" y="3327"/>
                    <a:pt x="2807" y="3327"/>
                    <a:pt x="2800" y="3327"/>
                  </a:cubicBezTo>
                  <a:cubicBezTo>
                    <a:pt x="2800" y="3297"/>
                    <a:pt x="2740" y="3304"/>
                    <a:pt x="2718" y="3304"/>
                  </a:cubicBezTo>
                  <a:cubicBezTo>
                    <a:pt x="2733" y="3319"/>
                    <a:pt x="2725" y="3334"/>
                    <a:pt x="2725" y="3349"/>
                  </a:cubicBezTo>
                  <a:cubicBezTo>
                    <a:pt x="2703" y="3356"/>
                    <a:pt x="2688" y="3371"/>
                    <a:pt x="2673" y="3393"/>
                  </a:cubicBezTo>
                  <a:cubicBezTo>
                    <a:pt x="2658" y="3408"/>
                    <a:pt x="2629" y="3408"/>
                    <a:pt x="2606" y="3408"/>
                  </a:cubicBezTo>
                  <a:cubicBezTo>
                    <a:pt x="2606" y="3416"/>
                    <a:pt x="2606" y="3416"/>
                    <a:pt x="2606" y="3423"/>
                  </a:cubicBezTo>
                  <a:cubicBezTo>
                    <a:pt x="2569" y="3423"/>
                    <a:pt x="2525" y="3423"/>
                    <a:pt x="2488" y="3423"/>
                  </a:cubicBezTo>
                  <a:cubicBezTo>
                    <a:pt x="2488" y="3430"/>
                    <a:pt x="2488" y="3453"/>
                    <a:pt x="2473" y="3453"/>
                  </a:cubicBezTo>
                  <a:cubicBezTo>
                    <a:pt x="2473" y="3453"/>
                    <a:pt x="2465" y="3438"/>
                    <a:pt x="2473" y="3430"/>
                  </a:cubicBezTo>
                  <a:cubicBezTo>
                    <a:pt x="2428" y="3430"/>
                    <a:pt x="2436" y="3386"/>
                    <a:pt x="2436" y="3349"/>
                  </a:cubicBezTo>
                  <a:cubicBezTo>
                    <a:pt x="2398" y="3349"/>
                    <a:pt x="2332" y="3349"/>
                    <a:pt x="2302" y="3327"/>
                  </a:cubicBezTo>
                  <a:cubicBezTo>
                    <a:pt x="2280" y="3312"/>
                    <a:pt x="2272" y="3282"/>
                    <a:pt x="2235" y="3289"/>
                  </a:cubicBezTo>
                  <a:cubicBezTo>
                    <a:pt x="2235" y="3304"/>
                    <a:pt x="2250" y="3393"/>
                    <a:pt x="2228" y="3393"/>
                  </a:cubicBezTo>
                  <a:cubicBezTo>
                    <a:pt x="2198" y="3401"/>
                    <a:pt x="2161" y="3393"/>
                    <a:pt x="2131" y="3386"/>
                  </a:cubicBezTo>
                  <a:cubicBezTo>
                    <a:pt x="2124" y="3364"/>
                    <a:pt x="2139" y="3334"/>
                    <a:pt x="2146" y="3312"/>
                  </a:cubicBezTo>
                  <a:cubicBezTo>
                    <a:pt x="2198" y="3312"/>
                    <a:pt x="2198" y="3260"/>
                    <a:pt x="2168" y="3230"/>
                  </a:cubicBezTo>
                  <a:cubicBezTo>
                    <a:pt x="2153" y="3215"/>
                    <a:pt x="2139" y="3215"/>
                    <a:pt x="2131" y="3208"/>
                  </a:cubicBezTo>
                  <a:cubicBezTo>
                    <a:pt x="2109" y="3193"/>
                    <a:pt x="2131" y="3163"/>
                    <a:pt x="2131" y="3141"/>
                  </a:cubicBezTo>
                  <a:cubicBezTo>
                    <a:pt x="2109" y="3141"/>
                    <a:pt x="2087" y="3119"/>
                    <a:pt x="2064" y="3119"/>
                  </a:cubicBezTo>
                  <a:cubicBezTo>
                    <a:pt x="2064" y="3104"/>
                    <a:pt x="2064" y="3096"/>
                    <a:pt x="2072" y="3089"/>
                  </a:cubicBezTo>
                  <a:cubicBezTo>
                    <a:pt x="2124" y="3089"/>
                    <a:pt x="2161" y="3119"/>
                    <a:pt x="2176" y="3170"/>
                  </a:cubicBezTo>
                  <a:cubicBezTo>
                    <a:pt x="2191" y="3215"/>
                    <a:pt x="2250" y="3185"/>
                    <a:pt x="2250" y="3252"/>
                  </a:cubicBezTo>
                  <a:cubicBezTo>
                    <a:pt x="2265" y="3252"/>
                    <a:pt x="2280" y="3245"/>
                    <a:pt x="2280" y="3230"/>
                  </a:cubicBezTo>
                  <a:cubicBezTo>
                    <a:pt x="2339" y="3223"/>
                    <a:pt x="2376" y="3238"/>
                    <a:pt x="2406" y="3289"/>
                  </a:cubicBezTo>
                  <a:cubicBezTo>
                    <a:pt x="2428" y="3356"/>
                    <a:pt x="2503" y="3267"/>
                    <a:pt x="2443" y="3252"/>
                  </a:cubicBezTo>
                  <a:cubicBezTo>
                    <a:pt x="2398" y="3238"/>
                    <a:pt x="2391" y="3170"/>
                    <a:pt x="2421" y="3141"/>
                  </a:cubicBezTo>
                  <a:cubicBezTo>
                    <a:pt x="2443" y="3119"/>
                    <a:pt x="2532" y="3156"/>
                    <a:pt x="2517" y="3104"/>
                  </a:cubicBezTo>
                  <a:cubicBezTo>
                    <a:pt x="2495" y="3104"/>
                    <a:pt x="2480" y="3081"/>
                    <a:pt x="2473" y="3059"/>
                  </a:cubicBezTo>
                  <a:cubicBezTo>
                    <a:pt x="2473" y="3052"/>
                    <a:pt x="2465" y="3044"/>
                    <a:pt x="2465" y="3030"/>
                  </a:cubicBezTo>
                  <a:cubicBezTo>
                    <a:pt x="2458" y="3000"/>
                    <a:pt x="2443" y="3015"/>
                    <a:pt x="2428" y="3000"/>
                  </a:cubicBezTo>
                  <a:cubicBezTo>
                    <a:pt x="2428" y="3015"/>
                    <a:pt x="2443" y="3074"/>
                    <a:pt x="2443" y="3081"/>
                  </a:cubicBezTo>
                  <a:cubicBezTo>
                    <a:pt x="2436" y="3096"/>
                    <a:pt x="2398" y="3052"/>
                    <a:pt x="2376" y="3052"/>
                  </a:cubicBezTo>
                  <a:cubicBezTo>
                    <a:pt x="2376" y="3030"/>
                    <a:pt x="2369" y="3007"/>
                    <a:pt x="2369" y="2992"/>
                  </a:cubicBezTo>
                  <a:cubicBezTo>
                    <a:pt x="2369" y="2992"/>
                    <a:pt x="2369" y="2992"/>
                    <a:pt x="2361" y="2992"/>
                  </a:cubicBezTo>
                  <a:cubicBezTo>
                    <a:pt x="2354" y="3022"/>
                    <a:pt x="2317" y="3007"/>
                    <a:pt x="2295" y="3007"/>
                  </a:cubicBezTo>
                  <a:cubicBezTo>
                    <a:pt x="2243" y="2992"/>
                    <a:pt x="2243" y="3030"/>
                    <a:pt x="2235" y="3067"/>
                  </a:cubicBezTo>
                  <a:cubicBezTo>
                    <a:pt x="2220" y="3067"/>
                    <a:pt x="2213" y="3067"/>
                    <a:pt x="2198" y="3067"/>
                  </a:cubicBezTo>
                  <a:cubicBezTo>
                    <a:pt x="2191" y="3044"/>
                    <a:pt x="2153" y="3059"/>
                    <a:pt x="2131" y="3052"/>
                  </a:cubicBezTo>
                  <a:cubicBezTo>
                    <a:pt x="2094" y="3052"/>
                    <a:pt x="2109" y="3007"/>
                    <a:pt x="2109" y="2985"/>
                  </a:cubicBezTo>
                  <a:cubicBezTo>
                    <a:pt x="2079" y="2985"/>
                    <a:pt x="2079" y="2963"/>
                    <a:pt x="2079" y="2948"/>
                  </a:cubicBezTo>
                  <a:lnTo>
                    <a:pt x="2087" y="2948"/>
                  </a:lnTo>
                  <a:cubicBezTo>
                    <a:pt x="2094" y="2933"/>
                    <a:pt x="2094" y="2940"/>
                    <a:pt x="2101" y="2933"/>
                  </a:cubicBezTo>
                  <a:cubicBezTo>
                    <a:pt x="2101" y="2911"/>
                    <a:pt x="2116" y="2903"/>
                    <a:pt x="2139" y="2903"/>
                  </a:cubicBezTo>
                  <a:cubicBezTo>
                    <a:pt x="2146" y="2873"/>
                    <a:pt x="2116" y="2881"/>
                    <a:pt x="2101" y="2888"/>
                  </a:cubicBezTo>
                  <a:cubicBezTo>
                    <a:pt x="2072" y="2888"/>
                    <a:pt x="2064" y="2859"/>
                    <a:pt x="2035" y="2851"/>
                  </a:cubicBezTo>
                  <a:cubicBezTo>
                    <a:pt x="2042" y="2829"/>
                    <a:pt x="2027" y="2829"/>
                    <a:pt x="2012" y="2814"/>
                  </a:cubicBezTo>
                  <a:cubicBezTo>
                    <a:pt x="1998" y="2799"/>
                    <a:pt x="1998" y="2770"/>
                    <a:pt x="1998" y="2747"/>
                  </a:cubicBezTo>
                  <a:cubicBezTo>
                    <a:pt x="2005" y="2740"/>
                    <a:pt x="2020" y="2666"/>
                    <a:pt x="2020" y="2666"/>
                  </a:cubicBezTo>
                  <a:cubicBezTo>
                    <a:pt x="2027" y="2666"/>
                    <a:pt x="2035" y="2658"/>
                    <a:pt x="2042" y="2658"/>
                  </a:cubicBezTo>
                  <a:cubicBezTo>
                    <a:pt x="2050" y="2614"/>
                    <a:pt x="2057" y="2569"/>
                    <a:pt x="2064" y="2517"/>
                  </a:cubicBezTo>
                  <a:cubicBezTo>
                    <a:pt x="2012" y="2517"/>
                    <a:pt x="2005" y="2502"/>
                    <a:pt x="2012" y="2458"/>
                  </a:cubicBezTo>
                  <a:cubicBezTo>
                    <a:pt x="2027" y="2458"/>
                    <a:pt x="2027" y="2435"/>
                    <a:pt x="2035" y="2421"/>
                  </a:cubicBezTo>
                  <a:cubicBezTo>
                    <a:pt x="2057" y="2443"/>
                    <a:pt x="2072" y="2495"/>
                    <a:pt x="2109" y="2487"/>
                  </a:cubicBezTo>
                  <a:cubicBezTo>
                    <a:pt x="2139" y="2487"/>
                    <a:pt x="2168" y="2473"/>
                    <a:pt x="2191" y="2480"/>
                  </a:cubicBezTo>
                  <a:cubicBezTo>
                    <a:pt x="2228" y="2487"/>
                    <a:pt x="2243" y="2510"/>
                    <a:pt x="2265" y="2473"/>
                  </a:cubicBezTo>
                  <a:cubicBezTo>
                    <a:pt x="2287" y="2443"/>
                    <a:pt x="2324" y="2435"/>
                    <a:pt x="2309" y="2391"/>
                  </a:cubicBezTo>
                  <a:cubicBezTo>
                    <a:pt x="2309" y="2383"/>
                    <a:pt x="2287" y="2383"/>
                    <a:pt x="2287" y="2376"/>
                  </a:cubicBezTo>
                  <a:cubicBezTo>
                    <a:pt x="2272" y="2361"/>
                    <a:pt x="2280" y="2324"/>
                    <a:pt x="2280" y="2302"/>
                  </a:cubicBezTo>
                  <a:cubicBezTo>
                    <a:pt x="2280" y="2257"/>
                    <a:pt x="2220" y="2228"/>
                    <a:pt x="2198" y="2198"/>
                  </a:cubicBezTo>
                  <a:cubicBezTo>
                    <a:pt x="2168" y="2176"/>
                    <a:pt x="2228" y="2153"/>
                    <a:pt x="2228" y="2116"/>
                  </a:cubicBezTo>
                  <a:cubicBezTo>
                    <a:pt x="2235" y="2071"/>
                    <a:pt x="2235" y="2049"/>
                    <a:pt x="2287" y="2049"/>
                  </a:cubicBezTo>
                  <a:cubicBezTo>
                    <a:pt x="2287" y="2034"/>
                    <a:pt x="2287" y="2020"/>
                    <a:pt x="2280" y="2005"/>
                  </a:cubicBezTo>
                  <a:cubicBezTo>
                    <a:pt x="2243" y="1990"/>
                    <a:pt x="2243" y="1945"/>
                    <a:pt x="2250" y="1908"/>
                  </a:cubicBezTo>
                  <a:cubicBezTo>
                    <a:pt x="2295" y="1767"/>
                    <a:pt x="2495" y="1864"/>
                    <a:pt x="2599" y="1864"/>
                  </a:cubicBezTo>
                  <a:cubicBezTo>
                    <a:pt x="2606" y="1789"/>
                    <a:pt x="2569" y="1648"/>
                    <a:pt x="2621" y="1581"/>
                  </a:cubicBezTo>
                  <a:cubicBezTo>
                    <a:pt x="2658" y="1581"/>
                    <a:pt x="2688" y="1589"/>
                    <a:pt x="2688" y="1537"/>
                  </a:cubicBezTo>
                  <a:cubicBezTo>
                    <a:pt x="2673" y="1537"/>
                    <a:pt x="2666" y="1537"/>
                    <a:pt x="2651" y="1537"/>
                  </a:cubicBezTo>
                  <a:cubicBezTo>
                    <a:pt x="2644" y="1507"/>
                    <a:pt x="2584" y="1515"/>
                    <a:pt x="2562" y="1507"/>
                  </a:cubicBezTo>
                  <a:cubicBezTo>
                    <a:pt x="2510" y="1507"/>
                    <a:pt x="2473" y="1470"/>
                    <a:pt x="2421" y="1470"/>
                  </a:cubicBezTo>
                  <a:cubicBezTo>
                    <a:pt x="2406" y="1403"/>
                    <a:pt x="2495" y="1440"/>
                    <a:pt x="2532" y="1426"/>
                  </a:cubicBezTo>
                  <a:cubicBezTo>
                    <a:pt x="2540" y="1403"/>
                    <a:pt x="2562" y="1374"/>
                    <a:pt x="2584" y="1374"/>
                  </a:cubicBezTo>
                  <a:cubicBezTo>
                    <a:pt x="2584" y="1359"/>
                    <a:pt x="2584" y="1344"/>
                    <a:pt x="2599" y="1336"/>
                  </a:cubicBezTo>
                  <a:cubicBezTo>
                    <a:pt x="2599" y="1321"/>
                    <a:pt x="2592" y="1307"/>
                    <a:pt x="2569" y="1307"/>
                  </a:cubicBezTo>
                  <a:cubicBezTo>
                    <a:pt x="2584" y="1277"/>
                    <a:pt x="2562" y="1247"/>
                    <a:pt x="2569" y="1225"/>
                  </a:cubicBezTo>
                  <a:cubicBezTo>
                    <a:pt x="2584" y="1225"/>
                    <a:pt x="2592" y="1225"/>
                    <a:pt x="2606" y="1225"/>
                  </a:cubicBezTo>
                  <a:cubicBezTo>
                    <a:pt x="2614" y="1188"/>
                    <a:pt x="2569" y="1166"/>
                    <a:pt x="2592" y="1129"/>
                  </a:cubicBezTo>
                  <a:cubicBezTo>
                    <a:pt x="2621" y="1084"/>
                    <a:pt x="2621" y="1047"/>
                    <a:pt x="2629" y="1002"/>
                  </a:cubicBezTo>
                  <a:cubicBezTo>
                    <a:pt x="2644" y="950"/>
                    <a:pt x="2614" y="965"/>
                    <a:pt x="2584" y="950"/>
                  </a:cubicBezTo>
                  <a:cubicBezTo>
                    <a:pt x="2540" y="921"/>
                    <a:pt x="2584" y="876"/>
                    <a:pt x="2614" y="883"/>
                  </a:cubicBezTo>
                  <a:cubicBezTo>
                    <a:pt x="2629" y="802"/>
                    <a:pt x="2740" y="720"/>
                    <a:pt x="2814" y="713"/>
                  </a:cubicBezTo>
                  <a:cubicBezTo>
                    <a:pt x="2829" y="675"/>
                    <a:pt x="2763" y="675"/>
                    <a:pt x="2740" y="668"/>
                  </a:cubicBezTo>
                  <a:cubicBezTo>
                    <a:pt x="2718" y="668"/>
                    <a:pt x="2695" y="675"/>
                    <a:pt x="2673" y="668"/>
                  </a:cubicBezTo>
                  <a:cubicBezTo>
                    <a:pt x="2644" y="668"/>
                    <a:pt x="2636" y="646"/>
                    <a:pt x="2606" y="638"/>
                  </a:cubicBezTo>
                  <a:cubicBezTo>
                    <a:pt x="2599" y="601"/>
                    <a:pt x="2629" y="601"/>
                    <a:pt x="2658" y="601"/>
                  </a:cubicBezTo>
                  <a:cubicBezTo>
                    <a:pt x="2666" y="557"/>
                    <a:pt x="2666" y="542"/>
                    <a:pt x="2710" y="542"/>
                  </a:cubicBezTo>
                  <a:cubicBezTo>
                    <a:pt x="2710" y="527"/>
                    <a:pt x="2710" y="505"/>
                    <a:pt x="2710" y="482"/>
                  </a:cubicBezTo>
                  <a:cubicBezTo>
                    <a:pt x="2740" y="490"/>
                    <a:pt x="2800" y="438"/>
                    <a:pt x="2807" y="408"/>
                  </a:cubicBezTo>
                  <a:cubicBezTo>
                    <a:pt x="2814" y="371"/>
                    <a:pt x="2755" y="282"/>
                    <a:pt x="2814" y="282"/>
                  </a:cubicBezTo>
                  <a:cubicBezTo>
                    <a:pt x="2822" y="267"/>
                    <a:pt x="2822" y="245"/>
                    <a:pt x="2822" y="230"/>
                  </a:cubicBezTo>
                  <a:cubicBezTo>
                    <a:pt x="2800" y="230"/>
                    <a:pt x="2807" y="178"/>
                    <a:pt x="2807" y="163"/>
                  </a:cubicBezTo>
                  <a:cubicBezTo>
                    <a:pt x="2814" y="163"/>
                    <a:pt x="2822" y="163"/>
                    <a:pt x="2829" y="163"/>
                  </a:cubicBezTo>
                  <a:cubicBezTo>
                    <a:pt x="2829" y="163"/>
                    <a:pt x="2822" y="119"/>
                    <a:pt x="2822" y="111"/>
                  </a:cubicBezTo>
                  <a:cubicBezTo>
                    <a:pt x="2822" y="111"/>
                    <a:pt x="2755" y="96"/>
                    <a:pt x="2725" y="104"/>
                  </a:cubicBezTo>
                  <a:cubicBezTo>
                    <a:pt x="2725" y="119"/>
                    <a:pt x="2718" y="148"/>
                    <a:pt x="2718" y="156"/>
                  </a:cubicBezTo>
                  <a:cubicBezTo>
                    <a:pt x="2718" y="148"/>
                    <a:pt x="2725" y="119"/>
                    <a:pt x="2725" y="104"/>
                  </a:cubicBezTo>
                  <a:cubicBezTo>
                    <a:pt x="2718" y="104"/>
                    <a:pt x="2718" y="104"/>
                    <a:pt x="2710" y="104"/>
                  </a:cubicBezTo>
                  <a:cubicBezTo>
                    <a:pt x="2651" y="200"/>
                    <a:pt x="2666" y="37"/>
                    <a:pt x="2658" y="7"/>
                  </a:cubicBezTo>
                  <a:cubicBezTo>
                    <a:pt x="2599" y="0"/>
                    <a:pt x="2614" y="14"/>
                    <a:pt x="2584" y="59"/>
                  </a:cubicBezTo>
                  <a:cubicBezTo>
                    <a:pt x="2562" y="96"/>
                    <a:pt x="2517" y="104"/>
                    <a:pt x="2495" y="141"/>
                  </a:cubicBezTo>
                  <a:cubicBezTo>
                    <a:pt x="2458" y="200"/>
                    <a:pt x="2354" y="104"/>
                    <a:pt x="2324" y="200"/>
                  </a:cubicBezTo>
                  <a:cubicBezTo>
                    <a:pt x="2339" y="200"/>
                    <a:pt x="2354" y="215"/>
                    <a:pt x="2354" y="230"/>
                  </a:cubicBezTo>
                  <a:cubicBezTo>
                    <a:pt x="2354" y="267"/>
                    <a:pt x="2354" y="267"/>
                    <a:pt x="2317" y="267"/>
                  </a:cubicBezTo>
                  <a:cubicBezTo>
                    <a:pt x="2317" y="282"/>
                    <a:pt x="2324" y="304"/>
                    <a:pt x="2317" y="312"/>
                  </a:cubicBezTo>
                  <a:cubicBezTo>
                    <a:pt x="2317" y="312"/>
                    <a:pt x="2295" y="334"/>
                    <a:pt x="2302" y="334"/>
                  </a:cubicBezTo>
                  <a:cubicBezTo>
                    <a:pt x="2265" y="349"/>
                    <a:pt x="2228" y="356"/>
                    <a:pt x="2191" y="334"/>
                  </a:cubicBezTo>
                  <a:cubicBezTo>
                    <a:pt x="2191" y="327"/>
                    <a:pt x="2191" y="319"/>
                    <a:pt x="2191" y="312"/>
                  </a:cubicBezTo>
                  <a:cubicBezTo>
                    <a:pt x="2183" y="312"/>
                    <a:pt x="2183" y="312"/>
                    <a:pt x="2183" y="312"/>
                  </a:cubicBezTo>
                  <a:cubicBezTo>
                    <a:pt x="2176" y="334"/>
                    <a:pt x="2161" y="364"/>
                    <a:pt x="2183" y="378"/>
                  </a:cubicBezTo>
                  <a:cubicBezTo>
                    <a:pt x="2213" y="401"/>
                    <a:pt x="2205" y="423"/>
                    <a:pt x="2176" y="430"/>
                  </a:cubicBezTo>
                  <a:cubicBezTo>
                    <a:pt x="2131" y="445"/>
                    <a:pt x="2124" y="534"/>
                    <a:pt x="2094" y="453"/>
                  </a:cubicBezTo>
                  <a:cubicBezTo>
                    <a:pt x="2064" y="453"/>
                    <a:pt x="2042" y="438"/>
                    <a:pt x="2012" y="438"/>
                  </a:cubicBezTo>
                  <a:cubicBezTo>
                    <a:pt x="1975" y="445"/>
                    <a:pt x="1975" y="467"/>
                    <a:pt x="1953" y="490"/>
                  </a:cubicBezTo>
                  <a:cubicBezTo>
                    <a:pt x="1938" y="505"/>
                    <a:pt x="1953" y="549"/>
                    <a:pt x="1931" y="549"/>
                  </a:cubicBezTo>
                  <a:cubicBezTo>
                    <a:pt x="1901" y="549"/>
                    <a:pt x="1879" y="534"/>
                    <a:pt x="1856" y="534"/>
                  </a:cubicBezTo>
                  <a:cubicBezTo>
                    <a:pt x="1849" y="549"/>
                    <a:pt x="1856" y="564"/>
                    <a:pt x="1864" y="579"/>
                  </a:cubicBezTo>
                  <a:cubicBezTo>
                    <a:pt x="1871" y="601"/>
                    <a:pt x="1856" y="609"/>
                    <a:pt x="1849" y="631"/>
                  </a:cubicBezTo>
                  <a:cubicBezTo>
                    <a:pt x="1849" y="661"/>
                    <a:pt x="1856" y="705"/>
                    <a:pt x="1886" y="720"/>
                  </a:cubicBezTo>
                  <a:cubicBezTo>
                    <a:pt x="1886" y="735"/>
                    <a:pt x="1871" y="742"/>
                    <a:pt x="1864" y="764"/>
                  </a:cubicBezTo>
                  <a:cubicBezTo>
                    <a:pt x="1827" y="735"/>
                    <a:pt x="1812" y="720"/>
                    <a:pt x="1760" y="720"/>
                  </a:cubicBezTo>
                  <a:cubicBezTo>
                    <a:pt x="1753" y="720"/>
                    <a:pt x="1656" y="683"/>
                    <a:pt x="1656" y="683"/>
                  </a:cubicBezTo>
                  <a:lnTo>
                    <a:pt x="1656" y="698"/>
                  </a:lnTo>
                  <a:cubicBezTo>
                    <a:pt x="1626" y="713"/>
                    <a:pt x="1582" y="698"/>
                    <a:pt x="1552" y="698"/>
                  </a:cubicBezTo>
                  <a:cubicBezTo>
                    <a:pt x="1537" y="668"/>
                    <a:pt x="1500" y="616"/>
                    <a:pt x="1470" y="616"/>
                  </a:cubicBezTo>
                  <a:cubicBezTo>
                    <a:pt x="1463" y="638"/>
                    <a:pt x="1411" y="624"/>
                    <a:pt x="1396" y="616"/>
                  </a:cubicBezTo>
                  <a:cubicBezTo>
                    <a:pt x="1374" y="586"/>
                    <a:pt x="1366" y="557"/>
                    <a:pt x="1322" y="564"/>
                  </a:cubicBezTo>
                  <a:cubicBezTo>
                    <a:pt x="1322" y="601"/>
                    <a:pt x="1307" y="638"/>
                    <a:pt x="1307" y="668"/>
                  </a:cubicBezTo>
                  <a:cubicBezTo>
                    <a:pt x="1299" y="705"/>
                    <a:pt x="1337" y="735"/>
                    <a:pt x="1329" y="772"/>
                  </a:cubicBezTo>
                  <a:cubicBezTo>
                    <a:pt x="1307" y="787"/>
                    <a:pt x="1292" y="809"/>
                    <a:pt x="1307" y="839"/>
                  </a:cubicBezTo>
                  <a:cubicBezTo>
                    <a:pt x="1322" y="869"/>
                    <a:pt x="1314" y="891"/>
                    <a:pt x="1322" y="928"/>
                  </a:cubicBezTo>
                  <a:cubicBezTo>
                    <a:pt x="1322" y="943"/>
                    <a:pt x="1322" y="995"/>
                    <a:pt x="1285" y="972"/>
                  </a:cubicBezTo>
                  <a:cubicBezTo>
                    <a:pt x="1255" y="950"/>
                    <a:pt x="1285" y="928"/>
                    <a:pt x="1233" y="935"/>
                  </a:cubicBezTo>
                  <a:cubicBezTo>
                    <a:pt x="1233" y="943"/>
                    <a:pt x="1233" y="958"/>
                    <a:pt x="1233" y="972"/>
                  </a:cubicBezTo>
                  <a:cubicBezTo>
                    <a:pt x="1166" y="980"/>
                    <a:pt x="1069" y="950"/>
                    <a:pt x="1010" y="972"/>
                  </a:cubicBezTo>
                  <a:cubicBezTo>
                    <a:pt x="1010" y="987"/>
                    <a:pt x="1025" y="1017"/>
                    <a:pt x="1002" y="1024"/>
                  </a:cubicBezTo>
                  <a:cubicBezTo>
                    <a:pt x="980" y="1032"/>
                    <a:pt x="943" y="1039"/>
                    <a:pt x="928" y="1017"/>
                  </a:cubicBezTo>
                  <a:cubicBezTo>
                    <a:pt x="891" y="965"/>
                    <a:pt x="817" y="958"/>
                    <a:pt x="757" y="958"/>
                  </a:cubicBezTo>
                  <a:cubicBezTo>
                    <a:pt x="772" y="965"/>
                    <a:pt x="765" y="1010"/>
                    <a:pt x="765" y="1024"/>
                  </a:cubicBezTo>
                  <a:cubicBezTo>
                    <a:pt x="757" y="1024"/>
                    <a:pt x="750" y="1024"/>
                    <a:pt x="735" y="1024"/>
                  </a:cubicBezTo>
                  <a:cubicBezTo>
                    <a:pt x="735" y="1069"/>
                    <a:pt x="720" y="1099"/>
                    <a:pt x="676" y="1106"/>
                  </a:cubicBezTo>
                  <a:cubicBezTo>
                    <a:pt x="654" y="1106"/>
                    <a:pt x="601" y="1114"/>
                    <a:pt x="594" y="1136"/>
                  </a:cubicBezTo>
                  <a:cubicBezTo>
                    <a:pt x="542" y="1136"/>
                    <a:pt x="512" y="1173"/>
                    <a:pt x="549" y="1210"/>
                  </a:cubicBezTo>
                  <a:cubicBezTo>
                    <a:pt x="520" y="1203"/>
                    <a:pt x="497" y="1218"/>
                    <a:pt x="460" y="1218"/>
                  </a:cubicBezTo>
                  <a:cubicBezTo>
                    <a:pt x="460" y="1195"/>
                    <a:pt x="460" y="1173"/>
                    <a:pt x="438" y="1158"/>
                  </a:cubicBezTo>
                  <a:cubicBezTo>
                    <a:pt x="416" y="1158"/>
                    <a:pt x="371" y="1151"/>
                    <a:pt x="356" y="1173"/>
                  </a:cubicBezTo>
                  <a:cubicBezTo>
                    <a:pt x="341" y="1210"/>
                    <a:pt x="371" y="1203"/>
                    <a:pt x="319" y="1210"/>
                  </a:cubicBezTo>
                  <a:cubicBezTo>
                    <a:pt x="289" y="1218"/>
                    <a:pt x="289" y="1232"/>
                    <a:pt x="289" y="1255"/>
                  </a:cubicBezTo>
                  <a:cubicBezTo>
                    <a:pt x="260" y="1262"/>
                    <a:pt x="252" y="1225"/>
                    <a:pt x="223" y="1232"/>
                  </a:cubicBezTo>
                  <a:cubicBezTo>
                    <a:pt x="223" y="1269"/>
                    <a:pt x="312" y="1329"/>
                    <a:pt x="282" y="1359"/>
                  </a:cubicBezTo>
                  <a:cubicBezTo>
                    <a:pt x="260" y="1381"/>
                    <a:pt x="245" y="1374"/>
                    <a:pt x="260" y="1411"/>
                  </a:cubicBezTo>
                  <a:cubicBezTo>
                    <a:pt x="260" y="1433"/>
                    <a:pt x="282" y="1463"/>
                    <a:pt x="297" y="1426"/>
                  </a:cubicBezTo>
                  <a:cubicBezTo>
                    <a:pt x="364" y="1418"/>
                    <a:pt x="386" y="1529"/>
                    <a:pt x="379" y="1574"/>
                  </a:cubicBezTo>
                  <a:cubicBezTo>
                    <a:pt x="341" y="1574"/>
                    <a:pt x="312" y="1566"/>
                    <a:pt x="282" y="1581"/>
                  </a:cubicBezTo>
                  <a:cubicBezTo>
                    <a:pt x="267" y="1633"/>
                    <a:pt x="319" y="1619"/>
                    <a:pt x="349" y="1633"/>
                  </a:cubicBezTo>
                  <a:cubicBezTo>
                    <a:pt x="386" y="1663"/>
                    <a:pt x="319" y="1723"/>
                    <a:pt x="289" y="1730"/>
                  </a:cubicBezTo>
                  <a:cubicBezTo>
                    <a:pt x="289" y="1745"/>
                    <a:pt x="289" y="1767"/>
                    <a:pt x="289" y="1782"/>
                  </a:cubicBezTo>
                  <a:cubicBezTo>
                    <a:pt x="260" y="1782"/>
                    <a:pt x="245" y="1767"/>
                    <a:pt x="215" y="1767"/>
                  </a:cubicBezTo>
                  <a:lnTo>
                    <a:pt x="215" y="1774"/>
                  </a:lnTo>
                  <a:cubicBezTo>
                    <a:pt x="230" y="1782"/>
                    <a:pt x="238" y="1789"/>
                    <a:pt x="238" y="1804"/>
                  </a:cubicBezTo>
                  <a:cubicBezTo>
                    <a:pt x="193" y="1797"/>
                    <a:pt x="74" y="1819"/>
                    <a:pt x="89" y="1886"/>
                  </a:cubicBezTo>
                  <a:cubicBezTo>
                    <a:pt x="104" y="1886"/>
                    <a:pt x="119" y="1886"/>
                    <a:pt x="126" y="1893"/>
                  </a:cubicBezTo>
                  <a:cubicBezTo>
                    <a:pt x="149" y="1893"/>
                    <a:pt x="178" y="1886"/>
                    <a:pt x="186" y="1886"/>
                  </a:cubicBezTo>
                  <a:cubicBezTo>
                    <a:pt x="178" y="1886"/>
                    <a:pt x="149" y="1893"/>
                    <a:pt x="126" y="1893"/>
                  </a:cubicBezTo>
                  <a:cubicBezTo>
                    <a:pt x="149" y="1893"/>
                    <a:pt x="163" y="1901"/>
                    <a:pt x="186" y="1923"/>
                  </a:cubicBezTo>
                  <a:cubicBezTo>
                    <a:pt x="200" y="1938"/>
                    <a:pt x="238" y="1982"/>
                    <a:pt x="200" y="1997"/>
                  </a:cubicBezTo>
                  <a:cubicBezTo>
                    <a:pt x="215" y="2027"/>
                    <a:pt x="186" y="2071"/>
                    <a:pt x="186" y="2094"/>
                  </a:cubicBezTo>
                  <a:cubicBezTo>
                    <a:pt x="223" y="2109"/>
                    <a:pt x="245" y="2131"/>
                    <a:pt x="238" y="2168"/>
                  </a:cubicBezTo>
                  <a:cubicBezTo>
                    <a:pt x="223" y="2168"/>
                    <a:pt x="223" y="2168"/>
                    <a:pt x="215" y="2183"/>
                  </a:cubicBezTo>
                  <a:cubicBezTo>
                    <a:pt x="215" y="2198"/>
                    <a:pt x="178" y="2198"/>
                    <a:pt x="163" y="2198"/>
                  </a:cubicBezTo>
                  <a:cubicBezTo>
                    <a:pt x="163" y="2235"/>
                    <a:pt x="215" y="2213"/>
                    <a:pt x="200" y="2257"/>
                  </a:cubicBezTo>
                  <a:cubicBezTo>
                    <a:pt x="200" y="2257"/>
                    <a:pt x="200" y="2257"/>
                    <a:pt x="193" y="2257"/>
                  </a:cubicBezTo>
                  <a:cubicBezTo>
                    <a:pt x="193" y="2287"/>
                    <a:pt x="208" y="2331"/>
                    <a:pt x="178" y="2354"/>
                  </a:cubicBezTo>
                  <a:cubicBezTo>
                    <a:pt x="156" y="2368"/>
                    <a:pt x="163" y="2383"/>
                    <a:pt x="156" y="2406"/>
                  </a:cubicBezTo>
                  <a:cubicBezTo>
                    <a:pt x="134" y="2413"/>
                    <a:pt x="119" y="2383"/>
                    <a:pt x="96" y="2383"/>
                  </a:cubicBezTo>
                  <a:cubicBezTo>
                    <a:pt x="96" y="2391"/>
                    <a:pt x="96" y="2406"/>
                    <a:pt x="96" y="2413"/>
                  </a:cubicBezTo>
                  <a:lnTo>
                    <a:pt x="89" y="2413"/>
                  </a:lnTo>
                  <a:lnTo>
                    <a:pt x="96" y="2421"/>
                  </a:lnTo>
                  <a:cubicBezTo>
                    <a:pt x="67" y="2428"/>
                    <a:pt x="0" y="2406"/>
                    <a:pt x="15" y="2450"/>
                  </a:cubicBezTo>
                  <a:cubicBezTo>
                    <a:pt x="44" y="2458"/>
                    <a:pt x="37" y="2480"/>
                    <a:pt x="52" y="2487"/>
                  </a:cubicBezTo>
                  <a:cubicBezTo>
                    <a:pt x="67" y="2495"/>
                    <a:pt x="89" y="2480"/>
                    <a:pt x="104" y="2487"/>
                  </a:cubicBezTo>
                  <a:cubicBezTo>
                    <a:pt x="119" y="2495"/>
                    <a:pt x="119" y="2517"/>
                    <a:pt x="134" y="2525"/>
                  </a:cubicBezTo>
                  <a:cubicBezTo>
                    <a:pt x="149" y="2532"/>
                    <a:pt x="171" y="2517"/>
                    <a:pt x="178" y="2532"/>
                  </a:cubicBezTo>
                  <a:cubicBezTo>
                    <a:pt x="186" y="2547"/>
                    <a:pt x="178" y="2576"/>
                    <a:pt x="186" y="2591"/>
                  </a:cubicBezTo>
                  <a:cubicBezTo>
                    <a:pt x="193" y="2606"/>
                    <a:pt x="200" y="2606"/>
                    <a:pt x="208" y="2628"/>
                  </a:cubicBezTo>
                  <a:cubicBezTo>
                    <a:pt x="215" y="2666"/>
                    <a:pt x="208" y="2695"/>
                    <a:pt x="260" y="2688"/>
                  </a:cubicBezTo>
                  <a:cubicBezTo>
                    <a:pt x="267" y="2710"/>
                    <a:pt x="245" y="2710"/>
                    <a:pt x="238" y="2725"/>
                  </a:cubicBezTo>
                  <a:cubicBezTo>
                    <a:pt x="238" y="2740"/>
                    <a:pt x="245" y="2762"/>
                    <a:pt x="252" y="2777"/>
                  </a:cubicBezTo>
                  <a:cubicBezTo>
                    <a:pt x="260" y="2792"/>
                    <a:pt x="260" y="2799"/>
                    <a:pt x="267" y="2814"/>
                  </a:cubicBezTo>
                  <a:cubicBezTo>
                    <a:pt x="275" y="2829"/>
                    <a:pt x="297" y="2822"/>
                    <a:pt x="282" y="2851"/>
                  </a:cubicBezTo>
                  <a:cubicBezTo>
                    <a:pt x="282" y="2851"/>
                    <a:pt x="282" y="2851"/>
                    <a:pt x="275" y="2851"/>
                  </a:cubicBezTo>
                  <a:cubicBezTo>
                    <a:pt x="275" y="2859"/>
                    <a:pt x="275" y="2866"/>
                    <a:pt x="275" y="2866"/>
                  </a:cubicBezTo>
                  <a:cubicBezTo>
                    <a:pt x="327" y="2873"/>
                    <a:pt x="289" y="2963"/>
                    <a:pt x="275" y="2978"/>
                  </a:cubicBezTo>
                  <a:cubicBezTo>
                    <a:pt x="304" y="3000"/>
                    <a:pt x="356" y="3059"/>
                    <a:pt x="371" y="3096"/>
                  </a:cubicBezTo>
                  <a:cubicBezTo>
                    <a:pt x="379" y="3111"/>
                    <a:pt x="379" y="3126"/>
                    <a:pt x="386" y="3141"/>
                  </a:cubicBezTo>
                  <a:cubicBezTo>
                    <a:pt x="386" y="3156"/>
                    <a:pt x="394" y="3156"/>
                    <a:pt x="394" y="3170"/>
                  </a:cubicBezTo>
                  <a:cubicBezTo>
                    <a:pt x="401" y="3200"/>
                    <a:pt x="394" y="3230"/>
                    <a:pt x="394" y="3252"/>
                  </a:cubicBezTo>
                  <a:cubicBezTo>
                    <a:pt x="416" y="3252"/>
                    <a:pt x="453" y="3252"/>
                    <a:pt x="446" y="3282"/>
                  </a:cubicBezTo>
                  <a:cubicBezTo>
                    <a:pt x="379" y="3304"/>
                    <a:pt x="423" y="3327"/>
                    <a:pt x="431" y="3371"/>
                  </a:cubicBezTo>
                  <a:cubicBezTo>
                    <a:pt x="438" y="3416"/>
                    <a:pt x="438" y="3445"/>
                    <a:pt x="431" y="3482"/>
                  </a:cubicBezTo>
                  <a:cubicBezTo>
                    <a:pt x="423" y="3490"/>
                    <a:pt x="379" y="3497"/>
                    <a:pt x="379" y="3505"/>
                  </a:cubicBezTo>
                  <a:cubicBezTo>
                    <a:pt x="379" y="3520"/>
                    <a:pt x="401" y="3527"/>
                    <a:pt x="416" y="3535"/>
                  </a:cubicBezTo>
                  <a:cubicBezTo>
                    <a:pt x="438" y="3549"/>
                    <a:pt x="431" y="3542"/>
                    <a:pt x="438" y="3572"/>
                  </a:cubicBezTo>
                  <a:cubicBezTo>
                    <a:pt x="446" y="3594"/>
                    <a:pt x="453" y="3609"/>
                    <a:pt x="460" y="3631"/>
                  </a:cubicBezTo>
                  <a:cubicBezTo>
                    <a:pt x="468" y="3646"/>
                    <a:pt x="475" y="3661"/>
                    <a:pt x="475" y="3683"/>
                  </a:cubicBezTo>
                  <a:cubicBezTo>
                    <a:pt x="475" y="3705"/>
                    <a:pt x="475" y="3727"/>
                    <a:pt x="468" y="3750"/>
                  </a:cubicBezTo>
                  <a:cubicBezTo>
                    <a:pt x="468" y="3765"/>
                    <a:pt x="468" y="3787"/>
                    <a:pt x="475" y="3809"/>
                  </a:cubicBezTo>
                  <a:cubicBezTo>
                    <a:pt x="483" y="3824"/>
                    <a:pt x="497" y="3824"/>
                    <a:pt x="520" y="3839"/>
                  </a:cubicBezTo>
                  <a:cubicBezTo>
                    <a:pt x="475" y="3861"/>
                    <a:pt x="520" y="3913"/>
                    <a:pt x="535" y="3950"/>
                  </a:cubicBezTo>
                  <a:cubicBezTo>
                    <a:pt x="549" y="3995"/>
                    <a:pt x="549" y="4047"/>
                    <a:pt x="572" y="4091"/>
                  </a:cubicBezTo>
                  <a:cubicBezTo>
                    <a:pt x="601" y="4106"/>
                    <a:pt x="616" y="4114"/>
                    <a:pt x="616" y="4114"/>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88" name="Freeform 6">
              <a:extLst>
                <a:ext uri="{FF2B5EF4-FFF2-40B4-BE49-F238E27FC236}">
                  <a16:creationId xmlns:a16="http://schemas.microsoft.com/office/drawing/2014/main" id="{0AEAB05B-5DF0-1545-94C9-3008631284C0}"/>
                </a:ext>
              </a:extLst>
            </p:cNvPr>
            <p:cNvSpPr>
              <a:spLocks noChangeArrowheads="1"/>
            </p:cNvSpPr>
            <p:nvPr/>
          </p:nvSpPr>
          <p:spPr bwMode="auto">
            <a:xfrm>
              <a:off x="10021232" y="4925927"/>
              <a:ext cx="890272" cy="1074476"/>
            </a:xfrm>
            <a:custGeom>
              <a:avLst/>
              <a:gdLst>
                <a:gd name="T0" fmla="*/ 1931 w 2058"/>
                <a:gd name="T1" fmla="*/ 2250 h 2489"/>
                <a:gd name="T2" fmla="*/ 1916 w 2058"/>
                <a:gd name="T3" fmla="*/ 2191 h 2489"/>
                <a:gd name="T4" fmla="*/ 1886 w 2058"/>
                <a:gd name="T5" fmla="*/ 2050 h 2489"/>
                <a:gd name="T6" fmla="*/ 1767 w 2058"/>
                <a:gd name="T7" fmla="*/ 1812 h 2489"/>
                <a:gd name="T8" fmla="*/ 1730 w 2058"/>
                <a:gd name="T9" fmla="*/ 1812 h 2489"/>
                <a:gd name="T10" fmla="*/ 1686 w 2058"/>
                <a:gd name="T11" fmla="*/ 1849 h 2489"/>
                <a:gd name="T12" fmla="*/ 1663 w 2058"/>
                <a:gd name="T13" fmla="*/ 1812 h 2489"/>
                <a:gd name="T14" fmla="*/ 1649 w 2058"/>
                <a:gd name="T15" fmla="*/ 1790 h 2489"/>
                <a:gd name="T16" fmla="*/ 1612 w 2058"/>
                <a:gd name="T17" fmla="*/ 1782 h 2489"/>
                <a:gd name="T18" fmla="*/ 1567 w 2058"/>
                <a:gd name="T19" fmla="*/ 1790 h 2489"/>
                <a:gd name="T20" fmla="*/ 1530 w 2058"/>
                <a:gd name="T21" fmla="*/ 1768 h 2489"/>
                <a:gd name="T22" fmla="*/ 1544 w 2058"/>
                <a:gd name="T23" fmla="*/ 1716 h 2489"/>
                <a:gd name="T24" fmla="*/ 1582 w 2058"/>
                <a:gd name="T25" fmla="*/ 1693 h 2489"/>
                <a:gd name="T26" fmla="*/ 1582 w 2058"/>
                <a:gd name="T27" fmla="*/ 1649 h 2489"/>
                <a:gd name="T28" fmla="*/ 1619 w 2058"/>
                <a:gd name="T29" fmla="*/ 1597 h 2489"/>
                <a:gd name="T30" fmla="*/ 1671 w 2058"/>
                <a:gd name="T31" fmla="*/ 1582 h 2489"/>
                <a:gd name="T32" fmla="*/ 1686 w 2058"/>
                <a:gd name="T33" fmla="*/ 1003 h 2489"/>
                <a:gd name="T34" fmla="*/ 1760 w 2058"/>
                <a:gd name="T35" fmla="*/ 869 h 2489"/>
                <a:gd name="T36" fmla="*/ 1894 w 2058"/>
                <a:gd name="T37" fmla="*/ 706 h 2489"/>
                <a:gd name="T38" fmla="*/ 2027 w 2058"/>
                <a:gd name="T39" fmla="*/ 438 h 2489"/>
                <a:gd name="T40" fmla="*/ 2027 w 2058"/>
                <a:gd name="T41" fmla="*/ 431 h 2489"/>
                <a:gd name="T42" fmla="*/ 1782 w 2058"/>
                <a:gd name="T43" fmla="*/ 327 h 2489"/>
                <a:gd name="T44" fmla="*/ 1641 w 2058"/>
                <a:gd name="T45" fmla="*/ 60 h 2489"/>
                <a:gd name="T46" fmla="*/ 1604 w 2058"/>
                <a:gd name="T47" fmla="*/ 208 h 2489"/>
                <a:gd name="T48" fmla="*/ 1559 w 2058"/>
                <a:gd name="T49" fmla="*/ 349 h 2489"/>
                <a:gd name="T50" fmla="*/ 1493 w 2058"/>
                <a:gd name="T51" fmla="*/ 372 h 2489"/>
                <a:gd name="T52" fmla="*/ 1389 w 2058"/>
                <a:gd name="T53" fmla="*/ 475 h 2489"/>
                <a:gd name="T54" fmla="*/ 1389 w 2058"/>
                <a:gd name="T55" fmla="*/ 580 h 2489"/>
                <a:gd name="T56" fmla="*/ 1285 w 2058"/>
                <a:gd name="T57" fmla="*/ 550 h 2489"/>
                <a:gd name="T58" fmla="*/ 1144 w 2058"/>
                <a:gd name="T59" fmla="*/ 676 h 2489"/>
                <a:gd name="T60" fmla="*/ 1114 w 2058"/>
                <a:gd name="T61" fmla="*/ 795 h 2489"/>
                <a:gd name="T62" fmla="*/ 1069 w 2058"/>
                <a:gd name="T63" fmla="*/ 832 h 2489"/>
                <a:gd name="T64" fmla="*/ 817 w 2058"/>
                <a:gd name="T65" fmla="*/ 825 h 2489"/>
                <a:gd name="T66" fmla="*/ 550 w 2058"/>
                <a:gd name="T67" fmla="*/ 936 h 2489"/>
                <a:gd name="T68" fmla="*/ 445 w 2058"/>
                <a:gd name="T69" fmla="*/ 891 h 2489"/>
                <a:gd name="T70" fmla="*/ 468 w 2058"/>
                <a:gd name="T71" fmla="*/ 780 h 2489"/>
                <a:gd name="T72" fmla="*/ 171 w 2058"/>
                <a:gd name="T73" fmla="*/ 617 h 2489"/>
                <a:gd name="T74" fmla="*/ 0 w 2058"/>
                <a:gd name="T75" fmla="*/ 617 h 2489"/>
                <a:gd name="T76" fmla="*/ 67 w 2058"/>
                <a:gd name="T77" fmla="*/ 706 h 2489"/>
                <a:gd name="T78" fmla="*/ 89 w 2058"/>
                <a:gd name="T79" fmla="*/ 847 h 2489"/>
                <a:gd name="T80" fmla="*/ 0 w 2058"/>
                <a:gd name="T81" fmla="*/ 1047 h 2489"/>
                <a:gd name="T82" fmla="*/ 186 w 2058"/>
                <a:gd name="T83" fmla="*/ 1129 h 2489"/>
                <a:gd name="T84" fmla="*/ 342 w 2058"/>
                <a:gd name="T85" fmla="*/ 1188 h 2489"/>
                <a:gd name="T86" fmla="*/ 587 w 2058"/>
                <a:gd name="T87" fmla="*/ 1322 h 2489"/>
                <a:gd name="T88" fmla="*/ 653 w 2058"/>
                <a:gd name="T89" fmla="*/ 1679 h 2489"/>
                <a:gd name="T90" fmla="*/ 847 w 2058"/>
                <a:gd name="T91" fmla="*/ 1901 h 2489"/>
                <a:gd name="T92" fmla="*/ 995 w 2058"/>
                <a:gd name="T93" fmla="*/ 2302 h 2489"/>
                <a:gd name="T94" fmla="*/ 1151 w 2058"/>
                <a:gd name="T95" fmla="*/ 2184 h 2489"/>
                <a:gd name="T96" fmla="*/ 1114 w 2058"/>
                <a:gd name="T97" fmla="*/ 2065 h 2489"/>
                <a:gd name="T98" fmla="*/ 1448 w 2058"/>
                <a:gd name="T99" fmla="*/ 2124 h 2489"/>
                <a:gd name="T100" fmla="*/ 1559 w 2058"/>
                <a:gd name="T101" fmla="*/ 2139 h 2489"/>
                <a:gd name="T102" fmla="*/ 1619 w 2058"/>
                <a:gd name="T103" fmla="*/ 2421 h 2489"/>
                <a:gd name="T104" fmla="*/ 1842 w 2058"/>
                <a:gd name="T105" fmla="*/ 2287 h 2489"/>
                <a:gd name="T106" fmla="*/ 1842 w 2058"/>
                <a:gd name="T107" fmla="*/ 2287 h 2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58" h="2489">
                  <a:moveTo>
                    <a:pt x="1923" y="2280"/>
                  </a:moveTo>
                  <a:lnTo>
                    <a:pt x="1923" y="2280"/>
                  </a:lnTo>
                  <a:cubicBezTo>
                    <a:pt x="1923" y="2273"/>
                    <a:pt x="1931" y="2258"/>
                    <a:pt x="1931" y="2250"/>
                  </a:cubicBezTo>
                  <a:cubicBezTo>
                    <a:pt x="1923" y="2243"/>
                    <a:pt x="1923" y="2243"/>
                    <a:pt x="1923" y="2236"/>
                  </a:cubicBezTo>
                  <a:cubicBezTo>
                    <a:pt x="1916" y="2228"/>
                    <a:pt x="1916" y="2213"/>
                    <a:pt x="1916" y="2198"/>
                  </a:cubicBezTo>
                  <a:lnTo>
                    <a:pt x="1916" y="2191"/>
                  </a:lnTo>
                  <a:cubicBezTo>
                    <a:pt x="1916" y="2147"/>
                    <a:pt x="1916" y="2109"/>
                    <a:pt x="1894" y="2065"/>
                  </a:cubicBezTo>
                  <a:lnTo>
                    <a:pt x="1894" y="2057"/>
                  </a:lnTo>
                  <a:cubicBezTo>
                    <a:pt x="1886" y="2057"/>
                    <a:pt x="1886" y="2050"/>
                    <a:pt x="1886" y="2050"/>
                  </a:cubicBezTo>
                  <a:cubicBezTo>
                    <a:pt x="1871" y="2005"/>
                    <a:pt x="1849" y="1968"/>
                    <a:pt x="1819" y="1939"/>
                  </a:cubicBezTo>
                  <a:cubicBezTo>
                    <a:pt x="1790" y="1901"/>
                    <a:pt x="1790" y="1879"/>
                    <a:pt x="1782" y="1834"/>
                  </a:cubicBezTo>
                  <a:cubicBezTo>
                    <a:pt x="1782" y="1834"/>
                    <a:pt x="1775" y="1820"/>
                    <a:pt x="1767" y="1812"/>
                  </a:cubicBezTo>
                  <a:lnTo>
                    <a:pt x="1767" y="1812"/>
                  </a:lnTo>
                  <a:cubicBezTo>
                    <a:pt x="1760" y="1820"/>
                    <a:pt x="1760" y="1812"/>
                    <a:pt x="1752" y="1805"/>
                  </a:cubicBezTo>
                  <a:cubicBezTo>
                    <a:pt x="1745" y="1805"/>
                    <a:pt x="1738" y="1812"/>
                    <a:pt x="1730" y="1812"/>
                  </a:cubicBezTo>
                  <a:cubicBezTo>
                    <a:pt x="1715" y="1827"/>
                    <a:pt x="1730" y="1827"/>
                    <a:pt x="1730" y="1842"/>
                  </a:cubicBezTo>
                  <a:cubicBezTo>
                    <a:pt x="1723" y="1849"/>
                    <a:pt x="1700" y="1864"/>
                    <a:pt x="1686" y="1857"/>
                  </a:cubicBezTo>
                  <a:cubicBezTo>
                    <a:pt x="1686" y="1857"/>
                    <a:pt x="1686" y="1857"/>
                    <a:pt x="1686" y="1849"/>
                  </a:cubicBezTo>
                  <a:cubicBezTo>
                    <a:pt x="1678" y="1849"/>
                    <a:pt x="1678" y="1849"/>
                    <a:pt x="1678" y="1842"/>
                  </a:cubicBezTo>
                  <a:cubicBezTo>
                    <a:pt x="1678" y="1834"/>
                    <a:pt x="1663" y="1834"/>
                    <a:pt x="1663" y="1827"/>
                  </a:cubicBezTo>
                  <a:cubicBezTo>
                    <a:pt x="1656" y="1827"/>
                    <a:pt x="1656" y="1820"/>
                    <a:pt x="1663" y="1812"/>
                  </a:cubicBezTo>
                  <a:cubicBezTo>
                    <a:pt x="1663" y="1805"/>
                    <a:pt x="1663" y="1805"/>
                    <a:pt x="1663" y="1797"/>
                  </a:cubicBezTo>
                  <a:cubicBezTo>
                    <a:pt x="1663" y="1797"/>
                    <a:pt x="1656" y="1797"/>
                    <a:pt x="1649" y="1797"/>
                  </a:cubicBezTo>
                  <a:lnTo>
                    <a:pt x="1649" y="1790"/>
                  </a:lnTo>
                  <a:cubicBezTo>
                    <a:pt x="1641" y="1790"/>
                    <a:pt x="1641" y="1790"/>
                    <a:pt x="1634" y="1790"/>
                  </a:cubicBezTo>
                  <a:cubicBezTo>
                    <a:pt x="1626" y="1790"/>
                    <a:pt x="1619" y="1782"/>
                    <a:pt x="1619" y="1775"/>
                  </a:cubicBezTo>
                  <a:cubicBezTo>
                    <a:pt x="1612" y="1768"/>
                    <a:pt x="1597" y="1775"/>
                    <a:pt x="1612" y="1782"/>
                  </a:cubicBezTo>
                  <a:cubicBezTo>
                    <a:pt x="1612" y="1782"/>
                    <a:pt x="1612" y="1782"/>
                    <a:pt x="1604" y="1782"/>
                  </a:cubicBezTo>
                  <a:cubicBezTo>
                    <a:pt x="1597" y="1790"/>
                    <a:pt x="1597" y="1782"/>
                    <a:pt x="1589" y="1782"/>
                  </a:cubicBezTo>
                  <a:cubicBezTo>
                    <a:pt x="1582" y="1790"/>
                    <a:pt x="1582" y="1790"/>
                    <a:pt x="1567" y="1790"/>
                  </a:cubicBezTo>
                  <a:cubicBezTo>
                    <a:pt x="1559" y="1790"/>
                    <a:pt x="1552" y="1790"/>
                    <a:pt x="1544" y="1790"/>
                  </a:cubicBezTo>
                  <a:cubicBezTo>
                    <a:pt x="1537" y="1797"/>
                    <a:pt x="1537" y="1790"/>
                    <a:pt x="1544" y="1782"/>
                  </a:cubicBezTo>
                  <a:cubicBezTo>
                    <a:pt x="1544" y="1782"/>
                    <a:pt x="1537" y="1768"/>
                    <a:pt x="1530" y="1768"/>
                  </a:cubicBezTo>
                  <a:cubicBezTo>
                    <a:pt x="1522" y="1768"/>
                    <a:pt x="1522" y="1760"/>
                    <a:pt x="1522" y="1753"/>
                  </a:cubicBezTo>
                  <a:cubicBezTo>
                    <a:pt x="1522" y="1738"/>
                    <a:pt x="1530" y="1745"/>
                    <a:pt x="1537" y="1738"/>
                  </a:cubicBezTo>
                  <a:cubicBezTo>
                    <a:pt x="1537" y="1731"/>
                    <a:pt x="1537" y="1723"/>
                    <a:pt x="1544" y="1716"/>
                  </a:cubicBezTo>
                  <a:cubicBezTo>
                    <a:pt x="1544" y="1716"/>
                    <a:pt x="1552" y="1716"/>
                    <a:pt x="1559" y="1716"/>
                  </a:cubicBezTo>
                  <a:cubicBezTo>
                    <a:pt x="1567" y="1708"/>
                    <a:pt x="1559" y="1708"/>
                    <a:pt x="1567" y="1701"/>
                  </a:cubicBezTo>
                  <a:cubicBezTo>
                    <a:pt x="1567" y="1693"/>
                    <a:pt x="1574" y="1693"/>
                    <a:pt x="1582" y="1693"/>
                  </a:cubicBezTo>
                  <a:lnTo>
                    <a:pt x="1582" y="1679"/>
                  </a:lnTo>
                  <a:cubicBezTo>
                    <a:pt x="1589" y="1671"/>
                    <a:pt x="1582" y="1671"/>
                    <a:pt x="1582" y="1671"/>
                  </a:cubicBezTo>
                  <a:cubicBezTo>
                    <a:pt x="1574" y="1664"/>
                    <a:pt x="1589" y="1656"/>
                    <a:pt x="1582" y="1649"/>
                  </a:cubicBezTo>
                  <a:cubicBezTo>
                    <a:pt x="1574" y="1642"/>
                    <a:pt x="1574" y="1619"/>
                    <a:pt x="1574" y="1612"/>
                  </a:cubicBezTo>
                  <a:cubicBezTo>
                    <a:pt x="1582" y="1604"/>
                    <a:pt x="1589" y="1597"/>
                    <a:pt x="1597" y="1590"/>
                  </a:cubicBezTo>
                  <a:cubicBezTo>
                    <a:pt x="1604" y="1590"/>
                    <a:pt x="1612" y="1597"/>
                    <a:pt x="1619" y="1597"/>
                  </a:cubicBezTo>
                  <a:cubicBezTo>
                    <a:pt x="1626" y="1590"/>
                    <a:pt x="1626" y="1582"/>
                    <a:pt x="1634" y="1575"/>
                  </a:cubicBezTo>
                  <a:cubicBezTo>
                    <a:pt x="1641" y="1567"/>
                    <a:pt x="1656" y="1575"/>
                    <a:pt x="1671" y="1575"/>
                  </a:cubicBezTo>
                  <a:cubicBezTo>
                    <a:pt x="1671" y="1582"/>
                    <a:pt x="1671" y="1582"/>
                    <a:pt x="1671" y="1582"/>
                  </a:cubicBezTo>
                  <a:lnTo>
                    <a:pt x="1678" y="1582"/>
                  </a:lnTo>
                  <a:cubicBezTo>
                    <a:pt x="1678" y="1485"/>
                    <a:pt x="1678" y="1330"/>
                    <a:pt x="1656" y="1255"/>
                  </a:cubicBezTo>
                  <a:cubicBezTo>
                    <a:pt x="1634" y="1181"/>
                    <a:pt x="1656" y="1077"/>
                    <a:pt x="1686" y="1003"/>
                  </a:cubicBezTo>
                  <a:lnTo>
                    <a:pt x="1693" y="1003"/>
                  </a:lnTo>
                  <a:cubicBezTo>
                    <a:pt x="1708" y="980"/>
                    <a:pt x="1708" y="951"/>
                    <a:pt x="1730" y="929"/>
                  </a:cubicBezTo>
                  <a:cubicBezTo>
                    <a:pt x="1745" y="914"/>
                    <a:pt x="1760" y="899"/>
                    <a:pt x="1760" y="869"/>
                  </a:cubicBezTo>
                  <a:cubicBezTo>
                    <a:pt x="1760" y="832"/>
                    <a:pt x="1752" y="773"/>
                    <a:pt x="1812" y="773"/>
                  </a:cubicBezTo>
                  <a:cubicBezTo>
                    <a:pt x="1819" y="750"/>
                    <a:pt x="1834" y="750"/>
                    <a:pt x="1834" y="728"/>
                  </a:cubicBezTo>
                  <a:cubicBezTo>
                    <a:pt x="1842" y="698"/>
                    <a:pt x="1871" y="706"/>
                    <a:pt x="1894" y="706"/>
                  </a:cubicBezTo>
                  <a:cubicBezTo>
                    <a:pt x="1901" y="624"/>
                    <a:pt x="1990" y="580"/>
                    <a:pt x="2020" y="505"/>
                  </a:cubicBezTo>
                  <a:cubicBezTo>
                    <a:pt x="2027" y="505"/>
                    <a:pt x="2042" y="490"/>
                    <a:pt x="2057" y="475"/>
                  </a:cubicBezTo>
                  <a:cubicBezTo>
                    <a:pt x="2042" y="468"/>
                    <a:pt x="2035" y="453"/>
                    <a:pt x="2027" y="438"/>
                  </a:cubicBezTo>
                  <a:cubicBezTo>
                    <a:pt x="2020" y="446"/>
                    <a:pt x="2012" y="446"/>
                    <a:pt x="2005" y="446"/>
                  </a:cubicBezTo>
                  <a:cubicBezTo>
                    <a:pt x="2012" y="446"/>
                    <a:pt x="2020" y="446"/>
                    <a:pt x="2027" y="438"/>
                  </a:cubicBezTo>
                  <a:lnTo>
                    <a:pt x="2027" y="431"/>
                  </a:lnTo>
                  <a:cubicBezTo>
                    <a:pt x="2005" y="446"/>
                    <a:pt x="1990" y="453"/>
                    <a:pt x="1990" y="401"/>
                  </a:cubicBezTo>
                  <a:cubicBezTo>
                    <a:pt x="1953" y="401"/>
                    <a:pt x="1916" y="409"/>
                    <a:pt x="1894" y="372"/>
                  </a:cubicBezTo>
                  <a:cubicBezTo>
                    <a:pt x="1864" y="335"/>
                    <a:pt x="1827" y="327"/>
                    <a:pt x="1782" y="327"/>
                  </a:cubicBezTo>
                  <a:cubicBezTo>
                    <a:pt x="1782" y="283"/>
                    <a:pt x="1790" y="245"/>
                    <a:pt x="1782" y="208"/>
                  </a:cubicBezTo>
                  <a:cubicBezTo>
                    <a:pt x="1782" y="178"/>
                    <a:pt x="1738" y="156"/>
                    <a:pt x="1715" y="141"/>
                  </a:cubicBezTo>
                  <a:cubicBezTo>
                    <a:pt x="1686" y="112"/>
                    <a:pt x="1663" y="82"/>
                    <a:pt x="1641" y="60"/>
                  </a:cubicBezTo>
                  <a:cubicBezTo>
                    <a:pt x="1626" y="45"/>
                    <a:pt x="1612" y="23"/>
                    <a:pt x="1604" y="0"/>
                  </a:cubicBezTo>
                  <a:cubicBezTo>
                    <a:pt x="1597" y="38"/>
                    <a:pt x="1574" y="104"/>
                    <a:pt x="1544" y="127"/>
                  </a:cubicBezTo>
                  <a:cubicBezTo>
                    <a:pt x="1559" y="164"/>
                    <a:pt x="1574" y="193"/>
                    <a:pt x="1604" y="208"/>
                  </a:cubicBezTo>
                  <a:cubicBezTo>
                    <a:pt x="1626" y="230"/>
                    <a:pt x="1612" y="260"/>
                    <a:pt x="1612" y="290"/>
                  </a:cubicBezTo>
                  <a:cubicBezTo>
                    <a:pt x="1612" y="305"/>
                    <a:pt x="1619" y="409"/>
                    <a:pt x="1597" y="409"/>
                  </a:cubicBezTo>
                  <a:cubicBezTo>
                    <a:pt x="1582" y="386"/>
                    <a:pt x="1582" y="357"/>
                    <a:pt x="1559" y="349"/>
                  </a:cubicBezTo>
                  <a:cubicBezTo>
                    <a:pt x="1544" y="349"/>
                    <a:pt x="1522" y="342"/>
                    <a:pt x="1522" y="327"/>
                  </a:cubicBezTo>
                  <a:cubicBezTo>
                    <a:pt x="1507" y="320"/>
                    <a:pt x="1485" y="320"/>
                    <a:pt x="1478" y="335"/>
                  </a:cubicBezTo>
                  <a:cubicBezTo>
                    <a:pt x="1470" y="357"/>
                    <a:pt x="1470" y="372"/>
                    <a:pt x="1493" y="372"/>
                  </a:cubicBezTo>
                  <a:cubicBezTo>
                    <a:pt x="1500" y="394"/>
                    <a:pt x="1493" y="409"/>
                    <a:pt x="1493" y="431"/>
                  </a:cubicBezTo>
                  <a:cubicBezTo>
                    <a:pt x="1470" y="431"/>
                    <a:pt x="1448" y="431"/>
                    <a:pt x="1433" y="446"/>
                  </a:cubicBezTo>
                  <a:cubicBezTo>
                    <a:pt x="1418" y="453"/>
                    <a:pt x="1411" y="475"/>
                    <a:pt x="1389" y="475"/>
                  </a:cubicBezTo>
                  <a:cubicBezTo>
                    <a:pt x="1389" y="475"/>
                    <a:pt x="1389" y="483"/>
                    <a:pt x="1389" y="490"/>
                  </a:cubicBezTo>
                  <a:cubicBezTo>
                    <a:pt x="1418" y="490"/>
                    <a:pt x="1433" y="498"/>
                    <a:pt x="1433" y="528"/>
                  </a:cubicBezTo>
                  <a:cubicBezTo>
                    <a:pt x="1433" y="565"/>
                    <a:pt x="1418" y="557"/>
                    <a:pt x="1389" y="580"/>
                  </a:cubicBezTo>
                  <a:cubicBezTo>
                    <a:pt x="1381" y="587"/>
                    <a:pt x="1366" y="624"/>
                    <a:pt x="1344" y="594"/>
                  </a:cubicBezTo>
                  <a:cubicBezTo>
                    <a:pt x="1337" y="580"/>
                    <a:pt x="1337" y="557"/>
                    <a:pt x="1329" y="542"/>
                  </a:cubicBezTo>
                  <a:cubicBezTo>
                    <a:pt x="1322" y="498"/>
                    <a:pt x="1285" y="505"/>
                    <a:pt x="1285" y="550"/>
                  </a:cubicBezTo>
                  <a:cubicBezTo>
                    <a:pt x="1277" y="587"/>
                    <a:pt x="1196" y="542"/>
                    <a:pt x="1173" y="535"/>
                  </a:cubicBezTo>
                  <a:cubicBezTo>
                    <a:pt x="1166" y="565"/>
                    <a:pt x="1173" y="602"/>
                    <a:pt x="1158" y="632"/>
                  </a:cubicBezTo>
                  <a:cubicBezTo>
                    <a:pt x="1158" y="646"/>
                    <a:pt x="1151" y="661"/>
                    <a:pt x="1144" y="676"/>
                  </a:cubicBezTo>
                  <a:cubicBezTo>
                    <a:pt x="1144" y="698"/>
                    <a:pt x="1136" y="758"/>
                    <a:pt x="1173" y="750"/>
                  </a:cubicBezTo>
                  <a:cubicBezTo>
                    <a:pt x="1173" y="765"/>
                    <a:pt x="1158" y="773"/>
                    <a:pt x="1151" y="787"/>
                  </a:cubicBezTo>
                  <a:cubicBezTo>
                    <a:pt x="1144" y="795"/>
                    <a:pt x="1121" y="787"/>
                    <a:pt x="1114" y="795"/>
                  </a:cubicBezTo>
                  <a:cubicBezTo>
                    <a:pt x="1099" y="802"/>
                    <a:pt x="1107" y="817"/>
                    <a:pt x="1092" y="825"/>
                  </a:cubicBezTo>
                  <a:cubicBezTo>
                    <a:pt x="1092" y="817"/>
                    <a:pt x="1084" y="817"/>
                    <a:pt x="1077" y="810"/>
                  </a:cubicBezTo>
                  <a:cubicBezTo>
                    <a:pt x="1077" y="817"/>
                    <a:pt x="1069" y="825"/>
                    <a:pt x="1069" y="832"/>
                  </a:cubicBezTo>
                  <a:cubicBezTo>
                    <a:pt x="1040" y="847"/>
                    <a:pt x="1062" y="862"/>
                    <a:pt x="1025" y="854"/>
                  </a:cubicBezTo>
                  <a:cubicBezTo>
                    <a:pt x="1002" y="847"/>
                    <a:pt x="980" y="847"/>
                    <a:pt x="950" y="847"/>
                  </a:cubicBezTo>
                  <a:cubicBezTo>
                    <a:pt x="950" y="773"/>
                    <a:pt x="809" y="765"/>
                    <a:pt x="817" y="825"/>
                  </a:cubicBezTo>
                  <a:cubicBezTo>
                    <a:pt x="772" y="825"/>
                    <a:pt x="735" y="817"/>
                    <a:pt x="698" y="795"/>
                  </a:cubicBezTo>
                  <a:cubicBezTo>
                    <a:pt x="653" y="780"/>
                    <a:pt x="639" y="817"/>
                    <a:pt x="616" y="854"/>
                  </a:cubicBezTo>
                  <a:cubicBezTo>
                    <a:pt x="602" y="877"/>
                    <a:pt x="550" y="899"/>
                    <a:pt x="550" y="936"/>
                  </a:cubicBezTo>
                  <a:cubicBezTo>
                    <a:pt x="550" y="973"/>
                    <a:pt x="542" y="988"/>
                    <a:pt x="505" y="980"/>
                  </a:cubicBezTo>
                  <a:cubicBezTo>
                    <a:pt x="497" y="958"/>
                    <a:pt x="497" y="936"/>
                    <a:pt x="483" y="921"/>
                  </a:cubicBezTo>
                  <a:cubicBezTo>
                    <a:pt x="475" y="914"/>
                    <a:pt x="445" y="899"/>
                    <a:pt x="445" y="891"/>
                  </a:cubicBezTo>
                  <a:cubicBezTo>
                    <a:pt x="453" y="854"/>
                    <a:pt x="497" y="832"/>
                    <a:pt x="497" y="795"/>
                  </a:cubicBezTo>
                  <a:cubicBezTo>
                    <a:pt x="497" y="787"/>
                    <a:pt x="505" y="758"/>
                    <a:pt x="483" y="758"/>
                  </a:cubicBezTo>
                  <a:cubicBezTo>
                    <a:pt x="468" y="758"/>
                    <a:pt x="475" y="773"/>
                    <a:pt x="468" y="780"/>
                  </a:cubicBezTo>
                  <a:cubicBezTo>
                    <a:pt x="423" y="825"/>
                    <a:pt x="438" y="698"/>
                    <a:pt x="438" y="691"/>
                  </a:cubicBezTo>
                  <a:cubicBezTo>
                    <a:pt x="401" y="654"/>
                    <a:pt x="401" y="758"/>
                    <a:pt x="349" y="669"/>
                  </a:cubicBezTo>
                  <a:cubicBezTo>
                    <a:pt x="312" y="617"/>
                    <a:pt x="223" y="617"/>
                    <a:pt x="171" y="617"/>
                  </a:cubicBezTo>
                  <a:cubicBezTo>
                    <a:pt x="163" y="632"/>
                    <a:pt x="148" y="632"/>
                    <a:pt x="148" y="646"/>
                  </a:cubicBezTo>
                  <a:cubicBezTo>
                    <a:pt x="97" y="676"/>
                    <a:pt x="59" y="624"/>
                    <a:pt x="15" y="617"/>
                  </a:cubicBezTo>
                  <a:cubicBezTo>
                    <a:pt x="7" y="617"/>
                    <a:pt x="0" y="617"/>
                    <a:pt x="0" y="617"/>
                  </a:cubicBezTo>
                  <a:cubicBezTo>
                    <a:pt x="0" y="624"/>
                    <a:pt x="0" y="632"/>
                    <a:pt x="0" y="632"/>
                  </a:cubicBezTo>
                  <a:cubicBezTo>
                    <a:pt x="0" y="654"/>
                    <a:pt x="7" y="676"/>
                    <a:pt x="22" y="691"/>
                  </a:cubicBezTo>
                  <a:cubicBezTo>
                    <a:pt x="30" y="698"/>
                    <a:pt x="67" y="698"/>
                    <a:pt x="67" y="706"/>
                  </a:cubicBezTo>
                  <a:cubicBezTo>
                    <a:pt x="74" y="713"/>
                    <a:pt x="74" y="735"/>
                    <a:pt x="67" y="750"/>
                  </a:cubicBezTo>
                  <a:cubicBezTo>
                    <a:pt x="15" y="750"/>
                    <a:pt x="30" y="802"/>
                    <a:pt x="30" y="840"/>
                  </a:cubicBezTo>
                  <a:cubicBezTo>
                    <a:pt x="45" y="840"/>
                    <a:pt x="67" y="840"/>
                    <a:pt x="89" y="847"/>
                  </a:cubicBezTo>
                  <a:cubicBezTo>
                    <a:pt x="89" y="884"/>
                    <a:pt x="89" y="906"/>
                    <a:pt x="67" y="936"/>
                  </a:cubicBezTo>
                  <a:cubicBezTo>
                    <a:pt x="52" y="973"/>
                    <a:pt x="74" y="1010"/>
                    <a:pt x="67" y="1047"/>
                  </a:cubicBezTo>
                  <a:cubicBezTo>
                    <a:pt x="45" y="1047"/>
                    <a:pt x="22" y="1047"/>
                    <a:pt x="0" y="1047"/>
                  </a:cubicBezTo>
                  <a:cubicBezTo>
                    <a:pt x="0" y="1077"/>
                    <a:pt x="30" y="1085"/>
                    <a:pt x="52" y="1092"/>
                  </a:cubicBezTo>
                  <a:cubicBezTo>
                    <a:pt x="52" y="1107"/>
                    <a:pt x="59" y="1114"/>
                    <a:pt x="59" y="1129"/>
                  </a:cubicBezTo>
                  <a:cubicBezTo>
                    <a:pt x="104" y="1114"/>
                    <a:pt x="148" y="1122"/>
                    <a:pt x="186" y="1129"/>
                  </a:cubicBezTo>
                  <a:cubicBezTo>
                    <a:pt x="193" y="1062"/>
                    <a:pt x="275" y="1122"/>
                    <a:pt x="312" y="1137"/>
                  </a:cubicBezTo>
                  <a:cubicBezTo>
                    <a:pt x="312" y="1151"/>
                    <a:pt x="312" y="1174"/>
                    <a:pt x="312" y="1188"/>
                  </a:cubicBezTo>
                  <a:cubicBezTo>
                    <a:pt x="319" y="1188"/>
                    <a:pt x="334" y="1196"/>
                    <a:pt x="342" y="1188"/>
                  </a:cubicBezTo>
                  <a:cubicBezTo>
                    <a:pt x="364" y="1277"/>
                    <a:pt x="497" y="1196"/>
                    <a:pt x="535" y="1203"/>
                  </a:cubicBezTo>
                  <a:cubicBezTo>
                    <a:pt x="535" y="1211"/>
                    <a:pt x="542" y="1218"/>
                    <a:pt x="542" y="1226"/>
                  </a:cubicBezTo>
                  <a:cubicBezTo>
                    <a:pt x="602" y="1226"/>
                    <a:pt x="594" y="1277"/>
                    <a:pt x="587" y="1322"/>
                  </a:cubicBezTo>
                  <a:cubicBezTo>
                    <a:pt x="587" y="1337"/>
                    <a:pt x="587" y="1367"/>
                    <a:pt x="594" y="1382"/>
                  </a:cubicBezTo>
                  <a:cubicBezTo>
                    <a:pt x="602" y="1389"/>
                    <a:pt x="639" y="1411"/>
                    <a:pt x="639" y="1396"/>
                  </a:cubicBezTo>
                  <a:cubicBezTo>
                    <a:pt x="624" y="1485"/>
                    <a:pt x="602" y="1604"/>
                    <a:pt x="653" y="1679"/>
                  </a:cubicBezTo>
                  <a:cubicBezTo>
                    <a:pt x="676" y="1716"/>
                    <a:pt x="676" y="1745"/>
                    <a:pt x="691" y="1782"/>
                  </a:cubicBezTo>
                  <a:cubicBezTo>
                    <a:pt x="705" y="1820"/>
                    <a:pt x="757" y="1805"/>
                    <a:pt x="787" y="1805"/>
                  </a:cubicBezTo>
                  <a:cubicBezTo>
                    <a:pt x="787" y="1857"/>
                    <a:pt x="802" y="1879"/>
                    <a:pt x="847" y="1901"/>
                  </a:cubicBezTo>
                  <a:cubicBezTo>
                    <a:pt x="891" y="1924"/>
                    <a:pt x="936" y="1983"/>
                    <a:pt x="950" y="2035"/>
                  </a:cubicBezTo>
                  <a:cubicBezTo>
                    <a:pt x="973" y="2102"/>
                    <a:pt x="817" y="2280"/>
                    <a:pt x="958" y="2302"/>
                  </a:cubicBezTo>
                  <a:cubicBezTo>
                    <a:pt x="973" y="2302"/>
                    <a:pt x="988" y="2302"/>
                    <a:pt x="995" y="2302"/>
                  </a:cubicBezTo>
                  <a:cubicBezTo>
                    <a:pt x="1017" y="2295"/>
                    <a:pt x="1032" y="2317"/>
                    <a:pt x="1054" y="2310"/>
                  </a:cubicBezTo>
                  <a:cubicBezTo>
                    <a:pt x="1054" y="2273"/>
                    <a:pt x="1032" y="2243"/>
                    <a:pt x="1040" y="2206"/>
                  </a:cubicBezTo>
                  <a:cubicBezTo>
                    <a:pt x="1047" y="2161"/>
                    <a:pt x="1121" y="2184"/>
                    <a:pt x="1151" y="2184"/>
                  </a:cubicBezTo>
                  <a:cubicBezTo>
                    <a:pt x="1136" y="2154"/>
                    <a:pt x="1129" y="2132"/>
                    <a:pt x="1129" y="2102"/>
                  </a:cubicBezTo>
                  <a:cubicBezTo>
                    <a:pt x="1144" y="2102"/>
                    <a:pt x="1144" y="2094"/>
                    <a:pt x="1151" y="2094"/>
                  </a:cubicBezTo>
                  <a:cubicBezTo>
                    <a:pt x="1129" y="2094"/>
                    <a:pt x="1107" y="2087"/>
                    <a:pt x="1114" y="2065"/>
                  </a:cubicBezTo>
                  <a:cubicBezTo>
                    <a:pt x="1233" y="2042"/>
                    <a:pt x="1247" y="2198"/>
                    <a:pt x="1352" y="2191"/>
                  </a:cubicBezTo>
                  <a:cubicBezTo>
                    <a:pt x="1366" y="2176"/>
                    <a:pt x="1352" y="2139"/>
                    <a:pt x="1374" y="2124"/>
                  </a:cubicBezTo>
                  <a:cubicBezTo>
                    <a:pt x="1389" y="2109"/>
                    <a:pt x="1426" y="2124"/>
                    <a:pt x="1448" y="2124"/>
                  </a:cubicBezTo>
                  <a:cubicBezTo>
                    <a:pt x="1448" y="2102"/>
                    <a:pt x="1455" y="2087"/>
                    <a:pt x="1455" y="2065"/>
                  </a:cubicBezTo>
                  <a:cubicBezTo>
                    <a:pt x="1493" y="2042"/>
                    <a:pt x="1522" y="2117"/>
                    <a:pt x="1567" y="2124"/>
                  </a:cubicBezTo>
                  <a:cubicBezTo>
                    <a:pt x="1559" y="2124"/>
                    <a:pt x="1567" y="2132"/>
                    <a:pt x="1559" y="2139"/>
                  </a:cubicBezTo>
                  <a:cubicBezTo>
                    <a:pt x="1507" y="2161"/>
                    <a:pt x="1522" y="2280"/>
                    <a:pt x="1515" y="2325"/>
                  </a:cubicBezTo>
                  <a:cubicBezTo>
                    <a:pt x="1507" y="2362"/>
                    <a:pt x="1470" y="2488"/>
                    <a:pt x="1544" y="2466"/>
                  </a:cubicBezTo>
                  <a:cubicBezTo>
                    <a:pt x="1552" y="2421"/>
                    <a:pt x="1582" y="2414"/>
                    <a:pt x="1619" y="2421"/>
                  </a:cubicBezTo>
                  <a:cubicBezTo>
                    <a:pt x="1619" y="2399"/>
                    <a:pt x="1619" y="2384"/>
                    <a:pt x="1612" y="2369"/>
                  </a:cubicBezTo>
                  <a:cubicBezTo>
                    <a:pt x="1649" y="2392"/>
                    <a:pt x="1730" y="2384"/>
                    <a:pt x="1760" y="2362"/>
                  </a:cubicBezTo>
                  <a:cubicBezTo>
                    <a:pt x="1790" y="2339"/>
                    <a:pt x="1804" y="2302"/>
                    <a:pt x="1842" y="2287"/>
                  </a:cubicBezTo>
                  <a:cubicBezTo>
                    <a:pt x="1834" y="2280"/>
                    <a:pt x="1827" y="2265"/>
                    <a:pt x="1819" y="2258"/>
                  </a:cubicBezTo>
                  <a:cubicBezTo>
                    <a:pt x="1827" y="2265"/>
                    <a:pt x="1834" y="2280"/>
                    <a:pt x="1842" y="2287"/>
                  </a:cubicBezTo>
                  <a:lnTo>
                    <a:pt x="1842" y="2287"/>
                  </a:lnTo>
                  <a:cubicBezTo>
                    <a:pt x="1864" y="2280"/>
                    <a:pt x="1901" y="2295"/>
                    <a:pt x="1923" y="228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89" name="Freeform 7">
              <a:extLst>
                <a:ext uri="{FF2B5EF4-FFF2-40B4-BE49-F238E27FC236}">
                  <a16:creationId xmlns:a16="http://schemas.microsoft.com/office/drawing/2014/main" id="{1F493704-F1A4-624A-BACB-24D09473AA4D}"/>
                </a:ext>
              </a:extLst>
            </p:cNvPr>
            <p:cNvSpPr>
              <a:spLocks noChangeArrowheads="1"/>
            </p:cNvSpPr>
            <p:nvPr/>
          </p:nvSpPr>
          <p:spPr bwMode="auto">
            <a:xfrm>
              <a:off x="9251061" y="7745474"/>
              <a:ext cx="2497338" cy="1992732"/>
            </a:xfrm>
            <a:custGeom>
              <a:avLst/>
              <a:gdLst>
                <a:gd name="T0" fmla="*/ 757 w 5778"/>
                <a:gd name="T1" fmla="*/ 4611 h 4612"/>
                <a:gd name="T2" fmla="*/ 920 w 5778"/>
                <a:gd name="T3" fmla="*/ 4448 h 4612"/>
                <a:gd name="T4" fmla="*/ 913 w 5778"/>
                <a:gd name="T5" fmla="*/ 4077 h 4612"/>
                <a:gd name="T6" fmla="*/ 1091 w 5778"/>
                <a:gd name="T7" fmla="*/ 3936 h 4612"/>
                <a:gd name="T8" fmla="*/ 1388 w 5778"/>
                <a:gd name="T9" fmla="*/ 3676 h 4612"/>
                <a:gd name="T10" fmla="*/ 1916 w 5778"/>
                <a:gd name="T11" fmla="*/ 3690 h 4612"/>
                <a:gd name="T12" fmla="*/ 2027 w 5778"/>
                <a:gd name="T13" fmla="*/ 3334 h 4612"/>
                <a:gd name="T14" fmla="*/ 2495 w 5778"/>
                <a:gd name="T15" fmla="*/ 3482 h 4612"/>
                <a:gd name="T16" fmla="*/ 2584 w 5778"/>
                <a:gd name="T17" fmla="*/ 3208 h 4612"/>
                <a:gd name="T18" fmla="*/ 2822 w 5778"/>
                <a:gd name="T19" fmla="*/ 3030 h 4612"/>
                <a:gd name="T20" fmla="*/ 2955 w 5778"/>
                <a:gd name="T21" fmla="*/ 2918 h 4612"/>
                <a:gd name="T22" fmla="*/ 3364 w 5778"/>
                <a:gd name="T23" fmla="*/ 2792 h 4612"/>
                <a:gd name="T24" fmla="*/ 3512 w 5778"/>
                <a:gd name="T25" fmla="*/ 2495 h 4612"/>
                <a:gd name="T26" fmla="*/ 3653 w 5778"/>
                <a:gd name="T27" fmla="*/ 2027 h 4612"/>
                <a:gd name="T28" fmla="*/ 3780 w 5778"/>
                <a:gd name="T29" fmla="*/ 1997 h 4612"/>
                <a:gd name="T30" fmla="*/ 3965 w 5778"/>
                <a:gd name="T31" fmla="*/ 1626 h 4612"/>
                <a:gd name="T32" fmla="*/ 4396 w 5778"/>
                <a:gd name="T33" fmla="*/ 1864 h 4612"/>
                <a:gd name="T34" fmla="*/ 4589 w 5778"/>
                <a:gd name="T35" fmla="*/ 1849 h 4612"/>
                <a:gd name="T36" fmla="*/ 4782 w 5778"/>
                <a:gd name="T37" fmla="*/ 1960 h 4612"/>
                <a:gd name="T38" fmla="*/ 5094 w 5778"/>
                <a:gd name="T39" fmla="*/ 2005 h 4612"/>
                <a:gd name="T40" fmla="*/ 5116 w 5778"/>
                <a:gd name="T41" fmla="*/ 2540 h 4612"/>
                <a:gd name="T42" fmla="*/ 5287 w 5778"/>
                <a:gd name="T43" fmla="*/ 2554 h 4612"/>
                <a:gd name="T44" fmla="*/ 5532 w 5778"/>
                <a:gd name="T45" fmla="*/ 2101 h 4612"/>
                <a:gd name="T46" fmla="*/ 5740 w 5778"/>
                <a:gd name="T47" fmla="*/ 2079 h 4612"/>
                <a:gd name="T48" fmla="*/ 5450 w 5778"/>
                <a:gd name="T49" fmla="*/ 1804 h 4612"/>
                <a:gd name="T50" fmla="*/ 5435 w 5778"/>
                <a:gd name="T51" fmla="*/ 1485 h 4612"/>
                <a:gd name="T52" fmla="*/ 5554 w 5778"/>
                <a:gd name="T53" fmla="*/ 987 h 4612"/>
                <a:gd name="T54" fmla="*/ 5629 w 5778"/>
                <a:gd name="T55" fmla="*/ 750 h 4612"/>
                <a:gd name="T56" fmla="*/ 5354 w 5778"/>
                <a:gd name="T57" fmla="*/ 497 h 4612"/>
                <a:gd name="T58" fmla="*/ 4797 w 5778"/>
                <a:gd name="T59" fmla="*/ 482 h 4612"/>
                <a:gd name="T60" fmla="*/ 4418 w 5778"/>
                <a:gd name="T61" fmla="*/ 438 h 4612"/>
                <a:gd name="T62" fmla="*/ 4017 w 5778"/>
                <a:gd name="T63" fmla="*/ 453 h 4612"/>
                <a:gd name="T64" fmla="*/ 3379 w 5778"/>
                <a:gd name="T65" fmla="*/ 431 h 4612"/>
                <a:gd name="T66" fmla="*/ 3193 w 5778"/>
                <a:gd name="T67" fmla="*/ 341 h 4612"/>
                <a:gd name="T68" fmla="*/ 2807 w 5778"/>
                <a:gd name="T69" fmla="*/ 571 h 4612"/>
                <a:gd name="T70" fmla="*/ 2502 w 5778"/>
                <a:gd name="T71" fmla="*/ 683 h 4612"/>
                <a:gd name="T72" fmla="*/ 2005 w 5778"/>
                <a:gd name="T73" fmla="*/ 460 h 4612"/>
                <a:gd name="T74" fmla="*/ 1336 w 5778"/>
                <a:gd name="T75" fmla="*/ 0 h 4612"/>
                <a:gd name="T76" fmla="*/ 1099 w 5778"/>
                <a:gd name="T77" fmla="*/ 52 h 4612"/>
                <a:gd name="T78" fmla="*/ 928 w 5778"/>
                <a:gd name="T79" fmla="*/ 260 h 4612"/>
                <a:gd name="T80" fmla="*/ 1032 w 5778"/>
                <a:gd name="T81" fmla="*/ 416 h 4612"/>
                <a:gd name="T82" fmla="*/ 735 w 5778"/>
                <a:gd name="T83" fmla="*/ 601 h 4612"/>
                <a:gd name="T84" fmla="*/ 765 w 5778"/>
                <a:gd name="T85" fmla="*/ 995 h 4612"/>
                <a:gd name="T86" fmla="*/ 564 w 5778"/>
                <a:gd name="T87" fmla="*/ 1047 h 4612"/>
                <a:gd name="T88" fmla="*/ 386 w 5778"/>
                <a:gd name="T89" fmla="*/ 1322 h 4612"/>
                <a:gd name="T90" fmla="*/ 104 w 5778"/>
                <a:gd name="T91" fmla="*/ 1181 h 4612"/>
                <a:gd name="T92" fmla="*/ 67 w 5778"/>
                <a:gd name="T93" fmla="*/ 1396 h 4612"/>
                <a:gd name="T94" fmla="*/ 126 w 5778"/>
                <a:gd name="T95" fmla="*/ 1633 h 4612"/>
                <a:gd name="T96" fmla="*/ 67 w 5778"/>
                <a:gd name="T97" fmla="*/ 1916 h 4612"/>
                <a:gd name="T98" fmla="*/ 185 w 5778"/>
                <a:gd name="T99" fmla="*/ 1916 h 4612"/>
                <a:gd name="T100" fmla="*/ 111 w 5778"/>
                <a:gd name="T101" fmla="*/ 2131 h 4612"/>
                <a:gd name="T102" fmla="*/ 81 w 5778"/>
                <a:gd name="T103" fmla="*/ 2287 h 4612"/>
                <a:gd name="T104" fmla="*/ 81 w 5778"/>
                <a:gd name="T105" fmla="*/ 2480 h 4612"/>
                <a:gd name="T106" fmla="*/ 81 w 5778"/>
                <a:gd name="T107" fmla="*/ 2562 h 4612"/>
                <a:gd name="T108" fmla="*/ 185 w 5778"/>
                <a:gd name="T109" fmla="*/ 3059 h 4612"/>
                <a:gd name="T110" fmla="*/ 215 w 5778"/>
                <a:gd name="T111" fmla="*/ 3356 h 4612"/>
                <a:gd name="T112" fmla="*/ 245 w 5778"/>
                <a:gd name="T113" fmla="*/ 3728 h 4612"/>
                <a:gd name="T114" fmla="*/ 312 w 5778"/>
                <a:gd name="T115" fmla="*/ 4166 h 4612"/>
                <a:gd name="T116" fmla="*/ 475 w 5778"/>
                <a:gd name="T117" fmla="*/ 4470 h 4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78" h="4612">
                  <a:moveTo>
                    <a:pt x="475" y="4470"/>
                  </a:moveTo>
                  <a:lnTo>
                    <a:pt x="475" y="4470"/>
                  </a:lnTo>
                  <a:cubicBezTo>
                    <a:pt x="482" y="4441"/>
                    <a:pt x="505" y="4441"/>
                    <a:pt x="542" y="4441"/>
                  </a:cubicBezTo>
                  <a:cubicBezTo>
                    <a:pt x="557" y="4500"/>
                    <a:pt x="601" y="4522"/>
                    <a:pt x="601" y="4582"/>
                  </a:cubicBezTo>
                  <a:cubicBezTo>
                    <a:pt x="646" y="4589"/>
                    <a:pt x="698" y="4611"/>
                    <a:pt x="742" y="4611"/>
                  </a:cubicBezTo>
                  <a:cubicBezTo>
                    <a:pt x="742" y="4611"/>
                    <a:pt x="750" y="4611"/>
                    <a:pt x="757" y="4611"/>
                  </a:cubicBezTo>
                  <a:cubicBezTo>
                    <a:pt x="750" y="4604"/>
                    <a:pt x="735" y="4604"/>
                    <a:pt x="720" y="4604"/>
                  </a:cubicBezTo>
                  <a:cubicBezTo>
                    <a:pt x="705" y="4537"/>
                    <a:pt x="824" y="4515"/>
                    <a:pt x="869" y="4522"/>
                  </a:cubicBezTo>
                  <a:cubicBezTo>
                    <a:pt x="869" y="4507"/>
                    <a:pt x="861" y="4500"/>
                    <a:pt x="846" y="4492"/>
                  </a:cubicBezTo>
                  <a:lnTo>
                    <a:pt x="846" y="4485"/>
                  </a:lnTo>
                  <a:cubicBezTo>
                    <a:pt x="876" y="4485"/>
                    <a:pt x="891" y="4500"/>
                    <a:pt x="920" y="4500"/>
                  </a:cubicBezTo>
                  <a:cubicBezTo>
                    <a:pt x="920" y="4485"/>
                    <a:pt x="920" y="4463"/>
                    <a:pt x="920" y="4448"/>
                  </a:cubicBezTo>
                  <a:cubicBezTo>
                    <a:pt x="950" y="4441"/>
                    <a:pt x="1017" y="4381"/>
                    <a:pt x="980" y="4351"/>
                  </a:cubicBezTo>
                  <a:cubicBezTo>
                    <a:pt x="950" y="4337"/>
                    <a:pt x="898" y="4351"/>
                    <a:pt x="913" y="4299"/>
                  </a:cubicBezTo>
                  <a:cubicBezTo>
                    <a:pt x="943" y="4284"/>
                    <a:pt x="972" y="4292"/>
                    <a:pt x="1010" y="4292"/>
                  </a:cubicBezTo>
                  <a:cubicBezTo>
                    <a:pt x="1017" y="4247"/>
                    <a:pt x="995" y="4136"/>
                    <a:pt x="928" y="4144"/>
                  </a:cubicBezTo>
                  <a:cubicBezTo>
                    <a:pt x="913" y="4181"/>
                    <a:pt x="891" y="4151"/>
                    <a:pt x="891" y="4129"/>
                  </a:cubicBezTo>
                  <a:cubicBezTo>
                    <a:pt x="876" y="4092"/>
                    <a:pt x="891" y="4099"/>
                    <a:pt x="913" y="4077"/>
                  </a:cubicBezTo>
                  <a:cubicBezTo>
                    <a:pt x="943" y="4047"/>
                    <a:pt x="854" y="3987"/>
                    <a:pt x="854" y="3950"/>
                  </a:cubicBezTo>
                  <a:cubicBezTo>
                    <a:pt x="883" y="3943"/>
                    <a:pt x="891" y="3980"/>
                    <a:pt x="920" y="3973"/>
                  </a:cubicBezTo>
                  <a:cubicBezTo>
                    <a:pt x="920" y="3950"/>
                    <a:pt x="920" y="3936"/>
                    <a:pt x="950" y="3928"/>
                  </a:cubicBezTo>
                  <a:cubicBezTo>
                    <a:pt x="1002" y="3921"/>
                    <a:pt x="972" y="3928"/>
                    <a:pt x="987" y="3891"/>
                  </a:cubicBezTo>
                  <a:cubicBezTo>
                    <a:pt x="1002" y="3869"/>
                    <a:pt x="1047" y="3876"/>
                    <a:pt x="1069" y="3876"/>
                  </a:cubicBezTo>
                  <a:cubicBezTo>
                    <a:pt x="1091" y="3891"/>
                    <a:pt x="1091" y="3913"/>
                    <a:pt x="1091" y="3936"/>
                  </a:cubicBezTo>
                  <a:cubicBezTo>
                    <a:pt x="1128" y="3936"/>
                    <a:pt x="1151" y="3921"/>
                    <a:pt x="1180" y="3928"/>
                  </a:cubicBezTo>
                  <a:cubicBezTo>
                    <a:pt x="1143" y="3891"/>
                    <a:pt x="1173" y="3854"/>
                    <a:pt x="1225" y="3854"/>
                  </a:cubicBezTo>
                  <a:cubicBezTo>
                    <a:pt x="1232" y="3832"/>
                    <a:pt x="1285" y="3824"/>
                    <a:pt x="1307" y="3824"/>
                  </a:cubicBezTo>
                  <a:cubicBezTo>
                    <a:pt x="1351" y="3817"/>
                    <a:pt x="1366" y="3787"/>
                    <a:pt x="1366" y="3742"/>
                  </a:cubicBezTo>
                  <a:cubicBezTo>
                    <a:pt x="1381" y="3742"/>
                    <a:pt x="1388" y="3742"/>
                    <a:pt x="1396" y="3742"/>
                  </a:cubicBezTo>
                  <a:cubicBezTo>
                    <a:pt x="1396" y="3728"/>
                    <a:pt x="1403" y="3683"/>
                    <a:pt x="1388" y="3676"/>
                  </a:cubicBezTo>
                  <a:cubicBezTo>
                    <a:pt x="1448" y="3676"/>
                    <a:pt x="1522" y="3683"/>
                    <a:pt x="1559" y="3735"/>
                  </a:cubicBezTo>
                  <a:cubicBezTo>
                    <a:pt x="1574" y="3757"/>
                    <a:pt x="1611" y="3750"/>
                    <a:pt x="1633" y="3742"/>
                  </a:cubicBezTo>
                  <a:cubicBezTo>
                    <a:pt x="1656" y="3735"/>
                    <a:pt x="1641" y="3705"/>
                    <a:pt x="1641" y="3690"/>
                  </a:cubicBezTo>
                  <a:cubicBezTo>
                    <a:pt x="1700" y="3668"/>
                    <a:pt x="1797" y="3698"/>
                    <a:pt x="1864" y="3690"/>
                  </a:cubicBezTo>
                  <a:cubicBezTo>
                    <a:pt x="1864" y="3676"/>
                    <a:pt x="1864" y="3661"/>
                    <a:pt x="1864" y="3653"/>
                  </a:cubicBezTo>
                  <a:cubicBezTo>
                    <a:pt x="1916" y="3646"/>
                    <a:pt x="1886" y="3668"/>
                    <a:pt x="1916" y="3690"/>
                  </a:cubicBezTo>
                  <a:cubicBezTo>
                    <a:pt x="1953" y="3713"/>
                    <a:pt x="1953" y="3661"/>
                    <a:pt x="1953" y="3646"/>
                  </a:cubicBezTo>
                  <a:cubicBezTo>
                    <a:pt x="1945" y="3609"/>
                    <a:pt x="1953" y="3587"/>
                    <a:pt x="1938" y="3557"/>
                  </a:cubicBezTo>
                  <a:cubicBezTo>
                    <a:pt x="1923" y="3527"/>
                    <a:pt x="1938" y="3505"/>
                    <a:pt x="1960" y="3490"/>
                  </a:cubicBezTo>
                  <a:cubicBezTo>
                    <a:pt x="1968" y="3453"/>
                    <a:pt x="1930" y="3423"/>
                    <a:pt x="1938" y="3386"/>
                  </a:cubicBezTo>
                  <a:cubicBezTo>
                    <a:pt x="1938" y="3356"/>
                    <a:pt x="1953" y="3319"/>
                    <a:pt x="1953" y="3282"/>
                  </a:cubicBezTo>
                  <a:cubicBezTo>
                    <a:pt x="1997" y="3275"/>
                    <a:pt x="2005" y="3304"/>
                    <a:pt x="2027" y="3334"/>
                  </a:cubicBezTo>
                  <a:cubicBezTo>
                    <a:pt x="2042" y="3342"/>
                    <a:pt x="2094" y="3356"/>
                    <a:pt x="2101" y="3334"/>
                  </a:cubicBezTo>
                  <a:cubicBezTo>
                    <a:pt x="2131" y="3334"/>
                    <a:pt x="2168" y="3386"/>
                    <a:pt x="2183" y="3416"/>
                  </a:cubicBezTo>
                  <a:cubicBezTo>
                    <a:pt x="2213" y="3416"/>
                    <a:pt x="2257" y="3431"/>
                    <a:pt x="2287" y="3416"/>
                  </a:cubicBezTo>
                  <a:lnTo>
                    <a:pt x="2287" y="3401"/>
                  </a:lnTo>
                  <a:cubicBezTo>
                    <a:pt x="2287" y="3401"/>
                    <a:pt x="2384" y="3438"/>
                    <a:pt x="2391" y="3438"/>
                  </a:cubicBezTo>
                  <a:cubicBezTo>
                    <a:pt x="2443" y="3438"/>
                    <a:pt x="2458" y="3453"/>
                    <a:pt x="2495" y="3482"/>
                  </a:cubicBezTo>
                  <a:cubicBezTo>
                    <a:pt x="2502" y="3460"/>
                    <a:pt x="2517" y="3453"/>
                    <a:pt x="2517" y="3438"/>
                  </a:cubicBezTo>
                  <a:cubicBezTo>
                    <a:pt x="2487" y="3423"/>
                    <a:pt x="2480" y="3379"/>
                    <a:pt x="2480" y="3349"/>
                  </a:cubicBezTo>
                  <a:cubicBezTo>
                    <a:pt x="2487" y="3327"/>
                    <a:pt x="2502" y="3319"/>
                    <a:pt x="2495" y="3297"/>
                  </a:cubicBezTo>
                  <a:cubicBezTo>
                    <a:pt x="2487" y="3282"/>
                    <a:pt x="2480" y="3267"/>
                    <a:pt x="2487" y="3252"/>
                  </a:cubicBezTo>
                  <a:cubicBezTo>
                    <a:pt x="2510" y="3252"/>
                    <a:pt x="2532" y="3267"/>
                    <a:pt x="2562" y="3267"/>
                  </a:cubicBezTo>
                  <a:cubicBezTo>
                    <a:pt x="2584" y="3267"/>
                    <a:pt x="2569" y="3223"/>
                    <a:pt x="2584" y="3208"/>
                  </a:cubicBezTo>
                  <a:cubicBezTo>
                    <a:pt x="2606" y="3185"/>
                    <a:pt x="2606" y="3163"/>
                    <a:pt x="2643" y="3156"/>
                  </a:cubicBezTo>
                  <a:cubicBezTo>
                    <a:pt x="2673" y="3156"/>
                    <a:pt x="2695" y="3171"/>
                    <a:pt x="2725" y="3171"/>
                  </a:cubicBezTo>
                  <a:cubicBezTo>
                    <a:pt x="2755" y="3252"/>
                    <a:pt x="2762" y="3163"/>
                    <a:pt x="2807" y="3148"/>
                  </a:cubicBezTo>
                  <a:cubicBezTo>
                    <a:pt x="2836" y="3141"/>
                    <a:pt x="2844" y="3119"/>
                    <a:pt x="2814" y="3096"/>
                  </a:cubicBezTo>
                  <a:cubicBezTo>
                    <a:pt x="2792" y="3082"/>
                    <a:pt x="2807" y="3052"/>
                    <a:pt x="2814" y="3030"/>
                  </a:cubicBezTo>
                  <a:cubicBezTo>
                    <a:pt x="2814" y="3030"/>
                    <a:pt x="2814" y="3030"/>
                    <a:pt x="2822" y="3030"/>
                  </a:cubicBezTo>
                  <a:cubicBezTo>
                    <a:pt x="2822" y="3037"/>
                    <a:pt x="2822" y="3045"/>
                    <a:pt x="2822" y="3052"/>
                  </a:cubicBezTo>
                  <a:cubicBezTo>
                    <a:pt x="2859" y="3074"/>
                    <a:pt x="2896" y="3067"/>
                    <a:pt x="2933" y="3052"/>
                  </a:cubicBezTo>
                  <a:cubicBezTo>
                    <a:pt x="2926" y="3052"/>
                    <a:pt x="2948" y="3030"/>
                    <a:pt x="2948" y="3030"/>
                  </a:cubicBezTo>
                  <a:cubicBezTo>
                    <a:pt x="2955" y="3022"/>
                    <a:pt x="2948" y="3000"/>
                    <a:pt x="2948" y="2985"/>
                  </a:cubicBezTo>
                  <a:cubicBezTo>
                    <a:pt x="2985" y="2985"/>
                    <a:pt x="2985" y="2985"/>
                    <a:pt x="2985" y="2948"/>
                  </a:cubicBezTo>
                  <a:cubicBezTo>
                    <a:pt x="2985" y="2933"/>
                    <a:pt x="2970" y="2918"/>
                    <a:pt x="2955" y="2918"/>
                  </a:cubicBezTo>
                  <a:cubicBezTo>
                    <a:pt x="2985" y="2822"/>
                    <a:pt x="3089" y="2918"/>
                    <a:pt x="3126" y="2859"/>
                  </a:cubicBezTo>
                  <a:cubicBezTo>
                    <a:pt x="3148" y="2822"/>
                    <a:pt x="3193" y="2814"/>
                    <a:pt x="3215" y="2777"/>
                  </a:cubicBezTo>
                  <a:cubicBezTo>
                    <a:pt x="3245" y="2732"/>
                    <a:pt x="3230" y="2718"/>
                    <a:pt x="3289" y="2725"/>
                  </a:cubicBezTo>
                  <a:cubicBezTo>
                    <a:pt x="3297" y="2755"/>
                    <a:pt x="3282" y="2918"/>
                    <a:pt x="3341" y="2822"/>
                  </a:cubicBezTo>
                  <a:cubicBezTo>
                    <a:pt x="3349" y="2822"/>
                    <a:pt x="3349" y="2822"/>
                    <a:pt x="3356" y="2822"/>
                  </a:cubicBezTo>
                  <a:cubicBezTo>
                    <a:pt x="3356" y="2807"/>
                    <a:pt x="3356" y="2799"/>
                    <a:pt x="3364" y="2792"/>
                  </a:cubicBezTo>
                  <a:cubicBezTo>
                    <a:pt x="3371" y="2762"/>
                    <a:pt x="3394" y="2732"/>
                    <a:pt x="3379" y="2695"/>
                  </a:cubicBezTo>
                  <a:cubicBezTo>
                    <a:pt x="3371" y="2673"/>
                    <a:pt x="3356" y="2673"/>
                    <a:pt x="3356" y="2643"/>
                  </a:cubicBezTo>
                  <a:cubicBezTo>
                    <a:pt x="3379" y="2636"/>
                    <a:pt x="3379" y="2621"/>
                    <a:pt x="3371" y="2606"/>
                  </a:cubicBezTo>
                  <a:cubicBezTo>
                    <a:pt x="3394" y="2606"/>
                    <a:pt x="3408" y="2599"/>
                    <a:pt x="3401" y="2577"/>
                  </a:cubicBezTo>
                  <a:cubicBezTo>
                    <a:pt x="3423" y="2562"/>
                    <a:pt x="3460" y="2584"/>
                    <a:pt x="3482" y="2577"/>
                  </a:cubicBezTo>
                  <a:cubicBezTo>
                    <a:pt x="3497" y="2577"/>
                    <a:pt x="3505" y="2502"/>
                    <a:pt x="3512" y="2495"/>
                  </a:cubicBezTo>
                  <a:cubicBezTo>
                    <a:pt x="3534" y="2450"/>
                    <a:pt x="3564" y="2413"/>
                    <a:pt x="3601" y="2398"/>
                  </a:cubicBezTo>
                  <a:cubicBezTo>
                    <a:pt x="3631" y="2383"/>
                    <a:pt x="3646" y="2376"/>
                    <a:pt x="3639" y="2339"/>
                  </a:cubicBezTo>
                  <a:lnTo>
                    <a:pt x="3609" y="2339"/>
                  </a:lnTo>
                  <a:cubicBezTo>
                    <a:pt x="3616" y="2287"/>
                    <a:pt x="3482" y="2220"/>
                    <a:pt x="3579" y="2190"/>
                  </a:cubicBezTo>
                  <a:cubicBezTo>
                    <a:pt x="3624" y="2175"/>
                    <a:pt x="3594" y="2131"/>
                    <a:pt x="3616" y="2094"/>
                  </a:cubicBezTo>
                  <a:cubicBezTo>
                    <a:pt x="3631" y="2072"/>
                    <a:pt x="3661" y="2064"/>
                    <a:pt x="3653" y="2027"/>
                  </a:cubicBezTo>
                  <a:cubicBezTo>
                    <a:pt x="3668" y="2020"/>
                    <a:pt x="3683" y="2020"/>
                    <a:pt x="3698" y="2027"/>
                  </a:cubicBezTo>
                  <a:cubicBezTo>
                    <a:pt x="3691" y="2064"/>
                    <a:pt x="3750" y="2072"/>
                    <a:pt x="3728" y="2116"/>
                  </a:cubicBezTo>
                  <a:cubicBezTo>
                    <a:pt x="3750" y="2086"/>
                    <a:pt x="3794" y="2094"/>
                    <a:pt x="3824" y="2094"/>
                  </a:cubicBezTo>
                  <a:cubicBezTo>
                    <a:pt x="3831" y="2086"/>
                    <a:pt x="3839" y="2079"/>
                    <a:pt x="3839" y="2079"/>
                  </a:cubicBezTo>
                  <a:cubicBezTo>
                    <a:pt x="3824" y="2064"/>
                    <a:pt x="3824" y="2035"/>
                    <a:pt x="3802" y="2020"/>
                  </a:cubicBezTo>
                  <a:cubicBezTo>
                    <a:pt x="3787" y="2012"/>
                    <a:pt x="3780" y="2012"/>
                    <a:pt x="3780" y="1997"/>
                  </a:cubicBezTo>
                  <a:cubicBezTo>
                    <a:pt x="3839" y="1990"/>
                    <a:pt x="3876" y="1997"/>
                    <a:pt x="3921" y="1945"/>
                  </a:cubicBezTo>
                  <a:cubicBezTo>
                    <a:pt x="3943" y="1923"/>
                    <a:pt x="3943" y="1841"/>
                    <a:pt x="3943" y="1812"/>
                  </a:cubicBezTo>
                  <a:cubicBezTo>
                    <a:pt x="3943" y="1789"/>
                    <a:pt x="3913" y="1797"/>
                    <a:pt x="3928" y="1775"/>
                  </a:cubicBezTo>
                  <a:cubicBezTo>
                    <a:pt x="3936" y="1760"/>
                    <a:pt x="3958" y="1767"/>
                    <a:pt x="3965" y="1752"/>
                  </a:cubicBezTo>
                  <a:cubicBezTo>
                    <a:pt x="4002" y="1708"/>
                    <a:pt x="3936" y="1685"/>
                    <a:pt x="3936" y="1648"/>
                  </a:cubicBezTo>
                  <a:cubicBezTo>
                    <a:pt x="3943" y="1648"/>
                    <a:pt x="3958" y="1633"/>
                    <a:pt x="3965" y="1626"/>
                  </a:cubicBezTo>
                  <a:cubicBezTo>
                    <a:pt x="3980" y="1648"/>
                    <a:pt x="4077" y="1678"/>
                    <a:pt x="4077" y="1715"/>
                  </a:cubicBezTo>
                  <a:cubicBezTo>
                    <a:pt x="4121" y="1723"/>
                    <a:pt x="4166" y="1693"/>
                    <a:pt x="4210" y="1708"/>
                  </a:cubicBezTo>
                  <a:cubicBezTo>
                    <a:pt x="4247" y="1723"/>
                    <a:pt x="4285" y="1723"/>
                    <a:pt x="4322" y="1723"/>
                  </a:cubicBezTo>
                  <a:cubicBezTo>
                    <a:pt x="4322" y="1760"/>
                    <a:pt x="4322" y="1797"/>
                    <a:pt x="4322" y="1827"/>
                  </a:cubicBezTo>
                  <a:cubicBezTo>
                    <a:pt x="4351" y="1834"/>
                    <a:pt x="4388" y="1819"/>
                    <a:pt x="4418" y="1827"/>
                  </a:cubicBezTo>
                  <a:cubicBezTo>
                    <a:pt x="4426" y="1849"/>
                    <a:pt x="4411" y="1856"/>
                    <a:pt x="4396" y="1864"/>
                  </a:cubicBezTo>
                  <a:cubicBezTo>
                    <a:pt x="4374" y="1878"/>
                    <a:pt x="4374" y="1908"/>
                    <a:pt x="4374" y="1930"/>
                  </a:cubicBezTo>
                  <a:cubicBezTo>
                    <a:pt x="4411" y="1938"/>
                    <a:pt x="4455" y="1930"/>
                    <a:pt x="4493" y="1938"/>
                  </a:cubicBezTo>
                  <a:cubicBezTo>
                    <a:pt x="4493" y="1930"/>
                    <a:pt x="4493" y="1930"/>
                    <a:pt x="4500" y="1923"/>
                  </a:cubicBezTo>
                  <a:cubicBezTo>
                    <a:pt x="4537" y="1923"/>
                    <a:pt x="4544" y="1975"/>
                    <a:pt x="4589" y="1968"/>
                  </a:cubicBezTo>
                  <a:cubicBezTo>
                    <a:pt x="4574" y="1953"/>
                    <a:pt x="4559" y="1923"/>
                    <a:pt x="4589" y="1908"/>
                  </a:cubicBezTo>
                  <a:cubicBezTo>
                    <a:pt x="4589" y="1893"/>
                    <a:pt x="4589" y="1871"/>
                    <a:pt x="4589" y="1849"/>
                  </a:cubicBezTo>
                  <a:cubicBezTo>
                    <a:pt x="4596" y="1849"/>
                    <a:pt x="4604" y="1849"/>
                    <a:pt x="4611" y="1849"/>
                  </a:cubicBezTo>
                  <a:cubicBezTo>
                    <a:pt x="4619" y="1856"/>
                    <a:pt x="4619" y="1878"/>
                    <a:pt x="4626" y="1878"/>
                  </a:cubicBezTo>
                  <a:cubicBezTo>
                    <a:pt x="4641" y="1893"/>
                    <a:pt x="4671" y="1886"/>
                    <a:pt x="4693" y="1886"/>
                  </a:cubicBezTo>
                  <a:cubicBezTo>
                    <a:pt x="4693" y="1893"/>
                    <a:pt x="4693" y="1908"/>
                    <a:pt x="4693" y="1916"/>
                  </a:cubicBezTo>
                  <a:cubicBezTo>
                    <a:pt x="4700" y="1916"/>
                    <a:pt x="4715" y="1916"/>
                    <a:pt x="4723" y="1916"/>
                  </a:cubicBezTo>
                  <a:cubicBezTo>
                    <a:pt x="4715" y="1945"/>
                    <a:pt x="4760" y="1997"/>
                    <a:pt x="4782" y="1960"/>
                  </a:cubicBezTo>
                  <a:cubicBezTo>
                    <a:pt x="4790" y="1945"/>
                    <a:pt x="4775" y="1930"/>
                    <a:pt x="4790" y="1916"/>
                  </a:cubicBezTo>
                  <a:cubicBezTo>
                    <a:pt x="4804" y="1908"/>
                    <a:pt x="4819" y="1930"/>
                    <a:pt x="4819" y="1945"/>
                  </a:cubicBezTo>
                  <a:cubicBezTo>
                    <a:pt x="4841" y="1945"/>
                    <a:pt x="4849" y="1923"/>
                    <a:pt x="4849" y="1901"/>
                  </a:cubicBezTo>
                  <a:cubicBezTo>
                    <a:pt x="4886" y="1901"/>
                    <a:pt x="4908" y="1916"/>
                    <a:pt x="4945" y="1908"/>
                  </a:cubicBezTo>
                  <a:cubicBezTo>
                    <a:pt x="4960" y="1901"/>
                    <a:pt x="4968" y="1908"/>
                    <a:pt x="4983" y="1923"/>
                  </a:cubicBezTo>
                  <a:cubicBezTo>
                    <a:pt x="5005" y="1953"/>
                    <a:pt x="5049" y="1997"/>
                    <a:pt x="5094" y="2005"/>
                  </a:cubicBezTo>
                  <a:cubicBezTo>
                    <a:pt x="5094" y="2027"/>
                    <a:pt x="5116" y="2035"/>
                    <a:pt x="5116" y="2057"/>
                  </a:cubicBezTo>
                  <a:cubicBezTo>
                    <a:pt x="5116" y="2086"/>
                    <a:pt x="5109" y="2101"/>
                    <a:pt x="5101" y="2124"/>
                  </a:cubicBezTo>
                  <a:cubicBezTo>
                    <a:pt x="5087" y="2168"/>
                    <a:pt x="5101" y="2220"/>
                    <a:pt x="5072" y="2257"/>
                  </a:cubicBezTo>
                  <a:cubicBezTo>
                    <a:pt x="5035" y="2287"/>
                    <a:pt x="5012" y="2324"/>
                    <a:pt x="5064" y="2346"/>
                  </a:cubicBezTo>
                  <a:cubicBezTo>
                    <a:pt x="5094" y="2361"/>
                    <a:pt x="5109" y="2458"/>
                    <a:pt x="5101" y="2487"/>
                  </a:cubicBezTo>
                  <a:cubicBezTo>
                    <a:pt x="5057" y="2487"/>
                    <a:pt x="5101" y="2532"/>
                    <a:pt x="5116" y="2540"/>
                  </a:cubicBezTo>
                  <a:cubicBezTo>
                    <a:pt x="5153" y="2577"/>
                    <a:pt x="5205" y="2584"/>
                    <a:pt x="5250" y="2599"/>
                  </a:cubicBezTo>
                  <a:cubicBezTo>
                    <a:pt x="5265" y="2599"/>
                    <a:pt x="5272" y="2599"/>
                    <a:pt x="5280" y="2599"/>
                  </a:cubicBezTo>
                  <a:cubicBezTo>
                    <a:pt x="5280" y="2591"/>
                    <a:pt x="5280" y="2591"/>
                    <a:pt x="5280" y="2591"/>
                  </a:cubicBezTo>
                  <a:cubicBezTo>
                    <a:pt x="5280" y="2591"/>
                    <a:pt x="5280" y="2591"/>
                    <a:pt x="5280" y="2599"/>
                  </a:cubicBezTo>
                  <a:lnTo>
                    <a:pt x="5287" y="2599"/>
                  </a:lnTo>
                  <a:cubicBezTo>
                    <a:pt x="5287" y="2577"/>
                    <a:pt x="5287" y="2554"/>
                    <a:pt x="5287" y="2554"/>
                  </a:cubicBezTo>
                  <a:cubicBezTo>
                    <a:pt x="5272" y="2502"/>
                    <a:pt x="5324" y="2517"/>
                    <a:pt x="5361" y="2495"/>
                  </a:cubicBezTo>
                  <a:cubicBezTo>
                    <a:pt x="5421" y="2458"/>
                    <a:pt x="5346" y="2428"/>
                    <a:pt x="5332" y="2406"/>
                  </a:cubicBezTo>
                  <a:cubicBezTo>
                    <a:pt x="5317" y="2383"/>
                    <a:pt x="5302" y="2294"/>
                    <a:pt x="5339" y="2287"/>
                  </a:cubicBezTo>
                  <a:cubicBezTo>
                    <a:pt x="5384" y="2280"/>
                    <a:pt x="5339" y="2213"/>
                    <a:pt x="5384" y="2205"/>
                  </a:cubicBezTo>
                  <a:cubicBezTo>
                    <a:pt x="5384" y="2198"/>
                    <a:pt x="5384" y="2198"/>
                    <a:pt x="5384" y="2190"/>
                  </a:cubicBezTo>
                  <a:cubicBezTo>
                    <a:pt x="5428" y="2198"/>
                    <a:pt x="5502" y="2079"/>
                    <a:pt x="5532" y="2101"/>
                  </a:cubicBezTo>
                  <a:cubicBezTo>
                    <a:pt x="5554" y="2116"/>
                    <a:pt x="5562" y="2153"/>
                    <a:pt x="5591" y="2161"/>
                  </a:cubicBezTo>
                  <a:cubicBezTo>
                    <a:pt x="5614" y="2168"/>
                    <a:pt x="5651" y="2175"/>
                    <a:pt x="5681" y="2168"/>
                  </a:cubicBezTo>
                  <a:cubicBezTo>
                    <a:pt x="5688" y="2153"/>
                    <a:pt x="5703" y="2153"/>
                    <a:pt x="5718" y="2146"/>
                  </a:cubicBezTo>
                  <a:cubicBezTo>
                    <a:pt x="5725" y="2131"/>
                    <a:pt x="5725" y="2138"/>
                    <a:pt x="5733" y="2131"/>
                  </a:cubicBezTo>
                  <a:cubicBezTo>
                    <a:pt x="5733" y="2109"/>
                    <a:pt x="5747" y="2101"/>
                    <a:pt x="5762" y="2086"/>
                  </a:cubicBezTo>
                  <a:cubicBezTo>
                    <a:pt x="5755" y="2086"/>
                    <a:pt x="5747" y="2079"/>
                    <a:pt x="5740" y="2079"/>
                  </a:cubicBezTo>
                  <a:cubicBezTo>
                    <a:pt x="5733" y="2049"/>
                    <a:pt x="5777" y="2035"/>
                    <a:pt x="5770" y="2005"/>
                  </a:cubicBezTo>
                  <a:cubicBezTo>
                    <a:pt x="5755" y="1968"/>
                    <a:pt x="5695" y="1968"/>
                    <a:pt x="5658" y="1968"/>
                  </a:cubicBezTo>
                  <a:cubicBezTo>
                    <a:pt x="5658" y="1953"/>
                    <a:pt x="5651" y="1945"/>
                    <a:pt x="5651" y="1930"/>
                  </a:cubicBezTo>
                  <a:cubicBezTo>
                    <a:pt x="5599" y="1930"/>
                    <a:pt x="5599" y="1908"/>
                    <a:pt x="5599" y="1849"/>
                  </a:cubicBezTo>
                  <a:cubicBezTo>
                    <a:pt x="5562" y="1841"/>
                    <a:pt x="5569" y="1797"/>
                    <a:pt x="5540" y="1775"/>
                  </a:cubicBezTo>
                  <a:cubicBezTo>
                    <a:pt x="5502" y="1752"/>
                    <a:pt x="5480" y="1789"/>
                    <a:pt x="5450" y="1804"/>
                  </a:cubicBezTo>
                  <a:cubicBezTo>
                    <a:pt x="5428" y="1775"/>
                    <a:pt x="5458" y="1775"/>
                    <a:pt x="5473" y="1745"/>
                  </a:cubicBezTo>
                  <a:cubicBezTo>
                    <a:pt x="5480" y="1723"/>
                    <a:pt x="5450" y="1708"/>
                    <a:pt x="5458" y="1685"/>
                  </a:cubicBezTo>
                  <a:cubicBezTo>
                    <a:pt x="5517" y="1678"/>
                    <a:pt x="5525" y="1678"/>
                    <a:pt x="5525" y="1611"/>
                  </a:cubicBezTo>
                  <a:cubicBezTo>
                    <a:pt x="5532" y="1559"/>
                    <a:pt x="5510" y="1552"/>
                    <a:pt x="5465" y="1530"/>
                  </a:cubicBezTo>
                  <a:cubicBezTo>
                    <a:pt x="5458" y="1537"/>
                    <a:pt x="5443" y="1544"/>
                    <a:pt x="5435" y="1544"/>
                  </a:cubicBezTo>
                  <a:cubicBezTo>
                    <a:pt x="5428" y="1522"/>
                    <a:pt x="5428" y="1500"/>
                    <a:pt x="5435" y="1485"/>
                  </a:cubicBezTo>
                  <a:cubicBezTo>
                    <a:pt x="5443" y="1463"/>
                    <a:pt x="5465" y="1455"/>
                    <a:pt x="5458" y="1433"/>
                  </a:cubicBezTo>
                  <a:cubicBezTo>
                    <a:pt x="5465" y="1463"/>
                    <a:pt x="5554" y="1411"/>
                    <a:pt x="5562" y="1396"/>
                  </a:cubicBezTo>
                  <a:cubicBezTo>
                    <a:pt x="5584" y="1359"/>
                    <a:pt x="5577" y="1329"/>
                    <a:pt x="5577" y="1299"/>
                  </a:cubicBezTo>
                  <a:cubicBezTo>
                    <a:pt x="5577" y="1270"/>
                    <a:pt x="5584" y="1240"/>
                    <a:pt x="5584" y="1203"/>
                  </a:cubicBezTo>
                  <a:cubicBezTo>
                    <a:pt x="5554" y="1203"/>
                    <a:pt x="5532" y="1225"/>
                    <a:pt x="5510" y="1218"/>
                  </a:cubicBezTo>
                  <a:cubicBezTo>
                    <a:pt x="5510" y="1143"/>
                    <a:pt x="5606" y="1069"/>
                    <a:pt x="5554" y="987"/>
                  </a:cubicBezTo>
                  <a:cubicBezTo>
                    <a:pt x="5532" y="958"/>
                    <a:pt x="5495" y="973"/>
                    <a:pt x="5480" y="936"/>
                  </a:cubicBezTo>
                  <a:cubicBezTo>
                    <a:pt x="5465" y="913"/>
                    <a:pt x="5480" y="883"/>
                    <a:pt x="5473" y="854"/>
                  </a:cubicBezTo>
                  <a:cubicBezTo>
                    <a:pt x="5473" y="831"/>
                    <a:pt x="5465" y="817"/>
                    <a:pt x="5465" y="794"/>
                  </a:cubicBezTo>
                  <a:cubicBezTo>
                    <a:pt x="5488" y="787"/>
                    <a:pt x="5510" y="794"/>
                    <a:pt x="5502" y="824"/>
                  </a:cubicBezTo>
                  <a:cubicBezTo>
                    <a:pt x="5532" y="824"/>
                    <a:pt x="5547" y="787"/>
                    <a:pt x="5569" y="787"/>
                  </a:cubicBezTo>
                  <a:cubicBezTo>
                    <a:pt x="5599" y="779"/>
                    <a:pt x="5621" y="772"/>
                    <a:pt x="5629" y="750"/>
                  </a:cubicBezTo>
                  <a:cubicBezTo>
                    <a:pt x="5643" y="713"/>
                    <a:pt x="5629" y="698"/>
                    <a:pt x="5614" y="690"/>
                  </a:cubicBezTo>
                  <a:cubicBezTo>
                    <a:pt x="5599" y="705"/>
                    <a:pt x="5584" y="713"/>
                    <a:pt x="5554" y="713"/>
                  </a:cubicBezTo>
                  <a:cubicBezTo>
                    <a:pt x="5584" y="713"/>
                    <a:pt x="5599" y="705"/>
                    <a:pt x="5614" y="690"/>
                  </a:cubicBezTo>
                  <a:cubicBezTo>
                    <a:pt x="5599" y="676"/>
                    <a:pt x="5569" y="676"/>
                    <a:pt x="5547" y="668"/>
                  </a:cubicBezTo>
                  <a:cubicBezTo>
                    <a:pt x="5480" y="661"/>
                    <a:pt x="5435" y="609"/>
                    <a:pt x="5413" y="549"/>
                  </a:cubicBezTo>
                  <a:cubicBezTo>
                    <a:pt x="5398" y="520"/>
                    <a:pt x="5361" y="520"/>
                    <a:pt x="5354" y="497"/>
                  </a:cubicBezTo>
                  <a:cubicBezTo>
                    <a:pt x="5324" y="497"/>
                    <a:pt x="5317" y="497"/>
                    <a:pt x="5294" y="475"/>
                  </a:cubicBezTo>
                  <a:cubicBezTo>
                    <a:pt x="5287" y="468"/>
                    <a:pt x="5265" y="482"/>
                    <a:pt x="5257" y="490"/>
                  </a:cubicBezTo>
                  <a:cubicBezTo>
                    <a:pt x="5228" y="520"/>
                    <a:pt x="5213" y="527"/>
                    <a:pt x="5168" y="527"/>
                  </a:cubicBezTo>
                  <a:cubicBezTo>
                    <a:pt x="5124" y="534"/>
                    <a:pt x="5079" y="534"/>
                    <a:pt x="5042" y="520"/>
                  </a:cubicBezTo>
                  <a:cubicBezTo>
                    <a:pt x="4990" y="490"/>
                    <a:pt x="4960" y="482"/>
                    <a:pt x="4901" y="490"/>
                  </a:cubicBezTo>
                  <a:cubicBezTo>
                    <a:pt x="4886" y="490"/>
                    <a:pt x="4797" y="520"/>
                    <a:pt x="4797" y="482"/>
                  </a:cubicBezTo>
                  <a:cubicBezTo>
                    <a:pt x="4797" y="438"/>
                    <a:pt x="4760" y="431"/>
                    <a:pt x="4723" y="431"/>
                  </a:cubicBezTo>
                  <a:cubicBezTo>
                    <a:pt x="4671" y="431"/>
                    <a:pt x="4678" y="393"/>
                    <a:pt x="4648" y="371"/>
                  </a:cubicBezTo>
                  <a:cubicBezTo>
                    <a:pt x="4611" y="341"/>
                    <a:pt x="4604" y="408"/>
                    <a:pt x="4596" y="431"/>
                  </a:cubicBezTo>
                  <a:cubicBezTo>
                    <a:pt x="4582" y="431"/>
                    <a:pt x="4567" y="431"/>
                    <a:pt x="4552" y="431"/>
                  </a:cubicBezTo>
                  <a:cubicBezTo>
                    <a:pt x="4552" y="445"/>
                    <a:pt x="4552" y="453"/>
                    <a:pt x="4552" y="460"/>
                  </a:cubicBezTo>
                  <a:cubicBezTo>
                    <a:pt x="4507" y="460"/>
                    <a:pt x="4463" y="431"/>
                    <a:pt x="4418" y="438"/>
                  </a:cubicBezTo>
                  <a:cubicBezTo>
                    <a:pt x="4418" y="468"/>
                    <a:pt x="4418" y="490"/>
                    <a:pt x="4418" y="520"/>
                  </a:cubicBezTo>
                  <a:cubicBezTo>
                    <a:pt x="4359" y="520"/>
                    <a:pt x="4292" y="557"/>
                    <a:pt x="4233" y="527"/>
                  </a:cubicBezTo>
                  <a:cubicBezTo>
                    <a:pt x="4196" y="512"/>
                    <a:pt x="4166" y="460"/>
                    <a:pt x="4121" y="468"/>
                  </a:cubicBezTo>
                  <a:cubicBezTo>
                    <a:pt x="4114" y="490"/>
                    <a:pt x="4077" y="520"/>
                    <a:pt x="4062" y="482"/>
                  </a:cubicBezTo>
                  <a:cubicBezTo>
                    <a:pt x="4054" y="460"/>
                    <a:pt x="4062" y="438"/>
                    <a:pt x="4062" y="408"/>
                  </a:cubicBezTo>
                  <a:cubicBezTo>
                    <a:pt x="4032" y="401"/>
                    <a:pt x="4039" y="438"/>
                    <a:pt x="4017" y="453"/>
                  </a:cubicBezTo>
                  <a:cubicBezTo>
                    <a:pt x="3995" y="460"/>
                    <a:pt x="3973" y="445"/>
                    <a:pt x="3950" y="438"/>
                  </a:cubicBezTo>
                  <a:cubicBezTo>
                    <a:pt x="3898" y="408"/>
                    <a:pt x="3854" y="460"/>
                    <a:pt x="3846" y="505"/>
                  </a:cubicBezTo>
                  <a:cubicBezTo>
                    <a:pt x="3750" y="505"/>
                    <a:pt x="3668" y="564"/>
                    <a:pt x="3557" y="542"/>
                  </a:cubicBezTo>
                  <a:cubicBezTo>
                    <a:pt x="3520" y="534"/>
                    <a:pt x="3512" y="549"/>
                    <a:pt x="3482" y="512"/>
                  </a:cubicBezTo>
                  <a:cubicBezTo>
                    <a:pt x="3468" y="475"/>
                    <a:pt x="3438" y="534"/>
                    <a:pt x="3438" y="549"/>
                  </a:cubicBezTo>
                  <a:cubicBezTo>
                    <a:pt x="3401" y="542"/>
                    <a:pt x="3394" y="460"/>
                    <a:pt x="3379" y="431"/>
                  </a:cubicBezTo>
                  <a:cubicBezTo>
                    <a:pt x="3408" y="431"/>
                    <a:pt x="3453" y="445"/>
                    <a:pt x="3475" y="431"/>
                  </a:cubicBezTo>
                  <a:cubicBezTo>
                    <a:pt x="3475" y="438"/>
                    <a:pt x="3482" y="453"/>
                    <a:pt x="3482" y="460"/>
                  </a:cubicBezTo>
                  <a:cubicBezTo>
                    <a:pt x="3490" y="445"/>
                    <a:pt x="3505" y="438"/>
                    <a:pt x="3520" y="438"/>
                  </a:cubicBezTo>
                  <a:cubicBezTo>
                    <a:pt x="3475" y="386"/>
                    <a:pt x="3468" y="282"/>
                    <a:pt x="3401" y="267"/>
                  </a:cubicBezTo>
                  <a:cubicBezTo>
                    <a:pt x="3326" y="252"/>
                    <a:pt x="3297" y="282"/>
                    <a:pt x="3260" y="334"/>
                  </a:cubicBezTo>
                  <a:cubicBezTo>
                    <a:pt x="3237" y="334"/>
                    <a:pt x="3208" y="326"/>
                    <a:pt x="3193" y="341"/>
                  </a:cubicBezTo>
                  <a:cubicBezTo>
                    <a:pt x="3193" y="304"/>
                    <a:pt x="3126" y="312"/>
                    <a:pt x="3104" y="319"/>
                  </a:cubicBezTo>
                  <a:cubicBezTo>
                    <a:pt x="3059" y="326"/>
                    <a:pt x="3029" y="356"/>
                    <a:pt x="2978" y="356"/>
                  </a:cubicBezTo>
                  <a:cubicBezTo>
                    <a:pt x="2978" y="386"/>
                    <a:pt x="2970" y="401"/>
                    <a:pt x="2933" y="408"/>
                  </a:cubicBezTo>
                  <a:cubicBezTo>
                    <a:pt x="2940" y="431"/>
                    <a:pt x="2940" y="468"/>
                    <a:pt x="2911" y="482"/>
                  </a:cubicBezTo>
                  <a:cubicBezTo>
                    <a:pt x="2896" y="490"/>
                    <a:pt x="2881" y="490"/>
                    <a:pt x="2881" y="512"/>
                  </a:cubicBezTo>
                  <a:cubicBezTo>
                    <a:pt x="2844" y="512"/>
                    <a:pt x="2822" y="549"/>
                    <a:pt x="2807" y="571"/>
                  </a:cubicBezTo>
                  <a:cubicBezTo>
                    <a:pt x="2836" y="586"/>
                    <a:pt x="2851" y="594"/>
                    <a:pt x="2844" y="631"/>
                  </a:cubicBezTo>
                  <a:cubicBezTo>
                    <a:pt x="2822" y="624"/>
                    <a:pt x="2807" y="653"/>
                    <a:pt x="2784" y="661"/>
                  </a:cubicBezTo>
                  <a:cubicBezTo>
                    <a:pt x="2762" y="668"/>
                    <a:pt x="2732" y="653"/>
                    <a:pt x="2710" y="653"/>
                  </a:cubicBezTo>
                  <a:cubicBezTo>
                    <a:pt x="2703" y="676"/>
                    <a:pt x="2718" y="713"/>
                    <a:pt x="2688" y="713"/>
                  </a:cubicBezTo>
                  <a:cubicBezTo>
                    <a:pt x="2666" y="720"/>
                    <a:pt x="2643" y="713"/>
                    <a:pt x="2621" y="713"/>
                  </a:cubicBezTo>
                  <a:cubicBezTo>
                    <a:pt x="2591" y="713"/>
                    <a:pt x="2502" y="728"/>
                    <a:pt x="2502" y="683"/>
                  </a:cubicBezTo>
                  <a:cubicBezTo>
                    <a:pt x="2502" y="683"/>
                    <a:pt x="2502" y="683"/>
                    <a:pt x="2510" y="683"/>
                  </a:cubicBezTo>
                  <a:cubicBezTo>
                    <a:pt x="2524" y="646"/>
                    <a:pt x="2517" y="534"/>
                    <a:pt x="2480" y="520"/>
                  </a:cubicBezTo>
                  <a:cubicBezTo>
                    <a:pt x="2458" y="512"/>
                    <a:pt x="2421" y="512"/>
                    <a:pt x="2413" y="497"/>
                  </a:cubicBezTo>
                  <a:cubicBezTo>
                    <a:pt x="2391" y="460"/>
                    <a:pt x="2369" y="468"/>
                    <a:pt x="2332" y="468"/>
                  </a:cubicBezTo>
                  <a:cubicBezTo>
                    <a:pt x="2257" y="460"/>
                    <a:pt x="2168" y="497"/>
                    <a:pt x="2101" y="468"/>
                  </a:cubicBezTo>
                  <a:cubicBezTo>
                    <a:pt x="2064" y="445"/>
                    <a:pt x="2042" y="453"/>
                    <a:pt x="2005" y="460"/>
                  </a:cubicBezTo>
                  <a:cubicBezTo>
                    <a:pt x="1975" y="468"/>
                    <a:pt x="1953" y="445"/>
                    <a:pt x="1916" y="445"/>
                  </a:cubicBezTo>
                  <a:cubicBezTo>
                    <a:pt x="1849" y="453"/>
                    <a:pt x="1834" y="416"/>
                    <a:pt x="1804" y="356"/>
                  </a:cubicBezTo>
                  <a:cubicBezTo>
                    <a:pt x="1775" y="289"/>
                    <a:pt x="1745" y="267"/>
                    <a:pt x="1670" y="260"/>
                  </a:cubicBezTo>
                  <a:cubicBezTo>
                    <a:pt x="1611" y="252"/>
                    <a:pt x="1522" y="304"/>
                    <a:pt x="1470" y="252"/>
                  </a:cubicBezTo>
                  <a:cubicBezTo>
                    <a:pt x="1418" y="200"/>
                    <a:pt x="1425" y="134"/>
                    <a:pt x="1418" y="67"/>
                  </a:cubicBezTo>
                  <a:cubicBezTo>
                    <a:pt x="1418" y="74"/>
                    <a:pt x="1344" y="0"/>
                    <a:pt x="1336" y="0"/>
                  </a:cubicBezTo>
                  <a:cubicBezTo>
                    <a:pt x="1285" y="0"/>
                    <a:pt x="1299" y="81"/>
                    <a:pt x="1225" y="59"/>
                  </a:cubicBezTo>
                  <a:cubicBezTo>
                    <a:pt x="1203" y="52"/>
                    <a:pt x="1180" y="37"/>
                    <a:pt x="1158" y="29"/>
                  </a:cubicBezTo>
                  <a:cubicBezTo>
                    <a:pt x="1158" y="37"/>
                    <a:pt x="1166" y="37"/>
                    <a:pt x="1166" y="37"/>
                  </a:cubicBezTo>
                  <a:cubicBezTo>
                    <a:pt x="1166" y="37"/>
                    <a:pt x="1158" y="37"/>
                    <a:pt x="1158" y="29"/>
                  </a:cubicBezTo>
                  <a:lnTo>
                    <a:pt x="1151" y="29"/>
                  </a:lnTo>
                  <a:cubicBezTo>
                    <a:pt x="1128" y="37"/>
                    <a:pt x="1114" y="52"/>
                    <a:pt x="1099" y="52"/>
                  </a:cubicBezTo>
                  <a:cubicBezTo>
                    <a:pt x="1084" y="52"/>
                    <a:pt x="1069" y="59"/>
                    <a:pt x="1054" y="59"/>
                  </a:cubicBezTo>
                  <a:cubicBezTo>
                    <a:pt x="1017" y="67"/>
                    <a:pt x="1017" y="104"/>
                    <a:pt x="995" y="111"/>
                  </a:cubicBezTo>
                  <a:cubicBezTo>
                    <a:pt x="972" y="119"/>
                    <a:pt x="950" y="111"/>
                    <a:pt x="928" y="111"/>
                  </a:cubicBezTo>
                  <a:cubicBezTo>
                    <a:pt x="913" y="141"/>
                    <a:pt x="943" y="141"/>
                    <a:pt x="965" y="148"/>
                  </a:cubicBezTo>
                  <a:cubicBezTo>
                    <a:pt x="965" y="171"/>
                    <a:pt x="965" y="185"/>
                    <a:pt x="965" y="208"/>
                  </a:cubicBezTo>
                  <a:cubicBezTo>
                    <a:pt x="950" y="208"/>
                    <a:pt x="928" y="245"/>
                    <a:pt x="928" y="260"/>
                  </a:cubicBezTo>
                  <a:cubicBezTo>
                    <a:pt x="987" y="260"/>
                    <a:pt x="950" y="401"/>
                    <a:pt x="1047" y="319"/>
                  </a:cubicBezTo>
                  <a:cubicBezTo>
                    <a:pt x="1106" y="260"/>
                    <a:pt x="1225" y="319"/>
                    <a:pt x="1270" y="364"/>
                  </a:cubicBezTo>
                  <a:cubicBezTo>
                    <a:pt x="1247" y="356"/>
                    <a:pt x="1225" y="379"/>
                    <a:pt x="1203" y="379"/>
                  </a:cubicBezTo>
                  <a:cubicBezTo>
                    <a:pt x="1173" y="379"/>
                    <a:pt x="1151" y="364"/>
                    <a:pt x="1121" y="371"/>
                  </a:cubicBezTo>
                  <a:cubicBezTo>
                    <a:pt x="1114" y="379"/>
                    <a:pt x="1106" y="393"/>
                    <a:pt x="1099" y="401"/>
                  </a:cubicBezTo>
                  <a:cubicBezTo>
                    <a:pt x="1077" y="416"/>
                    <a:pt x="1054" y="416"/>
                    <a:pt x="1032" y="416"/>
                  </a:cubicBezTo>
                  <a:cubicBezTo>
                    <a:pt x="1032" y="423"/>
                    <a:pt x="1025" y="438"/>
                    <a:pt x="1025" y="453"/>
                  </a:cubicBezTo>
                  <a:cubicBezTo>
                    <a:pt x="995" y="460"/>
                    <a:pt x="935" y="445"/>
                    <a:pt x="913" y="482"/>
                  </a:cubicBezTo>
                  <a:cubicBezTo>
                    <a:pt x="898" y="505"/>
                    <a:pt x="913" y="542"/>
                    <a:pt x="883" y="549"/>
                  </a:cubicBezTo>
                  <a:cubicBezTo>
                    <a:pt x="861" y="557"/>
                    <a:pt x="846" y="571"/>
                    <a:pt x="824" y="571"/>
                  </a:cubicBezTo>
                  <a:cubicBezTo>
                    <a:pt x="794" y="586"/>
                    <a:pt x="765" y="571"/>
                    <a:pt x="727" y="571"/>
                  </a:cubicBezTo>
                  <a:cubicBezTo>
                    <a:pt x="727" y="571"/>
                    <a:pt x="735" y="594"/>
                    <a:pt x="735" y="601"/>
                  </a:cubicBezTo>
                  <a:cubicBezTo>
                    <a:pt x="742" y="609"/>
                    <a:pt x="772" y="609"/>
                    <a:pt x="780" y="609"/>
                  </a:cubicBezTo>
                  <a:cubicBezTo>
                    <a:pt x="831" y="609"/>
                    <a:pt x="831" y="631"/>
                    <a:pt x="869" y="661"/>
                  </a:cubicBezTo>
                  <a:cubicBezTo>
                    <a:pt x="935" y="720"/>
                    <a:pt x="950" y="779"/>
                    <a:pt x="943" y="869"/>
                  </a:cubicBezTo>
                  <a:cubicBezTo>
                    <a:pt x="928" y="869"/>
                    <a:pt x="854" y="869"/>
                    <a:pt x="854" y="883"/>
                  </a:cubicBezTo>
                  <a:cubicBezTo>
                    <a:pt x="846" y="898"/>
                    <a:pt x="869" y="913"/>
                    <a:pt x="869" y="928"/>
                  </a:cubicBezTo>
                  <a:cubicBezTo>
                    <a:pt x="869" y="987"/>
                    <a:pt x="780" y="943"/>
                    <a:pt x="765" y="995"/>
                  </a:cubicBezTo>
                  <a:cubicBezTo>
                    <a:pt x="750" y="973"/>
                    <a:pt x="742" y="958"/>
                    <a:pt x="713" y="965"/>
                  </a:cubicBezTo>
                  <a:cubicBezTo>
                    <a:pt x="713" y="943"/>
                    <a:pt x="713" y="928"/>
                    <a:pt x="713" y="913"/>
                  </a:cubicBezTo>
                  <a:cubicBezTo>
                    <a:pt x="683" y="906"/>
                    <a:pt x="653" y="913"/>
                    <a:pt x="631" y="891"/>
                  </a:cubicBezTo>
                  <a:cubicBezTo>
                    <a:pt x="609" y="869"/>
                    <a:pt x="616" y="846"/>
                    <a:pt x="579" y="854"/>
                  </a:cubicBezTo>
                  <a:cubicBezTo>
                    <a:pt x="579" y="869"/>
                    <a:pt x="564" y="883"/>
                    <a:pt x="557" y="906"/>
                  </a:cubicBezTo>
                  <a:cubicBezTo>
                    <a:pt x="623" y="913"/>
                    <a:pt x="579" y="1017"/>
                    <a:pt x="564" y="1047"/>
                  </a:cubicBezTo>
                  <a:cubicBezTo>
                    <a:pt x="557" y="1076"/>
                    <a:pt x="579" y="1121"/>
                    <a:pt x="549" y="1136"/>
                  </a:cubicBezTo>
                  <a:cubicBezTo>
                    <a:pt x="520" y="1151"/>
                    <a:pt x="527" y="1210"/>
                    <a:pt x="527" y="1240"/>
                  </a:cubicBezTo>
                  <a:cubicBezTo>
                    <a:pt x="505" y="1240"/>
                    <a:pt x="490" y="1240"/>
                    <a:pt x="475" y="1240"/>
                  </a:cubicBezTo>
                  <a:cubicBezTo>
                    <a:pt x="468" y="1240"/>
                    <a:pt x="460" y="1262"/>
                    <a:pt x="453" y="1262"/>
                  </a:cubicBezTo>
                  <a:cubicBezTo>
                    <a:pt x="430" y="1270"/>
                    <a:pt x="408" y="1255"/>
                    <a:pt x="386" y="1262"/>
                  </a:cubicBezTo>
                  <a:cubicBezTo>
                    <a:pt x="386" y="1284"/>
                    <a:pt x="386" y="1307"/>
                    <a:pt x="386" y="1322"/>
                  </a:cubicBezTo>
                  <a:cubicBezTo>
                    <a:pt x="230" y="1329"/>
                    <a:pt x="215" y="1463"/>
                    <a:pt x="170" y="1247"/>
                  </a:cubicBezTo>
                  <a:cubicBezTo>
                    <a:pt x="163" y="1218"/>
                    <a:pt x="163" y="1121"/>
                    <a:pt x="178" y="1069"/>
                  </a:cubicBezTo>
                  <a:cubicBezTo>
                    <a:pt x="178" y="1069"/>
                    <a:pt x="170" y="1069"/>
                    <a:pt x="163" y="1069"/>
                  </a:cubicBezTo>
                  <a:cubicBezTo>
                    <a:pt x="163" y="1076"/>
                    <a:pt x="163" y="1084"/>
                    <a:pt x="156" y="1091"/>
                  </a:cubicBezTo>
                  <a:cubicBezTo>
                    <a:pt x="141" y="1114"/>
                    <a:pt x="96" y="1099"/>
                    <a:pt x="89" y="1121"/>
                  </a:cubicBezTo>
                  <a:cubicBezTo>
                    <a:pt x="81" y="1136"/>
                    <a:pt x="111" y="1158"/>
                    <a:pt x="104" y="1181"/>
                  </a:cubicBezTo>
                  <a:cubicBezTo>
                    <a:pt x="96" y="1218"/>
                    <a:pt x="74" y="1195"/>
                    <a:pt x="59" y="1225"/>
                  </a:cubicBezTo>
                  <a:cubicBezTo>
                    <a:pt x="37" y="1270"/>
                    <a:pt x="104" y="1299"/>
                    <a:pt x="96" y="1344"/>
                  </a:cubicBezTo>
                  <a:cubicBezTo>
                    <a:pt x="89" y="1329"/>
                    <a:pt x="74" y="1329"/>
                    <a:pt x="74" y="1307"/>
                  </a:cubicBezTo>
                  <a:cubicBezTo>
                    <a:pt x="59" y="1307"/>
                    <a:pt x="44" y="1307"/>
                    <a:pt x="37" y="1307"/>
                  </a:cubicBezTo>
                  <a:cubicBezTo>
                    <a:pt x="22" y="1329"/>
                    <a:pt x="29" y="1336"/>
                    <a:pt x="37" y="1359"/>
                  </a:cubicBezTo>
                  <a:cubicBezTo>
                    <a:pt x="44" y="1359"/>
                    <a:pt x="74" y="1396"/>
                    <a:pt x="67" y="1396"/>
                  </a:cubicBezTo>
                  <a:cubicBezTo>
                    <a:pt x="59" y="1403"/>
                    <a:pt x="44" y="1403"/>
                    <a:pt x="37" y="1403"/>
                  </a:cubicBezTo>
                  <a:cubicBezTo>
                    <a:pt x="37" y="1440"/>
                    <a:pt x="15" y="1470"/>
                    <a:pt x="22" y="1507"/>
                  </a:cubicBezTo>
                  <a:cubicBezTo>
                    <a:pt x="74" y="1500"/>
                    <a:pt x="0" y="1641"/>
                    <a:pt x="22" y="1641"/>
                  </a:cubicBezTo>
                  <a:cubicBezTo>
                    <a:pt x="37" y="1641"/>
                    <a:pt x="52" y="1641"/>
                    <a:pt x="67" y="1641"/>
                  </a:cubicBezTo>
                  <a:cubicBezTo>
                    <a:pt x="67" y="1626"/>
                    <a:pt x="59" y="1589"/>
                    <a:pt x="81" y="1589"/>
                  </a:cubicBezTo>
                  <a:cubicBezTo>
                    <a:pt x="89" y="1589"/>
                    <a:pt x="111" y="1626"/>
                    <a:pt x="126" y="1633"/>
                  </a:cubicBezTo>
                  <a:cubicBezTo>
                    <a:pt x="104" y="1656"/>
                    <a:pt x="52" y="1648"/>
                    <a:pt x="44" y="1685"/>
                  </a:cubicBezTo>
                  <a:cubicBezTo>
                    <a:pt x="37" y="1708"/>
                    <a:pt x="52" y="1708"/>
                    <a:pt x="59" y="1723"/>
                  </a:cubicBezTo>
                  <a:cubicBezTo>
                    <a:pt x="59" y="1745"/>
                    <a:pt x="59" y="1767"/>
                    <a:pt x="59" y="1782"/>
                  </a:cubicBezTo>
                  <a:cubicBezTo>
                    <a:pt x="89" y="1789"/>
                    <a:pt x="118" y="1782"/>
                    <a:pt x="148" y="1789"/>
                  </a:cubicBezTo>
                  <a:cubicBezTo>
                    <a:pt x="118" y="1804"/>
                    <a:pt x="59" y="1782"/>
                    <a:pt x="44" y="1819"/>
                  </a:cubicBezTo>
                  <a:cubicBezTo>
                    <a:pt x="44" y="1834"/>
                    <a:pt x="52" y="1908"/>
                    <a:pt x="67" y="1916"/>
                  </a:cubicBezTo>
                  <a:cubicBezTo>
                    <a:pt x="67" y="1930"/>
                    <a:pt x="67" y="1945"/>
                    <a:pt x="67" y="1960"/>
                  </a:cubicBezTo>
                  <a:cubicBezTo>
                    <a:pt x="37" y="1968"/>
                    <a:pt x="67" y="1990"/>
                    <a:pt x="59" y="2005"/>
                  </a:cubicBezTo>
                  <a:cubicBezTo>
                    <a:pt x="37" y="2012"/>
                    <a:pt x="37" y="2079"/>
                    <a:pt x="67" y="2072"/>
                  </a:cubicBezTo>
                  <a:cubicBezTo>
                    <a:pt x="81" y="2049"/>
                    <a:pt x="96" y="2027"/>
                    <a:pt x="104" y="1997"/>
                  </a:cubicBezTo>
                  <a:cubicBezTo>
                    <a:pt x="118" y="1997"/>
                    <a:pt x="141" y="1997"/>
                    <a:pt x="163" y="1997"/>
                  </a:cubicBezTo>
                  <a:cubicBezTo>
                    <a:pt x="170" y="1975"/>
                    <a:pt x="156" y="1908"/>
                    <a:pt x="185" y="1916"/>
                  </a:cubicBezTo>
                  <a:cubicBezTo>
                    <a:pt x="185" y="1938"/>
                    <a:pt x="193" y="1945"/>
                    <a:pt x="200" y="1968"/>
                  </a:cubicBezTo>
                  <a:cubicBezTo>
                    <a:pt x="200" y="1983"/>
                    <a:pt x="200" y="2005"/>
                    <a:pt x="193" y="2020"/>
                  </a:cubicBezTo>
                  <a:cubicBezTo>
                    <a:pt x="178" y="2020"/>
                    <a:pt x="156" y="2012"/>
                    <a:pt x="148" y="2020"/>
                  </a:cubicBezTo>
                  <a:cubicBezTo>
                    <a:pt x="126" y="2027"/>
                    <a:pt x="141" y="2035"/>
                    <a:pt x="126" y="2042"/>
                  </a:cubicBezTo>
                  <a:cubicBezTo>
                    <a:pt x="118" y="2057"/>
                    <a:pt x="74" y="2094"/>
                    <a:pt x="111" y="2109"/>
                  </a:cubicBezTo>
                  <a:cubicBezTo>
                    <a:pt x="111" y="2116"/>
                    <a:pt x="118" y="2124"/>
                    <a:pt x="111" y="2131"/>
                  </a:cubicBezTo>
                  <a:cubicBezTo>
                    <a:pt x="133" y="2138"/>
                    <a:pt x="148" y="2131"/>
                    <a:pt x="163" y="2131"/>
                  </a:cubicBezTo>
                  <a:cubicBezTo>
                    <a:pt x="170" y="2138"/>
                    <a:pt x="178" y="2153"/>
                    <a:pt x="185" y="2161"/>
                  </a:cubicBezTo>
                  <a:cubicBezTo>
                    <a:pt x="170" y="2175"/>
                    <a:pt x="133" y="2168"/>
                    <a:pt x="111" y="2161"/>
                  </a:cubicBezTo>
                  <a:lnTo>
                    <a:pt x="111" y="2153"/>
                  </a:lnTo>
                  <a:cubicBezTo>
                    <a:pt x="44" y="2138"/>
                    <a:pt x="44" y="2228"/>
                    <a:pt x="59" y="2265"/>
                  </a:cubicBezTo>
                  <a:cubicBezTo>
                    <a:pt x="67" y="2272"/>
                    <a:pt x="81" y="2280"/>
                    <a:pt x="81" y="2287"/>
                  </a:cubicBezTo>
                  <a:cubicBezTo>
                    <a:pt x="89" y="2302"/>
                    <a:pt x="89" y="2309"/>
                    <a:pt x="89" y="2324"/>
                  </a:cubicBezTo>
                  <a:cubicBezTo>
                    <a:pt x="96" y="2346"/>
                    <a:pt x="111" y="2369"/>
                    <a:pt x="126" y="2383"/>
                  </a:cubicBezTo>
                  <a:cubicBezTo>
                    <a:pt x="118" y="2383"/>
                    <a:pt x="111" y="2383"/>
                    <a:pt x="104" y="2383"/>
                  </a:cubicBezTo>
                  <a:cubicBezTo>
                    <a:pt x="104" y="2376"/>
                    <a:pt x="104" y="2376"/>
                    <a:pt x="104" y="2369"/>
                  </a:cubicBezTo>
                  <a:cubicBezTo>
                    <a:pt x="96" y="2369"/>
                    <a:pt x="89" y="2369"/>
                    <a:pt x="89" y="2369"/>
                  </a:cubicBezTo>
                  <a:cubicBezTo>
                    <a:pt x="74" y="2406"/>
                    <a:pt x="74" y="2450"/>
                    <a:pt x="81" y="2480"/>
                  </a:cubicBezTo>
                  <a:cubicBezTo>
                    <a:pt x="89" y="2487"/>
                    <a:pt x="96" y="2495"/>
                    <a:pt x="111" y="2495"/>
                  </a:cubicBezTo>
                  <a:cubicBezTo>
                    <a:pt x="111" y="2517"/>
                    <a:pt x="111" y="2540"/>
                    <a:pt x="96" y="2547"/>
                  </a:cubicBezTo>
                  <a:cubicBezTo>
                    <a:pt x="111" y="2554"/>
                    <a:pt x="126" y="2554"/>
                    <a:pt x="141" y="2554"/>
                  </a:cubicBezTo>
                  <a:cubicBezTo>
                    <a:pt x="141" y="2540"/>
                    <a:pt x="156" y="2525"/>
                    <a:pt x="170" y="2532"/>
                  </a:cubicBezTo>
                  <a:cubicBezTo>
                    <a:pt x="163" y="2554"/>
                    <a:pt x="170" y="2577"/>
                    <a:pt x="163" y="2591"/>
                  </a:cubicBezTo>
                  <a:cubicBezTo>
                    <a:pt x="163" y="2554"/>
                    <a:pt x="111" y="2562"/>
                    <a:pt x="81" y="2562"/>
                  </a:cubicBezTo>
                  <a:cubicBezTo>
                    <a:pt x="74" y="2606"/>
                    <a:pt x="104" y="2606"/>
                    <a:pt x="126" y="2621"/>
                  </a:cubicBezTo>
                  <a:cubicBezTo>
                    <a:pt x="133" y="2651"/>
                    <a:pt x="111" y="2673"/>
                    <a:pt x="96" y="2695"/>
                  </a:cubicBezTo>
                  <a:cubicBezTo>
                    <a:pt x="111" y="2695"/>
                    <a:pt x="111" y="2695"/>
                    <a:pt x="118" y="2695"/>
                  </a:cubicBezTo>
                  <a:cubicBezTo>
                    <a:pt x="118" y="2725"/>
                    <a:pt x="126" y="2785"/>
                    <a:pt x="170" y="2777"/>
                  </a:cubicBezTo>
                  <a:cubicBezTo>
                    <a:pt x="104" y="2792"/>
                    <a:pt x="148" y="2859"/>
                    <a:pt x="170" y="2896"/>
                  </a:cubicBezTo>
                  <a:cubicBezTo>
                    <a:pt x="208" y="2948"/>
                    <a:pt x="178" y="3000"/>
                    <a:pt x="185" y="3059"/>
                  </a:cubicBezTo>
                  <a:cubicBezTo>
                    <a:pt x="200" y="3059"/>
                    <a:pt x="215" y="3059"/>
                    <a:pt x="230" y="3067"/>
                  </a:cubicBezTo>
                  <a:cubicBezTo>
                    <a:pt x="215" y="3082"/>
                    <a:pt x="200" y="3082"/>
                    <a:pt x="185" y="3089"/>
                  </a:cubicBezTo>
                  <a:cubicBezTo>
                    <a:pt x="200" y="3141"/>
                    <a:pt x="237" y="3230"/>
                    <a:pt x="193" y="3275"/>
                  </a:cubicBezTo>
                  <a:cubicBezTo>
                    <a:pt x="208" y="3275"/>
                    <a:pt x="223" y="3275"/>
                    <a:pt x="237" y="3282"/>
                  </a:cubicBezTo>
                  <a:cubicBezTo>
                    <a:pt x="237" y="3304"/>
                    <a:pt x="215" y="3297"/>
                    <a:pt x="215" y="3312"/>
                  </a:cubicBezTo>
                  <a:cubicBezTo>
                    <a:pt x="208" y="3319"/>
                    <a:pt x="215" y="3342"/>
                    <a:pt x="215" y="3356"/>
                  </a:cubicBezTo>
                  <a:cubicBezTo>
                    <a:pt x="230" y="3364"/>
                    <a:pt x="252" y="3371"/>
                    <a:pt x="245" y="3401"/>
                  </a:cubicBezTo>
                  <a:cubicBezTo>
                    <a:pt x="223" y="3393"/>
                    <a:pt x="215" y="3416"/>
                    <a:pt x="223" y="3431"/>
                  </a:cubicBezTo>
                  <a:cubicBezTo>
                    <a:pt x="260" y="3431"/>
                    <a:pt x="230" y="3497"/>
                    <a:pt x="230" y="3527"/>
                  </a:cubicBezTo>
                  <a:cubicBezTo>
                    <a:pt x="245" y="3527"/>
                    <a:pt x="252" y="3535"/>
                    <a:pt x="260" y="3535"/>
                  </a:cubicBezTo>
                  <a:cubicBezTo>
                    <a:pt x="267" y="3557"/>
                    <a:pt x="245" y="3557"/>
                    <a:pt x="223" y="3557"/>
                  </a:cubicBezTo>
                  <a:cubicBezTo>
                    <a:pt x="252" y="3594"/>
                    <a:pt x="245" y="3683"/>
                    <a:pt x="245" y="3728"/>
                  </a:cubicBezTo>
                  <a:cubicBezTo>
                    <a:pt x="245" y="3750"/>
                    <a:pt x="237" y="3780"/>
                    <a:pt x="237" y="3809"/>
                  </a:cubicBezTo>
                  <a:cubicBezTo>
                    <a:pt x="237" y="3839"/>
                    <a:pt x="252" y="3869"/>
                    <a:pt x="260" y="3898"/>
                  </a:cubicBezTo>
                  <a:cubicBezTo>
                    <a:pt x="260" y="3928"/>
                    <a:pt x="252" y="3958"/>
                    <a:pt x="267" y="3987"/>
                  </a:cubicBezTo>
                  <a:cubicBezTo>
                    <a:pt x="282" y="4017"/>
                    <a:pt x="282" y="4039"/>
                    <a:pt x="289" y="4077"/>
                  </a:cubicBezTo>
                  <a:cubicBezTo>
                    <a:pt x="289" y="4092"/>
                    <a:pt x="282" y="4114"/>
                    <a:pt x="289" y="4129"/>
                  </a:cubicBezTo>
                  <a:cubicBezTo>
                    <a:pt x="289" y="4144"/>
                    <a:pt x="312" y="4151"/>
                    <a:pt x="312" y="4166"/>
                  </a:cubicBezTo>
                  <a:cubicBezTo>
                    <a:pt x="312" y="4188"/>
                    <a:pt x="289" y="4203"/>
                    <a:pt x="275" y="4218"/>
                  </a:cubicBezTo>
                  <a:cubicBezTo>
                    <a:pt x="275" y="4240"/>
                    <a:pt x="297" y="4247"/>
                    <a:pt x="312" y="4262"/>
                  </a:cubicBezTo>
                  <a:cubicBezTo>
                    <a:pt x="326" y="4270"/>
                    <a:pt x="341" y="4292"/>
                    <a:pt x="356" y="4307"/>
                  </a:cubicBezTo>
                  <a:cubicBezTo>
                    <a:pt x="378" y="4344"/>
                    <a:pt x="378" y="4389"/>
                    <a:pt x="401" y="4433"/>
                  </a:cubicBezTo>
                  <a:cubicBezTo>
                    <a:pt x="408" y="4448"/>
                    <a:pt x="408" y="4463"/>
                    <a:pt x="415" y="4470"/>
                  </a:cubicBezTo>
                  <a:cubicBezTo>
                    <a:pt x="438" y="4470"/>
                    <a:pt x="453" y="4478"/>
                    <a:pt x="475" y="447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0" name="Freeform 8">
              <a:extLst>
                <a:ext uri="{FF2B5EF4-FFF2-40B4-BE49-F238E27FC236}">
                  <a16:creationId xmlns:a16="http://schemas.microsoft.com/office/drawing/2014/main" id="{FA0C0BB6-B16C-6342-86C1-393962842098}"/>
                </a:ext>
              </a:extLst>
            </p:cNvPr>
            <p:cNvSpPr>
              <a:spLocks noChangeArrowheads="1"/>
            </p:cNvSpPr>
            <p:nvPr/>
          </p:nvSpPr>
          <p:spPr bwMode="auto">
            <a:xfrm>
              <a:off x="8528547" y="5133583"/>
              <a:ext cx="2520215" cy="2255636"/>
            </a:xfrm>
            <a:custGeom>
              <a:avLst/>
              <a:gdLst>
                <a:gd name="T0" fmla="*/ 1181 w 5830"/>
                <a:gd name="T1" fmla="*/ 3906 h 5221"/>
                <a:gd name="T2" fmla="*/ 1485 w 5830"/>
                <a:gd name="T3" fmla="*/ 3921 h 5221"/>
                <a:gd name="T4" fmla="*/ 1693 w 5830"/>
                <a:gd name="T5" fmla="*/ 3884 h 5221"/>
                <a:gd name="T6" fmla="*/ 1908 w 5830"/>
                <a:gd name="T7" fmla="*/ 4121 h 5221"/>
                <a:gd name="T8" fmla="*/ 2213 w 5830"/>
                <a:gd name="T9" fmla="*/ 4225 h 5221"/>
                <a:gd name="T10" fmla="*/ 2413 w 5830"/>
                <a:gd name="T11" fmla="*/ 4233 h 5221"/>
                <a:gd name="T12" fmla="*/ 2532 w 5830"/>
                <a:gd name="T13" fmla="*/ 4530 h 5221"/>
                <a:gd name="T14" fmla="*/ 2614 w 5830"/>
                <a:gd name="T15" fmla="*/ 4938 h 5221"/>
                <a:gd name="T16" fmla="*/ 2896 w 5830"/>
                <a:gd name="T17" fmla="*/ 5035 h 5221"/>
                <a:gd name="T18" fmla="*/ 3037 w 5830"/>
                <a:gd name="T19" fmla="*/ 5220 h 5221"/>
                <a:gd name="T20" fmla="*/ 3186 w 5830"/>
                <a:gd name="T21" fmla="*/ 5042 h 5221"/>
                <a:gd name="T22" fmla="*/ 3468 w 5830"/>
                <a:gd name="T23" fmla="*/ 4649 h 5221"/>
                <a:gd name="T24" fmla="*/ 3371 w 5830"/>
                <a:gd name="T25" fmla="*/ 4374 h 5221"/>
                <a:gd name="T26" fmla="*/ 3371 w 5830"/>
                <a:gd name="T27" fmla="*/ 4121 h 5221"/>
                <a:gd name="T28" fmla="*/ 3542 w 5830"/>
                <a:gd name="T29" fmla="*/ 4055 h 5221"/>
                <a:gd name="T30" fmla="*/ 3653 w 5830"/>
                <a:gd name="T31" fmla="*/ 3817 h 5221"/>
                <a:gd name="T32" fmla="*/ 3735 w 5830"/>
                <a:gd name="T33" fmla="*/ 4047 h 5221"/>
                <a:gd name="T34" fmla="*/ 4114 w 5830"/>
                <a:gd name="T35" fmla="*/ 4166 h 5221"/>
                <a:gd name="T36" fmla="*/ 4092 w 5830"/>
                <a:gd name="T37" fmla="*/ 4396 h 5221"/>
                <a:gd name="T38" fmla="*/ 3928 w 5830"/>
                <a:gd name="T39" fmla="*/ 4567 h 5221"/>
                <a:gd name="T40" fmla="*/ 4144 w 5830"/>
                <a:gd name="T41" fmla="*/ 4693 h 5221"/>
                <a:gd name="T42" fmla="*/ 4307 w 5830"/>
                <a:gd name="T43" fmla="*/ 4433 h 5221"/>
                <a:gd name="T44" fmla="*/ 4656 w 5830"/>
                <a:gd name="T45" fmla="*/ 4441 h 5221"/>
                <a:gd name="T46" fmla="*/ 4782 w 5830"/>
                <a:gd name="T47" fmla="*/ 4560 h 5221"/>
                <a:gd name="T48" fmla="*/ 4975 w 5830"/>
                <a:gd name="T49" fmla="*/ 4196 h 5221"/>
                <a:gd name="T50" fmla="*/ 4849 w 5830"/>
                <a:gd name="T51" fmla="*/ 3928 h 5221"/>
                <a:gd name="T52" fmla="*/ 5139 w 5830"/>
                <a:gd name="T53" fmla="*/ 3854 h 5221"/>
                <a:gd name="T54" fmla="*/ 5094 w 5830"/>
                <a:gd name="T55" fmla="*/ 3683 h 5221"/>
                <a:gd name="T56" fmla="*/ 4663 w 5830"/>
                <a:gd name="T57" fmla="*/ 3565 h 5221"/>
                <a:gd name="T58" fmla="*/ 4968 w 5830"/>
                <a:gd name="T59" fmla="*/ 3060 h 5221"/>
                <a:gd name="T60" fmla="*/ 5391 w 5830"/>
                <a:gd name="T61" fmla="*/ 2859 h 5221"/>
                <a:gd name="T62" fmla="*/ 5770 w 5830"/>
                <a:gd name="T63" fmla="*/ 2658 h 5221"/>
                <a:gd name="T64" fmla="*/ 5748 w 5830"/>
                <a:gd name="T65" fmla="*/ 2525 h 5221"/>
                <a:gd name="T66" fmla="*/ 5569 w 5830"/>
                <a:gd name="T67" fmla="*/ 2555 h 5221"/>
                <a:gd name="T68" fmla="*/ 5339 w 5830"/>
                <a:gd name="T69" fmla="*/ 2525 h 5221"/>
                <a:gd name="T70" fmla="*/ 5384 w 5830"/>
                <a:gd name="T71" fmla="*/ 2428 h 5221"/>
                <a:gd name="T72" fmla="*/ 5428 w 5830"/>
                <a:gd name="T73" fmla="*/ 2228 h 5221"/>
                <a:gd name="T74" fmla="*/ 5295 w 5830"/>
                <a:gd name="T75" fmla="*/ 1804 h 5221"/>
                <a:gd name="T76" fmla="*/ 4997 w 5830"/>
                <a:gd name="T77" fmla="*/ 1983 h 5221"/>
                <a:gd name="T78" fmla="*/ 4908 w 5830"/>
                <a:gd name="T79" fmla="*/ 1582 h 5221"/>
                <a:gd name="T80" fmla="*/ 4567 w 5830"/>
                <a:gd name="T81" fmla="*/ 1582 h 5221"/>
                <a:gd name="T82" fmla="*/ 4493 w 5830"/>
                <a:gd name="T83" fmla="*/ 1723 h 5221"/>
                <a:gd name="T84" fmla="*/ 4403 w 5830"/>
                <a:gd name="T85" fmla="*/ 1552 h 5221"/>
                <a:gd name="T86" fmla="*/ 4106 w 5830"/>
                <a:gd name="T87" fmla="*/ 1196 h 5221"/>
                <a:gd name="T88" fmla="*/ 3995 w 5830"/>
                <a:gd name="T89" fmla="*/ 743 h 5221"/>
                <a:gd name="T90" fmla="*/ 3765 w 5830"/>
                <a:gd name="T91" fmla="*/ 654 h 5221"/>
                <a:gd name="T92" fmla="*/ 3453 w 5830"/>
                <a:gd name="T93" fmla="*/ 564 h 5221"/>
                <a:gd name="T94" fmla="*/ 3483 w 5830"/>
                <a:gd name="T95" fmla="*/ 357 h 5221"/>
                <a:gd name="T96" fmla="*/ 3453 w 5830"/>
                <a:gd name="T97" fmla="*/ 149 h 5221"/>
                <a:gd name="T98" fmla="*/ 3126 w 5830"/>
                <a:gd name="T99" fmla="*/ 74 h 5221"/>
                <a:gd name="T100" fmla="*/ 2785 w 5830"/>
                <a:gd name="T101" fmla="*/ 67 h 5221"/>
                <a:gd name="T102" fmla="*/ 2436 w 5830"/>
                <a:gd name="T103" fmla="*/ 735 h 5221"/>
                <a:gd name="T104" fmla="*/ 1938 w 5830"/>
                <a:gd name="T105" fmla="*/ 1151 h 5221"/>
                <a:gd name="T106" fmla="*/ 1374 w 5830"/>
                <a:gd name="T107" fmla="*/ 1485 h 5221"/>
                <a:gd name="T108" fmla="*/ 847 w 5830"/>
                <a:gd name="T109" fmla="*/ 1337 h 5221"/>
                <a:gd name="T110" fmla="*/ 319 w 5830"/>
                <a:gd name="T111" fmla="*/ 1701 h 5221"/>
                <a:gd name="T112" fmla="*/ 178 w 5830"/>
                <a:gd name="T113" fmla="*/ 2258 h 5221"/>
                <a:gd name="T114" fmla="*/ 423 w 5830"/>
                <a:gd name="T115" fmla="*/ 2347 h 5221"/>
                <a:gd name="T116" fmla="*/ 371 w 5830"/>
                <a:gd name="T117" fmla="*/ 2785 h 5221"/>
                <a:gd name="T118" fmla="*/ 512 w 5830"/>
                <a:gd name="T119" fmla="*/ 2978 h 5221"/>
                <a:gd name="T120" fmla="*/ 809 w 5830"/>
                <a:gd name="T121" fmla="*/ 3386 h 5221"/>
                <a:gd name="T122" fmla="*/ 943 w 5830"/>
                <a:gd name="T123" fmla="*/ 3854 h 5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0" h="5221">
                  <a:moveTo>
                    <a:pt x="1106" y="3832"/>
                  </a:moveTo>
                  <a:lnTo>
                    <a:pt x="1106" y="3832"/>
                  </a:lnTo>
                  <a:cubicBezTo>
                    <a:pt x="1121" y="3839"/>
                    <a:pt x="1114" y="3869"/>
                    <a:pt x="1121" y="3891"/>
                  </a:cubicBezTo>
                  <a:cubicBezTo>
                    <a:pt x="1129" y="3913"/>
                    <a:pt x="1158" y="3913"/>
                    <a:pt x="1181" y="3906"/>
                  </a:cubicBezTo>
                  <a:cubicBezTo>
                    <a:pt x="1181" y="3899"/>
                    <a:pt x="1188" y="3884"/>
                    <a:pt x="1188" y="3869"/>
                  </a:cubicBezTo>
                  <a:cubicBezTo>
                    <a:pt x="1225" y="3869"/>
                    <a:pt x="1277" y="3854"/>
                    <a:pt x="1314" y="3869"/>
                  </a:cubicBezTo>
                  <a:cubicBezTo>
                    <a:pt x="1344" y="3884"/>
                    <a:pt x="1366" y="3891"/>
                    <a:pt x="1403" y="3891"/>
                  </a:cubicBezTo>
                  <a:cubicBezTo>
                    <a:pt x="1441" y="3884"/>
                    <a:pt x="1470" y="3891"/>
                    <a:pt x="1485" y="3921"/>
                  </a:cubicBezTo>
                  <a:cubicBezTo>
                    <a:pt x="1492" y="3943"/>
                    <a:pt x="1500" y="3980"/>
                    <a:pt x="1530" y="3973"/>
                  </a:cubicBezTo>
                  <a:cubicBezTo>
                    <a:pt x="1530" y="3951"/>
                    <a:pt x="1544" y="3906"/>
                    <a:pt x="1574" y="3913"/>
                  </a:cubicBezTo>
                  <a:cubicBezTo>
                    <a:pt x="1574" y="3936"/>
                    <a:pt x="1582" y="3943"/>
                    <a:pt x="1604" y="3943"/>
                  </a:cubicBezTo>
                  <a:cubicBezTo>
                    <a:pt x="1611" y="3906"/>
                    <a:pt x="1663" y="3876"/>
                    <a:pt x="1693" y="3884"/>
                  </a:cubicBezTo>
                  <a:cubicBezTo>
                    <a:pt x="1700" y="3913"/>
                    <a:pt x="1693" y="3943"/>
                    <a:pt x="1723" y="3958"/>
                  </a:cubicBezTo>
                  <a:cubicBezTo>
                    <a:pt x="1752" y="3980"/>
                    <a:pt x="1812" y="3943"/>
                    <a:pt x="1834" y="3980"/>
                  </a:cubicBezTo>
                  <a:cubicBezTo>
                    <a:pt x="1849" y="4003"/>
                    <a:pt x="1841" y="4025"/>
                    <a:pt x="1864" y="4047"/>
                  </a:cubicBezTo>
                  <a:cubicBezTo>
                    <a:pt x="1894" y="4070"/>
                    <a:pt x="1901" y="4084"/>
                    <a:pt x="1908" y="4121"/>
                  </a:cubicBezTo>
                  <a:cubicBezTo>
                    <a:pt x="1938" y="4114"/>
                    <a:pt x="1938" y="4084"/>
                    <a:pt x="1960" y="4062"/>
                  </a:cubicBezTo>
                  <a:cubicBezTo>
                    <a:pt x="1990" y="4055"/>
                    <a:pt x="2027" y="4121"/>
                    <a:pt x="2057" y="4129"/>
                  </a:cubicBezTo>
                  <a:cubicBezTo>
                    <a:pt x="2057" y="4151"/>
                    <a:pt x="2057" y="4173"/>
                    <a:pt x="2064" y="4196"/>
                  </a:cubicBezTo>
                  <a:cubicBezTo>
                    <a:pt x="2109" y="4196"/>
                    <a:pt x="2198" y="4173"/>
                    <a:pt x="2213" y="4225"/>
                  </a:cubicBezTo>
                  <a:cubicBezTo>
                    <a:pt x="2257" y="4248"/>
                    <a:pt x="2250" y="4166"/>
                    <a:pt x="2265" y="4144"/>
                  </a:cubicBezTo>
                  <a:cubicBezTo>
                    <a:pt x="2287" y="4114"/>
                    <a:pt x="2324" y="4129"/>
                    <a:pt x="2361" y="4136"/>
                  </a:cubicBezTo>
                  <a:cubicBezTo>
                    <a:pt x="2361" y="4166"/>
                    <a:pt x="2346" y="4196"/>
                    <a:pt x="2354" y="4225"/>
                  </a:cubicBezTo>
                  <a:cubicBezTo>
                    <a:pt x="2376" y="4225"/>
                    <a:pt x="2398" y="4218"/>
                    <a:pt x="2413" y="4233"/>
                  </a:cubicBezTo>
                  <a:cubicBezTo>
                    <a:pt x="2369" y="4262"/>
                    <a:pt x="2324" y="4270"/>
                    <a:pt x="2317" y="4322"/>
                  </a:cubicBezTo>
                  <a:cubicBezTo>
                    <a:pt x="2309" y="4374"/>
                    <a:pt x="2339" y="4426"/>
                    <a:pt x="2391" y="4418"/>
                  </a:cubicBezTo>
                  <a:cubicBezTo>
                    <a:pt x="2376" y="4478"/>
                    <a:pt x="2406" y="4515"/>
                    <a:pt x="2451" y="4463"/>
                  </a:cubicBezTo>
                  <a:cubicBezTo>
                    <a:pt x="2495" y="4404"/>
                    <a:pt x="2547" y="4470"/>
                    <a:pt x="2532" y="4530"/>
                  </a:cubicBezTo>
                  <a:cubicBezTo>
                    <a:pt x="2517" y="4575"/>
                    <a:pt x="2421" y="4619"/>
                    <a:pt x="2443" y="4671"/>
                  </a:cubicBezTo>
                  <a:cubicBezTo>
                    <a:pt x="2458" y="4701"/>
                    <a:pt x="2495" y="4686"/>
                    <a:pt x="2510" y="4708"/>
                  </a:cubicBezTo>
                  <a:cubicBezTo>
                    <a:pt x="2532" y="4738"/>
                    <a:pt x="2510" y="4775"/>
                    <a:pt x="2540" y="4805"/>
                  </a:cubicBezTo>
                  <a:cubicBezTo>
                    <a:pt x="2666" y="4738"/>
                    <a:pt x="2569" y="4894"/>
                    <a:pt x="2614" y="4938"/>
                  </a:cubicBezTo>
                  <a:cubicBezTo>
                    <a:pt x="2643" y="4960"/>
                    <a:pt x="2696" y="4938"/>
                    <a:pt x="2725" y="4953"/>
                  </a:cubicBezTo>
                  <a:cubicBezTo>
                    <a:pt x="2762" y="4968"/>
                    <a:pt x="2755" y="5020"/>
                    <a:pt x="2799" y="5012"/>
                  </a:cubicBezTo>
                  <a:lnTo>
                    <a:pt x="2799" y="5020"/>
                  </a:lnTo>
                  <a:cubicBezTo>
                    <a:pt x="2829" y="5020"/>
                    <a:pt x="2874" y="5012"/>
                    <a:pt x="2896" y="5035"/>
                  </a:cubicBezTo>
                  <a:cubicBezTo>
                    <a:pt x="2933" y="5072"/>
                    <a:pt x="2911" y="5087"/>
                    <a:pt x="2911" y="5124"/>
                  </a:cubicBezTo>
                  <a:cubicBezTo>
                    <a:pt x="2896" y="5176"/>
                    <a:pt x="2970" y="5139"/>
                    <a:pt x="2993" y="5146"/>
                  </a:cubicBezTo>
                  <a:cubicBezTo>
                    <a:pt x="3022" y="5154"/>
                    <a:pt x="3022" y="5183"/>
                    <a:pt x="3022" y="5213"/>
                  </a:cubicBezTo>
                  <a:cubicBezTo>
                    <a:pt x="3030" y="5213"/>
                    <a:pt x="3030" y="5213"/>
                    <a:pt x="3037" y="5220"/>
                  </a:cubicBezTo>
                  <a:cubicBezTo>
                    <a:pt x="3045" y="5220"/>
                    <a:pt x="3045" y="5220"/>
                    <a:pt x="3045" y="5213"/>
                  </a:cubicBezTo>
                  <a:cubicBezTo>
                    <a:pt x="3052" y="5191"/>
                    <a:pt x="3104" y="5213"/>
                    <a:pt x="3111" y="5220"/>
                  </a:cubicBezTo>
                  <a:cubicBezTo>
                    <a:pt x="3156" y="5154"/>
                    <a:pt x="3245" y="5183"/>
                    <a:pt x="3297" y="5131"/>
                  </a:cubicBezTo>
                  <a:cubicBezTo>
                    <a:pt x="3334" y="5094"/>
                    <a:pt x="3208" y="5057"/>
                    <a:pt x="3186" y="5042"/>
                  </a:cubicBezTo>
                  <a:cubicBezTo>
                    <a:pt x="3223" y="5012"/>
                    <a:pt x="3201" y="4998"/>
                    <a:pt x="3201" y="4953"/>
                  </a:cubicBezTo>
                  <a:cubicBezTo>
                    <a:pt x="3267" y="4931"/>
                    <a:pt x="3349" y="4923"/>
                    <a:pt x="3408" y="4886"/>
                  </a:cubicBezTo>
                  <a:cubicBezTo>
                    <a:pt x="3460" y="4857"/>
                    <a:pt x="3468" y="4797"/>
                    <a:pt x="3468" y="4745"/>
                  </a:cubicBezTo>
                  <a:cubicBezTo>
                    <a:pt x="3468" y="4715"/>
                    <a:pt x="3460" y="4678"/>
                    <a:pt x="3468" y="4649"/>
                  </a:cubicBezTo>
                  <a:cubicBezTo>
                    <a:pt x="3468" y="4612"/>
                    <a:pt x="3490" y="4597"/>
                    <a:pt x="3512" y="4575"/>
                  </a:cubicBezTo>
                  <a:cubicBezTo>
                    <a:pt x="3535" y="4545"/>
                    <a:pt x="3520" y="4515"/>
                    <a:pt x="3505" y="4485"/>
                  </a:cubicBezTo>
                  <a:cubicBezTo>
                    <a:pt x="3490" y="4456"/>
                    <a:pt x="3490" y="4411"/>
                    <a:pt x="3490" y="4374"/>
                  </a:cubicBezTo>
                  <a:cubicBezTo>
                    <a:pt x="3453" y="4374"/>
                    <a:pt x="3408" y="4374"/>
                    <a:pt x="3371" y="4374"/>
                  </a:cubicBezTo>
                  <a:cubicBezTo>
                    <a:pt x="3386" y="4352"/>
                    <a:pt x="3408" y="4337"/>
                    <a:pt x="3416" y="4315"/>
                  </a:cubicBezTo>
                  <a:cubicBezTo>
                    <a:pt x="3431" y="4285"/>
                    <a:pt x="3408" y="4248"/>
                    <a:pt x="3438" y="4233"/>
                  </a:cubicBezTo>
                  <a:cubicBezTo>
                    <a:pt x="3431" y="4210"/>
                    <a:pt x="3393" y="4203"/>
                    <a:pt x="3371" y="4196"/>
                  </a:cubicBezTo>
                  <a:cubicBezTo>
                    <a:pt x="3371" y="4173"/>
                    <a:pt x="3356" y="4144"/>
                    <a:pt x="3371" y="4121"/>
                  </a:cubicBezTo>
                  <a:cubicBezTo>
                    <a:pt x="3386" y="4099"/>
                    <a:pt x="3431" y="4099"/>
                    <a:pt x="3431" y="4070"/>
                  </a:cubicBezTo>
                  <a:cubicBezTo>
                    <a:pt x="3431" y="4040"/>
                    <a:pt x="3379" y="3965"/>
                    <a:pt x="3453" y="3980"/>
                  </a:cubicBezTo>
                  <a:cubicBezTo>
                    <a:pt x="3446" y="4017"/>
                    <a:pt x="3468" y="3995"/>
                    <a:pt x="3483" y="4017"/>
                  </a:cubicBezTo>
                  <a:cubicBezTo>
                    <a:pt x="3505" y="4032"/>
                    <a:pt x="3512" y="4062"/>
                    <a:pt x="3542" y="4055"/>
                  </a:cubicBezTo>
                  <a:cubicBezTo>
                    <a:pt x="3542" y="3973"/>
                    <a:pt x="3408" y="3913"/>
                    <a:pt x="3468" y="3832"/>
                  </a:cubicBezTo>
                  <a:cubicBezTo>
                    <a:pt x="3498" y="3839"/>
                    <a:pt x="3498" y="3876"/>
                    <a:pt x="3512" y="3899"/>
                  </a:cubicBezTo>
                  <a:cubicBezTo>
                    <a:pt x="3535" y="3928"/>
                    <a:pt x="3587" y="3928"/>
                    <a:pt x="3616" y="3913"/>
                  </a:cubicBezTo>
                  <a:cubicBezTo>
                    <a:pt x="3653" y="3891"/>
                    <a:pt x="3639" y="3854"/>
                    <a:pt x="3653" y="3817"/>
                  </a:cubicBezTo>
                  <a:cubicBezTo>
                    <a:pt x="3683" y="3780"/>
                    <a:pt x="3750" y="3795"/>
                    <a:pt x="3795" y="3795"/>
                  </a:cubicBezTo>
                  <a:cubicBezTo>
                    <a:pt x="3795" y="3832"/>
                    <a:pt x="3795" y="3862"/>
                    <a:pt x="3787" y="3899"/>
                  </a:cubicBezTo>
                  <a:cubicBezTo>
                    <a:pt x="3735" y="3891"/>
                    <a:pt x="3750" y="3943"/>
                    <a:pt x="3750" y="3973"/>
                  </a:cubicBezTo>
                  <a:cubicBezTo>
                    <a:pt x="3698" y="3973"/>
                    <a:pt x="3683" y="4032"/>
                    <a:pt x="3735" y="4047"/>
                  </a:cubicBezTo>
                  <a:cubicBezTo>
                    <a:pt x="3795" y="4055"/>
                    <a:pt x="3869" y="4062"/>
                    <a:pt x="3928" y="4070"/>
                  </a:cubicBezTo>
                  <a:cubicBezTo>
                    <a:pt x="3913" y="4136"/>
                    <a:pt x="3980" y="4084"/>
                    <a:pt x="4003" y="4070"/>
                  </a:cubicBezTo>
                  <a:cubicBezTo>
                    <a:pt x="4040" y="4047"/>
                    <a:pt x="4055" y="4040"/>
                    <a:pt x="4114" y="4047"/>
                  </a:cubicBezTo>
                  <a:cubicBezTo>
                    <a:pt x="4114" y="4084"/>
                    <a:pt x="4106" y="4121"/>
                    <a:pt x="4114" y="4166"/>
                  </a:cubicBezTo>
                  <a:cubicBezTo>
                    <a:pt x="4129" y="4173"/>
                    <a:pt x="4151" y="4173"/>
                    <a:pt x="4173" y="4173"/>
                  </a:cubicBezTo>
                  <a:cubicBezTo>
                    <a:pt x="4181" y="4218"/>
                    <a:pt x="4173" y="4337"/>
                    <a:pt x="4099" y="4262"/>
                  </a:cubicBezTo>
                  <a:cubicBezTo>
                    <a:pt x="4069" y="4270"/>
                    <a:pt x="4055" y="4315"/>
                    <a:pt x="4062" y="4344"/>
                  </a:cubicBezTo>
                  <a:cubicBezTo>
                    <a:pt x="4062" y="4366"/>
                    <a:pt x="4099" y="4344"/>
                    <a:pt x="4092" y="4396"/>
                  </a:cubicBezTo>
                  <a:cubicBezTo>
                    <a:pt x="4092" y="4426"/>
                    <a:pt x="4069" y="4456"/>
                    <a:pt x="4077" y="4478"/>
                  </a:cubicBezTo>
                  <a:cubicBezTo>
                    <a:pt x="4084" y="4515"/>
                    <a:pt x="4129" y="4507"/>
                    <a:pt x="4136" y="4537"/>
                  </a:cubicBezTo>
                  <a:cubicBezTo>
                    <a:pt x="4092" y="4552"/>
                    <a:pt x="4069" y="4575"/>
                    <a:pt x="4025" y="4582"/>
                  </a:cubicBezTo>
                  <a:cubicBezTo>
                    <a:pt x="3980" y="4589"/>
                    <a:pt x="3965" y="4582"/>
                    <a:pt x="3928" y="4567"/>
                  </a:cubicBezTo>
                  <a:cubicBezTo>
                    <a:pt x="3869" y="4530"/>
                    <a:pt x="3869" y="4664"/>
                    <a:pt x="3876" y="4693"/>
                  </a:cubicBezTo>
                  <a:cubicBezTo>
                    <a:pt x="3950" y="4693"/>
                    <a:pt x="3943" y="4730"/>
                    <a:pt x="3995" y="4760"/>
                  </a:cubicBezTo>
                  <a:cubicBezTo>
                    <a:pt x="4010" y="4738"/>
                    <a:pt x="3995" y="4708"/>
                    <a:pt x="4010" y="4686"/>
                  </a:cubicBezTo>
                  <a:cubicBezTo>
                    <a:pt x="4055" y="4671"/>
                    <a:pt x="4099" y="4693"/>
                    <a:pt x="4144" y="4693"/>
                  </a:cubicBezTo>
                  <a:cubicBezTo>
                    <a:pt x="4151" y="4671"/>
                    <a:pt x="4166" y="4664"/>
                    <a:pt x="4188" y="4664"/>
                  </a:cubicBezTo>
                  <a:cubicBezTo>
                    <a:pt x="4195" y="4634"/>
                    <a:pt x="4173" y="4612"/>
                    <a:pt x="4173" y="4589"/>
                  </a:cubicBezTo>
                  <a:cubicBezTo>
                    <a:pt x="4203" y="4575"/>
                    <a:pt x="4233" y="4582"/>
                    <a:pt x="4255" y="4560"/>
                  </a:cubicBezTo>
                  <a:cubicBezTo>
                    <a:pt x="4285" y="4522"/>
                    <a:pt x="4307" y="4470"/>
                    <a:pt x="4307" y="4433"/>
                  </a:cubicBezTo>
                  <a:cubicBezTo>
                    <a:pt x="4359" y="4418"/>
                    <a:pt x="4403" y="4441"/>
                    <a:pt x="4448" y="4456"/>
                  </a:cubicBezTo>
                  <a:cubicBezTo>
                    <a:pt x="4500" y="4463"/>
                    <a:pt x="4552" y="4463"/>
                    <a:pt x="4597" y="4485"/>
                  </a:cubicBezTo>
                  <a:cubicBezTo>
                    <a:pt x="4597" y="4470"/>
                    <a:pt x="4604" y="4456"/>
                    <a:pt x="4597" y="4448"/>
                  </a:cubicBezTo>
                  <a:cubicBezTo>
                    <a:pt x="4619" y="4448"/>
                    <a:pt x="4641" y="4448"/>
                    <a:pt x="4656" y="4441"/>
                  </a:cubicBezTo>
                  <a:lnTo>
                    <a:pt x="4663" y="4433"/>
                  </a:lnTo>
                  <a:cubicBezTo>
                    <a:pt x="4663" y="4448"/>
                    <a:pt x="4663" y="4470"/>
                    <a:pt x="4663" y="4493"/>
                  </a:cubicBezTo>
                  <a:cubicBezTo>
                    <a:pt x="4693" y="4493"/>
                    <a:pt x="4708" y="4515"/>
                    <a:pt x="4745" y="4507"/>
                  </a:cubicBezTo>
                  <a:cubicBezTo>
                    <a:pt x="4738" y="4537"/>
                    <a:pt x="4752" y="4567"/>
                    <a:pt x="4782" y="4560"/>
                  </a:cubicBezTo>
                  <a:cubicBezTo>
                    <a:pt x="4782" y="4522"/>
                    <a:pt x="4857" y="4530"/>
                    <a:pt x="4857" y="4485"/>
                  </a:cubicBezTo>
                  <a:cubicBezTo>
                    <a:pt x="4797" y="4470"/>
                    <a:pt x="4827" y="4292"/>
                    <a:pt x="4812" y="4248"/>
                  </a:cubicBezTo>
                  <a:cubicBezTo>
                    <a:pt x="4857" y="4233"/>
                    <a:pt x="4864" y="4277"/>
                    <a:pt x="4901" y="4285"/>
                  </a:cubicBezTo>
                  <a:cubicBezTo>
                    <a:pt x="4953" y="4300"/>
                    <a:pt x="4968" y="4233"/>
                    <a:pt x="4975" y="4196"/>
                  </a:cubicBezTo>
                  <a:cubicBezTo>
                    <a:pt x="4975" y="4144"/>
                    <a:pt x="4953" y="4121"/>
                    <a:pt x="4908" y="4107"/>
                  </a:cubicBezTo>
                  <a:cubicBezTo>
                    <a:pt x="4849" y="4099"/>
                    <a:pt x="4819" y="4084"/>
                    <a:pt x="4805" y="4032"/>
                  </a:cubicBezTo>
                  <a:cubicBezTo>
                    <a:pt x="4834" y="4032"/>
                    <a:pt x="4894" y="4040"/>
                    <a:pt x="4886" y="3995"/>
                  </a:cubicBezTo>
                  <a:cubicBezTo>
                    <a:pt x="4886" y="3965"/>
                    <a:pt x="4857" y="3958"/>
                    <a:pt x="4849" y="3928"/>
                  </a:cubicBezTo>
                  <a:cubicBezTo>
                    <a:pt x="4842" y="3906"/>
                    <a:pt x="4849" y="3884"/>
                    <a:pt x="4857" y="3862"/>
                  </a:cubicBezTo>
                  <a:cubicBezTo>
                    <a:pt x="4908" y="3854"/>
                    <a:pt x="4960" y="3869"/>
                    <a:pt x="5020" y="3862"/>
                  </a:cubicBezTo>
                  <a:cubicBezTo>
                    <a:pt x="5065" y="3862"/>
                    <a:pt x="5094" y="3832"/>
                    <a:pt x="5139" y="3817"/>
                  </a:cubicBezTo>
                  <a:cubicBezTo>
                    <a:pt x="5131" y="3824"/>
                    <a:pt x="5139" y="3847"/>
                    <a:pt x="5139" y="3854"/>
                  </a:cubicBezTo>
                  <a:cubicBezTo>
                    <a:pt x="5161" y="3854"/>
                    <a:pt x="5183" y="3847"/>
                    <a:pt x="5205" y="3847"/>
                  </a:cubicBezTo>
                  <a:cubicBezTo>
                    <a:pt x="5213" y="3795"/>
                    <a:pt x="5213" y="3743"/>
                    <a:pt x="5213" y="3691"/>
                  </a:cubicBezTo>
                  <a:cubicBezTo>
                    <a:pt x="5161" y="3691"/>
                    <a:pt x="5183" y="3639"/>
                    <a:pt x="5176" y="3609"/>
                  </a:cubicBezTo>
                  <a:cubicBezTo>
                    <a:pt x="5116" y="3602"/>
                    <a:pt x="5109" y="3631"/>
                    <a:pt x="5094" y="3683"/>
                  </a:cubicBezTo>
                  <a:cubicBezTo>
                    <a:pt x="5072" y="3676"/>
                    <a:pt x="5057" y="3661"/>
                    <a:pt x="5035" y="3661"/>
                  </a:cubicBezTo>
                  <a:cubicBezTo>
                    <a:pt x="5012" y="3654"/>
                    <a:pt x="4997" y="3668"/>
                    <a:pt x="4975" y="3676"/>
                  </a:cubicBezTo>
                  <a:cubicBezTo>
                    <a:pt x="4901" y="3683"/>
                    <a:pt x="4805" y="3668"/>
                    <a:pt x="4738" y="3646"/>
                  </a:cubicBezTo>
                  <a:cubicBezTo>
                    <a:pt x="4700" y="3631"/>
                    <a:pt x="4671" y="3609"/>
                    <a:pt x="4663" y="3565"/>
                  </a:cubicBezTo>
                  <a:cubicBezTo>
                    <a:pt x="4649" y="3498"/>
                    <a:pt x="4626" y="3431"/>
                    <a:pt x="4604" y="3364"/>
                  </a:cubicBezTo>
                  <a:cubicBezTo>
                    <a:pt x="4663" y="3371"/>
                    <a:pt x="4634" y="3297"/>
                    <a:pt x="4671" y="3275"/>
                  </a:cubicBezTo>
                  <a:cubicBezTo>
                    <a:pt x="4730" y="3275"/>
                    <a:pt x="4790" y="3253"/>
                    <a:pt x="4819" y="3201"/>
                  </a:cubicBezTo>
                  <a:cubicBezTo>
                    <a:pt x="4849" y="3149"/>
                    <a:pt x="4901" y="3074"/>
                    <a:pt x="4968" y="3060"/>
                  </a:cubicBezTo>
                  <a:cubicBezTo>
                    <a:pt x="5005" y="3052"/>
                    <a:pt x="5042" y="3060"/>
                    <a:pt x="5065" y="3022"/>
                  </a:cubicBezTo>
                  <a:cubicBezTo>
                    <a:pt x="5079" y="3000"/>
                    <a:pt x="5094" y="2985"/>
                    <a:pt x="5116" y="2970"/>
                  </a:cubicBezTo>
                  <a:cubicBezTo>
                    <a:pt x="5161" y="2948"/>
                    <a:pt x="5235" y="2948"/>
                    <a:pt x="5257" y="2903"/>
                  </a:cubicBezTo>
                  <a:cubicBezTo>
                    <a:pt x="5302" y="2903"/>
                    <a:pt x="5354" y="2889"/>
                    <a:pt x="5391" y="2859"/>
                  </a:cubicBezTo>
                  <a:cubicBezTo>
                    <a:pt x="5406" y="2852"/>
                    <a:pt x="5413" y="2837"/>
                    <a:pt x="5428" y="2822"/>
                  </a:cubicBezTo>
                  <a:cubicBezTo>
                    <a:pt x="5451" y="2800"/>
                    <a:pt x="5488" y="2807"/>
                    <a:pt x="5517" y="2792"/>
                  </a:cubicBezTo>
                  <a:cubicBezTo>
                    <a:pt x="5532" y="2681"/>
                    <a:pt x="5673" y="2725"/>
                    <a:pt x="5748" y="2718"/>
                  </a:cubicBezTo>
                  <a:lnTo>
                    <a:pt x="5770" y="2658"/>
                  </a:lnTo>
                  <a:cubicBezTo>
                    <a:pt x="5777" y="2644"/>
                    <a:pt x="5800" y="2621"/>
                    <a:pt x="5814" y="2599"/>
                  </a:cubicBezTo>
                  <a:cubicBezTo>
                    <a:pt x="5807" y="2584"/>
                    <a:pt x="5814" y="2562"/>
                    <a:pt x="5829" y="2555"/>
                  </a:cubicBezTo>
                  <a:cubicBezTo>
                    <a:pt x="5800" y="2555"/>
                    <a:pt x="5785" y="2525"/>
                    <a:pt x="5777" y="2495"/>
                  </a:cubicBezTo>
                  <a:cubicBezTo>
                    <a:pt x="5755" y="2503"/>
                    <a:pt x="5748" y="2510"/>
                    <a:pt x="5748" y="2525"/>
                  </a:cubicBezTo>
                  <a:cubicBezTo>
                    <a:pt x="5740" y="2525"/>
                    <a:pt x="5733" y="2532"/>
                    <a:pt x="5725" y="2532"/>
                  </a:cubicBezTo>
                  <a:cubicBezTo>
                    <a:pt x="5718" y="2547"/>
                    <a:pt x="5710" y="2569"/>
                    <a:pt x="5710" y="2584"/>
                  </a:cubicBezTo>
                  <a:cubicBezTo>
                    <a:pt x="5673" y="2592"/>
                    <a:pt x="5673" y="2562"/>
                    <a:pt x="5666" y="2532"/>
                  </a:cubicBezTo>
                  <a:cubicBezTo>
                    <a:pt x="5636" y="2525"/>
                    <a:pt x="5592" y="2584"/>
                    <a:pt x="5569" y="2555"/>
                  </a:cubicBezTo>
                  <a:cubicBezTo>
                    <a:pt x="5540" y="2525"/>
                    <a:pt x="5517" y="2525"/>
                    <a:pt x="5480" y="2532"/>
                  </a:cubicBezTo>
                  <a:cubicBezTo>
                    <a:pt x="5480" y="2547"/>
                    <a:pt x="5473" y="2562"/>
                    <a:pt x="5473" y="2584"/>
                  </a:cubicBezTo>
                  <a:cubicBezTo>
                    <a:pt x="5406" y="2584"/>
                    <a:pt x="5295" y="2547"/>
                    <a:pt x="5302" y="2644"/>
                  </a:cubicBezTo>
                  <a:cubicBezTo>
                    <a:pt x="5243" y="2644"/>
                    <a:pt x="5272" y="2525"/>
                    <a:pt x="5339" y="2525"/>
                  </a:cubicBezTo>
                  <a:cubicBezTo>
                    <a:pt x="5339" y="2517"/>
                    <a:pt x="5339" y="2517"/>
                    <a:pt x="5347" y="2510"/>
                  </a:cubicBezTo>
                  <a:cubicBezTo>
                    <a:pt x="5369" y="2510"/>
                    <a:pt x="5399" y="2517"/>
                    <a:pt x="5428" y="2510"/>
                  </a:cubicBezTo>
                  <a:cubicBezTo>
                    <a:pt x="5428" y="2473"/>
                    <a:pt x="5480" y="2480"/>
                    <a:pt x="5510" y="2480"/>
                  </a:cubicBezTo>
                  <a:cubicBezTo>
                    <a:pt x="5502" y="2428"/>
                    <a:pt x="5428" y="2436"/>
                    <a:pt x="5384" y="2428"/>
                  </a:cubicBezTo>
                  <a:cubicBezTo>
                    <a:pt x="5384" y="2391"/>
                    <a:pt x="5384" y="2354"/>
                    <a:pt x="5436" y="2369"/>
                  </a:cubicBezTo>
                  <a:cubicBezTo>
                    <a:pt x="5428" y="2347"/>
                    <a:pt x="5436" y="2332"/>
                    <a:pt x="5451" y="2324"/>
                  </a:cubicBezTo>
                  <a:cubicBezTo>
                    <a:pt x="5473" y="2258"/>
                    <a:pt x="5391" y="2302"/>
                    <a:pt x="5399" y="2258"/>
                  </a:cubicBezTo>
                  <a:cubicBezTo>
                    <a:pt x="5399" y="2250"/>
                    <a:pt x="5451" y="2250"/>
                    <a:pt x="5428" y="2228"/>
                  </a:cubicBezTo>
                  <a:cubicBezTo>
                    <a:pt x="5421" y="2213"/>
                    <a:pt x="5399" y="2213"/>
                    <a:pt x="5384" y="2206"/>
                  </a:cubicBezTo>
                  <a:cubicBezTo>
                    <a:pt x="5347" y="2191"/>
                    <a:pt x="5295" y="2198"/>
                    <a:pt x="5295" y="2146"/>
                  </a:cubicBezTo>
                  <a:cubicBezTo>
                    <a:pt x="5295" y="2072"/>
                    <a:pt x="5198" y="1938"/>
                    <a:pt x="5265" y="1871"/>
                  </a:cubicBezTo>
                  <a:cubicBezTo>
                    <a:pt x="5287" y="1849"/>
                    <a:pt x="5295" y="1827"/>
                    <a:pt x="5295" y="1804"/>
                  </a:cubicBezTo>
                  <a:cubicBezTo>
                    <a:pt x="5257" y="1819"/>
                    <a:pt x="5243" y="1856"/>
                    <a:pt x="5213" y="1879"/>
                  </a:cubicBezTo>
                  <a:cubicBezTo>
                    <a:pt x="5183" y="1901"/>
                    <a:pt x="5102" y="1909"/>
                    <a:pt x="5065" y="1886"/>
                  </a:cubicBezTo>
                  <a:cubicBezTo>
                    <a:pt x="5072" y="1901"/>
                    <a:pt x="5072" y="1916"/>
                    <a:pt x="5072" y="1938"/>
                  </a:cubicBezTo>
                  <a:cubicBezTo>
                    <a:pt x="5035" y="1931"/>
                    <a:pt x="5005" y="1938"/>
                    <a:pt x="4997" y="1983"/>
                  </a:cubicBezTo>
                  <a:cubicBezTo>
                    <a:pt x="4923" y="2005"/>
                    <a:pt x="4960" y="1879"/>
                    <a:pt x="4968" y="1842"/>
                  </a:cubicBezTo>
                  <a:cubicBezTo>
                    <a:pt x="4975" y="1797"/>
                    <a:pt x="4960" y="1678"/>
                    <a:pt x="5012" y="1656"/>
                  </a:cubicBezTo>
                  <a:cubicBezTo>
                    <a:pt x="5020" y="1649"/>
                    <a:pt x="5012" y="1641"/>
                    <a:pt x="5020" y="1641"/>
                  </a:cubicBezTo>
                  <a:cubicBezTo>
                    <a:pt x="4975" y="1634"/>
                    <a:pt x="4946" y="1559"/>
                    <a:pt x="4908" y="1582"/>
                  </a:cubicBezTo>
                  <a:cubicBezTo>
                    <a:pt x="4908" y="1604"/>
                    <a:pt x="4901" y="1619"/>
                    <a:pt x="4901" y="1641"/>
                  </a:cubicBezTo>
                  <a:cubicBezTo>
                    <a:pt x="4879" y="1641"/>
                    <a:pt x="4842" y="1626"/>
                    <a:pt x="4827" y="1641"/>
                  </a:cubicBezTo>
                  <a:cubicBezTo>
                    <a:pt x="4805" y="1656"/>
                    <a:pt x="4819" y="1693"/>
                    <a:pt x="4805" y="1708"/>
                  </a:cubicBezTo>
                  <a:cubicBezTo>
                    <a:pt x="4700" y="1715"/>
                    <a:pt x="4686" y="1559"/>
                    <a:pt x="4567" y="1582"/>
                  </a:cubicBezTo>
                  <a:cubicBezTo>
                    <a:pt x="4560" y="1604"/>
                    <a:pt x="4582" y="1611"/>
                    <a:pt x="4604" y="1611"/>
                  </a:cubicBezTo>
                  <a:cubicBezTo>
                    <a:pt x="4597" y="1611"/>
                    <a:pt x="4597" y="1619"/>
                    <a:pt x="4582" y="1619"/>
                  </a:cubicBezTo>
                  <a:cubicBezTo>
                    <a:pt x="4582" y="1649"/>
                    <a:pt x="4589" y="1671"/>
                    <a:pt x="4604" y="1701"/>
                  </a:cubicBezTo>
                  <a:cubicBezTo>
                    <a:pt x="4574" y="1701"/>
                    <a:pt x="4500" y="1678"/>
                    <a:pt x="4493" y="1723"/>
                  </a:cubicBezTo>
                  <a:cubicBezTo>
                    <a:pt x="4485" y="1760"/>
                    <a:pt x="4507" y="1790"/>
                    <a:pt x="4507" y="1827"/>
                  </a:cubicBezTo>
                  <a:cubicBezTo>
                    <a:pt x="4485" y="1834"/>
                    <a:pt x="4470" y="1812"/>
                    <a:pt x="4448" y="1819"/>
                  </a:cubicBezTo>
                  <a:cubicBezTo>
                    <a:pt x="4441" y="1819"/>
                    <a:pt x="4426" y="1819"/>
                    <a:pt x="4411" y="1819"/>
                  </a:cubicBezTo>
                  <a:cubicBezTo>
                    <a:pt x="4270" y="1797"/>
                    <a:pt x="4426" y="1619"/>
                    <a:pt x="4403" y="1552"/>
                  </a:cubicBezTo>
                  <a:cubicBezTo>
                    <a:pt x="4389" y="1500"/>
                    <a:pt x="4344" y="1441"/>
                    <a:pt x="4300" y="1418"/>
                  </a:cubicBezTo>
                  <a:cubicBezTo>
                    <a:pt x="4255" y="1396"/>
                    <a:pt x="4240" y="1374"/>
                    <a:pt x="4240" y="1322"/>
                  </a:cubicBezTo>
                  <a:cubicBezTo>
                    <a:pt x="4210" y="1322"/>
                    <a:pt x="4158" y="1337"/>
                    <a:pt x="4144" y="1299"/>
                  </a:cubicBezTo>
                  <a:cubicBezTo>
                    <a:pt x="4129" y="1262"/>
                    <a:pt x="4129" y="1233"/>
                    <a:pt x="4106" y="1196"/>
                  </a:cubicBezTo>
                  <a:cubicBezTo>
                    <a:pt x="4055" y="1121"/>
                    <a:pt x="4077" y="1002"/>
                    <a:pt x="4092" y="913"/>
                  </a:cubicBezTo>
                  <a:cubicBezTo>
                    <a:pt x="4092" y="928"/>
                    <a:pt x="4055" y="906"/>
                    <a:pt x="4047" y="899"/>
                  </a:cubicBezTo>
                  <a:cubicBezTo>
                    <a:pt x="4040" y="884"/>
                    <a:pt x="4040" y="854"/>
                    <a:pt x="4040" y="839"/>
                  </a:cubicBezTo>
                  <a:cubicBezTo>
                    <a:pt x="4047" y="794"/>
                    <a:pt x="4055" y="743"/>
                    <a:pt x="3995" y="743"/>
                  </a:cubicBezTo>
                  <a:cubicBezTo>
                    <a:pt x="3995" y="735"/>
                    <a:pt x="3988" y="728"/>
                    <a:pt x="3988" y="720"/>
                  </a:cubicBezTo>
                  <a:cubicBezTo>
                    <a:pt x="3950" y="713"/>
                    <a:pt x="3817" y="794"/>
                    <a:pt x="3795" y="705"/>
                  </a:cubicBezTo>
                  <a:cubicBezTo>
                    <a:pt x="3787" y="713"/>
                    <a:pt x="3772" y="705"/>
                    <a:pt x="3765" y="705"/>
                  </a:cubicBezTo>
                  <a:cubicBezTo>
                    <a:pt x="3765" y="691"/>
                    <a:pt x="3765" y="668"/>
                    <a:pt x="3765" y="654"/>
                  </a:cubicBezTo>
                  <a:cubicBezTo>
                    <a:pt x="3728" y="639"/>
                    <a:pt x="3646" y="579"/>
                    <a:pt x="3639" y="646"/>
                  </a:cubicBezTo>
                  <a:cubicBezTo>
                    <a:pt x="3601" y="639"/>
                    <a:pt x="3557" y="631"/>
                    <a:pt x="3512" y="646"/>
                  </a:cubicBezTo>
                  <a:cubicBezTo>
                    <a:pt x="3512" y="631"/>
                    <a:pt x="3505" y="624"/>
                    <a:pt x="3505" y="609"/>
                  </a:cubicBezTo>
                  <a:cubicBezTo>
                    <a:pt x="3483" y="602"/>
                    <a:pt x="3453" y="594"/>
                    <a:pt x="3453" y="564"/>
                  </a:cubicBezTo>
                  <a:cubicBezTo>
                    <a:pt x="3475" y="564"/>
                    <a:pt x="3498" y="564"/>
                    <a:pt x="3520" y="564"/>
                  </a:cubicBezTo>
                  <a:cubicBezTo>
                    <a:pt x="3527" y="527"/>
                    <a:pt x="3505" y="490"/>
                    <a:pt x="3520" y="453"/>
                  </a:cubicBezTo>
                  <a:cubicBezTo>
                    <a:pt x="3542" y="423"/>
                    <a:pt x="3542" y="401"/>
                    <a:pt x="3542" y="364"/>
                  </a:cubicBezTo>
                  <a:cubicBezTo>
                    <a:pt x="3520" y="357"/>
                    <a:pt x="3498" y="357"/>
                    <a:pt x="3483" y="357"/>
                  </a:cubicBezTo>
                  <a:cubicBezTo>
                    <a:pt x="3483" y="319"/>
                    <a:pt x="3468" y="267"/>
                    <a:pt x="3520" y="267"/>
                  </a:cubicBezTo>
                  <a:cubicBezTo>
                    <a:pt x="3527" y="252"/>
                    <a:pt x="3527" y="230"/>
                    <a:pt x="3520" y="223"/>
                  </a:cubicBezTo>
                  <a:cubicBezTo>
                    <a:pt x="3520" y="215"/>
                    <a:pt x="3483" y="215"/>
                    <a:pt x="3475" y="208"/>
                  </a:cubicBezTo>
                  <a:cubicBezTo>
                    <a:pt x="3460" y="193"/>
                    <a:pt x="3453" y="171"/>
                    <a:pt x="3453" y="149"/>
                  </a:cubicBezTo>
                  <a:cubicBezTo>
                    <a:pt x="3453" y="149"/>
                    <a:pt x="3453" y="141"/>
                    <a:pt x="3453" y="134"/>
                  </a:cubicBezTo>
                  <a:cubicBezTo>
                    <a:pt x="3408" y="126"/>
                    <a:pt x="3364" y="134"/>
                    <a:pt x="3327" y="119"/>
                  </a:cubicBezTo>
                  <a:cubicBezTo>
                    <a:pt x="3282" y="104"/>
                    <a:pt x="3253" y="97"/>
                    <a:pt x="3208" y="97"/>
                  </a:cubicBezTo>
                  <a:cubicBezTo>
                    <a:pt x="3186" y="97"/>
                    <a:pt x="3126" y="104"/>
                    <a:pt x="3126" y="74"/>
                  </a:cubicBezTo>
                  <a:cubicBezTo>
                    <a:pt x="3134" y="37"/>
                    <a:pt x="3104" y="15"/>
                    <a:pt x="3074" y="0"/>
                  </a:cubicBezTo>
                  <a:cubicBezTo>
                    <a:pt x="3059" y="22"/>
                    <a:pt x="3052" y="45"/>
                    <a:pt x="3015" y="45"/>
                  </a:cubicBezTo>
                  <a:cubicBezTo>
                    <a:pt x="2985" y="45"/>
                    <a:pt x="2948" y="37"/>
                    <a:pt x="2911" y="30"/>
                  </a:cubicBezTo>
                  <a:cubicBezTo>
                    <a:pt x="2859" y="30"/>
                    <a:pt x="2829" y="45"/>
                    <a:pt x="2785" y="67"/>
                  </a:cubicBezTo>
                  <a:cubicBezTo>
                    <a:pt x="2777" y="149"/>
                    <a:pt x="2755" y="215"/>
                    <a:pt x="2725" y="290"/>
                  </a:cubicBezTo>
                  <a:cubicBezTo>
                    <a:pt x="2710" y="327"/>
                    <a:pt x="2696" y="371"/>
                    <a:pt x="2681" y="408"/>
                  </a:cubicBezTo>
                  <a:cubicBezTo>
                    <a:pt x="2666" y="446"/>
                    <a:pt x="2643" y="483"/>
                    <a:pt x="2614" y="505"/>
                  </a:cubicBezTo>
                  <a:cubicBezTo>
                    <a:pt x="2540" y="572"/>
                    <a:pt x="2525" y="676"/>
                    <a:pt x="2436" y="735"/>
                  </a:cubicBezTo>
                  <a:cubicBezTo>
                    <a:pt x="2361" y="787"/>
                    <a:pt x="2280" y="802"/>
                    <a:pt x="2213" y="854"/>
                  </a:cubicBezTo>
                  <a:cubicBezTo>
                    <a:pt x="2176" y="876"/>
                    <a:pt x="2146" y="869"/>
                    <a:pt x="2109" y="884"/>
                  </a:cubicBezTo>
                  <a:cubicBezTo>
                    <a:pt x="2035" y="906"/>
                    <a:pt x="1997" y="980"/>
                    <a:pt x="1968" y="1040"/>
                  </a:cubicBezTo>
                  <a:cubicBezTo>
                    <a:pt x="1916" y="1047"/>
                    <a:pt x="1953" y="1121"/>
                    <a:pt x="1938" y="1151"/>
                  </a:cubicBezTo>
                  <a:cubicBezTo>
                    <a:pt x="1923" y="1188"/>
                    <a:pt x="1901" y="1188"/>
                    <a:pt x="1871" y="1210"/>
                  </a:cubicBezTo>
                  <a:cubicBezTo>
                    <a:pt x="1834" y="1225"/>
                    <a:pt x="1804" y="1240"/>
                    <a:pt x="1782" y="1270"/>
                  </a:cubicBezTo>
                  <a:cubicBezTo>
                    <a:pt x="1738" y="1322"/>
                    <a:pt x="1745" y="1396"/>
                    <a:pt x="1686" y="1448"/>
                  </a:cubicBezTo>
                  <a:cubicBezTo>
                    <a:pt x="1596" y="1522"/>
                    <a:pt x="1485" y="1485"/>
                    <a:pt x="1374" y="1485"/>
                  </a:cubicBezTo>
                  <a:cubicBezTo>
                    <a:pt x="1307" y="1485"/>
                    <a:pt x="1247" y="1485"/>
                    <a:pt x="1188" y="1507"/>
                  </a:cubicBezTo>
                  <a:cubicBezTo>
                    <a:pt x="1129" y="1530"/>
                    <a:pt x="1062" y="1596"/>
                    <a:pt x="987" y="1574"/>
                  </a:cubicBezTo>
                  <a:cubicBezTo>
                    <a:pt x="950" y="1567"/>
                    <a:pt x="884" y="1493"/>
                    <a:pt x="869" y="1448"/>
                  </a:cubicBezTo>
                  <a:cubicBezTo>
                    <a:pt x="861" y="1396"/>
                    <a:pt x="884" y="1374"/>
                    <a:pt x="847" y="1337"/>
                  </a:cubicBezTo>
                  <a:cubicBezTo>
                    <a:pt x="757" y="1255"/>
                    <a:pt x="631" y="1329"/>
                    <a:pt x="572" y="1396"/>
                  </a:cubicBezTo>
                  <a:cubicBezTo>
                    <a:pt x="557" y="1411"/>
                    <a:pt x="549" y="1441"/>
                    <a:pt x="535" y="1456"/>
                  </a:cubicBezTo>
                  <a:cubicBezTo>
                    <a:pt x="505" y="1493"/>
                    <a:pt x="475" y="1530"/>
                    <a:pt x="445" y="1574"/>
                  </a:cubicBezTo>
                  <a:cubicBezTo>
                    <a:pt x="408" y="1611"/>
                    <a:pt x="364" y="1671"/>
                    <a:pt x="319" y="1701"/>
                  </a:cubicBezTo>
                  <a:cubicBezTo>
                    <a:pt x="275" y="1738"/>
                    <a:pt x="215" y="1760"/>
                    <a:pt x="163" y="1797"/>
                  </a:cubicBezTo>
                  <a:cubicBezTo>
                    <a:pt x="82" y="1842"/>
                    <a:pt x="89" y="1879"/>
                    <a:pt x="74" y="1961"/>
                  </a:cubicBezTo>
                  <a:cubicBezTo>
                    <a:pt x="67" y="2005"/>
                    <a:pt x="45" y="2020"/>
                    <a:pt x="30" y="2057"/>
                  </a:cubicBezTo>
                  <a:cubicBezTo>
                    <a:pt x="0" y="2183"/>
                    <a:pt x="96" y="2191"/>
                    <a:pt x="178" y="2258"/>
                  </a:cubicBezTo>
                  <a:cubicBezTo>
                    <a:pt x="193" y="2272"/>
                    <a:pt x="208" y="2287"/>
                    <a:pt x="223" y="2302"/>
                  </a:cubicBezTo>
                  <a:cubicBezTo>
                    <a:pt x="237" y="2309"/>
                    <a:pt x="230" y="2324"/>
                    <a:pt x="252" y="2332"/>
                  </a:cubicBezTo>
                  <a:cubicBezTo>
                    <a:pt x="267" y="2332"/>
                    <a:pt x="267" y="2309"/>
                    <a:pt x="282" y="2309"/>
                  </a:cubicBezTo>
                  <a:cubicBezTo>
                    <a:pt x="327" y="2309"/>
                    <a:pt x="386" y="2324"/>
                    <a:pt x="423" y="2347"/>
                  </a:cubicBezTo>
                  <a:cubicBezTo>
                    <a:pt x="475" y="2384"/>
                    <a:pt x="453" y="2443"/>
                    <a:pt x="453" y="2503"/>
                  </a:cubicBezTo>
                  <a:cubicBezTo>
                    <a:pt x="453" y="2532"/>
                    <a:pt x="453" y="2555"/>
                    <a:pt x="438" y="2577"/>
                  </a:cubicBezTo>
                  <a:cubicBezTo>
                    <a:pt x="423" y="2606"/>
                    <a:pt x="401" y="2614"/>
                    <a:pt x="386" y="2629"/>
                  </a:cubicBezTo>
                  <a:cubicBezTo>
                    <a:pt x="364" y="2658"/>
                    <a:pt x="356" y="2748"/>
                    <a:pt x="371" y="2785"/>
                  </a:cubicBezTo>
                  <a:cubicBezTo>
                    <a:pt x="379" y="2807"/>
                    <a:pt x="408" y="2807"/>
                    <a:pt x="408" y="2829"/>
                  </a:cubicBezTo>
                  <a:cubicBezTo>
                    <a:pt x="423" y="2844"/>
                    <a:pt x="408" y="2881"/>
                    <a:pt x="416" y="2903"/>
                  </a:cubicBezTo>
                  <a:cubicBezTo>
                    <a:pt x="460" y="2911"/>
                    <a:pt x="438" y="2933"/>
                    <a:pt x="453" y="2956"/>
                  </a:cubicBezTo>
                  <a:cubicBezTo>
                    <a:pt x="468" y="2963"/>
                    <a:pt x="490" y="2978"/>
                    <a:pt x="512" y="2978"/>
                  </a:cubicBezTo>
                  <a:cubicBezTo>
                    <a:pt x="557" y="3000"/>
                    <a:pt x="601" y="3000"/>
                    <a:pt x="653" y="3008"/>
                  </a:cubicBezTo>
                  <a:cubicBezTo>
                    <a:pt x="742" y="3008"/>
                    <a:pt x="735" y="3022"/>
                    <a:pt x="735" y="3097"/>
                  </a:cubicBezTo>
                  <a:cubicBezTo>
                    <a:pt x="735" y="3156"/>
                    <a:pt x="735" y="3201"/>
                    <a:pt x="750" y="3245"/>
                  </a:cubicBezTo>
                  <a:cubicBezTo>
                    <a:pt x="765" y="3297"/>
                    <a:pt x="787" y="3342"/>
                    <a:pt x="809" y="3386"/>
                  </a:cubicBezTo>
                  <a:cubicBezTo>
                    <a:pt x="824" y="3431"/>
                    <a:pt x="861" y="3460"/>
                    <a:pt x="869" y="3513"/>
                  </a:cubicBezTo>
                  <a:cubicBezTo>
                    <a:pt x="884" y="3572"/>
                    <a:pt x="906" y="3587"/>
                    <a:pt x="936" y="3639"/>
                  </a:cubicBezTo>
                  <a:cubicBezTo>
                    <a:pt x="965" y="3683"/>
                    <a:pt x="1039" y="3765"/>
                    <a:pt x="1025" y="3817"/>
                  </a:cubicBezTo>
                  <a:cubicBezTo>
                    <a:pt x="995" y="3810"/>
                    <a:pt x="950" y="3817"/>
                    <a:pt x="943" y="3854"/>
                  </a:cubicBezTo>
                  <a:cubicBezTo>
                    <a:pt x="950" y="3854"/>
                    <a:pt x="965" y="3847"/>
                    <a:pt x="973" y="3847"/>
                  </a:cubicBezTo>
                  <a:cubicBezTo>
                    <a:pt x="995" y="3832"/>
                    <a:pt x="1084" y="3810"/>
                    <a:pt x="1106" y="3832"/>
                  </a:cubicBezTo>
                </a:path>
              </a:pathLst>
            </a:custGeom>
            <a:solidFill>
              <a:schemeClr val="accent2"/>
            </a:solidFill>
            <a:ln w="9525" cap="flat">
              <a:solidFill>
                <a:schemeClr val="bg1"/>
              </a:solidFill>
              <a:bevel/>
              <a:headEnd/>
              <a:tailEnd/>
            </a:ln>
            <a:effectLst/>
          </p:spPr>
          <p:txBody>
            <a:bodyPr wrap="none" lIns="45695" tIns="22847" rIns="45695" bIns="22847" anchor="ctr"/>
            <a:lstStyle/>
            <a:p>
              <a:pPr defTabSz="685663">
                <a:defRPr/>
              </a:pPr>
              <a:endParaRPr lang="en-US" sz="675" dirty="0">
                <a:latin typeface="Montserrat" charset="0"/>
              </a:endParaRPr>
            </a:p>
          </p:txBody>
        </p:sp>
        <p:sp>
          <p:nvSpPr>
            <p:cNvPr id="91" name="Freeform 9">
              <a:extLst>
                <a:ext uri="{FF2B5EF4-FFF2-40B4-BE49-F238E27FC236}">
                  <a16:creationId xmlns:a16="http://schemas.microsoft.com/office/drawing/2014/main" id="{F2D460CC-0B77-CC42-9E04-785849D55F13}"/>
                </a:ext>
              </a:extLst>
            </p:cNvPr>
            <p:cNvSpPr>
              <a:spLocks noChangeArrowheads="1"/>
            </p:cNvSpPr>
            <p:nvPr/>
          </p:nvSpPr>
          <p:spPr bwMode="auto">
            <a:xfrm>
              <a:off x="10898161" y="4758280"/>
              <a:ext cx="993215" cy="931592"/>
            </a:xfrm>
            <a:custGeom>
              <a:avLst/>
              <a:gdLst>
                <a:gd name="T0" fmla="*/ 995 w 2296"/>
                <a:gd name="T1" fmla="*/ 312 h 2155"/>
                <a:gd name="T2" fmla="*/ 743 w 2296"/>
                <a:gd name="T3" fmla="*/ 238 h 2155"/>
                <a:gd name="T4" fmla="*/ 498 w 2296"/>
                <a:gd name="T5" fmla="*/ 193 h 2155"/>
                <a:gd name="T6" fmla="*/ 342 w 2296"/>
                <a:gd name="T7" fmla="*/ 297 h 2155"/>
                <a:gd name="T8" fmla="*/ 179 w 2296"/>
                <a:gd name="T9" fmla="*/ 371 h 2155"/>
                <a:gd name="T10" fmla="*/ 141 w 2296"/>
                <a:gd name="T11" fmla="*/ 394 h 2155"/>
                <a:gd name="T12" fmla="*/ 156 w 2296"/>
                <a:gd name="T13" fmla="*/ 461 h 2155"/>
                <a:gd name="T14" fmla="*/ 97 w 2296"/>
                <a:gd name="T15" fmla="*/ 594 h 2155"/>
                <a:gd name="T16" fmla="*/ 119 w 2296"/>
                <a:gd name="T17" fmla="*/ 758 h 2155"/>
                <a:gd name="T18" fmla="*/ 30 w 2296"/>
                <a:gd name="T19" fmla="*/ 861 h 2155"/>
                <a:gd name="T20" fmla="*/ 30 w 2296"/>
                <a:gd name="T21" fmla="*/ 861 h 2155"/>
                <a:gd name="T22" fmla="*/ 238 w 2296"/>
                <a:gd name="T23" fmla="*/ 980 h 2155"/>
                <a:gd name="T24" fmla="*/ 127 w 2296"/>
                <a:gd name="T25" fmla="*/ 1129 h 2155"/>
                <a:gd name="T26" fmla="*/ 97 w 2296"/>
                <a:gd name="T27" fmla="*/ 1352 h 2155"/>
                <a:gd name="T28" fmla="*/ 216 w 2296"/>
                <a:gd name="T29" fmla="*/ 1411 h 2155"/>
                <a:gd name="T30" fmla="*/ 357 w 2296"/>
                <a:gd name="T31" fmla="*/ 1389 h 2155"/>
                <a:gd name="T32" fmla="*/ 527 w 2296"/>
                <a:gd name="T33" fmla="*/ 1322 h 2155"/>
                <a:gd name="T34" fmla="*/ 758 w 2296"/>
                <a:gd name="T35" fmla="*/ 1560 h 2155"/>
                <a:gd name="T36" fmla="*/ 758 w 2296"/>
                <a:gd name="T37" fmla="*/ 1656 h 2155"/>
                <a:gd name="T38" fmla="*/ 832 w 2296"/>
                <a:gd name="T39" fmla="*/ 1782 h 2155"/>
                <a:gd name="T40" fmla="*/ 995 w 2296"/>
                <a:gd name="T41" fmla="*/ 1909 h 2155"/>
                <a:gd name="T42" fmla="*/ 1189 w 2296"/>
                <a:gd name="T43" fmla="*/ 2028 h 2155"/>
                <a:gd name="T44" fmla="*/ 1463 w 2296"/>
                <a:gd name="T45" fmla="*/ 2035 h 2155"/>
                <a:gd name="T46" fmla="*/ 1500 w 2296"/>
                <a:gd name="T47" fmla="*/ 2094 h 2155"/>
                <a:gd name="T48" fmla="*/ 1604 w 2296"/>
                <a:gd name="T49" fmla="*/ 2154 h 2155"/>
                <a:gd name="T50" fmla="*/ 1649 w 2296"/>
                <a:gd name="T51" fmla="*/ 2020 h 2155"/>
                <a:gd name="T52" fmla="*/ 1768 w 2296"/>
                <a:gd name="T53" fmla="*/ 1820 h 2155"/>
                <a:gd name="T54" fmla="*/ 1820 w 2296"/>
                <a:gd name="T55" fmla="*/ 1701 h 2155"/>
                <a:gd name="T56" fmla="*/ 1849 w 2296"/>
                <a:gd name="T57" fmla="*/ 1663 h 2155"/>
                <a:gd name="T58" fmla="*/ 1857 w 2296"/>
                <a:gd name="T59" fmla="*/ 1485 h 2155"/>
                <a:gd name="T60" fmla="*/ 1916 w 2296"/>
                <a:gd name="T61" fmla="*/ 1307 h 2155"/>
                <a:gd name="T62" fmla="*/ 2028 w 2296"/>
                <a:gd name="T63" fmla="*/ 1218 h 2155"/>
                <a:gd name="T64" fmla="*/ 2124 w 2296"/>
                <a:gd name="T65" fmla="*/ 1144 h 2155"/>
                <a:gd name="T66" fmla="*/ 2258 w 2296"/>
                <a:gd name="T67" fmla="*/ 1025 h 2155"/>
                <a:gd name="T68" fmla="*/ 2198 w 2296"/>
                <a:gd name="T69" fmla="*/ 921 h 2155"/>
                <a:gd name="T70" fmla="*/ 2072 w 2296"/>
                <a:gd name="T71" fmla="*/ 802 h 2155"/>
                <a:gd name="T72" fmla="*/ 1968 w 2296"/>
                <a:gd name="T73" fmla="*/ 750 h 2155"/>
                <a:gd name="T74" fmla="*/ 1782 w 2296"/>
                <a:gd name="T75" fmla="*/ 713 h 2155"/>
                <a:gd name="T76" fmla="*/ 1723 w 2296"/>
                <a:gd name="T77" fmla="*/ 550 h 2155"/>
                <a:gd name="T78" fmla="*/ 1671 w 2296"/>
                <a:gd name="T79" fmla="*/ 505 h 2155"/>
                <a:gd name="T80" fmla="*/ 1545 w 2296"/>
                <a:gd name="T81" fmla="*/ 401 h 2155"/>
                <a:gd name="T82" fmla="*/ 1396 w 2296"/>
                <a:gd name="T83" fmla="*/ 409 h 2155"/>
                <a:gd name="T84" fmla="*/ 1285 w 2296"/>
                <a:gd name="T85" fmla="*/ 319 h 2155"/>
                <a:gd name="T86" fmla="*/ 1196 w 2296"/>
                <a:gd name="T87" fmla="*/ 223 h 2155"/>
                <a:gd name="T88" fmla="*/ 1107 w 2296"/>
                <a:gd name="T89" fmla="*/ 104 h 2155"/>
                <a:gd name="T90" fmla="*/ 1040 w 2296"/>
                <a:gd name="T91" fmla="*/ 52 h 2155"/>
                <a:gd name="T92" fmla="*/ 981 w 2296"/>
                <a:gd name="T93" fmla="*/ 119 h 2155"/>
                <a:gd name="T94" fmla="*/ 958 w 2296"/>
                <a:gd name="T95" fmla="*/ 245 h 2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96" h="2155">
                  <a:moveTo>
                    <a:pt x="995" y="312"/>
                  </a:moveTo>
                  <a:lnTo>
                    <a:pt x="995" y="312"/>
                  </a:lnTo>
                  <a:cubicBezTo>
                    <a:pt x="995" y="327"/>
                    <a:pt x="899" y="319"/>
                    <a:pt x="884" y="319"/>
                  </a:cubicBezTo>
                  <a:cubicBezTo>
                    <a:pt x="891" y="253"/>
                    <a:pt x="787" y="238"/>
                    <a:pt x="743" y="238"/>
                  </a:cubicBezTo>
                  <a:cubicBezTo>
                    <a:pt x="698" y="238"/>
                    <a:pt x="676" y="238"/>
                    <a:pt x="639" y="223"/>
                  </a:cubicBezTo>
                  <a:cubicBezTo>
                    <a:pt x="602" y="208"/>
                    <a:pt x="535" y="193"/>
                    <a:pt x="498" y="193"/>
                  </a:cubicBezTo>
                  <a:cubicBezTo>
                    <a:pt x="468" y="245"/>
                    <a:pt x="409" y="208"/>
                    <a:pt x="372" y="238"/>
                  </a:cubicBezTo>
                  <a:cubicBezTo>
                    <a:pt x="364" y="253"/>
                    <a:pt x="357" y="297"/>
                    <a:pt x="342" y="297"/>
                  </a:cubicBezTo>
                  <a:cubicBezTo>
                    <a:pt x="320" y="305"/>
                    <a:pt x="305" y="275"/>
                    <a:pt x="290" y="267"/>
                  </a:cubicBezTo>
                  <a:cubicBezTo>
                    <a:pt x="245" y="253"/>
                    <a:pt x="179" y="334"/>
                    <a:pt x="179" y="371"/>
                  </a:cubicBezTo>
                  <a:cubicBezTo>
                    <a:pt x="186" y="371"/>
                    <a:pt x="193" y="379"/>
                    <a:pt x="201" y="371"/>
                  </a:cubicBezTo>
                  <a:cubicBezTo>
                    <a:pt x="208" y="409"/>
                    <a:pt x="156" y="394"/>
                    <a:pt x="141" y="394"/>
                  </a:cubicBezTo>
                  <a:cubicBezTo>
                    <a:pt x="134" y="424"/>
                    <a:pt x="141" y="438"/>
                    <a:pt x="149" y="461"/>
                  </a:cubicBezTo>
                  <a:cubicBezTo>
                    <a:pt x="156" y="461"/>
                    <a:pt x="156" y="461"/>
                    <a:pt x="156" y="461"/>
                  </a:cubicBezTo>
                  <a:cubicBezTo>
                    <a:pt x="156" y="468"/>
                    <a:pt x="156" y="475"/>
                    <a:pt x="156" y="475"/>
                  </a:cubicBezTo>
                  <a:cubicBezTo>
                    <a:pt x="127" y="468"/>
                    <a:pt x="89" y="572"/>
                    <a:pt x="97" y="594"/>
                  </a:cubicBezTo>
                  <a:cubicBezTo>
                    <a:pt x="141" y="594"/>
                    <a:pt x="104" y="676"/>
                    <a:pt x="97" y="706"/>
                  </a:cubicBezTo>
                  <a:cubicBezTo>
                    <a:pt x="134" y="706"/>
                    <a:pt x="141" y="743"/>
                    <a:pt x="119" y="758"/>
                  </a:cubicBezTo>
                  <a:cubicBezTo>
                    <a:pt x="97" y="772"/>
                    <a:pt x="37" y="802"/>
                    <a:pt x="0" y="824"/>
                  </a:cubicBezTo>
                  <a:cubicBezTo>
                    <a:pt x="8" y="839"/>
                    <a:pt x="15" y="854"/>
                    <a:pt x="30" y="861"/>
                  </a:cubicBezTo>
                  <a:cubicBezTo>
                    <a:pt x="45" y="854"/>
                    <a:pt x="52" y="847"/>
                    <a:pt x="60" y="839"/>
                  </a:cubicBezTo>
                  <a:cubicBezTo>
                    <a:pt x="52" y="847"/>
                    <a:pt x="45" y="854"/>
                    <a:pt x="30" y="861"/>
                  </a:cubicBezTo>
                  <a:cubicBezTo>
                    <a:pt x="45" y="884"/>
                    <a:pt x="67" y="891"/>
                    <a:pt x="82" y="906"/>
                  </a:cubicBezTo>
                  <a:cubicBezTo>
                    <a:pt x="127" y="943"/>
                    <a:pt x="186" y="951"/>
                    <a:pt x="238" y="980"/>
                  </a:cubicBezTo>
                  <a:cubicBezTo>
                    <a:pt x="216" y="973"/>
                    <a:pt x="193" y="988"/>
                    <a:pt x="179" y="995"/>
                  </a:cubicBezTo>
                  <a:cubicBezTo>
                    <a:pt x="164" y="1040"/>
                    <a:pt x="156" y="1092"/>
                    <a:pt x="127" y="1129"/>
                  </a:cubicBezTo>
                  <a:cubicBezTo>
                    <a:pt x="97" y="1166"/>
                    <a:pt x="37" y="1203"/>
                    <a:pt x="67" y="1248"/>
                  </a:cubicBezTo>
                  <a:cubicBezTo>
                    <a:pt x="89" y="1277"/>
                    <a:pt x="75" y="1337"/>
                    <a:pt x="97" y="1352"/>
                  </a:cubicBezTo>
                  <a:cubicBezTo>
                    <a:pt x="134" y="1374"/>
                    <a:pt x="193" y="1352"/>
                    <a:pt x="230" y="1344"/>
                  </a:cubicBezTo>
                  <a:cubicBezTo>
                    <a:pt x="223" y="1366"/>
                    <a:pt x="238" y="1389"/>
                    <a:pt x="216" y="1411"/>
                  </a:cubicBezTo>
                  <a:cubicBezTo>
                    <a:pt x="238" y="1418"/>
                    <a:pt x="275" y="1478"/>
                    <a:pt x="290" y="1456"/>
                  </a:cubicBezTo>
                  <a:cubicBezTo>
                    <a:pt x="327" y="1426"/>
                    <a:pt x="305" y="1404"/>
                    <a:pt x="357" y="1389"/>
                  </a:cubicBezTo>
                  <a:cubicBezTo>
                    <a:pt x="394" y="1374"/>
                    <a:pt x="387" y="1329"/>
                    <a:pt x="424" y="1329"/>
                  </a:cubicBezTo>
                  <a:cubicBezTo>
                    <a:pt x="468" y="1337"/>
                    <a:pt x="490" y="1292"/>
                    <a:pt x="527" y="1322"/>
                  </a:cubicBezTo>
                  <a:cubicBezTo>
                    <a:pt x="572" y="1352"/>
                    <a:pt x="579" y="1396"/>
                    <a:pt x="609" y="1441"/>
                  </a:cubicBezTo>
                  <a:cubicBezTo>
                    <a:pt x="646" y="1485"/>
                    <a:pt x="706" y="1515"/>
                    <a:pt x="758" y="1560"/>
                  </a:cubicBezTo>
                  <a:cubicBezTo>
                    <a:pt x="773" y="1574"/>
                    <a:pt x="847" y="1604"/>
                    <a:pt x="854" y="1626"/>
                  </a:cubicBezTo>
                  <a:cubicBezTo>
                    <a:pt x="854" y="1656"/>
                    <a:pt x="780" y="1656"/>
                    <a:pt x="758" y="1656"/>
                  </a:cubicBezTo>
                  <a:cubicBezTo>
                    <a:pt x="750" y="1671"/>
                    <a:pt x="743" y="1693"/>
                    <a:pt x="743" y="1708"/>
                  </a:cubicBezTo>
                  <a:cubicBezTo>
                    <a:pt x="787" y="1723"/>
                    <a:pt x="787" y="1775"/>
                    <a:pt x="832" y="1782"/>
                  </a:cubicBezTo>
                  <a:cubicBezTo>
                    <a:pt x="832" y="1849"/>
                    <a:pt x="891" y="1820"/>
                    <a:pt x="936" y="1820"/>
                  </a:cubicBezTo>
                  <a:cubicBezTo>
                    <a:pt x="1003" y="1820"/>
                    <a:pt x="995" y="1857"/>
                    <a:pt x="995" y="1909"/>
                  </a:cubicBezTo>
                  <a:cubicBezTo>
                    <a:pt x="1047" y="1909"/>
                    <a:pt x="1084" y="1953"/>
                    <a:pt x="1129" y="1968"/>
                  </a:cubicBezTo>
                  <a:cubicBezTo>
                    <a:pt x="1174" y="1976"/>
                    <a:pt x="1189" y="1983"/>
                    <a:pt x="1189" y="2028"/>
                  </a:cubicBezTo>
                  <a:cubicBezTo>
                    <a:pt x="1233" y="2035"/>
                    <a:pt x="1270" y="2028"/>
                    <a:pt x="1315" y="2035"/>
                  </a:cubicBezTo>
                  <a:cubicBezTo>
                    <a:pt x="1367" y="2050"/>
                    <a:pt x="1411" y="2020"/>
                    <a:pt x="1463" y="2035"/>
                  </a:cubicBezTo>
                  <a:cubicBezTo>
                    <a:pt x="1463" y="2057"/>
                    <a:pt x="1463" y="2079"/>
                    <a:pt x="1463" y="2094"/>
                  </a:cubicBezTo>
                  <a:cubicBezTo>
                    <a:pt x="1478" y="2094"/>
                    <a:pt x="1485" y="2094"/>
                    <a:pt x="1500" y="2094"/>
                  </a:cubicBezTo>
                  <a:cubicBezTo>
                    <a:pt x="1500" y="2131"/>
                    <a:pt x="1552" y="2094"/>
                    <a:pt x="1552" y="2154"/>
                  </a:cubicBezTo>
                  <a:cubicBezTo>
                    <a:pt x="1567" y="2154"/>
                    <a:pt x="1589" y="2154"/>
                    <a:pt x="1604" y="2154"/>
                  </a:cubicBezTo>
                  <a:cubicBezTo>
                    <a:pt x="1619" y="2139"/>
                    <a:pt x="1656" y="2087"/>
                    <a:pt x="1693" y="2050"/>
                  </a:cubicBezTo>
                  <a:cubicBezTo>
                    <a:pt x="1671" y="2042"/>
                    <a:pt x="1656" y="2035"/>
                    <a:pt x="1649" y="2020"/>
                  </a:cubicBezTo>
                  <a:cubicBezTo>
                    <a:pt x="1634" y="1990"/>
                    <a:pt x="1664" y="1961"/>
                    <a:pt x="1679" y="1938"/>
                  </a:cubicBezTo>
                  <a:cubicBezTo>
                    <a:pt x="1716" y="1901"/>
                    <a:pt x="1738" y="1864"/>
                    <a:pt x="1768" y="1820"/>
                  </a:cubicBezTo>
                  <a:cubicBezTo>
                    <a:pt x="1782" y="1790"/>
                    <a:pt x="1790" y="1738"/>
                    <a:pt x="1812" y="1723"/>
                  </a:cubicBezTo>
                  <a:cubicBezTo>
                    <a:pt x="1820" y="1716"/>
                    <a:pt x="1820" y="1708"/>
                    <a:pt x="1820" y="1701"/>
                  </a:cubicBezTo>
                  <a:cubicBezTo>
                    <a:pt x="1834" y="1701"/>
                    <a:pt x="1849" y="1701"/>
                    <a:pt x="1864" y="1701"/>
                  </a:cubicBezTo>
                  <a:cubicBezTo>
                    <a:pt x="1872" y="1686"/>
                    <a:pt x="1872" y="1663"/>
                    <a:pt x="1849" y="1663"/>
                  </a:cubicBezTo>
                  <a:cubicBezTo>
                    <a:pt x="1834" y="1626"/>
                    <a:pt x="1820" y="1582"/>
                    <a:pt x="1834" y="1545"/>
                  </a:cubicBezTo>
                  <a:cubicBezTo>
                    <a:pt x="1849" y="1537"/>
                    <a:pt x="1842" y="1508"/>
                    <a:pt x="1857" y="1485"/>
                  </a:cubicBezTo>
                  <a:cubicBezTo>
                    <a:pt x="1872" y="1463"/>
                    <a:pt x="1894" y="1478"/>
                    <a:pt x="1909" y="1456"/>
                  </a:cubicBezTo>
                  <a:cubicBezTo>
                    <a:pt x="1946" y="1426"/>
                    <a:pt x="1901" y="1352"/>
                    <a:pt x="1916" y="1307"/>
                  </a:cubicBezTo>
                  <a:cubicBezTo>
                    <a:pt x="1924" y="1285"/>
                    <a:pt x="1953" y="1285"/>
                    <a:pt x="1976" y="1277"/>
                  </a:cubicBezTo>
                  <a:cubicBezTo>
                    <a:pt x="2005" y="1263"/>
                    <a:pt x="2013" y="1248"/>
                    <a:pt x="2028" y="1218"/>
                  </a:cubicBezTo>
                  <a:cubicBezTo>
                    <a:pt x="2035" y="1203"/>
                    <a:pt x="2035" y="1173"/>
                    <a:pt x="2050" y="1159"/>
                  </a:cubicBezTo>
                  <a:cubicBezTo>
                    <a:pt x="2072" y="1144"/>
                    <a:pt x="2102" y="1151"/>
                    <a:pt x="2124" y="1144"/>
                  </a:cubicBezTo>
                  <a:cubicBezTo>
                    <a:pt x="2131" y="1114"/>
                    <a:pt x="2176" y="1084"/>
                    <a:pt x="2191" y="1047"/>
                  </a:cubicBezTo>
                  <a:cubicBezTo>
                    <a:pt x="2213" y="1018"/>
                    <a:pt x="2221" y="1018"/>
                    <a:pt x="2258" y="1025"/>
                  </a:cubicBezTo>
                  <a:cubicBezTo>
                    <a:pt x="2295" y="1032"/>
                    <a:pt x="2250" y="966"/>
                    <a:pt x="2250" y="966"/>
                  </a:cubicBezTo>
                  <a:cubicBezTo>
                    <a:pt x="2236" y="943"/>
                    <a:pt x="2228" y="928"/>
                    <a:pt x="2198" y="921"/>
                  </a:cubicBezTo>
                  <a:cubicBezTo>
                    <a:pt x="2154" y="914"/>
                    <a:pt x="2146" y="921"/>
                    <a:pt x="2117" y="876"/>
                  </a:cubicBezTo>
                  <a:cubicBezTo>
                    <a:pt x="2102" y="847"/>
                    <a:pt x="2102" y="817"/>
                    <a:pt x="2072" y="802"/>
                  </a:cubicBezTo>
                  <a:cubicBezTo>
                    <a:pt x="2057" y="802"/>
                    <a:pt x="2042" y="802"/>
                    <a:pt x="2028" y="795"/>
                  </a:cubicBezTo>
                  <a:cubicBezTo>
                    <a:pt x="1998" y="780"/>
                    <a:pt x="1991" y="765"/>
                    <a:pt x="1968" y="750"/>
                  </a:cubicBezTo>
                  <a:cubicBezTo>
                    <a:pt x="1938" y="743"/>
                    <a:pt x="1901" y="735"/>
                    <a:pt x="1872" y="735"/>
                  </a:cubicBezTo>
                  <a:cubicBezTo>
                    <a:pt x="1849" y="735"/>
                    <a:pt x="1797" y="735"/>
                    <a:pt x="1782" y="713"/>
                  </a:cubicBezTo>
                  <a:cubicBezTo>
                    <a:pt x="1760" y="683"/>
                    <a:pt x="1760" y="624"/>
                    <a:pt x="1768" y="587"/>
                  </a:cubicBezTo>
                  <a:cubicBezTo>
                    <a:pt x="1745" y="587"/>
                    <a:pt x="1731" y="564"/>
                    <a:pt x="1723" y="550"/>
                  </a:cubicBezTo>
                  <a:cubicBezTo>
                    <a:pt x="1716" y="542"/>
                    <a:pt x="1716" y="535"/>
                    <a:pt x="1708" y="520"/>
                  </a:cubicBezTo>
                  <a:cubicBezTo>
                    <a:pt x="1701" y="513"/>
                    <a:pt x="1686" y="505"/>
                    <a:pt x="1671" y="505"/>
                  </a:cubicBezTo>
                  <a:cubicBezTo>
                    <a:pt x="1656" y="498"/>
                    <a:pt x="1634" y="505"/>
                    <a:pt x="1612" y="498"/>
                  </a:cubicBezTo>
                  <a:cubicBezTo>
                    <a:pt x="1597" y="490"/>
                    <a:pt x="1537" y="431"/>
                    <a:pt x="1545" y="401"/>
                  </a:cubicBezTo>
                  <a:cubicBezTo>
                    <a:pt x="1515" y="394"/>
                    <a:pt x="1500" y="371"/>
                    <a:pt x="1463" y="379"/>
                  </a:cubicBezTo>
                  <a:cubicBezTo>
                    <a:pt x="1441" y="379"/>
                    <a:pt x="1419" y="401"/>
                    <a:pt x="1396" y="409"/>
                  </a:cubicBezTo>
                  <a:cubicBezTo>
                    <a:pt x="1396" y="409"/>
                    <a:pt x="1396" y="409"/>
                    <a:pt x="1396" y="416"/>
                  </a:cubicBezTo>
                  <a:cubicBezTo>
                    <a:pt x="1329" y="431"/>
                    <a:pt x="1315" y="357"/>
                    <a:pt x="1285" y="319"/>
                  </a:cubicBezTo>
                  <a:cubicBezTo>
                    <a:pt x="1263" y="305"/>
                    <a:pt x="1233" y="305"/>
                    <a:pt x="1218" y="282"/>
                  </a:cubicBezTo>
                  <a:cubicBezTo>
                    <a:pt x="1203" y="260"/>
                    <a:pt x="1218" y="238"/>
                    <a:pt x="1196" y="223"/>
                  </a:cubicBezTo>
                  <a:cubicBezTo>
                    <a:pt x="1144" y="208"/>
                    <a:pt x="1174" y="156"/>
                    <a:pt x="1159" y="104"/>
                  </a:cubicBezTo>
                  <a:cubicBezTo>
                    <a:pt x="1144" y="112"/>
                    <a:pt x="1122" y="97"/>
                    <a:pt x="1107" y="104"/>
                  </a:cubicBezTo>
                  <a:cubicBezTo>
                    <a:pt x="1136" y="97"/>
                    <a:pt x="1062" y="8"/>
                    <a:pt x="1040" y="0"/>
                  </a:cubicBezTo>
                  <a:cubicBezTo>
                    <a:pt x="1040" y="15"/>
                    <a:pt x="1047" y="37"/>
                    <a:pt x="1040" y="52"/>
                  </a:cubicBezTo>
                  <a:cubicBezTo>
                    <a:pt x="1025" y="59"/>
                    <a:pt x="1010" y="52"/>
                    <a:pt x="1003" y="59"/>
                  </a:cubicBezTo>
                  <a:cubicBezTo>
                    <a:pt x="973" y="74"/>
                    <a:pt x="995" y="97"/>
                    <a:pt x="981" y="119"/>
                  </a:cubicBezTo>
                  <a:cubicBezTo>
                    <a:pt x="973" y="141"/>
                    <a:pt x="951" y="141"/>
                    <a:pt x="936" y="141"/>
                  </a:cubicBezTo>
                  <a:cubicBezTo>
                    <a:pt x="943" y="186"/>
                    <a:pt x="951" y="230"/>
                    <a:pt x="958" y="245"/>
                  </a:cubicBezTo>
                  <a:cubicBezTo>
                    <a:pt x="973" y="267"/>
                    <a:pt x="988" y="290"/>
                    <a:pt x="995" y="312"/>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2" name="Freeform 10">
              <a:extLst>
                <a:ext uri="{FF2B5EF4-FFF2-40B4-BE49-F238E27FC236}">
                  <a16:creationId xmlns:a16="http://schemas.microsoft.com/office/drawing/2014/main" id="{70C3C2F0-6B5F-DD4C-9563-5F277F676069}"/>
                </a:ext>
              </a:extLst>
            </p:cNvPr>
            <p:cNvSpPr>
              <a:spLocks noChangeArrowheads="1"/>
            </p:cNvSpPr>
            <p:nvPr/>
          </p:nvSpPr>
          <p:spPr bwMode="auto">
            <a:xfrm>
              <a:off x="10728493" y="5131678"/>
              <a:ext cx="2148475" cy="2118469"/>
            </a:xfrm>
            <a:custGeom>
              <a:avLst/>
              <a:gdLst>
                <a:gd name="T0" fmla="*/ 1708 w 4968"/>
                <a:gd name="T1" fmla="*/ 1174 h 4903"/>
                <a:gd name="T2" fmla="*/ 1136 w 4968"/>
                <a:gd name="T3" fmla="*/ 847 h 4903"/>
                <a:gd name="T4" fmla="*/ 817 w 4968"/>
                <a:gd name="T5" fmla="*/ 468 h 4903"/>
                <a:gd name="T6" fmla="*/ 460 w 4968"/>
                <a:gd name="T7" fmla="*/ 387 h 4903"/>
                <a:gd name="T8" fmla="*/ 386 w 4968"/>
                <a:gd name="T9" fmla="*/ 30 h 4903"/>
                <a:gd name="T10" fmla="*/ 59 w 4968"/>
                <a:gd name="T11" fmla="*/ 528 h 4903"/>
                <a:gd name="T12" fmla="*/ 81 w 4968"/>
                <a:gd name="T13" fmla="*/ 1129 h 4903"/>
                <a:gd name="T14" fmla="*/ 104 w 4968"/>
                <a:gd name="T15" fmla="*/ 1174 h 4903"/>
                <a:gd name="T16" fmla="*/ 133 w 4968"/>
                <a:gd name="T17" fmla="*/ 1270 h 4903"/>
                <a:gd name="T18" fmla="*/ 260 w 4968"/>
                <a:gd name="T19" fmla="*/ 1582 h 4903"/>
                <a:gd name="T20" fmla="*/ 289 w 4968"/>
                <a:gd name="T21" fmla="*/ 1805 h 4903"/>
                <a:gd name="T22" fmla="*/ 341 w 4968"/>
                <a:gd name="T23" fmla="*/ 2236 h 4903"/>
                <a:gd name="T24" fmla="*/ 341 w 4968"/>
                <a:gd name="T25" fmla="*/ 2518 h 4903"/>
                <a:gd name="T26" fmla="*/ 482 w 4968"/>
                <a:gd name="T27" fmla="*/ 2563 h 4903"/>
                <a:gd name="T28" fmla="*/ 742 w 4968"/>
                <a:gd name="T29" fmla="*/ 2563 h 4903"/>
                <a:gd name="T30" fmla="*/ 935 w 4968"/>
                <a:gd name="T31" fmla="*/ 2644 h 4903"/>
                <a:gd name="T32" fmla="*/ 1284 w 4968"/>
                <a:gd name="T33" fmla="*/ 2889 h 4903"/>
                <a:gd name="T34" fmla="*/ 1069 w 4968"/>
                <a:gd name="T35" fmla="*/ 3402 h 4903"/>
                <a:gd name="T36" fmla="*/ 817 w 4968"/>
                <a:gd name="T37" fmla="*/ 3610 h 4903"/>
                <a:gd name="T38" fmla="*/ 705 w 4968"/>
                <a:gd name="T39" fmla="*/ 3988 h 4903"/>
                <a:gd name="T40" fmla="*/ 831 w 4968"/>
                <a:gd name="T41" fmla="*/ 4389 h 4903"/>
                <a:gd name="T42" fmla="*/ 1180 w 4968"/>
                <a:gd name="T43" fmla="*/ 4412 h 4903"/>
                <a:gd name="T44" fmla="*/ 1039 w 4968"/>
                <a:gd name="T45" fmla="*/ 4070 h 4903"/>
                <a:gd name="T46" fmla="*/ 980 w 4968"/>
                <a:gd name="T47" fmla="*/ 3691 h 4903"/>
                <a:gd name="T48" fmla="*/ 1173 w 4968"/>
                <a:gd name="T49" fmla="*/ 3691 h 4903"/>
                <a:gd name="T50" fmla="*/ 1136 w 4968"/>
                <a:gd name="T51" fmla="*/ 3825 h 4903"/>
                <a:gd name="T52" fmla="*/ 1396 w 4968"/>
                <a:gd name="T53" fmla="*/ 3862 h 4903"/>
                <a:gd name="T54" fmla="*/ 1485 w 4968"/>
                <a:gd name="T55" fmla="*/ 3884 h 4903"/>
                <a:gd name="T56" fmla="*/ 1975 w 4968"/>
                <a:gd name="T57" fmla="*/ 3736 h 4903"/>
                <a:gd name="T58" fmla="*/ 2101 w 4968"/>
                <a:gd name="T59" fmla="*/ 3951 h 4903"/>
                <a:gd name="T60" fmla="*/ 2198 w 4968"/>
                <a:gd name="T61" fmla="*/ 3929 h 4903"/>
                <a:gd name="T62" fmla="*/ 2346 w 4968"/>
                <a:gd name="T63" fmla="*/ 3914 h 4903"/>
                <a:gd name="T64" fmla="*/ 2435 w 4968"/>
                <a:gd name="T65" fmla="*/ 3973 h 4903"/>
                <a:gd name="T66" fmla="*/ 2740 w 4968"/>
                <a:gd name="T67" fmla="*/ 3936 h 4903"/>
                <a:gd name="T68" fmla="*/ 2948 w 4968"/>
                <a:gd name="T69" fmla="*/ 3981 h 4903"/>
                <a:gd name="T70" fmla="*/ 3364 w 4968"/>
                <a:gd name="T71" fmla="*/ 4196 h 4903"/>
                <a:gd name="T72" fmla="*/ 3637 w 4968"/>
                <a:gd name="T73" fmla="*/ 4263 h 4903"/>
                <a:gd name="T74" fmla="*/ 3697 w 4968"/>
                <a:gd name="T75" fmla="*/ 4441 h 4903"/>
                <a:gd name="T76" fmla="*/ 3704 w 4968"/>
                <a:gd name="T77" fmla="*/ 4746 h 4903"/>
                <a:gd name="T78" fmla="*/ 4001 w 4968"/>
                <a:gd name="T79" fmla="*/ 4887 h 4903"/>
                <a:gd name="T80" fmla="*/ 4113 w 4968"/>
                <a:gd name="T81" fmla="*/ 4701 h 4903"/>
                <a:gd name="T82" fmla="*/ 4105 w 4968"/>
                <a:gd name="T83" fmla="*/ 4412 h 4903"/>
                <a:gd name="T84" fmla="*/ 4105 w 4968"/>
                <a:gd name="T85" fmla="*/ 3936 h 4903"/>
                <a:gd name="T86" fmla="*/ 4595 w 4968"/>
                <a:gd name="T87" fmla="*/ 3543 h 4903"/>
                <a:gd name="T88" fmla="*/ 4662 w 4968"/>
                <a:gd name="T89" fmla="*/ 3313 h 4903"/>
                <a:gd name="T90" fmla="*/ 4506 w 4968"/>
                <a:gd name="T91" fmla="*/ 2986 h 4903"/>
                <a:gd name="T92" fmla="*/ 4714 w 4968"/>
                <a:gd name="T93" fmla="*/ 2785 h 4903"/>
                <a:gd name="T94" fmla="*/ 4417 w 4968"/>
                <a:gd name="T95" fmla="*/ 2258 h 4903"/>
                <a:gd name="T96" fmla="*/ 3994 w 4968"/>
                <a:gd name="T97" fmla="*/ 2184 h 4903"/>
                <a:gd name="T98" fmla="*/ 3475 w 4968"/>
                <a:gd name="T99" fmla="*/ 1961 h 4903"/>
                <a:gd name="T100" fmla="*/ 2985 w 4968"/>
                <a:gd name="T101" fmla="*/ 1783 h 4903"/>
                <a:gd name="T102" fmla="*/ 2718 w 4968"/>
                <a:gd name="T103" fmla="*/ 1501 h 4903"/>
                <a:gd name="T104" fmla="*/ 2369 w 4968"/>
                <a:gd name="T105" fmla="*/ 1307 h 4903"/>
                <a:gd name="T106" fmla="*/ 2094 w 4968"/>
                <a:gd name="T107" fmla="*/ 1189 h 4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68" h="4903">
                  <a:moveTo>
                    <a:pt x="1945" y="1293"/>
                  </a:moveTo>
                  <a:lnTo>
                    <a:pt x="1945" y="1293"/>
                  </a:lnTo>
                  <a:cubicBezTo>
                    <a:pt x="1945" y="1233"/>
                    <a:pt x="1893" y="1270"/>
                    <a:pt x="1893" y="1233"/>
                  </a:cubicBezTo>
                  <a:cubicBezTo>
                    <a:pt x="1878" y="1233"/>
                    <a:pt x="1871" y="1233"/>
                    <a:pt x="1856" y="1233"/>
                  </a:cubicBezTo>
                  <a:cubicBezTo>
                    <a:pt x="1856" y="1218"/>
                    <a:pt x="1856" y="1196"/>
                    <a:pt x="1856" y="1174"/>
                  </a:cubicBezTo>
                  <a:cubicBezTo>
                    <a:pt x="1804" y="1159"/>
                    <a:pt x="1760" y="1189"/>
                    <a:pt x="1708" y="1174"/>
                  </a:cubicBezTo>
                  <a:cubicBezTo>
                    <a:pt x="1663" y="1167"/>
                    <a:pt x="1626" y="1174"/>
                    <a:pt x="1582" y="1167"/>
                  </a:cubicBezTo>
                  <a:cubicBezTo>
                    <a:pt x="1582" y="1122"/>
                    <a:pt x="1567" y="1115"/>
                    <a:pt x="1522" y="1107"/>
                  </a:cubicBezTo>
                  <a:cubicBezTo>
                    <a:pt x="1477" y="1092"/>
                    <a:pt x="1440" y="1048"/>
                    <a:pt x="1388" y="1048"/>
                  </a:cubicBezTo>
                  <a:cubicBezTo>
                    <a:pt x="1388" y="996"/>
                    <a:pt x="1396" y="959"/>
                    <a:pt x="1329" y="959"/>
                  </a:cubicBezTo>
                  <a:cubicBezTo>
                    <a:pt x="1284" y="959"/>
                    <a:pt x="1225" y="988"/>
                    <a:pt x="1225" y="921"/>
                  </a:cubicBezTo>
                  <a:cubicBezTo>
                    <a:pt x="1180" y="914"/>
                    <a:pt x="1180" y="862"/>
                    <a:pt x="1136" y="847"/>
                  </a:cubicBezTo>
                  <a:cubicBezTo>
                    <a:pt x="1136" y="832"/>
                    <a:pt x="1143" y="810"/>
                    <a:pt x="1151" y="795"/>
                  </a:cubicBezTo>
                  <a:cubicBezTo>
                    <a:pt x="1173" y="795"/>
                    <a:pt x="1247" y="795"/>
                    <a:pt x="1247" y="765"/>
                  </a:cubicBezTo>
                  <a:cubicBezTo>
                    <a:pt x="1240" y="743"/>
                    <a:pt x="1166" y="713"/>
                    <a:pt x="1151" y="699"/>
                  </a:cubicBezTo>
                  <a:cubicBezTo>
                    <a:pt x="1099" y="654"/>
                    <a:pt x="1039" y="624"/>
                    <a:pt x="1002" y="580"/>
                  </a:cubicBezTo>
                  <a:cubicBezTo>
                    <a:pt x="972" y="535"/>
                    <a:pt x="965" y="491"/>
                    <a:pt x="920" y="461"/>
                  </a:cubicBezTo>
                  <a:cubicBezTo>
                    <a:pt x="883" y="431"/>
                    <a:pt x="861" y="476"/>
                    <a:pt x="817" y="468"/>
                  </a:cubicBezTo>
                  <a:cubicBezTo>
                    <a:pt x="780" y="468"/>
                    <a:pt x="787" y="513"/>
                    <a:pt x="750" y="528"/>
                  </a:cubicBezTo>
                  <a:cubicBezTo>
                    <a:pt x="698" y="543"/>
                    <a:pt x="720" y="565"/>
                    <a:pt x="683" y="595"/>
                  </a:cubicBezTo>
                  <a:cubicBezTo>
                    <a:pt x="668" y="617"/>
                    <a:pt x="631" y="557"/>
                    <a:pt x="609" y="550"/>
                  </a:cubicBezTo>
                  <a:cubicBezTo>
                    <a:pt x="631" y="528"/>
                    <a:pt x="616" y="505"/>
                    <a:pt x="623" y="483"/>
                  </a:cubicBezTo>
                  <a:cubicBezTo>
                    <a:pt x="586" y="491"/>
                    <a:pt x="527" y="513"/>
                    <a:pt x="490" y="491"/>
                  </a:cubicBezTo>
                  <a:cubicBezTo>
                    <a:pt x="468" y="476"/>
                    <a:pt x="482" y="416"/>
                    <a:pt x="460" y="387"/>
                  </a:cubicBezTo>
                  <a:cubicBezTo>
                    <a:pt x="430" y="342"/>
                    <a:pt x="490" y="305"/>
                    <a:pt x="520" y="268"/>
                  </a:cubicBezTo>
                  <a:cubicBezTo>
                    <a:pt x="549" y="231"/>
                    <a:pt x="557" y="179"/>
                    <a:pt x="572" y="134"/>
                  </a:cubicBezTo>
                  <a:cubicBezTo>
                    <a:pt x="586" y="127"/>
                    <a:pt x="609" y="112"/>
                    <a:pt x="631" y="119"/>
                  </a:cubicBezTo>
                  <a:cubicBezTo>
                    <a:pt x="579" y="90"/>
                    <a:pt x="520" y="82"/>
                    <a:pt x="475" y="45"/>
                  </a:cubicBezTo>
                  <a:cubicBezTo>
                    <a:pt x="460" y="30"/>
                    <a:pt x="438" y="23"/>
                    <a:pt x="423" y="0"/>
                  </a:cubicBezTo>
                  <a:cubicBezTo>
                    <a:pt x="408" y="15"/>
                    <a:pt x="393" y="30"/>
                    <a:pt x="386" y="30"/>
                  </a:cubicBezTo>
                  <a:cubicBezTo>
                    <a:pt x="356" y="105"/>
                    <a:pt x="267" y="149"/>
                    <a:pt x="260" y="231"/>
                  </a:cubicBezTo>
                  <a:cubicBezTo>
                    <a:pt x="237" y="231"/>
                    <a:pt x="208" y="223"/>
                    <a:pt x="200" y="253"/>
                  </a:cubicBezTo>
                  <a:cubicBezTo>
                    <a:pt x="200" y="275"/>
                    <a:pt x="185" y="275"/>
                    <a:pt x="178" y="298"/>
                  </a:cubicBezTo>
                  <a:cubicBezTo>
                    <a:pt x="118" y="298"/>
                    <a:pt x="126" y="357"/>
                    <a:pt x="126" y="394"/>
                  </a:cubicBezTo>
                  <a:cubicBezTo>
                    <a:pt x="126" y="424"/>
                    <a:pt x="111" y="439"/>
                    <a:pt x="96" y="454"/>
                  </a:cubicBezTo>
                  <a:cubicBezTo>
                    <a:pt x="74" y="476"/>
                    <a:pt x="74" y="505"/>
                    <a:pt x="59" y="528"/>
                  </a:cubicBezTo>
                  <a:lnTo>
                    <a:pt x="52" y="528"/>
                  </a:lnTo>
                  <a:cubicBezTo>
                    <a:pt x="22" y="602"/>
                    <a:pt x="0" y="706"/>
                    <a:pt x="22" y="780"/>
                  </a:cubicBezTo>
                  <a:cubicBezTo>
                    <a:pt x="44" y="855"/>
                    <a:pt x="44" y="1010"/>
                    <a:pt x="44" y="1107"/>
                  </a:cubicBezTo>
                  <a:cubicBezTo>
                    <a:pt x="44" y="1115"/>
                    <a:pt x="52" y="1115"/>
                    <a:pt x="52" y="1115"/>
                  </a:cubicBezTo>
                  <a:cubicBezTo>
                    <a:pt x="59" y="1115"/>
                    <a:pt x="59" y="1107"/>
                    <a:pt x="66" y="1107"/>
                  </a:cubicBezTo>
                  <a:cubicBezTo>
                    <a:pt x="74" y="1107"/>
                    <a:pt x="81" y="1129"/>
                    <a:pt x="81" y="1129"/>
                  </a:cubicBezTo>
                  <a:cubicBezTo>
                    <a:pt x="89" y="1144"/>
                    <a:pt x="74" y="1129"/>
                    <a:pt x="74" y="1137"/>
                  </a:cubicBezTo>
                  <a:cubicBezTo>
                    <a:pt x="66" y="1144"/>
                    <a:pt x="81" y="1152"/>
                    <a:pt x="81" y="1152"/>
                  </a:cubicBezTo>
                  <a:lnTo>
                    <a:pt x="89" y="1152"/>
                  </a:lnTo>
                  <a:cubicBezTo>
                    <a:pt x="89" y="1159"/>
                    <a:pt x="89" y="1159"/>
                    <a:pt x="89" y="1159"/>
                  </a:cubicBezTo>
                  <a:cubicBezTo>
                    <a:pt x="89" y="1159"/>
                    <a:pt x="89" y="1167"/>
                    <a:pt x="96" y="1174"/>
                  </a:cubicBezTo>
                  <a:cubicBezTo>
                    <a:pt x="96" y="1174"/>
                    <a:pt x="96" y="1174"/>
                    <a:pt x="104" y="1174"/>
                  </a:cubicBezTo>
                  <a:cubicBezTo>
                    <a:pt x="104" y="1181"/>
                    <a:pt x="104" y="1181"/>
                    <a:pt x="104" y="1181"/>
                  </a:cubicBezTo>
                  <a:cubicBezTo>
                    <a:pt x="111" y="1189"/>
                    <a:pt x="111" y="1189"/>
                    <a:pt x="118" y="1196"/>
                  </a:cubicBezTo>
                  <a:cubicBezTo>
                    <a:pt x="118" y="1211"/>
                    <a:pt x="126" y="1196"/>
                    <a:pt x="133" y="1196"/>
                  </a:cubicBezTo>
                  <a:cubicBezTo>
                    <a:pt x="141" y="1204"/>
                    <a:pt x="141" y="1218"/>
                    <a:pt x="133" y="1218"/>
                  </a:cubicBezTo>
                  <a:cubicBezTo>
                    <a:pt x="133" y="1226"/>
                    <a:pt x="133" y="1233"/>
                    <a:pt x="133" y="1241"/>
                  </a:cubicBezTo>
                  <a:cubicBezTo>
                    <a:pt x="141" y="1256"/>
                    <a:pt x="156" y="1263"/>
                    <a:pt x="133" y="1270"/>
                  </a:cubicBezTo>
                  <a:cubicBezTo>
                    <a:pt x="118" y="1278"/>
                    <a:pt x="118" y="1293"/>
                    <a:pt x="133" y="1300"/>
                  </a:cubicBezTo>
                  <a:cubicBezTo>
                    <a:pt x="141" y="1307"/>
                    <a:pt x="148" y="1322"/>
                    <a:pt x="133" y="1337"/>
                  </a:cubicBezTo>
                  <a:cubicBezTo>
                    <a:pt x="141" y="1345"/>
                    <a:pt x="148" y="1359"/>
                    <a:pt x="148" y="1359"/>
                  </a:cubicBezTo>
                  <a:cubicBezTo>
                    <a:pt x="156" y="1404"/>
                    <a:pt x="156" y="1426"/>
                    <a:pt x="185" y="1464"/>
                  </a:cubicBezTo>
                  <a:cubicBezTo>
                    <a:pt x="215" y="1493"/>
                    <a:pt x="237" y="1530"/>
                    <a:pt x="252" y="1575"/>
                  </a:cubicBezTo>
                  <a:cubicBezTo>
                    <a:pt x="252" y="1575"/>
                    <a:pt x="252" y="1582"/>
                    <a:pt x="260" y="1582"/>
                  </a:cubicBezTo>
                  <a:lnTo>
                    <a:pt x="260" y="1590"/>
                  </a:lnTo>
                  <a:cubicBezTo>
                    <a:pt x="282" y="1634"/>
                    <a:pt x="282" y="1672"/>
                    <a:pt x="282" y="1716"/>
                  </a:cubicBezTo>
                  <a:lnTo>
                    <a:pt x="282" y="1723"/>
                  </a:lnTo>
                  <a:cubicBezTo>
                    <a:pt x="282" y="1738"/>
                    <a:pt x="282" y="1753"/>
                    <a:pt x="289" y="1761"/>
                  </a:cubicBezTo>
                  <a:cubicBezTo>
                    <a:pt x="289" y="1768"/>
                    <a:pt x="289" y="1768"/>
                    <a:pt x="297" y="1775"/>
                  </a:cubicBezTo>
                  <a:cubicBezTo>
                    <a:pt x="297" y="1783"/>
                    <a:pt x="289" y="1798"/>
                    <a:pt x="289" y="1805"/>
                  </a:cubicBezTo>
                  <a:cubicBezTo>
                    <a:pt x="267" y="1820"/>
                    <a:pt x="230" y="1805"/>
                    <a:pt x="208" y="1812"/>
                  </a:cubicBezTo>
                  <a:lnTo>
                    <a:pt x="208" y="1812"/>
                  </a:lnTo>
                  <a:cubicBezTo>
                    <a:pt x="208" y="1835"/>
                    <a:pt x="200" y="1857"/>
                    <a:pt x="178" y="1879"/>
                  </a:cubicBezTo>
                  <a:cubicBezTo>
                    <a:pt x="111" y="1946"/>
                    <a:pt x="208" y="2080"/>
                    <a:pt x="208" y="2154"/>
                  </a:cubicBezTo>
                  <a:cubicBezTo>
                    <a:pt x="208" y="2206"/>
                    <a:pt x="260" y="2199"/>
                    <a:pt x="297" y="2214"/>
                  </a:cubicBezTo>
                  <a:cubicBezTo>
                    <a:pt x="312" y="2221"/>
                    <a:pt x="334" y="2221"/>
                    <a:pt x="341" y="2236"/>
                  </a:cubicBezTo>
                  <a:cubicBezTo>
                    <a:pt x="364" y="2258"/>
                    <a:pt x="312" y="2258"/>
                    <a:pt x="312" y="2266"/>
                  </a:cubicBezTo>
                  <a:cubicBezTo>
                    <a:pt x="304" y="2310"/>
                    <a:pt x="386" y="2266"/>
                    <a:pt x="364" y="2332"/>
                  </a:cubicBezTo>
                  <a:cubicBezTo>
                    <a:pt x="349" y="2340"/>
                    <a:pt x="341" y="2355"/>
                    <a:pt x="349" y="2377"/>
                  </a:cubicBezTo>
                  <a:cubicBezTo>
                    <a:pt x="297" y="2362"/>
                    <a:pt x="297" y="2399"/>
                    <a:pt x="297" y="2436"/>
                  </a:cubicBezTo>
                  <a:cubicBezTo>
                    <a:pt x="341" y="2444"/>
                    <a:pt x="415" y="2436"/>
                    <a:pt x="423" y="2488"/>
                  </a:cubicBezTo>
                  <a:cubicBezTo>
                    <a:pt x="393" y="2488"/>
                    <a:pt x="341" y="2481"/>
                    <a:pt x="341" y="2518"/>
                  </a:cubicBezTo>
                  <a:cubicBezTo>
                    <a:pt x="312" y="2525"/>
                    <a:pt x="282" y="2518"/>
                    <a:pt x="260" y="2518"/>
                  </a:cubicBezTo>
                  <a:cubicBezTo>
                    <a:pt x="252" y="2525"/>
                    <a:pt x="252" y="2525"/>
                    <a:pt x="252" y="2533"/>
                  </a:cubicBezTo>
                  <a:cubicBezTo>
                    <a:pt x="185" y="2533"/>
                    <a:pt x="156" y="2652"/>
                    <a:pt x="215" y="2652"/>
                  </a:cubicBezTo>
                  <a:cubicBezTo>
                    <a:pt x="208" y="2555"/>
                    <a:pt x="319" y="2592"/>
                    <a:pt x="386" y="2592"/>
                  </a:cubicBezTo>
                  <a:cubicBezTo>
                    <a:pt x="386" y="2570"/>
                    <a:pt x="393" y="2555"/>
                    <a:pt x="393" y="2540"/>
                  </a:cubicBezTo>
                  <a:cubicBezTo>
                    <a:pt x="430" y="2533"/>
                    <a:pt x="453" y="2533"/>
                    <a:pt x="482" y="2563"/>
                  </a:cubicBezTo>
                  <a:cubicBezTo>
                    <a:pt x="505" y="2592"/>
                    <a:pt x="549" y="2533"/>
                    <a:pt x="579" y="2540"/>
                  </a:cubicBezTo>
                  <a:cubicBezTo>
                    <a:pt x="586" y="2570"/>
                    <a:pt x="586" y="2600"/>
                    <a:pt x="623" y="2592"/>
                  </a:cubicBezTo>
                  <a:cubicBezTo>
                    <a:pt x="623" y="2577"/>
                    <a:pt x="631" y="2555"/>
                    <a:pt x="638" y="2540"/>
                  </a:cubicBezTo>
                  <a:cubicBezTo>
                    <a:pt x="646" y="2540"/>
                    <a:pt x="653" y="2533"/>
                    <a:pt x="661" y="2533"/>
                  </a:cubicBezTo>
                  <a:cubicBezTo>
                    <a:pt x="661" y="2518"/>
                    <a:pt x="668" y="2511"/>
                    <a:pt x="690" y="2503"/>
                  </a:cubicBezTo>
                  <a:cubicBezTo>
                    <a:pt x="698" y="2533"/>
                    <a:pt x="713" y="2563"/>
                    <a:pt x="742" y="2563"/>
                  </a:cubicBezTo>
                  <a:cubicBezTo>
                    <a:pt x="727" y="2570"/>
                    <a:pt x="720" y="2592"/>
                    <a:pt x="727" y="2607"/>
                  </a:cubicBezTo>
                  <a:cubicBezTo>
                    <a:pt x="750" y="2592"/>
                    <a:pt x="765" y="2577"/>
                    <a:pt x="780" y="2577"/>
                  </a:cubicBezTo>
                  <a:cubicBezTo>
                    <a:pt x="765" y="2577"/>
                    <a:pt x="750" y="2592"/>
                    <a:pt x="727" y="2607"/>
                  </a:cubicBezTo>
                  <a:cubicBezTo>
                    <a:pt x="735" y="2614"/>
                    <a:pt x="742" y="2614"/>
                    <a:pt x="750" y="2614"/>
                  </a:cubicBezTo>
                  <a:cubicBezTo>
                    <a:pt x="780" y="2622"/>
                    <a:pt x="809" y="2607"/>
                    <a:pt x="839" y="2614"/>
                  </a:cubicBezTo>
                  <a:cubicBezTo>
                    <a:pt x="876" y="2614"/>
                    <a:pt x="906" y="2637"/>
                    <a:pt x="935" y="2644"/>
                  </a:cubicBezTo>
                  <a:cubicBezTo>
                    <a:pt x="972" y="2644"/>
                    <a:pt x="1010" y="2644"/>
                    <a:pt x="1039" y="2644"/>
                  </a:cubicBezTo>
                  <a:cubicBezTo>
                    <a:pt x="1039" y="2637"/>
                    <a:pt x="1047" y="2629"/>
                    <a:pt x="1047" y="2622"/>
                  </a:cubicBezTo>
                  <a:cubicBezTo>
                    <a:pt x="1099" y="2622"/>
                    <a:pt x="1114" y="2644"/>
                    <a:pt x="1151" y="2674"/>
                  </a:cubicBezTo>
                  <a:cubicBezTo>
                    <a:pt x="1151" y="2704"/>
                    <a:pt x="1180" y="2711"/>
                    <a:pt x="1203" y="2711"/>
                  </a:cubicBezTo>
                  <a:cubicBezTo>
                    <a:pt x="1240" y="2726"/>
                    <a:pt x="1240" y="2741"/>
                    <a:pt x="1240" y="2778"/>
                  </a:cubicBezTo>
                  <a:cubicBezTo>
                    <a:pt x="1232" y="2822"/>
                    <a:pt x="1270" y="2845"/>
                    <a:pt x="1284" y="2889"/>
                  </a:cubicBezTo>
                  <a:cubicBezTo>
                    <a:pt x="1299" y="2934"/>
                    <a:pt x="1277" y="2986"/>
                    <a:pt x="1284" y="3030"/>
                  </a:cubicBezTo>
                  <a:cubicBezTo>
                    <a:pt x="1225" y="3030"/>
                    <a:pt x="1255" y="3082"/>
                    <a:pt x="1217" y="3090"/>
                  </a:cubicBezTo>
                  <a:cubicBezTo>
                    <a:pt x="1210" y="3105"/>
                    <a:pt x="1210" y="3134"/>
                    <a:pt x="1210" y="3149"/>
                  </a:cubicBezTo>
                  <a:cubicBezTo>
                    <a:pt x="1173" y="3171"/>
                    <a:pt x="1180" y="3238"/>
                    <a:pt x="1143" y="3261"/>
                  </a:cubicBezTo>
                  <a:cubicBezTo>
                    <a:pt x="1136" y="3290"/>
                    <a:pt x="1106" y="3320"/>
                    <a:pt x="1106" y="3357"/>
                  </a:cubicBezTo>
                  <a:cubicBezTo>
                    <a:pt x="1069" y="3320"/>
                    <a:pt x="1069" y="3379"/>
                    <a:pt x="1069" y="3402"/>
                  </a:cubicBezTo>
                  <a:lnTo>
                    <a:pt x="1062" y="3402"/>
                  </a:lnTo>
                  <a:cubicBezTo>
                    <a:pt x="1062" y="3431"/>
                    <a:pt x="1106" y="3454"/>
                    <a:pt x="1084" y="3483"/>
                  </a:cubicBezTo>
                  <a:cubicBezTo>
                    <a:pt x="1069" y="3498"/>
                    <a:pt x="1054" y="3498"/>
                    <a:pt x="1032" y="3498"/>
                  </a:cubicBezTo>
                  <a:cubicBezTo>
                    <a:pt x="1010" y="3491"/>
                    <a:pt x="1002" y="3513"/>
                    <a:pt x="980" y="3521"/>
                  </a:cubicBezTo>
                  <a:cubicBezTo>
                    <a:pt x="943" y="3543"/>
                    <a:pt x="891" y="3521"/>
                    <a:pt x="854" y="3528"/>
                  </a:cubicBezTo>
                  <a:cubicBezTo>
                    <a:pt x="802" y="3528"/>
                    <a:pt x="817" y="3580"/>
                    <a:pt x="817" y="3610"/>
                  </a:cubicBezTo>
                  <a:cubicBezTo>
                    <a:pt x="794" y="3617"/>
                    <a:pt x="765" y="3595"/>
                    <a:pt x="750" y="3624"/>
                  </a:cubicBezTo>
                  <a:cubicBezTo>
                    <a:pt x="742" y="3639"/>
                    <a:pt x="750" y="3662"/>
                    <a:pt x="750" y="3684"/>
                  </a:cubicBezTo>
                  <a:cubicBezTo>
                    <a:pt x="750" y="3713"/>
                    <a:pt x="742" y="3780"/>
                    <a:pt x="787" y="3780"/>
                  </a:cubicBezTo>
                  <a:cubicBezTo>
                    <a:pt x="794" y="3803"/>
                    <a:pt x="809" y="3818"/>
                    <a:pt x="809" y="3840"/>
                  </a:cubicBezTo>
                  <a:cubicBezTo>
                    <a:pt x="765" y="3832"/>
                    <a:pt x="780" y="3884"/>
                    <a:pt x="742" y="3877"/>
                  </a:cubicBezTo>
                  <a:cubicBezTo>
                    <a:pt x="735" y="3921"/>
                    <a:pt x="742" y="3959"/>
                    <a:pt x="705" y="3988"/>
                  </a:cubicBezTo>
                  <a:cubicBezTo>
                    <a:pt x="683" y="4003"/>
                    <a:pt x="653" y="4033"/>
                    <a:pt x="623" y="4025"/>
                  </a:cubicBezTo>
                  <a:cubicBezTo>
                    <a:pt x="623" y="4070"/>
                    <a:pt x="750" y="4256"/>
                    <a:pt x="661" y="4278"/>
                  </a:cubicBezTo>
                  <a:cubicBezTo>
                    <a:pt x="653" y="4323"/>
                    <a:pt x="675" y="4323"/>
                    <a:pt x="713" y="4330"/>
                  </a:cubicBezTo>
                  <a:cubicBezTo>
                    <a:pt x="772" y="4345"/>
                    <a:pt x="735" y="4426"/>
                    <a:pt x="735" y="4471"/>
                  </a:cubicBezTo>
                  <a:cubicBezTo>
                    <a:pt x="757" y="4471"/>
                    <a:pt x="772" y="4478"/>
                    <a:pt x="787" y="4478"/>
                  </a:cubicBezTo>
                  <a:cubicBezTo>
                    <a:pt x="794" y="4441"/>
                    <a:pt x="802" y="4412"/>
                    <a:pt x="831" y="4389"/>
                  </a:cubicBezTo>
                  <a:cubicBezTo>
                    <a:pt x="839" y="4434"/>
                    <a:pt x="883" y="4412"/>
                    <a:pt x="906" y="4434"/>
                  </a:cubicBezTo>
                  <a:cubicBezTo>
                    <a:pt x="943" y="4456"/>
                    <a:pt x="920" y="4530"/>
                    <a:pt x="972" y="4538"/>
                  </a:cubicBezTo>
                  <a:cubicBezTo>
                    <a:pt x="972" y="4530"/>
                    <a:pt x="980" y="4515"/>
                    <a:pt x="980" y="4508"/>
                  </a:cubicBezTo>
                  <a:cubicBezTo>
                    <a:pt x="1002" y="4501"/>
                    <a:pt x="1047" y="4508"/>
                    <a:pt x="1047" y="4545"/>
                  </a:cubicBezTo>
                  <a:cubicBezTo>
                    <a:pt x="1084" y="4530"/>
                    <a:pt x="1106" y="4493"/>
                    <a:pt x="1151" y="4486"/>
                  </a:cubicBezTo>
                  <a:cubicBezTo>
                    <a:pt x="1151" y="4456"/>
                    <a:pt x="1158" y="4419"/>
                    <a:pt x="1180" y="4412"/>
                  </a:cubicBezTo>
                  <a:cubicBezTo>
                    <a:pt x="1166" y="4382"/>
                    <a:pt x="1151" y="4360"/>
                    <a:pt x="1121" y="4352"/>
                  </a:cubicBezTo>
                  <a:cubicBezTo>
                    <a:pt x="1114" y="4330"/>
                    <a:pt x="1128" y="4323"/>
                    <a:pt x="1143" y="4323"/>
                  </a:cubicBezTo>
                  <a:cubicBezTo>
                    <a:pt x="1151" y="4308"/>
                    <a:pt x="1151" y="4285"/>
                    <a:pt x="1151" y="4270"/>
                  </a:cubicBezTo>
                  <a:cubicBezTo>
                    <a:pt x="1143" y="4256"/>
                    <a:pt x="1121" y="4248"/>
                    <a:pt x="1121" y="4226"/>
                  </a:cubicBezTo>
                  <a:cubicBezTo>
                    <a:pt x="1091" y="4218"/>
                    <a:pt x="1054" y="4248"/>
                    <a:pt x="1017" y="4241"/>
                  </a:cubicBezTo>
                  <a:cubicBezTo>
                    <a:pt x="1017" y="4189"/>
                    <a:pt x="1054" y="4122"/>
                    <a:pt x="1039" y="4070"/>
                  </a:cubicBezTo>
                  <a:cubicBezTo>
                    <a:pt x="1025" y="4025"/>
                    <a:pt x="987" y="4055"/>
                    <a:pt x="972" y="4018"/>
                  </a:cubicBezTo>
                  <a:cubicBezTo>
                    <a:pt x="958" y="3988"/>
                    <a:pt x="995" y="3855"/>
                    <a:pt x="935" y="3862"/>
                  </a:cubicBezTo>
                  <a:cubicBezTo>
                    <a:pt x="913" y="3825"/>
                    <a:pt x="943" y="3766"/>
                    <a:pt x="898" y="3743"/>
                  </a:cubicBezTo>
                  <a:cubicBezTo>
                    <a:pt x="883" y="3728"/>
                    <a:pt x="824" y="3743"/>
                    <a:pt x="831" y="3713"/>
                  </a:cubicBezTo>
                  <a:cubicBezTo>
                    <a:pt x="876" y="3713"/>
                    <a:pt x="891" y="3676"/>
                    <a:pt x="906" y="3647"/>
                  </a:cubicBezTo>
                  <a:cubicBezTo>
                    <a:pt x="958" y="3624"/>
                    <a:pt x="980" y="3632"/>
                    <a:pt x="980" y="3691"/>
                  </a:cubicBezTo>
                  <a:cubicBezTo>
                    <a:pt x="1032" y="3691"/>
                    <a:pt x="1039" y="3691"/>
                    <a:pt x="1047" y="3639"/>
                  </a:cubicBezTo>
                  <a:cubicBezTo>
                    <a:pt x="1054" y="3647"/>
                    <a:pt x="1069" y="3639"/>
                    <a:pt x="1077" y="3639"/>
                  </a:cubicBezTo>
                  <a:cubicBezTo>
                    <a:pt x="1084" y="3624"/>
                    <a:pt x="1077" y="3610"/>
                    <a:pt x="1084" y="3595"/>
                  </a:cubicBezTo>
                  <a:cubicBezTo>
                    <a:pt x="1114" y="3595"/>
                    <a:pt x="1128" y="3558"/>
                    <a:pt x="1166" y="3550"/>
                  </a:cubicBezTo>
                  <a:cubicBezTo>
                    <a:pt x="1180" y="3573"/>
                    <a:pt x="1158" y="3580"/>
                    <a:pt x="1151" y="3602"/>
                  </a:cubicBezTo>
                  <a:cubicBezTo>
                    <a:pt x="1136" y="3632"/>
                    <a:pt x="1173" y="3662"/>
                    <a:pt x="1173" y="3691"/>
                  </a:cubicBezTo>
                  <a:cubicBezTo>
                    <a:pt x="1128" y="3691"/>
                    <a:pt x="1084" y="3691"/>
                    <a:pt x="1091" y="3751"/>
                  </a:cubicBezTo>
                  <a:cubicBezTo>
                    <a:pt x="1099" y="3758"/>
                    <a:pt x="1114" y="3766"/>
                    <a:pt x="1121" y="3773"/>
                  </a:cubicBezTo>
                  <a:cubicBezTo>
                    <a:pt x="1121" y="3758"/>
                    <a:pt x="1128" y="3743"/>
                    <a:pt x="1128" y="3728"/>
                  </a:cubicBezTo>
                  <a:cubicBezTo>
                    <a:pt x="1136" y="3721"/>
                    <a:pt x="1151" y="3721"/>
                    <a:pt x="1166" y="3728"/>
                  </a:cubicBezTo>
                  <a:cubicBezTo>
                    <a:pt x="1166" y="3758"/>
                    <a:pt x="1166" y="3780"/>
                    <a:pt x="1136" y="3795"/>
                  </a:cubicBezTo>
                  <a:cubicBezTo>
                    <a:pt x="1128" y="3803"/>
                    <a:pt x="1128" y="3818"/>
                    <a:pt x="1136" y="3825"/>
                  </a:cubicBezTo>
                  <a:cubicBezTo>
                    <a:pt x="1151" y="3825"/>
                    <a:pt x="1166" y="3818"/>
                    <a:pt x="1166" y="3803"/>
                  </a:cubicBezTo>
                  <a:cubicBezTo>
                    <a:pt x="1180" y="3795"/>
                    <a:pt x="1210" y="3780"/>
                    <a:pt x="1225" y="3788"/>
                  </a:cubicBezTo>
                  <a:cubicBezTo>
                    <a:pt x="1240" y="3803"/>
                    <a:pt x="1210" y="3832"/>
                    <a:pt x="1240" y="3840"/>
                  </a:cubicBezTo>
                  <a:cubicBezTo>
                    <a:pt x="1240" y="3847"/>
                    <a:pt x="1247" y="3855"/>
                    <a:pt x="1247" y="3862"/>
                  </a:cubicBezTo>
                  <a:cubicBezTo>
                    <a:pt x="1270" y="3862"/>
                    <a:pt x="1284" y="3847"/>
                    <a:pt x="1314" y="3855"/>
                  </a:cubicBezTo>
                  <a:cubicBezTo>
                    <a:pt x="1344" y="3862"/>
                    <a:pt x="1359" y="3870"/>
                    <a:pt x="1396" y="3862"/>
                  </a:cubicBezTo>
                  <a:cubicBezTo>
                    <a:pt x="1396" y="3855"/>
                    <a:pt x="1396" y="3840"/>
                    <a:pt x="1396" y="3832"/>
                  </a:cubicBezTo>
                  <a:cubicBezTo>
                    <a:pt x="1433" y="3825"/>
                    <a:pt x="1388" y="3736"/>
                    <a:pt x="1381" y="3713"/>
                  </a:cubicBezTo>
                  <a:cubicBezTo>
                    <a:pt x="1411" y="3721"/>
                    <a:pt x="1418" y="3743"/>
                    <a:pt x="1448" y="3743"/>
                  </a:cubicBezTo>
                  <a:cubicBezTo>
                    <a:pt x="1448" y="3795"/>
                    <a:pt x="1477" y="3780"/>
                    <a:pt x="1522" y="3780"/>
                  </a:cubicBezTo>
                  <a:cubicBezTo>
                    <a:pt x="1529" y="3810"/>
                    <a:pt x="1374" y="3929"/>
                    <a:pt x="1477" y="3944"/>
                  </a:cubicBezTo>
                  <a:cubicBezTo>
                    <a:pt x="1477" y="3921"/>
                    <a:pt x="1455" y="3899"/>
                    <a:pt x="1485" y="3884"/>
                  </a:cubicBezTo>
                  <a:cubicBezTo>
                    <a:pt x="1507" y="3877"/>
                    <a:pt x="1537" y="3892"/>
                    <a:pt x="1559" y="3892"/>
                  </a:cubicBezTo>
                  <a:cubicBezTo>
                    <a:pt x="1552" y="3832"/>
                    <a:pt x="1596" y="3847"/>
                    <a:pt x="1611" y="3892"/>
                  </a:cubicBezTo>
                  <a:cubicBezTo>
                    <a:pt x="1656" y="3899"/>
                    <a:pt x="1722" y="3892"/>
                    <a:pt x="1774" y="3892"/>
                  </a:cubicBezTo>
                  <a:cubicBezTo>
                    <a:pt x="1774" y="3877"/>
                    <a:pt x="1767" y="3766"/>
                    <a:pt x="1812" y="3795"/>
                  </a:cubicBezTo>
                  <a:cubicBezTo>
                    <a:pt x="1841" y="3818"/>
                    <a:pt x="1923" y="3766"/>
                    <a:pt x="1901" y="3728"/>
                  </a:cubicBezTo>
                  <a:cubicBezTo>
                    <a:pt x="1923" y="3721"/>
                    <a:pt x="1953" y="3728"/>
                    <a:pt x="1975" y="3736"/>
                  </a:cubicBezTo>
                  <a:cubicBezTo>
                    <a:pt x="1975" y="3713"/>
                    <a:pt x="2042" y="3691"/>
                    <a:pt x="2064" y="3699"/>
                  </a:cubicBezTo>
                  <a:cubicBezTo>
                    <a:pt x="2064" y="3721"/>
                    <a:pt x="2064" y="3751"/>
                    <a:pt x="2086" y="3766"/>
                  </a:cubicBezTo>
                  <a:cubicBezTo>
                    <a:pt x="2109" y="3780"/>
                    <a:pt x="2131" y="3818"/>
                    <a:pt x="2153" y="3825"/>
                  </a:cubicBezTo>
                  <a:cubicBezTo>
                    <a:pt x="2168" y="3884"/>
                    <a:pt x="2086" y="3877"/>
                    <a:pt x="2094" y="3929"/>
                  </a:cubicBezTo>
                  <a:cubicBezTo>
                    <a:pt x="2101" y="3929"/>
                    <a:pt x="2109" y="3929"/>
                    <a:pt x="2109" y="3929"/>
                  </a:cubicBezTo>
                  <a:cubicBezTo>
                    <a:pt x="2109" y="3936"/>
                    <a:pt x="2101" y="3951"/>
                    <a:pt x="2101" y="3951"/>
                  </a:cubicBezTo>
                  <a:cubicBezTo>
                    <a:pt x="2086" y="3959"/>
                    <a:pt x="2094" y="3959"/>
                    <a:pt x="2079" y="3966"/>
                  </a:cubicBezTo>
                  <a:cubicBezTo>
                    <a:pt x="2064" y="3966"/>
                    <a:pt x="2057" y="3973"/>
                    <a:pt x="2049" y="3988"/>
                  </a:cubicBezTo>
                  <a:cubicBezTo>
                    <a:pt x="2072" y="3996"/>
                    <a:pt x="2086" y="3996"/>
                    <a:pt x="2109" y="3988"/>
                  </a:cubicBezTo>
                  <a:cubicBezTo>
                    <a:pt x="2101" y="3959"/>
                    <a:pt x="2131" y="3944"/>
                    <a:pt x="2153" y="3951"/>
                  </a:cubicBezTo>
                  <a:cubicBezTo>
                    <a:pt x="2183" y="3959"/>
                    <a:pt x="2168" y="3996"/>
                    <a:pt x="2168" y="4018"/>
                  </a:cubicBezTo>
                  <a:cubicBezTo>
                    <a:pt x="2220" y="4033"/>
                    <a:pt x="2213" y="3959"/>
                    <a:pt x="2198" y="3929"/>
                  </a:cubicBezTo>
                  <a:cubicBezTo>
                    <a:pt x="2213" y="3921"/>
                    <a:pt x="2242" y="3914"/>
                    <a:pt x="2250" y="3936"/>
                  </a:cubicBezTo>
                  <a:cubicBezTo>
                    <a:pt x="2250" y="3929"/>
                    <a:pt x="2257" y="3921"/>
                    <a:pt x="2257" y="3907"/>
                  </a:cubicBezTo>
                  <a:cubicBezTo>
                    <a:pt x="2287" y="3899"/>
                    <a:pt x="2287" y="3921"/>
                    <a:pt x="2294" y="3936"/>
                  </a:cubicBezTo>
                  <a:cubicBezTo>
                    <a:pt x="2309" y="3959"/>
                    <a:pt x="2346" y="3951"/>
                    <a:pt x="2369" y="3951"/>
                  </a:cubicBezTo>
                  <a:cubicBezTo>
                    <a:pt x="2369" y="3951"/>
                    <a:pt x="2369" y="3944"/>
                    <a:pt x="2369" y="3936"/>
                  </a:cubicBezTo>
                  <a:cubicBezTo>
                    <a:pt x="2354" y="3936"/>
                    <a:pt x="2346" y="3921"/>
                    <a:pt x="2346" y="3914"/>
                  </a:cubicBezTo>
                  <a:cubicBezTo>
                    <a:pt x="2369" y="3907"/>
                    <a:pt x="2391" y="3907"/>
                    <a:pt x="2413" y="3907"/>
                  </a:cubicBezTo>
                  <a:cubicBezTo>
                    <a:pt x="2413" y="3914"/>
                    <a:pt x="2413" y="3929"/>
                    <a:pt x="2421" y="3936"/>
                  </a:cubicBezTo>
                  <a:cubicBezTo>
                    <a:pt x="2421" y="3929"/>
                    <a:pt x="2421" y="3914"/>
                    <a:pt x="2421" y="3899"/>
                  </a:cubicBezTo>
                  <a:cubicBezTo>
                    <a:pt x="2435" y="3899"/>
                    <a:pt x="2458" y="3899"/>
                    <a:pt x="2473" y="3899"/>
                  </a:cubicBezTo>
                  <a:cubicBezTo>
                    <a:pt x="2465" y="3914"/>
                    <a:pt x="2465" y="3914"/>
                    <a:pt x="2450" y="3921"/>
                  </a:cubicBezTo>
                  <a:cubicBezTo>
                    <a:pt x="2435" y="3936"/>
                    <a:pt x="2443" y="3959"/>
                    <a:pt x="2435" y="3973"/>
                  </a:cubicBezTo>
                  <a:cubicBezTo>
                    <a:pt x="2435" y="4011"/>
                    <a:pt x="2428" y="4040"/>
                    <a:pt x="2413" y="4070"/>
                  </a:cubicBezTo>
                  <a:cubicBezTo>
                    <a:pt x="2450" y="4085"/>
                    <a:pt x="2465" y="4033"/>
                    <a:pt x="2502" y="4040"/>
                  </a:cubicBezTo>
                  <a:cubicBezTo>
                    <a:pt x="2502" y="4070"/>
                    <a:pt x="2643" y="4055"/>
                    <a:pt x="2673" y="4055"/>
                  </a:cubicBezTo>
                  <a:cubicBezTo>
                    <a:pt x="2651" y="3996"/>
                    <a:pt x="2740" y="3973"/>
                    <a:pt x="2695" y="3914"/>
                  </a:cubicBezTo>
                  <a:cubicBezTo>
                    <a:pt x="2710" y="3907"/>
                    <a:pt x="2725" y="3907"/>
                    <a:pt x="2740" y="3907"/>
                  </a:cubicBezTo>
                  <a:cubicBezTo>
                    <a:pt x="2732" y="3921"/>
                    <a:pt x="2740" y="3929"/>
                    <a:pt x="2740" y="3936"/>
                  </a:cubicBezTo>
                  <a:cubicBezTo>
                    <a:pt x="2755" y="3921"/>
                    <a:pt x="2770" y="3892"/>
                    <a:pt x="2807" y="3899"/>
                  </a:cubicBezTo>
                  <a:cubicBezTo>
                    <a:pt x="2807" y="3907"/>
                    <a:pt x="2814" y="3914"/>
                    <a:pt x="2807" y="3929"/>
                  </a:cubicBezTo>
                  <a:cubicBezTo>
                    <a:pt x="2821" y="3944"/>
                    <a:pt x="2836" y="3959"/>
                    <a:pt x="2859" y="3951"/>
                  </a:cubicBezTo>
                  <a:cubicBezTo>
                    <a:pt x="2859" y="3921"/>
                    <a:pt x="2881" y="3907"/>
                    <a:pt x="2874" y="3877"/>
                  </a:cubicBezTo>
                  <a:cubicBezTo>
                    <a:pt x="2896" y="3877"/>
                    <a:pt x="2933" y="3870"/>
                    <a:pt x="2948" y="3884"/>
                  </a:cubicBezTo>
                  <a:cubicBezTo>
                    <a:pt x="2978" y="3907"/>
                    <a:pt x="2940" y="3951"/>
                    <a:pt x="2948" y="3981"/>
                  </a:cubicBezTo>
                  <a:cubicBezTo>
                    <a:pt x="2978" y="3988"/>
                    <a:pt x="3022" y="3966"/>
                    <a:pt x="3029" y="4003"/>
                  </a:cubicBezTo>
                  <a:cubicBezTo>
                    <a:pt x="3044" y="4055"/>
                    <a:pt x="3119" y="4033"/>
                    <a:pt x="3156" y="4040"/>
                  </a:cubicBezTo>
                  <a:cubicBezTo>
                    <a:pt x="3156" y="4070"/>
                    <a:pt x="3141" y="4115"/>
                    <a:pt x="3156" y="4144"/>
                  </a:cubicBezTo>
                  <a:cubicBezTo>
                    <a:pt x="3186" y="4174"/>
                    <a:pt x="3252" y="4152"/>
                    <a:pt x="3282" y="4159"/>
                  </a:cubicBezTo>
                  <a:cubicBezTo>
                    <a:pt x="3282" y="4167"/>
                    <a:pt x="3282" y="4181"/>
                    <a:pt x="3282" y="4196"/>
                  </a:cubicBezTo>
                  <a:cubicBezTo>
                    <a:pt x="3312" y="4196"/>
                    <a:pt x="3334" y="4196"/>
                    <a:pt x="3364" y="4196"/>
                  </a:cubicBezTo>
                  <a:cubicBezTo>
                    <a:pt x="3364" y="4226"/>
                    <a:pt x="3364" y="4248"/>
                    <a:pt x="3364" y="4270"/>
                  </a:cubicBezTo>
                  <a:cubicBezTo>
                    <a:pt x="3379" y="4278"/>
                    <a:pt x="3393" y="4278"/>
                    <a:pt x="3408" y="4278"/>
                  </a:cubicBezTo>
                  <a:cubicBezTo>
                    <a:pt x="3408" y="4293"/>
                    <a:pt x="3408" y="4308"/>
                    <a:pt x="3408" y="4323"/>
                  </a:cubicBezTo>
                  <a:cubicBezTo>
                    <a:pt x="3438" y="4315"/>
                    <a:pt x="3431" y="4352"/>
                    <a:pt x="3460" y="4345"/>
                  </a:cubicBezTo>
                  <a:cubicBezTo>
                    <a:pt x="3468" y="4323"/>
                    <a:pt x="3453" y="4300"/>
                    <a:pt x="3460" y="4285"/>
                  </a:cubicBezTo>
                  <a:cubicBezTo>
                    <a:pt x="3505" y="4278"/>
                    <a:pt x="3608" y="4300"/>
                    <a:pt x="3637" y="4263"/>
                  </a:cubicBezTo>
                  <a:cubicBezTo>
                    <a:pt x="3660" y="4263"/>
                    <a:pt x="3682" y="4263"/>
                    <a:pt x="3697" y="4285"/>
                  </a:cubicBezTo>
                  <a:cubicBezTo>
                    <a:pt x="3704" y="4293"/>
                    <a:pt x="3704" y="4300"/>
                    <a:pt x="3704" y="4315"/>
                  </a:cubicBezTo>
                  <a:cubicBezTo>
                    <a:pt x="3712" y="4323"/>
                    <a:pt x="3727" y="4315"/>
                    <a:pt x="3741" y="4323"/>
                  </a:cubicBezTo>
                  <a:cubicBezTo>
                    <a:pt x="3779" y="4374"/>
                    <a:pt x="3719" y="4404"/>
                    <a:pt x="3682" y="4382"/>
                  </a:cubicBezTo>
                  <a:cubicBezTo>
                    <a:pt x="3675" y="4404"/>
                    <a:pt x="3675" y="4419"/>
                    <a:pt x="3675" y="4441"/>
                  </a:cubicBezTo>
                  <a:cubicBezTo>
                    <a:pt x="3682" y="4441"/>
                    <a:pt x="3690" y="4441"/>
                    <a:pt x="3697" y="4441"/>
                  </a:cubicBezTo>
                  <a:cubicBezTo>
                    <a:pt x="3697" y="4464"/>
                    <a:pt x="3697" y="4486"/>
                    <a:pt x="3697" y="4501"/>
                  </a:cubicBezTo>
                  <a:cubicBezTo>
                    <a:pt x="3741" y="4501"/>
                    <a:pt x="3741" y="4538"/>
                    <a:pt x="3727" y="4568"/>
                  </a:cubicBezTo>
                  <a:cubicBezTo>
                    <a:pt x="3712" y="4612"/>
                    <a:pt x="3690" y="4634"/>
                    <a:pt x="3690" y="4679"/>
                  </a:cubicBezTo>
                  <a:cubicBezTo>
                    <a:pt x="3682" y="4679"/>
                    <a:pt x="3667" y="4686"/>
                    <a:pt x="3660" y="4679"/>
                  </a:cubicBezTo>
                  <a:cubicBezTo>
                    <a:pt x="3652" y="4686"/>
                    <a:pt x="3652" y="4701"/>
                    <a:pt x="3660" y="4709"/>
                  </a:cubicBezTo>
                  <a:cubicBezTo>
                    <a:pt x="3682" y="4716"/>
                    <a:pt x="3697" y="4731"/>
                    <a:pt x="3704" y="4746"/>
                  </a:cubicBezTo>
                  <a:cubicBezTo>
                    <a:pt x="3712" y="4768"/>
                    <a:pt x="3697" y="4798"/>
                    <a:pt x="3727" y="4798"/>
                  </a:cubicBezTo>
                  <a:cubicBezTo>
                    <a:pt x="3727" y="4805"/>
                    <a:pt x="3727" y="4813"/>
                    <a:pt x="3734" y="4813"/>
                  </a:cubicBezTo>
                  <a:cubicBezTo>
                    <a:pt x="3741" y="4805"/>
                    <a:pt x="3749" y="4790"/>
                    <a:pt x="3756" y="4783"/>
                  </a:cubicBezTo>
                  <a:cubicBezTo>
                    <a:pt x="3749" y="4790"/>
                    <a:pt x="3741" y="4805"/>
                    <a:pt x="3734" y="4813"/>
                  </a:cubicBezTo>
                  <a:cubicBezTo>
                    <a:pt x="3749" y="4835"/>
                    <a:pt x="3786" y="4835"/>
                    <a:pt x="3816" y="4842"/>
                  </a:cubicBezTo>
                  <a:cubicBezTo>
                    <a:pt x="3816" y="4902"/>
                    <a:pt x="3957" y="4902"/>
                    <a:pt x="4001" y="4887"/>
                  </a:cubicBezTo>
                  <a:cubicBezTo>
                    <a:pt x="4046" y="4857"/>
                    <a:pt x="4009" y="4798"/>
                    <a:pt x="4038" y="4768"/>
                  </a:cubicBezTo>
                  <a:cubicBezTo>
                    <a:pt x="4053" y="4753"/>
                    <a:pt x="4068" y="4775"/>
                    <a:pt x="4068" y="4746"/>
                  </a:cubicBezTo>
                  <a:cubicBezTo>
                    <a:pt x="4068" y="4723"/>
                    <a:pt x="4098" y="4731"/>
                    <a:pt x="4120" y="4731"/>
                  </a:cubicBezTo>
                  <a:cubicBezTo>
                    <a:pt x="4120" y="4716"/>
                    <a:pt x="4113" y="4709"/>
                    <a:pt x="4113" y="4701"/>
                  </a:cubicBezTo>
                  <a:lnTo>
                    <a:pt x="4105" y="4701"/>
                  </a:lnTo>
                  <a:lnTo>
                    <a:pt x="4113" y="4701"/>
                  </a:lnTo>
                  <a:cubicBezTo>
                    <a:pt x="4098" y="4686"/>
                    <a:pt x="4083" y="4672"/>
                    <a:pt x="4105" y="4649"/>
                  </a:cubicBezTo>
                  <a:cubicBezTo>
                    <a:pt x="4127" y="4627"/>
                    <a:pt x="4165" y="4627"/>
                    <a:pt x="4142" y="4590"/>
                  </a:cubicBezTo>
                  <a:cubicBezTo>
                    <a:pt x="4120" y="4560"/>
                    <a:pt x="4135" y="4538"/>
                    <a:pt x="4157" y="4508"/>
                  </a:cubicBezTo>
                  <a:cubicBezTo>
                    <a:pt x="4172" y="4486"/>
                    <a:pt x="4150" y="4478"/>
                    <a:pt x="4142" y="4464"/>
                  </a:cubicBezTo>
                  <a:cubicBezTo>
                    <a:pt x="4142" y="4449"/>
                    <a:pt x="4142" y="4434"/>
                    <a:pt x="4142" y="4419"/>
                  </a:cubicBezTo>
                  <a:cubicBezTo>
                    <a:pt x="4127" y="4412"/>
                    <a:pt x="4120" y="4412"/>
                    <a:pt x="4105" y="4412"/>
                  </a:cubicBezTo>
                  <a:cubicBezTo>
                    <a:pt x="4120" y="4412"/>
                    <a:pt x="4127" y="4412"/>
                    <a:pt x="4142" y="4419"/>
                  </a:cubicBezTo>
                  <a:lnTo>
                    <a:pt x="4142" y="4412"/>
                  </a:lnTo>
                  <a:cubicBezTo>
                    <a:pt x="4187" y="4404"/>
                    <a:pt x="4224" y="4389"/>
                    <a:pt x="4232" y="4337"/>
                  </a:cubicBezTo>
                  <a:cubicBezTo>
                    <a:pt x="4232" y="4278"/>
                    <a:pt x="4202" y="4256"/>
                    <a:pt x="4165" y="4226"/>
                  </a:cubicBezTo>
                  <a:cubicBezTo>
                    <a:pt x="4113" y="4189"/>
                    <a:pt x="4127" y="4137"/>
                    <a:pt x="4113" y="4092"/>
                  </a:cubicBezTo>
                  <a:cubicBezTo>
                    <a:pt x="4090" y="4040"/>
                    <a:pt x="4090" y="3996"/>
                    <a:pt x="4105" y="3936"/>
                  </a:cubicBezTo>
                  <a:cubicBezTo>
                    <a:pt x="4120" y="3899"/>
                    <a:pt x="4142" y="3862"/>
                    <a:pt x="4187" y="3855"/>
                  </a:cubicBezTo>
                  <a:cubicBezTo>
                    <a:pt x="4239" y="3840"/>
                    <a:pt x="4269" y="3810"/>
                    <a:pt x="4313" y="3780"/>
                  </a:cubicBezTo>
                  <a:cubicBezTo>
                    <a:pt x="4350" y="3766"/>
                    <a:pt x="4402" y="3766"/>
                    <a:pt x="4425" y="3728"/>
                  </a:cubicBezTo>
                  <a:cubicBezTo>
                    <a:pt x="4447" y="3691"/>
                    <a:pt x="4462" y="3639"/>
                    <a:pt x="4514" y="3632"/>
                  </a:cubicBezTo>
                  <a:cubicBezTo>
                    <a:pt x="4521" y="3610"/>
                    <a:pt x="4551" y="3610"/>
                    <a:pt x="4573" y="3602"/>
                  </a:cubicBezTo>
                  <a:cubicBezTo>
                    <a:pt x="4595" y="3587"/>
                    <a:pt x="4595" y="3565"/>
                    <a:pt x="4595" y="3543"/>
                  </a:cubicBezTo>
                  <a:cubicBezTo>
                    <a:pt x="4610" y="3498"/>
                    <a:pt x="4692" y="3513"/>
                    <a:pt x="4684" y="3565"/>
                  </a:cubicBezTo>
                  <a:cubicBezTo>
                    <a:pt x="4722" y="3565"/>
                    <a:pt x="4722" y="3543"/>
                    <a:pt x="4751" y="3528"/>
                  </a:cubicBezTo>
                  <a:cubicBezTo>
                    <a:pt x="4789" y="3498"/>
                    <a:pt x="4840" y="3535"/>
                    <a:pt x="4878" y="3543"/>
                  </a:cubicBezTo>
                  <a:cubicBezTo>
                    <a:pt x="4967" y="3550"/>
                    <a:pt x="4967" y="3461"/>
                    <a:pt x="4892" y="3439"/>
                  </a:cubicBezTo>
                  <a:cubicBezTo>
                    <a:pt x="4818" y="3424"/>
                    <a:pt x="4774" y="3372"/>
                    <a:pt x="4707" y="3342"/>
                  </a:cubicBezTo>
                  <a:cubicBezTo>
                    <a:pt x="4692" y="3335"/>
                    <a:pt x="4677" y="3327"/>
                    <a:pt x="4662" y="3313"/>
                  </a:cubicBezTo>
                  <a:cubicBezTo>
                    <a:pt x="4640" y="3298"/>
                    <a:pt x="4647" y="3276"/>
                    <a:pt x="4632" y="3253"/>
                  </a:cubicBezTo>
                  <a:cubicBezTo>
                    <a:pt x="4610" y="3209"/>
                    <a:pt x="4566" y="3201"/>
                    <a:pt x="4543" y="3149"/>
                  </a:cubicBezTo>
                  <a:cubicBezTo>
                    <a:pt x="4581" y="3149"/>
                    <a:pt x="4625" y="3134"/>
                    <a:pt x="4655" y="3112"/>
                  </a:cubicBezTo>
                  <a:cubicBezTo>
                    <a:pt x="4677" y="3097"/>
                    <a:pt x="4655" y="3060"/>
                    <a:pt x="4655" y="3045"/>
                  </a:cubicBezTo>
                  <a:cubicBezTo>
                    <a:pt x="4647" y="3016"/>
                    <a:pt x="4625" y="3023"/>
                    <a:pt x="4603" y="3016"/>
                  </a:cubicBezTo>
                  <a:cubicBezTo>
                    <a:pt x="4566" y="3016"/>
                    <a:pt x="4536" y="2993"/>
                    <a:pt x="4506" y="2986"/>
                  </a:cubicBezTo>
                  <a:cubicBezTo>
                    <a:pt x="4484" y="2949"/>
                    <a:pt x="4492" y="2911"/>
                    <a:pt x="4543" y="2911"/>
                  </a:cubicBezTo>
                  <a:cubicBezTo>
                    <a:pt x="4588" y="2911"/>
                    <a:pt x="4566" y="2882"/>
                    <a:pt x="4610" y="2867"/>
                  </a:cubicBezTo>
                  <a:cubicBezTo>
                    <a:pt x="4662" y="2852"/>
                    <a:pt x="4722" y="2874"/>
                    <a:pt x="4781" y="2867"/>
                  </a:cubicBezTo>
                  <a:cubicBezTo>
                    <a:pt x="4803" y="2867"/>
                    <a:pt x="4826" y="2852"/>
                    <a:pt x="4803" y="2822"/>
                  </a:cubicBezTo>
                  <a:cubicBezTo>
                    <a:pt x="4789" y="2808"/>
                    <a:pt x="4759" y="2815"/>
                    <a:pt x="4737" y="2815"/>
                  </a:cubicBezTo>
                  <a:cubicBezTo>
                    <a:pt x="4737" y="2793"/>
                    <a:pt x="4729" y="2785"/>
                    <a:pt x="4714" y="2785"/>
                  </a:cubicBezTo>
                  <a:cubicBezTo>
                    <a:pt x="4707" y="2756"/>
                    <a:pt x="4707" y="2726"/>
                    <a:pt x="4707" y="2689"/>
                  </a:cubicBezTo>
                  <a:cubicBezTo>
                    <a:pt x="4670" y="2681"/>
                    <a:pt x="4618" y="2696"/>
                    <a:pt x="4588" y="2674"/>
                  </a:cubicBezTo>
                  <a:cubicBezTo>
                    <a:pt x="4551" y="2644"/>
                    <a:pt x="4573" y="2592"/>
                    <a:pt x="4566" y="2548"/>
                  </a:cubicBezTo>
                  <a:cubicBezTo>
                    <a:pt x="4558" y="2503"/>
                    <a:pt x="4499" y="2525"/>
                    <a:pt x="4506" y="2474"/>
                  </a:cubicBezTo>
                  <a:cubicBezTo>
                    <a:pt x="4521" y="2429"/>
                    <a:pt x="4469" y="2399"/>
                    <a:pt x="4477" y="2355"/>
                  </a:cubicBezTo>
                  <a:cubicBezTo>
                    <a:pt x="4439" y="2355"/>
                    <a:pt x="4425" y="2303"/>
                    <a:pt x="4417" y="2258"/>
                  </a:cubicBezTo>
                  <a:cubicBezTo>
                    <a:pt x="4395" y="2251"/>
                    <a:pt x="4373" y="2228"/>
                    <a:pt x="4343" y="2214"/>
                  </a:cubicBezTo>
                  <a:cubicBezTo>
                    <a:pt x="4298" y="2191"/>
                    <a:pt x="4239" y="2191"/>
                    <a:pt x="4180" y="2199"/>
                  </a:cubicBezTo>
                  <a:cubicBezTo>
                    <a:pt x="4172" y="2214"/>
                    <a:pt x="4165" y="2236"/>
                    <a:pt x="4150" y="2251"/>
                  </a:cubicBezTo>
                  <a:cubicBezTo>
                    <a:pt x="4135" y="2258"/>
                    <a:pt x="4105" y="2266"/>
                    <a:pt x="4098" y="2288"/>
                  </a:cubicBezTo>
                  <a:cubicBezTo>
                    <a:pt x="4061" y="2295"/>
                    <a:pt x="4053" y="2251"/>
                    <a:pt x="4046" y="2228"/>
                  </a:cubicBezTo>
                  <a:cubicBezTo>
                    <a:pt x="4031" y="2214"/>
                    <a:pt x="4024" y="2191"/>
                    <a:pt x="3994" y="2184"/>
                  </a:cubicBezTo>
                  <a:cubicBezTo>
                    <a:pt x="3957" y="2169"/>
                    <a:pt x="3905" y="2184"/>
                    <a:pt x="3860" y="2184"/>
                  </a:cubicBezTo>
                  <a:cubicBezTo>
                    <a:pt x="3853" y="2139"/>
                    <a:pt x="3756" y="2154"/>
                    <a:pt x="3727" y="2154"/>
                  </a:cubicBezTo>
                  <a:cubicBezTo>
                    <a:pt x="3727" y="2124"/>
                    <a:pt x="3727" y="2095"/>
                    <a:pt x="3727" y="2072"/>
                  </a:cubicBezTo>
                  <a:cubicBezTo>
                    <a:pt x="3727" y="2043"/>
                    <a:pt x="3704" y="2020"/>
                    <a:pt x="3697" y="1998"/>
                  </a:cubicBezTo>
                  <a:cubicBezTo>
                    <a:pt x="3645" y="1983"/>
                    <a:pt x="3585" y="2020"/>
                    <a:pt x="3534" y="2013"/>
                  </a:cubicBezTo>
                  <a:cubicBezTo>
                    <a:pt x="3497" y="2006"/>
                    <a:pt x="3497" y="1983"/>
                    <a:pt x="3475" y="1961"/>
                  </a:cubicBezTo>
                  <a:cubicBezTo>
                    <a:pt x="3453" y="1939"/>
                    <a:pt x="3438" y="1939"/>
                    <a:pt x="3408" y="1924"/>
                  </a:cubicBezTo>
                  <a:cubicBezTo>
                    <a:pt x="3371" y="1909"/>
                    <a:pt x="3326" y="1879"/>
                    <a:pt x="3282" y="1857"/>
                  </a:cubicBezTo>
                  <a:cubicBezTo>
                    <a:pt x="3252" y="1842"/>
                    <a:pt x="3245" y="1835"/>
                    <a:pt x="3215" y="1850"/>
                  </a:cubicBezTo>
                  <a:cubicBezTo>
                    <a:pt x="3200" y="1864"/>
                    <a:pt x="3186" y="1894"/>
                    <a:pt x="3163" y="1887"/>
                  </a:cubicBezTo>
                  <a:cubicBezTo>
                    <a:pt x="3148" y="1850"/>
                    <a:pt x="3104" y="1835"/>
                    <a:pt x="3074" y="1820"/>
                  </a:cubicBezTo>
                  <a:cubicBezTo>
                    <a:pt x="3044" y="1812"/>
                    <a:pt x="3022" y="1798"/>
                    <a:pt x="2985" y="1783"/>
                  </a:cubicBezTo>
                  <a:cubicBezTo>
                    <a:pt x="2992" y="1775"/>
                    <a:pt x="2985" y="1768"/>
                    <a:pt x="2985" y="1761"/>
                  </a:cubicBezTo>
                  <a:cubicBezTo>
                    <a:pt x="2955" y="1746"/>
                    <a:pt x="2926" y="1731"/>
                    <a:pt x="2896" y="1701"/>
                  </a:cubicBezTo>
                  <a:cubicBezTo>
                    <a:pt x="2859" y="1679"/>
                    <a:pt x="2844" y="1642"/>
                    <a:pt x="2807" y="1657"/>
                  </a:cubicBezTo>
                  <a:cubicBezTo>
                    <a:pt x="2807" y="1664"/>
                    <a:pt x="2807" y="1664"/>
                    <a:pt x="2799" y="1664"/>
                  </a:cubicBezTo>
                  <a:cubicBezTo>
                    <a:pt x="2770" y="1672"/>
                    <a:pt x="2784" y="1597"/>
                    <a:pt x="2777" y="1575"/>
                  </a:cubicBezTo>
                  <a:cubicBezTo>
                    <a:pt x="2770" y="1545"/>
                    <a:pt x="2747" y="1508"/>
                    <a:pt x="2718" y="1501"/>
                  </a:cubicBezTo>
                  <a:cubicBezTo>
                    <a:pt x="2695" y="1493"/>
                    <a:pt x="2688" y="1493"/>
                    <a:pt x="2666" y="1486"/>
                  </a:cubicBezTo>
                  <a:cubicBezTo>
                    <a:pt x="2651" y="1478"/>
                    <a:pt x="2636" y="1464"/>
                    <a:pt x="2621" y="1456"/>
                  </a:cubicBezTo>
                  <a:cubicBezTo>
                    <a:pt x="2606" y="1449"/>
                    <a:pt x="2584" y="1426"/>
                    <a:pt x="2569" y="1426"/>
                  </a:cubicBezTo>
                  <a:cubicBezTo>
                    <a:pt x="2554" y="1419"/>
                    <a:pt x="2532" y="1426"/>
                    <a:pt x="2517" y="1419"/>
                  </a:cubicBezTo>
                  <a:cubicBezTo>
                    <a:pt x="2517" y="1412"/>
                    <a:pt x="2517" y="1404"/>
                    <a:pt x="2517" y="1389"/>
                  </a:cubicBezTo>
                  <a:cubicBezTo>
                    <a:pt x="2450" y="1389"/>
                    <a:pt x="2413" y="1352"/>
                    <a:pt x="2369" y="1307"/>
                  </a:cubicBezTo>
                  <a:cubicBezTo>
                    <a:pt x="2346" y="1285"/>
                    <a:pt x="2339" y="1256"/>
                    <a:pt x="2309" y="1256"/>
                  </a:cubicBezTo>
                  <a:cubicBezTo>
                    <a:pt x="2265" y="1248"/>
                    <a:pt x="2272" y="1300"/>
                    <a:pt x="2272" y="1330"/>
                  </a:cubicBezTo>
                  <a:cubicBezTo>
                    <a:pt x="2242" y="1337"/>
                    <a:pt x="2235" y="1293"/>
                    <a:pt x="2213" y="1278"/>
                  </a:cubicBezTo>
                  <a:cubicBezTo>
                    <a:pt x="2183" y="1263"/>
                    <a:pt x="2161" y="1285"/>
                    <a:pt x="2131" y="1256"/>
                  </a:cubicBezTo>
                  <a:cubicBezTo>
                    <a:pt x="2124" y="1241"/>
                    <a:pt x="2116" y="1218"/>
                    <a:pt x="2109" y="1204"/>
                  </a:cubicBezTo>
                  <a:cubicBezTo>
                    <a:pt x="2109" y="1204"/>
                    <a:pt x="2101" y="1196"/>
                    <a:pt x="2094" y="1189"/>
                  </a:cubicBezTo>
                  <a:cubicBezTo>
                    <a:pt x="2079" y="1204"/>
                    <a:pt x="2064" y="1218"/>
                    <a:pt x="2072" y="1218"/>
                  </a:cubicBezTo>
                  <a:cubicBezTo>
                    <a:pt x="2064" y="1218"/>
                    <a:pt x="2079" y="1204"/>
                    <a:pt x="2094" y="1189"/>
                  </a:cubicBezTo>
                  <a:cubicBezTo>
                    <a:pt x="2086" y="1189"/>
                    <a:pt x="2086" y="1189"/>
                    <a:pt x="2086" y="1189"/>
                  </a:cubicBezTo>
                  <a:cubicBezTo>
                    <a:pt x="2049" y="1226"/>
                    <a:pt x="2012" y="1278"/>
                    <a:pt x="1997" y="1293"/>
                  </a:cubicBezTo>
                  <a:cubicBezTo>
                    <a:pt x="1982" y="1293"/>
                    <a:pt x="1960" y="1293"/>
                    <a:pt x="1945" y="1293"/>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3" name="Freeform 11">
              <a:extLst>
                <a:ext uri="{FF2B5EF4-FFF2-40B4-BE49-F238E27FC236}">
                  <a16:creationId xmlns:a16="http://schemas.microsoft.com/office/drawing/2014/main" id="{EE953E18-68F3-6B44-AF16-E4A91FAC3769}"/>
                </a:ext>
              </a:extLst>
            </p:cNvPr>
            <p:cNvSpPr>
              <a:spLocks noChangeArrowheads="1"/>
            </p:cNvSpPr>
            <p:nvPr/>
          </p:nvSpPr>
          <p:spPr bwMode="auto">
            <a:xfrm>
              <a:off x="9771497" y="10686945"/>
              <a:ext cx="754921" cy="1482166"/>
            </a:xfrm>
            <a:custGeom>
              <a:avLst/>
              <a:gdLst>
                <a:gd name="T0" fmla="*/ 1522 w 1746"/>
                <a:gd name="T1" fmla="*/ 3342 h 3432"/>
                <a:gd name="T2" fmla="*/ 1567 w 1746"/>
                <a:gd name="T3" fmla="*/ 3223 h 3432"/>
                <a:gd name="T4" fmla="*/ 1537 w 1746"/>
                <a:gd name="T5" fmla="*/ 2904 h 3432"/>
                <a:gd name="T6" fmla="*/ 1693 w 1746"/>
                <a:gd name="T7" fmla="*/ 2473 h 3432"/>
                <a:gd name="T8" fmla="*/ 1611 w 1746"/>
                <a:gd name="T9" fmla="*/ 2288 h 3432"/>
                <a:gd name="T10" fmla="*/ 1619 w 1746"/>
                <a:gd name="T11" fmla="*/ 1916 h 3432"/>
                <a:gd name="T12" fmla="*/ 1359 w 1746"/>
                <a:gd name="T13" fmla="*/ 1961 h 3432"/>
                <a:gd name="T14" fmla="*/ 1351 w 1746"/>
                <a:gd name="T15" fmla="*/ 1530 h 3432"/>
                <a:gd name="T16" fmla="*/ 1240 w 1746"/>
                <a:gd name="T17" fmla="*/ 1255 h 3432"/>
                <a:gd name="T18" fmla="*/ 1099 w 1746"/>
                <a:gd name="T19" fmla="*/ 1114 h 3432"/>
                <a:gd name="T20" fmla="*/ 928 w 1746"/>
                <a:gd name="T21" fmla="*/ 921 h 3432"/>
                <a:gd name="T22" fmla="*/ 1076 w 1746"/>
                <a:gd name="T23" fmla="*/ 840 h 3432"/>
                <a:gd name="T24" fmla="*/ 906 w 1746"/>
                <a:gd name="T25" fmla="*/ 728 h 3432"/>
                <a:gd name="T26" fmla="*/ 690 w 1746"/>
                <a:gd name="T27" fmla="*/ 654 h 3432"/>
                <a:gd name="T28" fmla="*/ 379 w 1746"/>
                <a:gd name="T29" fmla="*/ 372 h 3432"/>
                <a:gd name="T30" fmla="*/ 304 w 1746"/>
                <a:gd name="T31" fmla="*/ 223 h 3432"/>
                <a:gd name="T32" fmla="*/ 200 w 1746"/>
                <a:gd name="T33" fmla="*/ 156 h 3432"/>
                <a:gd name="T34" fmla="*/ 96 w 1746"/>
                <a:gd name="T35" fmla="*/ 82 h 3432"/>
                <a:gd name="T36" fmla="*/ 7 w 1746"/>
                <a:gd name="T37" fmla="*/ 8 h 3432"/>
                <a:gd name="T38" fmla="*/ 163 w 1746"/>
                <a:gd name="T39" fmla="*/ 461 h 3432"/>
                <a:gd name="T40" fmla="*/ 237 w 1746"/>
                <a:gd name="T41" fmla="*/ 528 h 3432"/>
                <a:gd name="T42" fmla="*/ 282 w 1746"/>
                <a:gd name="T43" fmla="*/ 631 h 3432"/>
                <a:gd name="T44" fmla="*/ 416 w 1746"/>
                <a:gd name="T45" fmla="*/ 758 h 3432"/>
                <a:gd name="T46" fmla="*/ 482 w 1746"/>
                <a:gd name="T47" fmla="*/ 884 h 3432"/>
                <a:gd name="T48" fmla="*/ 497 w 1746"/>
                <a:gd name="T49" fmla="*/ 973 h 3432"/>
                <a:gd name="T50" fmla="*/ 601 w 1746"/>
                <a:gd name="T51" fmla="*/ 1055 h 3432"/>
                <a:gd name="T52" fmla="*/ 594 w 1746"/>
                <a:gd name="T53" fmla="*/ 1166 h 3432"/>
                <a:gd name="T54" fmla="*/ 624 w 1746"/>
                <a:gd name="T55" fmla="*/ 1241 h 3432"/>
                <a:gd name="T56" fmla="*/ 661 w 1746"/>
                <a:gd name="T57" fmla="*/ 1441 h 3432"/>
                <a:gd name="T58" fmla="*/ 698 w 1746"/>
                <a:gd name="T59" fmla="*/ 1508 h 3432"/>
                <a:gd name="T60" fmla="*/ 713 w 1746"/>
                <a:gd name="T61" fmla="*/ 1523 h 3432"/>
                <a:gd name="T62" fmla="*/ 727 w 1746"/>
                <a:gd name="T63" fmla="*/ 1619 h 3432"/>
                <a:gd name="T64" fmla="*/ 809 w 1746"/>
                <a:gd name="T65" fmla="*/ 1723 h 3432"/>
                <a:gd name="T66" fmla="*/ 794 w 1746"/>
                <a:gd name="T67" fmla="*/ 1783 h 3432"/>
                <a:gd name="T68" fmla="*/ 824 w 1746"/>
                <a:gd name="T69" fmla="*/ 1872 h 3432"/>
                <a:gd name="T70" fmla="*/ 906 w 1746"/>
                <a:gd name="T71" fmla="*/ 1968 h 3432"/>
                <a:gd name="T72" fmla="*/ 846 w 1746"/>
                <a:gd name="T73" fmla="*/ 1983 h 3432"/>
                <a:gd name="T74" fmla="*/ 943 w 1746"/>
                <a:gd name="T75" fmla="*/ 2154 h 3432"/>
                <a:gd name="T76" fmla="*/ 987 w 1746"/>
                <a:gd name="T77" fmla="*/ 2421 h 3432"/>
                <a:gd name="T78" fmla="*/ 995 w 1746"/>
                <a:gd name="T79" fmla="*/ 2444 h 3432"/>
                <a:gd name="T80" fmla="*/ 935 w 1746"/>
                <a:gd name="T81" fmla="*/ 2288 h 3432"/>
                <a:gd name="T82" fmla="*/ 884 w 1746"/>
                <a:gd name="T83" fmla="*/ 2109 h 3432"/>
                <a:gd name="T84" fmla="*/ 921 w 1746"/>
                <a:gd name="T85" fmla="*/ 2451 h 3432"/>
                <a:gd name="T86" fmla="*/ 1010 w 1746"/>
                <a:gd name="T87" fmla="*/ 2741 h 3432"/>
                <a:gd name="T88" fmla="*/ 1032 w 1746"/>
                <a:gd name="T89" fmla="*/ 2748 h 3432"/>
                <a:gd name="T90" fmla="*/ 1032 w 1746"/>
                <a:gd name="T91" fmla="*/ 2741 h 3432"/>
                <a:gd name="T92" fmla="*/ 1039 w 1746"/>
                <a:gd name="T93" fmla="*/ 2837 h 3432"/>
                <a:gd name="T94" fmla="*/ 1143 w 1746"/>
                <a:gd name="T95" fmla="*/ 2882 h 3432"/>
                <a:gd name="T96" fmla="*/ 1114 w 1746"/>
                <a:gd name="T97" fmla="*/ 2963 h 3432"/>
                <a:gd name="T98" fmla="*/ 1218 w 1746"/>
                <a:gd name="T99" fmla="*/ 3112 h 3432"/>
                <a:gd name="T100" fmla="*/ 1470 w 1746"/>
                <a:gd name="T101" fmla="*/ 3409 h 3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6" h="3432">
                  <a:moveTo>
                    <a:pt x="1500" y="3424"/>
                  </a:moveTo>
                  <a:lnTo>
                    <a:pt x="1500" y="3424"/>
                  </a:lnTo>
                  <a:cubicBezTo>
                    <a:pt x="1507" y="3424"/>
                    <a:pt x="1515" y="3424"/>
                    <a:pt x="1515" y="3416"/>
                  </a:cubicBezTo>
                  <a:cubicBezTo>
                    <a:pt x="1522" y="3394"/>
                    <a:pt x="1522" y="3372"/>
                    <a:pt x="1522" y="3342"/>
                  </a:cubicBezTo>
                  <a:cubicBezTo>
                    <a:pt x="1529" y="3349"/>
                    <a:pt x="1529" y="3342"/>
                    <a:pt x="1537" y="3342"/>
                  </a:cubicBezTo>
                  <a:cubicBezTo>
                    <a:pt x="1537" y="3327"/>
                    <a:pt x="1537" y="3312"/>
                    <a:pt x="1537" y="3297"/>
                  </a:cubicBezTo>
                  <a:cubicBezTo>
                    <a:pt x="1604" y="3327"/>
                    <a:pt x="1589" y="3268"/>
                    <a:pt x="1574" y="3223"/>
                  </a:cubicBezTo>
                  <a:cubicBezTo>
                    <a:pt x="1574" y="3223"/>
                    <a:pt x="1574" y="3223"/>
                    <a:pt x="1567" y="3223"/>
                  </a:cubicBezTo>
                  <a:cubicBezTo>
                    <a:pt x="1567" y="3186"/>
                    <a:pt x="1529" y="3164"/>
                    <a:pt x="1537" y="3127"/>
                  </a:cubicBezTo>
                  <a:cubicBezTo>
                    <a:pt x="1537" y="3104"/>
                    <a:pt x="1567" y="3067"/>
                    <a:pt x="1596" y="3067"/>
                  </a:cubicBezTo>
                  <a:cubicBezTo>
                    <a:pt x="1604" y="3045"/>
                    <a:pt x="1604" y="3015"/>
                    <a:pt x="1596" y="2986"/>
                  </a:cubicBezTo>
                  <a:cubicBezTo>
                    <a:pt x="1574" y="2986"/>
                    <a:pt x="1544" y="2934"/>
                    <a:pt x="1537" y="2904"/>
                  </a:cubicBezTo>
                  <a:cubicBezTo>
                    <a:pt x="1529" y="2874"/>
                    <a:pt x="1574" y="2874"/>
                    <a:pt x="1589" y="2845"/>
                  </a:cubicBezTo>
                  <a:cubicBezTo>
                    <a:pt x="1611" y="2807"/>
                    <a:pt x="1604" y="2674"/>
                    <a:pt x="1663" y="2689"/>
                  </a:cubicBezTo>
                  <a:cubicBezTo>
                    <a:pt x="1663" y="2659"/>
                    <a:pt x="1678" y="2585"/>
                    <a:pt x="1700" y="2570"/>
                  </a:cubicBezTo>
                  <a:cubicBezTo>
                    <a:pt x="1745" y="2540"/>
                    <a:pt x="1686" y="2518"/>
                    <a:pt x="1693" y="2473"/>
                  </a:cubicBezTo>
                  <a:cubicBezTo>
                    <a:pt x="1663" y="2466"/>
                    <a:pt x="1656" y="2488"/>
                    <a:pt x="1641" y="2503"/>
                  </a:cubicBezTo>
                  <a:cubicBezTo>
                    <a:pt x="1604" y="2510"/>
                    <a:pt x="1589" y="2466"/>
                    <a:pt x="1552" y="2458"/>
                  </a:cubicBezTo>
                  <a:cubicBezTo>
                    <a:pt x="1596" y="2458"/>
                    <a:pt x="1559" y="2347"/>
                    <a:pt x="1611" y="2332"/>
                  </a:cubicBezTo>
                  <a:cubicBezTo>
                    <a:pt x="1611" y="2317"/>
                    <a:pt x="1611" y="2302"/>
                    <a:pt x="1611" y="2288"/>
                  </a:cubicBezTo>
                  <a:cubicBezTo>
                    <a:pt x="1604" y="2288"/>
                    <a:pt x="1604" y="2288"/>
                    <a:pt x="1604" y="2288"/>
                  </a:cubicBezTo>
                  <a:cubicBezTo>
                    <a:pt x="1589" y="2236"/>
                    <a:pt x="1715" y="2147"/>
                    <a:pt x="1604" y="2132"/>
                  </a:cubicBezTo>
                  <a:cubicBezTo>
                    <a:pt x="1611" y="2109"/>
                    <a:pt x="1596" y="2102"/>
                    <a:pt x="1596" y="2080"/>
                  </a:cubicBezTo>
                  <a:cubicBezTo>
                    <a:pt x="1663" y="2087"/>
                    <a:pt x="1656" y="1939"/>
                    <a:pt x="1619" y="1916"/>
                  </a:cubicBezTo>
                  <a:cubicBezTo>
                    <a:pt x="1589" y="1901"/>
                    <a:pt x="1537" y="1909"/>
                    <a:pt x="1515" y="1931"/>
                  </a:cubicBezTo>
                  <a:cubicBezTo>
                    <a:pt x="1492" y="1968"/>
                    <a:pt x="1440" y="1953"/>
                    <a:pt x="1440" y="2005"/>
                  </a:cubicBezTo>
                  <a:cubicBezTo>
                    <a:pt x="1433" y="2013"/>
                    <a:pt x="1426" y="2013"/>
                    <a:pt x="1418" y="2013"/>
                  </a:cubicBezTo>
                  <a:cubicBezTo>
                    <a:pt x="1418" y="1976"/>
                    <a:pt x="1381" y="1976"/>
                    <a:pt x="1359" y="1961"/>
                  </a:cubicBezTo>
                  <a:cubicBezTo>
                    <a:pt x="1336" y="1946"/>
                    <a:pt x="1336" y="1909"/>
                    <a:pt x="1329" y="1879"/>
                  </a:cubicBezTo>
                  <a:cubicBezTo>
                    <a:pt x="1321" y="1842"/>
                    <a:pt x="1329" y="1805"/>
                    <a:pt x="1336" y="1768"/>
                  </a:cubicBezTo>
                  <a:cubicBezTo>
                    <a:pt x="1344" y="1731"/>
                    <a:pt x="1336" y="1679"/>
                    <a:pt x="1366" y="1656"/>
                  </a:cubicBezTo>
                  <a:cubicBezTo>
                    <a:pt x="1374" y="1619"/>
                    <a:pt x="1381" y="1567"/>
                    <a:pt x="1351" y="1530"/>
                  </a:cubicBezTo>
                  <a:cubicBezTo>
                    <a:pt x="1336" y="1508"/>
                    <a:pt x="1247" y="1463"/>
                    <a:pt x="1225" y="1463"/>
                  </a:cubicBezTo>
                  <a:cubicBezTo>
                    <a:pt x="1232" y="1441"/>
                    <a:pt x="1218" y="1404"/>
                    <a:pt x="1232" y="1382"/>
                  </a:cubicBezTo>
                  <a:cubicBezTo>
                    <a:pt x="1247" y="1382"/>
                    <a:pt x="1255" y="1382"/>
                    <a:pt x="1270" y="1382"/>
                  </a:cubicBezTo>
                  <a:cubicBezTo>
                    <a:pt x="1270" y="1337"/>
                    <a:pt x="1284" y="1278"/>
                    <a:pt x="1240" y="1255"/>
                  </a:cubicBezTo>
                  <a:cubicBezTo>
                    <a:pt x="1188" y="1226"/>
                    <a:pt x="1114" y="1248"/>
                    <a:pt x="1054" y="1248"/>
                  </a:cubicBezTo>
                  <a:cubicBezTo>
                    <a:pt x="1062" y="1248"/>
                    <a:pt x="1062" y="1248"/>
                    <a:pt x="1069" y="1248"/>
                  </a:cubicBezTo>
                  <a:cubicBezTo>
                    <a:pt x="1069" y="1226"/>
                    <a:pt x="1121" y="1151"/>
                    <a:pt x="1143" y="1144"/>
                  </a:cubicBezTo>
                  <a:cubicBezTo>
                    <a:pt x="1143" y="1122"/>
                    <a:pt x="1114" y="1122"/>
                    <a:pt x="1099" y="1114"/>
                  </a:cubicBezTo>
                  <a:cubicBezTo>
                    <a:pt x="1076" y="1107"/>
                    <a:pt x="1076" y="1085"/>
                    <a:pt x="1054" y="1077"/>
                  </a:cubicBezTo>
                  <a:cubicBezTo>
                    <a:pt x="1039" y="1062"/>
                    <a:pt x="1017" y="1070"/>
                    <a:pt x="995" y="1055"/>
                  </a:cubicBezTo>
                  <a:cubicBezTo>
                    <a:pt x="973" y="1033"/>
                    <a:pt x="950" y="1040"/>
                    <a:pt x="921" y="1040"/>
                  </a:cubicBezTo>
                  <a:cubicBezTo>
                    <a:pt x="921" y="1003"/>
                    <a:pt x="921" y="958"/>
                    <a:pt x="928" y="921"/>
                  </a:cubicBezTo>
                  <a:cubicBezTo>
                    <a:pt x="958" y="929"/>
                    <a:pt x="973" y="958"/>
                    <a:pt x="1010" y="951"/>
                  </a:cubicBezTo>
                  <a:cubicBezTo>
                    <a:pt x="1010" y="899"/>
                    <a:pt x="1069" y="929"/>
                    <a:pt x="1069" y="877"/>
                  </a:cubicBezTo>
                  <a:cubicBezTo>
                    <a:pt x="1076" y="877"/>
                    <a:pt x="1076" y="877"/>
                    <a:pt x="1076" y="877"/>
                  </a:cubicBezTo>
                  <a:cubicBezTo>
                    <a:pt x="1076" y="854"/>
                    <a:pt x="1076" y="847"/>
                    <a:pt x="1076" y="840"/>
                  </a:cubicBezTo>
                  <a:cubicBezTo>
                    <a:pt x="1062" y="810"/>
                    <a:pt x="1024" y="825"/>
                    <a:pt x="995" y="817"/>
                  </a:cubicBezTo>
                  <a:cubicBezTo>
                    <a:pt x="973" y="802"/>
                    <a:pt x="958" y="758"/>
                    <a:pt x="928" y="765"/>
                  </a:cubicBezTo>
                  <a:cubicBezTo>
                    <a:pt x="928" y="765"/>
                    <a:pt x="928" y="765"/>
                    <a:pt x="928" y="773"/>
                  </a:cubicBezTo>
                  <a:cubicBezTo>
                    <a:pt x="913" y="773"/>
                    <a:pt x="913" y="736"/>
                    <a:pt x="906" y="728"/>
                  </a:cubicBezTo>
                  <a:cubicBezTo>
                    <a:pt x="891" y="706"/>
                    <a:pt x="854" y="713"/>
                    <a:pt x="831" y="713"/>
                  </a:cubicBezTo>
                  <a:cubicBezTo>
                    <a:pt x="831" y="691"/>
                    <a:pt x="831" y="669"/>
                    <a:pt x="831" y="646"/>
                  </a:cubicBezTo>
                  <a:cubicBezTo>
                    <a:pt x="809" y="639"/>
                    <a:pt x="772" y="661"/>
                    <a:pt x="750" y="661"/>
                  </a:cubicBezTo>
                  <a:cubicBezTo>
                    <a:pt x="727" y="661"/>
                    <a:pt x="705" y="661"/>
                    <a:pt x="690" y="654"/>
                  </a:cubicBezTo>
                  <a:cubicBezTo>
                    <a:pt x="638" y="639"/>
                    <a:pt x="631" y="617"/>
                    <a:pt x="624" y="572"/>
                  </a:cubicBezTo>
                  <a:cubicBezTo>
                    <a:pt x="616" y="535"/>
                    <a:pt x="549" y="550"/>
                    <a:pt x="519" y="528"/>
                  </a:cubicBezTo>
                  <a:cubicBezTo>
                    <a:pt x="497" y="513"/>
                    <a:pt x="475" y="476"/>
                    <a:pt x="438" y="476"/>
                  </a:cubicBezTo>
                  <a:cubicBezTo>
                    <a:pt x="445" y="446"/>
                    <a:pt x="408" y="379"/>
                    <a:pt x="379" y="372"/>
                  </a:cubicBezTo>
                  <a:cubicBezTo>
                    <a:pt x="334" y="357"/>
                    <a:pt x="319" y="364"/>
                    <a:pt x="319" y="320"/>
                  </a:cubicBezTo>
                  <a:cubicBezTo>
                    <a:pt x="319" y="297"/>
                    <a:pt x="304" y="290"/>
                    <a:pt x="304" y="275"/>
                  </a:cubicBezTo>
                  <a:cubicBezTo>
                    <a:pt x="304" y="253"/>
                    <a:pt x="327" y="246"/>
                    <a:pt x="341" y="231"/>
                  </a:cubicBezTo>
                  <a:cubicBezTo>
                    <a:pt x="349" y="201"/>
                    <a:pt x="304" y="201"/>
                    <a:pt x="304" y="223"/>
                  </a:cubicBezTo>
                  <a:cubicBezTo>
                    <a:pt x="297" y="223"/>
                    <a:pt x="289" y="223"/>
                    <a:pt x="282" y="223"/>
                  </a:cubicBezTo>
                  <a:cubicBezTo>
                    <a:pt x="267" y="201"/>
                    <a:pt x="267" y="179"/>
                    <a:pt x="237" y="171"/>
                  </a:cubicBezTo>
                  <a:cubicBezTo>
                    <a:pt x="245" y="156"/>
                    <a:pt x="245" y="134"/>
                    <a:pt x="245" y="119"/>
                  </a:cubicBezTo>
                  <a:cubicBezTo>
                    <a:pt x="237" y="119"/>
                    <a:pt x="200" y="149"/>
                    <a:pt x="200" y="156"/>
                  </a:cubicBezTo>
                  <a:cubicBezTo>
                    <a:pt x="193" y="149"/>
                    <a:pt x="200" y="134"/>
                    <a:pt x="200" y="127"/>
                  </a:cubicBezTo>
                  <a:cubicBezTo>
                    <a:pt x="185" y="119"/>
                    <a:pt x="171" y="119"/>
                    <a:pt x="156" y="119"/>
                  </a:cubicBezTo>
                  <a:cubicBezTo>
                    <a:pt x="148" y="97"/>
                    <a:pt x="185" y="89"/>
                    <a:pt x="148" y="67"/>
                  </a:cubicBezTo>
                  <a:cubicBezTo>
                    <a:pt x="119" y="45"/>
                    <a:pt x="104" y="52"/>
                    <a:pt x="96" y="82"/>
                  </a:cubicBezTo>
                  <a:cubicBezTo>
                    <a:pt x="82" y="89"/>
                    <a:pt x="74" y="75"/>
                    <a:pt x="67" y="60"/>
                  </a:cubicBezTo>
                  <a:cubicBezTo>
                    <a:pt x="96" y="52"/>
                    <a:pt x="67" y="15"/>
                    <a:pt x="44" y="23"/>
                  </a:cubicBezTo>
                  <a:cubicBezTo>
                    <a:pt x="44" y="23"/>
                    <a:pt x="29" y="15"/>
                    <a:pt x="0" y="0"/>
                  </a:cubicBezTo>
                  <a:cubicBezTo>
                    <a:pt x="0" y="8"/>
                    <a:pt x="7" y="8"/>
                    <a:pt x="7" y="8"/>
                  </a:cubicBezTo>
                  <a:cubicBezTo>
                    <a:pt x="29" y="52"/>
                    <a:pt x="59" y="97"/>
                    <a:pt x="67" y="149"/>
                  </a:cubicBezTo>
                  <a:cubicBezTo>
                    <a:pt x="74" y="194"/>
                    <a:pt x="89" y="238"/>
                    <a:pt x="104" y="283"/>
                  </a:cubicBezTo>
                  <a:cubicBezTo>
                    <a:pt x="119" y="327"/>
                    <a:pt x="126" y="372"/>
                    <a:pt x="148" y="409"/>
                  </a:cubicBezTo>
                  <a:cubicBezTo>
                    <a:pt x="156" y="424"/>
                    <a:pt x="163" y="446"/>
                    <a:pt x="163" y="461"/>
                  </a:cubicBezTo>
                  <a:cubicBezTo>
                    <a:pt x="163" y="476"/>
                    <a:pt x="163" y="498"/>
                    <a:pt x="163" y="513"/>
                  </a:cubicBezTo>
                  <a:cubicBezTo>
                    <a:pt x="178" y="535"/>
                    <a:pt x="171" y="520"/>
                    <a:pt x="185" y="520"/>
                  </a:cubicBezTo>
                  <a:cubicBezTo>
                    <a:pt x="193" y="520"/>
                    <a:pt x="200" y="528"/>
                    <a:pt x="208" y="528"/>
                  </a:cubicBezTo>
                  <a:cubicBezTo>
                    <a:pt x="215" y="528"/>
                    <a:pt x="230" y="520"/>
                    <a:pt x="237" y="528"/>
                  </a:cubicBezTo>
                  <a:cubicBezTo>
                    <a:pt x="245" y="535"/>
                    <a:pt x="237" y="543"/>
                    <a:pt x="230" y="543"/>
                  </a:cubicBezTo>
                  <a:cubicBezTo>
                    <a:pt x="230" y="550"/>
                    <a:pt x="289" y="587"/>
                    <a:pt x="297" y="594"/>
                  </a:cubicBezTo>
                  <a:cubicBezTo>
                    <a:pt x="289" y="594"/>
                    <a:pt x="274" y="594"/>
                    <a:pt x="260" y="594"/>
                  </a:cubicBezTo>
                  <a:cubicBezTo>
                    <a:pt x="260" y="609"/>
                    <a:pt x="274" y="617"/>
                    <a:pt x="282" y="631"/>
                  </a:cubicBezTo>
                  <a:cubicBezTo>
                    <a:pt x="297" y="646"/>
                    <a:pt x="282" y="654"/>
                    <a:pt x="304" y="669"/>
                  </a:cubicBezTo>
                  <a:cubicBezTo>
                    <a:pt x="319" y="676"/>
                    <a:pt x="334" y="684"/>
                    <a:pt x="349" y="691"/>
                  </a:cubicBezTo>
                  <a:cubicBezTo>
                    <a:pt x="364" y="706"/>
                    <a:pt x="371" y="713"/>
                    <a:pt x="386" y="713"/>
                  </a:cubicBezTo>
                  <a:cubicBezTo>
                    <a:pt x="386" y="728"/>
                    <a:pt x="401" y="743"/>
                    <a:pt x="416" y="758"/>
                  </a:cubicBezTo>
                  <a:cubicBezTo>
                    <a:pt x="423" y="765"/>
                    <a:pt x="445" y="780"/>
                    <a:pt x="445" y="795"/>
                  </a:cubicBezTo>
                  <a:cubicBezTo>
                    <a:pt x="453" y="817"/>
                    <a:pt x="445" y="825"/>
                    <a:pt x="453" y="847"/>
                  </a:cubicBezTo>
                  <a:cubicBezTo>
                    <a:pt x="460" y="854"/>
                    <a:pt x="467" y="877"/>
                    <a:pt x="482" y="877"/>
                  </a:cubicBezTo>
                  <a:lnTo>
                    <a:pt x="482" y="884"/>
                  </a:lnTo>
                  <a:cubicBezTo>
                    <a:pt x="475" y="884"/>
                    <a:pt x="467" y="884"/>
                    <a:pt x="460" y="884"/>
                  </a:cubicBezTo>
                  <a:cubicBezTo>
                    <a:pt x="460" y="899"/>
                    <a:pt x="475" y="906"/>
                    <a:pt x="475" y="921"/>
                  </a:cubicBezTo>
                  <a:cubicBezTo>
                    <a:pt x="475" y="929"/>
                    <a:pt x="475" y="943"/>
                    <a:pt x="475" y="951"/>
                  </a:cubicBezTo>
                  <a:cubicBezTo>
                    <a:pt x="482" y="966"/>
                    <a:pt x="482" y="966"/>
                    <a:pt x="497" y="973"/>
                  </a:cubicBezTo>
                  <a:cubicBezTo>
                    <a:pt x="512" y="973"/>
                    <a:pt x="505" y="966"/>
                    <a:pt x="519" y="981"/>
                  </a:cubicBezTo>
                  <a:cubicBezTo>
                    <a:pt x="527" y="988"/>
                    <a:pt x="534" y="1003"/>
                    <a:pt x="534" y="1010"/>
                  </a:cubicBezTo>
                  <a:cubicBezTo>
                    <a:pt x="542" y="1018"/>
                    <a:pt x="542" y="1033"/>
                    <a:pt x="549" y="1040"/>
                  </a:cubicBezTo>
                  <a:cubicBezTo>
                    <a:pt x="557" y="1048"/>
                    <a:pt x="601" y="1033"/>
                    <a:pt x="601" y="1055"/>
                  </a:cubicBezTo>
                  <a:cubicBezTo>
                    <a:pt x="586" y="1055"/>
                    <a:pt x="572" y="1055"/>
                    <a:pt x="564" y="1055"/>
                  </a:cubicBezTo>
                  <a:cubicBezTo>
                    <a:pt x="557" y="1062"/>
                    <a:pt x="572" y="1062"/>
                    <a:pt x="579" y="1077"/>
                  </a:cubicBezTo>
                  <a:cubicBezTo>
                    <a:pt x="586" y="1085"/>
                    <a:pt x="579" y="1092"/>
                    <a:pt x="579" y="1099"/>
                  </a:cubicBezTo>
                  <a:cubicBezTo>
                    <a:pt x="579" y="1129"/>
                    <a:pt x="594" y="1144"/>
                    <a:pt x="594" y="1166"/>
                  </a:cubicBezTo>
                  <a:cubicBezTo>
                    <a:pt x="594" y="1166"/>
                    <a:pt x="594" y="1166"/>
                    <a:pt x="601" y="1166"/>
                  </a:cubicBezTo>
                  <a:cubicBezTo>
                    <a:pt x="609" y="1166"/>
                    <a:pt x="624" y="1159"/>
                    <a:pt x="638" y="1159"/>
                  </a:cubicBezTo>
                  <a:cubicBezTo>
                    <a:pt x="638" y="1181"/>
                    <a:pt x="609" y="1181"/>
                    <a:pt x="609" y="1196"/>
                  </a:cubicBezTo>
                  <a:cubicBezTo>
                    <a:pt x="609" y="1211"/>
                    <a:pt x="624" y="1226"/>
                    <a:pt x="624" y="1241"/>
                  </a:cubicBezTo>
                  <a:cubicBezTo>
                    <a:pt x="631" y="1255"/>
                    <a:pt x="631" y="1278"/>
                    <a:pt x="631" y="1293"/>
                  </a:cubicBezTo>
                  <a:cubicBezTo>
                    <a:pt x="638" y="1307"/>
                    <a:pt x="638" y="1322"/>
                    <a:pt x="646" y="1337"/>
                  </a:cubicBezTo>
                  <a:cubicBezTo>
                    <a:pt x="646" y="1359"/>
                    <a:pt x="653" y="1374"/>
                    <a:pt x="661" y="1389"/>
                  </a:cubicBezTo>
                  <a:cubicBezTo>
                    <a:pt x="661" y="1404"/>
                    <a:pt x="661" y="1426"/>
                    <a:pt x="661" y="1441"/>
                  </a:cubicBezTo>
                  <a:cubicBezTo>
                    <a:pt x="668" y="1456"/>
                    <a:pt x="676" y="1478"/>
                    <a:pt x="683" y="1493"/>
                  </a:cubicBezTo>
                  <a:cubicBezTo>
                    <a:pt x="683" y="1508"/>
                    <a:pt x="676" y="1530"/>
                    <a:pt x="683" y="1545"/>
                  </a:cubicBezTo>
                  <a:cubicBezTo>
                    <a:pt x="683" y="1530"/>
                    <a:pt x="683" y="1515"/>
                    <a:pt x="690" y="1508"/>
                  </a:cubicBezTo>
                  <a:cubicBezTo>
                    <a:pt x="690" y="1508"/>
                    <a:pt x="690" y="1508"/>
                    <a:pt x="698" y="1508"/>
                  </a:cubicBezTo>
                  <a:cubicBezTo>
                    <a:pt x="698" y="1500"/>
                    <a:pt x="698" y="1493"/>
                    <a:pt x="698" y="1486"/>
                  </a:cubicBezTo>
                  <a:cubicBezTo>
                    <a:pt x="705" y="1486"/>
                    <a:pt x="705" y="1486"/>
                    <a:pt x="705" y="1493"/>
                  </a:cubicBezTo>
                  <a:cubicBezTo>
                    <a:pt x="713" y="1493"/>
                    <a:pt x="720" y="1493"/>
                    <a:pt x="727" y="1508"/>
                  </a:cubicBezTo>
                  <a:cubicBezTo>
                    <a:pt x="727" y="1515"/>
                    <a:pt x="727" y="1523"/>
                    <a:pt x="713" y="1523"/>
                  </a:cubicBezTo>
                  <a:cubicBezTo>
                    <a:pt x="713" y="1538"/>
                    <a:pt x="720" y="1545"/>
                    <a:pt x="720" y="1553"/>
                  </a:cubicBezTo>
                  <a:cubicBezTo>
                    <a:pt x="713" y="1545"/>
                    <a:pt x="698" y="1545"/>
                    <a:pt x="690" y="1545"/>
                  </a:cubicBezTo>
                  <a:cubicBezTo>
                    <a:pt x="690" y="1560"/>
                    <a:pt x="698" y="1567"/>
                    <a:pt x="698" y="1582"/>
                  </a:cubicBezTo>
                  <a:cubicBezTo>
                    <a:pt x="705" y="1582"/>
                    <a:pt x="727" y="1612"/>
                    <a:pt x="727" y="1619"/>
                  </a:cubicBezTo>
                  <a:cubicBezTo>
                    <a:pt x="735" y="1634"/>
                    <a:pt x="735" y="1642"/>
                    <a:pt x="735" y="1649"/>
                  </a:cubicBezTo>
                  <a:cubicBezTo>
                    <a:pt x="742" y="1664"/>
                    <a:pt x="742" y="1686"/>
                    <a:pt x="765" y="1686"/>
                  </a:cubicBezTo>
                  <a:cubicBezTo>
                    <a:pt x="757" y="1664"/>
                    <a:pt x="779" y="1679"/>
                    <a:pt x="787" y="1686"/>
                  </a:cubicBezTo>
                  <a:cubicBezTo>
                    <a:pt x="794" y="1693"/>
                    <a:pt x="802" y="1708"/>
                    <a:pt x="809" y="1723"/>
                  </a:cubicBezTo>
                  <a:cubicBezTo>
                    <a:pt x="779" y="1723"/>
                    <a:pt x="779" y="1723"/>
                    <a:pt x="772" y="1693"/>
                  </a:cubicBezTo>
                  <a:lnTo>
                    <a:pt x="765" y="1693"/>
                  </a:lnTo>
                  <a:cubicBezTo>
                    <a:pt x="765" y="1716"/>
                    <a:pt x="779" y="1731"/>
                    <a:pt x="787" y="1753"/>
                  </a:cubicBezTo>
                  <a:cubicBezTo>
                    <a:pt x="787" y="1760"/>
                    <a:pt x="787" y="1768"/>
                    <a:pt x="794" y="1783"/>
                  </a:cubicBezTo>
                  <a:cubicBezTo>
                    <a:pt x="802" y="1790"/>
                    <a:pt x="802" y="1798"/>
                    <a:pt x="809" y="1805"/>
                  </a:cubicBezTo>
                  <a:cubicBezTo>
                    <a:pt x="809" y="1820"/>
                    <a:pt x="809" y="1827"/>
                    <a:pt x="809" y="1842"/>
                  </a:cubicBezTo>
                  <a:cubicBezTo>
                    <a:pt x="809" y="1842"/>
                    <a:pt x="809" y="1850"/>
                    <a:pt x="809" y="1857"/>
                  </a:cubicBezTo>
                  <a:cubicBezTo>
                    <a:pt x="809" y="1864"/>
                    <a:pt x="817" y="1864"/>
                    <a:pt x="824" y="1872"/>
                  </a:cubicBezTo>
                  <a:cubicBezTo>
                    <a:pt x="831" y="1887"/>
                    <a:pt x="831" y="1909"/>
                    <a:pt x="831" y="1931"/>
                  </a:cubicBezTo>
                  <a:cubicBezTo>
                    <a:pt x="839" y="1924"/>
                    <a:pt x="854" y="1924"/>
                    <a:pt x="861" y="1924"/>
                  </a:cubicBezTo>
                  <a:cubicBezTo>
                    <a:pt x="869" y="1916"/>
                    <a:pt x="861" y="1901"/>
                    <a:pt x="861" y="1887"/>
                  </a:cubicBezTo>
                  <a:cubicBezTo>
                    <a:pt x="876" y="1901"/>
                    <a:pt x="891" y="1968"/>
                    <a:pt x="906" y="1968"/>
                  </a:cubicBezTo>
                  <a:cubicBezTo>
                    <a:pt x="891" y="1968"/>
                    <a:pt x="884" y="1953"/>
                    <a:pt x="869" y="1953"/>
                  </a:cubicBezTo>
                  <a:lnTo>
                    <a:pt x="869" y="1946"/>
                  </a:lnTo>
                  <a:cubicBezTo>
                    <a:pt x="846" y="1939"/>
                    <a:pt x="861" y="1968"/>
                    <a:pt x="861" y="1976"/>
                  </a:cubicBezTo>
                  <a:cubicBezTo>
                    <a:pt x="854" y="1976"/>
                    <a:pt x="854" y="1983"/>
                    <a:pt x="846" y="1983"/>
                  </a:cubicBezTo>
                  <a:cubicBezTo>
                    <a:pt x="854" y="1990"/>
                    <a:pt x="854" y="2005"/>
                    <a:pt x="854" y="2013"/>
                  </a:cubicBezTo>
                  <a:cubicBezTo>
                    <a:pt x="861" y="2035"/>
                    <a:pt x="861" y="2050"/>
                    <a:pt x="876" y="2065"/>
                  </a:cubicBezTo>
                  <a:cubicBezTo>
                    <a:pt x="891" y="2080"/>
                    <a:pt x="898" y="2102"/>
                    <a:pt x="913" y="2117"/>
                  </a:cubicBezTo>
                  <a:cubicBezTo>
                    <a:pt x="921" y="2132"/>
                    <a:pt x="935" y="2139"/>
                    <a:pt x="943" y="2154"/>
                  </a:cubicBezTo>
                  <a:cubicBezTo>
                    <a:pt x="958" y="2169"/>
                    <a:pt x="973" y="2176"/>
                    <a:pt x="973" y="2198"/>
                  </a:cubicBezTo>
                  <a:cubicBezTo>
                    <a:pt x="980" y="2221"/>
                    <a:pt x="973" y="2236"/>
                    <a:pt x="973" y="2250"/>
                  </a:cubicBezTo>
                  <a:cubicBezTo>
                    <a:pt x="973" y="2273"/>
                    <a:pt x="987" y="2280"/>
                    <a:pt x="987" y="2302"/>
                  </a:cubicBezTo>
                  <a:cubicBezTo>
                    <a:pt x="987" y="2347"/>
                    <a:pt x="987" y="2384"/>
                    <a:pt x="987" y="2421"/>
                  </a:cubicBezTo>
                  <a:cubicBezTo>
                    <a:pt x="1002" y="2421"/>
                    <a:pt x="1010" y="2421"/>
                    <a:pt x="1024" y="2421"/>
                  </a:cubicBezTo>
                  <a:cubicBezTo>
                    <a:pt x="1017" y="2414"/>
                    <a:pt x="1024" y="2414"/>
                    <a:pt x="1024" y="2406"/>
                  </a:cubicBezTo>
                  <a:cubicBezTo>
                    <a:pt x="1047" y="2421"/>
                    <a:pt x="1062" y="2429"/>
                    <a:pt x="1054" y="2458"/>
                  </a:cubicBezTo>
                  <a:cubicBezTo>
                    <a:pt x="1032" y="2458"/>
                    <a:pt x="1017" y="2451"/>
                    <a:pt x="995" y="2444"/>
                  </a:cubicBezTo>
                  <a:cubicBezTo>
                    <a:pt x="965" y="2444"/>
                    <a:pt x="950" y="2451"/>
                    <a:pt x="950" y="2421"/>
                  </a:cubicBezTo>
                  <a:cubicBezTo>
                    <a:pt x="950" y="2399"/>
                    <a:pt x="950" y="2384"/>
                    <a:pt x="958" y="2362"/>
                  </a:cubicBezTo>
                  <a:cubicBezTo>
                    <a:pt x="958" y="2355"/>
                    <a:pt x="973" y="2332"/>
                    <a:pt x="973" y="2317"/>
                  </a:cubicBezTo>
                  <a:cubicBezTo>
                    <a:pt x="965" y="2302"/>
                    <a:pt x="943" y="2317"/>
                    <a:pt x="935" y="2288"/>
                  </a:cubicBezTo>
                  <a:cubicBezTo>
                    <a:pt x="935" y="2273"/>
                    <a:pt x="935" y="2250"/>
                    <a:pt x="928" y="2236"/>
                  </a:cubicBezTo>
                  <a:cubicBezTo>
                    <a:pt x="921" y="2213"/>
                    <a:pt x="921" y="2198"/>
                    <a:pt x="921" y="2176"/>
                  </a:cubicBezTo>
                  <a:cubicBezTo>
                    <a:pt x="913" y="2161"/>
                    <a:pt x="906" y="2154"/>
                    <a:pt x="898" y="2139"/>
                  </a:cubicBezTo>
                  <a:cubicBezTo>
                    <a:pt x="891" y="2124"/>
                    <a:pt x="891" y="2117"/>
                    <a:pt x="884" y="2109"/>
                  </a:cubicBezTo>
                  <a:cubicBezTo>
                    <a:pt x="876" y="2102"/>
                    <a:pt x="869" y="2102"/>
                    <a:pt x="869" y="2087"/>
                  </a:cubicBezTo>
                  <a:cubicBezTo>
                    <a:pt x="869" y="2154"/>
                    <a:pt x="906" y="2198"/>
                    <a:pt x="906" y="2258"/>
                  </a:cubicBezTo>
                  <a:cubicBezTo>
                    <a:pt x="913" y="2295"/>
                    <a:pt x="921" y="2325"/>
                    <a:pt x="913" y="2362"/>
                  </a:cubicBezTo>
                  <a:cubicBezTo>
                    <a:pt x="913" y="2392"/>
                    <a:pt x="913" y="2421"/>
                    <a:pt x="921" y="2451"/>
                  </a:cubicBezTo>
                  <a:cubicBezTo>
                    <a:pt x="921" y="2473"/>
                    <a:pt x="935" y="2495"/>
                    <a:pt x="943" y="2518"/>
                  </a:cubicBezTo>
                  <a:cubicBezTo>
                    <a:pt x="958" y="2547"/>
                    <a:pt x="950" y="2570"/>
                    <a:pt x="950" y="2600"/>
                  </a:cubicBezTo>
                  <a:cubicBezTo>
                    <a:pt x="958" y="2622"/>
                    <a:pt x="973" y="2644"/>
                    <a:pt x="980" y="2666"/>
                  </a:cubicBezTo>
                  <a:cubicBezTo>
                    <a:pt x="995" y="2689"/>
                    <a:pt x="1002" y="2718"/>
                    <a:pt x="1010" y="2741"/>
                  </a:cubicBezTo>
                  <a:cubicBezTo>
                    <a:pt x="1017" y="2755"/>
                    <a:pt x="1017" y="2770"/>
                    <a:pt x="1024" y="2785"/>
                  </a:cubicBezTo>
                  <a:cubicBezTo>
                    <a:pt x="1024" y="2792"/>
                    <a:pt x="1024" y="2807"/>
                    <a:pt x="1032" y="2815"/>
                  </a:cubicBezTo>
                  <a:cubicBezTo>
                    <a:pt x="1039" y="2800"/>
                    <a:pt x="1032" y="2792"/>
                    <a:pt x="1032" y="2778"/>
                  </a:cubicBezTo>
                  <a:cubicBezTo>
                    <a:pt x="1032" y="2770"/>
                    <a:pt x="1032" y="2763"/>
                    <a:pt x="1032" y="2748"/>
                  </a:cubicBezTo>
                  <a:cubicBezTo>
                    <a:pt x="1032" y="2741"/>
                    <a:pt x="1032" y="2733"/>
                    <a:pt x="1024" y="2726"/>
                  </a:cubicBezTo>
                  <a:cubicBezTo>
                    <a:pt x="1017" y="2711"/>
                    <a:pt x="1010" y="2703"/>
                    <a:pt x="1010" y="2696"/>
                  </a:cubicBezTo>
                  <a:cubicBezTo>
                    <a:pt x="1010" y="2703"/>
                    <a:pt x="1024" y="2711"/>
                    <a:pt x="1024" y="2718"/>
                  </a:cubicBezTo>
                  <a:cubicBezTo>
                    <a:pt x="1024" y="2726"/>
                    <a:pt x="1032" y="2733"/>
                    <a:pt x="1032" y="2741"/>
                  </a:cubicBezTo>
                  <a:cubicBezTo>
                    <a:pt x="1039" y="2748"/>
                    <a:pt x="1039" y="2755"/>
                    <a:pt x="1039" y="2770"/>
                  </a:cubicBezTo>
                  <a:cubicBezTo>
                    <a:pt x="1047" y="2778"/>
                    <a:pt x="1047" y="2785"/>
                    <a:pt x="1047" y="2800"/>
                  </a:cubicBezTo>
                  <a:cubicBezTo>
                    <a:pt x="1047" y="2807"/>
                    <a:pt x="1054" y="2807"/>
                    <a:pt x="1054" y="2815"/>
                  </a:cubicBezTo>
                  <a:cubicBezTo>
                    <a:pt x="1054" y="2822"/>
                    <a:pt x="1039" y="2822"/>
                    <a:pt x="1039" y="2837"/>
                  </a:cubicBezTo>
                  <a:cubicBezTo>
                    <a:pt x="1054" y="2845"/>
                    <a:pt x="1047" y="2867"/>
                    <a:pt x="1062" y="2882"/>
                  </a:cubicBezTo>
                  <a:cubicBezTo>
                    <a:pt x="1069" y="2867"/>
                    <a:pt x="1076" y="2882"/>
                    <a:pt x="1084" y="2874"/>
                  </a:cubicBezTo>
                  <a:cubicBezTo>
                    <a:pt x="1091" y="2867"/>
                    <a:pt x="1084" y="2852"/>
                    <a:pt x="1099" y="2845"/>
                  </a:cubicBezTo>
                  <a:cubicBezTo>
                    <a:pt x="1114" y="2837"/>
                    <a:pt x="1136" y="2867"/>
                    <a:pt x="1143" y="2882"/>
                  </a:cubicBezTo>
                  <a:cubicBezTo>
                    <a:pt x="1129" y="2889"/>
                    <a:pt x="1106" y="2889"/>
                    <a:pt x="1091" y="2904"/>
                  </a:cubicBezTo>
                  <a:cubicBezTo>
                    <a:pt x="1099" y="2911"/>
                    <a:pt x="1106" y="2919"/>
                    <a:pt x="1114" y="2919"/>
                  </a:cubicBezTo>
                  <a:cubicBezTo>
                    <a:pt x="1106" y="2919"/>
                    <a:pt x="1091" y="2926"/>
                    <a:pt x="1084" y="2919"/>
                  </a:cubicBezTo>
                  <a:cubicBezTo>
                    <a:pt x="1084" y="2934"/>
                    <a:pt x="1099" y="2956"/>
                    <a:pt x="1114" y="2963"/>
                  </a:cubicBezTo>
                  <a:cubicBezTo>
                    <a:pt x="1121" y="2963"/>
                    <a:pt x="1158" y="2963"/>
                    <a:pt x="1166" y="2963"/>
                  </a:cubicBezTo>
                  <a:cubicBezTo>
                    <a:pt x="1166" y="2971"/>
                    <a:pt x="1166" y="2986"/>
                    <a:pt x="1166" y="2993"/>
                  </a:cubicBezTo>
                  <a:cubicBezTo>
                    <a:pt x="1158" y="2986"/>
                    <a:pt x="1151" y="2986"/>
                    <a:pt x="1136" y="2986"/>
                  </a:cubicBezTo>
                  <a:cubicBezTo>
                    <a:pt x="1136" y="3023"/>
                    <a:pt x="1203" y="3082"/>
                    <a:pt x="1218" y="3112"/>
                  </a:cubicBezTo>
                  <a:cubicBezTo>
                    <a:pt x="1255" y="3157"/>
                    <a:pt x="1292" y="3201"/>
                    <a:pt x="1329" y="3246"/>
                  </a:cubicBezTo>
                  <a:cubicBezTo>
                    <a:pt x="1351" y="3268"/>
                    <a:pt x="1359" y="3290"/>
                    <a:pt x="1366" y="3312"/>
                  </a:cubicBezTo>
                  <a:cubicBezTo>
                    <a:pt x="1381" y="3349"/>
                    <a:pt x="1396" y="3349"/>
                    <a:pt x="1426" y="3364"/>
                  </a:cubicBezTo>
                  <a:cubicBezTo>
                    <a:pt x="1440" y="3372"/>
                    <a:pt x="1463" y="3387"/>
                    <a:pt x="1470" y="3409"/>
                  </a:cubicBezTo>
                  <a:cubicBezTo>
                    <a:pt x="1478" y="3416"/>
                    <a:pt x="1485" y="3424"/>
                    <a:pt x="1485" y="3431"/>
                  </a:cubicBezTo>
                  <a:cubicBezTo>
                    <a:pt x="1492" y="3431"/>
                    <a:pt x="1500" y="3424"/>
                    <a:pt x="1500" y="3424"/>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4" name="Freeform 12">
              <a:extLst>
                <a:ext uri="{FF2B5EF4-FFF2-40B4-BE49-F238E27FC236}">
                  <a16:creationId xmlns:a16="http://schemas.microsoft.com/office/drawing/2014/main" id="{A35E7C15-51A0-E048-9433-DDDF4C159CA7}"/>
                </a:ext>
              </a:extLst>
            </p:cNvPr>
            <p:cNvSpPr>
              <a:spLocks noChangeArrowheads="1"/>
            </p:cNvSpPr>
            <p:nvPr/>
          </p:nvSpPr>
          <p:spPr bwMode="auto">
            <a:xfrm>
              <a:off x="12497600" y="6065177"/>
              <a:ext cx="1420243" cy="1072569"/>
            </a:xfrm>
            <a:custGeom>
              <a:avLst/>
              <a:gdLst>
                <a:gd name="T0" fmla="*/ 416 w 3284"/>
                <a:gd name="T1" fmla="*/ 312 h 2481"/>
                <a:gd name="T2" fmla="*/ 617 w 3284"/>
                <a:gd name="T3" fmla="*/ 527 h 2481"/>
                <a:gd name="T4" fmla="*/ 713 w 3284"/>
                <a:gd name="T5" fmla="*/ 660 h 2481"/>
                <a:gd name="T6" fmla="*/ 453 w 3284"/>
                <a:gd name="T7" fmla="*/ 749 h 2481"/>
                <a:gd name="T8" fmla="*/ 565 w 3284"/>
                <a:gd name="T9" fmla="*/ 883 h 2481"/>
                <a:gd name="T10" fmla="*/ 542 w 3284"/>
                <a:gd name="T11" fmla="*/ 1091 h 2481"/>
                <a:gd name="T12" fmla="*/ 802 w 3284"/>
                <a:gd name="T13" fmla="*/ 1277 h 2481"/>
                <a:gd name="T14" fmla="*/ 594 w 3284"/>
                <a:gd name="T15" fmla="*/ 1403 h 2481"/>
                <a:gd name="T16" fmla="*/ 424 w 3284"/>
                <a:gd name="T17" fmla="*/ 1470 h 2481"/>
                <a:gd name="T18" fmla="*/ 97 w 3284"/>
                <a:gd name="T19" fmla="*/ 1693 h 2481"/>
                <a:gd name="T20" fmla="*/ 75 w 3284"/>
                <a:gd name="T21" fmla="*/ 2064 h 2481"/>
                <a:gd name="T22" fmla="*/ 52 w 3284"/>
                <a:gd name="T23" fmla="*/ 2257 h 2481"/>
                <a:gd name="T24" fmla="*/ 468 w 3284"/>
                <a:gd name="T25" fmla="*/ 2250 h 2481"/>
                <a:gd name="T26" fmla="*/ 721 w 3284"/>
                <a:gd name="T27" fmla="*/ 2406 h 2481"/>
                <a:gd name="T28" fmla="*/ 966 w 3284"/>
                <a:gd name="T29" fmla="*/ 2391 h 2481"/>
                <a:gd name="T30" fmla="*/ 1166 w 3284"/>
                <a:gd name="T31" fmla="*/ 2443 h 2481"/>
                <a:gd name="T32" fmla="*/ 1471 w 3284"/>
                <a:gd name="T33" fmla="*/ 2331 h 2481"/>
                <a:gd name="T34" fmla="*/ 1560 w 3284"/>
                <a:gd name="T35" fmla="*/ 2242 h 2481"/>
                <a:gd name="T36" fmla="*/ 1612 w 3284"/>
                <a:gd name="T37" fmla="*/ 2108 h 2481"/>
                <a:gd name="T38" fmla="*/ 1827 w 3284"/>
                <a:gd name="T39" fmla="*/ 2138 h 2481"/>
                <a:gd name="T40" fmla="*/ 1983 w 3284"/>
                <a:gd name="T41" fmla="*/ 2316 h 2481"/>
                <a:gd name="T42" fmla="*/ 2117 w 3284"/>
                <a:gd name="T43" fmla="*/ 2316 h 2481"/>
                <a:gd name="T44" fmla="*/ 2213 w 3284"/>
                <a:gd name="T45" fmla="*/ 2302 h 2481"/>
                <a:gd name="T46" fmla="*/ 2406 w 3284"/>
                <a:gd name="T47" fmla="*/ 2227 h 2481"/>
                <a:gd name="T48" fmla="*/ 2518 w 3284"/>
                <a:gd name="T49" fmla="*/ 2049 h 2481"/>
                <a:gd name="T50" fmla="*/ 2748 w 3284"/>
                <a:gd name="T51" fmla="*/ 1782 h 2481"/>
                <a:gd name="T52" fmla="*/ 2904 w 3284"/>
                <a:gd name="T53" fmla="*/ 1730 h 2481"/>
                <a:gd name="T54" fmla="*/ 2963 w 3284"/>
                <a:gd name="T55" fmla="*/ 1544 h 2481"/>
                <a:gd name="T56" fmla="*/ 3149 w 3284"/>
                <a:gd name="T57" fmla="*/ 1500 h 2481"/>
                <a:gd name="T58" fmla="*/ 3001 w 3284"/>
                <a:gd name="T59" fmla="*/ 1099 h 2481"/>
                <a:gd name="T60" fmla="*/ 3142 w 3284"/>
                <a:gd name="T61" fmla="*/ 1017 h 2481"/>
                <a:gd name="T62" fmla="*/ 3231 w 3284"/>
                <a:gd name="T63" fmla="*/ 757 h 2481"/>
                <a:gd name="T64" fmla="*/ 3142 w 3284"/>
                <a:gd name="T65" fmla="*/ 705 h 2481"/>
                <a:gd name="T66" fmla="*/ 3097 w 3284"/>
                <a:gd name="T67" fmla="*/ 824 h 2481"/>
                <a:gd name="T68" fmla="*/ 2867 w 3284"/>
                <a:gd name="T69" fmla="*/ 787 h 2481"/>
                <a:gd name="T70" fmla="*/ 2659 w 3284"/>
                <a:gd name="T71" fmla="*/ 854 h 2481"/>
                <a:gd name="T72" fmla="*/ 2511 w 3284"/>
                <a:gd name="T73" fmla="*/ 794 h 2481"/>
                <a:gd name="T74" fmla="*/ 2421 w 3284"/>
                <a:gd name="T75" fmla="*/ 712 h 2481"/>
                <a:gd name="T76" fmla="*/ 2265 w 3284"/>
                <a:gd name="T77" fmla="*/ 802 h 2481"/>
                <a:gd name="T78" fmla="*/ 2102 w 3284"/>
                <a:gd name="T79" fmla="*/ 698 h 2481"/>
                <a:gd name="T80" fmla="*/ 1879 w 3284"/>
                <a:gd name="T81" fmla="*/ 660 h 2481"/>
                <a:gd name="T82" fmla="*/ 1738 w 3284"/>
                <a:gd name="T83" fmla="*/ 675 h 2481"/>
                <a:gd name="T84" fmla="*/ 1604 w 3284"/>
                <a:gd name="T85" fmla="*/ 653 h 2481"/>
                <a:gd name="T86" fmla="*/ 1426 w 3284"/>
                <a:gd name="T87" fmla="*/ 549 h 2481"/>
                <a:gd name="T88" fmla="*/ 1255 w 3284"/>
                <a:gd name="T89" fmla="*/ 490 h 2481"/>
                <a:gd name="T90" fmla="*/ 944 w 3284"/>
                <a:gd name="T91" fmla="*/ 386 h 2481"/>
                <a:gd name="T92" fmla="*/ 907 w 3284"/>
                <a:gd name="T93" fmla="*/ 133 h 2481"/>
                <a:gd name="T94" fmla="*/ 602 w 3284"/>
                <a:gd name="T95" fmla="*/ 29 h 2481"/>
                <a:gd name="T96" fmla="*/ 402 w 3284"/>
                <a:gd name="T97" fmla="*/ 74 h 2481"/>
                <a:gd name="T98" fmla="*/ 387 w 3284"/>
                <a:gd name="T99" fmla="*/ 193 h 2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4" h="2481">
                  <a:moveTo>
                    <a:pt x="387" y="193"/>
                  </a:moveTo>
                  <a:lnTo>
                    <a:pt x="387" y="193"/>
                  </a:lnTo>
                  <a:cubicBezTo>
                    <a:pt x="379" y="237"/>
                    <a:pt x="431" y="267"/>
                    <a:pt x="416" y="312"/>
                  </a:cubicBezTo>
                  <a:cubicBezTo>
                    <a:pt x="409" y="363"/>
                    <a:pt x="468" y="341"/>
                    <a:pt x="476" y="386"/>
                  </a:cubicBezTo>
                  <a:cubicBezTo>
                    <a:pt x="483" y="430"/>
                    <a:pt x="461" y="482"/>
                    <a:pt x="498" y="512"/>
                  </a:cubicBezTo>
                  <a:cubicBezTo>
                    <a:pt x="528" y="534"/>
                    <a:pt x="580" y="519"/>
                    <a:pt x="617" y="527"/>
                  </a:cubicBezTo>
                  <a:cubicBezTo>
                    <a:pt x="617" y="564"/>
                    <a:pt x="617" y="594"/>
                    <a:pt x="624" y="623"/>
                  </a:cubicBezTo>
                  <a:cubicBezTo>
                    <a:pt x="639" y="623"/>
                    <a:pt x="647" y="631"/>
                    <a:pt x="647" y="653"/>
                  </a:cubicBezTo>
                  <a:cubicBezTo>
                    <a:pt x="669" y="653"/>
                    <a:pt x="699" y="646"/>
                    <a:pt x="713" y="660"/>
                  </a:cubicBezTo>
                  <a:cubicBezTo>
                    <a:pt x="736" y="690"/>
                    <a:pt x="713" y="705"/>
                    <a:pt x="691" y="705"/>
                  </a:cubicBezTo>
                  <a:cubicBezTo>
                    <a:pt x="632" y="712"/>
                    <a:pt x="572" y="690"/>
                    <a:pt x="520" y="705"/>
                  </a:cubicBezTo>
                  <a:cubicBezTo>
                    <a:pt x="476" y="720"/>
                    <a:pt x="498" y="749"/>
                    <a:pt x="453" y="749"/>
                  </a:cubicBezTo>
                  <a:cubicBezTo>
                    <a:pt x="402" y="749"/>
                    <a:pt x="394" y="787"/>
                    <a:pt x="416" y="824"/>
                  </a:cubicBezTo>
                  <a:cubicBezTo>
                    <a:pt x="446" y="831"/>
                    <a:pt x="476" y="854"/>
                    <a:pt x="513" y="854"/>
                  </a:cubicBezTo>
                  <a:cubicBezTo>
                    <a:pt x="535" y="861"/>
                    <a:pt x="557" y="854"/>
                    <a:pt x="565" y="883"/>
                  </a:cubicBezTo>
                  <a:cubicBezTo>
                    <a:pt x="565" y="898"/>
                    <a:pt x="587" y="935"/>
                    <a:pt x="565" y="950"/>
                  </a:cubicBezTo>
                  <a:cubicBezTo>
                    <a:pt x="535" y="972"/>
                    <a:pt x="491" y="987"/>
                    <a:pt x="453" y="987"/>
                  </a:cubicBezTo>
                  <a:cubicBezTo>
                    <a:pt x="476" y="1039"/>
                    <a:pt x="520" y="1047"/>
                    <a:pt x="542" y="1091"/>
                  </a:cubicBezTo>
                  <a:cubicBezTo>
                    <a:pt x="557" y="1114"/>
                    <a:pt x="550" y="1136"/>
                    <a:pt x="572" y="1151"/>
                  </a:cubicBezTo>
                  <a:cubicBezTo>
                    <a:pt x="587" y="1165"/>
                    <a:pt x="602" y="1173"/>
                    <a:pt x="617" y="1180"/>
                  </a:cubicBezTo>
                  <a:cubicBezTo>
                    <a:pt x="684" y="1210"/>
                    <a:pt x="728" y="1262"/>
                    <a:pt x="802" y="1277"/>
                  </a:cubicBezTo>
                  <a:cubicBezTo>
                    <a:pt x="877" y="1299"/>
                    <a:pt x="877" y="1388"/>
                    <a:pt x="788" y="1381"/>
                  </a:cubicBezTo>
                  <a:cubicBezTo>
                    <a:pt x="750" y="1373"/>
                    <a:pt x="699" y="1336"/>
                    <a:pt x="661" y="1366"/>
                  </a:cubicBezTo>
                  <a:cubicBezTo>
                    <a:pt x="632" y="1381"/>
                    <a:pt x="632" y="1403"/>
                    <a:pt x="594" y="1403"/>
                  </a:cubicBezTo>
                  <a:cubicBezTo>
                    <a:pt x="602" y="1351"/>
                    <a:pt x="520" y="1336"/>
                    <a:pt x="505" y="1381"/>
                  </a:cubicBezTo>
                  <a:cubicBezTo>
                    <a:pt x="505" y="1403"/>
                    <a:pt x="505" y="1425"/>
                    <a:pt x="483" y="1440"/>
                  </a:cubicBezTo>
                  <a:cubicBezTo>
                    <a:pt x="461" y="1448"/>
                    <a:pt x="431" y="1448"/>
                    <a:pt x="424" y="1470"/>
                  </a:cubicBezTo>
                  <a:cubicBezTo>
                    <a:pt x="372" y="1477"/>
                    <a:pt x="357" y="1529"/>
                    <a:pt x="335" y="1566"/>
                  </a:cubicBezTo>
                  <a:cubicBezTo>
                    <a:pt x="312" y="1604"/>
                    <a:pt x="260" y="1604"/>
                    <a:pt x="223" y="1618"/>
                  </a:cubicBezTo>
                  <a:cubicBezTo>
                    <a:pt x="179" y="1648"/>
                    <a:pt x="149" y="1678"/>
                    <a:pt x="97" y="1693"/>
                  </a:cubicBezTo>
                  <a:cubicBezTo>
                    <a:pt x="52" y="1700"/>
                    <a:pt x="30" y="1737"/>
                    <a:pt x="15" y="1774"/>
                  </a:cubicBezTo>
                  <a:cubicBezTo>
                    <a:pt x="0" y="1834"/>
                    <a:pt x="0" y="1878"/>
                    <a:pt x="23" y="1930"/>
                  </a:cubicBezTo>
                  <a:cubicBezTo>
                    <a:pt x="37" y="1975"/>
                    <a:pt x="23" y="2027"/>
                    <a:pt x="75" y="2064"/>
                  </a:cubicBezTo>
                  <a:cubicBezTo>
                    <a:pt x="112" y="2094"/>
                    <a:pt x="142" y="2116"/>
                    <a:pt x="142" y="2175"/>
                  </a:cubicBezTo>
                  <a:cubicBezTo>
                    <a:pt x="134" y="2227"/>
                    <a:pt x="97" y="2242"/>
                    <a:pt x="52" y="2250"/>
                  </a:cubicBezTo>
                  <a:lnTo>
                    <a:pt x="52" y="2257"/>
                  </a:lnTo>
                  <a:cubicBezTo>
                    <a:pt x="82" y="2264"/>
                    <a:pt x="104" y="2272"/>
                    <a:pt x="119" y="2272"/>
                  </a:cubicBezTo>
                  <a:cubicBezTo>
                    <a:pt x="179" y="2316"/>
                    <a:pt x="283" y="2302"/>
                    <a:pt x="349" y="2309"/>
                  </a:cubicBezTo>
                  <a:cubicBezTo>
                    <a:pt x="416" y="2309"/>
                    <a:pt x="461" y="2324"/>
                    <a:pt x="468" y="2250"/>
                  </a:cubicBezTo>
                  <a:cubicBezTo>
                    <a:pt x="520" y="2242"/>
                    <a:pt x="535" y="2287"/>
                    <a:pt x="557" y="2331"/>
                  </a:cubicBezTo>
                  <a:cubicBezTo>
                    <a:pt x="580" y="2376"/>
                    <a:pt x="639" y="2316"/>
                    <a:pt x="669" y="2309"/>
                  </a:cubicBezTo>
                  <a:cubicBezTo>
                    <a:pt x="728" y="2294"/>
                    <a:pt x="721" y="2368"/>
                    <a:pt x="721" y="2406"/>
                  </a:cubicBezTo>
                  <a:cubicBezTo>
                    <a:pt x="728" y="2472"/>
                    <a:pt x="825" y="2480"/>
                    <a:pt x="877" y="2480"/>
                  </a:cubicBezTo>
                  <a:cubicBezTo>
                    <a:pt x="884" y="2458"/>
                    <a:pt x="884" y="2435"/>
                    <a:pt x="884" y="2413"/>
                  </a:cubicBezTo>
                  <a:cubicBezTo>
                    <a:pt x="914" y="2413"/>
                    <a:pt x="951" y="2421"/>
                    <a:pt x="966" y="2391"/>
                  </a:cubicBezTo>
                  <a:cubicBezTo>
                    <a:pt x="981" y="2368"/>
                    <a:pt x="973" y="2339"/>
                    <a:pt x="1018" y="2331"/>
                  </a:cubicBezTo>
                  <a:cubicBezTo>
                    <a:pt x="1070" y="2324"/>
                    <a:pt x="1070" y="2406"/>
                    <a:pt x="1114" y="2428"/>
                  </a:cubicBezTo>
                  <a:cubicBezTo>
                    <a:pt x="1129" y="2435"/>
                    <a:pt x="1152" y="2443"/>
                    <a:pt x="1166" y="2443"/>
                  </a:cubicBezTo>
                  <a:cubicBezTo>
                    <a:pt x="1189" y="2435"/>
                    <a:pt x="1189" y="2406"/>
                    <a:pt x="1211" y="2398"/>
                  </a:cubicBezTo>
                  <a:cubicBezTo>
                    <a:pt x="1241" y="2391"/>
                    <a:pt x="1307" y="2406"/>
                    <a:pt x="1307" y="2353"/>
                  </a:cubicBezTo>
                  <a:cubicBezTo>
                    <a:pt x="1359" y="2324"/>
                    <a:pt x="1411" y="2339"/>
                    <a:pt x="1471" y="2331"/>
                  </a:cubicBezTo>
                  <a:cubicBezTo>
                    <a:pt x="1486" y="2324"/>
                    <a:pt x="1493" y="2302"/>
                    <a:pt x="1493" y="2287"/>
                  </a:cubicBezTo>
                  <a:cubicBezTo>
                    <a:pt x="1501" y="2272"/>
                    <a:pt x="1508" y="2272"/>
                    <a:pt x="1530" y="2272"/>
                  </a:cubicBezTo>
                  <a:cubicBezTo>
                    <a:pt x="1545" y="2264"/>
                    <a:pt x="1560" y="2264"/>
                    <a:pt x="1560" y="2242"/>
                  </a:cubicBezTo>
                  <a:cubicBezTo>
                    <a:pt x="1567" y="2235"/>
                    <a:pt x="1567" y="2227"/>
                    <a:pt x="1567" y="2212"/>
                  </a:cubicBezTo>
                  <a:cubicBezTo>
                    <a:pt x="1567" y="2190"/>
                    <a:pt x="1590" y="2190"/>
                    <a:pt x="1597" y="2175"/>
                  </a:cubicBezTo>
                  <a:cubicBezTo>
                    <a:pt x="1604" y="2153"/>
                    <a:pt x="1582" y="2123"/>
                    <a:pt x="1612" y="2108"/>
                  </a:cubicBezTo>
                  <a:cubicBezTo>
                    <a:pt x="1627" y="2101"/>
                    <a:pt x="1664" y="2108"/>
                    <a:pt x="1686" y="2116"/>
                  </a:cubicBezTo>
                  <a:cubicBezTo>
                    <a:pt x="1686" y="2175"/>
                    <a:pt x="1790" y="2131"/>
                    <a:pt x="1820" y="2123"/>
                  </a:cubicBezTo>
                  <a:cubicBezTo>
                    <a:pt x="1827" y="2131"/>
                    <a:pt x="1827" y="2131"/>
                    <a:pt x="1827" y="2138"/>
                  </a:cubicBezTo>
                  <a:cubicBezTo>
                    <a:pt x="1835" y="2161"/>
                    <a:pt x="1857" y="2168"/>
                    <a:pt x="1872" y="2183"/>
                  </a:cubicBezTo>
                  <a:cubicBezTo>
                    <a:pt x="1901" y="2212"/>
                    <a:pt x="1879" y="2257"/>
                    <a:pt x="1879" y="2287"/>
                  </a:cubicBezTo>
                  <a:cubicBezTo>
                    <a:pt x="1931" y="2302"/>
                    <a:pt x="1983" y="2235"/>
                    <a:pt x="1983" y="2316"/>
                  </a:cubicBezTo>
                  <a:cubicBezTo>
                    <a:pt x="1991" y="2339"/>
                    <a:pt x="1976" y="2376"/>
                    <a:pt x="1991" y="2398"/>
                  </a:cubicBezTo>
                  <a:cubicBezTo>
                    <a:pt x="2006" y="2413"/>
                    <a:pt x="2050" y="2383"/>
                    <a:pt x="2050" y="2421"/>
                  </a:cubicBezTo>
                  <a:cubicBezTo>
                    <a:pt x="2117" y="2435"/>
                    <a:pt x="2102" y="2353"/>
                    <a:pt x="2117" y="2316"/>
                  </a:cubicBezTo>
                  <a:cubicBezTo>
                    <a:pt x="2124" y="2302"/>
                    <a:pt x="2139" y="2302"/>
                    <a:pt x="2154" y="2294"/>
                  </a:cubicBezTo>
                  <a:cubicBezTo>
                    <a:pt x="2161" y="2279"/>
                    <a:pt x="2154" y="2264"/>
                    <a:pt x="2169" y="2257"/>
                  </a:cubicBezTo>
                  <a:cubicBezTo>
                    <a:pt x="2199" y="2235"/>
                    <a:pt x="2213" y="2279"/>
                    <a:pt x="2213" y="2302"/>
                  </a:cubicBezTo>
                  <a:cubicBezTo>
                    <a:pt x="2243" y="2309"/>
                    <a:pt x="2295" y="2279"/>
                    <a:pt x="2295" y="2242"/>
                  </a:cubicBezTo>
                  <a:cubicBezTo>
                    <a:pt x="2332" y="2242"/>
                    <a:pt x="2347" y="2309"/>
                    <a:pt x="2392" y="2287"/>
                  </a:cubicBezTo>
                  <a:cubicBezTo>
                    <a:pt x="2399" y="2264"/>
                    <a:pt x="2377" y="2242"/>
                    <a:pt x="2406" y="2227"/>
                  </a:cubicBezTo>
                  <a:cubicBezTo>
                    <a:pt x="2421" y="2220"/>
                    <a:pt x="2451" y="2235"/>
                    <a:pt x="2458" y="2220"/>
                  </a:cubicBezTo>
                  <a:cubicBezTo>
                    <a:pt x="2473" y="2190"/>
                    <a:pt x="2473" y="2138"/>
                    <a:pt x="2473" y="2108"/>
                  </a:cubicBezTo>
                  <a:cubicBezTo>
                    <a:pt x="2473" y="2071"/>
                    <a:pt x="2511" y="2079"/>
                    <a:pt x="2518" y="2049"/>
                  </a:cubicBezTo>
                  <a:cubicBezTo>
                    <a:pt x="2540" y="1997"/>
                    <a:pt x="2481" y="1908"/>
                    <a:pt x="2570" y="1901"/>
                  </a:cubicBezTo>
                  <a:cubicBezTo>
                    <a:pt x="2614" y="1893"/>
                    <a:pt x="2622" y="1819"/>
                    <a:pt x="2637" y="1782"/>
                  </a:cubicBezTo>
                  <a:cubicBezTo>
                    <a:pt x="2674" y="1782"/>
                    <a:pt x="2711" y="1782"/>
                    <a:pt x="2748" y="1782"/>
                  </a:cubicBezTo>
                  <a:cubicBezTo>
                    <a:pt x="2756" y="1767"/>
                    <a:pt x="2741" y="1737"/>
                    <a:pt x="2770" y="1737"/>
                  </a:cubicBezTo>
                  <a:cubicBezTo>
                    <a:pt x="2770" y="1737"/>
                    <a:pt x="2770" y="1693"/>
                    <a:pt x="2778" y="1693"/>
                  </a:cubicBezTo>
                  <a:cubicBezTo>
                    <a:pt x="2822" y="1685"/>
                    <a:pt x="2867" y="1700"/>
                    <a:pt x="2904" y="1730"/>
                  </a:cubicBezTo>
                  <a:cubicBezTo>
                    <a:pt x="2911" y="1737"/>
                    <a:pt x="2948" y="1745"/>
                    <a:pt x="2978" y="1752"/>
                  </a:cubicBezTo>
                  <a:cubicBezTo>
                    <a:pt x="2986" y="1730"/>
                    <a:pt x="3023" y="1715"/>
                    <a:pt x="3038" y="1693"/>
                  </a:cubicBezTo>
                  <a:cubicBezTo>
                    <a:pt x="3008" y="1678"/>
                    <a:pt x="2956" y="1574"/>
                    <a:pt x="2963" y="1544"/>
                  </a:cubicBezTo>
                  <a:cubicBezTo>
                    <a:pt x="2986" y="1544"/>
                    <a:pt x="3008" y="1544"/>
                    <a:pt x="3030" y="1544"/>
                  </a:cubicBezTo>
                  <a:cubicBezTo>
                    <a:pt x="3030" y="1514"/>
                    <a:pt x="3038" y="1477"/>
                    <a:pt x="3075" y="1470"/>
                  </a:cubicBezTo>
                  <a:cubicBezTo>
                    <a:pt x="3105" y="1470"/>
                    <a:pt x="3119" y="1507"/>
                    <a:pt x="3149" y="1500"/>
                  </a:cubicBezTo>
                  <a:cubicBezTo>
                    <a:pt x="3142" y="1418"/>
                    <a:pt x="3142" y="1314"/>
                    <a:pt x="3038" y="1306"/>
                  </a:cubicBezTo>
                  <a:cubicBezTo>
                    <a:pt x="3030" y="1269"/>
                    <a:pt x="2986" y="1269"/>
                    <a:pt x="2971" y="1240"/>
                  </a:cubicBezTo>
                  <a:cubicBezTo>
                    <a:pt x="2956" y="1195"/>
                    <a:pt x="3001" y="1143"/>
                    <a:pt x="3001" y="1099"/>
                  </a:cubicBezTo>
                  <a:cubicBezTo>
                    <a:pt x="3023" y="1106"/>
                    <a:pt x="3045" y="1106"/>
                    <a:pt x="3067" y="1106"/>
                  </a:cubicBezTo>
                  <a:cubicBezTo>
                    <a:pt x="3067" y="1084"/>
                    <a:pt x="3075" y="1061"/>
                    <a:pt x="3090" y="1047"/>
                  </a:cubicBezTo>
                  <a:cubicBezTo>
                    <a:pt x="3097" y="1032"/>
                    <a:pt x="3134" y="1032"/>
                    <a:pt x="3142" y="1017"/>
                  </a:cubicBezTo>
                  <a:cubicBezTo>
                    <a:pt x="3156" y="995"/>
                    <a:pt x="3156" y="972"/>
                    <a:pt x="3186" y="957"/>
                  </a:cubicBezTo>
                  <a:cubicBezTo>
                    <a:pt x="3201" y="950"/>
                    <a:pt x="3223" y="943"/>
                    <a:pt x="3238" y="928"/>
                  </a:cubicBezTo>
                  <a:cubicBezTo>
                    <a:pt x="3283" y="876"/>
                    <a:pt x="3223" y="816"/>
                    <a:pt x="3231" y="757"/>
                  </a:cubicBezTo>
                  <a:cubicBezTo>
                    <a:pt x="3231" y="727"/>
                    <a:pt x="3246" y="683"/>
                    <a:pt x="3208" y="668"/>
                  </a:cubicBezTo>
                  <a:lnTo>
                    <a:pt x="3208" y="668"/>
                  </a:lnTo>
                  <a:cubicBezTo>
                    <a:pt x="3201" y="698"/>
                    <a:pt x="3194" y="705"/>
                    <a:pt x="3142" y="705"/>
                  </a:cubicBezTo>
                  <a:cubicBezTo>
                    <a:pt x="3149" y="698"/>
                    <a:pt x="3142" y="683"/>
                    <a:pt x="3142" y="683"/>
                  </a:cubicBezTo>
                  <a:cubicBezTo>
                    <a:pt x="3127" y="698"/>
                    <a:pt x="3127" y="727"/>
                    <a:pt x="3119" y="749"/>
                  </a:cubicBezTo>
                  <a:cubicBezTo>
                    <a:pt x="3119" y="772"/>
                    <a:pt x="3105" y="802"/>
                    <a:pt x="3097" y="824"/>
                  </a:cubicBezTo>
                  <a:cubicBezTo>
                    <a:pt x="3075" y="831"/>
                    <a:pt x="3030" y="749"/>
                    <a:pt x="3001" y="742"/>
                  </a:cubicBezTo>
                  <a:cubicBezTo>
                    <a:pt x="3001" y="749"/>
                    <a:pt x="2993" y="757"/>
                    <a:pt x="2993" y="764"/>
                  </a:cubicBezTo>
                  <a:cubicBezTo>
                    <a:pt x="2993" y="764"/>
                    <a:pt x="2874" y="787"/>
                    <a:pt x="2867" y="787"/>
                  </a:cubicBezTo>
                  <a:cubicBezTo>
                    <a:pt x="2852" y="794"/>
                    <a:pt x="2845" y="802"/>
                    <a:pt x="2830" y="802"/>
                  </a:cubicBezTo>
                  <a:cubicBezTo>
                    <a:pt x="2785" y="816"/>
                    <a:pt x="2748" y="779"/>
                    <a:pt x="2703" y="787"/>
                  </a:cubicBezTo>
                  <a:cubicBezTo>
                    <a:pt x="2666" y="794"/>
                    <a:pt x="2689" y="839"/>
                    <a:pt x="2659" y="854"/>
                  </a:cubicBezTo>
                  <a:cubicBezTo>
                    <a:pt x="2637" y="861"/>
                    <a:pt x="2614" y="816"/>
                    <a:pt x="2585" y="824"/>
                  </a:cubicBezTo>
                  <a:cubicBezTo>
                    <a:pt x="2585" y="816"/>
                    <a:pt x="2577" y="809"/>
                    <a:pt x="2577" y="802"/>
                  </a:cubicBezTo>
                  <a:cubicBezTo>
                    <a:pt x="2562" y="794"/>
                    <a:pt x="2533" y="802"/>
                    <a:pt x="2511" y="794"/>
                  </a:cubicBezTo>
                  <a:cubicBezTo>
                    <a:pt x="2511" y="757"/>
                    <a:pt x="2503" y="705"/>
                    <a:pt x="2488" y="668"/>
                  </a:cubicBezTo>
                  <a:cubicBezTo>
                    <a:pt x="2466" y="675"/>
                    <a:pt x="2466" y="698"/>
                    <a:pt x="2451" y="712"/>
                  </a:cubicBezTo>
                  <a:cubicBezTo>
                    <a:pt x="2436" y="720"/>
                    <a:pt x="2429" y="712"/>
                    <a:pt x="2421" y="712"/>
                  </a:cubicBezTo>
                  <a:cubicBezTo>
                    <a:pt x="2406" y="720"/>
                    <a:pt x="2406" y="727"/>
                    <a:pt x="2399" y="735"/>
                  </a:cubicBezTo>
                  <a:cubicBezTo>
                    <a:pt x="2362" y="772"/>
                    <a:pt x="2340" y="794"/>
                    <a:pt x="2280" y="779"/>
                  </a:cubicBezTo>
                  <a:cubicBezTo>
                    <a:pt x="2280" y="794"/>
                    <a:pt x="2273" y="794"/>
                    <a:pt x="2265" y="802"/>
                  </a:cubicBezTo>
                  <a:cubicBezTo>
                    <a:pt x="2251" y="802"/>
                    <a:pt x="2228" y="764"/>
                    <a:pt x="2213" y="757"/>
                  </a:cubicBezTo>
                  <a:cubicBezTo>
                    <a:pt x="2191" y="735"/>
                    <a:pt x="2161" y="727"/>
                    <a:pt x="2139" y="712"/>
                  </a:cubicBezTo>
                  <a:cubicBezTo>
                    <a:pt x="2124" y="712"/>
                    <a:pt x="2124" y="705"/>
                    <a:pt x="2102" y="698"/>
                  </a:cubicBezTo>
                  <a:cubicBezTo>
                    <a:pt x="2087" y="690"/>
                    <a:pt x="2072" y="690"/>
                    <a:pt x="2057" y="690"/>
                  </a:cubicBezTo>
                  <a:cubicBezTo>
                    <a:pt x="2035" y="683"/>
                    <a:pt x="1983" y="646"/>
                    <a:pt x="1976" y="668"/>
                  </a:cubicBezTo>
                  <a:cubicBezTo>
                    <a:pt x="1939" y="683"/>
                    <a:pt x="1909" y="675"/>
                    <a:pt x="1879" y="660"/>
                  </a:cubicBezTo>
                  <a:cubicBezTo>
                    <a:pt x="1857" y="646"/>
                    <a:pt x="1842" y="631"/>
                    <a:pt x="1812" y="631"/>
                  </a:cubicBezTo>
                  <a:cubicBezTo>
                    <a:pt x="1790" y="631"/>
                    <a:pt x="1790" y="638"/>
                    <a:pt x="1775" y="653"/>
                  </a:cubicBezTo>
                  <a:cubicBezTo>
                    <a:pt x="1760" y="660"/>
                    <a:pt x="1753" y="668"/>
                    <a:pt x="1738" y="675"/>
                  </a:cubicBezTo>
                  <a:cubicBezTo>
                    <a:pt x="1731" y="683"/>
                    <a:pt x="1701" y="705"/>
                    <a:pt x="1694" y="705"/>
                  </a:cubicBezTo>
                  <a:cubicBezTo>
                    <a:pt x="1679" y="705"/>
                    <a:pt x="1671" y="675"/>
                    <a:pt x="1656" y="668"/>
                  </a:cubicBezTo>
                  <a:cubicBezTo>
                    <a:pt x="1642" y="660"/>
                    <a:pt x="1619" y="653"/>
                    <a:pt x="1604" y="653"/>
                  </a:cubicBezTo>
                  <a:cubicBezTo>
                    <a:pt x="1597" y="594"/>
                    <a:pt x="1604" y="542"/>
                    <a:pt x="1604" y="482"/>
                  </a:cubicBezTo>
                  <a:cubicBezTo>
                    <a:pt x="1575" y="482"/>
                    <a:pt x="1538" y="475"/>
                    <a:pt x="1508" y="490"/>
                  </a:cubicBezTo>
                  <a:cubicBezTo>
                    <a:pt x="1493" y="497"/>
                    <a:pt x="1434" y="534"/>
                    <a:pt x="1426" y="549"/>
                  </a:cubicBezTo>
                  <a:cubicBezTo>
                    <a:pt x="1397" y="564"/>
                    <a:pt x="1404" y="579"/>
                    <a:pt x="1359" y="579"/>
                  </a:cubicBezTo>
                  <a:cubicBezTo>
                    <a:pt x="1337" y="579"/>
                    <a:pt x="1307" y="579"/>
                    <a:pt x="1285" y="557"/>
                  </a:cubicBezTo>
                  <a:cubicBezTo>
                    <a:pt x="1270" y="534"/>
                    <a:pt x="1285" y="504"/>
                    <a:pt x="1255" y="490"/>
                  </a:cubicBezTo>
                  <a:cubicBezTo>
                    <a:pt x="1241" y="482"/>
                    <a:pt x="1196" y="490"/>
                    <a:pt x="1181" y="490"/>
                  </a:cubicBezTo>
                  <a:cubicBezTo>
                    <a:pt x="1166" y="438"/>
                    <a:pt x="1129" y="423"/>
                    <a:pt x="1092" y="401"/>
                  </a:cubicBezTo>
                  <a:cubicBezTo>
                    <a:pt x="1047" y="378"/>
                    <a:pt x="996" y="401"/>
                    <a:pt x="944" y="386"/>
                  </a:cubicBezTo>
                  <a:cubicBezTo>
                    <a:pt x="877" y="371"/>
                    <a:pt x="899" y="326"/>
                    <a:pt x="921" y="282"/>
                  </a:cubicBezTo>
                  <a:cubicBezTo>
                    <a:pt x="929" y="259"/>
                    <a:pt x="929" y="237"/>
                    <a:pt x="929" y="215"/>
                  </a:cubicBezTo>
                  <a:cubicBezTo>
                    <a:pt x="921" y="185"/>
                    <a:pt x="914" y="163"/>
                    <a:pt x="907" y="133"/>
                  </a:cubicBezTo>
                  <a:cubicBezTo>
                    <a:pt x="839" y="118"/>
                    <a:pt x="728" y="148"/>
                    <a:pt x="676" y="81"/>
                  </a:cubicBezTo>
                  <a:cubicBezTo>
                    <a:pt x="669" y="74"/>
                    <a:pt x="669" y="52"/>
                    <a:pt x="654" y="37"/>
                  </a:cubicBezTo>
                  <a:cubicBezTo>
                    <a:pt x="647" y="29"/>
                    <a:pt x="624" y="37"/>
                    <a:pt x="602" y="29"/>
                  </a:cubicBezTo>
                  <a:cubicBezTo>
                    <a:pt x="580" y="22"/>
                    <a:pt x="580" y="0"/>
                    <a:pt x="550" y="7"/>
                  </a:cubicBezTo>
                  <a:cubicBezTo>
                    <a:pt x="535" y="37"/>
                    <a:pt x="550" y="44"/>
                    <a:pt x="513" y="52"/>
                  </a:cubicBezTo>
                  <a:cubicBezTo>
                    <a:pt x="468" y="52"/>
                    <a:pt x="439" y="52"/>
                    <a:pt x="402" y="74"/>
                  </a:cubicBezTo>
                  <a:cubicBezTo>
                    <a:pt x="387" y="74"/>
                    <a:pt x="372" y="89"/>
                    <a:pt x="357" y="96"/>
                  </a:cubicBezTo>
                  <a:cubicBezTo>
                    <a:pt x="349" y="96"/>
                    <a:pt x="342" y="96"/>
                    <a:pt x="327" y="96"/>
                  </a:cubicBezTo>
                  <a:cubicBezTo>
                    <a:pt x="335" y="141"/>
                    <a:pt x="349" y="193"/>
                    <a:pt x="387" y="193"/>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5" name="Freeform 13">
              <a:extLst>
                <a:ext uri="{FF2B5EF4-FFF2-40B4-BE49-F238E27FC236}">
                  <a16:creationId xmlns:a16="http://schemas.microsoft.com/office/drawing/2014/main" id="{20B6F649-44DA-C446-B214-3005CA1D069E}"/>
                </a:ext>
              </a:extLst>
            </p:cNvPr>
            <p:cNvSpPr>
              <a:spLocks noChangeArrowheads="1"/>
            </p:cNvSpPr>
            <p:nvPr/>
          </p:nvSpPr>
          <p:spPr bwMode="auto">
            <a:xfrm>
              <a:off x="9859191" y="4396311"/>
              <a:ext cx="867397" cy="956359"/>
            </a:xfrm>
            <a:custGeom>
              <a:avLst/>
              <a:gdLst>
                <a:gd name="T0" fmla="*/ 134 w 2006"/>
                <a:gd name="T1" fmla="*/ 1805 h 2214"/>
                <a:gd name="T2" fmla="*/ 379 w 2006"/>
                <a:gd name="T3" fmla="*/ 1790 h 2214"/>
                <a:gd name="T4" fmla="*/ 527 w 2006"/>
                <a:gd name="T5" fmla="*/ 1871 h 2214"/>
                <a:gd name="T6" fmla="*/ 817 w 2006"/>
                <a:gd name="T7" fmla="*/ 1916 h 2214"/>
                <a:gd name="T8" fmla="*/ 876 w 2006"/>
                <a:gd name="T9" fmla="*/ 2020 h 2214"/>
                <a:gd name="T10" fmla="*/ 884 w 2006"/>
                <a:gd name="T11" fmla="*/ 2205 h 2214"/>
                <a:gd name="T12" fmla="*/ 1077 w 2006"/>
                <a:gd name="T13" fmla="*/ 2020 h 2214"/>
                <a:gd name="T14" fmla="*/ 1404 w 2006"/>
                <a:gd name="T15" fmla="*/ 2079 h 2214"/>
                <a:gd name="T16" fmla="*/ 1471 w 2006"/>
                <a:gd name="T17" fmla="*/ 2050 h 2214"/>
                <a:gd name="T18" fmla="*/ 1552 w 2006"/>
                <a:gd name="T19" fmla="*/ 1975 h 2214"/>
                <a:gd name="T20" fmla="*/ 1552 w 2006"/>
                <a:gd name="T21" fmla="*/ 1760 h 2214"/>
                <a:gd name="T22" fmla="*/ 1723 w 2006"/>
                <a:gd name="T23" fmla="*/ 1819 h 2214"/>
                <a:gd name="T24" fmla="*/ 1768 w 2006"/>
                <a:gd name="T25" fmla="*/ 1715 h 2214"/>
                <a:gd name="T26" fmla="*/ 1872 w 2006"/>
                <a:gd name="T27" fmla="*/ 1656 h 2214"/>
                <a:gd name="T28" fmla="*/ 1901 w 2006"/>
                <a:gd name="T29" fmla="*/ 1552 h 2214"/>
                <a:gd name="T30" fmla="*/ 1991 w 2006"/>
                <a:gd name="T31" fmla="*/ 1515 h 2214"/>
                <a:gd name="T32" fmla="*/ 1916 w 2006"/>
                <a:gd name="T33" fmla="*/ 1359 h 2214"/>
                <a:gd name="T34" fmla="*/ 1901 w 2006"/>
                <a:gd name="T35" fmla="*/ 1359 h 2214"/>
                <a:gd name="T36" fmla="*/ 1864 w 2006"/>
                <a:gd name="T37" fmla="*/ 1277 h 2214"/>
                <a:gd name="T38" fmla="*/ 1946 w 2006"/>
                <a:gd name="T39" fmla="*/ 1173 h 2214"/>
                <a:gd name="T40" fmla="*/ 1805 w 2006"/>
                <a:gd name="T41" fmla="*/ 943 h 2214"/>
                <a:gd name="T42" fmla="*/ 1671 w 2006"/>
                <a:gd name="T43" fmla="*/ 817 h 2214"/>
                <a:gd name="T44" fmla="*/ 1515 w 2006"/>
                <a:gd name="T45" fmla="*/ 743 h 2214"/>
                <a:gd name="T46" fmla="*/ 1359 w 2006"/>
                <a:gd name="T47" fmla="*/ 394 h 2214"/>
                <a:gd name="T48" fmla="*/ 1226 w 2006"/>
                <a:gd name="T49" fmla="*/ 304 h 2214"/>
                <a:gd name="T50" fmla="*/ 1337 w 2006"/>
                <a:gd name="T51" fmla="*/ 141 h 2214"/>
                <a:gd name="T52" fmla="*/ 1352 w 2006"/>
                <a:gd name="T53" fmla="*/ 7 h 2214"/>
                <a:gd name="T54" fmla="*/ 1226 w 2006"/>
                <a:gd name="T55" fmla="*/ 67 h 2214"/>
                <a:gd name="T56" fmla="*/ 1107 w 2006"/>
                <a:gd name="T57" fmla="*/ 96 h 2214"/>
                <a:gd name="T58" fmla="*/ 1032 w 2006"/>
                <a:gd name="T59" fmla="*/ 260 h 2214"/>
                <a:gd name="T60" fmla="*/ 773 w 2006"/>
                <a:gd name="T61" fmla="*/ 304 h 2214"/>
                <a:gd name="T62" fmla="*/ 609 w 2006"/>
                <a:gd name="T63" fmla="*/ 446 h 2214"/>
                <a:gd name="T64" fmla="*/ 609 w 2006"/>
                <a:gd name="T65" fmla="*/ 639 h 2214"/>
                <a:gd name="T66" fmla="*/ 602 w 2006"/>
                <a:gd name="T67" fmla="*/ 720 h 2214"/>
                <a:gd name="T68" fmla="*/ 557 w 2006"/>
                <a:gd name="T69" fmla="*/ 928 h 2214"/>
                <a:gd name="T70" fmla="*/ 639 w 2006"/>
                <a:gd name="T71" fmla="*/ 906 h 2214"/>
                <a:gd name="T72" fmla="*/ 579 w 2006"/>
                <a:gd name="T73" fmla="*/ 973 h 2214"/>
                <a:gd name="T74" fmla="*/ 505 w 2006"/>
                <a:gd name="T75" fmla="*/ 1032 h 2214"/>
                <a:gd name="T76" fmla="*/ 349 w 2006"/>
                <a:gd name="T77" fmla="*/ 1188 h 2214"/>
                <a:gd name="T78" fmla="*/ 238 w 2006"/>
                <a:gd name="T79" fmla="*/ 1300 h 2214"/>
                <a:gd name="T80" fmla="*/ 112 w 2006"/>
                <a:gd name="T81" fmla="*/ 1381 h 2214"/>
                <a:gd name="T82" fmla="*/ 119 w 2006"/>
                <a:gd name="T83" fmla="*/ 1485 h 2214"/>
                <a:gd name="T84" fmla="*/ 8 w 2006"/>
                <a:gd name="T85" fmla="*/ 1686 h 2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6" h="2214">
                  <a:moveTo>
                    <a:pt x="52" y="1782"/>
                  </a:moveTo>
                  <a:lnTo>
                    <a:pt x="52" y="1782"/>
                  </a:lnTo>
                  <a:cubicBezTo>
                    <a:pt x="52" y="1812"/>
                    <a:pt x="112" y="1805"/>
                    <a:pt x="134" y="1805"/>
                  </a:cubicBezTo>
                  <a:cubicBezTo>
                    <a:pt x="179" y="1805"/>
                    <a:pt x="208" y="1812"/>
                    <a:pt x="253" y="1827"/>
                  </a:cubicBezTo>
                  <a:cubicBezTo>
                    <a:pt x="290" y="1842"/>
                    <a:pt x="334" y="1834"/>
                    <a:pt x="379" y="1842"/>
                  </a:cubicBezTo>
                  <a:cubicBezTo>
                    <a:pt x="379" y="1819"/>
                    <a:pt x="379" y="1797"/>
                    <a:pt x="379" y="1790"/>
                  </a:cubicBezTo>
                  <a:cubicBezTo>
                    <a:pt x="379" y="1797"/>
                    <a:pt x="379" y="1819"/>
                    <a:pt x="379" y="1842"/>
                  </a:cubicBezTo>
                  <a:cubicBezTo>
                    <a:pt x="379" y="1842"/>
                    <a:pt x="386" y="1842"/>
                    <a:pt x="394" y="1842"/>
                  </a:cubicBezTo>
                  <a:cubicBezTo>
                    <a:pt x="438" y="1849"/>
                    <a:pt x="476" y="1901"/>
                    <a:pt x="527" y="1871"/>
                  </a:cubicBezTo>
                  <a:cubicBezTo>
                    <a:pt x="527" y="1857"/>
                    <a:pt x="542" y="1857"/>
                    <a:pt x="550" y="1842"/>
                  </a:cubicBezTo>
                  <a:cubicBezTo>
                    <a:pt x="602" y="1842"/>
                    <a:pt x="691" y="1842"/>
                    <a:pt x="728" y="1894"/>
                  </a:cubicBezTo>
                  <a:cubicBezTo>
                    <a:pt x="780" y="1983"/>
                    <a:pt x="780" y="1879"/>
                    <a:pt x="817" y="1916"/>
                  </a:cubicBezTo>
                  <a:cubicBezTo>
                    <a:pt x="817" y="1923"/>
                    <a:pt x="802" y="2050"/>
                    <a:pt x="847" y="2005"/>
                  </a:cubicBezTo>
                  <a:cubicBezTo>
                    <a:pt x="854" y="1998"/>
                    <a:pt x="847" y="1983"/>
                    <a:pt x="862" y="1983"/>
                  </a:cubicBezTo>
                  <a:cubicBezTo>
                    <a:pt x="884" y="1983"/>
                    <a:pt x="876" y="2012"/>
                    <a:pt x="876" y="2020"/>
                  </a:cubicBezTo>
                  <a:cubicBezTo>
                    <a:pt x="876" y="2057"/>
                    <a:pt x="832" y="2079"/>
                    <a:pt x="824" y="2116"/>
                  </a:cubicBezTo>
                  <a:cubicBezTo>
                    <a:pt x="824" y="2124"/>
                    <a:pt x="854" y="2139"/>
                    <a:pt x="862" y="2146"/>
                  </a:cubicBezTo>
                  <a:cubicBezTo>
                    <a:pt x="876" y="2161"/>
                    <a:pt x="876" y="2183"/>
                    <a:pt x="884" y="2205"/>
                  </a:cubicBezTo>
                  <a:cubicBezTo>
                    <a:pt x="921" y="2213"/>
                    <a:pt x="929" y="2198"/>
                    <a:pt x="929" y="2161"/>
                  </a:cubicBezTo>
                  <a:cubicBezTo>
                    <a:pt x="929" y="2124"/>
                    <a:pt x="981" y="2102"/>
                    <a:pt x="995" y="2079"/>
                  </a:cubicBezTo>
                  <a:cubicBezTo>
                    <a:pt x="1018" y="2042"/>
                    <a:pt x="1032" y="2005"/>
                    <a:pt x="1077" y="2020"/>
                  </a:cubicBezTo>
                  <a:cubicBezTo>
                    <a:pt x="1114" y="2042"/>
                    <a:pt x="1151" y="2050"/>
                    <a:pt x="1196" y="2050"/>
                  </a:cubicBezTo>
                  <a:cubicBezTo>
                    <a:pt x="1188" y="1990"/>
                    <a:pt x="1329" y="1998"/>
                    <a:pt x="1329" y="2072"/>
                  </a:cubicBezTo>
                  <a:cubicBezTo>
                    <a:pt x="1359" y="2072"/>
                    <a:pt x="1381" y="2072"/>
                    <a:pt x="1404" y="2079"/>
                  </a:cubicBezTo>
                  <a:cubicBezTo>
                    <a:pt x="1441" y="2087"/>
                    <a:pt x="1419" y="2072"/>
                    <a:pt x="1448" y="2057"/>
                  </a:cubicBezTo>
                  <a:cubicBezTo>
                    <a:pt x="1448" y="2050"/>
                    <a:pt x="1456" y="2042"/>
                    <a:pt x="1456" y="2035"/>
                  </a:cubicBezTo>
                  <a:cubicBezTo>
                    <a:pt x="1463" y="2042"/>
                    <a:pt x="1471" y="2042"/>
                    <a:pt x="1471" y="2050"/>
                  </a:cubicBezTo>
                  <a:cubicBezTo>
                    <a:pt x="1486" y="2042"/>
                    <a:pt x="1478" y="2027"/>
                    <a:pt x="1493" y="2020"/>
                  </a:cubicBezTo>
                  <a:cubicBezTo>
                    <a:pt x="1500" y="2012"/>
                    <a:pt x="1523" y="2020"/>
                    <a:pt x="1530" y="2012"/>
                  </a:cubicBezTo>
                  <a:cubicBezTo>
                    <a:pt x="1537" y="1998"/>
                    <a:pt x="1552" y="1990"/>
                    <a:pt x="1552" y="1975"/>
                  </a:cubicBezTo>
                  <a:cubicBezTo>
                    <a:pt x="1515" y="1983"/>
                    <a:pt x="1523" y="1923"/>
                    <a:pt x="1523" y="1901"/>
                  </a:cubicBezTo>
                  <a:cubicBezTo>
                    <a:pt x="1530" y="1886"/>
                    <a:pt x="1537" y="1871"/>
                    <a:pt x="1537" y="1857"/>
                  </a:cubicBezTo>
                  <a:cubicBezTo>
                    <a:pt x="1552" y="1827"/>
                    <a:pt x="1545" y="1790"/>
                    <a:pt x="1552" y="1760"/>
                  </a:cubicBezTo>
                  <a:cubicBezTo>
                    <a:pt x="1575" y="1767"/>
                    <a:pt x="1656" y="1812"/>
                    <a:pt x="1664" y="1775"/>
                  </a:cubicBezTo>
                  <a:cubicBezTo>
                    <a:pt x="1664" y="1730"/>
                    <a:pt x="1701" y="1723"/>
                    <a:pt x="1708" y="1767"/>
                  </a:cubicBezTo>
                  <a:cubicBezTo>
                    <a:pt x="1716" y="1782"/>
                    <a:pt x="1716" y="1805"/>
                    <a:pt x="1723" y="1819"/>
                  </a:cubicBezTo>
                  <a:cubicBezTo>
                    <a:pt x="1745" y="1849"/>
                    <a:pt x="1760" y="1812"/>
                    <a:pt x="1768" y="1805"/>
                  </a:cubicBezTo>
                  <a:cubicBezTo>
                    <a:pt x="1797" y="1782"/>
                    <a:pt x="1812" y="1790"/>
                    <a:pt x="1812" y="1753"/>
                  </a:cubicBezTo>
                  <a:cubicBezTo>
                    <a:pt x="1812" y="1723"/>
                    <a:pt x="1797" y="1715"/>
                    <a:pt x="1768" y="1715"/>
                  </a:cubicBezTo>
                  <a:cubicBezTo>
                    <a:pt x="1768" y="1708"/>
                    <a:pt x="1768" y="1700"/>
                    <a:pt x="1768" y="1700"/>
                  </a:cubicBezTo>
                  <a:cubicBezTo>
                    <a:pt x="1790" y="1700"/>
                    <a:pt x="1797" y="1678"/>
                    <a:pt x="1812" y="1671"/>
                  </a:cubicBezTo>
                  <a:cubicBezTo>
                    <a:pt x="1827" y="1656"/>
                    <a:pt x="1849" y="1656"/>
                    <a:pt x="1872" y="1656"/>
                  </a:cubicBezTo>
                  <a:cubicBezTo>
                    <a:pt x="1872" y="1634"/>
                    <a:pt x="1879" y="1619"/>
                    <a:pt x="1872" y="1597"/>
                  </a:cubicBezTo>
                  <a:cubicBezTo>
                    <a:pt x="1849" y="1597"/>
                    <a:pt x="1849" y="1582"/>
                    <a:pt x="1857" y="1560"/>
                  </a:cubicBezTo>
                  <a:cubicBezTo>
                    <a:pt x="1864" y="1545"/>
                    <a:pt x="1886" y="1545"/>
                    <a:pt x="1901" y="1552"/>
                  </a:cubicBezTo>
                  <a:cubicBezTo>
                    <a:pt x="1901" y="1567"/>
                    <a:pt x="1923" y="1574"/>
                    <a:pt x="1938" y="1574"/>
                  </a:cubicBezTo>
                  <a:cubicBezTo>
                    <a:pt x="1961" y="1582"/>
                    <a:pt x="1961" y="1611"/>
                    <a:pt x="1976" y="1634"/>
                  </a:cubicBezTo>
                  <a:cubicBezTo>
                    <a:pt x="1998" y="1634"/>
                    <a:pt x="1991" y="1530"/>
                    <a:pt x="1991" y="1515"/>
                  </a:cubicBezTo>
                  <a:cubicBezTo>
                    <a:pt x="1991" y="1485"/>
                    <a:pt x="2005" y="1455"/>
                    <a:pt x="1983" y="1433"/>
                  </a:cubicBezTo>
                  <a:cubicBezTo>
                    <a:pt x="1953" y="1418"/>
                    <a:pt x="1938" y="1389"/>
                    <a:pt x="1923" y="1352"/>
                  </a:cubicBezTo>
                  <a:cubicBezTo>
                    <a:pt x="1923" y="1359"/>
                    <a:pt x="1923" y="1359"/>
                    <a:pt x="1916" y="1359"/>
                  </a:cubicBezTo>
                  <a:cubicBezTo>
                    <a:pt x="1916" y="1359"/>
                    <a:pt x="1916" y="1366"/>
                    <a:pt x="1916" y="1359"/>
                  </a:cubicBezTo>
                  <a:cubicBezTo>
                    <a:pt x="1916" y="1366"/>
                    <a:pt x="1916" y="1359"/>
                    <a:pt x="1916" y="1359"/>
                  </a:cubicBezTo>
                  <a:cubicBezTo>
                    <a:pt x="1909" y="1366"/>
                    <a:pt x="1901" y="1366"/>
                    <a:pt x="1901" y="1359"/>
                  </a:cubicBezTo>
                  <a:lnTo>
                    <a:pt x="1879" y="1329"/>
                  </a:lnTo>
                  <a:cubicBezTo>
                    <a:pt x="1872" y="1322"/>
                    <a:pt x="1879" y="1314"/>
                    <a:pt x="1879" y="1300"/>
                  </a:cubicBezTo>
                  <a:cubicBezTo>
                    <a:pt x="1872" y="1292"/>
                    <a:pt x="1857" y="1292"/>
                    <a:pt x="1864" y="1277"/>
                  </a:cubicBezTo>
                  <a:cubicBezTo>
                    <a:pt x="1872" y="1263"/>
                    <a:pt x="1909" y="1173"/>
                    <a:pt x="1931" y="1173"/>
                  </a:cubicBezTo>
                  <a:cubicBezTo>
                    <a:pt x="1931" y="1173"/>
                    <a:pt x="1946" y="1181"/>
                    <a:pt x="1953" y="1188"/>
                  </a:cubicBezTo>
                  <a:cubicBezTo>
                    <a:pt x="1953" y="1188"/>
                    <a:pt x="1946" y="1181"/>
                    <a:pt x="1946" y="1173"/>
                  </a:cubicBezTo>
                  <a:cubicBezTo>
                    <a:pt x="1894" y="1136"/>
                    <a:pt x="1834" y="1151"/>
                    <a:pt x="1797" y="1092"/>
                  </a:cubicBezTo>
                  <a:cubicBezTo>
                    <a:pt x="1783" y="1069"/>
                    <a:pt x="1790" y="1055"/>
                    <a:pt x="1805" y="1025"/>
                  </a:cubicBezTo>
                  <a:cubicBezTo>
                    <a:pt x="1812" y="1010"/>
                    <a:pt x="1797" y="965"/>
                    <a:pt x="1805" y="943"/>
                  </a:cubicBezTo>
                  <a:cubicBezTo>
                    <a:pt x="1797" y="943"/>
                    <a:pt x="1790" y="943"/>
                    <a:pt x="1790" y="943"/>
                  </a:cubicBezTo>
                  <a:cubicBezTo>
                    <a:pt x="1790" y="891"/>
                    <a:pt x="1768" y="913"/>
                    <a:pt x="1731" y="906"/>
                  </a:cubicBezTo>
                  <a:cubicBezTo>
                    <a:pt x="1701" y="898"/>
                    <a:pt x="1686" y="847"/>
                    <a:pt x="1671" y="817"/>
                  </a:cubicBezTo>
                  <a:cubicBezTo>
                    <a:pt x="1649" y="780"/>
                    <a:pt x="1634" y="787"/>
                    <a:pt x="1626" y="824"/>
                  </a:cubicBezTo>
                  <a:cubicBezTo>
                    <a:pt x="1612" y="876"/>
                    <a:pt x="1560" y="861"/>
                    <a:pt x="1523" y="854"/>
                  </a:cubicBezTo>
                  <a:cubicBezTo>
                    <a:pt x="1523" y="817"/>
                    <a:pt x="1530" y="780"/>
                    <a:pt x="1515" y="743"/>
                  </a:cubicBezTo>
                  <a:cubicBezTo>
                    <a:pt x="1508" y="713"/>
                    <a:pt x="1486" y="683"/>
                    <a:pt x="1463" y="661"/>
                  </a:cubicBezTo>
                  <a:cubicBezTo>
                    <a:pt x="1448" y="639"/>
                    <a:pt x="1329" y="490"/>
                    <a:pt x="1426" y="512"/>
                  </a:cubicBezTo>
                  <a:cubicBezTo>
                    <a:pt x="1433" y="490"/>
                    <a:pt x="1374" y="408"/>
                    <a:pt x="1359" y="394"/>
                  </a:cubicBezTo>
                  <a:cubicBezTo>
                    <a:pt x="1337" y="364"/>
                    <a:pt x="1292" y="356"/>
                    <a:pt x="1263" y="342"/>
                  </a:cubicBezTo>
                  <a:cubicBezTo>
                    <a:pt x="1240" y="327"/>
                    <a:pt x="1203" y="342"/>
                    <a:pt x="1181" y="319"/>
                  </a:cubicBezTo>
                  <a:cubicBezTo>
                    <a:pt x="1188" y="304"/>
                    <a:pt x="1211" y="312"/>
                    <a:pt x="1226" y="304"/>
                  </a:cubicBezTo>
                  <a:cubicBezTo>
                    <a:pt x="1248" y="290"/>
                    <a:pt x="1233" y="260"/>
                    <a:pt x="1233" y="238"/>
                  </a:cubicBezTo>
                  <a:cubicBezTo>
                    <a:pt x="1226" y="186"/>
                    <a:pt x="1278" y="201"/>
                    <a:pt x="1315" y="201"/>
                  </a:cubicBezTo>
                  <a:cubicBezTo>
                    <a:pt x="1307" y="201"/>
                    <a:pt x="1337" y="141"/>
                    <a:pt x="1337" y="141"/>
                  </a:cubicBezTo>
                  <a:cubicBezTo>
                    <a:pt x="1352" y="119"/>
                    <a:pt x="1381" y="111"/>
                    <a:pt x="1411" y="111"/>
                  </a:cubicBezTo>
                  <a:cubicBezTo>
                    <a:pt x="1411" y="82"/>
                    <a:pt x="1381" y="59"/>
                    <a:pt x="1367" y="37"/>
                  </a:cubicBezTo>
                  <a:cubicBezTo>
                    <a:pt x="1367" y="37"/>
                    <a:pt x="1359" y="22"/>
                    <a:pt x="1352" y="7"/>
                  </a:cubicBezTo>
                  <a:cubicBezTo>
                    <a:pt x="1344" y="7"/>
                    <a:pt x="1337" y="0"/>
                    <a:pt x="1329" y="30"/>
                  </a:cubicBezTo>
                  <a:cubicBezTo>
                    <a:pt x="1322" y="52"/>
                    <a:pt x="1322" y="59"/>
                    <a:pt x="1292" y="67"/>
                  </a:cubicBezTo>
                  <a:cubicBezTo>
                    <a:pt x="1270" y="67"/>
                    <a:pt x="1248" y="59"/>
                    <a:pt x="1226" y="67"/>
                  </a:cubicBezTo>
                  <a:cubicBezTo>
                    <a:pt x="1226" y="89"/>
                    <a:pt x="1188" y="82"/>
                    <a:pt x="1188" y="119"/>
                  </a:cubicBezTo>
                  <a:cubicBezTo>
                    <a:pt x="1159" y="119"/>
                    <a:pt x="1144" y="111"/>
                    <a:pt x="1114" y="96"/>
                  </a:cubicBezTo>
                  <a:lnTo>
                    <a:pt x="1107" y="96"/>
                  </a:lnTo>
                  <a:cubicBezTo>
                    <a:pt x="1107" y="126"/>
                    <a:pt x="1092" y="156"/>
                    <a:pt x="1092" y="178"/>
                  </a:cubicBezTo>
                  <a:cubicBezTo>
                    <a:pt x="1092" y="201"/>
                    <a:pt x="1084" y="208"/>
                    <a:pt x="1070" y="223"/>
                  </a:cubicBezTo>
                  <a:cubicBezTo>
                    <a:pt x="1055" y="238"/>
                    <a:pt x="1040" y="238"/>
                    <a:pt x="1032" y="260"/>
                  </a:cubicBezTo>
                  <a:cubicBezTo>
                    <a:pt x="981" y="260"/>
                    <a:pt x="936" y="260"/>
                    <a:pt x="884" y="260"/>
                  </a:cubicBezTo>
                  <a:cubicBezTo>
                    <a:pt x="862" y="260"/>
                    <a:pt x="824" y="253"/>
                    <a:pt x="810" y="260"/>
                  </a:cubicBezTo>
                  <a:cubicBezTo>
                    <a:pt x="787" y="275"/>
                    <a:pt x="795" y="304"/>
                    <a:pt x="773" y="304"/>
                  </a:cubicBezTo>
                  <a:cubicBezTo>
                    <a:pt x="765" y="364"/>
                    <a:pt x="721" y="342"/>
                    <a:pt x="684" y="356"/>
                  </a:cubicBezTo>
                  <a:cubicBezTo>
                    <a:pt x="661" y="364"/>
                    <a:pt x="646" y="379"/>
                    <a:pt x="631" y="394"/>
                  </a:cubicBezTo>
                  <a:cubicBezTo>
                    <a:pt x="609" y="416"/>
                    <a:pt x="617" y="416"/>
                    <a:pt x="609" y="446"/>
                  </a:cubicBezTo>
                  <a:cubicBezTo>
                    <a:pt x="594" y="475"/>
                    <a:pt x="587" y="446"/>
                    <a:pt x="565" y="461"/>
                  </a:cubicBezTo>
                  <a:cubicBezTo>
                    <a:pt x="550" y="475"/>
                    <a:pt x="579" y="527"/>
                    <a:pt x="587" y="542"/>
                  </a:cubicBezTo>
                  <a:cubicBezTo>
                    <a:pt x="609" y="572"/>
                    <a:pt x="617" y="601"/>
                    <a:pt x="609" y="639"/>
                  </a:cubicBezTo>
                  <a:cubicBezTo>
                    <a:pt x="602" y="639"/>
                    <a:pt x="594" y="646"/>
                    <a:pt x="587" y="653"/>
                  </a:cubicBezTo>
                  <a:cubicBezTo>
                    <a:pt x="624" y="653"/>
                    <a:pt x="631" y="661"/>
                    <a:pt x="631" y="698"/>
                  </a:cubicBezTo>
                  <a:cubicBezTo>
                    <a:pt x="631" y="706"/>
                    <a:pt x="602" y="713"/>
                    <a:pt x="602" y="720"/>
                  </a:cubicBezTo>
                  <a:cubicBezTo>
                    <a:pt x="587" y="728"/>
                    <a:pt x="572" y="743"/>
                    <a:pt x="565" y="758"/>
                  </a:cubicBezTo>
                  <a:cubicBezTo>
                    <a:pt x="557" y="780"/>
                    <a:pt x="520" y="913"/>
                    <a:pt x="557" y="913"/>
                  </a:cubicBezTo>
                  <a:cubicBezTo>
                    <a:pt x="557" y="921"/>
                    <a:pt x="557" y="921"/>
                    <a:pt x="557" y="928"/>
                  </a:cubicBezTo>
                  <a:cubicBezTo>
                    <a:pt x="565" y="928"/>
                    <a:pt x="579" y="928"/>
                    <a:pt x="587" y="928"/>
                  </a:cubicBezTo>
                  <a:cubicBezTo>
                    <a:pt x="587" y="921"/>
                    <a:pt x="594" y="913"/>
                    <a:pt x="587" y="906"/>
                  </a:cubicBezTo>
                  <a:cubicBezTo>
                    <a:pt x="609" y="906"/>
                    <a:pt x="624" y="906"/>
                    <a:pt x="639" y="906"/>
                  </a:cubicBezTo>
                  <a:cubicBezTo>
                    <a:pt x="646" y="921"/>
                    <a:pt x="646" y="936"/>
                    <a:pt x="639" y="943"/>
                  </a:cubicBezTo>
                  <a:cubicBezTo>
                    <a:pt x="631" y="958"/>
                    <a:pt x="609" y="943"/>
                    <a:pt x="602" y="951"/>
                  </a:cubicBezTo>
                  <a:cubicBezTo>
                    <a:pt x="587" y="951"/>
                    <a:pt x="594" y="958"/>
                    <a:pt x="579" y="973"/>
                  </a:cubicBezTo>
                  <a:cubicBezTo>
                    <a:pt x="565" y="988"/>
                    <a:pt x="565" y="980"/>
                    <a:pt x="550" y="988"/>
                  </a:cubicBezTo>
                  <a:cubicBezTo>
                    <a:pt x="535" y="995"/>
                    <a:pt x="535" y="988"/>
                    <a:pt x="527" y="1003"/>
                  </a:cubicBezTo>
                  <a:cubicBezTo>
                    <a:pt x="520" y="1017"/>
                    <a:pt x="513" y="1025"/>
                    <a:pt x="505" y="1032"/>
                  </a:cubicBezTo>
                  <a:cubicBezTo>
                    <a:pt x="483" y="1055"/>
                    <a:pt x="468" y="1069"/>
                    <a:pt x="446" y="1092"/>
                  </a:cubicBezTo>
                  <a:cubicBezTo>
                    <a:pt x="431" y="1114"/>
                    <a:pt x="409" y="1114"/>
                    <a:pt x="386" y="1129"/>
                  </a:cubicBezTo>
                  <a:cubicBezTo>
                    <a:pt x="349" y="1136"/>
                    <a:pt x="364" y="1158"/>
                    <a:pt x="349" y="1188"/>
                  </a:cubicBezTo>
                  <a:cubicBezTo>
                    <a:pt x="342" y="1203"/>
                    <a:pt x="312" y="1210"/>
                    <a:pt x="297" y="1225"/>
                  </a:cubicBezTo>
                  <a:cubicBezTo>
                    <a:pt x="282" y="1255"/>
                    <a:pt x="275" y="1263"/>
                    <a:pt x="245" y="1263"/>
                  </a:cubicBezTo>
                  <a:cubicBezTo>
                    <a:pt x="245" y="1270"/>
                    <a:pt x="245" y="1285"/>
                    <a:pt x="238" y="1300"/>
                  </a:cubicBezTo>
                  <a:cubicBezTo>
                    <a:pt x="216" y="1307"/>
                    <a:pt x="208" y="1337"/>
                    <a:pt x="186" y="1344"/>
                  </a:cubicBezTo>
                  <a:cubicBezTo>
                    <a:pt x="186" y="1344"/>
                    <a:pt x="186" y="1344"/>
                    <a:pt x="186" y="1352"/>
                  </a:cubicBezTo>
                  <a:cubicBezTo>
                    <a:pt x="164" y="1352"/>
                    <a:pt x="112" y="1344"/>
                    <a:pt x="112" y="1381"/>
                  </a:cubicBezTo>
                  <a:cubicBezTo>
                    <a:pt x="134" y="1381"/>
                    <a:pt x="141" y="1389"/>
                    <a:pt x="141" y="1411"/>
                  </a:cubicBezTo>
                  <a:cubicBezTo>
                    <a:pt x="141" y="1411"/>
                    <a:pt x="97" y="1418"/>
                    <a:pt x="89" y="1418"/>
                  </a:cubicBezTo>
                  <a:cubicBezTo>
                    <a:pt x="67" y="1448"/>
                    <a:pt x="89" y="1470"/>
                    <a:pt x="119" y="1485"/>
                  </a:cubicBezTo>
                  <a:cubicBezTo>
                    <a:pt x="119" y="1522"/>
                    <a:pt x="112" y="1560"/>
                    <a:pt x="104" y="1597"/>
                  </a:cubicBezTo>
                  <a:cubicBezTo>
                    <a:pt x="97" y="1626"/>
                    <a:pt x="104" y="1626"/>
                    <a:pt x="74" y="1641"/>
                  </a:cubicBezTo>
                  <a:cubicBezTo>
                    <a:pt x="45" y="1656"/>
                    <a:pt x="30" y="1663"/>
                    <a:pt x="8" y="1686"/>
                  </a:cubicBezTo>
                  <a:cubicBezTo>
                    <a:pt x="8" y="1693"/>
                    <a:pt x="0" y="1700"/>
                    <a:pt x="0" y="1708"/>
                  </a:cubicBezTo>
                  <a:cubicBezTo>
                    <a:pt x="30" y="1723"/>
                    <a:pt x="60" y="1745"/>
                    <a:pt x="52" y="1782"/>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6" name="Freeform 14">
              <a:extLst>
                <a:ext uri="{FF2B5EF4-FFF2-40B4-BE49-F238E27FC236}">
                  <a16:creationId xmlns:a16="http://schemas.microsoft.com/office/drawing/2014/main" id="{DCE64A2E-A8D7-E949-9C74-C8C91D6DC5C0}"/>
                </a:ext>
              </a:extLst>
            </p:cNvPr>
            <p:cNvSpPr>
              <a:spLocks noChangeArrowheads="1"/>
            </p:cNvSpPr>
            <p:nvPr/>
          </p:nvSpPr>
          <p:spPr bwMode="auto">
            <a:xfrm>
              <a:off x="11531073" y="7162513"/>
              <a:ext cx="1256294" cy="2027024"/>
            </a:xfrm>
            <a:custGeom>
              <a:avLst/>
              <a:gdLst>
                <a:gd name="T0" fmla="*/ 2903 w 2904"/>
                <a:gd name="T1" fmla="*/ 839 h 4694"/>
                <a:gd name="T2" fmla="*/ 2673 w 2904"/>
                <a:gd name="T3" fmla="*/ 609 h 4694"/>
                <a:gd name="T4" fmla="*/ 2546 w 2904"/>
                <a:gd name="T5" fmla="*/ 305 h 4694"/>
                <a:gd name="T6" fmla="*/ 2361 w 2904"/>
                <a:gd name="T7" fmla="*/ 60 h 4694"/>
                <a:gd name="T8" fmla="*/ 2212 w 2904"/>
                <a:gd name="T9" fmla="*/ 45 h 4694"/>
                <a:gd name="T10" fmla="*/ 1960 w 2904"/>
                <a:gd name="T11" fmla="*/ 141 h 4694"/>
                <a:gd name="T12" fmla="*/ 1767 w 2904"/>
                <a:gd name="T13" fmla="*/ 178 h 4694"/>
                <a:gd name="T14" fmla="*/ 1671 w 2904"/>
                <a:gd name="T15" fmla="*/ 297 h 4694"/>
                <a:gd name="T16" fmla="*/ 1463 w 2904"/>
                <a:gd name="T17" fmla="*/ 245 h 4694"/>
                <a:gd name="T18" fmla="*/ 1099 w 2904"/>
                <a:gd name="T19" fmla="*/ 305 h 4694"/>
                <a:gd name="T20" fmla="*/ 1248 w 2904"/>
                <a:gd name="T21" fmla="*/ 438 h 4694"/>
                <a:gd name="T22" fmla="*/ 1270 w 2904"/>
                <a:gd name="T23" fmla="*/ 772 h 4694"/>
                <a:gd name="T24" fmla="*/ 1166 w 2904"/>
                <a:gd name="T25" fmla="*/ 943 h 4694"/>
                <a:gd name="T26" fmla="*/ 1040 w 2904"/>
                <a:gd name="T27" fmla="*/ 1113 h 4694"/>
                <a:gd name="T28" fmla="*/ 832 w 2904"/>
                <a:gd name="T29" fmla="*/ 1180 h 4694"/>
                <a:gd name="T30" fmla="*/ 654 w 2904"/>
                <a:gd name="T31" fmla="*/ 1321 h 4694"/>
                <a:gd name="T32" fmla="*/ 542 w 2904"/>
                <a:gd name="T33" fmla="*/ 1447 h 4694"/>
                <a:gd name="T34" fmla="*/ 505 w 2904"/>
                <a:gd name="T35" fmla="*/ 1648 h 4694"/>
                <a:gd name="T36" fmla="*/ 357 w 2904"/>
                <a:gd name="T37" fmla="*/ 2101 h 4694"/>
                <a:gd name="T38" fmla="*/ 193 w 2904"/>
                <a:gd name="T39" fmla="*/ 2145 h 4694"/>
                <a:gd name="T40" fmla="*/ 282 w 2904"/>
                <a:gd name="T41" fmla="*/ 2338 h 4694"/>
                <a:gd name="T42" fmla="*/ 305 w 2904"/>
                <a:gd name="T43" fmla="*/ 2650 h 4694"/>
                <a:gd name="T44" fmla="*/ 163 w 2904"/>
                <a:gd name="T45" fmla="*/ 2836 h 4694"/>
                <a:gd name="T46" fmla="*/ 253 w 2904"/>
                <a:gd name="T47" fmla="*/ 2962 h 4694"/>
                <a:gd name="T48" fmla="*/ 178 w 2904"/>
                <a:gd name="T49" fmla="*/ 3155 h 4694"/>
                <a:gd name="T50" fmla="*/ 379 w 2904"/>
                <a:gd name="T51" fmla="*/ 3281 h 4694"/>
                <a:gd name="T52" fmla="*/ 468 w 2904"/>
                <a:gd name="T53" fmla="*/ 3430 h 4694"/>
                <a:gd name="T54" fmla="*/ 446 w 2904"/>
                <a:gd name="T55" fmla="*/ 3497 h 4694"/>
                <a:gd name="T56" fmla="*/ 260 w 2904"/>
                <a:gd name="T57" fmla="*/ 3452 h 4694"/>
                <a:gd name="T58" fmla="*/ 67 w 2904"/>
                <a:gd name="T59" fmla="*/ 3638 h 4694"/>
                <a:gd name="T60" fmla="*/ 15 w 2904"/>
                <a:gd name="T61" fmla="*/ 3905 h 4694"/>
                <a:gd name="T62" fmla="*/ 74 w 2904"/>
                <a:gd name="T63" fmla="*/ 3994 h 4694"/>
                <a:gd name="T64" fmla="*/ 364 w 2904"/>
                <a:gd name="T65" fmla="*/ 4269 h 4694"/>
                <a:gd name="T66" fmla="*/ 453 w 2904"/>
                <a:gd name="T67" fmla="*/ 4381 h 4694"/>
                <a:gd name="T68" fmla="*/ 513 w 2904"/>
                <a:gd name="T69" fmla="*/ 4462 h 4694"/>
                <a:gd name="T70" fmla="*/ 743 w 2904"/>
                <a:gd name="T71" fmla="*/ 4626 h 4694"/>
                <a:gd name="T72" fmla="*/ 817 w 2904"/>
                <a:gd name="T73" fmla="*/ 4470 h 4694"/>
                <a:gd name="T74" fmla="*/ 965 w 2904"/>
                <a:gd name="T75" fmla="*/ 4239 h 4694"/>
                <a:gd name="T76" fmla="*/ 1181 w 2904"/>
                <a:gd name="T77" fmla="*/ 4083 h 4694"/>
                <a:gd name="T78" fmla="*/ 1300 w 2904"/>
                <a:gd name="T79" fmla="*/ 3928 h 4694"/>
                <a:gd name="T80" fmla="*/ 1352 w 2904"/>
                <a:gd name="T81" fmla="*/ 3549 h 4694"/>
                <a:gd name="T82" fmla="*/ 1248 w 2904"/>
                <a:gd name="T83" fmla="*/ 3363 h 4694"/>
                <a:gd name="T84" fmla="*/ 1159 w 2904"/>
                <a:gd name="T85" fmla="*/ 3103 h 4694"/>
                <a:gd name="T86" fmla="*/ 1456 w 2904"/>
                <a:gd name="T87" fmla="*/ 3029 h 4694"/>
                <a:gd name="T88" fmla="*/ 1664 w 2904"/>
                <a:gd name="T89" fmla="*/ 3163 h 4694"/>
                <a:gd name="T90" fmla="*/ 1627 w 2904"/>
                <a:gd name="T91" fmla="*/ 3014 h 4694"/>
                <a:gd name="T92" fmla="*/ 1545 w 2904"/>
                <a:gd name="T93" fmla="*/ 2658 h 4694"/>
                <a:gd name="T94" fmla="*/ 1515 w 2904"/>
                <a:gd name="T95" fmla="*/ 2316 h 4694"/>
                <a:gd name="T96" fmla="*/ 1649 w 2904"/>
                <a:gd name="T97" fmla="*/ 2316 h 4694"/>
                <a:gd name="T98" fmla="*/ 2019 w 2904"/>
                <a:gd name="T99" fmla="*/ 2153 h 4694"/>
                <a:gd name="T100" fmla="*/ 2131 w 2904"/>
                <a:gd name="T101" fmla="*/ 2027 h 4694"/>
                <a:gd name="T102" fmla="*/ 2249 w 2904"/>
                <a:gd name="T103" fmla="*/ 1811 h 4694"/>
                <a:gd name="T104" fmla="*/ 2413 w 2904"/>
                <a:gd name="T105" fmla="*/ 1611 h 4694"/>
                <a:gd name="T106" fmla="*/ 2472 w 2904"/>
                <a:gd name="T107" fmla="*/ 1373 h 4694"/>
                <a:gd name="T108" fmla="*/ 2687 w 2904"/>
                <a:gd name="T109" fmla="*/ 1143 h 4694"/>
                <a:gd name="T110" fmla="*/ 2881 w 2904"/>
                <a:gd name="T111" fmla="*/ 958 h 4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04" h="4694">
                  <a:moveTo>
                    <a:pt x="2881" y="958"/>
                  </a:moveTo>
                  <a:lnTo>
                    <a:pt x="2881" y="958"/>
                  </a:lnTo>
                  <a:cubicBezTo>
                    <a:pt x="2881" y="921"/>
                    <a:pt x="2895" y="884"/>
                    <a:pt x="2903" y="839"/>
                  </a:cubicBezTo>
                  <a:cubicBezTo>
                    <a:pt x="2858" y="839"/>
                    <a:pt x="2806" y="854"/>
                    <a:pt x="2776" y="802"/>
                  </a:cubicBezTo>
                  <a:cubicBezTo>
                    <a:pt x="2762" y="780"/>
                    <a:pt x="2747" y="743"/>
                    <a:pt x="2717" y="743"/>
                  </a:cubicBezTo>
                  <a:cubicBezTo>
                    <a:pt x="2710" y="706"/>
                    <a:pt x="2725" y="594"/>
                    <a:pt x="2673" y="609"/>
                  </a:cubicBezTo>
                  <a:cubicBezTo>
                    <a:pt x="2658" y="535"/>
                    <a:pt x="2725" y="431"/>
                    <a:pt x="2658" y="379"/>
                  </a:cubicBezTo>
                  <a:cubicBezTo>
                    <a:pt x="2643" y="364"/>
                    <a:pt x="2598" y="386"/>
                    <a:pt x="2569" y="371"/>
                  </a:cubicBezTo>
                  <a:cubicBezTo>
                    <a:pt x="2546" y="364"/>
                    <a:pt x="2546" y="327"/>
                    <a:pt x="2546" y="305"/>
                  </a:cubicBezTo>
                  <a:cubicBezTo>
                    <a:pt x="2509" y="312"/>
                    <a:pt x="2502" y="275"/>
                    <a:pt x="2494" y="245"/>
                  </a:cubicBezTo>
                  <a:cubicBezTo>
                    <a:pt x="2487" y="216"/>
                    <a:pt x="2472" y="201"/>
                    <a:pt x="2442" y="186"/>
                  </a:cubicBezTo>
                  <a:cubicBezTo>
                    <a:pt x="2390" y="149"/>
                    <a:pt x="2368" y="134"/>
                    <a:pt x="2361" y="60"/>
                  </a:cubicBezTo>
                  <a:cubicBezTo>
                    <a:pt x="2361" y="15"/>
                    <a:pt x="2309" y="0"/>
                    <a:pt x="2257" y="0"/>
                  </a:cubicBezTo>
                  <a:cubicBezTo>
                    <a:pt x="2257" y="8"/>
                    <a:pt x="2264" y="15"/>
                    <a:pt x="2264" y="30"/>
                  </a:cubicBezTo>
                  <a:cubicBezTo>
                    <a:pt x="2242" y="30"/>
                    <a:pt x="2212" y="22"/>
                    <a:pt x="2212" y="45"/>
                  </a:cubicBezTo>
                  <a:cubicBezTo>
                    <a:pt x="2212" y="74"/>
                    <a:pt x="2197" y="52"/>
                    <a:pt x="2182" y="67"/>
                  </a:cubicBezTo>
                  <a:cubicBezTo>
                    <a:pt x="2153" y="97"/>
                    <a:pt x="2190" y="156"/>
                    <a:pt x="2145" y="186"/>
                  </a:cubicBezTo>
                  <a:cubicBezTo>
                    <a:pt x="2101" y="201"/>
                    <a:pt x="1960" y="201"/>
                    <a:pt x="1960" y="141"/>
                  </a:cubicBezTo>
                  <a:cubicBezTo>
                    <a:pt x="1930" y="134"/>
                    <a:pt x="1893" y="134"/>
                    <a:pt x="1878" y="112"/>
                  </a:cubicBezTo>
                  <a:cubicBezTo>
                    <a:pt x="1863" y="134"/>
                    <a:pt x="1848" y="149"/>
                    <a:pt x="1834" y="156"/>
                  </a:cubicBezTo>
                  <a:cubicBezTo>
                    <a:pt x="1811" y="156"/>
                    <a:pt x="1774" y="149"/>
                    <a:pt x="1767" y="178"/>
                  </a:cubicBezTo>
                  <a:cubicBezTo>
                    <a:pt x="1767" y="193"/>
                    <a:pt x="1774" y="223"/>
                    <a:pt x="1752" y="230"/>
                  </a:cubicBezTo>
                  <a:cubicBezTo>
                    <a:pt x="1737" y="238"/>
                    <a:pt x="1715" y="223"/>
                    <a:pt x="1700" y="230"/>
                  </a:cubicBezTo>
                  <a:cubicBezTo>
                    <a:pt x="1678" y="245"/>
                    <a:pt x="1692" y="282"/>
                    <a:pt x="1671" y="297"/>
                  </a:cubicBezTo>
                  <a:cubicBezTo>
                    <a:pt x="1649" y="305"/>
                    <a:pt x="1656" y="260"/>
                    <a:pt x="1634" y="253"/>
                  </a:cubicBezTo>
                  <a:cubicBezTo>
                    <a:pt x="1612" y="245"/>
                    <a:pt x="1589" y="260"/>
                    <a:pt x="1567" y="253"/>
                  </a:cubicBezTo>
                  <a:cubicBezTo>
                    <a:pt x="1560" y="216"/>
                    <a:pt x="1493" y="245"/>
                    <a:pt x="1463" y="245"/>
                  </a:cubicBezTo>
                  <a:cubicBezTo>
                    <a:pt x="1470" y="171"/>
                    <a:pt x="1196" y="208"/>
                    <a:pt x="1159" y="201"/>
                  </a:cubicBezTo>
                  <a:cubicBezTo>
                    <a:pt x="1166" y="104"/>
                    <a:pt x="1010" y="171"/>
                    <a:pt x="1062" y="208"/>
                  </a:cubicBezTo>
                  <a:cubicBezTo>
                    <a:pt x="1107" y="238"/>
                    <a:pt x="1159" y="253"/>
                    <a:pt x="1099" y="305"/>
                  </a:cubicBezTo>
                  <a:cubicBezTo>
                    <a:pt x="1047" y="349"/>
                    <a:pt x="1003" y="379"/>
                    <a:pt x="1070" y="438"/>
                  </a:cubicBezTo>
                  <a:cubicBezTo>
                    <a:pt x="1099" y="461"/>
                    <a:pt x="1136" y="409"/>
                    <a:pt x="1173" y="424"/>
                  </a:cubicBezTo>
                  <a:cubicBezTo>
                    <a:pt x="1203" y="438"/>
                    <a:pt x="1225" y="490"/>
                    <a:pt x="1248" y="438"/>
                  </a:cubicBezTo>
                  <a:cubicBezTo>
                    <a:pt x="1270" y="446"/>
                    <a:pt x="1292" y="476"/>
                    <a:pt x="1292" y="498"/>
                  </a:cubicBezTo>
                  <a:cubicBezTo>
                    <a:pt x="1352" y="498"/>
                    <a:pt x="1411" y="609"/>
                    <a:pt x="1419" y="654"/>
                  </a:cubicBezTo>
                  <a:cubicBezTo>
                    <a:pt x="1426" y="765"/>
                    <a:pt x="1359" y="765"/>
                    <a:pt x="1270" y="772"/>
                  </a:cubicBezTo>
                  <a:cubicBezTo>
                    <a:pt x="1278" y="802"/>
                    <a:pt x="1255" y="802"/>
                    <a:pt x="1240" y="817"/>
                  </a:cubicBezTo>
                  <a:cubicBezTo>
                    <a:pt x="1218" y="839"/>
                    <a:pt x="1218" y="861"/>
                    <a:pt x="1218" y="891"/>
                  </a:cubicBezTo>
                  <a:cubicBezTo>
                    <a:pt x="1211" y="914"/>
                    <a:pt x="1188" y="929"/>
                    <a:pt x="1166" y="943"/>
                  </a:cubicBezTo>
                  <a:cubicBezTo>
                    <a:pt x="1144" y="966"/>
                    <a:pt x="1151" y="987"/>
                    <a:pt x="1144" y="1009"/>
                  </a:cubicBezTo>
                  <a:cubicBezTo>
                    <a:pt x="1144" y="1046"/>
                    <a:pt x="1107" y="1046"/>
                    <a:pt x="1084" y="1061"/>
                  </a:cubicBezTo>
                  <a:cubicBezTo>
                    <a:pt x="1055" y="1076"/>
                    <a:pt x="1062" y="1083"/>
                    <a:pt x="1040" y="1113"/>
                  </a:cubicBezTo>
                  <a:cubicBezTo>
                    <a:pt x="1018" y="1143"/>
                    <a:pt x="936" y="1128"/>
                    <a:pt x="936" y="1180"/>
                  </a:cubicBezTo>
                  <a:cubicBezTo>
                    <a:pt x="914" y="1187"/>
                    <a:pt x="899" y="1165"/>
                    <a:pt x="876" y="1165"/>
                  </a:cubicBezTo>
                  <a:cubicBezTo>
                    <a:pt x="854" y="1158"/>
                    <a:pt x="847" y="1173"/>
                    <a:pt x="832" y="1180"/>
                  </a:cubicBezTo>
                  <a:cubicBezTo>
                    <a:pt x="787" y="1187"/>
                    <a:pt x="750" y="1187"/>
                    <a:pt x="706" y="1187"/>
                  </a:cubicBezTo>
                  <a:cubicBezTo>
                    <a:pt x="706" y="1232"/>
                    <a:pt x="706" y="1276"/>
                    <a:pt x="706" y="1321"/>
                  </a:cubicBezTo>
                  <a:cubicBezTo>
                    <a:pt x="683" y="1321"/>
                    <a:pt x="668" y="1321"/>
                    <a:pt x="654" y="1321"/>
                  </a:cubicBezTo>
                  <a:cubicBezTo>
                    <a:pt x="646" y="1336"/>
                    <a:pt x="594" y="1395"/>
                    <a:pt x="631" y="1410"/>
                  </a:cubicBezTo>
                  <a:cubicBezTo>
                    <a:pt x="631" y="1425"/>
                    <a:pt x="631" y="1447"/>
                    <a:pt x="631" y="1462"/>
                  </a:cubicBezTo>
                  <a:cubicBezTo>
                    <a:pt x="602" y="1470"/>
                    <a:pt x="579" y="1440"/>
                    <a:pt x="542" y="1447"/>
                  </a:cubicBezTo>
                  <a:cubicBezTo>
                    <a:pt x="542" y="1470"/>
                    <a:pt x="542" y="1499"/>
                    <a:pt x="542" y="1529"/>
                  </a:cubicBezTo>
                  <a:cubicBezTo>
                    <a:pt x="513" y="1544"/>
                    <a:pt x="483" y="1529"/>
                    <a:pt x="483" y="1566"/>
                  </a:cubicBezTo>
                  <a:cubicBezTo>
                    <a:pt x="483" y="1596"/>
                    <a:pt x="498" y="1625"/>
                    <a:pt x="505" y="1648"/>
                  </a:cubicBezTo>
                  <a:cubicBezTo>
                    <a:pt x="513" y="1707"/>
                    <a:pt x="483" y="1752"/>
                    <a:pt x="423" y="1744"/>
                  </a:cubicBezTo>
                  <a:cubicBezTo>
                    <a:pt x="416" y="1804"/>
                    <a:pt x="416" y="1975"/>
                    <a:pt x="342" y="2041"/>
                  </a:cubicBezTo>
                  <a:cubicBezTo>
                    <a:pt x="357" y="2049"/>
                    <a:pt x="371" y="2064"/>
                    <a:pt x="357" y="2101"/>
                  </a:cubicBezTo>
                  <a:cubicBezTo>
                    <a:pt x="349" y="2123"/>
                    <a:pt x="327" y="2130"/>
                    <a:pt x="297" y="2138"/>
                  </a:cubicBezTo>
                  <a:cubicBezTo>
                    <a:pt x="275" y="2138"/>
                    <a:pt x="260" y="2175"/>
                    <a:pt x="230" y="2175"/>
                  </a:cubicBezTo>
                  <a:cubicBezTo>
                    <a:pt x="238" y="2145"/>
                    <a:pt x="216" y="2138"/>
                    <a:pt x="193" y="2145"/>
                  </a:cubicBezTo>
                  <a:cubicBezTo>
                    <a:pt x="193" y="2168"/>
                    <a:pt x="201" y="2182"/>
                    <a:pt x="201" y="2205"/>
                  </a:cubicBezTo>
                  <a:cubicBezTo>
                    <a:pt x="208" y="2234"/>
                    <a:pt x="193" y="2264"/>
                    <a:pt x="208" y="2287"/>
                  </a:cubicBezTo>
                  <a:cubicBezTo>
                    <a:pt x="223" y="2324"/>
                    <a:pt x="260" y="2309"/>
                    <a:pt x="282" y="2338"/>
                  </a:cubicBezTo>
                  <a:cubicBezTo>
                    <a:pt x="334" y="2420"/>
                    <a:pt x="238" y="2494"/>
                    <a:pt x="238" y="2569"/>
                  </a:cubicBezTo>
                  <a:cubicBezTo>
                    <a:pt x="260" y="2576"/>
                    <a:pt x="282" y="2554"/>
                    <a:pt x="312" y="2554"/>
                  </a:cubicBezTo>
                  <a:cubicBezTo>
                    <a:pt x="312" y="2591"/>
                    <a:pt x="305" y="2621"/>
                    <a:pt x="305" y="2650"/>
                  </a:cubicBezTo>
                  <a:cubicBezTo>
                    <a:pt x="305" y="2680"/>
                    <a:pt x="312" y="2710"/>
                    <a:pt x="290" y="2747"/>
                  </a:cubicBezTo>
                  <a:cubicBezTo>
                    <a:pt x="282" y="2762"/>
                    <a:pt x="193" y="2814"/>
                    <a:pt x="186" y="2784"/>
                  </a:cubicBezTo>
                  <a:cubicBezTo>
                    <a:pt x="193" y="2806"/>
                    <a:pt x="171" y="2814"/>
                    <a:pt x="163" y="2836"/>
                  </a:cubicBezTo>
                  <a:cubicBezTo>
                    <a:pt x="156" y="2851"/>
                    <a:pt x="156" y="2873"/>
                    <a:pt x="163" y="2895"/>
                  </a:cubicBezTo>
                  <a:cubicBezTo>
                    <a:pt x="171" y="2895"/>
                    <a:pt x="186" y="2888"/>
                    <a:pt x="193" y="2881"/>
                  </a:cubicBezTo>
                  <a:cubicBezTo>
                    <a:pt x="238" y="2903"/>
                    <a:pt x="260" y="2910"/>
                    <a:pt x="253" y="2962"/>
                  </a:cubicBezTo>
                  <a:cubicBezTo>
                    <a:pt x="253" y="3029"/>
                    <a:pt x="245" y="3029"/>
                    <a:pt x="186" y="3036"/>
                  </a:cubicBezTo>
                  <a:cubicBezTo>
                    <a:pt x="178" y="3059"/>
                    <a:pt x="208" y="3074"/>
                    <a:pt x="201" y="3096"/>
                  </a:cubicBezTo>
                  <a:cubicBezTo>
                    <a:pt x="186" y="3126"/>
                    <a:pt x="156" y="3126"/>
                    <a:pt x="178" y="3155"/>
                  </a:cubicBezTo>
                  <a:cubicBezTo>
                    <a:pt x="208" y="3140"/>
                    <a:pt x="230" y="3103"/>
                    <a:pt x="268" y="3126"/>
                  </a:cubicBezTo>
                  <a:cubicBezTo>
                    <a:pt x="297" y="3148"/>
                    <a:pt x="290" y="3192"/>
                    <a:pt x="327" y="3200"/>
                  </a:cubicBezTo>
                  <a:cubicBezTo>
                    <a:pt x="327" y="3259"/>
                    <a:pt x="327" y="3281"/>
                    <a:pt x="379" y="3281"/>
                  </a:cubicBezTo>
                  <a:cubicBezTo>
                    <a:pt x="379" y="3296"/>
                    <a:pt x="386" y="3304"/>
                    <a:pt x="386" y="3319"/>
                  </a:cubicBezTo>
                  <a:cubicBezTo>
                    <a:pt x="423" y="3319"/>
                    <a:pt x="483" y="3319"/>
                    <a:pt x="498" y="3356"/>
                  </a:cubicBezTo>
                  <a:cubicBezTo>
                    <a:pt x="505" y="3386"/>
                    <a:pt x="461" y="3400"/>
                    <a:pt x="468" y="3430"/>
                  </a:cubicBezTo>
                  <a:cubicBezTo>
                    <a:pt x="475" y="3430"/>
                    <a:pt x="483" y="3437"/>
                    <a:pt x="490" y="3437"/>
                  </a:cubicBezTo>
                  <a:cubicBezTo>
                    <a:pt x="475" y="3452"/>
                    <a:pt x="461" y="3460"/>
                    <a:pt x="461" y="3482"/>
                  </a:cubicBezTo>
                  <a:cubicBezTo>
                    <a:pt x="453" y="3489"/>
                    <a:pt x="453" y="3482"/>
                    <a:pt x="446" y="3497"/>
                  </a:cubicBezTo>
                  <a:cubicBezTo>
                    <a:pt x="431" y="3504"/>
                    <a:pt x="416" y="3504"/>
                    <a:pt x="409" y="3519"/>
                  </a:cubicBezTo>
                  <a:cubicBezTo>
                    <a:pt x="379" y="3526"/>
                    <a:pt x="342" y="3519"/>
                    <a:pt x="319" y="3512"/>
                  </a:cubicBezTo>
                  <a:cubicBezTo>
                    <a:pt x="290" y="3504"/>
                    <a:pt x="282" y="3467"/>
                    <a:pt x="260" y="3452"/>
                  </a:cubicBezTo>
                  <a:cubicBezTo>
                    <a:pt x="230" y="3430"/>
                    <a:pt x="156" y="3549"/>
                    <a:pt x="112" y="3541"/>
                  </a:cubicBezTo>
                  <a:cubicBezTo>
                    <a:pt x="112" y="3549"/>
                    <a:pt x="112" y="3549"/>
                    <a:pt x="112" y="3556"/>
                  </a:cubicBezTo>
                  <a:cubicBezTo>
                    <a:pt x="67" y="3564"/>
                    <a:pt x="112" y="3631"/>
                    <a:pt x="67" y="3638"/>
                  </a:cubicBezTo>
                  <a:cubicBezTo>
                    <a:pt x="30" y="3645"/>
                    <a:pt x="45" y="3734"/>
                    <a:pt x="60" y="3757"/>
                  </a:cubicBezTo>
                  <a:cubicBezTo>
                    <a:pt x="74" y="3779"/>
                    <a:pt x="149" y="3809"/>
                    <a:pt x="89" y="3846"/>
                  </a:cubicBezTo>
                  <a:cubicBezTo>
                    <a:pt x="52" y="3868"/>
                    <a:pt x="0" y="3853"/>
                    <a:pt x="15" y="3905"/>
                  </a:cubicBezTo>
                  <a:cubicBezTo>
                    <a:pt x="15" y="3905"/>
                    <a:pt x="15" y="3928"/>
                    <a:pt x="15" y="3950"/>
                  </a:cubicBezTo>
                  <a:cubicBezTo>
                    <a:pt x="22" y="3950"/>
                    <a:pt x="30" y="3950"/>
                    <a:pt x="37" y="3957"/>
                  </a:cubicBezTo>
                  <a:cubicBezTo>
                    <a:pt x="52" y="3965"/>
                    <a:pt x="60" y="3987"/>
                    <a:pt x="74" y="3994"/>
                  </a:cubicBezTo>
                  <a:cubicBezTo>
                    <a:pt x="89" y="4017"/>
                    <a:pt x="134" y="4031"/>
                    <a:pt x="156" y="4009"/>
                  </a:cubicBezTo>
                  <a:cubicBezTo>
                    <a:pt x="208" y="3957"/>
                    <a:pt x="297" y="4121"/>
                    <a:pt x="319" y="4150"/>
                  </a:cubicBezTo>
                  <a:cubicBezTo>
                    <a:pt x="342" y="4188"/>
                    <a:pt x="349" y="4232"/>
                    <a:pt x="364" y="4269"/>
                  </a:cubicBezTo>
                  <a:cubicBezTo>
                    <a:pt x="379" y="4306"/>
                    <a:pt x="342" y="4321"/>
                    <a:pt x="349" y="4358"/>
                  </a:cubicBezTo>
                  <a:cubicBezTo>
                    <a:pt x="386" y="4373"/>
                    <a:pt x="416" y="4328"/>
                    <a:pt x="453" y="4336"/>
                  </a:cubicBezTo>
                  <a:cubicBezTo>
                    <a:pt x="453" y="4351"/>
                    <a:pt x="453" y="4366"/>
                    <a:pt x="453" y="4381"/>
                  </a:cubicBezTo>
                  <a:cubicBezTo>
                    <a:pt x="483" y="4388"/>
                    <a:pt x="483" y="4366"/>
                    <a:pt x="505" y="4366"/>
                  </a:cubicBezTo>
                  <a:cubicBezTo>
                    <a:pt x="505" y="4373"/>
                    <a:pt x="505" y="4373"/>
                    <a:pt x="505" y="4373"/>
                  </a:cubicBezTo>
                  <a:cubicBezTo>
                    <a:pt x="528" y="4396"/>
                    <a:pt x="483" y="4425"/>
                    <a:pt x="513" y="4462"/>
                  </a:cubicBezTo>
                  <a:cubicBezTo>
                    <a:pt x="542" y="4492"/>
                    <a:pt x="535" y="4536"/>
                    <a:pt x="535" y="4574"/>
                  </a:cubicBezTo>
                  <a:cubicBezTo>
                    <a:pt x="535" y="4693"/>
                    <a:pt x="587" y="4611"/>
                    <a:pt x="661" y="4603"/>
                  </a:cubicBezTo>
                  <a:cubicBezTo>
                    <a:pt x="691" y="4596"/>
                    <a:pt x="713" y="4633"/>
                    <a:pt x="743" y="4626"/>
                  </a:cubicBezTo>
                  <a:lnTo>
                    <a:pt x="750" y="4626"/>
                  </a:lnTo>
                  <a:cubicBezTo>
                    <a:pt x="750" y="4611"/>
                    <a:pt x="750" y="4596"/>
                    <a:pt x="750" y="4596"/>
                  </a:cubicBezTo>
                  <a:cubicBezTo>
                    <a:pt x="750" y="4536"/>
                    <a:pt x="787" y="4514"/>
                    <a:pt x="817" y="4470"/>
                  </a:cubicBezTo>
                  <a:cubicBezTo>
                    <a:pt x="854" y="4425"/>
                    <a:pt x="854" y="4366"/>
                    <a:pt x="862" y="4314"/>
                  </a:cubicBezTo>
                  <a:cubicBezTo>
                    <a:pt x="891" y="4306"/>
                    <a:pt x="906" y="4284"/>
                    <a:pt x="928" y="4262"/>
                  </a:cubicBezTo>
                  <a:cubicBezTo>
                    <a:pt x="943" y="4254"/>
                    <a:pt x="951" y="4247"/>
                    <a:pt x="965" y="4239"/>
                  </a:cubicBezTo>
                  <a:cubicBezTo>
                    <a:pt x="980" y="4232"/>
                    <a:pt x="1003" y="4247"/>
                    <a:pt x="1018" y="4239"/>
                  </a:cubicBezTo>
                  <a:cubicBezTo>
                    <a:pt x="1077" y="4210"/>
                    <a:pt x="1077" y="4128"/>
                    <a:pt x="1122" y="4091"/>
                  </a:cubicBezTo>
                  <a:cubicBezTo>
                    <a:pt x="1144" y="4091"/>
                    <a:pt x="1159" y="4083"/>
                    <a:pt x="1181" y="4083"/>
                  </a:cubicBezTo>
                  <a:cubicBezTo>
                    <a:pt x="1188" y="4031"/>
                    <a:pt x="1181" y="4017"/>
                    <a:pt x="1136" y="3987"/>
                  </a:cubicBezTo>
                  <a:cubicBezTo>
                    <a:pt x="1166" y="3980"/>
                    <a:pt x="1196" y="3980"/>
                    <a:pt x="1225" y="3980"/>
                  </a:cubicBezTo>
                  <a:cubicBezTo>
                    <a:pt x="1233" y="3928"/>
                    <a:pt x="1278" y="3950"/>
                    <a:pt x="1300" y="3928"/>
                  </a:cubicBezTo>
                  <a:cubicBezTo>
                    <a:pt x="1330" y="3905"/>
                    <a:pt x="1330" y="3846"/>
                    <a:pt x="1322" y="3816"/>
                  </a:cubicBezTo>
                  <a:cubicBezTo>
                    <a:pt x="1344" y="3816"/>
                    <a:pt x="1359" y="3816"/>
                    <a:pt x="1374" y="3816"/>
                  </a:cubicBezTo>
                  <a:cubicBezTo>
                    <a:pt x="1389" y="3720"/>
                    <a:pt x="1352" y="3638"/>
                    <a:pt x="1352" y="3549"/>
                  </a:cubicBezTo>
                  <a:cubicBezTo>
                    <a:pt x="1352" y="3512"/>
                    <a:pt x="1367" y="3467"/>
                    <a:pt x="1344" y="3437"/>
                  </a:cubicBezTo>
                  <a:cubicBezTo>
                    <a:pt x="1337" y="3408"/>
                    <a:pt x="1300" y="3400"/>
                    <a:pt x="1292" y="3371"/>
                  </a:cubicBezTo>
                  <a:cubicBezTo>
                    <a:pt x="1285" y="3371"/>
                    <a:pt x="1263" y="3363"/>
                    <a:pt x="1248" y="3363"/>
                  </a:cubicBezTo>
                  <a:cubicBezTo>
                    <a:pt x="1248" y="3296"/>
                    <a:pt x="1315" y="3237"/>
                    <a:pt x="1292" y="3170"/>
                  </a:cubicBezTo>
                  <a:cubicBezTo>
                    <a:pt x="1278" y="3126"/>
                    <a:pt x="1218" y="3155"/>
                    <a:pt x="1218" y="3103"/>
                  </a:cubicBezTo>
                  <a:cubicBezTo>
                    <a:pt x="1196" y="3103"/>
                    <a:pt x="1173" y="3103"/>
                    <a:pt x="1159" y="3103"/>
                  </a:cubicBezTo>
                  <a:cubicBezTo>
                    <a:pt x="1122" y="3044"/>
                    <a:pt x="1173" y="2992"/>
                    <a:pt x="1173" y="2932"/>
                  </a:cubicBezTo>
                  <a:cubicBezTo>
                    <a:pt x="1203" y="2932"/>
                    <a:pt x="1263" y="2918"/>
                    <a:pt x="1255" y="2970"/>
                  </a:cubicBezTo>
                  <a:cubicBezTo>
                    <a:pt x="1337" y="2970"/>
                    <a:pt x="1389" y="2984"/>
                    <a:pt x="1456" y="3029"/>
                  </a:cubicBezTo>
                  <a:cubicBezTo>
                    <a:pt x="1456" y="3066"/>
                    <a:pt x="1456" y="3133"/>
                    <a:pt x="1515" y="3118"/>
                  </a:cubicBezTo>
                  <a:cubicBezTo>
                    <a:pt x="1508" y="3051"/>
                    <a:pt x="1627" y="3074"/>
                    <a:pt x="1664" y="3089"/>
                  </a:cubicBezTo>
                  <a:cubicBezTo>
                    <a:pt x="1664" y="3111"/>
                    <a:pt x="1664" y="3140"/>
                    <a:pt x="1664" y="3163"/>
                  </a:cubicBezTo>
                  <a:cubicBezTo>
                    <a:pt x="1700" y="3170"/>
                    <a:pt x="1715" y="3140"/>
                    <a:pt x="1737" y="3126"/>
                  </a:cubicBezTo>
                  <a:cubicBezTo>
                    <a:pt x="1737" y="3089"/>
                    <a:pt x="1752" y="3044"/>
                    <a:pt x="1729" y="3014"/>
                  </a:cubicBezTo>
                  <a:cubicBezTo>
                    <a:pt x="1729" y="3007"/>
                    <a:pt x="1634" y="3014"/>
                    <a:pt x="1627" y="3014"/>
                  </a:cubicBezTo>
                  <a:cubicBezTo>
                    <a:pt x="1597" y="3007"/>
                    <a:pt x="1537" y="2999"/>
                    <a:pt x="1530" y="2962"/>
                  </a:cubicBezTo>
                  <a:cubicBezTo>
                    <a:pt x="1530" y="2925"/>
                    <a:pt x="1537" y="2888"/>
                    <a:pt x="1545" y="2858"/>
                  </a:cubicBezTo>
                  <a:cubicBezTo>
                    <a:pt x="1552" y="2791"/>
                    <a:pt x="1589" y="2717"/>
                    <a:pt x="1545" y="2658"/>
                  </a:cubicBezTo>
                  <a:cubicBezTo>
                    <a:pt x="1537" y="2643"/>
                    <a:pt x="1508" y="2650"/>
                    <a:pt x="1508" y="2628"/>
                  </a:cubicBezTo>
                  <a:cubicBezTo>
                    <a:pt x="1500" y="2598"/>
                    <a:pt x="1508" y="2576"/>
                    <a:pt x="1508" y="2546"/>
                  </a:cubicBezTo>
                  <a:cubicBezTo>
                    <a:pt x="1500" y="2472"/>
                    <a:pt x="1508" y="2390"/>
                    <a:pt x="1515" y="2316"/>
                  </a:cubicBezTo>
                  <a:cubicBezTo>
                    <a:pt x="1523" y="2316"/>
                    <a:pt x="1537" y="2316"/>
                    <a:pt x="1552" y="2324"/>
                  </a:cubicBezTo>
                  <a:cubicBezTo>
                    <a:pt x="1552" y="2353"/>
                    <a:pt x="1567" y="2383"/>
                    <a:pt x="1604" y="2376"/>
                  </a:cubicBezTo>
                  <a:cubicBezTo>
                    <a:pt x="1619" y="2368"/>
                    <a:pt x="1634" y="2331"/>
                    <a:pt x="1649" y="2316"/>
                  </a:cubicBezTo>
                  <a:cubicBezTo>
                    <a:pt x="1678" y="2257"/>
                    <a:pt x="1700" y="2197"/>
                    <a:pt x="1700" y="2130"/>
                  </a:cubicBezTo>
                  <a:cubicBezTo>
                    <a:pt x="1774" y="2123"/>
                    <a:pt x="1856" y="2138"/>
                    <a:pt x="1930" y="2138"/>
                  </a:cubicBezTo>
                  <a:cubicBezTo>
                    <a:pt x="1952" y="2138"/>
                    <a:pt x="1997" y="2130"/>
                    <a:pt x="2019" y="2153"/>
                  </a:cubicBezTo>
                  <a:cubicBezTo>
                    <a:pt x="2041" y="2175"/>
                    <a:pt x="2064" y="2168"/>
                    <a:pt x="2093" y="2168"/>
                  </a:cubicBezTo>
                  <a:cubicBezTo>
                    <a:pt x="2101" y="2145"/>
                    <a:pt x="2116" y="2123"/>
                    <a:pt x="2123" y="2093"/>
                  </a:cubicBezTo>
                  <a:cubicBezTo>
                    <a:pt x="2131" y="2071"/>
                    <a:pt x="2116" y="2041"/>
                    <a:pt x="2131" y="2027"/>
                  </a:cubicBezTo>
                  <a:cubicBezTo>
                    <a:pt x="2153" y="1989"/>
                    <a:pt x="2220" y="2004"/>
                    <a:pt x="2257" y="2004"/>
                  </a:cubicBezTo>
                  <a:cubicBezTo>
                    <a:pt x="2264" y="1975"/>
                    <a:pt x="2227" y="1960"/>
                    <a:pt x="2227" y="1930"/>
                  </a:cubicBezTo>
                  <a:cubicBezTo>
                    <a:pt x="2220" y="1893"/>
                    <a:pt x="2227" y="1841"/>
                    <a:pt x="2249" y="1811"/>
                  </a:cubicBezTo>
                  <a:cubicBezTo>
                    <a:pt x="2264" y="1789"/>
                    <a:pt x="2301" y="1782"/>
                    <a:pt x="2301" y="1767"/>
                  </a:cubicBezTo>
                  <a:cubicBezTo>
                    <a:pt x="2309" y="1744"/>
                    <a:pt x="2294" y="1722"/>
                    <a:pt x="2316" y="1715"/>
                  </a:cubicBezTo>
                  <a:cubicBezTo>
                    <a:pt x="2331" y="1655"/>
                    <a:pt x="2361" y="1640"/>
                    <a:pt x="2413" y="1611"/>
                  </a:cubicBezTo>
                  <a:cubicBezTo>
                    <a:pt x="2390" y="1566"/>
                    <a:pt x="2338" y="1544"/>
                    <a:pt x="2368" y="1485"/>
                  </a:cubicBezTo>
                  <a:cubicBezTo>
                    <a:pt x="2383" y="1455"/>
                    <a:pt x="2405" y="1477"/>
                    <a:pt x="2405" y="1440"/>
                  </a:cubicBezTo>
                  <a:cubicBezTo>
                    <a:pt x="2405" y="1410"/>
                    <a:pt x="2450" y="1380"/>
                    <a:pt x="2472" y="1373"/>
                  </a:cubicBezTo>
                  <a:cubicBezTo>
                    <a:pt x="2509" y="1343"/>
                    <a:pt x="2576" y="1284"/>
                    <a:pt x="2621" y="1276"/>
                  </a:cubicBezTo>
                  <a:cubicBezTo>
                    <a:pt x="2710" y="1254"/>
                    <a:pt x="2702" y="1225"/>
                    <a:pt x="2702" y="1150"/>
                  </a:cubicBezTo>
                  <a:cubicBezTo>
                    <a:pt x="2695" y="1143"/>
                    <a:pt x="2687" y="1143"/>
                    <a:pt x="2687" y="1143"/>
                  </a:cubicBezTo>
                  <a:cubicBezTo>
                    <a:pt x="2702" y="1143"/>
                    <a:pt x="2710" y="1143"/>
                    <a:pt x="2725" y="1143"/>
                  </a:cubicBezTo>
                  <a:cubicBezTo>
                    <a:pt x="2739" y="1098"/>
                    <a:pt x="2762" y="1061"/>
                    <a:pt x="2799" y="1031"/>
                  </a:cubicBezTo>
                  <a:cubicBezTo>
                    <a:pt x="2821" y="1002"/>
                    <a:pt x="2881" y="1009"/>
                    <a:pt x="2881" y="958"/>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7" name="Freeform 15">
              <a:extLst>
                <a:ext uri="{FF2B5EF4-FFF2-40B4-BE49-F238E27FC236}">
                  <a16:creationId xmlns:a16="http://schemas.microsoft.com/office/drawing/2014/main" id="{ED5F3AEA-065F-6240-A4F4-2DA7585D8E27}"/>
                </a:ext>
              </a:extLst>
            </p:cNvPr>
            <p:cNvSpPr>
              <a:spLocks noChangeArrowheads="1"/>
            </p:cNvSpPr>
            <p:nvPr/>
          </p:nvSpPr>
          <p:spPr bwMode="auto">
            <a:xfrm>
              <a:off x="10368191" y="4179130"/>
              <a:ext cx="960808" cy="943023"/>
            </a:xfrm>
            <a:custGeom>
              <a:avLst/>
              <a:gdLst>
                <a:gd name="T0" fmla="*/ 1938 w 2221"/>
                <a:gd name="T1" fmla="*/ 668 h 2184"/>
                <a:gd name="T2" fmla="*/ 1864 w 2221"/>
                <a:gd name="T3" fmla="*/ 616 h 2184"/>
                <a:gd name="T4" fmla="*/ 1842 w 2221"/>
                <a:gd name="T5" fmla="*/ 594 h 2184"/>
                <a:gd name="T6" fmla="*/ 1782 w 2221"/>
                <a:gd name="T7" fmla="*/ 453 h 2184"/>
                <a:gd name="T8" fmla="*/ 1715 w 2221"/>
                <a:gd name="T9" fmla="*/ 483 h 2184"/>
                <a:gd name="T10" fmla="*/ 1604 w 2221"/>
                <a:gd name="T11" fmla="*/ 468 h 2184"/>
                <a:gd name="T12" fmla="*/ 1559 w 2221"/>
                <a:gd name="T13" fmla="*/ 334 h 2184"/>
                <a:gd name="T14" fmla="*/ 1493 w 2221"/>
                <a:gd name="T15" fmla="*/ 215 h 2184"/>
                <a:gd name="T16" fmla="*/ 1262 w 2221"/>
                <a:gd name="T17" fmla="*/ 282 h 2184"/>
                <a:gd name="T18" fmla="*/ 1107 w 2221"/>
                <a:gd name="T19" fmla="*/ 208 h 2184"/>
                <a:gd name="T20" fmla="*/ 988 w 2221"/>
                <a:gd name="T21" fmla="*/ 149 h 2184"/>
                <a:gd name="T22" fmla="*/ 876 w 2221"/>
                <a:gd name="T23" fmla="*/ 96 h 2184"/>
                <a:gd name="T24" fmla="*/ 691 w 2221"/>
                <a:gd name="T25" fmla="*/ 22 h 2184"/>
                <a:gd name="T26" fmla="*/ 505 w 2221"/>
                <a:gd name="T27" fmla="*/ 141 h 2184"/>
                <a:gd name="T28" fmla="*/ 386 w 2221"/>
                <a:gd name="T29" fmla="*/ 186 h 2184"/>
                <a:gd name="T30" fmla="*/ 349 w 2221"/>
                <a:gd name="T31" fmla="*/ 215 h 2184"/>
                <a:gd name="T32" fmla="*/ 282 w 2221"/>
                <a:gd name="T33" fmla="*/ 186 h 2184"/>
                <a:gd name="T34" fmla="*/ 230 w 2221"/>
                <a:gd name="T35" fmla="*/ 253 h 2184"/>
                <a:gd name="T36" fmla="*/ 275 w 2221"/>
                <a:gd name="T37" fmla="*/ 356 h 2184"/>
                <a:gd name="T38" fmla="*/ 208 w 2221"/>
                <a:gd name="T39" fmla="*/ 490 h 2184"/>
                <a:gd name="T40" fmla="*/ 193 w 2221"/>
                <a:gd name="T41" fmla="*/ 512 h 2184"/>
                <a:gd name="T42" fmla="*/ 186 w 2221"/>
                <a:gd name="T43" fmla="*/ 542 h 2184"/>
                <a:gd name="T44" fmla="*/ 156 w 2221"/>
                <a:gd name="T45" fmla="*/ 646 h 2184"/>
                <a:gd name="T46" fmla="*/ 52 w 2221"/>
                <a:gd name="T47" fmla="*/ 743 h 2184"/>
                <a:gd name="T48" fmla="*/ 0 w 2221"/>
                <a:gd name="T49" fmla="*/ 824 h 2184"/>
                <a:gd name="T50" fmla="*/ 178 w 2221"/>
                <a:gd name="T51" fmla="*/ 899 h 2184"/>
                <a:gd name="T52" fmla="*/ 282 w 2221"/>
                <a:gd name="T53" fmla="*/ 1166 h 2184"/>
                <a:gd name="T54" fmla="*/ 342 w 2221"/>
                <a:gd name="T55" fmla="*/ 1359 h 2184"/>
                <a:gd name="T56" fmla="*/ 490 w 2221"/>
                <a:gd name="T57" fmla="*/ 1322 h 2184"/>
                <a:gd name="T58" fmla="*/ 609 w 2221"/>
                <a:gd name="T59" fmla="*/ 1448 h 2184"/>
                <a:gd name="T60" fmla="*/ 624 w 2221"/>
                <a:gd name="T61" fmla="*/ 1530 h 2184"/>
                <a:gd name="T62" fmla="*/ 765 w 2221"/>
                <a:gd name="T63" fmla="*/ 1678 h 2184"/>
                <a:gd name="T64" fmla="*/ 802 w 2221"/>
                <a:gd name="T65" fmla="*/ 1715 h 2184"/>
                <a:gd name="T66" fmla="*/ 839 w 2221"/>
                <a:gd name="T67" fmla="*/ 1790 h 2184"/>
                <a:gd name="T68" fmla="*/ 980 w 2221"/>
                <a:gd name="T69" fmla="*/ 1938 h 2184"/>
                <a:gd name="T70" fmla="*/ 1092 w 2221"/>
                <a:gd name="T71" fmla="*/ 2102 h 2184"/>
                <a:gd name="T72" fmla="*/ 1225 w 2221"/>
                <a:gd name="T73" fmla="*/ 2161 h 2184"/>
                <a:gd name="T74" fmla="*/ 1225 w 2221"/>
                <a:gd name="T75" fmla="*/ 2161 h 2184"/>
                <a:gd name="T76" fmla="*/ 1225 w 2221"/>
                <a:gd name="T77" fmla="*/ 2161 h 2184"/>
                <a:gd name="T78" fmla="*/ 1344 w 2221"/>
                <a:gd name="T79" fmla="*/ 2102 h 2184"/>
                <a:gd name="T80" fmla="*/ 1322 w 2221"/>
                <a:gd name="T81" fmla="*/ 1938 h 2184"/>
                <a:gd name="T82" fmla="*/ 1381 w 2221"/>
                <a:gd name="T83" fmla="*/ 1805 h 2184"/>
                <a:gd name="T84" fmla="*/ 1366 w 2221"/>
                <a:gd name="T85" fmla="*/ 1738 h 2184"/>
                <a:gd name="T86" fmla="*/ 1404 w 2221"/>
                <a:gd name="T87" fmla="*/ 1715 h 2184"/>
                <a:gd name="T88" fmla="*/ 1567 w 2221"/>
                <a:gd name="T89" fmla="*/ 1641 h 2184"/>
                <a:gd name="T90" fmla="*/ 1723 w 2221"/>
                <a:gd name="T91" fmla="*/ 1537 h 2184"/>
                <a:gd name="T92" fmla="*/ 1968 w 2221"/>
                <a:gd name="T93" fmla="*/ 1582 h 2184"/>
                <a:gd name="T94" fmla="*/ 2220 w 2221"/>
                <a:gd name="T95" fmla="*/ 1656 h 2184"/>
                <a:gd name="T96" fmla="*/ 2161 w 2221"/>
                <a:gd name="T97" fmla="*/ 1485 h 2184"/>
                <a:gd name="T98" fmla="*/ 2131 w 2221"/>
                <a:gd name="T99" fmla="*/ 1381 h 2184"/>
                <a:gd name="T100" fmla="*/ 2087 w 2221"/>
                <a:gd name="T101" fmla="*/ 1307 h 2184"/>
                <a:gd name="T102" fmla="*/ 2131 w 2221"/>
                <a:gd name="T103" fmla="*/ 1158 h 2184"/>
                <a:gd name="T104" fmla="*/ 2049 w 2221"/>
                <a:gd name="T105" fmla="*/ 921 h 2184"/>
                <a:gd name="T106" fmla="*/ 2005 w 2221"/>
                <a:gd name="T107" fmla="*/ 832 h 2184"/>
                <a:gd name="T108" fmla="*/ 1953 w 2221"/>
                <a:gd name="T109" fmla="*/ 743 h 2184"/>
                <a:gd name="T110" fmla="*/ 1983 w 2221"/>
                <a:gd name="T111" fmla="*/ 668 h 2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21" h="2184">
                  <a:moveTo>
                    <a:pt x="1938" y="668"/>
                  </a:moveTo>
                  <a:lnTo>
                    <a:pt x="1938" y="668"/>
                  </a:lnTo>
                  <a:cubicBezTo>
                    <a:pt x="1916" y="668"/>
                    <a:pt x="1916" y="668"/>
                    <a:pt x="1901" y="646"/>
                  </a:cubicBezTo>
                  <a:cubicBezTo>
                    <a:pt x="1886" y="631"/>
                    <a:pt x="1886" y="624"/>
                    <a:pt x="1864" y="616"/>
                  </a:cubicBezTo>
                  <a:cubicBezTo>
                    <a:pt x="1849" y="616"/>
                    <a:pt x="1819" y="624"/>
                    <a:pt x="1812" y="631"/>
                  </a:cubicBezTo>
                  <a:cubicBezTo>
                    <a:pt x="1812" y="616"/>
                    <a:pt x="1819" y="587"/>
                    <a:pt x="1842" y="594"/>
                  </a:cubicBezTo>
                  <a:cubicBezTo>
                    <a:pt x="1857" y="550"/>
                    <a:pt x="1909" y="379"/>
                    <a:pt x="1804" y="431"/>
                  </a:cubicBezTo>
                  <a:cubicBezTo>
                    <a:pt x="1797" y="438"/>
                    <a:pt x="1790" y="446"/>
                    <a:pt x="1782" y="453"/>
                  </a:cubicBezTo>
                  <a:cubicBezTo>
                    <a:pt x="1775" y="453"/>
                    <a:pt x="1760" y="446"/>
                    <a:pt x="1752" y="453"/>
                  </a:cubicBezTo>
                  <a:cubicBezTo>
                    <a:pt x="1738" y="461"/>
                    <a:pt x="1738" y="483"/>
                    <a:pt x="1715" y="483"/>
                  </a:cubicBezTo>
                  <a:cubicBezTo>
                    <a:pt x="1701" y="490"/>
                    <a:pt x="1678" y="475"/>
                    <a:pt x="1663" y="475"/>
                  </a:cubicBezTo>
                  <a:cubicBezTo>
                    <a:pt x="1641" y="468"/>
                    <a:pt x="1619" y="475"/>
                    <a:pt x="1604" y="468"/>
                  </a:cubicBezTo>
                  <a:cubicBezTo>
                    <a:pt x="1604" y="446"/>
                    <a:pt x="1604" y="423"/>
                    <a:pt x="1604" y="401"/>
                  </a:cubicBezTo>
                  <a:cubicBezTo>
                    <a:pt x="1597" y="379"/>
                    <a:pt x="1574" y="349"/>
                    <a:pt x="1559" y="334"/>
                  </a:cubicBezTo>
                  <a:cubicBezTo>
                    <a:pt x="1545" y="312"/>
                    <a:pt x="1507" y="304"/>
                    <a:pt x="1493" y="290"/>
                  </a:cubicBezTo>
                  <a:cubicBezTo>
                    <a:pt x="1485" y="267"/>
                    <a:pt x="1493" y="238"/>
                    <a:pt x="1493" y="215"/>
                  </a:cubicBezTo>
                  <a:cubicBezTo>
                    <a:pt x="1455" y="208"/>
                    <a:pt x="1418" y="245"/>
                    <a:pt x="1389" y="253"/>
                  </a:cubicBezTo>
                  <a:cubicBezTo>
                    <a:pt x="1352" y="267"/>
                    <a:pt x="1307" y="282"/>
                    <a:pt x="1262" y="282"/>
                  </a:cubicBezTo>
                  <a:cubicBezTo>
                    <a:pt x="1218" y="290"/>
                    <a:pt x="1173" y="282"/>
                    <a:pt x="1144" y="245"/>
                  </a:cubicBezTo>
                  <a:cubicBezTo>
                    <a:pt x="1129" y="223"/>
                    <a:pt x="1129" y="215"/>
                    <a:pt x="1107" y="208"/>
                  </a:cubicBezTo>
                  <a:cubicBezTo>
                    <a:pt x="1084" y="208"/>
                    <a:pt x="1055" y="215"/>
                    <a:pt x="1032" y="208"/>
                  </a:cubicBezTo>
                  <a:cubicBezTo>
                    <a:pt x="1025" y="186"/>
                    <a:pt x="995" y="171"/>
                    <a:pt x="988" y="149"/>
                  </a:cubicBezTo>
                  <a:cubicBezTo>
                    <a:pt x="973" y="119"/>
                    <a:pt x="980" y="119"/>
                    <a:pt x="943" y="111"/>
                  </a:cubicBezTo>
                  <a:cubicBezTo>
                    <a:pt x="921" y="111"/>
                    <a:pt x="891" y="111"/>
                    <a:pt x="876" y="96"/>
                  </a:cubicBezTo>
                  <a:cubicBezTo>
                    <a:pt x="854" y="74"/>
                    <a:pt x="869" y="52"/>
                    <a:pt x="854" y="30"/>
                  </a:cubicBezTo>
                  <a:cubicBezTo>
                    <a:pt x="802" y="22"/>
                    <a:pt x="742" y="22"/>
                    <a:pt x="691" y="22"/>
                  </a:cubicBezTo>
                  <a:cubicBezTo>
                    <a:pt x="631" y="15"/>
                    <a:pt x="572" y="0"/>
                    <a:pt x="550" y="59"/>
                  </a:cubicBezTo>
                  <a:cubicBezTo>
                    <a:pt x="527" y="82"/>
                    <a:pt x="535" y="126"/>
                    <a:pt x="505" y="141"/>
                  </a:cubicBezTo>
                  <a:cubicBezTo>
                    <a:pt x="475" y="156"/>
                    <a:pt x="431" y="141"/>
                    <a:pt x="401" y="149"/>
                  </a:cubicBezTo>
                  <a:cubicBezTo>
                    <a:pt x="401" y="164"/>
                    <a:pt x="394" y="178"/>
                    <a:pt x="386" y="186"/>
                  </a:cubicBezTo>
                  <a:cubicBezTo>
                    <a:pt x="379" y="193"/>
                    <a:pt x="371" y="193"/>
                    <a:pt x="371" y="193"/>
                  </a:cubicBezTo>
                  <a:cubicBezTo>
                    <a:pt x="364" y="201"/>
                    <a:pt x="356" y="208"/>
                    <a:pt x="349" y="215"/>
                  </a:cubicBezTo>
                  <a:cubicBezTo>
                    <a:pt x="334" y="230"/>
                    <a:pt x="334" y="230"/>
                    <a:pt x="312" y="223"/>
                  </a:cubicBezTo>
                  <a:cubicBezTo>
                    <a:pt x="290" y="215"/>
                    <a:pt x="290" y="208"/>
                    <a:pt x="282" y="186"/>
                  </a:cubicBezTo>
                  <a:cubicBezTo>
                    <a:pt x="267" y="186"/>
                    <a:pt x="260" y="193"/>
                    <a:pt x="245" y="193"/>
                  </a:cubicBezTo>
                  <a:cubicBezTo>
                    <a:pt x="238" y="215"/>
                    <a:pt x="230" y="230"/>
                    <a:pt x="230" y="253"/>
                  </a:cubicBezTo>
                  <a:cubicBezTo>
                    <a:pt x="260" y="253"/>
                    <a:pt x="275" y="253"/>
                    <a:pt x="282" y="282"/>
                  </a:cubicBezTo>
                  <a:cubicBezTo>
                    <a:pt x="282" y="312"/>
                    <a:pt x="275" y="334"/>
                    <a:pt x="275" y="356"/>
                  </a:cubicBezTo>
                  <a:cubicBezTo>
                    <a:pt x="267" y="401"/>
                    <a:pt x="267" y="446"/>
                    <a:pt x="238" y="475"/>
                  </a:cubicBezTo>
                  <a:cubicBezTo>
                    <a:pt x="230" y="483"/>
                    <a:pt x="223" y="483"/>
                    <a:pt x="208" y="490"/>
                  </a:cubicBezTo>
                  <a:cubicBezTo>
                    <a:pt x="208" y="498"/>
                    <a:pt x="200" y="498"/>
                    <a:pt x="200" y="498"/>
                  </a:cubicBezTo>
                  <a:cubicBezTo>
                    <a:pt x="193" y="498"/>
                    <a:pt x="200" y="505"/>
                    <a:pt x="193" y="512"/>
                  </a:cubicBezTo>
                  <a:cubicBezTo>
                    <a:pt x="186" y="512"/>
                    <a:pt x="178" y="512"/>
                    <a:pt x="171" y="512"/>
                  </a:cubicBezTo>
                  <a:cubicBezTo>
                    <a:pt x="178" y="527"/>
                    <a:pt x="186" y="542"/>
                    <a:pt x="186" y="542"/>
                  </a:cubicBezTo>
                  <a:cubicBezTo>
                    <a:pt x="200" y="564"/>
                    <a:pt x="230" y="587"/>
                    <a:pt x="230" y="616"/>
                  </a:cubicBezTo>
                  <a:cubicBezTo>
                    <a:pt x="200" y="616"/>
                    <a:pt x="171" y="624"/>
                    <a:pt x="156" y="646"/>
                  </a:cubicBezTo>
                  <a:cubicBezTo>
                    <a:pt x="156" y="646"/>
                    <a:pt x="126" y="706"/>
                    <a:pt x="134" y="706"/>
                  </a:cubicBezTo>
                  <a:cubicBezTo>
                    <a:pt x="97" y="706"/>
                    <a:pt x="45" y="691"/>
                    <a:pt x="52" y="743"/>
                  </a:cubicBezTo>
                  <a:cubicBezTo>
                    <a:pt x="52" y="765"/>
                    <a:pt x="67" y="795"/>
                    <a:pt x="45" y="809"/>
                  </a:cubicBezTo>
                  <a:cubicBezTo>
                    <a:pt x="30" y="817"/>
                    <a:pt x="7" y="809"/>
                    <a:pt x="0" y="824"/>
                  </a:cubicBezTo>
                  <a:cubicBezTo>
                    <a:pt x="22" y="847"/>
                    <a:pt x="59" y="832"/>
                    <a:pt x="82" y="847"/>
                  </a:cubicBezTo>
                  <a:cubicBezTo>
                    <a:pt x="111" y="861"/>
                    <a:pt x="156" y="869"/>
                    <a:pt x="178" y="899"/>
                  </a:cubicBezTo>
                  <a:cubicBezTo>
                    <a:pt x="193" y="913"/>
                    <a:pt x="252" y="995"/>
                    <a:pt x="245" y="1017"/>
                  </a:cubicBezTo>
                  <a:cubicBezTo>
                    <a:pt x="148" y="995"/>
                    <a:pt x="267" y="1144"/>
                    <a:pt x="282" y="1166"/>
                  </a:cubicBezTo>
                  <a:cubicBezTo>
                    <a:pt x="305" y="1188"/>
                    <a:pt x="327" y="1218"/>
                    <a:pt x="334" y="1248"/>
                  </a:cubicBezTo>
                  <a:cubicBezTo>
                    <a:pt x="349" y="1285"/>
                    <a:pt x="342" y="1322"/>
                    <a:pt x="342" y="1359"/>
                  </a:cubicBezTo>
                  <a:cubicBezTo>
                    <a:pt x="379" y="1366"/>
                    <a:pt x="431" y="1381"/>
                    <a:pt x="445" y="1329"/>
                  </a:cubicBezTo>
                  <a:cubicBezTo>
                    <a:pt x="453" y="1292"/>
                    <a:pt x="468" y="1285"/>
                    <a:pt x="490" y="1322"/>
                  </a:cubicBezTo>
                  <a:cubicBezTo>
                    <a:pt x="505" y="1352"/>
                    <a:pt x="520" y="1403"/>
                    <a:pt x="550" y="1411"/>
                  </a:cubicBezTo>
                  <a:cubicBezTo>
                    <a:pt x="587" y="1418"/>
                    <a:pt x="609" y="1396"/>
                    <a:pt x="609" y="1448"/>
                  </a:cubicBezTo>
                  <a:cubicBezTo>
                    <a:pt x="609" y="1448"/>
                    <a:pt x="616" y="1448"/>
                    <a:pt x="624" y="1448"/>
                  </a:cubicBezTo>
                  <a:cubicBezTo>
                    <a:pt x="616" y="1470"/>
                    <a:pt x="631" y="1515"/>
                    <a:pt x="624" y="1530"/>
                  </a:cubicBezTo>
                  <a:cubicBezTo>
                    <a:pt x="609" y="1560"/>
                    <a:pt x="602" y="1574"/>
                    <a:pt x="616" y="1597"/>
                  </a:cubicBezTo>
                  <a:cubicBezTo>
                    <a:pt x="653" y="1656"/>
                    <a:pt x="713" y="1641"/>
                    <a:pt x="765" y="1678"/>
                  </a:cubicBezTo>
                  <a:cubicBezTo>
                    <a:pt x="765" y="1686"/>
                    <a:pt x="772" y="1693"/>
                    <a:pt x="772" y="1693"/>
                  </a:cubicBezTo>
                  <a:cubicBezTo>
                    <a:pt x="787" y="1701"/>
                    <a:pt x="802" y="1715"/>
                    <a:pt x="802" y="1715"/>
                  </a:cubicBezTo>
                  <a:cubicBezTo>
                    <a:pt x="802" y="1715"/>
                    <a:pt x="802" y="1723"/>
                    <a:pt x="802" y="1730"/>
                  </a:cubicBezTo>
                  <a:cubicBezTo>
                    <a:pt x="810" y="1753"/>
                    <a:pt x="824" y="1775"/>
                    <a:pt x="839" y="1790"/>
                  </a:cubicBezTo>
                  <a:cubicBezTo>
                    <a:pt x="861" y="1812"/>
                    <a:pt x="884" y="1842"/>
                    <a:pt x="913" y="1871"/>
                  </a:cubicBezTo>
                  <a:cubicBezTo>
                    <a:pt x="936" y="1886"/>
                    <a:pt x="980" y="1908"/>
                    <a:pt x="980" y="1938"/>
                  </a:cubicBezTo>
                  <a:cubicBezTo>
                    <a:pt x="988" y="1975"/>
                    <a:pt x="980" y="2013"/>
                    <a:pt x="980" y="2057"/>
                  </a:cubicBezTo>
                  <a:cubicBezTo>
                    <a:pt x="1025" y="2057"/>
                    <a:pt x="1062" y="2065"/>
                    <a:pt x="1092" y="2102"/>
                  </a:cubicBezTo>
                  <a:cubicBezTo>
                    <a:pt x="1114" y="2139"/>
                    <a:pt x="1151" y="2131"/>
                    <a:pt x="1188" y="2131"/>
                  </a:cubicBezTo>
                  <a:cubicBezTo>
                    <a:pt x="1188" y="2183"/>
                    <a:pt x="1203" y="2176"/>
                    <a:pt x="1225" y="2161"/>
                  </a:cubicBezTo>
                  <a:lnTo>
                    <a:pt x="1225" y="2154"/>
                  </a:lnTo>
                  <a:lnTo>
                    <a:pt x="1225" y="2161"/>
                  </a:lnTo>
                  <a:cubicBezTo>
                    <a:pt x="1240" y="2154"/>
                    <a:pt x="1255" y="2139"/>
                    <a:pt x="1262" y="2131"/>
                  </a:cubicBezTo>
                  <a:cubicBezTo>
                    <a:pt x="1255" y="2139"/>
                    <a:pt x="1240" y="2154"/>
                    <a:pt x="1225" y="2161"/>
                  </a:cubicBezTo>
                  <a:lnTo>
                    <a:pt x="1225" y="2168"/>
                  </a:lnTo>
                  <a:cubicBezTo>
                    <a:pt x="1262" y="2146"/>
                    <a:pt x="1322" y="2116"/>
                    <a:pt x="1344" y="2102"/>
                  </a:cubicBezTo>
                  <a:cubicBezTo>
                    <a:pt x="1366" y="2087"/>
                    <a:pt x="1359" y="2050"/>
                    <a:pt x="1322" y="2050"/>
                  </a:cubicBezTo>
                  <a:cubicBezTo>
                    <a:pt x="1329" y="2020"/>
                    <a:pt x="1366" y="1938"/>
                    <a:pt x="1322" y="1938"/>
                  </a:cubicBezTo>
                  <a:cubicBezTo>
                    <a:pt x="1314" y="1916"/>
                    <a:pt x="1352" y="1812"/>
                    <a:pt x="1381" y="1819"/>
                  </a:cubicBezTo>
                  <a:cubicBezTo>
                    <a:pt x="1381" y="1819"/>
                    <a:pt x="1381" y="1812"/>
                    <a:pt x="1381" y="1805"/>
                  </a:cubicBezTo>
                  <a:cubicBezTo>
                    <a:pt x="1381" y="1805"/>
                    <a:pt x="1381" y="1805"/>
                    <a:pt x="1374" y="1805"/>
                  </a:cubicBezTo>
                  <a:cubicBezTo>
                    <a:pt x="1366" y="1782"/>
                    <a:pt x="1359" y="1768"/>
                    <a:pt x="1366" y="1738"/>
                  </a:cubicBezTo>
                  <a:cubicBezTo>
                    <a:pt x="1381" y="1738"/>
                    <a:pt x="1433" y="1753"/>
                    <a:pt x="1426" y="1715"/>
                  </a:cubicBezTo>
                  <a:cubicBezTo>
                    <a:pt x="1418" y="1723"/>
                    <a:pt x="1411" y="1715"/>
                    <a:pt x="1404" y="1715"/>
                  </a:cubicBezTo>
                  <a:cubicBezTo>
                    <a:pt x="1404" y="1678"/>
                    <a:pt x="1470" y="1597"/>
                    <a:pt x="1515" y="1611"/>
                  </a:cubicBezTo>
                  <a:cubicBezTo>
                    <a:pt x="1530" y="1619"/>
                    <a:pt x="1545" y="1649"/>
                    <a:pt x="1567" y="1641"/>
                  </a:cubicBezTo>
                  <a:cubicBezTo>
                    <a:pt x="1582" y="1641"/>
                    <a:pt x="1589" y="1597"/>
                    <a:pt x="1597" y="1582"/>
                  </a:cubicBezTo>
                  <a:cubicBezTo>
                    <a:pt x="1634" y="1552"/>
                    <a:pt x="1693" y="1589"/>
                    <a:pt x="1723" y="1537"/>
                  </a:cubicBezTo>
                  <a:cubicBezTo>
                    <a:pt x="1760" y="1537"/>
                    <a:pt x="1827" y="1552"/>
                    <a:pt x="1864" y="1567"/>
                  </a:cubicBezTo>
                  <a:cubicBezTo>
                    <a:pt x="1901" y="1582"/>
                    <a:pt x="1923" y="1582"/>
                    <a:pt x="1968" y="1582"/>
                  </a:cubicBezTo>
                  <a:cubicBezTo>
                    <a:pt x="2012" y="1582"/>
                    <a:pt x="2116" y="1597"/>
                    <a:pt x="2109" y="1663"/>
                  </a:cubicBezTo>
                  <a:cubicBezTo>
                    <a:pt x="2124" y="1663"/>
                    <a:pt x="2220" y="1671"/>
                    <a:pt x="2220" y="1656"/>
                  </a:cubicBezTo>
                  <a:cubicBezTo>
                    <a:pt x="2213" y="1634"/>
                    <a:pt x="2198" y="1611"/>
                    <a:pt x="2183" y="1589"/>
                  </a:cubicBezTo>
                  <a:cubicBezTo>
                    <a:pt x="2176" y="1574"/>
                    <a:pt x="2168" y="1530"/>
                    <a:pt x="2161" y="1485"/>
                  </a:cubicBezTo>
                  <a:cubicBezTo>
                    <a:pt x="2154" y="1485"/>
                    <a:pt x="2146" y="1478"/>
                    <a:pt x="2146" y="1470"/>
                  </a:cubicBezTo>
                  <a:cubicBezTo>
                    <a:pt x="2131" y="1448"/>
                    <a:pt x="2139" y="1411"/>
                    <a:pt x="2131" y="1381"/>
                  </a:cubicBezTo>
                  <a:cubicBezTo>
                    <a:pt x="2124" y="1389"/>
                    <a:pt x="2116" y="1389"/>
                    <a:pt x="2109" y="1396"/>
                  </a:cubicBezTo>
                  <a:cubicBezTo>
                    <a:pt x="2102" y="1403"/>
                    <a:pt x="2087" y="1314"/>
                    <a:pt x="2087" y="1307"/>
                  </a:cubicBezTo>
                  <a:cubicBezTo>
                    <a:pt x="2094" y="1285"/>
                    <a:pt x="2109" y="1277"/>
                    <a:pt x="2124" y="1255"/>
                  </a:cubicBezTo>
                  <a:cubicBezTo>
                    <a:pt x="2131" y="1233"/>
                    <a:pt x="2131" y="1188"/>
                    <a:pt x="2131" y="1158"/>
                  </a:cubicBezTo>
                  <a:cubicBezTo>
                    <a:pt x="2124" y="1084"/>
                    <a:pt x="2064" y="1032"/>
                    <a:pt x="2057" y="958"/>
                  </a:cubicBezTo>
                  <a:cubicBezTo>
                    <a:pt x="2057" y="951"/>
                    <a:pt x="2057" y="928"/>
                    <a:pt x="2049" y="921"/>
                  </a:cubicBezTo>
                  <a:cubicBezTo>
                    <a:pt x="2042" y="899"/>
                    <a:pt x="2035" y="913"/>
                    <a:pt x="2020" y="899"/>
                  </a:cubicBezTo>
                  <a:cubicBezTo>
                    <a:pt x="1998" y="884"/>
                    <a:pt x="2005" y="854"/>
                    <a:pt x="2005" y="832"/>
                  </a:cubicBezTo>
                  <a:cubicBezTo>
                    <a:pt x="2005" y="817"/>
                    <a:pt x="2012" y="802"/>
                    <a:pt x="2005" y="787"/>
                  </a:cubicBezTo>
                  <a:cubicBezTo>
                    <a:pt x="1990" y="765"/>
                    <a:pt x="1960" y="765"/>
                    <a:pt x="1953" y="743"/>
                  </a:cubicBezTo>
                  <a:cubicBezTo>
                    <a:pt x="1946" y="720"/>
                    <a:pt x="1968" y="713"/>
                    <a:pt x="1983" y="698"/>
                  </a:cubicBezTo>
                  <a:cubicBezTo>
                    <a:pt x="1983" y="691"/>
                    <a:pt x="1983" y="676"/>
                    <a:pt x="1983" y="668"/>
                  </a:cubicBezTo>
                  <a:cubicBezTo>
                    <a:pt x="1968" y="668"/>
                    <a:pt x="1953" y="668"/>
                    <a:pt x="1938" y="668"/>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8" name="Freeform 16">
              <a:extLst>
                <a:ext uri="{FF2B5EF4-FFF2-40B4-BE49-F238E27FC236}">
                  <a16:creationId xmlns:a16="http://schemas.microsoft.com/office/drawing/2014/main" id="{6854E421-AC83-294F-A022-89618AB7FBE5}"/>
                </a:ext>
              </a:extLst>
            </p:cNvPr>
            <p:cNvSpPr>
              <a:spLocks noChangeArrowheads="1"/>
            </p:cNvSpPr>
            <p:nvPr/>
          </p:nvSpPr>
          <p:spPr bwMode="auto">
            <a:xfrm>
              <a:off x="11855156" y="7648312"/>
              <a:ext cx="1894927" cy="1510744"/>
            </a:xfrm>
            <a:custGeom>
              <a:avLst/>
              <a:gdLst>
                <a:gd name="T0" fmla="*/ 4143 w 4382"/>
                <a:gd name="T1" fmla="*/ 446 h 3499"/>
                <a:gd name="T2" fmla="*/ 3853 w 4382"/>
                <a:gd name="T3" fmla="*/ 267 h 3499"/>
                <a:gd name="T4" fmla="*/ 3801 w 4382"/>
                <a:gd name="T5" fmla="*/ 260 h 3499"/>
                <a:gd name="T6" fmla="*/ 3408 w 4382"/>
                <a:gd name="T7" fmla="*/ 59 h 3499"/>
                <a:gd name="T8" fmla="*/ 3282 w 4382"/>
                <a:gd name="T9" fmla="*/ 416 h 3499"/>
                <a:gd name="T10" fmla="*/ 2903 w 4382"/>
                <a:gd name="T11" fmla="*/ 297 h 3499"/>
                <a:gd name="T12" fmla="*/ 2702 w 4382"/>
                <a:gd name="T13" fmla="*/ 267 h 3499"/>
                <a:gd name="T14" fmla="*/ 2346 w 4382"/>
                <a:gd name="T15" fmla="*/ 97 h 3499"/>
                <a:gd name="T16" fmla="*/ 1975 w 4382"/>
                <a:gd name="T17" fmla="*/ 15 h 3499"/>
                <a:gd name="T18" fmla="*/ 1952 w 4382"/>
                <a:gd name="T19" fmla="*/ 22 h 3499"/>
                <a:gd name="T20" fmla="*/ 1618 w 4382"/>
                <a:gd name="T21" fmla="*/ 357 h 3499"/>
                <a:gd name="T22" fmla="*/ 1499 w 4382"/>
                <a:gd name="T23" fmla="*/ 683 h 3499"/>
                <a:gd name="T24" fmla="*/ 1373 w 4382"/>
                <a:gd name="T25" fmla="*/ 965 h 3499"/>
                <a:gd name="T26" fmla="*/ 950 w 4382"/>
                <a:gd name="T27" fmla="*/ 1002 h 3499"/>
                <a:gd name="T28" fmla="*/ 765 w 4382"/>
                <a:gd name="T29" fmla="*/ 1188 h 3499"/>
                <a:gd name="T30" fmla="*/ 795 w 4382"/>
                <a:gd name="T31" fmla="*/ 1730 h 3499"/>
                <a:gd name="T32" fmla="*/ 987 w 4382"/>
                <a:gd name="T33" fmla="*/ 1998 h 3499"/>
                <a:gd name="T34" fmla="*/ 706 w 4382"/>
                <a:gd name="T35" fmla="*/ 1901 h 3499"/>
                <a:gd name="T36" fmla="*/ 468 w 4382"/>
                <a:gd name="T37" fmla="*/ 1975 h 3499"/>
                <a:gd name="T38" fmla="*/ 594 w 4382"/>
                <a:gd name="T39" fmla="*/ 2309 h 3499"/>
                <a:gd name="T40" fmla="*/ 550 w 4382"/>
                <a:gd name="T41" fmla="*/ 2800 h 3499"/>
                <a:gd name="T42" fmla="*/ 372 w 4382"/>
                <a:gd name="T43" fmla="*/ 2963 h 3499"/>
                <a:gd name="T44" fmla="*/ 112 w 4382"/>
                <a:gd name="T45" fmla="*/ 3186 h 3499"/>
                <a:gd name="T46" fmla="*/ 134 w 4382"/>
                <a:gd name="T47" fmla="*/ 3483 h 3499"/>
                <a:gd name="T48" fmla="*/ 431 w 4382"/>
                <a:gd name="T49" fmla="*/ 3394 h 3499"/>
                <a:gd name="T50" fmla="*/ 676 w 4382"/>
                <a:gd name="T51" fmla="*/ 3349 h 3499"/>
                <a:gd name="T52" fmla="*/ 713 w 4382"/>
                <a:gd name="T53" fmla="*/ 3253 h 3499"/>
                <a:gd name="T54" fmla="*/ 728 w 4382"/>
                <a:gd name="T55" fmla="*/ 3067 h 3499"/>
                <a:gd name="T56" fmla="*/ 1031 w 4382"/>
                <a:gd name="T57" fmla="*/ 3126 h 3499"/>
                <a:gd name="T58" fmla="*/ 1224 w 4382"/>
                <a:gd name="T59" fmla="*/ 3104 h 3499"/>
                <a:gd name="T60" fmla="*/ 1195 w 4382"/>
                <a:gd name="T61" fmla="*/ 2941 h 3499"/>
                <a:gd name="T62" fmla="*/ 1410 w 4382"/>
                <a:gd name="T63" fmla="*/ 2807 h 3499"/>
                <a:gd name="T64" fmla="*/ 1514 w 4382"/>
                <a:gd name="T65" fmla="*/ 2703 h 3499"/>
                <a:gd name="T66" fmla="*/ 1626 w 4382"/>
                <a:gd name="T67" fmla="*/ 2547 h 3499"/>
                <a:gd name="T68" fmla="*/ 1796 w 4382"/>
                <a:gd name="T69" fmla="*/ 2770 h 3499"/>
                <a:gd name="T70" fmla="*/ 2116 w 4382"/>
                <a:gd name="T71" fmla="*/ 2807 h 3499"/>
                <a:gd name="T72" fmla="*/ 2234 w 4382"/>
                <a:gd name="T73" fmla="*/ 2658 h 3499"/>
                <a:gd name="T74" fmla="*/ 2450 w 4382"/>
                <a:gd name="T75" fmla="*/ 2614 h 3499"/>
                <a:gd name="T76" fmla="*/ 2628 w 4382"/>
                <a:gd name="T77" fmla="*/ 2354 h 3499"/>
                <a:gd name="T78" fmla="*/ 2858 w 4382"/>
                <a:gd name="T79" fmla="*/ 2183 h 3499"/>
                <a:gd name="T80" fmla="*/ 2784 w 4382"/>
                <a:gd name="T81" fmla="*/ 2131 h 3499"/>
                <a:gd name="T82" fmla="*/ 2702 w 4382"/>
                <a:gd name="T83" fmla="*/ 2220 h 3499"/>
                <a:gd name="T84" fmla="*/ 2999 w 4382"/>
                <a:gd name="T85" fmla="*/ 1998 h 3499"/>
                <a:gd name="T86" fmla="*/ 2895 w 4382"/>
                <a:gd name="T87" fmla="*/ 2153 h 3499"/>
                <a:gd name="T88" fmla="*/ 3445 w 4382"/>
                <a:gd name="T89" fmla="*/ 1975 h 3499"/>
                <a:gd name="T90" fmla="*/ 3846 w 4382"/>
                <a:gd name="T91" fmla="*/ 1671 h 3499"/>
                <a:gd name="T92" fmla="*/ 4069 w 4382"/>
                <a:gd name="T93" fmla="*/ 1314 h 3499"/>
                <a:gd name="T94" fmla="*/ 3980 w 4382"/>
                <a:gd name="T95" fmla="*/ 1351 h 3499"/>
                <a:gd name="T96" fmla="*/ 3980 w 4382"/>
                <a:gd name="T97" fmla="*/ 1196 h 3499"/>
                <a:gd name="T98" fmla="*/ 4098 w 4382"/>
                <a:gd name="T99" fmla="*/ 772 h 3499"/>
                <a:gd name="T100" fmla="*/ 4381 w 4382"/>
                <a:gd name="T101" fmla="*/ 698 h 3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82" h="3499">
                  <a:moveTo>
                    <a:pt x="4299" y="594"/>
                  </a:moveTo>
                  <a:lnTo>
                    <a:pt x="4299" y="594"/>
                  </a:lnTo>
                  <a:cubicBezTo>
                    <a:pt x="4262" y="564"/>
                    <a:pt x="4210" y="572"/>
                    <a:pt x="4195" y="520"/>
                  </a:cubicBezTo>
                  <a:cubicBezTo>
                    <a:pt x="4187" y="490"/>
                    <a:pt x="4187" y="438"/>
                    <a:pt x="4143" y="446"/>
                  </a:cubicBezTo>
                  <a:cubicBezTo>
                    <a:pt x="4121" y="490"/>
                    <a:pt x="4121" y="483"/>
                    <a:pt x="4084" y="497"/>
                  </a:cubicBezTo>
                  <a:cubicBezTo>
                    <a:pt x="4076" y="542"/>
                    <a:pt x="4032" y="512"/>
                    <a:pt x="4024" y="490"/>
                  </a:cubicBezTo>
                  <a:cubicBezTo>
                    <a:pt x="3995" y="446"/>
                    <a:pt x="4039" y="401"/>
                    <a:pt x="4002" y="357"/>
                  </a:cubicBezTo>
                  <a:cubicBezTo>
                    <a:pt x="3950" y="312"/>
                    <a:pt x="3876" y="357"/>
                    <a:pt x="3853" y="267"/>
                  </a:cubicBezTo>
                  <a:cubicBezTo>
                    <a:pt x="3846" y="267"/>
                    <a:pt x="3838" y="267"/>
                    <a:pt x="3831" y="260"/>
                  </a:cubicBezTo>
                  <a:lnTo>
                    <a:pt x="3831" y="260"/>
                  </a:lnTo>
                  <a:lnTo>
                    <a:pt x="3831" y="260"/>
                  </a:lnTo>
                  <a:cubicBezTo>
                    <a:pt x="3824" y="260"/>
                    <a:pt x="3816" y="260"/>
                    <a:pt x="3801" y="260"/>
                  </a:cubicBezTo>
                  <a:cubicBezTo>
                    <a:pt x="3816" y="186"/>
                    <a:pt x="3683" y="104"/>
                    <a:pt x="3660" y="193"/>
                  </a:cubicBezTo>
                  <a:cubicBezTo>
                    <a:pt x="3653" y="200"/>
                    <a:pt x="3638" y="200"/>
                    <a:pt x="3630" y="200"/>
                  </a:cubicBezTo>
                  <a:cubicBezTo>
                    <a:pt x="3638" y="171"/>
                    <a:pt x="3586" y="111"/>
                    <a:pt x="3564" y="89"/>
                  </a:cubicBezTo>
                  <a:cubicBezTo>
                    <a:pt x="3527" y="45"/>
                    <a:pt x="3460" y="67"/>
                    <a:pt x="3408" y="59"/>
                  </a:cubicBezTo>
                  <a:cubicBezTo>
                    <a:pt x="3415" y="0"/>
                    <a:pt x="3333" y="30"/>
                    <a:pt x="3296" y="37"/>
                  </a:cubicBezTo>
                  <a:cubicBezTo>
                    <a:pt x="3311" y="67"/>
                    <a:pt x="3393" y="193"/>
                    <a:pt x="3326" y="215"/>
                  </a:cubicBezTo>
                  <a:cubicBezTo>
                    <a:pt x="3319" y="252"/>
                    <a:pt x="3356" y="282"/>
                    <a:pt x="3348" y="327"/>
                  </a:cubicBezTo>
                  <a:cubicBezTo>
                    <a:pt x="3282" y="319"/>
                    <a:pt x="3304" y="386"/>
                    <a:pt x="3282" y="416"/>
                  </a:cubicBezTo>
                  <a:cubicBezTo>
                    <a:pt x="3244" y="423"/>
                    <a:pt x="3222" y="408"/>
                    <a:pt x="3193" y="401"/>
                  </a:cubicBezTo>
                  <a:cubicBezTo>
                    <a:pt x="3215" y="379"/>
                    <a:pt x="3237" y="349"/>
                    <a:pt x="3193" y="334"/>
                  </a:cubicBezTo>
                  <a:cubicBezTo>
                    <a:pt x="3148" y="379"/>
                    <a:pt x="3096" y="334"/>
                    <a:pt x="3051" y="312"/>
                  </a:cubicBezTo>
                  <a:cubicBezTo>
                    <a:pt x="3007" y="297"/>
                    <a:pt x="2947" y="275"/>
                    <a:pt x="2903" y="297"/>
                  </a:cubicBezTo>
                  <a:cubicBezTo>
                    <a:pt x="2866" y="312"/>
                    <a:pt x="2851" y="364"/>
                    <a:pt x="2806" y="371"/>
                  </a:cubicBezTo>
                  <a:cubicBezTo>
                    <a:pt x="2747" y="379"/>
                    <a:pt x="2695" y="334"/>
                    <a:pt x="2643" y="327"/>
                  </a:cubicBezTo>
                  <a:cubicBezTo>
                    <a:pt x="2650" y="304"/>
                    <a:pt x="2688" y="304"/>
                    <a:pt x="2688" y="275"/>
                  </a:cubicBezTo>
                  <a:cubicBezTo>
                    <a:pt x="2695" y="267"/>
                    <a:pt x="2695" y="267"/>
                    <a:pt x="2702" y="267"/>
                  </a:cubicBezTo>
                  <a:cubicBezTo>
                    <a:pt x="2710" y="193"/>
                    <a:pt x="2710" y="111"/>
                    <a:pt x="2702" y="37"/>
                  </a:cubicBezTo>
                  <a:cubicBezTo>
                    <a:pt x="2665" y="30"/>
                    <a:pt x="2636" y="59"/>
                    <a:pt x="2606" y="74"/>
                  </a:cubicBezTo>
                  <a:cubicBezTo>
                    <a:pt x="2569" y="89"/>
                    <a:pt x="2531" y="97"/>
                    <a:pt x="2494" y="104"/>
                  </a:cubicBezTo>
                  <a:cubicBezTo>
                    <a:pt x="2442" y="111"/>
                    <a:pt x="2398" y="89"/>
                    <a:pt x="2346" y="97"/>
                  </a:cubicBezTo>
                  <a:cubicBezTo>
                    <a:pt x="2316" y="104"/>
                    <a:pt x="2294" y="119"/>
                    <a:pt x="2272" y="134"/>
                  </a:cubicBezTo>
                  <a:cubicBezTo>
                    <a:pt x="2212" y="163"/>
                    <a:pt x="2093" y="148"/>
                    <a:pt x="2056" y="104"/>
                  </a:cubicBezTo>
                  <a:cubicBezTo>
                    <a:pt x="2034" y="82"/>
                    <a:pt x="2034" y="45"/>
                    <a:pt x="2012" y="30"/>
                  </a:cubicBezTo>
                  <a:cubicBezTo>
                    <a:pt x="2004" y="15"/>
                    <a:pt x="1989" y="15"/>
                    <a:pt x="1975" y="15"/>
                  </a:cubicBezTo>
                  <a:lnTo>
                    <a:pt x="1975" y="15"/>
                  </a:lnTo>
                  <a:lnTo>
                    <a:pt x="1975" y="15"/>
                  </a:lnTo>
                  <a:cubicBezTo>
                    <a:pt x="1960" y="15"/>
                    <a:pt x="1952" y="15"/>
                    <a:pt x="1937" y="15"/>
                  </a:cubicBezTo>
                  <a:cubicBezTo>
                    <a:pt x="1937" y="15"/>
                    <a:pt x="1945" y="15"/>
                    <a:pt x="1952" y="22"/>
                  </a:cubicBezTo>
                  <a:cubicBezTo>
                    <a:pt x="1952" y="97"/>
                    <a:pt x="1960" y="126"/>
                    <a:pt x="1871" y="148"/>
                  </a:cubicBezTo>
                  <a:cubicBezTo>
                    <a:pt x="1826" y="156"/>
                    <a:pt x="1759" y="215"/>
                    <a:pt x="1722" y="245"/>
                  </a:cubicBezTo>
                  <a:cubicBezTo>
                    <a:pt x="1700" y="252"/>
                    <a:pt x="1655" y="282"/>
                    <a:pt x="1655" y="312"/>
                  </a:cubicBezTo>
                  <a:cubicBezTo>
                    <a:pt x="1655" y="349"/>
                    <a:pt x="1633" y="327"/>
                    <a:pt x="1618" y="357"/>
                  </a:cubicBezTo>
                  <a:cubicBezTo>
                    <a:pt x="1588" y="416"/>
                    <a:pt x="1640" y="438"/>
                    <a:pt x="1663" y="483"/>
                  </a:cubicBezTo>
                  <a:cubicBezTo>
                    <a:pt x="1611" y="512"/>
                    <a:pt x="1581" y="527"/>
                    <a:pt x="1566" y="587"/>
                  </a:cubicBezTo>
                  <a:cubicBezTo>
                    <a:pt x="1544" y="594"/>
                    <a:pt x="1559" y="616"/>
                    <a:pt x="1551" y="639"/>
                  </a:cubicBezTo>
                  <a:cubicBezTo>
                    <a:pt x="1551" y="654"/>
                    <a:pt x="1514" y="661"/>
                    <a:pt x="1499" y="683"/>
                  </a:cubicBezTo>
                  <a:cubicBezTo>
                    <a:pt x="1477" y="713"/>
                    <a:pt x="1470" y="765"/>
                    <a:pt x="1477" y="802"/>
                  </a:cubicBezTo>
                  <a:cubicBezTo>
                    <a:pt x="1477" y="832"/>
                    <a:pt x="1514" y="847"/>
                    <a:pt x="1507" y="876"/>
                  </a:cubicBezTo>
                  <a:cubicBezTo>
                    <a:pt x="1470" y="876"/>
                    <a:pt x="1403" y="861"/>
                    <a:pt x="1381" y="899"/>
                  </a:cubicBezTo>
                  <a:cubicBezTo>
                    <a:pt x="1366" y="913"/>
                    <a:pt x="1381" y="943"/>
                    <a:pt x="1373" y="965"/>
                  </a:cubicBezTo>
                  <a:cubicBezTo>
                    <a:pt x="1366" y="995"/>
                    <a:pt x="1351" y="1017"/>
                    <a:pt x="1343" y="1040"/>
                  </a:cubicBezTo>
                  <a:cubicBezTo>
                    <a:pt x="1314" y="1040"/>
                    <a:pt x="1291" y="1047"/>
                    <a:pt x="1269" y="1025"/>
                  </a:cubicBezTo>
                  <a:cubicBezTo>
                    <a:pt x="1247" y="1002"/>
                    <a:pt x="1202" y="1010"/>
                    <a:pt x="1180" y="1010"/>
                  </a:cubicBezTo>
                  <a:cubicBezTo>
                    <a:pt x="1106" y="1010"/>
                    <a:pt x="1024" y="995"/>
                    <a:pt x="950" y="1002"/>
                  </a:cubicBezTo>
                  <a:cubicBezTo>
                    <a:pt x="950" y="1069"/>
                    <a:pt x="928" y="1129"/>
                    <a:pt x="899" y="1188"/>
                  </a:cubicBezTo>
                  <a:cubicBezTo>
                    <a:pt x="884" y="1203"/>
                    <a:pt x="869" y="1240"/>
                    <a:pt x="854" y="1248"/>
                  </a:cubicBezTo>
                  <a:cubicBezTo>
                    <a:pt x="817" y="1255"/>
                    <a:pt x="802" y="1225"/>
                    <a:pt x="802" y="1196"/>
                  </a:cubicBezTo>
                  <a:cubicBezTo>
                    <a:pt x="787" y="1188"/>
                    <a:pt x="773" y="1188"/>
                    <a:pt x="765" y="1188"/>
                  </a:cubicBezTo>
                  <a:cubicBezTo>
                    <a:pt x="758" y="1262"/>
                    <a:pt x="750" y="1344"/>
                    <a:pt x="758" y="1418"/>
                  </a:cubicBezTo>
                  <a:cubicBezTo>
                    <a:pt x="758" y="1448"/>
                    <a:pt x="750" y="1470"/>
                    <a:pt x="758" y="1500"/>
                  </a:cubicBezTo>
                  <a:cubicBezTo>
                    <a:pt x="758" y="1522"/>
                    <a:pt x="787" y="1515"/>
                    <a:pt x="795" y="1530"/>
                  </a:cubicBezTo>
                  <a:cubicBezTo>
                    <a:pt x="839" y="1589"/>
                    <a:pt x="802" y="1663"/>
                    <a:pt x="795" y="1730"/>
                  </a:cubicBezTo>
                  <a:cubicBezTo>
                    <a:pt x="787" y="1760"/>
                    <a:pt x="780" y="1797"/>
                    <a:pt x="780" y="1834"/>
                  </a:cubicBezTo>
                  <a:cubicBezTo>
                    <a:pt x="787" y="1871"/>
                    <a:pt x="847" y="1879"/>
                    <a:pt x="877" y="1886"/>
                  </a:cubicBezTo>
                  <a:cubicBezTo>
                    <a:pt x="884" y="1886"/>
                    <a:pt x="979" y="1879"/>
                    <a:pt x="979" y="1886"/>
                  </a:cubicBezTo>
                  <a:cubicBezTo>
                    <a:pt x="1002" y="1916"/>
                    <a:pt x="987" y="1961"/>
                    <a:pt x="987" y="1998"/>
                  </a:cubicBezTo>
                  <a:cubicBezTo>
                    <a:pt x="965" y="2012"/>
                    <a:pt x="950" y="2042"/>
                    <a:pt x="914" y="2035"/>
                  </a:cubicBezTo>
                  <a:cubicBezTo>
                    <a:pt x="914" y="2012"/>
                    <a:pt x="914" y="1983"/>
                    <a:pt x="914" y="1961"/>
                  </a:cubicBezTo>
                  <a:cubicBezTo>
                    <a:pt x="877" y="1946"/>
                    <a:pt x="758" y="1923"/>
                    <a:pt x="765" y="1990"/>
                  </a:cubicBezTo>
                  <a:cubicBezTo>
                    <a:pt x="706" y="2005"/>
                    <a:pt x="706" y="1938"/>
                    <a:pt x="706" y="1901"/>
                  </a:cubicBezTo>
                  <a:cubicBezTo>
                    <a:pt x="639" y="1856"/>
                    <a:pt x="587" y="1842"/>
                    <a:pt x="505" y="1842"/>
                  </a:cubicBezTo>
                  <a:cubicBezTo>
                    <a:pt x="513" y="1790"/>
                    <a:pt x="453" y="1804"/>
                    <a:pt x="423" y="1804"/>
                  </a:cubicBezTo>
                  <a:cubicBezTo>
                    <a:pt x="423" y="1864"/>
                    <a:pt x="372" y="1916"/>
                    <a:pt x="409" y="1975"/>
                  </a:cubicBezTo>
                  <a:cubicBezTo>
                    <a:pt x="423" y="1975"/>
                    <a:pt x="446" y="1975"/>
                    <a:pt x="468" y="1975"/>
                  </a:cubicBezTo>
                  <a:cubicBezTo>
                    <a:pt x="468" y="2027"/>
                    <a:pt x="528" y="1998"/>
                    <a:pt x="542" y="2042"/>
                  </a:cubicBezTo>
                  <a:cubicBezTo>
                    <a:pt x="565" y="2109"/>
                    <a:pt x="498" y="2168"/>
                    <a:pt x="498" y="2235"/>
                  </a:cubicBezTo>
                  <a:cubicBezTo>
                    <a:pt x="513" y="2235"/>
                    <a:pt x="535" y="2243"/>
                    <a:pt x="542" y="2243"/>
                  </a:cubicBezTo>
                  <a:cubicBezTo>
                    <a:pt x="550" y="2272"/>
                    <a:pt x="587" y="2280"/>
                    <a:pt x="594" y="2309"/>
                  </a:cubicBezTo>
                  <a:cubicBezTo>
                    <a:pt x="617" y="2339"/>
                    <a:pt x="602" y="2384"/>
                    <a:pt x="602" y="2421"/>
                  </a:cubicBezTo>
                  <a:cubicBezTo>
                    <a:pt x="602" y="2510"/>
                    <a:pt x="639" y="2592"/>
                    <a:pt x="624" y="2688"/>
                  </a:cubicBezTo>
                  <a:cubicBezTo>
                    <a:pt x="609" y="2688"/>
                    <a:pt x="594" y="2688"/>
                    <a:pt x="572" y="2688"/>
                  </a:cubicBezTo>
                  <a:cubicBezTo>
                    <a:pt x="580" y="2718"/>
                    <a:pt x="580" y="2777"/>
                    <a:pt x="550" y="2800"/>
                  </a:cubicBezTo>
                  <a:cubicBezTo>
                    <a:pt x="528" y="2822"/>
                    <a:pt x="483" y="2800"/>
                    <a:pt x="475" y="2852"/>
                  </a:cubicBezTo>
                  <a:cubicBezTo>
                    <a:pt x="446" y="2852"/>
                    <a:pt x="416" y="2852"/>
                    <a:pt x="386" y="2859"/>
                  </a:cubicBezTo>
                  <a:cubicBezTo>
                    <a:pt x="431" y="2889"/>
                    <a:pt x="438" y="2903"/>
                    <a:pt x="431" y="2955"/>
                  </a:cubicBezTo>
                  <a:cubicBezTo>
                    <a:pt x="409" y="2955"/>
                    <a:pt x="394" y="2963"/>
                    <a:pt x="372" y="2963"/>
                  </a:cubicBezTo>
                  <a:cubicBezTo>
                    <a:pt x="327" y="3000"/>
                    <a:pt x="327" y="3082"/>
                    <a:pt x="268" y="3111"/>
                  </a:cubicBezTo>
                  <a:cubicBezTo>
                    <a:pt x="253" y="3119"/>
                    <a:pt x="230" y="3104"/>
                    <a:pt x="215" y="3111"/>
                  </a:cubicBezTo>
                  <a:cubicBezTo>
                    <a:pt x="201" y="3119"/>
                    <a:pt x="193" y="3126"/>
                    <a:pt x="178" y="3134"/>
                  </a:cubicBezTo>
                  <a:cubicBezTo>
                    <a:pt x="156" y="3156"/>
                    <a:pt x="141" y="3178"/>
                    <a:pt x="112" y="3186"/>
                  </a:cubicBezTo>
                  <a:cubicBezTo>
                    <a:pt x="104" y="3238"/>
                    <a:pt x="104" y="3297"/>
                    <a:pt x="67" y="3342"/>
                  </a:cubicBezTo>
                  <a:cubicBezTo>
                    <a:pt x="37" y="3386"/>
                    <a:pt x="0" y="3408"/>
                    <a:pt x="0" y="3468"/>
                  </a:cubicBezTo>
                  <a:cubicBezTo>
                    <a:pt x="0" y="3468"/>
                    <a:pt x="0" y="3483"/>
                    <a:pt x="0" y="3498"/>
                  </a:cubicBezTo>
                  <a:cubicBezTo>
                    <a:pt x="45" y="3490"/>
                    <a:pt x="89" y="3483"/>
                    <a:pt x="134" y="3483"/>
                  </a:cubicBezTo>
                  <a:cubicBezTo>
                    <a:pt x="178" y="3490"/>
                    <a:pt x="193" y="3475"/>
                    <a:pt x="230" y="3468"/>
                  </a:cubicBezTo>
                  <a:cubicBezTo>
                    <a:pt x="245" y="3460"/>
                    <a:pt x="268" y="3468"/>
                    <a:pt x="290" y="3468"/>
                  </a:cubicBezTo>
                  <a:cubicBezTo>
                    <a:pt x="305" y="3468"/>
                    <a:pt x="320" y="3453"/>
                    <a:pt x="342" y="3453"/>
                  </a:cubicBezTo>
                  <a:cubicBezTo>
                    <a:pt x="349" y="3386"/>
                    <a:pt x="379" y="3401"/>
                    <a:pt x="431" y="3394"/>
                  </a:cubicBezTo>
                  <a:cubicBezTo>
                    <a:pt x="475" y="3386"/>
                    <a:pt x="490" y="3327"/>
                    <a:pt x="542" y="3334"/>
                  </a:cubicBezTo>
                  <a:cubicBezTo>
                    <a:pt x="565" y="3334"/>
                    <a:pt x="594" y="3334"/>
                    <a:pt x="609" y="3357"/>
                  </a:cubicBezTo>
                  <a:cubicBezTo>
                    <a:pt x="617" y="3371"/>
                    <a:pt x="617" y="3394"/>
                    <a:pt x="639" y="3394"/>
                  </a:cubicBezTo>
                  <a:cubicBezTo>
                    <a:pt x="676" y="3401"/>
                    <a:pt x="669" y="3371"/>
                    <a:pt x="676" y="3349"/>
                  </a:cubicBezTo>
                  <a:cubicBezTo>
                    <a:pt x="691" y="3327"/>
                    <a:pt x="698" y="3342"/>
                    <a:pt x="720" y="3334"/>
                  </a:cubicBezTo>
                  <a:cubicBezTo>
                    <a:pt x="720" y="3319"/>
                    <a:pt x="713" y="3290"/>
                    <a:pt x="743" y="3290"/>
                  </a:cubicBezTo>
                  <a:cubicBezTo>
                    <a:pt x="743" y="3282"/>
                    <a:pt x="743" y="3268"/>
                    <a:pt x="743" y="3260"/>
                  </a:cubicBezTo>
                  <a:cubicBezTo>
                    <a:pt x="728" y="3260"/>
                    <a:pt x="720" y="3253"/>
                    <a:pt x="713" y="3253"/>
                  </a:cubicBezTo>
                  <a:cubicBezTo>
                    <a:pt x="713" y="3230"/>
                    <a:pt x="706" y="3193"/>
                    <a:pt x="728" y="3186"/>
                  </a:cubicBezTo>
                  <a:cubicBezTo>
                    <a:pt x="743" y="3178"/>
                    <a:pt x="750" y="3171"/>
                    <a:pt x="750" y="3156"/>
                  </a:cubicBezTo>
                  <a:cubicBezTo>
                    <a:pt x="743" y="3156"/>
                    <a:pt x="743" y="3156"/>
                    <a:pt x="735" y="3156"/>
                  </a:cubicBezTo>
                  <a:cubicBezTo>
                    <a:pt x="743" y="3126"/>
                    <a:pt x="720" y="3097"/>
                    <a:pt x="728" y="3067"/>
                  </a:cubicBezTo>
                  <a:cubicBezTo>
                    <a:pt x="773" y="3060"/>
                    <a:pt x="787" y="3037"/>
                    <a:pt x="817" y="3000"/>
                  </a:cubicBezTo>
                  <a:cubicBezTo>
                    <a:pt x="869" y="3015"/>
                    <a:pt x="891" y="3082"/>
                    <a:pt x="906" y="3126"/>
                  </a:cubicBezTo>
                  <a:cubicBezTo>
                    <a:pt x="942" y="3134"/>
                    <a:pt x="899" y="3163"/>
                    <a:pt x="884" y="3171"/>
                  </a:cubicBezTo>
                  <a:cubicBezTo>
                    <a:pt x="899" y="3260"/>
                    <a:pt x="987" y="3119"/>
                    <a:pt x="1031" y="3126"/>
                  </a:cubicBezTo>
                  <a:cubicBezTo>
                    <a:pt x="1031" y="3111"/>
                    <a:pt x="1031" y="3089"/>
                    <a:pt x="1031" y="3074"/>
                  </a:cubicBezTo>
                  <a:cubicBezTo>
                    <a:pt x="1061" y="3074"/>
                    <a:pt x="1084" y="3074"/>
                    <a:pt x="1098" y="3097"/>
                  </a:cubicBezTo>
                  <a:cubicBezTo>
                    <a:pt x="1106" y="3119"/>
                    <a:pt x="1121" y="3141"/>
                    <a:pt x="1143" y="3141"/>
                  </a:cubicBezTo>
                  <a:cubicBezTo>
                    <a:pt x="1173" y="3141"/>
                    <a:pt x="1187" y="3097"/>
                    <a:pt x="1224" y="3104"/>
                  </a:cubicBezTo>
                  <a:cubicBezTo>
                    <a:pt x="1224" y="3089"/>
                    <a:pt x="1224" y="3089"/>
                    <a:pt x="1210" y="3082"/>
                  </a:cubicBezTo>
                  <a:cubicBezTo>
                    <a:pt x="1210" y="3052"/>
                    <a:pt x="1217" y="3030"/>
                    <a:pt x="1247" y="3037"/>
                  </a:cubicBezTo>
                  <a:cubicBezTo>
                    <a:pt x="1254" y="3022"/>
                    <a:pt x="1254" y="3000"/>
                    <a:pt x="1232" y="3000"/>
                  </a:cubicBezTo>
                  <a:cubicBezTo>
                    <a:pt x="1232" y="2970"/>
                    <a:pt x="1187" y="2978"/>
                    <a:pt x="1195" y="2941"/>
                  </a:cubicBezTo>
                  <a:cubicBezTo>
                    <a:pt x="1195" y="2911"/>
                    <a:pt x="1210" y="2903"/>
                    <a:pt x="1232" y="2896"/>
                  </a:cubicBezTo>
                  <a:cubicBezTo>
                    <a:pt x="1276" y="2889"/>
                    <a:pt x="1247" y="2829"/>
                    <a:pt x="1262" y="2822"/>
                  </a:cubicBezTo>
                  <a:cubicBezTo>
                    <a:pt x="1284" y="2814"/>
                    <a:pt x="1306" y="2829"/>
                    <a:pt x="1329" y="2829"/>
                  </a:cubicBezTo>
                  <a:cubicBezTo>
                    <a:pt x="1358" y="2822"/>
                    <a:pt x="1381" y="2814"/>
                    <a:pt x="1410" y="2807"/>
                  </a:cubicBezTo>
                  <a:cubicBezTo>
                    <a:pt x="1432" y="2792"/>
                    <a:pt x="1455" y="2740"/>
                    <a:pt x="1477" y="2733"/>
                  </a:cubicBezTo>
                  <a:cubicBezTo>
                    <a:pt x="1470" y="2733"/>
                    <a:pt x="1462" y="2733"/>
                    <a:pt x="1462" y="2733"/>
                  </a:cubicBezTo>
                  <a:cubicBezTo>
                    <a:pt x="1455" y="2710"/>
                    <a:pt x="1388" y="2696"/>
                    <a:pt x="1418" y="2673"/>
                  </a:cubicBezTo>
                  <a:cubicBezTo>
                    <a:pt x="1470" y="2629"/>
                    <a:pt x="1477" y="2681"/>
                    <a:pt x="1514" y="2703"/>
                  </a:cubicBezTo>
                  <a:cubicBezTo>
                    <a:pt x="1514" y="2673"/>
                    <a:pt x="1521" y="2629"/>
                    <a:pt x="1536" y="2606"/>
                  </a:cubicBezTo>
                  <a:cubicBezTo>
                    <a:pt x="1551" y="2614"/>
                    <a:pt x="1551" y="2636"/>
                    <a:pt x="1559" y="2658"/>
                  </a:cubicBezTo>
                  <a:cubicBezTo>
                    <a:pt x="1566" y="2651"/>
                    <a:pt x="1574" y="2636"/>
                    <a:pt x="1581" y="2629"/>
                  </a:cubicBezTo>
                  <a:cubicBezTo>
                    <a:pt x="1626" y="2666"/>
                    <a:pt x="1626" y="2577"/>
                    <a:pt x="1626" y="2547"/>
                  </a:cubicBezTo>
                  <a:cubicBezTo>
                    <a:pt x="1633" y="2547"/>
                    <a:pt x="1640" y="2555"/>
                    <a:pt x="1648" y="2555"/>
                  </a:cubicBezTo>
                  <a:cubicBezTo>
                    <a:pt x="1640" y="2592"/>
                    <a:pt x="1678" y="2666"/>
                    <a:pt x="1715" y="2658"/>
                  </a:cubicBezTo>
                  <a:cubicBezTo>
                    <a:pt x="1715" y="2644"/>
                    <a:pt x="1729" y="2644"/>
                    <a:pt x="1744" y="2644"/>
                  </a:cubicBezTo>
                  <a:cubicBezTo>
                    <a:pt x="1759" y="2688"/>
                    <a:pt x="1789" y="2718"/>
                    <a:pt x="1796" y="2770"/>
                  </a:cubicBezTo>
                  <a:cubicBezTo>
                    <a:pt x="1804" y="2807"/>
                    <a:pt x="1848" y="2792"/>
                    <a:pt x="1871" y="2792"/>
                  </a:cubicBezTo>
                  <a:cubicBezTo>
                    <a:pt x="1923" y="2792"/>
                    <a:pt x="1945" y="2814"/>
                    <a:pt x="1989" y="2829"/>
                  </a:cubicBezTo>
                  <a:cubicBezTo>
                    <a:pt x="2026" y="2844"/>
                    <a:pt x="2071" y="2837"/>
                    <a:pt x="2108" y="2837"/>
                  </a:cubicBezTo>
                  <a:cubicBezTo>
                    <a:pt x="2108" y="2829"/>
                    <a:pt x="2116" y="2814"/>
                    <a:pt x="2116" y="2807"/>
                  </a:cubicBezTo>
                  <a:cubicBezTo>
                    <a:pt x="2160" y="2807"/>
                    <a:pt x="2153" y="2748"/>
                    <a:pt x="2205" y="2748"/>
                  </a:cubicBezTo>
                  <a:cubicBezTo>
                    <a:pt x="2205" y="2740"/>
                    <a:pt x="2168" y="2696"/>
                    <a:pt x="2175" y="2688"/>
                  </a:cubicBezTo>
                  <a:cubicBezTo>
                    <a:pt x="2183" y="2681"/>
                    <a:pt x="2197" y="2688"/>
                    <a:pt x="2205" y="2688"/>
                  </a:cubicBezTo>
                  <a:cubicBezTo>
                    <a:pt x="2220" y="2681"/>
                    <a:pt x="2227" y="2673"/>
                    <a:pt x="2234" y="2658"/>
                  </a:cubicBezTo>
                  <a:cubicBezTo>
                    <a:pt x="2264" y="2636"/>
                    <a:pt x="2353" y="2651"/>
                    <a:pt x="2346" y="2614"/>
                  </a:cubicBezTo>
                  <a:cubicBezTo>
                    <a:pt x="2331" y="2614"/>
                    <a:pt x="2316" y="2599"/>
                    <a:pt x="2323" y="2584"/>
                  </a:cubicBezTo>
                  <a:cubicBezTo>
                    <a:pt x="2353" y="2569"/>
                    <a:pt x="2361" y="2562"/>
                    <a:pt x="2398" y="2562"/>
                  </a:cubicBezTo>
                  <a:cubicBezTo>
                    <a:pt x="2398" y="2584"/>
                    <a:pt x="2420" y="2599"/>
                    <a:pt x="2450" y="2614"/>
                  </a:cubicBezTo>
                  <a:cubicBezTo>
                    <a:pt x="2450" y="2606"/>
                    <a:pt x="2450" y="2592"/>
                    <a:pt x="2457" y="2584"/>
                  </a:cubicBezTo>
                  <a:cubicBezTo>
                    <a:pt x="2472" y="2547"/>
                    <a:pt x="2517" y="2532"/>
                    <a:pt x="2539" y="2503"/>
                  </a:cubicBezTo>
                  <a:cubicBezTo>
                    <a:pt x="2546" y="2480"/>
                    <a:pt x="2554" y="2458"/>
                    <a:pt x="2569" y="2436"/>
                  </a:cubicBezTo>
                  <a:cubicBezTo>
                    <a:pt x="2591" y="2413"/>
                    <a:pt x="2606" y="2376"/>
                    <a:pt x="2628" y="2354"/>
                  </a:cubicBezTo>
                  <a:cubicBezTo>
                    <a:pt x="2650" y="2332"/>
                    <a:pt x="2688" y="2324"/>
                    <a:pt x="2717" y="2302"/>
                  </a:cubicBezTo>
                  <a:cubicBezTo>
                    <a:pt x="2739" y="2280"/>
                    <a:pt x="2739" y="2258"/>
                    <a:pt x="2777" y="2243"/>
                  </a:cubicBezTo>
                  <a:cubicBezTo>
                    <a:pt x="2806" y="2228"/>
                    <a:pt x="2821" y="2206"/>
                    <a:pt x="2858" y="2198"/>
                  </a:cubicBezTo>
                  <a:cubicBezTo>
                    <a:pt x="2858" y="2191"/>
                    <a:pt x="2858" y="2183"/>
                    <a:pt x="2858" y="2183"/>
                  </a:cubicBezTo>
                  <a:cubicBezTo>
                    <a:pt x="2843" y="2183"/>
                    <a:pt x="2828" y="2176"/>
                    <a:pt x="2821" y="2176"/>
                  </a:cubicBezTo>
                  <a:cubicBezTo>
                    <a:pt x="2806" y="2198"/>
                    <a:pt x="2784" y="2183"/>
                    <a:pt x="2769" y="2191"/>
                  </a:cubicBezTo>
                  <a:cubicBezTo>
                    <a:pt x="2777" y="2168"/>
                    <a:pt x="2806" y="2161"/>
                    <a:pt x="2814" y="2146"/>
                  </a:cubicBezTo>
                  <a:cubicBezTo>
                    <a:pt x="2806" y="2139"/>
                    <a:pt x="2791" y="2139"/>
                    <a:pt x="2784" y="2131"/>
                  </a:cubicBezTo>
                  <a:cubicBezTo>
                    <a:pt x="2777" y="2153"/>
                    <a:pt x="2754" y="2191"/>
                    <a:pt x="2732" y="2206"/>
                  </a:cubicBezTo>
                  <a:cubicBezTo>
                    <a:pt x="2725" y="2213"/>
                    <a:pt x="2717" y="2220"/>
                    <a:pt x="2702" y="2220"/>
                  </a:cubicBezTo>
                  <a:cubicBezTo>
                    <a:pt x="2702" y="2228"/>
                    <a:pt x="2688" y="2235"/>
                    <a:pt x="2680" y="2235"/>
                  </a:cubicBezTo>
                  <a:cubicBezTo>
                    <a:pt x="2688" y="2228"/>
                    <a:pt x="2695" y="2228"/>
                    <a:pt x="2702" y="2220"/>
                  </a:cubicBezTo>
                  <a:cubicBezTo>
                    <a:pt x="2725" y="2198"/>
                    <a:pt x="2717" y="2146"/>
                    <a:pt x="2725" y="2124"/>
                  </a:cubicBezTo>
                  <a:cubicBezTo>
                    <a:pt x="2732" y="2109"/>
                    <a:pt x="2754" y="2087"/>
                    <a:pt x="2762" y="2072"/>
                  </a:cubicBezTo>
                  <a:cubicBezTo>
                    <a:pt x="2791" y="2042"/>
                    <a:pt x="2836" y="2035"/>
                    <a:pt x="2866" y="2012"/>
                  </a:cubicBezTo>
                  <a:cubicBezTo>
                    <a:pt x="2903" y="1990"/>
                    <a:pt x="2962" y="1938"/>
                    <a:pt x="2999" y="1998"/>
                  </a:cubicBezTo>
                  <a:cubicBezTo>
                    <a:pt x="3029" y="2035"/>
                    <a:pt x="2985" y="2064"/>
                    <a:pt x="2962" y="2087"/>
                  </a:cubicBezTo>
                  <a:cubicBezTo>
                    <a:pt x="2955" y="2094"/>
                    <a:pt x="2866" y="2139"/>
                    <a:pt x="2866" y="2131"/>
                  </a:cubicBezTo>
                  <a:cubicBezTo>
                    <a:pt x="2858" y="2146"/>
                    <a:pt x="2858" y="2161"/>
                    <a:pt x="2858" y="2176"/>
                  </a:cubicBezTo>
                  <a:cubicBezTo>
                    <a:pt x="2888" y="2183"/>
                    <a:pt x="2881" y="2161"/>
                    <a:pt x="2895" y="2153"/>
                  </a:cubicBezTo>
                  <a:cubicBezTo>
                    <a:pt x="2910" y="2146"/>
                    <a:pt x="2933" y="2139"/>
                    <a:pt x="2955" y="2131"/>
                  </a:cubicBezTo>
                  <a:cubicBezTo>
                    <a:pt x="2985" y="2124"/>
                    <a:pt x="3022" y="2124"/>
                    <a:pt x="3051" y="2109"/>
                  </a:cubicBezTo>
                  <a:cubicBezTo>
                    <a:pt x="3111" y="2079"/>
                    <a:pt x="3178" y="2050"/>
                    <a:pt x="3237" y="2027"/>
                  </a:cubicBezTo>
                  <a:cubicBezTo>
                    <a:pt x="3304" y="1998"/>
                    <a:pt x="3378" y="2005"/>
                    <a:pt x="3445" y="1975"/>
                  </a:cubicBezTo>
                  <a:cubicBezTo>
                    <a:pt x="3497" y="1946"/>
                    <a:pt x="3564" y="1931"/>
                    <a:pt x="3586" y="1864"/>
                  </a:cubicBezTo>
                  <a:cubicBezTo>
                    <a:pt x="3593" y="1834"/>
                    <a:pt x="3601" y="1790"/>
                    <a:pt x="3638" y="1790"/>
                  </a:cubicBezTo>
                  <a:cubicBezTo>
                    <a:pt x="3645" y="1745"/>
                    <a:pt x="3742" y="1723"/>
                    <a:pt x="3779" y="1701"/>
                  </a:cubicBezTo>
                  <a:cubicBezTo>
                    <a:pt x="3794" y="1693"/>
                    <a:pt x="3831" y="1678"/>
                    <a:pt x="3846" y="1671"/>
                  </a:cubicBezTo>
                  <a:cubicBezTo>
                    <a:pt x="3868" y="1649"/>
                    <a:pt x="3868" y="1604"/>
                    <a:pt x="3868" y="1582"/>
                  </a:cubicBezTo>
                  <a:cubicBezTo>
                    <a:pt x="3853" y="1582"/>
                    <a:pt x="3838" y="1582"/>
                    <a:pt x="3824" y="1582"/>
                  </a:cubicBezTo>
                  <a:cubicBezTo>
                    <a:pt x="3816" y="1515"/>
                    <a:pt x="3898" y="1485"/>
                    <a:pt x="3942" y="1456"/>
                  </a:cubicBezTo>
                  <a:cubicBezTo>
                    <a:pt x="3995" y="1426"/>
                    <a:pt x="4046" y="1366"/>
                    <a:pt x="4069" y="1314"/>
                  </a:cubicBezTo>
                  <a:cubicBezTo>
                    <a:pt x="4061" y="1314"/>
                    <a:pt x="4046" y="1314"/>
                    <a:pt x="4039" y="1314"/>
                  </a:cubicBezTo>
                  <a:cubicBezTo>
                    <a:pt x="4024" y="1314"/>
                    <a:pt x="4032" y="1329"/>
                    <a:pt x="4024" y="1329"/>
                  </a:cubicBezTo>
                  <a:cubicBezTo>
                    <a:pt x="4017" y="1337"/>
                    <a:pt x="4002" y="1329"/>
                    <a:pt x="4002" y="1337"/>
                  </a:cubicBezTo>
                  <a:cubicBezTo>
                    <a:pt x="3995" y="1337"/>
                    <a:pt x="3987" y="1351"/>
                    <a:pt x="3980" y="1351"/>
                  </a:cubicBezTo>
                  <a:cubicBezTo>
                    <a:pt x="3957" y="1359"/>
                    <a:pt x="3950" y="1359"/>
                    <a:pt x="3928" y="1366"/>
                  </a:cubicBezTo>
                  <a:cubicBezTo>
                    <a:pt x="3913" y="1366"/>
                    <a:pt x="3905" y="1381"/>
                    <a:pt x="3890" y="1389"/>
                  </a:cubicBezTo>
                  <a:cubicBezTo>
                    <a:pt x="3890" y="1314"/>
                    <a:pt x="3905" y="1314"/>
                    <a:pt x="3972" y="1307"/>
                  </a:cubicBezTo>
                  <a:cubicBezTo>
                    <a:pt x="4054" y="1307"/>
                    <a:pt x="4002" y="1240"/>
                    <a:pt x="3980" y="1196"/>
                  </a:cubicBezTo>
                  <a:cubicBezTo>
                    <a:pt x="3957" y="1159"/>
                    <a:pt x="3935" y="1114"/>
                    <a:pt x="3928" y="1069"/>
                  </a:cubicBezTo>
                  <a:cubicBezTo>
                    <a:pt x="3920" y="1040"/>
                    <a:pt x="3920" y="943"/>
                    <a:pt x="3950" y="936"/>
                  </a:cubicBezTo>
                  <a:cubicBezTo>
                    <a:pt x="3957" y="899"/>
                    <a:pt x="3987" y="869"/>
                    <a:pt x="4017" y="847"/>
                  </a:cubicBezTo>
                  <a:cubicBezTo>
                    <a:pt x="4046" y="824"/>
                    <a:pt x="4069" y="794"/>
                    <a:pt x="4098" y="772"/>
                  </a:cubicBezTo>
                  <a:cubicBezTo>
                    <a:pt x="4128" y="757"/>
                    <a:pt x="4180" y="735"/>
                    <a:pt x="4210" y="728"/>
                  </a:cubicBezTo>
                  <a:cubicBezTo>
                    <a:pt x="4232" y="720"/>
                    <a:pt x="4254" y="720"/>
                    <a:pt x="4269" y="728"/>
                  </a:cubicBezTo>
                  <a:cubicBezTo>
                    <a:pt x="4299" y="728"/>
                    <a:pt x="4321" y="750"/>
                    <a:pt x="4351" y="743"/>
                  </a:cubicBezTo>
                  <a:cubicBezTo>
                    <a:pt x="4351" y="743"/>
                    <a:pt x="4366" y="720"/>
                    <a:pt x="4381" y="698"/>
                  </a:cubicBezTo>
                  <a:cubicBezTo>
                    <a:pt x="4381" y="631"/>
                    <a:pt x="4343" y="631"/>
                    <a:pt x="4299" y="594"/>
                  </a:cubicBezTo>
                </a:path>
              </a:pathLst>
            </a:custGeom>
            <a:solidFill>
              <a:schemeClr val="accent6"/>
            </a:solid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99" name="Freeform 17">
              <a:extLst>
                <a:ext uri="{FF2B5EF4-FFF2-40B4-BE49-F238E27FC236}">
                  <a16:creationId xmlns:a16="http://schemas.microsoft.com/office/drawing/2014/main" id="{1D4401D4-11A6-4341-941D-27ED62F118E1}"/>
                </a:ext>
              </a:extLst>
            </p:cNvPr>
            <p:cNvSpPr>
              <a:spLocks noChangeArrowheads="1"/>
            </p:cNvSpPr>
            <p:nvPr/>
          </p:nvSpPr>
          <p:spPr bwMode="auto">
            <a:xfrm>
              <a:off x="14798584" y="6998675"/>
              <a:ext cx="324082" cy="468654"/>
            </a:xfrm>
            <a:custGeom>
              <a:avLst/>
              <a:gdLst>
                <a:gd name="T0" fmla="*/ 742 w 751"/>
                <a:gd name="T1" fmla="*/ 356 h 1085"/>
                <a:gd name="T2" fmla="*/ 742 w 751"/>
                <a:gd name="T3" fmla="*/ 356 h 1085"/>
                <a:gd name="T4" fmla="*/ 720 w 751"/>
                <a:gd name="T5" fmla="*/ 297 h 1085"/>
                <a:gd name="T6" fmla="*/ 728 w 751"/>
                <a:gd name="T7" fmla="*/ 237 h 1085"/>
                <a:gd name="T8" fmla="*/ 698 w 751"/>
                <a:gd name="T9" fmla="*/ 192 h 1085"/>
                <a:gd name="T10" fmla="*/ 698 w 751"/>
                <a:gd name="T11" fmla="*/ 111 h 1085"/>
                <a:gd name="T12" fmla="*/ 639 w 751"/>
                <a:gd name="T13" fmla="*/ 118 h 1085"/>
                <a:gd name="T14" fmla="*/ 616 w 751"/>
                <a:gd name="T15" fmla="*/ 0 h 1085"/>
                <a:gd name="T16" fmla="*/ 609 w 751"/>
                <a:gd name="T17" fmla="*/ 14 h 1085"/>
                <a:gd name="T18" fmla="*/ 602 w 751"/>
                <a:gd name="T19" fmla="*/ 14 h 1085"/>
                <a:gd name="T20" fmla="*/ 579 w 751"/>
                <a:gd name="T21" fmla="*/ 59 h 1085"/>
                <a:gd name="T22" fmla="*/ 534 w 751"/>
                <a:gd name="T23" fmla="*/ 29 h 1085"/>
                <a:gd name="T24" fmla="*/ 505 w 751"/>
                <a:gd name="T25" fmla="*/ 66 h 1085"/>
                <a:gd name="T26" fmla="*/ 505 w 751"/>
                <a:gd name="T27" fmla="*/ 96 h 1085"/>
                <a:gd name="T28" fmla="*/ 490 w 751"/>
                <a:gd name="T29" fmla="*/ 111 h 1085"/>
                <a:gd name="T30" fmla="*/ 475 w 751"/>
                <a:gd name="T31" fmla="*/ 215 h 1085"/>
                <a:gd name="T32" fmla="*/ 416 w 751"/>
                <a:gd name="T33" fmla="*/ 163 h 1085"/>
                <a:gd name="T34" fmla="*/ 371 w 751"/>
                <a:gd name="T35" fmla="*/ 207 h 1085"/>
                <a:gd name="T36" fmla="*/ 327 w 751"/>
                <a:gd name="T37" fmla="*/ 178 h 1085"/>
                <a:gd name="T38" fmla="*/ 304 w 751"/>
                <a:gd name="T39" fmla="*/ 222 h 1085"/>
                <a:gd name="T40" fmla="*/ 267 w 751"/>
                <a:gd name="T41" fmla="*/ 260 h 1085"/>
                <a:gd name="T42" fmla="*/ 208 w 751"/>
                <a:gd name="T43" fmla="*/ 260 h 1085"/>
                <a:gd name="T44" fmla="*/ 156 w 751"/>
                <a:gd name="T45" fmla="*/ 260 h 1085"/>
                <a:gd name="T46" fmla="*/ 148 w 751"/>
                <a:gd name="T47" fmla="*/ 304 h 1085"/>
                <a:gd name="T48" fmla="*/ 74 w 751"/>
                <a:gd name="T49" fmla="*/ 334 h 1085"/>
                <a:gd name="T50" fmla="*/ 67 w 751"/>
                <a:gd name="T51" fmla="*/ 423 h 1085"/>
                <a:gd name="T52" fmla="*/ 22 w 751"/>
                <a:gd name="T53" fmla="*/ 505 h 1085"/>
                <a:gd name="T54" fmla="*/ 59 w 751"/>
                <a:gd name="T55" fmla="*/ 586 h 1085"/>
                <a:gd name="T56" fmla="*/ 52 w 751"/>
                <a:gd name="T57" fmla="*/ 623 h 1085"/>
                <a:gd name="T58" fmla="*/ 74 w 751"/>
                <a:gd name="T59" fmla="*/ 675 h 1085"/>
                <a:gd name="T60" fmla="*/ 96 w 751"/>
                <a:gd name="T61" fmla="*/ 727 h 1085"/>
                <a:gd name="T62" fmla="*/ 104 w 751"/>
                <a:gd name="T63" fmla="*/ 779 h 1085"/>
                <a:gd name="T64" fmla="*/ 134 w 751"/>
                <a:gd name="T65" fmla="*/ 846 h 1085"/>
                <a:gd name="T66" fmla="*/ 119 w 751"/>
                <a:gd name="T67" fmla="*/ 913 h 1085"/>
                <a:gd name="T68" fmla="*/ 134 w 751"/>
                <a:gd name="T69" fmla="*/ 965 h 1085"/>
                <a:gd name="T70" fmla="*/ 171 w 751"/>
                <a:gd name="T71" fmla="*/ 987 h 1085"/>
                <a:gd name="T72" fmla="*/ 223 w 751"/>
                <a:gd name="T73" fmla="*/ 839 h 1085"/>
                <a:gd name="T74" fmla="*/ 282 w 751"/>
                <a:gd name="T75" fmla="*/ 1032 h 1085"/>
                <a:gd name="T76" fmla="*/ 438 w 751"/>
                <a:gd name="T77" fmla="*/ 950 h 1085"/>
                <a:gd name="T78" fmla="*/ 416 w 751"/>
                <a:gd name="T79" fmla="*/ 898 h 1085"/>
                <a:gd name="T80" fmla="*/ 408 w 751"/>
                <a:gd name="T81" fmla="*/ 809 h 1085"/>
                <a:gd name="T82" fmla="*/ 460 w 751"/>
                <a:gd name="T83" fmla="*/ 735 h 1085"/>
                <a:gd name="T84" fmla="*/ 520 w 751"/>
                <a:gd name="T85" fmla="*/ 697 h 1085"/>
                <a:gd name="T86" fmla="*/ 497 w 751"/>
                <a:gd name="T87" fmla="*/ 601 h 1085"/>
                <a:gd name="T88" fmla="*/ 497 w 751"/>
                <a:gd name="T89" fmla="*/ 497 h 1085"/>
                <a:gd name="T90" fmla="*/ 542 w 751"/>
                <a:gd name="T91" fmla="*/ 556 h 1085"/>
                <a:gd name="T92" fmla="*/ 646 w 751"/>
                <a:gd name="T93" fmla="*/ 505 h 1085"/>
                <a:gd name="T94" fmla="*/ 676 w 751"/>
                <a:gd name="T95" fmla="*/ 542 h 1085"/>
                <a:gd name="T96" fmla="*/ 705 w 751"/>
                <a:gd name="T97" fmla="*/ 505 h 1085"/>
                <a:gd name="T98" fmla="*/ 735 w 751"/>
                <a:gd name="T99" fmla="*/ 460 h 1085"/>
                <a:gd name="T100" fmla="*/ 742 w 751"/>
                <a:gd name="T101" fmla="*/ 356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1" h="1085">
                  <a:moveTo>
                    <a:pt x="742" y="356"/>
                  </a:moveTo>
                  <a:lnTo>
                    <a:pt x="742" y="356"/>
                  </a:lnTo>
                  <a:cubicBezTo>
                    <a:pt x="742" y="334"/>
                    <a:pt x="728" y="319"/>
                    <a:pt x="720" y="297"/>
                  </a:cubicBezTo>
                  <a:cubicBezTo>
                    <a:pt x="720" y="274"/>
                    <a:pt x="728" y="252"/>
                    <a:pt x="728" y="237"/>
                  </a:cubicBezTo>
                  <a:cubicBezTo>
                    <a:pt x="728" y="215"/>
                    <a:pt x="698" y="200"/>
                    <a:pt x="698" y="192"/>
                  </a:cubicBezTo>
                  <a:cubicBezTo>
                    <a:pt x="691" y="170"/>
                    <a:pt x="691" y="141"/>
                    <a:pt x="698" y="111"/>
                  </a:cubicBezTo>
                  <a:cubicBezTo>
                    <a:pt x="668" y="118"/>
                    <a:pt x="639" y="118"/>
                    <a:pt x="639" y="118"/>
                  </a:cubicBezTo>
                  <a:cubicBezTo>
                    <a:pt x="646" y="74"/>
                    <a:pt x="631" y="29"/>
                    <a:pt x="616" y="0"/>
                  </a:cubicBezTo>
                  <a:cubicBezTo>
                    <a:pt x="609" y="0"/>
                    <a:pt x="609" y="7"/>
                    <a:pt x="609" y="14"/>
                  </a:cubicBezTo>
                  <a:cubicBezTo>
                    <a:pt x="602" y="14"/>
                    <a:pt x="602" y="14"/>
                    <a:pt x="602" y="14"/>
                  </a:cubicBezTo>
                  <a:cubicBezTo>
                    <a:pt x="594" y="29"/>
                    <a:pt x="602" y="51"/>
                    <a:pt x="579" y="59"/>
                  </a:cubicBezTo>
                  <a:cubicBezTo>
                    <a:pt x="564" y="66"/>
                    <a:pt x="549" y="37"/>
                    <a:pt x="534" y="29"/>
                  </a:cubicBezTo>
                  <a:cubicBezTo>
                    <a:pt x="527" y="44"/>
                    <a:pt x="512" y="44"/>
                    <a:pt x="505" y="66"/>
                  </a:cubicBezTo>
                  <a:cubicBezTo>
                    <a:pt x="505" y="74"/>
                    <a:pt x="512" y="89"/>
                    <a:pt x="505" y="96"/>
                  </a:cubicBezTo>
                  <a:cubicBezTo>
                    <a:pt x="505" y="103"/>
                    <a:pt x="497" y="103"/>
                    <a:pt x="490" y="111"/>
                  </a:cubicBezTo>
                  <a:cubicBezTo>
                    <a:pt x="475" y="148"/>
                    <a:pt x="505" y="185"/>
                    <a:pt x="475" y="215"/>
                  </a:cubicBezTo>
                  <a:cubicBezTo>
                    <a:pt x="453" y="192"/>
                    <a:pt x="445" y="163"/>
                    <a:pt x="416" y="163"/>
                  </a:cubicBezTo>
                  <a:cubicBezTo>
                    <a:pt x="379" y="163"/>
                    <a:pt x="371" y="178"/>
                    <a:pt x="371" y="207"/>
                  </a:cubicBezTo>
                  <a:cubicBezTo>
                    <a:pt x="349" y="215"/>
                    <a:pt x="334" y="192"/>
                    <a:pt x="327" y="178"/>
                  </a:cubicBezTo>
                  <a:cubicBezTo>
                    <a:pt x="312" y="192"/>
                    <a:pt x="319" y="207"/>
                    <a:pt x="304" y="222"/>
                  </a:cubicBezTo>
                  <a:cubicBezTo>
                    <a:pt x="297" y="237"/>
                    <a:pt x="282" y="252"/>
                    <a:pt x="267" y="260"/>
                  </a:cubicBezTo>
                  <a:cubicBezTo>
                    <a:pt x="245" y="282"/>
                    <a:pt x="237" y="267"/>
                    <a:pt x="208" y="260"/>
                  </a:cubicBezTo>
                  <a:cubicBezTo>
                    <a:pt x="193" y="260"/>
                    <a:pt x="171" y="260"/>
                    <a:pt x="156" y="260"/>
                  </a:cubicBezTo>
                  <a:cubicBezTo>
                    <a:pt x="148" y="274"/>
                    <a:pt x="148" y="289"/>
                    <a:pt x="148" y="304"/>
                  </a:cubicBezTo>
                  <a:cubicBezTo>
                    <a:pt x="119" y="304"/>
                    <a:pt x="104" y="334"/>
                    <a:pt x="74" y="334"/>
                  </a:cubicBezTo>
                  <a:cubicBezTo>
                    <a:pt x="59" y="363"/>
                    <a:pt x="67" y="386"/>
                    <a:pt x="67" y="423"/>
                  </a:cubicBezTo>
                  <a:cubicBezTo>
                    <a:pt x="59" y="460"/>
                    <a:pt x="30" y="467"/>
                    <a:pt x="22" y="505"/>
                  </a:cubicBezTo>
                  <a:cubicBezTo>
                    <a:pt x="0" y="549"/>
                    <a:pt x="52" y="549"/>
                    <a:pt x="59" y="586"/>
                  </a:cubicBezTo>
                  <a:cubicBezTo>
                    <a:pt x="59" y="594"/>
                    <a:pt x="52" y="608"/>
                    <a:pt x="52" y="623"/>
                  </a:cubicBezTo>
                  <a:cubicBezTo>
                    <a:pt x="52" y="638"/>
                    <a:pt x="67" y="660"/>
                    <a:pt x="74" y="675"/>
                  </a:cubicBezTo>
                  <a:cubicBezTo>
                    <a:pt x="82" y="690"/>
                    <a:pt x="89" y="705"/>
                    <a:pt x="96" y="727"/>
                  </a:cubicBezTo>
                  <a:cubicBezTo>
                    <a:pt x="104" y="742"/>
                    <a:pt x="96" y="757"/>
                    <a:pt x="104" y="779"/>
                  </a:cubicBezTo>
                  <a:cubicBezTo>
                    <a:pt x="104" y="802"/>
                    <a:pt x="126" y="824"/>
                    <a:pt x="134" y="846"/>
                  </a:cubicBezTo>
                  <a:cubicBezTo>
                    <a:pt x="134" y="868"/>
                    <a:pt x="119" y="891"/>
                    <a:pt x="119" y="913"/>
                  </a:cubicBezTo>
                  <a:cubicBezTo>
                    <a:pt x="119" y="928"/>
                    <a:pt x="119" y="950"/>
                    <a:pt x="134" y="965"/>
                  </a:cubicBezTo>
                  <a:cubicBezTo>
                    <a:pt x="134" y="972"/>
                    <a:pt x="171" y="994"/>
                    <a:pt x="171" y="987"/>
                  </a:cubicBezTo>
                  <a:cubicBezTo>
                    <a:pt x="171" y="957"/>
                    <a:pt x="156" y="787"/>
                    <a:pt x="223" y="839"/>
                  </a:cubicBezTo>
                  <a:cubicBezTo>
                    <a:pt x="282" y="876"/>
                    <a:pt x="230" y="980"/>
                    <a:pt x="282" y="1032"/>
                  </a:cubicBezTo>
                  <a:cubicBezTo>
                    <a:pt x="327" y="1084"/>
                    <a:pt x="438" y="1009"/>
                    <a:pt x="438" y="950"/>
                  </a:cubicBezTo>
                  <a:cubicBezTo>
                    <a:pt x="438" y="935"/>
                    <a:pt x="423" y="913"/>
                    <a:pt x="416" y="898"/>
                  </a:cubicBezTo>
                  <a:cubicBezTo>
                    <a:pt x="408" y="876"/>
                    <a:pt x="394" y="839"/>
                    <a:pt x="408" y="809"/>
                  </a:cubicBezTo>
                  <a:cubicBezTo>
                    <a:pt x="423" y="779"/>
                    <a:pt x="453" y="772"/>
                    <a:pt x="460" y="735"/>
                  </a:cubicBezTo>
                  <a:cubicBezTo>
                    <a:pt x="468" y="705"/>
                    <a:pt x="490" y="690"/>
                    <a:pt x="520" y="697"/>
                  </a:cubicBezTo>
                  <a:cubicBezTo>
                    <a:pt x="527" y="653"/>
                    <a:pt x="497" y="631"/>
                    <a:pt x="497" y="601"/>
                  </a:cubicBezTo>
                  <a:cubicBezTo>
                    <a:pt x="497" y="571"/>
                    <a:pt x="490" y="519"/>
                    <a:pt x="497" y="497"/>
                  </a:cubicBezTo>
                  <a:cubicBezTo>
                    <a:pt x="549" y="490"/>
                    <a:pt x="520" y="534"/>
                    <a:pt x="542" y="556"/>
                  </a:cubicBezTo>
                  <a:cubicBezTo>
                    <a:pt x="587" y="586"/>
                    <a:pt x="609" y="505"/>
                    <a:pt x="646" y="505"/>
                  </a:cubicBezTo>
                  <a:cubicBezTo>
                    <a:pt x="676" y="497"/>
                    <a:pt x="668" y="519"/>
                    <a:pt x="676" y="542"/>
                  </a:cubicBezTo>
                  <a:cubicBezTo>
                    <a:pt x="676" y="527"/>
                    <a:pt x="705" y="512"/>
                    <a:pt x="705" y="505"/>
                  </a:cubicBezTo>
                  <a:cubicBezTo>
                    <a:pt x="720" y="497"/>
                    <a:pt x="720" y="475"/>
                    <a:pt x="735" y="460"/>
                  </a:cubicBezTo>
                  <a:cubicBezTo>
                    <a:pt x="742" y="430"/>
                    <a:pt x="750" y="393"/>
                    <a:pt x="742" y="356"/>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0" name="Freeform 18">
              <a:extLst>
                <a:ext uri="{FF2B5EF4-FFF2-40B4-BE49-F238E27FC236}">
                  <a16:creationId xmlns:a16="http://schemas.microsoft.com/office/drawing/2014/main" id="{487E8B11-F422-6548-9AFE-0D5206B0EBC7}"/>
                </a:ext>
              </a:extLst>
            </p:cNvPr>
            <p:cNvSpPr>
              <a:spLocks noChangeArrowheads="1"/>
            </p:cNvSpPr>
            <p:nvPr/>
          </p:nvSpPr>
          <p:spPr bwMode="auto">
            <a:xfrm>
              <a:off x="11109766" y="11841434"/>
              <a:ext cx="83880" cy="55247"/>
            </a:xfrm>
            <a:custGeom>
              <a:avLst/>
              <a:gdLst>
                <a:gd name="T0" fmla="*/ 23 w 195"/>
                <a:gd name="T1" fmla="*/ 59 h 127"/>
                <a:gd name="T2" fmla="*/ 23 w 195"/>
                <a:gd name="T3" fmla="*/ 59 h 127"/>
                <a:gd name="T4" fmla="*/ 112 w 195"/>
                <a:gd name="T5" fmla="*/ 74 h 127"/>
                <a:gd name="T6" fmla="*/ 149 w 195"/>
                <a:gd name="T7" fmla="*/ 104 h 127"/>
                <a:gd name="T8" fmla="*/ 194 w 195"/>
                <a:gd name="T9" fmla="*/ 126 h 127"/>
                <a:gd name="T10" fmla="*/ 179 w 195"/>
                <a:gd name="T11" fmla="*/ 96 h 127"/>
                <a:gd name="T12" fmla="*/ 142 w 195"/>
                <a:gd name="T13" fmla="*/ 74 h 127"/>
                <a:gd name="T14" fmla="*/ 127 w 195"/>
                <a:gd name="T15" fmla="*/ 7 h 127"/>
                <a:gd name="T16" fmla="*/ 97 w 195"/>
                <a:gd name="T17" fmla="*/ 29 h 127"/>
                <a:gd name="T18" fmla="*/ 52 w 195"/>
                <a:gd name="T19" fmla="*/ 37 h 127"/>
                <a:gd name="T20" fmla="*/ 0 w 195"/>
                <a:gd name="T21" fmla="*/ 37 h 127"/>
                <a:gd name="T22" fmla="*/ 23 w 195"/>
                <a:gd name="T23" fmla="*/ 5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5" h="127">
                  <a:moveTo>
                    <a:pt x="23" y="59"/>
                  </a:moveTo>
                  <a:lnTo>
                    <a:pt x="23" y="59"/>
                  </a:lnTo>
                  <a:cubicBezTo>
                    <a:pt x="45" y="44"/>
                    <a:pt x="89" y="59"/>
                    <a:pt x="112" y="74"/>
                  </a:cubicBezTo>
                  <a:cubicBezTo>
                    <a:pt x="127" y="81"/>
                    <a:pt x="142" y="89"/>
                    <a:pt x="149" y="104"/>
                  </a:cubicBezTo>
                  <a:cubicBezTo>
                    <a:pt x="164" y="111"/>
                    <a:pt x="171" y="126"/>
                    <a:pt x="194" y="126"/>
                  </a:cubicBezTo>
                  <a:cubicBezTo>
                    <a:pt x="186" y="118"/>
                    <a:pt x="186" y="104"/>
                    <a:pt x="179" y="96"/>
                  </a:cubicBezTo>
                  <a:cubicBezTo>
                    <a:pt x="171" y="81"/>
                    <a:pt x="156" y="81"/>
                    <a:pt x="142" y="74"/>
                  </a:cubicBezTo>
                  <a:cubicBezTo>
                    <a:pt x="119" y="59"/>
                    <a:pt x="127" y="37"/>
                    <a:pt x="127" y="7"/>
                  </a:cubicBezTo>
                  <a:cubicBezTo>
                    <a:pt x="104" y="0"/>
                    <a:pt x="104" y="15"/>
                    <a:pt x="97" y="29"/>
                  </a:cubicBezTo>
                  <a:cubicBezTo>
                    <a:pt x="82" y="37"/>
                    <a:pt x="67" y="37"/>
                    <a:pt x="52" y="37"/>
                  </a:cubicBezTo>
                  <a:cubicBezTo>
                    <a:pt x="37" y="37"/>
                    <a:pt x="15" y="37"/>
                    <a:pt x="0" y="37"/>
                  </a:cubicBezTo>
                  <a:cubicBezTo>
                    <a:pt x="15" y="44"/>
                    <a:pt x="23" y="52"/>
                    <a:pt x="23" y="59"/>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1" name="Freeform 19">
              <a:extLst>
                <a:ext uri="{FF2B5EF4-FFF2-40B4-BE49-F238E27FC236}">
                  <a16:creationId xmlns:a16="http://schemas.microsoft.com/office/drawing/2014/main" id="{5F7C31B7-0284-A746-BB9E-6AECB2DC5D97}"/>
                </a:ext>
              </a:extLst>
            </p:cNvPr>
            <p:cNvSpPr>
              <a:spLocks noChangeArrowheads="1"/>
            </p:cNvSpPr>
            <p:nvPr/>
          </p:nvSpPr>
          <p:spPr bwMode="auto">
            <a:xfrm>
              <a:off x="15065475" y="6981529"/>
              <a:ext cx="9531" cy="17146"/>
            </a:xfrm>
            <a:custGeom>
              <a:avLst/>
              <a:gdLst>
                <a:gd name="T0" fmla="*/ 23 w 24"/>
                <a:gd name="T1" fmla="*/ 30 h 39"/>
                <a:gd name="T2" fmla="*/ 23 w 24"/>
                <a:gd name="T3" fmla="*/ 30 h 39"/>
                <a:gd name="T4" fmla="*/ 23 w 24"/>
                <a:gd name="T5" fmla="*/ 0 h 39"/>
                <a:gd name="T6" fmla="*/ 0 w 24"/>
                <a:gd name="T7" fmla="*/ 38 h 39"/>
                <a:gd name="T8" fmla="*/ 23 w 24"/>
                <a:gd name="T9" fmla="*/ 30 h 39"/>
              </a:gdLst>
              <a:ahLst/>
              <a:cxnLst>
                <a:cxn ang="0">
                  <a:pos x="T0" y="T1"/>
                </a:cxn>
                <a:cxn ang="0">
                  <a:pos x="T2" y="T3"/>
                </a:cxn>
                <a:cxn ang="0">
                  <a:pos x="T4" y="T5"/>
                </a:cxn>
                <a:cxn ang="0">
                  <a:pos x="T6" y="T7"/>
                </a:cxn>
                <a:cxn ang="0">
                  <a:pos x="T8" y="T9"/>
                </a:cxn>
              </a:cxnLst>
              <a:rect l="0" t="0" r="r" b="b"/>
              <a:pathLst>
                <a:path w="24" h="39">
                  <a:moveTo>
                    <a:pt x="23" y="30"/>
                  </a:moveTo>
                  <a:lnTo>
                    <a:pt x="23" y="30"/>
                  </a:lnTo>
                  <a:cubicBezTo>
                    <a:pt x="23" y="23"/>
                    <a:pt x="23" y="15"/>
                    <a:pt x="23" y="0"/>
                  </a:cubicBezTo>
                  <a:cubicBezTo>
                    <a:pt x="15" y="8"/>
                    <a:pt x="0" y="23"/>
                    <a:pt x="0" y="38"/>
                  </a:cubicBezTo>
                  <a:cubicBezTo>
                    <a:pt x="8" y="30"/>
                    <a:pt x="15" y="38"/>
                    <a:pt x="23" y="3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2" name="Freeform 20">
              <a:extLst>
                <a:ext uri="{FF2B5EF4-FFF2-40B4-BE49-F238E27FC236}">
                  <a16:creationId xmlns:a16="http://schemas.microsoft.com/office/drawing/2014/main" id="{99477A83-6277-0344-BF4F-D4EF2CC1B9DC}"/>
                </a:ext>
              </a:extLst>
            </p:cNvPr>
            <p:cNvSpPr>
              <a:spLocks noChangeArrowheads="1"/>
            </p:cNvSpPr>
            <p:nvPr/>
          </p:nvSpPr>
          <p:spPr bwMode="auto">
            <a:xfrm>
              <a:off x="11098328" y="11854770"/>
              <a:ext cx="13345" cy="3810"/>
            </a:xfrm>
            <a:custGeom>
              <a:avLst/>
              <a:gdLst>
                <a:gd name="T0" fmla="*/ 29 w 30"/>
                <a:gd name="T1" fmla="*/ 8 h 9"/>
                <a:gd name="T2" fmla="*/ 29 w 30"/>
                <a:gd name="T3" fmla="*/ 8 h 9"/>
                <a:gd name="T4" fmla="*/ 7 w 30"/>
                <a:gd name="T5" fmla="*/ 0 h 9"/>
                <a:gd name="T6" fmla="*/ 0 w 30"/>
                <a:gd name="T7" fmla="*/ 0 h 9"/>
                <a:gd name="T8" fmla="*/ 15 w 30"/>
                <a:gd name="T9" fmla="*/ 8 h 9"/>
                <a:gd name="T10" fmla="*/ 29 w 30"/>
                <a:gd name="T11" fmla="*/ 8 h 9"/>
              </a:gdLst>
              <a:ahLst/>
              <a:cxnLst>
                <a:cxn ang="0">
                  <a:pos x="T0" y="T1"/>
                </a:cxn>
                <a:cxn ang="0">
                  <a:pos x="T2" y="T3"/>
                </a:cxn>
                <a:cxn ang="0">
                  <a:pos x="T4" y="T5"/>
                </a:cxn>
                <a:cxn ang="0">
                  <a:pos x="T6" y="T7"/>
                </a:cxn>
                <a:cxn ang="0">
                  <a:pos x="T8" y="T9"/>
                </a:cxn>
                <a:cxn ang="0">
                  <a:pos x="T10" y="T11"/>
                </a:cxn>
              </a:cxnLst>
              <a:rect l="0" t="0" r="r" b="b"/>
              <a:pathLst>
                <a:path w="30" h="9">
                  <a:moveTo>
                    <a:pt x="29" y="8"/>
                  </a:moveTo>
                  <a:lnTo>
                    <a:pt x="29" y="8"/>
                  </a:lnTo>
                  <a:cubicBezTo>
                    <a:pt x="22" y="8"/>
                    <a:pt x="15" y="0"/>
                    <a:pt x="7" y="0"/>
                  </a:cubicBezTo>
                  <a:lnTo>
                    <a:pt x="0" y="0"/>
                  </a:lnTo>
                  <a:cubicBezTo>
                    <a:pt x="7" y="8"/>
                    <a:pt x="15" y="8"/>
                    <a:pt x="15" y="8"/>
                  </a:cubicBezTo>
                  <a:cubicBezTo>
                    <a:pt x="22" y="8"/>
                    <a:pt x="29" y="8"/>
                    <a:pt x="29" y="8"/>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3" name="Freeform 21">
              <a:extLst>
                <a:ext uri="{FF2B5EF4-FFF2-40B4-BE49-F238E27FC236}">
                  <a16:creationId xmlns:a16="http://schemas.microsoft.com/office/drawing/2014/main" id="{FDAF533C-6CC9-1F4C-919E-8C9CC316FA36}"/>
                </a:ext>
              </a:extLst>
            </p:cNvPr>
            <p:cNvSpPr>
              <a:spLocks noChangeArrowheads="1"/>
            </p:cNvSpPr>
            <p:nvPr/>
          </p:nvSpPr>
          <p:spPr bwMode="auto">
            <a:xfrm>
              <a:off x="15299957" y="6562408"/>
              <a:ext cx="516626" cy="552478"/>
            </a:xfrm>
            <a:custGeom>
              <a:avLst/>
              <a:gdLst>
                <a:gd name="T0" fmla="*/ 1018 w 1197"/>
                <a:gd name="T1" fmla="*/ 14 h 1278"/>
                <a:gd name="T2" fmla="*/ 943 w 1197"/>
                <a:gd name="T3" fmla="*/ 59 h 1278"/>
                <a:gd name="T4" fmla="*/ 921 w 1197"/>
                <a:gd name="T5" fmla="*/ 118 h 1278"/>
                <a:gd name="T6" fmla="*/ 795 w 1197"/>
                <a:gd name="T7" fmla="*/ 141 h 1278"/>
                <a:gd name="T8" fmla="*/ 743 w 1197"/>
                <a:gd name="T9" fmla="*/ 133 h 1278"/>
                <a:gd name="T10" fmla="*/ 683 w 1197"/>
                <a:gd name="T11" fmla="*/ 141 h 1278"/>
                <a:gd name="T12" fmla="*/ 543 w 1197"/>
                <a:gd name="T13" fmla="*/ 148 h 1278"/>
                <a:gd name="T14" fmla="*/ 498 w 1197"/>
                <a:gd name="T15" fmla="*/ 237 h 1278"/>
                <a:gd name="T16" fmla="*/ 409 w 1197"/>
                <a:gd name="T17" fmla="*/ 371 h 1278"/>
                <a:gd name="T18" fmla="*/ 290 w 1197"/>
                <a:gd name="T19" fmla="*/ 319 h 1278"/>
                <a:gd name="T20" fmla="*/ 246 w 1197"/>
                <a:gd name="T21" fmla="*/ 356 h 1278"/>
                <a:gd name="T22" fmla="*/ 201 w 1197"/>
                <a:gd name="T23" fmla="*/ 453 h 1278"/>
                <a:gd name="T24" fmla="*/ 149 w 1197"/>
                <a:gd name="T25" fmla="*/ 512 h 1278"/>
                <a:gd name="T26" fmla="*/ 134 w 1197"/>
                <a:gd name="T27" fmla="*/ 675 h 1278"/>
                <a:gd name="T28" fmla="*/ 52 w 1197"/>
                <a:gd name="T29" fmla="*/ 831 h 1278"/>
                <a:gd name="T30" fmla="*/ 23 w 1197"/>
                <a:gd name="T31" fmla="*/ 980 h 1278"/>
                <a:gd name="T32" fmla="*/ 38 w 1197"/>
                <a:gd name="T33" fmla="*/ 1054 h 1278"/>
                <a:gd name="T34" fmla="*/ 8 w 1197"/>
                <a:gd name="T35" fmla="*/ 1143 h 1278"/>
                <a:gd name="T36" fmla="*/ 134 w 1197"/>
                <a:gd name="T37" fmla="*/ 1180 h 1278"/>
                <a:gd name="T38" fmla="*/ 275 w 1197"/>
                <a:gd name="T39" fmla="*/ 1173 h 1278"/>
                <a:gd name="T40" fmla="*/ 283 w 1197"/>
                <a:gd name="T41" fmla="*/ 1165 h 1278"/>
                <a:gd name="T42" fmla="*/ 357 w 1197"/>
                <a:gd name="T43" fmla="*/ 1158 h 1278"/>
                <a:gd name="T44" fmla="*/ 446 w 1197"/>
                <a:gd name="T45" fmla="*/ 1143 h 1278"/>
                <a:gd name="T46" fmla="*/ 602 w 1197"/>
                <a:gd name="T47" fmla="*/ 1217 h 1278"/>
                <a:gd name="T48" fmla="*/ 795 w 1197"/>
                <a:gd name="T49" fmla="*/ 1270 h 1278"/>
                <a:gd name="T50" fmla="*/ 906 w 1197"/>
                <a:gd name="T51" fmla="*/ 995 h 1278"/>
                <a:gd name="T52" fmla="*/ 958 w 1197"/>
                <a:gd name="T53" fmla="*/ 891 h 1278"/>
                <a:gd name="T54" fmla="*/ 973 w 1197"/>
                <a:gd name="T55" fmla="*/ 839 h 1278"/>
                <a:gd name="T56" fmla="*/ 1018 w 1197"/>
                <a:gd name="T57" fmla="*/ 742 h 1278"/>
                <a:gd name="T58" fmla="*/ 1062 w 1197"/>
                <a:gd name="T59" fmla="*/ 660 h 1278"/>
                <a:gd name="T60" fmla="*/ 1107 w 1197"/>
                <a:gd name="T61" fmla="*/ 579 h 1278"/>
                <a:gd name="T62" fmla="*/ 1174 w 1197"/>
                <a:gd name="T63" fmla="*/ 438 h 1278"/>
                <a:gd name="T64" fmla="*/ 1196 w 1197"/>
                <a:gd name="T65" fmla="*/ 356 h 1278"/>
                <a:gd name="T66" fmla="*/ 1085 w 1197"/>
                <a:gd name="T67" fmla="*/ 304 h 1278"/>
                <a:gd name="T68" fmla="*/ 1122 w 1197"/>
                <a:gd name="T69" fmla="*/ 185 h 1278"/>
                <a:gd name="T70" fmla="*/ 1010 w 1197"/>
                <a:gd name="T71" fmla="*/ 141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97" h="1278">
                  <a:moveTo>
                    <a:pt x="1018" y="14"/>
                  </a:moveTo>
                  <a:lnTo>
                    <a:pt x="1018" y="14"/>
                  </a:lnTo>
                  <a:cubicBezTo>
                    <a:pt x="1003" y="14"/>
                    <a:pt x="1003" y="7"/>
                    <a:pt x="995" y="0"/>
                  </a:cubicBezTo>
                  <a:cubicBezTo>
                    <a:pt x="988" y="0"/>
                    <a:pt x="951" y="52"/>
                    <a:pt x="943" y="59"/>
                  </a:cubicBezTo>
                  <a:cubicBezTo>
                    <a:pt x="943" y="66"/>
                    <a:pt x="936" y="74"/>
                    <a:pt x="928" y="81"/>
                  </a:cubicBezTo>
                  <a:cubicBezTo>
                    <a:pt x="928" y="96"/>
                    <a:pt x="936" y="103"/>
                    <a:pt x="921" y="118"/>
                  </a:cubicBezTo>
                  <a:cubicBezTo>
                    <a:pt x="906" y="126"/>
                    <a:pt x="877" y="126"/>
                    <a:pt x="862" y="126"/>
                  </a:cubicBezTo>
                  <a:cubicBezTo>
                    <a:pt x="832" y="126"/>
                    <a:pt x="817" y="133"/>
                    <a:pt x="795" y="141"/>
                  </a:cubicBezTo>
                  <a:cubicBezTo>
                    <a:pt x="788" y="148"/>
                    <a:pt x="780" y="148"/>
                    <a:pt x="765" y="148"/>
                  </a:cubicBezTo>
                  <a:cubicBezTo>
                    <a:pt x="750" y="148"/>
                    <a:pt x="758" y="133"/>
                    <a:pt x="743" y="133"/>
                  </a:cubicBezTo>
                  <a:cubicBezTo>
                    <a:pt x="736" y="133"/>
                    <a:pt x="721" y="148"/>
                    <a:pt x="713" y="148"/>
                  </a:cubicBezTo>
                  <a:cubicBezTo>
                    <a:pt x="698" y="148"/>
                    <a:pt x="698" y="141"/>
                    <a:pt x="683" y="141"/>
                  </a:cubicBezTo>
                  <a:cubicBezTo>
                    <a:pt x="661" y="133"/>
                    <a:pt x="639" y="133"/>
                    <a:pt x="617" y="133"/>
                  </a:cubicBezTo>
                  <a:cubicBezTo>
                    <a:pt x="587" y="133"/>
                    <a:pt x="565" y="133"/>
                    <a:pt x="543" y="148"/>
                  </a:cubicBezTo>
                  <a:cubicBezTo>
                    <a:pt x="520" y="155"/>
                    <a:pt x="483" y="155"/>
                    <a:pt x="476" y="178"/>
                  </a:cubicBezTo>
                  <a:cubicBezTo>
                    <a:pt x="505" y="185"/>
                    <a:pt x="513" y="208"/>
                    <a:pt x="498" y="237"/>
                  </a:cubicBezTo>
                  <a:cubicBezTo>
                    <a:pt x="483" y="252"/>
                    <a:pt x="476" y="267"/>
                    <a:pt x="461" y="282"/>
                  </a:cubicBezTo>
                  <a:cubicBezTo>
                    <a:pt x="431" y="304"/>
                    <a:pt x="424" y="334"/>
                    <a:pt x="409" y="371"/>
                  </a:cubicBezTo>
                  <a:cubicBezTo>
                    <a:pt x="386" y="356"/>
                    <a:pt x="364" y="341"/>
                    <a:pt x="334" y="334"/>
                  </a:cubicBezTo>
                  <a:cubicBezTo>
                    <a:pt x="334" y="326"/>
                    <a:pt x="312" y="319"/>
                    <a:pt x="290" y="319"/>
                  </a:cubicBezTo>
                  <a:cubicBezTo>
                    <a:pt x="290" y="319"/>
                    <a:pt x="290" y="326"/>
                    <a:pt x="297" y="326"/>
                  </a:cubicBezTo>
                  <a:cubicBezTo>
                    <a:pt x="268" y="326"/>
                    <a:pt x="260" y="341"/>
                    <a:pt x="246" y="356"/>
                  </a:cubicBezTo>
                  <a:cubicBezTo>
                    <a:pt x="238" y="363"/>
                    <a:pt x="216" y="386"/>
                    <a:pt x="208" y="393"/>
                  </a:cubicBezTo>
                  <a:cubicBezTo>
                    <a:pt x="201" y="408"/>
                    <a:pt x="208" y="438"/>
                    <a:pt x="201" y="453"/>
                  </a:cubicBezTo>
                  <a:cubicBezTo>
                    <a:pt x="201" y="475"/>
                    <a:pt x="193" y="490"/>
                    <a:pt x="186" y="505"/>
                  </a:cubicBezTo>
                  <a:cubicBezTo>
                    <a:pt x="171" y="505"/>
                    <a:pt x="164" y="505"/>
                    <a:pt x="149" y="512"/>
                  </a:cubicBezTo>
                  <a:cubicBezTo>
                    <a:pt x="171" y="542"/>
                    <a:pt x="156" y="564"/>
                    <a:pt x="149" y="594"/>
                  </a:cubicBezTo>
                  <a:cubicBezTo>
                    <a:pt x="141" y="623"/>
                    <a:pt x="149" y="653"/>
                    <a:pt x="134" y="675"/>
                  </a:cubicBezTo>
                  <a:cubicBezTo>
                    <a:pt x="112" y="675"/>
                    <a:pt x="89" y="675"/>
                    <a:pt x="67" y="675"/>
                  </a:cubicBezTo>
                  <a:cubicBezTo>
                    <a:pt x="60" y="727"/>
                    <a:pt x="60" y="779"/>
                    <a:pt x="52" y="831"/>
                  </a:cubicBezTo>
                  <a:cubicBezTo>
                    <a:pt x="52" y="861"/>
                    <a:pt x="52" y="883"/>
                    <a:pt x="38" y="905"/>
                  </a:cubicBezTo>
                  <a:cubicBezTo>
                    <a:pt x="23" y="935"/>
                    <a:pt x="23" y="950"/>
                    <a:pt x="23" y="980"/>
                  </a:cubicBezTo>
                  <a:cubicBezTo>
                    <a:pt x="15" y="987"/>
                    <a:pt x="15" y="987"/>
                    <a:pt x="15" y="987"/>
                  </a:cubicBezTo>
                  <a:cubicBezTo>
                    <a:pt x="23" y="1010"/>
                    <a:pt x="38" y="1039"/>
                    <a:pt x="38" y="1054"/>
                  </a:cubicBezTo>
                  <a:cubicBezTo>
                    <a:pt x="38" y="1069"/>
                    <a:pt x="38" y="1084"/>
                    <a:pt x="30" y="1099"/>
                  </a:cubicBezTo>
                  <a:cubicBezTo>
                    <a:pt x="23" y="1121"/>
                    <a:pt x="0" y="1121"/>
                    <a:pt x="8" y="1143"/>
                  </a:cubicBezTo>
                  <a:cubicBezTo>
                    <a:pt x="38" y="1158"/>
                    <a:pt x="67" y="1151"/>
                    <a:pt x="97" y="1158"/>
                  </a:cubicBezTo>
                  <a:cubicBezTo>
                    <a:pt x="127" y="1165"/>
                    <a:pt x="119" y="1165"/>
                    <a:pt x="134" y="1180"/>
                  </a:cubicBezTo>
                  <a:cubicBezTo>
                    <a:pt x="149" y="1188"/>
                    <a:pt x="171" y="1180"/>
                    <a:pt x="186" y="1180"/>
                  </a:cubicBezTo>
                  <a:cubicBezTo>
                    <a:pt x="208" y="1180"/>
                    <a:pt x="260" y="1165"/>
                    <a:pt x="275" y="1173"/>
                  </a:cubicBezTo>
                  <a:lnTo>
                    <a:pt x="283" y="1180"/>
                  </a:lnTo>
                  <a:cubicBezTo>
                    <a:pt x="283" y="1173"/>
                    <a:pt x="283" y="1173"/>
                    <a:pt x="283" y="1165"/>
                  </a:cubicBezTo>
                  <a:cubicBezTo>
                    <a:pt x="290" y="1151"/>
                    <a:pt x="290" y="1121"/>
                    <a:pt x="312" y="1113"/>
                  </a:cubicBezTo>
                  <a:cubicBezTo>
                    <a:pt x="327" y="1113"/>
                    <a:pt x="349" y="1151"/>
                    <a:pt x="357" y="1158"/>
                  </a:cubicBezTo>
                  <a:cubicBezTo>
                    <a:pt x="372" y="1173"/>
                    <a:pt x="394" y="1195"/>
                    <a:pt x="416" y="1202"/>
                  </a:cubicBezTo>
                  <a:cubicBezTo>
                    <a:pt x="453" y="1202"/>
                    <a:pt x="446" y="1173"/>
                    <a:pt x="446" y="1143"/>
                  </a:cubicBezTo>
                  <a:cubicBezTo>
                    <a:pt x="476" y="1143"/>
                    <a:pt x="528" y="1136"/>
                    <a:pt x="550" y="1143"/>
                  </a:cubicBezTo>
                  <a:cubicBezTo>
                    <a:pt x="580" y="1158"/>
                    <a:pt x="580" y="1217"/>
                    <a:pt x="602" y="1217"/>
                  </a:cubicBezTo>
                  <a:cubicBezTo>
                    <a:pt x="602" y="1165"/>
                    <a:pt x="676" y="1165"/>
                    <a:pt x="713" y="1180"/>
                  </a:cubicBezTo>
                  <a:cubicBezTo>
                    <a:pt x="750" y="1202"/>
                    <a:pt x="780" y="1232"/>
                    <a:pt x="795" y="1270"/>
                  </a:cubicBezTo>
                  <a:cubicBezTo>
                    <a:pt x="854" y="1277"/>
                    <a:pt x="884" y="1084"/>
                    <a:pt x="891" y="1054"/>
                  </a:cubicBezTo>
                  <a:cubicBezTo>
                    <a:pt x="899" y="1032"/>
                    <a:pt x="899" y="1010"/>
                    <a:pt x="906" y="995"/>
                  </a:cubicBezTo>
                  <a:cubicBezTo>
                    <a:pt x="914" y="972"/>
                    <a:pt x="928" y="965"/>
                    <a:pt x="936" y="943"/>
                  </a:cubicBezTo>
                  <a:cubicBezTo>
                    <a:pt x="943" y="928"/>
                    <a:pt x="943" y="905"/>
                    <a:pt x="958" y="891"/>
                  </a:cubicBezTo>
                  <a:cubicBezTo>
                    <a:pt x="966" y="876"/>
                    <a:pt x="966" y="883"/>
                    <a:pt x="973" y="868"/>
                  </a:cubicBezTo>
                  <a:cubicBezTo>
                    <a:pt x="973" y="861"/>
                    <a:pt x="973" y="846"/>
                    <a:pt x="973" y="839"/>
                  </a:cubicBezTo>
                  <a:cubicBezTo>
                    <a:pt x="973" y="816"/>
                    <a:pt x="981" y="809"/>
                    <a:pt x="988" y="787"/>
                  </a:cubicBezTo>
                  <a:cubicBezTo>
                    <a:pt x="995" y="765"/>
                    <a:pt x="988" y="757"/>
                    <a:pt x="1018" y="742"/>
                  </a:cubicBezTo>
                  <a:cubicBezTo>
                    <a:pt x="1040" y="742"/>
                    <a:pt x="1055" y="742"/>
                    <a:pt x="1062" y="712"/>
                  </a:cubicBezTo>
                  <a:cubicBezTo>
                    <a:pt x="1070" y="698"/>
                    <a:pt x="1062" y="675"/>
                    <a:pt x="1062" y="660"/>
                  </a:cubicBezTo>
                  <a:cubicBezTo>
                    <a:pt x="1085" y="646"/>
                    <a:pt x="1099" y="646"/>
                    <a:pt x="1107" y="623"/>
                  </a:cubicBezTo>
                  <a:cubicBezTo>
                    <a:pt x="1107" y="608"/>
                    <a:pt x="1107" y="594"/>
                    <a:pt x="1107" y="579"/>
                  </a:cubicBezTo>
                  <a:cubicBezTo>
                    <a:pt x="1114" y="542"/>
                    <a:pt x="1137" y="549"/>
                    <a:pt x="1159" y="527"/>
                  </a:cubicBezTo>
                  <a:cubicBezTo>
                    <a:pt x="1174" y="497"/>
                    <a:pt x="1159" y="467"/>
                    <a:pt x="1174" y="438"/>
                  </a:cubicBezTo>
                  <a:cubicBezTo>
                    <a:pt x="1188" y="408"/>
                    <a:pt x="1188" y="408"/>
                    <a:pt x="1188" y="408"/>
                  </a:cubicBezTo>
                  <a:cubicBezTo>
                    <a:pt x="1196" y="393"/>
                    <a:pt x="1196" y="371"/>
                    <a:pt x="1196" y="356"/>
                  </a:cubicBezTo>
                  <a:cubicBezTo>
                    <a:pt x="1166" y="349"/>
                    <a:pt x="1159" y="349"/>
                    <a:pt x="1137" y="334"/>
                  </a:cubicBezTo>
                  <a:cubicBezTo>
                    <a:pt x="1122" y="326"/>
                    <a:pt x="1099" y="311"/>
                    <a:pt x="1085" y="304"/>
                  </a:cubicBezTo>
                  <a:cubicBezTo>
                    <a:pt x="1085" y="282"/>
                    <a:pt x="1085" y="237"/>
                    <a:pt x="1092" y="215"/>
                  </a:cubicBezTo>
                  <a:cubicBezTo>
                    <a:pt x="1099" y="200"/>
                    <a:pt x="1114" y="200"/>
                    <a:pt x="1122" y="185"/>
                  </a:cubicBezTo>
                  <a:cubicBezTo>
                    <a:pt x="1122" y="185"/>
                    <a:pt x="1122" y="178"/>
                    <a:pt x="1122" y="163"/>
                  </a:cubicBezTo>
                  <a:cubicBezTo>
                    <a:pt x="1085" y="163"/>
                    <a:pt x="1048" y="141"/>
                    <a:pt x="1010" y="141"/>
                  </a:cubicBezTo>
                  <a:cubicBezTo>
                    <a:pt x="1010" y="96"/>
                    <a:pt x="1018" y="59"/>
                    <a:pt x="1018" y="14"/>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4" name="Freeform 22">
              <a:extLst>
                <a:ext uri="{FF2B5EF4-FFF2-40B4-BE49-F238E27FC236}">
                  <a16:creationId xmlns:a16="http://schemas.microsoft.com/office/drawing/2014/main" id="{02429257-040C-9A47-A1DF-7F95E005C628}"/>
                </a:ext>
              </a:extLst>
            </p:cNvPr>
            <p:cNvSpPr>
              <a:spLocks noChangeArrowheads="1"/>
            </p:cNvSpPr>
            <p:nvPr/>
          </p:nvSpPr>
          <p:spPr bwMode="auto">
            <a:xfrm>
              <a:off x="14863400" y="5305042"/>
              <a:ext cx="1631849" cy="1417393"/>
            </a:xfrm>
            <a:custGeom>
              <a:avLst/>
              <a:gdLst>
                <a:gd name="T0" fmla="*/ 3706 w 3774"/>
                <a:gd name="T1" fmla="*/ 839 h 3283"/>
                <a:gd name="T2" fmla="*/ 3476 w 3774"/>
                <a:gd name="T3" fmla="*/ 779 h 3283"/>
                <a:gd name="T4" fmla="*/ 3171 w 3774"/>
                <a:gd name="T5" fmla="*/ 727 h 3283"/>
                <a:gd name="T6" fmla="*/ 3052 w 3774"/>
                <a:gd name="T7" fmla="*/ 720 h 3283"/>
                <a:gd name="T8" fmla="*/ 3171 w 3774"/>
                <a:gd name="T9" fmla="*/ 490 h 3283"/>
                <a:gd name="T10" fmla="*/ 2941 w 3774"/>
                <a:gd name="T11" fmla="*/ 378 h 3283"/>
                <a:gd name="T12" fmla="*/ 2867 w 3774"/>
                <a:gd name="T13" fmla="*/ 282 h 3283"/>
                <a:gd name="T14" fmla="*/ 2926 w 3774"/>
                <a:gd name="T15" fmla="*/ 148 h 3283"/>
                <a:gd name="T16" fmla="*/ 2755 w 3774"/>
                <a:gd name="T17" fmla="*/ 29 h 3283"/>
                <a:gd name="T18" fmla="*/ 2458 w 3774"/>
                <a:gd name="T19" fmla="*/ 237 h 3283"/>
                <a:gd name="T20" fmla="*/ 2362 w 3774"/>
                <a:gd name="T21" fmla="*/ 371 h 3283"/>
                <a:gd name="T22" fmla="*/ 1857 w 3774"/>
                <a:gd name="T23" fmla="*/ 208 h 3283"/>
                <a:gd name="T24" fmla="*/ 1567 w 3774"/>
                <a:gd name="T25" fmla="*/ 505 h 3283"/>
                <a:gd name="T26" fmla="*/ 1344 w 3774"/>
                <a:gd name="T27" fmla="*/ 690 h 3283"/>
                <a:gd name="T28" fmla="*/ 1018 w 3774"/>
                <a:gd name="T29" fmla="*/ 787 h 3283"/>
                <a:gd name="T30" fmla="*/ 906 w 3774"/>
                <a:gd name="T31" fmla="*/ 1032 h 3283"/>
                <a:gd name="T32" fmla="*/ 706 w 3774"/>
                <a:gd name="T33" fmla="*/ 1188 h 3283"/>
                <a:gd name="T34" fmla="*/ 454 w 3774"/>
                <a:gd name="T35" fmla="*/ 1403 h 3283"/>
                <a:gd name="T36" fmla="*/ 305 w 3774"/>
                <a:gd name="T37" fmla="*/ 1470 h 3283"/>
                <a:gd name="T38" fmla="*/ 0 w 3774"/>
                <a:gd name="T39" fmla="*/ 1574 h 3283"/>
                <a:gd name="T40" fmla="*/ 201 w 3774"/>
                <a:gd name="T41" fmla="*/ 1730 h 3283"/>
                <a:gd name="T42" fmla="*/ 349 w 3774"/>
                <a:gd name="T43" fmla="*/ 1841 h 3283"/>
                <a:gd name="T44" fmla="*/ 386 w 3774"/>
                <a:gd name="T45" fmla="*/ 2116 h 3283"/>
                <a:gd name="T46" fmla="*/ 386 w 3774"/>
                <a:gd name="T47" fmla="*/ 2153 h 3283"/>
                <a:gd name="T48" fmla="*/ 661 w 3774"/>
                <a:gd name="T49" fmla="*/ 2072 h 3283"/>
                <a:gd name="T50" fmla="*/ 944 w 3774"/>
                <a:gd name="T51" fmla="*/ 2079 h 3283"/>
                <a:gd name="T52" fmla="*/ 1285 w 3774"/>
                <a:gd name="T53" fmla="*/ 2027 h 3283"/>
                <a:gd name="T54" fmla="*/ 1486 w 3774"/>
                <a:gd name="T55" fmla="*/ 1938 h 3283"/>
                <a:gd name="T56" fmla="*/ 1597 w 3774"/>
                <a:gd name="T57" fmla="*/ 1745 h 3283"/>
                <a:gd name="T58" fmla="*/ 1693 w 3774"/>
                <a:gd name="T59" fmla="*/ 1552 h 3283"/>
                <a:gd name="T60" fmla="*/ 1842 w 3774"/>
                <a:gd name="T61" fmla="*/ 1537 h 3283"/>
                <a:gd name="T62" fmla="*/ 2080 w 3774"/>
                <a:gd name="T63" fmla="*/ 1425 h 3283"/>
                <a:gd name="T64" fmla="*/ 2161 w 3774"/>
                <a:gd name="T65" fmla="*/ 1396 h 3283"/>
                <a:gd name="T66" fmla="*/ 2310 w 3774"/>
                <a:gd name="T67" fmla="*/ 1329 h 3283"/>
                <a:gd name="T68" fmla="*/ 2444 w 3774"/>
                <a:gd name="T69" fmla="*/ 1270 h 3283"/>
                <a:gd name="T70" fmla="*/ 2703 w 3774"/>
                <a:gd name="T71" fmla="*/ 1180 h 3283"/>
                <a:gd name="T72" fmla="*/ 2718 w 3774"/>
                <a:gd name="T73" fmla="*/ 1351 h 3283"/>
                <a:gd name="T74" fmla="*/ 2860 w 3774"/>
                <a:gd name="T75" fmla="*/ 1552 h 3283"/>
                <a:gd name="T76" fmla="*/ 2592 w 3774"/>
                <a:gd name="T77" fmla="*/ 1700 h 3283"/>
                <a:gd name="T78" fmla="*/ 2458 w 3774"/>
                <a:gd name="T79" fmla="*/ 1864 h 3283"/>
                <a:gd name="T80" fmla="*/ 2280 w 3774"/>
                <a:gd name="T81" fmla="*/ 1975 h 3283"/>
                <a:gd name="T82" fmla="*/ 2087 w 3774"/>
                <a:gd name="T83" fmla="*/ 2123 h 3283"/>
                <a:gd name="T84" fmla="*/ 1812 w 3774"/>
                <a:gd name="T85" fmla="*/ 2354 h 3283"/>
                <a:gd name="T86" fmla="*/ 1612 w 3774"/>
                <a:gd name="T87" fmla="*/ 2584 h 3283"/>
                <a:gd name="T88" fmla="*/ 1486 w 3774"/>
                <a:gd name="T89" fmla="*/ 2747 h 3283"/>
                <a:gd name="T90" fmla="*/ 1285 w 3774"/>
                <a:gd name="T91" fmla="*/ 2992 h 3283"/>
                <a:gd name="T92" fmla="*/ 1300 w 3774"/>
                <a:gd name="T93" fmla="*/ 3230 h 3283"/>
                <a:gd name="T94" fmla="*/ 1486 w 3774"/>
                <a:gd name="T95" fmla="*/ 3089 h 3283"/>
                <a:gd name="T96" fmla="*/ 1753 w 3774"/>
                <a:gd name="T97" fmla="*/ 3044 h 3283"/>
                <a:gd name="T98" fmla="*/ 1938 w 3774"/>
                <a:gd name="T99" fmla="*/ 2992 h 3283"/>
                <a:gd name="T100" fmla="*/ 2132 w 3774"/>
                <a:gd name="T101" fmla="*/ 3074 h 3283"/>
                <a:gd name="T102" fmla="*/ 2273 w 3774"/>
                <a:gd name="T103" fmla="*/ 2903 h 3283"/>
                <a:gd name="T104" fmla="*/ 2347 w 3774"/>
                <a:gd name="T105" fmla="*/ 2651 h 3283"/>
                <a:gd name="T106" fmla="*/ 2369 w 3774"/>
                <a:gd name="T107" fmla="*/ 2406 h 3283"/>
                <a:gd name="T108" fmla="*/ 2495 w 3774"/>
                <a:gd name="T109" fmla="*/ 2109 h 3283"/>
                <a:gd name="T110" fmla="*/ 2726 w 3774"/>
                <a:gd name="T111" fmla="*/ 1938 h 3283"/>
                <a:gd name="T112" fmla="*/ 3112 w 3774"/>
                <a:gd name="T113" fmla="*/ 1604 h 3283"/>
                <a:gd name="T114" fmla="*/ 3327 w 3774"/>
                <a:gd name="T115" fmla="*/ 1544 h 3283"/>
                <a:gd name="T116" fmla="*/ 3483 w 3774"/>
                <a:gd name="T117" fmla="*/ 1626 h 3283"/>
                <a:gd name="T118" fmla="*/ 3587 w 3774"/>
                <a:gd name="T119" fmla="*/ 1537 h 3283"/>
                <a:gd name="T120" fmla="*/ 3491 w 3774"/>
                <a:gd name="T121" fmla="*/ 1284 h 3283"/>
                <a:gd name="T122" fmla="*/ 3765 w 3774"/>
                <a:gd name="T123" fmla="*/ 995 h 3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74" h="3283">
                  <a:moveTo>
                    <a:pt x="3773" y="995"/>
                  </a:moveTo>
                  <a:lnTo>
                    <a:pt x="3773" y="995"/>
                  </a:lnTo>
                  <a:cubicBezTo>
                    <a:pt x="3773" y="965"/>
                    <a:pt x="3743" y="965"/>
                    <a:pt x="3728" y="943"/>
                  </a:cubicBezTo>
                  <a:cubicBezTo>
                    <a:pt x="3728" y="928"/>
                    <a:pt x="3728" y="905"/>
                    <a:pt x="3728" y="891"/>
                  </a:cubicBezTo>
                  <a:cubicBezTo>
                    <a:pt x="3736" y="861"/>
                    <a:pt x="3728" y="854"/>
                    <a:pt x="3706" y="839"/>
                  </a:cubicBezTo>
                  <a:cubicBezTo>
                    <a:pt x="3684" y="831"/>
                    <a:pt x="3669" y="824"/>
                    <a:pt x="3669" y="802"/>
                  </a:cubicBezTo>
                  <a:cubicBezTo>
                    <a:pt x="3654" y="794"/>
                    <a:pt x="3647" y="794"/>
                    <a:pt x="3639" y="779"/>
                  </a:cubicBezTo>
                  <a:cubicBezTo>
                    <a:pt x="3632" y="772"/>
                    <a:pt x="3624" y="757"/>
                    <a:pt x="3610" y="750"/>
                  </a:cubicBezTo>
                  <a:cubicBezTo>
                    <a:pt x="3595" y="742"/>
                    <a:pt x="3550" y="750"/>
                    <a:pt x="3535" y="750"/>
                  </a:cubicBezTo>
                  <a:cubicBezTo>
                    <a:pt x="3513" y="757"/>
                    <a:pt x="3498" y="779"/>
                    <a:pt x="3476" y="779"/>
                  </a:cubicBezTo>
                  <a:cubicBezTo>
                    <a:pt x="3461" y="779"/>
                    <a:pt x="3453" y="757"/>
                    <a:pt x="3439" y="750"/>
                  </a:cubicBezTo>
                  <a:cubicBezTo>
                    <a:pt x="3424" y="750"/>
                    <a:pt x="3416" y="750"/>
                    <a:pt x="3409" y="757"/>
                  </a:cubicBezTo>
                  <a:cubicBezTo>
                    <a:pt x="3372" y="765"/>
                    <a:pt x="3357" y="772"/>
                    <a:pt x="3327" y="750"/>
                  </a:cubicBezTo>
                  <a:cubicBezTo>
                    <a:pt x="3305" y="735"/>
                    <a:pt x="3275" y="705"/>
                    <a:pt x="3246" y="705"/>
                  </a:cubicBezTo>
                  <a:cubicBezTo>
                    <a:pt x="3223" y="698"/>
                    <a:pt x="3194" y="720"/>
                    <a:pt x="3171" y="727"/>
                  </a:cubicBezTo>
                  <a:cubicBezTo>
                    <a:pt x="3149" y="735"/>
                    <a:pt x="3119" y="750"/>
                    <a:pt x="3112" y="765"/>
                  </a:cubicBezTo>
                  <a:cubicBezTo>
                    <a:pt x="3090" y="779"/>
                    <a:pt x="3105" y="794"/>
                    <a:pt x="3097" y="816"/>
                  </a:cubicBezTo>
                  <a:cubicBezTo>
                    <a:pt x="3082" y="809"/>
                    <a:pt x="3067" y="809"/>
                    <a:pt x="3052" y="802"/>
                  </a:cubicBezTo>
                  <a:cubicBezTo>
                    <a:pt x="3038" y="802"/>
                    <a:pt x="3023" y="802"/>
                    <a:pt x="3008" y="802"/>
                  </a:cubicBezTo>
                  <a:cubicBezTo>
                    <a:pt x="3000" y="757"/>
                    <a:pt x="3060" y="757"/>
                    <a:pt x="3052" y="720"/>
                  </a:cubicBezTo>
                  <a:cubicBezTo>
                    <a:pt x="3030" y="720"/>
                    <a:pt x="3038" y="668"/>
                    <a:pt x="3045" y="653"/>
                  </a:cubicBezTo>
                  <a:cubicBezTo>
                    <a:pt x="3067" y="653"/>
                    <a:pt x="3075" y="631"/>
                    <a:pt x="3090" y="623"/>
                  </a:cubicBezTo>
                  <a:cubicBezTo>
                    <a:pt x="3112" y="594"/>
                    <a:pt x="3097" y="608"/>
                    <a:pt x="3097" y="579"/>
                  </a:cubicBezTo>
                  <a:cubicBezTo>
                    <a:pt x="3097" y="534"/>
                    <a:pt x="3149" y="534"/>
                    <a:pt x="3164" y="512"/>
                  </a:cubicBezTo>
                  <a:cubicBezTo>
                    <a:pt x="3171" y="505"/>
                    <a:pt x="3171" y="490"/>
                    <a:pt x="3171" y="490"/>
                  </a:cubicBezTo>
                  <a:cubicBezTo>
                    <a:pt x="3179" y="482"/>
                    <a:pt x="3194" y="490"/>
                    <a:pt x="3194" y="475"/>
                  </a:cubicBezTo>
                  <a:cubicBezTo>
                    <a:pt x="3201" y="460"/>
                    <a:pt x="3142" y="430"/>
                    <a:pt x="3134" y="415"/>
                  </a:cubicBezTo>
                  <a:cubicBezTo>
                    <a:pt x="3119" y="400"/>
                    <a:pt x="3097" y="371"/>
                    <a:pt x="3090" y="349"/>
                  </a:cubicBezTo>
                  <a:cubicBezTo>
                    <a:pt x="3082" y="326"/>
                    <a:pt x="3090" y="311"/>
                    <a:pt x="3082" y="289"/>
                  </a:cubicBezTo>
                  <a:cubicBezTo>
                    <a:pt x="3015" y="282"/>
                    <a:pt x="2949" y="311"/>
                    <a:pt x="2941" y="378"/>
                  </a:cubicBezTo>
                  <a:cubicBezTo>
                    <a:pt x="2941" y="393"/>
                    <a:pt x="2949" y="415"/>
                    <a:pt x="2926" y="423"/>
                  </a:cubicBezTo>
                  <a:cubicBezTo>
                    <a:pt x="2911" y="430"/>
                    <a:pt x="2904" y="423"/>
                    <a:pt x="2897" y="408"/>
                  </a:cubicBezTo>
                  <a:cubicBezTo>
                    <a:pt x="2889" y="378"/>
                    <a:pt x="2919" y="356"/>
                    <a:pt x="2904" y="326"/>
                  </a:cubicBezTo>
                  <a:cubicBezTo>
                    <a:pt x="2889" y="326"/>
                    <a:pt x="2867" y="319"/>
                    <a:pt x="2852" y="319"/>
                  </a:cubicBezTo>
                  <a:cubicBezTo>
                    <a:pt x="2852" y="304"/>
                    <a:pt x="2867" y="297"/>
                    <a:pt x="2867" y="282"/>
                  </a:cubicBezTo>
                  <a:cubicBezTo>
                    <a:pt x="2874" y="282"/>
                    <a:pt x="2889" y="274"/>
                    <a:pt x="2889" y="282"/>
                  </a:cubicBezTo>
                  <a:cubicBezTo>
                    <a:pt x="2897" y="267"/>
                    <a:pt x="2934" y="200"/>
                    <a:pt x="2949" y="200"/>
                  </a:cubicBezTo>
                  <a:cubicBezTo>
                    <a:pt x="2963" y="193"/>
                    <a:pt x="2978" y="208"/>
                    <a:pt x="2986" y="185"/>
                  </a:cubicBezTo>
                  <a:cubicBezTo>
                    <a:pt x="2993" y="178"/>
                    <a:pt x="2978" y="155"/>
                    <a:pt x="2986" y="148"/>
                  </a:cubicBezTo>
                  <a:cubicBezTo>
                    <a:pt x="2963" y="133"/>
                    <a:pt x="2949" y="148"/>
                    <a:pt x="2926" y="148"/>
                  </a:cubicBezTo>
                  <a:cubicBezTo>
                    <a:pt x="2897" y="155"/>
                    <a:pt x="2882" y="133"/>
                    <a:pt x="2867" y="103"/>
                  </a:cubicBezTo>
                  <a:cubicBezTo>
                    <a:pt x="2860" y="89"/>
                    <a:pt x="2867" y="96"/>
                    <a:pt x="2852" y="81"/>
                  </a:cubicBezTo>
                  <a:cubicBezTo>
                    <a:pt x="2845" y="66"/>
                    <a:pt x="2822" y="66"/>
                    <a:pt x="2815" y="52"/>
                  </a:cubicBezTo>
                  <a:cubicBezTo>
                    <a:pt x="2800" y="37"/>
                    <a:pt x="2807" y="7"/>
                    <a:pt x="2778" y="0"/>
                  </a:cubicBezTo>
                  <a:cubicBezTo>
                    <a:pt x="2778" y="29"/>
                    <a:pt x="2770" y="14"/>
                    <a:pt x="2755" y="29"/>
                  </a:cubicBezTo>
                  <a:cubicBezTo>
                    <a:pt x="2741" y="37"/>
                    <a:pt x="2748" y="44"/>
                    <a:pt x="2741" y="52"/>
                  </a:cubicBezTo>
                  <a:cubicBezTo>
                    <a:pt x="2733" y="66"/>
                    <a:pt x="2718" y="66"/>
                    <a:pt x="2711" y="66"/>
                  </a:cubicBezTo>
                  <a:cubicBezTo>
                    <a:pt x="2674" y="89"/>
                    <a:pt x="2644" y="111"/>
                    <a:pt x="2607" y="126"/>
                  </a:cubicBezTo>
                  <a:cubicBezTo>
                    <a:pt x="2570" y="148"/>
                    <a:pt x="2533" y="163"/>
                    <a:pt x="2503" y="193"/>
                  </a:cubicBezTo>
                  <a:cubicBezTo>
                    <a:pt x="2488" y="200"/>
                    <a:pt x="2458" y="215"/>
                    <a:pt x="2458" y="237"/>
                  </a:cubicBezTo>
                  <a:cubicBezTo>
                    <a:pt x="2458" y="245"/>
                    <a:pt x="2473" y="245"/>
                    <a:pt x="2473" y="260"/>
                  </a:cubicBezTo>
                  <a:cubicBezTo>
                    <a:pt x="2473" y="267"/>
                    <a:pt x="2473" y="274"/>
                    <a:pt x="2473" y="282"/>
                  </a:cubicBezTo>
                  <a:cubicBezTo>
                    <a:pt x="2466" y="282"/>
                    <a:pt x="2451" y="282"/>
                    <a:pt x="2436" y="282"/>
                  </a:cubicBezTo>
                  <a:cubicBezTo>
                    <a:pt x="2451" y="304"/>
                    <a:pt x="2444" y="334"/>
                    <a:pt x="2429" y="349"/>
                  </a:cubicBezTo>
                  <a:cubicBezTo>
                    <a:pt x="2414" y="363"/>
                    <a:pt x="2384" y="363"/>
                    <a:pt x="2362" y="371"/>
                  </a:cubicBezTo>
                  <a:cubicBezTo>
                    <a:pt x="2332" y="371"/>
                    <a:pt x="2303" y="349"/>
                    <a:pt x="2273" y="326"/>
                  </a:cubicBezTo>
                  <a:cubicBezTo>
                    <a:pt x="2243" y="311"/>
                    <a:pt x="2221" y="304"/>
                    <a:pt x="2184" y="304"/>
                  </a:cubicBezTo>
                  <a:cubicBezTo>
                    <a:pt x="2154" y="304"/>
                    <a:pt x="2132" y="311"/>
                    <a:pt x="2102" y="311"/>
                  </a:cubicBezTo>
                  <a:cubicBezTo>
                    <a:pt x="2058" y="319"/>
                    <a:pt x="2043" y="311"/>
                    <a:pt x="2005" y="282"/>
                  </a:cubicBezTo>
                  <a:cubicBezTo>
                    <a:pt x="1961" y="252"/>
                    <a:pt x="1916" y="208"/>
                    <a:pt x="1857" y="208"/>
                  </a:cubicBezTo>
                  <a:cubicBezTo>
                    <a:pt x="1857" y="245"/>
                    <a:pt x="1857" y="267"/>
                    <a:pt x="1820" y="282"/>
                  </a:cubicBezTo>
                  <a:cubicBezTo>
                    <a:pt x="1790" y="297"/>
                    <a:pt x="1760" y="289"/>
                    <a:pt x="1731" y="304"/>
                  </a:cubicBezTo>
                  <a:cubicBezTo>
                    <a:pt x="1693" y="319"/>
                    <a:pt x="1686" y="349"/>
                    <a:pt x="1656" y="371"/>
                  </a:cubicBezTo>
                  <a:cubicBezTo>
                    <a:pt x="1634" y="386"/>
                    <a:pt x="1612" y="408"/>
                    <a:pt x="1604" y="430"/>
                  </a:cubicBezTo>
                  <a:cubicBezTo>
                    <a:pt x="1597" y="445"/>
                    <a:pt x="1582" y="497"/>
                    <a:pt x="1567" y="505"/>
                  </a:cubicBezTo>
                  <a:cubicBezTo>
                    <a:pt x="1560" y="505"/>
                    <a:pt x="1515" y="497"/>
                    <a:pt x="1508" y="505"/>
                  </a:cubicBezTo>
                  <a:cubicBezTo>
                    <a:pt x="1501" y="519"/>
                    <a:pt x="1530" y="534"/>
                    <a:pt x="1523" y="557"/>
                  </a:cubicBezTo>
                  <a:cubicBezTo>
                    <a:pt x="1523" y="571"/>
                    <a:pt x="1456" y="594"/>
                    <a:pt x="1441" y="601"/>
                  </a:cubicBezTo>
                  <a:cubicBezTo>
                    <a:pt x="1448" y="631"/>
                    <a:pt x="1404" y="646"/>
                    <a:pt x="1382" y="660"/>
                  </a:cubicBezTo>
                  <a:cubicBezTo>
                    <a:pt x="1367" y="668"/>
                    <a:pt x="1359" y="675"/>
                    <a:pt x="1344" y="690"/>
                  </a:cubicBezTo>
                  <a:cubicBezTo>
                    <a:pt x="1337" y="698"/>
                    <a:pt x="1322" y="720"/>
                    <a:pt x="1307" y="727"/>
                  </a:cubicBezTo>
                  <a:cubicBezTo>
                    <a:pt x="1285" y="735"/>
                    <a:pt x="1263" y="720"/>
                    <a:pt x="1241" y="727"/>
                  </a:cubicBezTo>
                  <a:cubicBezTo>
                    <a:pt x="1218" y="727"/>
                    <a:pt x="1211" y="735"/>
                    <a:pt x="1196" y="742"/>
                  </a:cubicBezTo>
                  <a:cubicBezTo>
                    <a:pt x="1166" y="757"/>
                    <a:pt x="1137" y="765"/>
                    <a:pt x="1107" y="779"/>
                  </a:cubicBezTo>
                  <a:cubicBezTo>
                    <a:pt x="1077" y="794"/>
                    <a:pt x="1048" y="779"/>
                    <a:pt x="1018" y="787"/>
                  </a:cubicBezTo>
                  <a:cubicBezTo>
                    <a:pt x="988" y="794"/>
                    <a:pt x="996" y="831"/>
                    <a:pt x="996" y="861"/>
                  </a:cubicBezTo>
                  <a:cubicBezTo>
                    <a:pt x="996" y="891"/>
                    <a:pt x="996" y="913"/>
                    <a:pt x="981" y="943"/>
                  </a:cubicBezTo>
                  <a:cubicBezTo>
                    <a:pt x="973" y="957"/>
                    <a:pt x="966" y="972"/>
                    <a:pt x="958" y="980"/>
                  </a:cubicBezTo>
                  <a:cubicBezTo>
                    <a:pt x="951" y="987"/>
                    <a:pt x="936" y="995"/>
                    <a:pt x="929" y="1002"/>
                  </a:cubicBezTo>
                  <a:cubicBezTo>
                    <a:pt x="921" y="1017"/>
                    <a:pt x="921" y="1024"/>
                    <a:pt x="906" y="1032"/>
                  </a:cubicBezTo>
                  <a:cubicBezTo>
                    <a:pt x="891" y="1047"/>
                    <a:pt x="877" y="1047"/>
                    <a:pt x="862" y="1054"/>
                  </a:cubicBezTo>
                  <a:cubicBezTo>
                    <a:pt x="854" y="1069"/>
                    <a:pt x="854" y="1084"/>
                    <a:pt x="840" y="1091"/>
                  </a:cubicBezTo>
                  <a:cubicBezTo>
                    <a:pt x="825" y="1099"/>
                    <a:pt x="817" y="1106"/>
                    <a:pt x="802" y="1113"/>
                  </a:cubicBezTo>
                  <a:cubicBezTo>
                    <a:pt x="780" y="1121"/>
                    <a:pt x="736" y="1128"/>
                    <a:pt x="721" y="1151"/>
                  </a:cubicBezTo>
                  <a:cubicBezTo>
                    <a:pt x="713" y="1165"/>
                    <a:pt x="721" y="1173"/>
                    <a:pt x="706" y="1188"/>
                  </a:cubicBezTo>
                  <a:cubicBezTo>
                    <a:pt x="699" y="1202"/>
                    <a:pt x="669" y="1210"/>
                    <a:pt x="676" y="1232"/>
                  </a:cubicBezTo>
                  <a:cubicBezTo>
                    <a:pt x="691" y="1240"/>
                    <a:pt x="713" y="1247"/>
                    <a:pt x="721" y="1262"/>
                  </a:cubicBezTo>
                  <a:cubicBezTo>
                    <a:pt x="765" y="1329"/>
                    <a:pt x="587" y="1344"/>
                    <a:pt x="594" y="1403"/>
                  </a:cubicBezTo>
                  <a:cubicBezTo>
                    <a:pt x="572" y="1418"/>
                    <a:pt x="535" y="1396"/>
                    <a:pt x="505" y="1410"/>
                  </a:cubicBezTo>
                  <a:cubicBezTo>
                    <a:pt x="476" y="1433"/>
                    <a:pt x="468" y="1455"/>
                    <a:pt x="454" y="1403"/>
                  </a:cubicBezTo>
                  <a:cubicBezTo>
                    <a:pt x="439" y="1403"/>
                    <a:pt x="431" y="1403"/>
                    <a:pt x="416" y="1403"/>
                  </a:cubicBezTo>
                  <a:cubicBezTo>
                    <a:pt x="416" y="1403"/>
                    <a:pt x="416" y="1403"/>
                    <a:pt x="424" y="1403"/>
                  </a:cubicBezTo>
                  <a:cubicBezTo>
                    <a:pt x="424" y="1418"/>
                    <a:pt x="424" y="1425"/>
                    <a:pt x="424" y="1440"/>
                  </a:cubicBezTo>
                  <a:cubicBezTo>
                    <a:pt x="386" y="1440"/>
                    <a:pt x="372" y="1433"/>
                    <a:pt x="342" y="1448"/>
                  </a:cubicBezTo>
                  <a:cubicBezTo>
                    <a:pt x="327" y="1455"/>
                    <a:pt x="312" y="1455"/>
                    <a:pt x="305" y="1470"/>
                  </a:cubicBezTo>
                  <a:cubicBezTo>
                    <a:pt x="290" y="1485"/>
                    <a:pt x="290" y="1500"/>
                    <a:pt x="275" y="1507"/>
                  </a:cubicBezTo>
                  <a:cubicBezTo>
                    <a:pt x="268" y="1515"/>
                    <a:pt x="253" y="1515"/>
                    <a:pt x="238" y="1507"/>
                  </a:cubicBezTo>
                  <a:cubicBezTo>
                    <a:pt x="208" y="1500"/>
                    <a:pt x="171" y="1492"/>
                    <a:pt x="141" y="1492"/>
                  </a:cubicBezTo>
                  <a:cubicBezTo>
                    <a:pt x="104" y="1492"/>
                    <a:pt x="67" y="1485"/>
                    <a:pt x="38" y="1485"/>
                  </a:cubicBezTo>
                  <a:cubicBezTo>
                    <a:pt x="30" y="1515"/>
                    <a:pt x="38" y="1567"/>
                    <a:pt x="0" y="1574"/>
                  </a:cubicBezTo>
                  <a:cubicBezTo>
                    <a:pt x="8" y="1589"/>
                    <a:pt x="23" y="1604"/>
                    <a:pt x="30" y="1618"/>
                  </a:cubicBezTo>
                  <a:cubicBezTo>
                    <a:pt x="38" y="1633"/>
                    <a:pt x="30" y="1656"/>
                    <a:pt x="38" y="1670"/>
                  </a:cubicBezTo>
                  <a:cubicBezTo>
                    <a:pt x="52" y="1685"/>
                    <a:pt x="75" y="1693"/>
                    <a:pt x="97" y="1700"/>
                  </a:cubicBezTo>
                  <a:cubicBezTo>
                    <a:pt x="127" y="1715"/>
                    <a:pt x="119" y="1722"/>
                    <a:pt x="134" y="1752"/>
                  </a:cubicBezTo>
                  <a:cubicBezTo>
                    <a:pt x="149" y="1722"/>
                    <a:pt x="164" y="1730"/>
                    <a:pt x="201" y="1730"/>
                  </a:cubicBezTo>
                  <a:cubicBezTo>
                    <a:pt x="231" y="1730"/>
                    <a:pt x="246" y="1715"/>
                    <a:pt x="268" y="1700"/>
                  </a:cubicBezTo>
                  <a:cubicBezTo>
                    <a:pt x="297" y="1685"/>
                    <a:pt x="297" y="1707"/>
                    <a:pt x="312" y="1730"/>
                  </a:cubicBezTo>
                  <a:cubicBezTo>
                    <a:pt x="327" y="1745"/>
                    <a:pt x="342" y="1767"/>
                    <a:pt x="357" y="1782"/>
                  </a:cubicBezTo>
                  <a:cubicBezTo>
                    <a:pt x="364" y="1789"/>
                    <a:pt x="379" y="1812"/>
                    <a:pt x="372" y="1819"/>
                  </a:cubicBezTo>
                  <a:cubicBezTo>
                    <a:pt x="372" y="1826"/>
                    <a:pt x="349" y="1826"/>
                    <a:pt x="349" y="1841"/>
                  </a:cubicBezTo>
                  <a:cubicBezTo>
                    <a:pt x="342" y="1849"/>
                    <a:pt x="349" y="1864"/>
                    <a:pt x="342" y="1871"/>
                  </a:cubicBezTo>
                  <a:cubicBezTo>
                    <a:pt x="335" y="1886"/>
                    <a:pt x="320" y="1878"/>
                    <a:pt x="312" y="1893"/>
                  </a:cubicBezTo>
                  <a:cubicBezTo>
                    <a:pt x="305" y="1901"/>
                    <a:pt x="297" y="1945"/>
                    <a:pt x="305" y="1953"/>
                  </a:cubicBezTo>
                  <a:cubicBezTo>
                    <a:pt x="312" y="1975"/>
                    <a:pt x="357" y="1997"/>
                    <a:pt x="372" y="2005"/>
                  </a:cubicBezTo>
                  <a:cubicBezTo>
                    <a:pt x="379" y="2049"/>
                    <a:pt x="409" y="2072"/>
                    <a:pt x="386" y="2116"/>
                  </a:cubicBezTo>
                  <a:cubicBezTo>
                    <a:pt x="379" y="2153"/>
                    <a:pt x="335" y="2153"/>
                    <a:pt x="305" y="2153"/>
                  </a:cubicBezTo>
                  <a:cubicBezTo>
                    <a:pt x="305" y="2146"/>
                    <a:pt x="305" y="2138"/>
                    <a:pt x="305" y="2138"/>
                  </a:cubicBezTo>
                  <a:cubicBezTo>
                    <a:pt x="297" y="2138"/>
                    <a:pt x="283" y="2131"/>
                    <a:pt x="268" y="2131"/>
                  </a:cubicBezTo>
                  <a:cubicBezTo>
                    <a:pt x="283" y="2146"/>
                    <a:pt x="297" y="2153"/>
                    <a:pt x="312" y="2153"/>
                  </a:cubicBezTo>
                  <a:cubicBezTo>
                    <a:pt x="342" y="2161"/>
                    <a:pt x="364" y="2161"/>
                    <a:pt x="386" y="2153"/>
                  </a:cubicBezTo>
                  <a:cubicBezTo>
                    <a:pt x="409" y="2146"/>
                    <a:pt x="424" y="2146"/>
                    <a:pt x="446" y="2138"/>
                  </a:cubicBezTo>
                  <a:cubicBezTo>
                    <a:pt x="461" y="2138"/>
                    <a:pt x="476" y="2131"/>
                    <a:pt x="491" y="2131"/>
                  </a:cubicBezTo>
                  <a:cubicBezTo>
                    <a:pt x="505" y="2131"/>
                    <a:pt x="513" y="2116"/>
                    <a:pt x="528" y="2116"/>
                  </a:cubicBezTo>
                  <a:cubicBezTo>
                    <a:pt x="543" y="2109"/>
                    <a:pt x="565" y="2109"/>
                    <a:pt x="580" y="2109"/>
                  </a:cubicBezTo>
                  <a:cubicBezTo>
                    <a:pt x="609" y="2101"/>
                    <a:pt x="632" y="2086"/>
                    <a:pt x="661" y="2072"/>
                  </a:cubicBezTo>
                  <a:cubicBezTo>
                    <a:pt x="669" y="2072"/>
                    <a:pt x="676" y="2057"/>
                    <a:pt x="684" y="2057"/>
                  </a:cubicBezTo>
                  <a:cubicBezTo>
                    <a:pt x="699" y="2057"/>
                    <a:pt x="706" y="2057"/>
                    <a:pt x="713" y="2057"/>
                  </a:cubicBezTo>
                  <a:cubicBezTo>
                    <a:pt x="736" y="2049"/>
                    <a:pt x="736" y="2027"/>
                    <a:pt x="758" y="2027"/>
                  </a:cubicBezTo>
                  <a:cubicBezTo>
                    <a:pt x="802" y="2027"/>
                    <a:pt x="840" y="2042"/>
                    <a:pt x="877" y="2049"/>
                  </a:cubicBezTo>
                  <a:cubicBezTo>
                    <a:pt x="899" y="2057"/>
                    <a:pt x="921" y="2064"/>
                    <a:pt x="944" y="2079"/>
                  </a:cubicBezTo>
                  <a:cubicBezTo>
                    <a:pt x="973" y="2094"/>
                    <a:pt x="996" y="2086"/>
                    <a:pt x="1025" y="2086"/>
                  </a:cubicBezTo>
                  <a:cubicBezTo>
                    <a:pt x="1048" y="2079"/>
                    <a:pt x="1077" y="2079"/>
                    <a:pt x="1092" y="2072"/>
                  </a:cubicBezTo>
                  <a:cubicBezTo>
                    <a:pt x="1122" y="2042"/>
                    <a:pt x="1159" y="2042"/>
                    <a:pt x="1203" y="2049"/>
                  </a:cubicBezTo>
                  <a:cubicBezTo>
                    <a:pt x="1218" y="2049"/>
                    <a:pt x="1241" y="2049"/>
                    <a:pt x="1256" y="2042"/>
                  </a:cubicBezTo>
                  <a:cubicBezTo>
                    <a:pt x="1270" y="2034"/>
                    <a:pt x="1270" y="2027"/>
                    <a:pt x="1285" y="2027"/>
                  </a:cubicBezTo>
                  <a:cubicBezTo>
                    <a:pt x="1293" y="2027"/>
                    <a:pt x="1300" y="2027"/>
                    <a:pt x="1307" y="2027"/>
                  </a:cubicBezTo>
                  <a:cubicBezTo>
                    <a:pt x="1330" y="2027"/>
                    <a:pt x="1352" y="2027"/>
                    <a:pt x="1367" y="2027"/>
                  </a:cubicBezTo>
                  <a:cubicBezTo>
                    <a:pt x="1389" y="2019"/>
                    <a:pt x="1404" y="2012"/>
                    <a:pt x="1419" y="1997"/>
                  </a:cubicBezTo>
                  <a:cubicBezTo>
                    <a:pt x="1426" y="1982"/>
                    <a:pt x="1434" y="1967"/>
                    <a:pt x="1441" y="1953"/>
                  </a:cubicBezTo>
                  <a:cubicBezTo>
                    <a:pt x="1456" y="1938"/>
                    <a:pt x="1463" y="1938"/>
                    <a:pt x="1486" y="1938"/>
                  </a:cubicBezTo>
                  <a:cubicBezTo>
                    <a:pt x="1486" y="1923"/>
                    <a:pt x="1478" y="1908"/>
                    <a:pt x="1486" y="1893"/>
                  </a:cubicBezTo>
                  <a:cubicBezTo>
                    <a:pt x="1486" y="1871"/>
                    <a:pt x="1493" y="1856"/>
                    <a:pt x="1501" y="1849"/>
                  </a:cubicBezTo>
                  <a:cubicBezTo>
                    <a:pt x="1523" y="1819"/>
                    <a:pt x="1538" y="1797"/>
                    <a:pt x="1560" y="1774"/>
                  </a:cubicBezTo>
                  <a:cubicBezTo>
                    <a:pt x="1567" y="1767"/>
                    <a:pt x="1575" y="1760"/>
                    <a:pt x="1582" y="1760"/>
                  </a:cubicBezTo>
                  <a:cubicBezTo>
                    <a:pt x="1582" y="1752"/>
                    <a:pt x="1590" y="1745"/>
                    <a:pt x="1597" y="1745"/>
                  </a:cubicBezTo>
                  <a:cubicBezTo>
                    <a:pt x="1604" y="1730"/>
                    <a:pt x="1619" y="1722"/>
                    <a:pt x="1634" y="1707"/>
                  </a:cubicBezTo>
                  <a:cubicBezTo>
                    <a:pt x="1642" y="1700"/>
                    <a:pt x="1656" y="1685"/>
                    <a:pt x="1664" y="1678"/>
                  </a:cubicBezTo>
                  <a:cubicBezTo>
                    <a:pt x="1679" y="1663"/>
                    <a:pt x="1686" y="1641"/>
                    <a:pt x="1701" y="1641"/>
                  </a:cubicBezTo>
                  <a:cubicBezTo>
                    <a:pt x="1701" y="1641"/>
                    <a:pt x="1701" y="1641"/>
                    <a:pt x="1708" y="1633"/>
                  </a:cubicBezTo>
                  <a:cubicBezTo>
                    <a:pt x="1708" y="1618"/>
                    <a:pt x="1708" y="1567"/>
                    <a:pt x="1693" y="1552"/>
                  </a:cubicBezTo>
                  <a:cubicBezTo>
                    <a:pt x="1686" y="1544"/>
                    <a:pt x="1679" y="1552"/>
                    <a:pt x="1679" y="1537"/>
                  </a:cubicBezTo>
                  <a:cubicBezTo>
                    <a:pt x="1679" y="1529"/>
                    <a:pt x="1679" y="1522"/>
                    <a:pt x="1686" y="1515"/>
                  </a:cubicBezTo>
                  <a:cubicBezTo>
                    <a:pt x="1701" y="1515"/>
                    <a:pt x="1731" y="1529"/>
                    <a:pt x="1738" y="1529"/>
                  </a:cubicBezTo>
                  <a:cubicBezTo>
                    <a:pt x="1753" y="1537"/>
                    <a:pt x="1775" y="1559"/>
                    <a:pt x="1790" y="1559"/>
                  </a:cubicBezTo>
                  <a:cubicBezTo>
                    <a:pt x="1812" y="1559"/>
                    <a:pt x="1827" y="1544"/>
                    <a:pt x="1842" y="1537"/>
                  </a:cubicBezTo>
                  <a:cubicBezTo>
                    <a:pt x="1857" y="1529"/>
                    <a:pt x="1887" y="1544"/>
                    <a:pt x="1887" y="1522"/>
                  </a:cubicBezTo>
                  <a:cubicBezTo>
                    <a:pt x="1909" y="1515"/>
                    <a:pt x="1924" y="1529"/>
                    <a:pt x="1946" y="1507"/>
                  </a:cubicBezTo>
                  <a:cubicBezTo>
                    <a:pt x="1961" y="1500"/>
                    <a:pt x="1983" y="1485"/>
                    <a:pt x="2005" y="1477"/>
                  </a:cubicBezTo>
                  <a:cubicBezTo>
                    <a:pt x="2020" y="1470"/>
                    <a:pt x="2035" y="1462"/>
                    <a:pt x="2050" y="1448"/>
                  </a:cubicBezTo>
                  <a:cubicBezTo>
                    <a:pt x="2058" y="1440"/>
                    <a:pt x="2065" y="1433"/>
                    <a:pt x="2080" y="1425"/>
                  </a:cubicBezTo>
                  <a:cubicBezTo>
                    <a:pt x="2080" y="1425"/>
                    <a:pt x="2095" y="1425"/>
                    <a:pt x="2095" y="1418"/>
                  </a:cubicBezTo>
                  <a:cubicBezTo>
                    <a:pt x="2102" y="1418"/>
                    <a:pt x="2102" y="1418"/>
                    <a:pt x="2109" y="1418"/>
                  </a:cubicBezTo>
                  <a:lnTo>
                    <a:pt x="2109" y="1410"/>
                  </a:lnTo>
                  <a:cubicBezTo>
                    <a:pt x="2124" y="1403"/>
                    <a:pt x="2117" y="1403"/>
                    <a:pt x="2132" y="1396"/>
                  </a:cubicBezTo>
                  <a:cubicBezTo>
                    <a:pt x="2139" y="1396"/>
                    <a:pt x="2154" y="1396"/>
                    <a:pt x="2161" y="1396"/>
                  </a:cubicBezTo>
                  <a:cubicBezTo>
                    <a:pt x="2169" y="1388"/>
                    <a:pt x="2169" y="1381"/>
                    <a:pt x="2184" y="1373"/>
                  </a:cubicBezTo>
                  <a:cubicBezTo>
                    <a:pt x="2191" y="1373"/>
                    <a:pt x="2191" y="1373"/>
                    <a:pt x="2206" y="1366"/>
                  </a:cubicBezTo>
                  <a:cubicBezTo>
                    <a:pt x="2221" y="1351"/>
                    <a:pt x="2236" y="1359"/>
                    <a:pt x="2258" y="1351"/>
                  </a:cubicBezTo>
                  <a:cubicBezTo>
                    <a:pt x="2265" y="1344"/>
                    <a:pt x="2273" y="1336"/>
                    <a:pt x="2280" y="1336"/>
                  </a:cubicBezTo>
                  <a:cubicBezTo>
                    <a:pt x="2288" y="1329"/>
                    <a:pt x="2303" y="1329"/>
                    <a:pt x="2310" y="1329"/>
                  </a:cubicBezTo>
                  <a:cubicBezTo>
                    <a:pt x="2317" y="1321"/>
                    <a:pt x="2325" y="1321"/>
                    <a:pt x="2332" y="1314"/>
                  </a:cubicBezTo>
                  <a:cubicBezTo>
                    <a:pt x="2340" y="1307"/>
                    <a:pt x="2340" y="1299"/>
                    <a:pt x="2355" y="1292"/>
                  </a:cubicBezTo>
                  <a:cubicBezTo>
                    <a:pt x="2362" y="1292"/>
                    <a:pt x="2369" y="1299"/>
                    <a:pt x="2377" y="1292"/>
                  </a:cubicBezTo>
                  <a:cubicBezTo>
                    <a:pt x="2384" y="1292"/>
                    <a:pt x="2384" y="1277"/>
                    <a:pt x="2392" y="1277"/>
                  </a:cubicBezTo>
                  <a:cubicBezTo>
                    <a:pt x="2406" y="1270"/>
                    <a:pt x="2429" y="1270"/>
                    <a:pt x="2444" y="1270"/>
                  </a:cubicBezTo>
                  <a:cubicBezTo>
                    <a:pt x="2458" y="1262"/>
                    <a:pt x="2488" y="1262"/>
                    <a:pt x="2503" y="1255"/>
                  </a:cubicBezTo>
                  <a:cubicBezTo>
                    <a:pt x="2518" y="1240"/>
                    <a:pt x="2525" y="1232"/>
                    <a:pt x="2548" y="1225"/>
                  </a:cubicBezTo>
                  <a:cubicBezTo>
                    <a:pt x="2570" y="1225"/>
                    <a:pt x="2570" y="1225"/>
                    <a:pt x="2592" y="1202"/>
                  </a:cubicBezTo>
                  <a:cubicBezTo>
                    <a:pt x="2607" y="1188"/>
                    <a:pt x="2622" y="1188"/>
                    <a:pt x="2644" y="1188"/>
                  </a:cubicBezTo>
                  <a:cubicBezTo>
                    <a:pt x="2666" y="1188"/>
                    <a:pt x="2681" y="1180"/>
                    <a:pt x="2703" y="1180"/>
                  </a:cubicBezTo>
                  <a:cubicBezTo>
                    <a:pt x="2726" y="1173"/>
                    <a:pt x="2793" y="1158"/>
                    <a:pt x="2807" y="1188"/>
                  </a:cubicBezTo>
                  <a:cubicBezTo>
                    <a:pt x="2815" y="1202"/>
                    <a:pt x="2793" y="1217"/>
                    <a:pt x="2785" y="1232"/>
                  </a:cubicBezTo>
                  <a:cubicBezTo>
                    <a:pt x="2778" y="1247"/>
                    <a:pt x="2770" y="1255"/>
                    <a:pt x="2755" y="1262"/>
                  </a:cubicBezTo>
                  <a:cubicBezTo>
                    <a:pt x="2748" y="1270"/>
                    <a:pt x="2733" y="1270"/>
                    <a:pt x="2726" y="1277"/>
                  </a:cubicBezTo>
                  <a:cubicBezTo>
                    <a:pt x="2718" y="1292"/>
                    <a:pt x="2718" y="1329"/>
                    <a:pt x="2718" y="1351"/>
                  </a:cubicBezTo>
                  <a:cubicBezTo>
                    <a:pt x="2718" y="1403"/>
                    <a:pt x="2718" y="1448"/>
                    <a:pt x="2770" y="1470"/>
                  </a:cubicBezTo>
                  <a:cubicBezTo>
                    <a:pt x="2770" y="1492"/>
                    <a:pt x="2770" y="1507"/>
                    <a:pt x="2778" y="1529"/>
                  </a:cubicBezTo>
                  <a:cubicBezTo>
                    <a:pt x="2785" y="1544"/>
                    <a:pt x="2793" y="1559"/>
                    <a:pt x="2793" y="1581"/>
                  </a:cubicBezTo>
                  <a:cubicBezTo>
                    <a:pt x="2807" y="1581"/>
                    <a:pt x="2822" y="1581"/>
                    <a:pt x="2837" y="1574"/>
                  </a:cubicBezTo>
                  <a:cubicBezTo>
                    <a:pt x="2845" y="1567"/>
                    <a:pt x="2845" y="1552"/>
                    <a:pt x="2860" y="1552"/>
                  </a:cubicBezTo>
                  <a:cubicBezTo>
                    <a:pt x="2882" y="1544"/>
                    <a:pt x="2874" y="1596"/>
                    <a:pt x="2874" y="1611"/>
                  </a:cubicBezTo>
                  <a:cubicBezTo>
                    <a:pt x="2867" y="1656"/>
                    <a:pt x="2822" y="1685"/>
                    <a:pt x="2778" y="1685"/>
                  </a:cubicBezTo>
                  <a:cubicBezTo>
                    <a:pt x="2770" y="1693"/>
                    <a:pt x="2741" y="1693"/>
                    <a:pt x="2726" y="1700"/>
                  </a:cubicBezTo>
                  <a:cubicBezTo>
                    <a:pt x="2711" y="1707"/>
                    <a:pt x="2696" y="1715"/>
                    <a:pt x="2689" y="1715"/>
                  </a:cubicBezTo>
                  <a:cubicBezTo>
                    <a:pt x="2666" y="1722"/>
                    <a:pt x="2600" y="1722"/>
                    <a:pt x="2592" y="1700"/>
                  </a:cubicBezTo>
                  <a:cubicBezTo>
                    <a:pt x="2562" y="1707"/>
                    <a:pt x="2548" y="1707"/>
                    <a:pt x="2540" y="1737"/>
                  </a:cubicBezTo>
                  <a:cubicBezTo>
                    <a:pt x="2540" y="1752"/>
                    <a:pt x="2540" y="1782"/>
                    <a:pt x="2540" y="1789"/>
                  </a:cubicBezTo>
                  <a:cubicBezTo>
                    <a:pt x="2533" y="1804"/>
                    <a:pt x="2503" y="1812"/>
                    <a:pt x="2488" y="1819"/>
                  </a:cubicBezTo>
                  <a:cubicBezTo>
                    <a:pt x="2481" y="1826"/>
                    <a:pt x="2458" y="1856"/>
                    <a:pt x="2444" y="1856"/>
                  </a:cubicBezTo>
                  <a:cubicBezTo>
                    <a:pt x="2444" y="1864"/>
                    <a:pt x="2451" y="1864"/>
                    <a:pt x="2458" y="1864"/>
                  </a:cubicBezTo>
                  <a:cubicBezTo>
                    <a:pt x="2444" y="1871"/>
                    <a:pt x="2429" y="1878"/>
                    <a:pt x="2429" y="1886"/>
                  </a:cubicBezTo>
                  <a:cubicBezTo>
                    <a:pt x="2414" y="1886"/>
                    <a:pt x="2392" y="1878"/>
                    <a:pt x="2377" y="1886"/>
                  </a:cubicBezTo>
                  <a:cubicBezTo>
                    <a:pt x="2362" y="1893"/>
                    <a:pt x="2362" y="1901"/>
                    <a:pt x="2355" y="1908"/>
                  </a:cubicBezTo>
                  <a:cubicBezTo>
                    <a:pt x="2340" y="1923"/>
                    <a:pt x="2325" y="1930"/>
                    <a:pt x="2310" y="1945"/>
                  </a:cubicBezTo>
                  <a:cubicBezTo>
                    <a:pt x="2303" y="1953"/>
                    <a:pt x="2295" y="1967"/>
                    <a:pt x="2280" y="1975"/>
                  </a:cubicBezTo>
                  <a:cubicBezTo>
                    <a:pt x="2273" y="1975"/>
                    <a:pt x="2258" y="1975"/>
                    <a:pt x="2243" y="1975"/>
                  </a:cubicBezTo>
                  <a:cubicBezTo>
                    <a:pt x="2228" y="1982"/>
                    <a:pt x="2198" y="1982"/>
                    <a:pt x="2184" y="1990"/>
                  </a:cubicBezTo>
                  <a:cubicBezTo>
                    <a:pt x="2176" y="2005"/>
                    <a:pt x="2176" y="2019"/>
                    <a:pt x="2176" y="2042"/>
                  </a:cubicBezTo>
                  <a:cubicBezTo>
                    <a:pt x="2154" y="2042"/>
                    <a:pt x="2139" y="2072"/>
                    <a:pt x="2132" y="2086"/>
                  </a:cubicBezTo>
                  <a:cubicBezTo>
                    <a:pt x="2124" y="2101"/>
                    <a:pt x="2102" y="2116"/>
                    <a:pt x="2087" y="2123"/>
                  </a:cubicBezTo>
                  <a:cubicBezTo>
                    <a:pt x="2020" y="2161"/>
                    <a:pt x="1931" y="2175"/>
                    <a:pt x="1901" y="2250"/>
                  </a:cubicBezTo>
                  <a:cubicBezTo>
                    <a:pt x="1894" y="2272"/>
                    <a:pt x="1894" y="2287"/>
                    <a:pt x="1894" y="2309"/>
                  </a:cubicBezTo>
                  <a:cubicBezTo>
                    <a:pt x="1887" y="2324"/>
                    <a:pt x="1864" y="2339"/>
                    <a:pt x="1850" y="2354"/>
                  </a:cubicBezTo>
                  <a:cubicBezTo>
                    <a:pt x="1842" y="2361"/>
                    <a:pt x="1842" y="2361"/>
                    <a:pt x="1835" y="2369"/>
                  </a:cubicBezTo>
                  <a:cubicBezTo>
                    <a:pt x="1820" y="2369"/>
                    <a:pt x="1812" y="2369"/>
                    <a:pt x="1812" y="2354"/>
                  </a:cubicBezTo>
                  <a:cubicBezTo>
                    <a:pt x="1805" y="2339"/>
                    <a:pt x="1812" y="2317"/>
                    <a:pt x="1812" y="2302"/>
                  </a:cubicBezTo>
                  <a:cubicBezTo>
                    <a:pt x="1798" y="2302"/>
                    <a:pt x="1775" y="2302"/>
                    <a:pt x="1768" y="2309"/>
                  </a:cubicBezTo>
                  <a:cubicBezTo>
                    <a:pt x="1738" y="2346"/>
                    <a:pt x="1753" y="2398"/>
                    <a:pt x="1731" y="2435"/>
                  </a:cubicBezTo>
                  <a:cubicBezTo>
                    <a:pt x="1716" y="2458"/>
                    <a:pt x="1693" y="2458"/>
                    <a:pt x="1679" y="2472"/>
                  </a:cubicBezTo>
                  <a:cubicBezTo>
                    <a:pt x="1679" y="2480"/>
                    <a:pt x="1612" y="2591"/>
                    <a:pt x="1612" y="2584"/>
                  </a:cubicBezTo>
                  <a:cubicBezTo>
                    <a:pt x="1627" y="2621"/>
                    <a:pt x="1656" y="2614"/>
                    <a:pt x="1619" y="2658"/>
                  </a:cubicBezTo>
                  <a:cubicBezTo>
                    <a:pt x="1597" y="2680"/>
                    <a:pt x="1590" y="2680"/>
                    <a:pt x="1604" y="2717"/>
                  </a:cubicBezTo>
                  <a:cubicBezTo>
                    <a:pt x="1619" y="2769"/>
                    <a:pt x="1597" y="2821"/>
                    <a:pt x="1538" y="2829"/>
                  </a:cubicBezTo>
                  <a:cubicBezTo>
                    <a:pt x="1515" y="2829"/>
                    <a:pt x="1501" y="2829"/>
                    <a:pt x="1486" y="2799"/>
                  </a:cubicBezTo>
                  <a:cubicBezTo>
                    <a:pt x="1478" y="2784"/>
                    <a:pt x="1463" y="2755"/>
                    <a:pt x="1486" y="2747"/>
                  </a:cubicBezTo>
                  <a:cubicBezTo>
                    <a:pt x="1456" y="2762"/>
                    <a:pt x="1434" y="2762"/>
                    <a:pt x="1404" y="2769"/>
                  </a:cubicBezTo>
                  <a:cubicBezTo>
                    <a:pt x="1404" y="2792"/>
                    <a:pt x="1404" y="2807"/>
                    <a:pt x="1426" y="2821"/>
                  </a:cubicBezTo>
                  <a:cubicBezTo>
                    <a:pt x="1411" y="2859"/>
                    <a:pt x="1352" y="2859"/>
                    <a:pt x="1322" y="2896"/>
                  </a:cubicBezTo>
                  <a:cubicBezTo>
                    <a:pt x="1307" y="2918"/>
                    <a:pt x="1322" y="2933"/>
                    <a:pt x="1315" y="2955"/>
                  </a:cubicBezTo>
                  <a:cubicBezTo>
                    <a:pt x="1307" y="2970"/>
                    <a:pt x="1285" y="2963"/>
                    <a:pt x="1285" y="2992"/>
                  </a:cubicBezTo>
                  <a:cubicBezTo>
                    <a:pt x="1263" y="3000"/>
                    <a:pt x="1218" y="3014"/>
                    <a:pt x="1211" y="3037"/>
                  </a:cubicBezTo>
                  <a:cubicBezTo>
                    <a:pt x="1196" y="3059"/>
                    <a:pt x="1211" y="3044"/>
                    <a:pt x="1218" y="3059"/>
                  </a:cubicBezTo>
                  <a:cubicBezTo>
                    <a:pt x="1218" y="3066"/>
                    <a:pt x="1233" y="3089"/>
                    <a:pt x="1241" y="3096"/>
                  </a:cubicBezTo>
                  <a:cubicBezTo>
                    <a:pt x="1278" y="3119"/>
                    <a:pt x="1300" y="3081"/>
                    <a:pt x="1293" y="3148"/>
                  </a:cubicBezTo>
                  <a:cubicBezTo>
                    <a:pt x="1293" y="3178"/>
                    <a:pt x="1293" y="3208"/>
                    <a:pt x="1300" y="3230"/>
                  </a:cubicBezTo>
                  <a:cubicBezTo>
                    <a:pt x="1322" y="3230"/>
                    <a:pt x="1344" y="3237"/>
                    <a:pt x="1344" y="3245"/>
                  </a:cubicBezTo>
                  <a:cubicBezTo>
                    <a:pt x="1374" y="3252"/>
                    <a:pt x="1396" y="3267"/>
                    <a:pt x="1419" y="3282"/>
                  </a:cubicBezTo>
                  <a:cubicBezTo>
                    <a:pt x="1434" y="3245"/>
                    <a:pt x="1441" y="3215"/>
                    <a:pt x="1471" y="3193"/>
                  </a:cubicBezTo>
                  <a:cubicBezTo>
                    <a:pt x="1486" y="3178"/>
                    <a:pt x="1493" y="3163"/>
                    <a:pt x="1508" y="3148"/>
                  </a:cubicBezTo>
                  <a:cubicBezTo>
                    <a:pt x="1523" y="3119"/>
                    <a:pt x="1515" y="3096"/>
                    <a:pt x="1486" y="3089"/>
                  </a:cubicBezTo>
                  <a:cubicBezTo>
                    <a:pt x="1493" y="3066"/>
                    <a:pt x="1530" y="3066"/>
                    <a:pt x="1553" y="3059"/>
                  </a:cubicBezTo>
                  <a:cubicBezTo>
                    <a:pt x="1575" y="3044"/>
                    <a:pt x="1597" y="3044"/>
                    <a:pt x="1627" y="3044"/>
                  </a:cubicBezTo>
                  <a:cubicBezTo>
                    <a:pt x="1649" y="3044"/>
                    <a:pt x="1671" y="3044"/>
                    <a:pt x="1693" y="3052"/>
                  </a:cubicBezTo>
                  <a:cubicBezTo>
                    <a:pt x="1708" y="3052"/>
                    <a:pt x="1708" y="3059"/>
                    <a:pt x="1723" y="3059"/>
                  </a:cubicBezTo>
                  <a:cubicBezTo>
                    <a:pt x="1731" y="3059"/>
                    <a:pt x="1746" y="3044"/>
                    <a:pt x="1753" y="3044"/>
                  </a:cubicBezTo>
                  <a:cubicBezTo>
                    <a:pt x="1768" y="3044"/>
                    <a:pt x="1760" y="3059"/>
                    <a:pt x="1775" y="3059"/>
                  </a:cubicBezTo>
                  <a:cubicBezTo>
                    <a:pt x="1790" y="3059"/>
                    <a:pt x="1798" y="3059"/>
                    <a:pt x="1805" y="3052"/>
                  </a:cubicBezTo>
                  <a:cubicBezTo>
                    <a:pt x="1827" y="3044"/>
                    <a:pt x="1842" y="3037"/>
                    <a:pt x="1872" y="3037"/>
                  </a:cubicBezTo>
                  <a:cubicBezTo>
                    <a:pt x="1887" y="3037"/>
                    <a:pt x="1916" y="3037"/>
                    <a:pt x="1931" y="3029"/>
                  </a:cubicBezTo>
                  <a:cubicBezTo>
                    <a:pt x="1946" y="3014"/>
                    <a:pt x="1938" y="3007"/>
                    <a:pt x="1938" y="2992"/>
                  </a:cubicBezTo>
                  <a:cubicBezTo>
                    <a:pt x="1946" y="2985"/>
                    <a:pt x="1953" y="2977"/>
                    <a:pt x="1953" y="2970"/>
                  </a:cubicBezTo>
                  <a:cubicBezTo>
                    <a:pt x="1961" y="2963"/>
                    <a:pt x="1998" y="2911"/>
                    <a:pt x="2005" y="2911"/>
                  </a:cubicBezTo>
                  <a:cubicBezTo>
                    <a:pt x="2013" y="2918"/>
                    <a:pt x="2013" y="2925"/>
                    <a:pt x="2028" y="2925"/>
                  </a:cubicBezTo>
                  <a:cubicBezTo>
                    <a:pt x="2028" y="2970"/>
                    <a:pt x="2020" y="3007"/>
                    <a:pt x="2020" y="3052"/>
                  </a:cubicBezTo>
                  <a:cubicBezTo>
                    <a:pt x="2058" y="3052"/>
                    <a:pt x="2095" y="3074"/>
                    <a:pt x="2132" y="3074"/>
                  </a:cubicBezTo>
                  <a:cubicBezTo>
                    <a:pt x="2132" y="3044"/>
                    <a:pt x="2132" y="2992"/>
                    <a:pt x="2139" y="3000"/>
                  </a:cubicBezTo>
                  <a:cubicBezTo>
                    <a:pt x="2161" y="2985"/>
                    <a:pt x="2176" y="2992"/>
                    <a:pt x="2191" y="2985"/>
                  </a:cubicBezTo>
                  <a:cubicBezTo>
                    <a:pt x="2213" y="2977"/>
                    <a:pt x="2206" y="2970"/>
                    <a:pt x="2213" y="2955"/>
                  </a:cubicBezTo>
                  <a:cubicBezTo>
                    <a:pt x="2221" y="2933"/>
                    <a:pt x="2243" y="2925"/>
                    <a:pt x="2258" y="2918"/>
                  </a:cubicBezTo>
                  <a:cubicBezTo>
                    <a:pt x="2265" y="2911"/>
                    <a:pt x="2265" y="2911"/>
                    <a:pt x="2273" y="2903"/>
                  </a:cubicBezTo>
                  <a:cubicBezTo>
                    <a:pt x="2273" y="2896"/>
                    <a:pt x="2273" y="2881"/>
                    <a:pt x="2273" y="2874"/>
                  </a:cubicBezTo>
                  <a:cubicBezTo>
                    <a:pt x="2288" y="2866"/>
                    <a:pt x="2288" y="2859"/>
                    <a:pt x="2288" y="2844"/>
                  </a:cubicBezTo>
                  <a:cubicBezTo>
                    <a:pt x="2295" y="2821"/>
                    <a:pt x="2303" y="2814"/>
                    <a:pt x="2317" y="2799"/>
                  </a:cubicBezTo>
                  <a:cubicBezTo>
                    <a:pt x="2340" y="2777"/>
                    <a:pt x="2369" y="2777"/>
                    <a:pt x="2362" y="2740"/>
                  </a:cubicBezTo>
                  <a:cubicBezTo>
                    <a:pt x="2362" y="2703"/>
                    <a:pt x="2332" y="2688"/>
                    <a:pt x="2347" y="2651"/>
                  </a:cubicBezTo>
                  <a:cubicBezTo>
                    <a:pt x="2355" y="2628"/>
                    <a:pt x="2377" y="2614"/>
                    <a:pt x="2392" y="2599"/>
                  </a:cubicBezTo>
                  <a:cubicBezTo>
                    <a:pt x="2414" y="2576"/>
                    <a:pt x="2414" y="2547"/>
                    <a:pt x="2414" y="2517"/>
                  </a:cubicBezTo>
                  <a:cubicBezTo>
                    <a:pt x="2384" y="2524"/>
                    <a:pt x="2392" y="2487"/>
                    <a:pt x="2392" y="2472"/>
                  </a:cubicBezTo>
                  <a:cubicBezTo>
                    <a:pt x="2392" y="2458"/>
                    <a:pt x="2392" y="2450"/>
                    <a:pt x="2384" y="2435"/>
                  </a:cubicBezTo>
                  <a:cubicBezTo>
                    <a:pt x="2377" y="2420"/>
                    <a:pt x="2377" y="2420"/>
                    <a:pt x="2369" y="2406"/>
                  </a:cubicBezTo>
                  <a:cubicBezTo>
                    <a:pt x="2369" y="2376"/>
                    <a:pt x="2355" y="2369"/>
                    <a:pt x="2347" y="2346"/>
                  </a:cubicBezTo>
                  <a:cubicBezTo>
                    <a:pt x="2347" y="2294"/>
                    <a:pt x="2347" y="2279"/>
                    <a:pt x="2377" y="2235"/>
                  </a:cubicBezTo>
                  <a:cubicBezTo>
                    <a:pt x="2384" y="2227"/>
                    <a:pt x="2384" y="2212"/>
                    <a:pt x="2392" y="2205"/>
                  </a:cubicBezTo>
                  <a:cubicBezTo>
                    <a:pt x="2406" y="2183"/>
                    <a:pt x="2421" y="2168"/>
                    <a:pt x="2436" y="2146"/>
                  </a:cubicBezTo>
                  <a:cubicBezTo>
                    <a:pt x="2458" y="2131"/>
                    <a:pt x="2473" y="2116"/>
                    <a:pt x="2495" y="2109"/>
                  </a:cubicBezTo>
                  <a:cubicBezTo>
                    <a:pt x="2510" y="2109"/>
                    <a:pt x="2533" y="2116"/>
                    <a:pt x="2548" y="2109"/>
                  </a:cubicBezTo>
                  <a:cubicBezTo>
                    <a:pt x="2548" y="2064"/>
                    <a:pt x="2592" y="2042"/>
                    <a:pt x="2607" y="2005"/>
                  </a:cubicBezTo>
                  <a:cubicBezTo>
                    <a:pt x="2622" y="1982"/>
                    <a:pt x="2644" y="1967"/>
                    <a:pt x="2666" y="1960"/>
                  </a:cubicBezTo>
                  <a:cubicBezTo>
                    <a:pt x="2681" y="1960"/>
                    <a:pt x="2681" y="1960"/>
                    <a:pt x="2703" y="1953"/>
                  </a:cubicBezTo>
                  <a:cubicBezTo>
                    <a:pt x="2711" y="1945"/>
                    <a:pt x="2718" y="1945"/>
                    <a:pt x="2726" y="1938"/>
                  </a:cubicBezTo>
                  <a:cubicBezTo>
                    <a:pt x="2770" y="1901"/>
                    <a:pt x="2778" y="1834"/>
                    <a:pt x="2837" y="1834"/>
                  </a:cubicBezTo>
                  <a:cubicBezTo>
                    <a:pt x="2874" y="1834"/>
                    <a:pt x="2882" y="1812"/>
                    <a:pt x="2897" y="1782"/>
                  </a:cubicBezTo>
                  <a:cubicBezTo>
                    <a:pt x="2911" y="1737"/>
                    <a:pt x="2956" y="1670"/>
                    <a:pt x="3000" y="1641"/>
                  </a:cubicBezTo>
                  <a:cubicBezTo>
                    <a:pt x="3015" y="1633"/>
                    <a:pt x="3038" y="1633"/>
                    <a:pt x="3052" y="1626"/>
                  </a:cubicBezTo>
                  <a:cubicBezTo>
                    <a:pt x="3067" y="1618"/>
                    <a:pt x="3090" y="1611"/>
                    <a:pt x="3112" y="1604"/>
                  </a:cubicBezTo>
                  <a:cubicBezTo>
                    <a:pt x="3119" y="1604"/>
                    <a:pt x="3142" y="1611"/>
                    <a:pt x="3149" y="1604"/>
                  </a:cubicBezTo>
                  <a:cubicBezTo>
                    <a:pt x="3164" y="1604"/>
                    <a:pt x="3171" y="1589"/>
                    <a:pt x="3186" y="1581"/>
                  </a:cubicBezTo>
                  <a:cubicBezTo>
                    <a:pt x="3208" y="1574"/>
                    <a:pt x="3238" y="1574"/>
                    <a:pt x="3260" y="1567"/>
                  </a:cubicBezTo>
                  <a:cubicBezTo>
                    <a:pt x="3283" y="1559"/>
                    <a:pt x="3275" y="1529"/>
                    <a:pt x="3297" y="1515"/>
                  </a:cubicBezTo>
                  <a:cubicBezTo>
                    <a:pt x="3297" y="1522"/>
                    <a:pt x="3312" y="1537"/>
                    <a:pt x="3327" y="1544"/>
                  </a:cubicBezTo>
                  <a:cubicBezTo>
                    <a:pt x="3350" y="1544"/>
                    <a:pt x="3335" y="1537"/>
                    <a:pt x="3357" y="1522"/>
                  </a:cubicBezTo>
                  <a:cubicBezTo>
                    <a:pt x="3372" y="1515"/>
                    <a:pt x="3402" y="1515"/>
                    <a:pt x="3416" y="1522"/>
                  </a:cubicBezTo>
                  <a:cubicBezTo>
                    <a:pt x="3431" y="1529"/>
                    <a:pt x="3431" y="1544"/>
                    <a:pt x="3439" y="1544"/>
                  </a:cubicBezTo>
                  <a:cubicBezTo>
                    <a:pt x="3446" y="1552"/>
                    <a:pt x="3461" y="1552"/>
                    <a:pt x="3468" y="1567"/>
                  </a:cubicBezTo>
                  <a:cubicBezTo>
                    <a:pt x="3483" y="1581"/>
                    <a:pt x="3476" y="1611"/>
                    <a:pt x="3483" y="1626"/>
                  </a:cubicBezTo>
                  <a:cubicBezTo>
                    <a:pt x="3520" y="1633"/>
                    <a:pt x="3550" y="1648"/>
                    <a:pt x="3580" y="1670"/>
                  </a:cubicBezTo>
                  <a:cubicBezTo>
                    <a:pt x="3595" y="1670"/>
                    <a:pt x="3617" y="1693"/>
                    <a:pt x="3632" y="1693"/>
                  </a:cubicBezTo>
                  <a:cubicBezTo>
                    <a:pt x="3647" y="1685"/>
                    <a:pt x="3654" y="1663"/>
                    <a:pt x="3669" y="1656"/>
                  </a:cubicBezTo>
                  <a:cubicBezTo>
                    <a:pt x="3669" y="1633"/>
                    <a:pt x="3632" y="1596"/>
                    <a:pt x="3617" y="1574"/>
                  </a:cubicBezTo>
                  <a:cubicBezTo>
                    <a:pt x="3602" y="1559"/>
                    <a:pt x="3595" y="1552"/>
                    <a:pt x="3587" y="1537"/>
                  </a:cubicBezTo>
                  <a:cubicBezTo>
                    <a:pt x="3580" y="1537"/>
                    <a:pt x="3557" y="1515"/>
                    <a:pt x="3557" y="1515"/>
                  </a:cubicBezTo>
                  <a:cubicBezTo>
                    <a:pt x="3550" y="1500"/>
                    <a:pt x="3535" y="1500"/>
                    <a:pt x="3535" y="1485"/>
                  </a:cubicBezTo>
                  <a:cubicBezTo>
                    <a:pt x="3528" y="1477"/>
                    <a:pt x="3528" y="1462"/>
                    <a:pt x="3520" y="1455"/>
                  </a:cubicBezTo>
                  <a:cubicBezTo>
                    <a:pt x="3513" y="1455"/>
                    <a:pt x="3491" y="1455"/>
                    <a:pt x="3491" y="1448"/>
                  </a:cubicBezTo>
                  <a:cubicBezTo>
                    <a:pt x="3483" y="1425"/>
                    <a:pt x="3439" y="1284"/>
                    <a:pt x="3491" y="1284"/>
                  </a:cubicBezTo>
                  <a:cubicBezTo>
                    <a:pt x="3505" y="1270"/>
                    <a:pt x="3520" y="1240"/>
                    <a:pt x="3535" y="1240"/>
                  </a:cubicBezTo>
                  <a:cubicBezTo>
                    <a:pt x="3557" y="1202"/>
                    <a:pt x="3639" y="1165"/>
                    <a:pt x="3632" y="1113"/>
                  </a:cubicBezTo>
                  <a:cubicBezTo>
                    <a:pt x="3647" y="1099"/>
                    <a:pt x="3662" y="1084"/>
                    <a:pt x="3691" y="1084"/>
                  </a:cubicBezTo>
                  <a:cubicBezTo>
                    <a:pt x="3713" y="1084"/>
                    <a:pt x="3736" y="1091"/>
                    <a:pt x="3758" y="1091"/>
                  </a:cubicBezTo>
                  <a:cubicBezTo>
                    <a:pt x="3758" y="1062"/>
                    <a:pt x="3751" y="1017"/>
                    <a:pt x="3765" y="995"/>
                  </a:cubicBezTo>
                  <a:cubicBezTo>
                    <a:pt x="3765" y="995"/>
                    <a:pt x="3765" y="995"/>
                    <a:pt x="3773" y="995"/>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5" name="Freeform 23">
              <a:extLst>
                <a:ext uri="{FF2B5EF4-FFF2-40B4-BE49-F238E27FC236}">
                  <a16:creationId xmlns:a16="http://schemas.microsoft.com/office/drawing/2014/main" id="{A5E4289C-2F70-7445-92F2-36E44D5CEFF7}"/>
                </a:ext>
              </a:extLst>
            </p:cNvPr>
            <p:cNvSpPr>
              <a:spLocks noChangeArrowheads="1"/>
            </p:cNvSpPr>
            <p:nvPr/>
          </p:nvSpPr>
          <p:spPr bwMode="auto">
            <a:xfrm>
              <a:off x="14375370" y="6491918"/>
              <a:ext cx="867396" cy="304815"/>
            </a:xfrm>
            <a:custGeom>
              <a:avLst/>
              <a:gdLst>
                <a:gd name="T0" fmla="*/ 1953 w 2006"/>
                <a:gd name="T1" fmla="*/ 602 h 707"/>
                <a:gd name="T2" fmla="*/ 1997 w 2006"/>
                <a:gd name="T3" fmla="*/ 505 h 707"/>
                <a:gd name="T4" fmla="*/ 1916 w 2006"/>
                <a:gd name="T5" fmla="*/ 312 h 707"/>
                <a:gd name="T6" fmla="*/ 1767 w 2006"/>
                <a:gd name="T7" fmla="*/ 230 h 707"/>
                <a:gd name="T8" fmla="*/ 1589 w 2006"/>
                <a:gd name="T9" fmla="*/ 275 h 707"/>
                <a:gd name="T10" fmla="*/ 1567 w 2006"/>
                <a:gd name="T11" fmla="*/ 104 h 707"/>
                <a:gd name="T12" fmla="*/ 1641 w 2006"/>
                <a:gd name="T13" fmla="*/ 22 h 707"/>
                <a:gd name="T14" fmla="*/ 1477 w 2006"/>
                <a:gd name="T15" fmla="*/ 30 h 707"/>
                <a:gd name="T16" fmla="*/ 1307 w 2006"/>
                <a:gd name="T17" fmla="*/ 89 h 707"/>
                <a:gd name="T18" fmla="*/ 1247 w 2006"/>
                <a:gd name="T19" fmla="*/ 89 h 707"/>
                <a:gd name="T20" fmla="*/ 1136 w 2006"/>
                <a:gd name="T21" fmla="*/ 134 h 707"/>
                <a:gd name="T22" fmla="*/ 1047 w 2006"/>
                <a:gd name="T23" fmla="*/ 230 h 707"/>
                <a:gd name="T24" fmla="*/ 987 w 2006"/>
                <a:gd name="T25" fmla="*/ 290 h 707"/>
                <a:gd name="T26" fmla="*/ 935 w 2006"/>
                <a:gd name="T27" fmla="*/ 193 h 707"/>
                <a:gd name="T28" fmla="*/ 854 w 2006"/>
                <a:gd name="T29" fmla="*/ 230 h 707"/>
                <a:gd name="T30" fmla="*/ 742 w 2006"/>
                <a:gd name="T31" fmla="*/ 156 h 707"/>
                <a:gd name="T32" fmla="*/ 594 w 2006"/>
                <a:gd name="T33" fmla="*/ 149 h 707"/>
                <a:gd name="T34" fmla="*/ 445 w 2006"/>
                <a:gd name="T35" fmla="*/ 119 h 707"/>
                <a:gd name="T36" fmla="*/ 297 w 2006"/>
                <a:gd name="T37" fmla="*/ 127 h 707"/>
                <a:gd name="T38" fmla="*/ 96 w 2006"/>
                <a:gd name="T39" fmla="*/ 193 h 707"/>
                <a:gd name="T40" fmla="*/ 37 w 2006"/>
                <a:gd name="T41" fmla="*/ 297 h 707"/>
                <a:gd name="T42" fmla="*/ 74 w 2006"/>
                <a:gd name="T43" fmla="*/ 409 h 707"/>
                <a:gd name="T44" fmla="*/ 22 w 2006"/>
                <a:gd name="T45" fmla="*/ 542 h 707"/>
                <a:gd name="T46" fmla="*/ 230 w 2006"/>
                <a:gd name="T47" fmla="*/ 602 h 707"/>
                <a:gd name="T48" fmla="*/ 408 w 2006"/>
                <a:gd name="T49" fmla="*/ 646 h 707"/>
                <a:gd name="T50" fmla="*/ 787 w 2006"/>
                <a:gd name="T51" fmla="*/ 639 h 707"/>
                <a:gd name="T52" fmla="*/ 950 w 2006"/>
                <a:gd name="T53" fmla="*/ 654 h 707"/>
                <a:gd name="T54" fmla="*/ 1128 w 2006"/>
                <a:gd name="T55" fmla="*/ 661 h 707"/>
                <a:gd name="T56" fmla="*/ 1203 w 2006"/>
                <a:gd name="T57" fmla="*/ 661 h 707"/>
                <a:gd name="T58" fmla="*/ 1307 w 2006"/>
                <a:gd name="T59" fmla="*/ 661 h 707"/>
                <a:gd name="T60" fmla="*/ 1381 w 2006"/>
                <a:gd name="T61" fmla="*/ 631 h 707"/>
                <a:gd name="T62" fmla="*/ 1685 w 2006"/>
                <a:gd name="T63" fmla="*/ 698 h 707"/>
                <a:gd name="T64" fmla="*/ 1782 w 2006"/>
                <a:gd name="T65" fmla="*/ 706 h 707"/>
                <a:gd name="T66" fmla="*/ 1953 w 2006"/>
                <a:gd name="T67" fmla="*/ 602 h 7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6" h="707">
                  <a:moveTo>
                    <a:pt x="1953" y="602"/>
                  </a:moveTo>
                  <a:lnTo>
                    <a:pt x="1953" y="602"/>
                  </a:lnTo>
                  <a:cubicBezTo>
                    <a:pt x="1968" y="594"/>
                    <a:pt x="1982" y="587"/>
                    <a:pt x="1997" y="579"/>
                  </a:cubicBezTo>
                  <a:cubicBezTo>
                    <a:pt x="2005" y="557"/>
                    <a:pt x="2005" y="527"/>
                    <a:pt x="1997" y="505"/>
                  </a:cubicBezTo>
                  <a:cubicBezTo>
                    <a:pt x="1968" y="468"/>
                    <a:pt x="1901" y="468"/>
                    <a:pt x="1886" y="416"/>
                  </a:cubicBezTo>
                  <a:cubicBezTo>
                    <a:pt x="1886" y="401"/>
                    <a:pt x="1886" y="319"/>
                    <a:pt x="1916" y="312"/>
                  </a:cubicBezTo>
                  <a:cubicBezTo>
                    <a:pt x="1893" y="312"/>
                    <a:pt x="1849" y="305"/>
                    <a:pt x="1834" y="297"/>
                  </a:cubicBezTo>
                  <a:cubicBezTo>
                    <a:pt x="1797" y="282"/>
                    <a:pt x="1804" y="245"/>
                    <a:pt x="1767" y="230"/>
                  </a:cubicBezTo>
                  <a:cubicBezTo>
                    <a:pt x="1737" y="223"/>
                    <a:pt x="1700" y="238"/>
                    <a:pt x="1671" y="245"/>
                  </a:cubicBezTo>
                  <a:cubicBezTo>
                    <a:pt x="1641" y="253"/>
                    <a:pt x="1626" y="282"/>
                    <a:pt x="1589" y="275"/>
                  </a:cubicBezTo>
                  <a:cubicBezTo>
                    <a:pt x="1589" y="238"/>
                    <a:pt x="1589" y="208"/>
                    <a:pt x="1596" y="178"/>
                  </a:cubicBezTo>
                  <a:cubicBezTo>
                    <a:pt x="1604" y="141"/>
                    <a:pt x="1611" y="112"/>
                    <a:pt x="1567" y="104"/>
                  </a:cubicBezTo>
                  <a:cubicBezTo>
                    <a:pt x="1567" y="89"/>
                    <a:pt x="1589" y="60"/>
                    <a:pt x="1596" y="52"/>
                  </a:cubicBezTo>
                  <a:cubicBezTo>
                    <a:pt x="1619" y="45"/>
                    <a:pt x="1648" y="45"/>
                    <a:pt x="1641" y="22"/>
                  </a:cubicBezTo>
                  <a:cubicBezTo>
                    <a:pt x="1611" y="22"/>
                    <a:pt x="1582" y="30"/>
                    <a:pt x="1552" y="30"/>
                  </a:cubicBezTo>
                  <a:cubicBezTo>
                    <a:pt x="1522" y="30"/>
                    <a:pt x="1500" y="30"/>
                    <a:pt x="1477" y="30"/>
                  </a:cubicBezTo>
                  <a:cubicBezTo>
                    <a:pt x="1440" y="82"/>
                    <a:pt x="1374" y="0"/>
                    <a:pt x="1329" y="22"/>
                  </a:cubicBezTo>
                  <a:cubicBezTo>
                    <a:pt x="1292" y="45"/>
                    <a:pt x="1314" y="67"/>
                    <a:pt x="1307" y="89"/>
                  </a:cubicBezTo>
                  <a:cubicBezTo>
                    <a:pt x="1299" y="119"/>
                    <a:pt x="1284" y="119"/>
                    <a:pt x="1284" y="156"/>
                  </a:cubicBezTo>
                  <a:cubicBezTo>
                    <a:pt x="1255" y="141"/>
                    <a:pt x="1262" y="104"/>
                    <a:pt x="1247" y="89"/>
                  </a:cubicBezTo>
                  <a:cubicBezTo>
                    <a:pt x="1225" y="74"/>
                    <a:pt x="1203" y="74"/>
                    <a:pt x="1180" y="74"/>
                  </a:cubicBezTo>
                  <a:cubicBezTo>
                    <a:pt x="1180" y="104"/>
                    <a:pt x="1136" y="97"/>
                    <a:pt x="1136" y="134"/>
                  </a:cubicBezTo>
                  <a:cubicBezTo>
                    <a:pt x="1128" y="164"/>
                    <a:pt x="1188" y="178"/>
                    <a:pt x="1128" y="193"/>
                  </a:cubicBezTo>
                  <a:cubicBezTo>
                    <a:pt x="1091" y="193"/>
                    <a:pt x="1054" y="178"/>
                    <a:pt x="1047" y="230"/>
                  </a:cubicBezTo>
                  <a:cubicBezTo>
                    <a:pt x="1032" y="245"/>
                    <a:pt x="1017" y="238"/>
                    <a:pt x="1010" y="245"/>
                  </a:cubicBezTo>
                  <a:cubicBezTo>
                    <a:pt x="995" y="253"/>
                    <a:pt x="995" y="267"/>
                    <a:pt x="987" y="290"/>
                  </a:cubicBezTo>
                  <a:cubicBezTo>
                    <a:pt x="957" y="290"/>
                    <a:pt x="943" y="290"/>
                    <a:pt x="935" y="267"/>
                  </a:cubicBezTo>
                  <a:cubicBezTo>
                    <a:pt x="928" y="245"/>
                    <a:pt x="935" y="208"/>
                    <a:pt x="935" y="193"/>
                  </a:cubicBezTo>
                  <a:cubicBezTo>
                    <a:pt x="913" y="186"/>
                    <a:pt x="906" y="186"/>
                    <a:pt x="883" y="201"/>
                  </a:cubicBezTo>
                  <a:cubicBezTo>
                    <a:pt x="876" y="201"/>
                    <a:pt x="876" y="238"/>
                    <a:pt x="854" y="230"/>
                  </a:cubicBezTo>
                  <a:cubicBezTo>
                    <a:pt x="824" y="230"/>
                    <a:pt x="831" y="193"/>
                    <a:pt x="817" y="178"/>
                  </a:cubicBezTo>
                  <a:cubicBezTo>
                    <a:pt x="794" y="149"/>
                    <a:pt x="772" y="171"/>
                    <a:pt x="742" y="156"/>
                  </a:cubicBezTo>
                  <a:cubicBezTo>
                    <a:pt x="720" y="149"/>
                    <a:pt x="698" y="134"/>
                    <a:pt x="675" y="134"/>
                  </a:cubicBezTo>
                  <a:cubicBezTo>
                    <a:pt x="646" y="134"/>
                    <a:pt x="623" y="149"/>
                    <a:pt x="594" y="149"/>
                  </a:cubicBezTo>
                  <a:cubicBezTo>
                    <a:pt x="564" y="156"/>
                    <a:pt x="527" y="149"/>
                    <a:pt x="497" y="141"/>
                  </a:cubicBezTo>
                  <a:cubicBezTo>
                    <a:pt x="475" y="141"/>
                    <a:pt x="467" y="127"/>
                    <a:pt x="445" y="119"/>
                  </a:cubicBezTo>
                  <a:cubicBezTo>
                    <a:pt x="423" y="112"/>
                    <a:pt x="408" y="119"/>
                    <a:pt x="378" y="127"/>
                  </a:cubicBezTo>
                  <a:cubicBezTo>
                    <a:pt x="349" y="134"/>
                    <a:pt x="326" y="127"/>
                    <a:pt x="297" y="127"/>
                  </a:cubicBezTo>
                  <a:cubicBezTo>
                    <a:pt x="297" y="193"/>
                    <a:pt x="170" y="171"/>
                    <a:pt x="133" y="171"/>
                  </a:cubicBezTo>
                  <a:cubicBezTo>
                    <a:pt x="104" y="171"/>
                    <a:pt x="111" y="171"/>
                    <a:pt x="96" y="193"/>
                  </a:cubicBezTo>
                  <a:cubicBezTo>
                    <a:pt x="74" y="208"/>
                    <a:pt x="74" y="238"/>
                    <a:pt x="37" y="245"/>
                  </a:cubicBezTo>
                  <a:cubicBezTo>
                    <a:pt x="37" y="260"/>
                    <a:pt x="37" y="275"/>
                    <a:pt x="37" y="297"/>
                  </a:cubicBezTo>
                  <a:cubicBezTo>
                    <a:pt x="44" y="290"/>
                    <a:pt x="52" y="297"/>
                    <a:pt x="59" y="297"/>
                  </a:cubicBezTo>
                  <a:cubicBezTo>
                    <a:pt x="67" y="319"/>
                    <a:pt x="96" y="394"/>
                    <a:pt x="74" y="409"/>
                  </a:cubicBezTo>
                  <a:cubicBezTo>
                    <a:pt x="59" y="416"/>
                    <a:pt x="29" y="416"/>
                    <a:pt x="0" y="416"/>
                  </a:cubicBezTo>
                  <a:cubicBezTo>
                    <a:pt x="0" y="461"/>
                    <a:pt x="0" y="505"/>
                    <a:pt x="22" y="542"/>
                  </a:cubicBezTo>
                  <a:cubicBezTo>
                    <a:pt x="44" y="579"/>
                    <a:pt x="89" y="557"/>
                    <a:pt x="126" y="557"/>
                  </a:cubicBezTo>
                  <a:cubicBezTo>
                    <a:pt x="170" y="550"/>
                    <a:pt x="185" y="587"/>
                    <a:pt x="230" y="602"/>
                  </a:cubicBezTo>
                  <a:cubicBezTo>
                    <a:pt x="252" y="609"/>
                    <a:pt x="297" y="617"/>
                    <a:pt x="319" y="624"/>
                  </a:cubicBezTo>
                  <a:cubicBezTo>
                    <a:pt x="356" y="631"/>
                    <a:pt x="371" y="646"/>
                    <a:pt x="408" y="646"/>
                  </a:cubicBezTo>
                  <a:cubicBezTo>
                    <a:pt x="467" y="646"/>
                    <a:pt x="534" y="646"/>
                    <a:pt x="594" y="639"/>
                  </a:cubicBezTo>
                  <a:cubicBezTo>
                    <a:pt x="661" y="631"/>
                    <a:pt x="727" y="639"/>
                    <a:pt x="787" y="639"/>
                  </a:cubicBezTo>
                  <a:cubicBezTo>
                    <a:pt x="817" y="639"/>
                    <a:pt x="846" y="631"/>
                    <a:pt x="869" y="631"/>
                  </a:cubicBezTo>
                  <a:cubicBezTo>
                    <a:pt x="898" y="631"/>
                    <a:pt x="920" y="654"/>
                    <a:pt x="950" y="654"/>
                  </a:cubicBezTo>
                  <a:cubicBezTo>
                    <a:pt x="980" y="654"/>
                    <a:pt x="1002" y="631"/>
                    <a:pt x="1032" y="624"/>
                  </a:cubicBezTo>
                  <a:cubicBezTo>
                    <a:pt x="1069" y="624"/>
                    <a:pt x="1091" y="669"/>
                    <a:pt x="1128" y="661"/>
                  </a:cubicBezTo>
                  <a:cubicBezTo>
                    <a:pt x="1151" y="661"/>
                    <a:pt x="1166" y="639"/>
                    <a:pt x="1188" y="646"/>
                  </a:cubicBezTo>
                  <a:cubicBezTo>
                    <a:pt x="1188" y="646"/>
                    <a:pt x="1195" y="661"/>
                    <a:pt x="1203" y="661"/>
                  </a:cubicBezTo>
                  <a:lnTo>
                    <a:pt x="1217" y="661"/>
                  </a:lnTo>
                  <a:cubicBezTo>
                    <a:pt x="1240" y="661"/>
                    <a:pt x="1292" y="676"/>
                    <a:pt x="1307" y="661"/>
                  </a:cubicBezTo>
                  <a:cubicBezTo>
                    <a:pt x="1322" y="654"/>
                    <a:pt x="1307" y="639"/>
                    <a:pt x="1329" y="631"/>
                  </a:cubicBezTo>
                  <a:cubicBezTo>
                    <a:pt x="1344" y="624"/>
                    <a:pt x="1366" y="631"/>
                    <a:pt x="1381" y="631"/>
                  </a:cubicBezTo>
                  <a:cubicBezTo>
                    <a:pt x="1440" y="624"/>
                    <a:pt x="1500" y="631"/>
                    <a:pt x="1552" y="631"/>
                  </a:cubicBezTo>
                  <a:cubicBezTo>
                    <a:pt x="1604" y="639"/>
                    <a:pt x="1663" y="654"/>
                    <a:pt x="1685" y="698"/>
                  </a:cubicBezTo>
                  <a:cubicBezTo>
                    <a:pt x="1708" y="706"/>
                    <a:pt x="1760" y="691"/>
                    <a:pt x="1782" y="706"/>
                  </a:cubicBezTo>
                  <a:lnTo>
                    <a:pt x="1782" y="706"/>
                  </a:lnTo>
                  <a:cubicBezTo>
                    <a:pt x="1812" y="691"/>
                    <a:pt x="1841" y="691"/>
                    <a:pt x="1864" y="676"/>
                  </a:cubicBezTo>
                  <a:cubicBezTo>
                    <a:pt x="1901" y="661"/>
                    <a:pt x="1923" y="617"/>
                    <a:pt x="1953" y="602"/>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6" name="Freeform 24">
              <a:extLst>
                <a:ext uri="{FF2B5EF4-FFF2-40B4-BE49-F238E27FC236}">
                  <a16:creationId xmlns:a16="http://schemas.microsoft.com/office/drawing/2014/main" id="{347D8765-A8A2-A240-828C-3F27C43F84B1}"/>
                </a:ext>
              </a:extLst>
            </p:cNvPr>
            <p:cNvSpPr>
              <a:spLocks noChangeArrowheads="1"/>
            </p:cNvSpPr>
            <p:nvPr/>
          </p:nvSpPr>
          <p:spPr bwMode="auto">
            <a:xfrm>
              <a:off x="15097883" y="6962477"/>
              <a:ext cx="379368" cy="784900"/>
            </a:xfrm>
            <a:custGeom>
              <a:avLst/>
              <a:gdLst>
                <a:gd name="T0" fmla="*/ 653 w 877"/>
                <a:gd name="T1" fmla="*/ 252 h 1819"/>
                <a:gd name="T2" fmla="*/ 564 w 877"/>
                <a:gd name="T3" fmla="*/ 230 h 1819"/>
                <a:gd name="T4" fmla="*/ 497 w 877"/>
                <a:gd name="T5" fmla="*/ 171 h 1819"/>
                <a:gd name="T6" fmla="*/ 482 w 877"/>
                <a:gd name="T7" fmla="*/ 59 h 1819"/>
                <a:gd name="T8" fmla="*/ 348 w 877"/>
                <a:gd name="T9" fmla="*/ 82 h 1819"/>
                <a:gd name="T10" fmla="*/ 259 w 877"/>
                <a:gd name="T11" fmla="*/ 104 h 1819"/>
                <a:gd name="T12" fmla="*/ 215 w 877"/>
                <a:gd name="T13" fmla="*/ 178 h 1819"/>
                <a:gd name="T14" fmla="*/ 156 w 877"/>
                <a:gd name="T15" fmla="*/ 245 h 1819"/>
                <a:gd name="T16" fmla="*/ 89 w 877"/>
                <a:gd name="T17" fmla="*/ 185 h 1819"/>
                <a:gd name="T18" fmla="*/ 7 w 877"/>
                <a:gd name="T19" fmla="*/ 274 h 1819"/>
                <a:gd name="T20" fmla="*/ 29 w 877"/>
                <a:gd name="T21" fmla="*/ 379 h 1819"/>
                <a:gd name="T22" fmla="*/ 44 w 877"/>
                <a:gd name="T23" fmla="*/ 542 h 1819"/>
                <a:gd name="T24" fmla="*/ 96 w 877"/>
                <a:gd name="T25" fmla="*/ 638 h 1819"/>
                <a:gd name="T26" fmla="*/ 103 w 877"/>
                <a:gd name="T27" fmla="*/ 750 h 1819"/>
                <a:gd name="T28" fmla="*/ 141 w 877"/>
                <a:gd name="T29" fmla="*/ 936 h 1819"/>
                <a:gd name="T30" fmla="*/ 156 w 877"/>
                <a:gd name="T31" fmla="*/ 1084 h 1819"/>
                <a:gd name="T32" fmla="*/ 200 w 877"/>
                <a:gd name="T33" fmla="*/ 1188 h 1819"/>
                <a:gd name="T34" fmla="*/ 252 w 877"/>
                <a:gd name="T35" fmla="*/ 1329 h 1819"/>
                <a:gd name="T36" fmla="*/ 289 w 877"/>
                <a:gd name="T37" fmla="*/ 1418 h 1819"/>
                <a:gd name="T38" fmla="*/ 326 w 877"/>
                <a:gd name="T39" fmla="*/ 1685 h 1819"/>
                <a:gd name="T40" fmla="*/ 378 w 877"/>
                <a:gd name="T41" fmla="*/ 1781 h 1819"/>
                <a:gd name="T42" fmla="*/ 415 w 877"/>
                <a:gd name="T43" fmla="*/ 1670 h 1819"/>
                <a:gd name="T44" fmla="*/ 467 w 877"/>
                <a:gd name="T45" fmla="*/ 1714 h 1819"/>
                <a:gd name="T46" fmla="*/ 534 w 877"/>
                <a:gd name="T47" fmla="*/ 1818 h 1819"/>
                <a:gd name="T48" fmla="*/ 616 w 877"/>
                <a:gd name="T49" fmla="*/ 1744 h 1819"/>
                <a:gd name="T50" fmla="*/ 668 w 877"/>
                <a:gd name="T51" fmla="*/ 1647 h 1819"/>
                <a:gd name="T52" fmla="*/ 750 w 877"/>
                <a:gd name="T53" fmla="*/ 1633 h 1819"/>
                <a:gd name="T54" fmla="*/ 772 w 877"/>
                <a:gd name="T55" fmla="*/ 1514 h 1819"/>
                <a:gd name="T56" fmla="*/ 727 w 877"/>
                <a:gd name="T57" fmla="*/ 1440 h 1819"/>
                <a:gd name="T58" fmla="*/ 705 w 877"/>
                <a:gd name="T59" fmla="*/ 1270 h 1819"/>
                <a:gd name="T60" fmla="*/ 660 w 877"/>
                <a:gd name="T61" fmla="*/ 1143 h 1819"/>
                <a:gd name="T62" fmla="*/ 698 w 877"/>
                <a:gd name="T63" fmla="*/ 1084 h 1819"/>
                <a:gd name="T64" fmla="*/ 809 w 877"/>
                <a:gd name="T65" fmla="*/ 1054 h 1819"/>
                <a:gd name="T66" fmla="*/ 846 w 877"/>
                <a:gd name="T67" fmla="*/ 958 h 1819"/>
                <a:gd name="T68" fmla="*/ 876 w 877"/>
                <a:gd name="T69" fmla="*/ 698 h 1819"/>
                <a:gd name="T70" fmla="*/ 816 w 877"/>
                <a:gd name="T71" fmla="*/ 453 h 1819"/>
                <a:gd name="T72" fmla="*/ 764 w 877"/>
                <a:gd name="T73" fmla="*/ 334 h 1819"/>
                <a:gd name="T74" fmla="*/ 750 w 877"/>
                <a:gd name="T75" fmla="*/ 252 h 1819"/>
                <a:gd name="T76" fmla="*/ 653 w 877"/>
                <a:gd name="T77" fmla="*/ 252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7" h="1819">
                  <a:moveTo>
                    <a:pt x="653" y="252"/>
                  </a:moveTo>
                  <a:lnTo>
                    <a:pt x="653" y="252"/>
                  </a:lnTo>
                  <a:cubicBezTo>
                    <a:pt x="638" y="252"/>
                    <a:pt x="616" y="260"/>
                    <a:pt x="601" y="252"/>
                  </a:cubicBezTo>
                  <a:cubicBezTo>
                    <a:pt x="586" y="237"/>
                    <a:pt x="594" y="237"/>
                    <a:pt x="564" y="230"/>
                  </a:cubicBezTo>
                  <a:cubicBezTo>
                    <a:pt x="534" y="223"/>
                    <a:pt x="505" y="230"/>
                    <a:pt x="475" y="215"/>
                  </a:cubicBezTo>
                  <a:cubicBezTo>
                    <a:pt x="467" y="193"/>
                    <a:pt x="490" y="193"/>
                    <a:pt x="497" y="171"/>
                  </a:cubicBezTo>
                  <a:cubicBezTo>
                    <a:pt x="505" y="156"/>
                    <a:pt x="505" y="141"/>
                    <a:pt x="505" y="126"/>
                  </a:cubicBezTo>
                  <a:cubicBezTo>
                    <a:pt x="505" y="111"/>
                    <a:pt x="490" y="82"/>
                    <a:pt x="482" y="59"/>
                  </a:cubicBezTo>
                  <a:cubicBezTo>
                    <a:pt x="460" y="67"/>
                    <a:pt x="438" y="52"/>
                    <a:pt x="415" y="52"/>
                  </a:cubicBezTo>
                  <a:cubicBezTo>
                    <a:pt x="393" y="59"/>
                    <a:pt x="378" y="89"/>
                    <a:pt x="348" y="82"/>
                  </a:cubicBezTo>
                  <a:cubicBezTo>
                    <a:pt x="341" y="52"/>
                    <a:pt x="297" y="29"/>
                    <a:pt x="282" y="0"/>
                  </a:cubicBezTo>
                  <a:cubicBezTo>
                    <a:pt x="282" y="29"/>
                    <a:pt x="282" y="82"/>
                    <a:pt x="259" y="104"/>
                  </a:cubicBezTo>
                  <a:cubicBezTo>
                    <a:pt x="245" y="111"/>
                    <a:pt x="230" y="111"/>
                    <a:pt x="222" y="133"/>
                  </a:cubicBezTo>
                  <a:cubicBezTo>
                    <a:pt x="215" y="141"/>
                    <a:pt x="215" y="163"/>
                    <a:pt x="215" y="178"/>
                  </a:cubicBezTo>
                  <a:cubicBezTo>
                    <a:pt x="208" y="178"/>
                    <a:pt x="193" y="178"/>
                    <a:pt x="178" y="178"/>
                  </a:cubicBezTo>
                  <a:cubicBezTo>
                    <a:pt x="178" y="208"/>
                    <a:pt x="178" y="223"/>
                    <a:pt x="156" y="245"/>
                  </a:cubicBezTo>
                  <a:cubicBezTo>
                    <a:pt x="141" y="260"/>
                    <a:pt x="111" y="274"/>
                    <a:pt x="89" y="267"/>
                  </a:cubicBezTo>
                  <a:cubicBezTo>
                    <a:pt x="89" y="237"/>
                    <a:pt x="89" y="215"/>
                    <a:pt x="89" y="185"/>
                  </a:cubicBezTo>
                  <a:cubicBezTo>
                    <a:pt x="81" y="185"/>
                    <a:pt x="44" y="193"/>
                    <a:pt x="7" y="193"/>
                  </a:cubicBezTo>
                  <a:cubicBezTo>
                    <a:pt x="0" y="223"/>
                    <a:pt x="0" y="252"/>
                    <a:pt x="7" y="274"/>
                  </a:cubicBezTo>
                  <a:cubicBezTo>
                    <a:pt x="7" y="282"/>
                    <a:pt x="37" y="297"/>
                    <a:pt x="37" y="319"/>
                  </a:cubicBezTo>
                  <a:cubicBezTo>
                    <a:pt x="37" y="334"/>
                    <a:pt x="29" y="356"/>
                    <a:pt x="29" y="379"/>
                  </a:cubicBezTo>
                  <a:cubicBezTo>
                    <a:pt x="37" y="401"/>
                    <a:pt x="51" y="416"/>
                    <a:pt x="51" y="438"/>
                  </a:cubicBezTo>
                  <a:cubicBezTo>
                    <a:pt x="59" y="475"/>
                    <a:pt x="51" y="512"/>
                    <a:pt x="44" y="542"/>
                  </a:cubicBezTo>
                  <a:lnTo>
                    <a:pt x="44" y="542"/>
                  </a:lnTo>
                  <a:cubicBezTo>
                    <a:pt x="81" y="527"/>
                    <a:pt x="89" y="616"/>
                    <a:pt x="96" y="638"/>
                  </a:cubicBezTo>
                  <a:cubicBezTo>
                    <a:pt x="103" y="653"/>
                    <a:pt x="103" y="676"/>
                    <a:pt x="103" y="698"/>
                  </a:cubicBezTo>
                  <a:cubicBezTo>
                    <a:pt x="96" y="713"/>
                    <a:pt x="96" y="735"/>
                    <a:pt x="103" y="750"/>
                  </a:cubicBezTo>
                  <a:cubicBezTo>
                    <a:pt x="118" y="772"/>
                    <a:pt x="141" y="779"/>
                    <a:pt x="148" y="809"/>
                  </a:cubicBezTo>
                  <a:cubicBezTo>
                    <a:pt x="148" y="846"/>
                    <a:pt x="141" y="898"/>
                    <a:pt x="141" y="936"/>
                  </a:cubicBezTo>
                  <a:cubicBezTo>
                    <a:pt x="141" y="965"/>
                    <a:pt x="133" y="987"/>
                    <a:pt x="133" y="1010"/>
                  </a:cubicBezTo>
                  <a:cubicBezTo>
                    <a:pt x="133" y="1039"/>
                    <a:pt x="148" y="1054"/>
                    <a:pt x="156" y="1084"/>
                  </a:cubicBezTo>
                  <a:cubicBezTo>
                    <a:pt x="163" y="1106"/>
                    <a:pt x="163" y="1136"/>
                    <a:pt x="178" y="1151"/>
                  </a:cubicBezTo>
                  <a:cubicBezTo>
                    <a:pt x="185" y="1166"/>
                    <a:pt x="193" y="1181"/>
                    <a:pt x="200" y="1188"/>
                  </a:cubicBezTo>
                  <a:cubicBezTo>
                    <a:pt x="222" y="1225"/>
                    <a:pt x="230" y="1255"/>
                    <a:pt x="245" y="1292"/>
                  </a:cubicBezTo>
                  <a:cubicBezTo>
                    <a:pt x="252" y="1307"/>
                    <a:pt x="252" y="1314"/>
                    <a:pt x="252" y="1329"/>
                  </a:cubicBezTo>
                  <a:cubicBezTo>
                    <a:pt x="259" y="1351"/>
                    <a:pt x="267" y="1366"/>
                    <a:pt x="274" y="1381"/>
                  </a:cubicBezTo>
                  <a:cubicBezTo>
                    <a:pt x="282" y="1389"/>
                    <a:pt x="289" y="1403"/>
                    <a:pt x="289" y="1418"/>
                  </a:cubicBezTo>
                  <a:cubicBezTo>
                    <a:pt x="297" y="1447"/>
                    <a:pt x="311" y="1469"/>
                    <a:pt x="311" y="1491"/>
                  </a:cubicBezTo>
                  <a:cubicBezTo>
                    <a:pt x="311" y="1558"/>
                    <a:pt x="319" y="1625"/>
                    <a:pt x="326" y="1685"/>
                  </a:cubicBezTo>
                  <a:cubicBezTo>
                    <a:pt x="326" y="1714"/>
                    <a:pt x="348" y="1722"/>
                    <a:pt x="348" y="1751"/>
                  </a:cubicBezTo>
                  <a:cubicBezTo>
                    <a:pt x="348" y="1774"/>
                    <a:pt x="348" y="1781"/>
                    <a:pt x="378" y="1781"/>
                  </a:cubicBezTo>
                  <a:cubicBezTo>
                    <a:pt x="408" y="1774"/>
                    <a:pt x="393" y="1751"/>
                    <a:pt x="393" y="1729"/>
                  </a:cubicBezTo>
                  <a:cubicBezTo>
                    <a:pt x="393" y="1707"/>
                    <a:pt x="393" y="1670"/>
                    <a:pt x="415" y="1670"/>
                  </a:cubicBezTo>
                  <a:cubicBezTo>
                    <a:pt x="430" y="1670"/>
                    <a:pt x="430" y="1685"/>
                    <a:pt x="438" y="1692"/>
                  </a:cubicBezTo>
                  <a:cubicBezTo>
                    <a:pt x="445" y="1699"/>
                    <a:pt x="453" y="1707"/>
                    <a:pt x="467" y="1714"/>
                  </a:cubicBezTo>
                  <a:cubicBezTo>
                    <a:pt x="482" y="1729"/>
                    <a:pt x="497" y="1744"/>
                    <a:pt x="505" y="1774"/>
                  </a:cubicBezTo>
                  <a:cubicBezTo>
                    <a:pt x="512" y="1788"/>
                    <a:pt x="512" y="1811"/>
                    <a:pt x="534" y="1818"/>
                  </a:cubicBezTo>
                  <a:cubicBezTo>
                    <a:pt x="549" y="1818"/>
                    <a:pt x="571" y="1811"/>
                    <a:pt x="594" y="1811"/>
                  </a:cubicBezTo>
                  <a:cubicBezTo>
                    <a:pt x="601" y="1788"/>
                    <a:pt x="601" y="1759"/>
                    <a:pt x="616" y="1744"/>
                  </a:cubicBezTo>
                  <a:cubicBezTo>
                    <a:pt x="631" y="1722"/>
                    <a:pt x="653" y="1736"/>
                    <a:pt x="653" y="1707"/>
                  </a:cubicBezTo>
                  <a:cubicBezTo>
                    <a:pt x="660" y="1685"/>
                    <a:pt x="653" y="1662"/>
                    <a:pt x="668" y="1647"/>
                  </a:cubicBezTo>
                  <a:cubicBezTo>
                    <a:pt x="698" y="1625"/>
                    <a:pt x="713" y="1670"/>
                    <a:pt x="735" y="1655"/>
                  </a:cubicBezTo>
                  <a:cubicBezTo>
                    <a:pt x="742" y="1655"/>
                    <a:pt x="742" y="1640"/>
                    <a:pt x="750" y="1633"/>
                  </a:cubicBezTo>
                  <a:cubicBezTo>
                    <a:pt x="750" y="1625"/>
                    <a:pt x="757" y="1625"/>
                    <a:pt x="757" y="1618"/>
                  </a:cubicBezTo>
                  <a:cubicBezTo>
                    <a:pt x="764" y="1595"/>
                    <a:pt x="750" y="1521"/>
                    <a:pt x="772" y="1514"/>
                  </a:cubicBezTo>
                  <a:cubicBezTo>
                    <a:pt x="779" y="1491"/>
                    <a:pt x="764" y="1484"/>
                    <a:pt x="757" y="1469"/>
                  </a:cubicBezTo>
                  <a:cubicBezTo>
                    <a:pt x="750" y="1462"/>
                    <a:pt x="742" y="1447"/>
                    <a:pt x="727" y="1440"/>
                  </a:cubicBezTo>
                  <a:cubicBezTo>
                    <a:pt x="705" y="1418"/>
                    <a:pt x="713" y="1389"/>
                    <a:pt x="713" y="1359"/>
                  </a:cubicBezTo>
                  <a:cubicBezTo>
                    <a:pt x="705" y="1329"/>
                    <a:pt x="690" y="1299"/>
                    <a:pt x="705" y="1270"/>
                  </a:cubicBezTo>
                  <a:cubicBezTo>
                    <a:pt x="713" y="1232"/>
                    <a:pt x="705" y="1195"/>
                    <a:pt x="705" y="1158"/>
                  </a:cubicBezTo>
                  <a:cubicBezTo>
                    <a:pt x="683" y="1166"/>
                    <a:pt x="675" y="1166"/>
                    <a:pt x="660" y="1143"/>
                  </a:cubicBezTo>
                  <a:cubicBezTo>
                    <a:pt x="660" y="1129"/>
                    <a:pt x="653" y="1091"/>
                    <a:pt x="653" y="1076"/>
                  </a:cubicBezTo>
                  <a:cubicBezTo>
                    <a:pt x="675" y="1062"/>
                    <a:pt x="683" y="1076"/>
                    <a:pt x="698" y="1084"/>
                  </a:cubicBezTo>
                  <a:cubicBezTo>
                    <a:pt x="720" y="1084"/>
                    <a:pt x="735" y="1076"/>
                    <a:pt x="757" y="1076"/>
                  </a:cubicBezTo>
                  <a:cubicBezTo>
                    <a:pt x="787" y="1076"/>
                    <a:pt x="801" y="1084"/>
                    <a:pt x="809" y="1054"/>
                  </a:cubicBezTo>
                  <a:cubicBezTo>
                    <a:pt x="816" y="1032"/>
                    <a:pt x="816" y="1010"/>
                    <a:pt x="831" y="987"/>
                  </a:cubicBezTo>
                  <a:cubicBezTo>
                    <a:pt x="839" y="980"/>
                    <a:pt x="846" y="973"/>
                    <a:pt x="846" y="958"/>
                  </a:cubicBezTo>
                  <a:cubicBezTo>
                    <a:pt x="861" y="928"/>
                    <a:pt x="861" y="891"/>
                    <a:pt x="868" y="861"/>
                  </a:cubicBezTo>
                  <a:cubicBezTo>
                    <a:pt x="868" y="809"/>
                    <a:pt x="876" y="750"/>
                    <a:pt x="876" y="698"/>
                  </a:cubicBezTo>
                  <a:cubicBezTo>
                    <a:pt x="876" y="646"/>
                    <a:pt x="861" y="601"/>
                    <a:pt x="846" y="557"/>
                  </a:cubicBezTo>
                  <a:cubicBezTo>
                    <a:pt x="831" y="527"/>
                    <a:pt x="839" y="490"/>
                    <a:pt x="816" y="453"/>
                  </a:cubicBezTo>
                  <a:cubicBezTo>
                    <a:pt x="801" y="423"/>
                    <a:pt x="779" y="401"/>
                    <a:pt x="772" y="371"/>
                  </a:cubicBezTo>
                  <a:cubicBezTo>
                    <a:pt x="772" y="364"/>
                    <a:pt x="772" y="349"/>
                    <a:pt x="764" y="334"/>
                  </a:cubicBezTo>
                  <a:cubicBezTo>
                    <a:pt x="764" y="312"/>
                    <a:pt x="764" y="312"/>
                    <a:pt x="750" y="297"/>
                  </a:cubicBezTo>
                  <a:cubicBezTo>
                    <a:pt x="727" y="274"/>
                    <a:pt x="735" y="267"/>
                    <a:pt x="750" y="252"/>
                  </a:cubicBezTo>
                  <a:lnTo>
                    <a:pt x="742" y="245"/>
                  </a:lnTo>
                  <a:cubicBezTo>
                    <a:pt x="727" y="237"/>
                    <a:pt x="675" y="252"/>
                    <a:pt x="653" y="252"/>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7" name="Freeform 25">
              <a:extLst>
                <a:ext uri="{FF2B5EF4-FFF2-40B4-BE49-F238E27FC236}">
                  <a16:creationId xmlns:a16="http://schemas.microsoft.com/office/drawing/2014/main" id="{E43BC3E9-4043-8144-921A-E4D14C864ABD}"/>
                </a:ext>
              </a:extLst>
            </p:cNvPr>
            <p:cNvSpPr>
              <a:spLocks noChangeArrowheads="1"/>
            </p:cNvSpPr>
            <p:nvPr/>
          </p:nvSpPr>
          <p:spPr bwMode="auto">
            <a:xfrm>
              <a:off x="10389159" y="8448453"/>
              <a:ext cx="2525935" cy="2339460"/>
            </a:xfrm>
            <a:custGeom>
              <a:avLst/>
              <a:gdLst>
                <a:gd name="T0" fmla="*/ 5598 w 5844"/>
                <a:gd name="T1" fmla="*/ 839 h 5415"/>
                <a:gd name="T2" fmla="*/ 5264 w 5844"/>
                <a:gd name="T3" fmla="*/ 943 h 5415"/>
                <a:gd name="T4" fmla="*/ 4974 w 5844"/>
                <a:gd name="T5" fmla="*/ 780 h 5415"/>
                <a:gd name="T6" fmla="*/ 4870 w 5844"/>
                <a:gd name="T7" fmla="*/ 884 h 5415"/>
                <a:gd name="T8" fmla="*/ 4625 w 5844"/>
                <a:gd name="T9" fmla="*/ 1151 h 5415"/>
                <a:gd name="T10" fmla="*/ 4424 w 5844"/>
                <a:gd name="T11" fmla="*/ 1225 h 5415"/>
                <a:gd name="T12" fmla="*/ 4128 w 5844"/>
                <a:gd name="T13" fmla="*/ 1307 h 5415"/>
                <a:gd name="T14" fmla="*/ 4113 w 5844"/>
                <a:gd name="T15" fmla="*/ 1485 h 5415"/>
                <a:gd name="T16" fmla="*/ 3735 w 5844"/>
                <a:gd name="T17" fmla="*/ 1604 h 5415"/>
                <a:gd name="T18" fmla="*/ 3393 w 5844"/>
                <a:gd name="T19" fmla="*/ 1649 h 5415"/>
                <a:gd name="T20" fmla="*/ 3148 w 5844"/>
                <a:gd name="T21" fmla="*/ 1389 h 5415"/>
                <a:gd name="T22" fmla="*/ 2799 w 5844"/>
                <a:gd name="T23" fmla="*/ 1032 h 5415"/>
                <a:gd name="T24" fmla="*/ 2621 w 5844"/>
                <a:gd name="T25" fmla="*/ 973 h 5415"/>
                <a:gd name="T26" fmla="*/ 2487 w 5844"/>
                <a:gd name="T27" fmla="*/ 431 h 5415"/>
                <a:gd name="T28" fmla="*/ 2161 w 5844"/>
                <a:gd name="T29" fmla="*/ 290 h 5415"/>
                <a:gd name="T30" fmla="*/ 1982 w 5844"/>
                <a:gd name="T31" fmla="*/ 223 h 5415"/>
                <a:gd name="T32" fmla="*/ 1745 w 5844"/>
                <a:gd name="T33" fmla="*/ 304 h 5415"/>
                <a:gd name="T34" fmla="*/ 1448 w 5844"/>
                <a:gd name="T35" fmla="*/ 89 h 5415"/>
                <a:gd name="T36" fmla="*/ 1292 w 5844"/>
                <a:gd name="T37" fmla="*/ 319 h 5415"/>
                <a:gd name="T38" fmla="*/ 1069 w 5844"/>
                <a:gd name="T39" fmla="*/ 401 h 5415"/>
                <a:gd name="T40" fmla="*/ 972 w 5844"/>
                <a:gd name="T41" fmla="*/ 772 h 5415"/>
                <a:gd name="T42" fmla="*/ 750 w 5844"/>
                <a:gd name="T43" fmla="*/ 1069 h 5415"/>
                <a:gd name="T44" fmla="*/ 824 w 5844"/>
                <a:gd name="T45" fmla="*/ 1322 h 5415"/>
                <a:gd name="T46" fmla="*/ 608 w 5844"/>
                <a:gd name="T47" fmla="*/ 1730 h 5415"/>
                <a:gd name="T48" fmla="*/ 631 w 5844"/>
                <a:gd name="T49" fmla="*/ 2094 h 5415"/>
                <a:gd name="T50" fmla="*/ 586 w 5844"/>
                <a:gd name="T51" fmla="*/ 2466 h 5415"/>
                <a:gd name="T52" fmla="*/ 623 w 5844"/>
                <a:gd name="T53" fmla="*/ 2673 h 5415"/>
                <a:gd name="T54" fmla="*/ 200 w 5844"/>
                <a:gd name="T55" fmla="*/ 3290 h 5415"/>
                <a:gd name="T56" fmla="*/ 111 w 5844"/>
                <a:gd name="T57" fmla="*/ 3579 h 5415"/>
                <a:gd name="T58" fmla="*/ 0 w 5844"/>
                <a:gd name="T59" fmla="*/ 3839 h 5415"/>
                <a:gd name="T60" fmla="*/ 89 w 5844"/>
                <a:gd name="T61" fmla="*/ 4040 h 5415"/>
                <a:gd name="T62" fmla="*/ 297 w 5844"/>
                <a:gd name="T63" fmla="*/ 4099 h 5415"/>
                <a:gd name="T64" fmla="*/ 467 w 5844"/>
                <a:gd name="T65" fmla="*/ 4122 h 5415"/>
                <a:gd name="T66" fmla="*/ 282 w 5844"/>
                <a:gd name="T67" fmla="*/ 4322 h 5415"/>
                <a:gd name="T68" fmla="*/ 133 w 5844"/>
                <a:gd name="T69" fmla="*/ 4300 h 5415"/>
                <a:gd name="T70" fmla="*/ 304 w 5844"/>
                <a:gd name="T71" fmla="*/ 4419 h 5415"/>
                <a:gd name="T72" fmla="*/ 608 w 5844"/>
                <a:gd name="T73" fmla="*/ 4500 h 5415"/>
                <a:gd name="T74" fmla="*/ 824 w 5844"/>
                <a:gd name="T75" fmla="*/ 4389 h 5415"/>
                <a:gd name="T76" fmla="*/ 913 w 5844"/>
                <a:gd name="T77" fmla="*/ 4612 h 5415"/>
                <a:gd name="T78" fmla="*/ 1121 w 5844"/>
                <a:gd name="T79" fmla="*/ 4760 h 5415"/>
                <a:gd name="T80" fmla="*/ 1165 w 5844"/>
                <a:gd name="T81" fmla="*/ 5094 h 5415"/>
                <a:gd name="T82" fmla="*/ 1017 w 5844"/>
                <a:gd name="T83" fmla="*/ 5332 h 5415"/>
                <a:gd name="T84" fmla="*/ 1299 w 5844"/>
                <a:gd name="T85" fmla="*/ 5094 h 5415"/>
                <a:gd name="T86" fmla="*/ 1864 w 5844"/>
                <a:gd name="T87" fmla="*/ 5005 h 5415"/>
                <a:gd name="T88" fmla="*/ 2153 w 5844"/>
                <a:gd name="T89" fmla="*/ 4990 h 5415"/>
                <a:gd name="T90" fmla="*/ 2383 w 5844"/>
                <a:gd name="T91" fmla="*/ 4745 h 5415"/>
                <a:gd name="T92" fmla="*/ 2465 w 5844"/>
                <a:gd name="T93" fmla="*/ 4664 h 5415"/>
                <a:gd name="T94" fmla="*/ 2554 w 5844"/>
                <a:gd name="T95" fmla="*/ 4723 h 5415"/>
                <a:gd name="T96" fmla="*/ 2524 w 5844"/>
                <a:gd name="T97" fmla="*/ 4262 h 5415"/>
                <a:gd name="T98" fmla="*/ 2569 w 5844"/>
                <a:gd name="T99" fmla="*/ 3936 h 5415"/>
                <a:gd name="T100" fmla="*/ 2614 w 5844"/>
                <a:gd name="T101" fmla="*/ 3223 h 5415"/>
                <a:gd name="T102" fmla="*/ 3007 w 5844"/>
                <a:gd name="T103" fmla="*/ 2970 h 5415"/>
                <a:gd name="T104" fmla="*/ 3133 w 5844"/>
                <a:gd name="T105" fmla="*/ 3067 h 5415"/>
                <a:gd name="T106" fmla="*/ 3282 w 5844"/>
                <a:gd name="T107" fmla="*/ 2911 h 5415"/>
                <a:gd name="T108" fmla="*/ 3460 w 5844"/>
                <a:gd name="T109" fmla="*/ 2644 h 5415"/>
                <a:gd name="T110" fmla="*/ 3676 w 5844"/>
                <a:gd name="T111" fmla="*/ 2644 h 5415"/>
                <a:gd name="T112" fmla="*/ 4091 w 5844"/>
                <a:gd name="T113" fmla="*/ 2480 h 5415"/>
                <a:gd name="T114" fmla="*/ 4106 w 5844"/>
                <a:gd name="T115" fmla="*/ 2243 h 5415"/>
                <a:gd name="T116" fmla="*/ 4307 w 5844"/>
                <a:gd name="T117" fmla="*/ 2064 h 5415"/>
                <a:gd name="T118" fmla="*/ 4811 w 5844"/>
                <a:gd name="T119" fmla="*/ 1753 h 5415"/>
                <a:gd name="T120" fmla="*/ 5323 w 5844"/>
                <a:gd name="T121" fmla="*/ 1351 h 5415"/>
                <a:gd name="T122" fmla="*/ 5627 w 5844"/>
                <a:gd name="T123" fmla="*/ 1010 h 5415"/>
                <a:gd name="T124" fmla="*/ 5791 w 5844"/>
                <a:gd name="T125" fmla="*/ 713 h 5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44" h="5415">
                  <a:moveTo>
                    <a:pt x="5791" y="713"/>
                  </a:moveTo>
                  <a:lnTo>
                    <a:pt x="5791" y="713"/>
                  </a:lnTo>
                  <a:cubicBezTo>
                    <a:pt x="5754" y="713"/>
                    <a:pt x="5746" y="720"/>
                    <a:pt x="5716" y="735"/>
                  </a:cubicBezTo>
                  <a:cubicBezTo>
                    <a:pt x="5709" y="750"/>
                    <a:pt x="5724" y="765"/>
                    <a:pt x="5739" y="765"/>
                  </a:cubicBezTo>
                  <a:cubicBezTo>
                    <a:pt x="5746" y="802"/>
                    <a:pt x="5657" y="787"/>
                    <a:pt x="5627" y="809"/>
                  </a:cubicBezTo>
                  <a:cubicBezTo>
                    <a:pt x="5620" y="824"/>
                    <a:pt x="5613" y="832"/>
                    <a:pt x="5598" y="839"/>
                  </a:cubicBezTo>
                  <a:cubicBezTo>
                    <a:pt x="5590" y="839"/>
                    <a:pt x="5576" y="832"/>
                    <a:pt x="5568" y="839"/>
                  </a:cubicBezTo>
                  <a:cubicBezTo>
                    <a:pt x="5561" y="847"/>
                    <a:pt x="5598" y="891"/>
                    <a:pt x="5598" y="899"/>
                  </a:cubicBezTo>
                  <a:cubicBezTo>
                    <a:pt x="5546" y="899"/>
                    <a:pt x="5553" y="958"/>
                    <a:pt x="5509" y="958"/>
                  </a:cubicBezTo>
                  <a:cubicBezTo>
                    <a:pt x="5509" y="965"/>
                    <a:pt x="5501" y="980"/>
                    <a:pt x="5501" y="988"/>
                  </a:cubicBezTo>
                  <a:cubicBezTo>
                    <a:pt x="5464" y="988"/>
                    <a:pt x="5419" y="995"/>
                    <a:pt x="5382" y="980"/>
                  </a:cubicBezTo>
                  <a:cubicBezTo>
                    <a:pt x="5338" y="965"/>
                    <a:pt x="5316" y="943"/>
                    <a:pt x="5264" y="943"/>
                  </a:cubicBezTo>
                  <a:cubicBezTo>
                    <a:pt x="5241" y="943"/>
                    <a:pt x="5197" y="958"/>
                    <a:pt x="5189" y="921"/>
                  </a:cubicBezTo>
                  <a:cubicBezTo>
                    <a:pt x="5182" y="869"/>
                    <a:pt x="5152" y="839"/>
                    <a:pt x="5137" y="795"/>
                  </a:cubicBezTo>
                  <a:cubicBezTo>
                    <a:pt x="5122" y="795"/>
                    <a:pt x="5108" y="795"/>
                    <a:pt x="5108" y="809"/>
                  </a:cubicBezTo>
                  <a:cubicBezTo>
                    <a:pt x="5071" y="817"/>
                    <a:pt x="5033" y="743"/>
                    <a:pt x="5041" y="706"/>
                  </a:cubicBezTo>
                  <a:cubicBezTo>
                    <a:pt x="5033" y="706"/>
                    <a:pt x="5026" y="698"/>
                    <a:pt x="5019" y="698"/>
                  </a:cubicBezTo>
                  <a:cubicBezTo>
                    <a:pt x="5019" y="728"/>
                    <a:pt x="5019" y="817"/>
                    <a:pt x="4974" y="780"/>
                  </a:cubicBezTo>
                  <a:cubicBezTo>
                    <a:pt x="4967" y="787"/>
                    <a:pt x="4959" y="802"/>
                    <a:pt x="4952" y="809"/>
                  </a:cubicBezTo>
                  <a:cubicBezTo>
                    <a:pt x="4944" y="787"/>
                    <a:pt x="4944" y="765"/>
                    <a:pt x="4929" y="757"/>
                  </a:cubicBezTo>
                  <a:cubicBezTo>
                    <a:pt x="4914" y="780"/>
                    <a:pt x="4907" y="824"/>
                    <a:pt x="4907" y="854"/>
                  </a:cubicBezTo>
                  <a:cubicBezTo>
                    <a:pt x="4870" y="832"/>
                    <a:pt x="4863" y="780"/>
                    <a:pt x="4811" y="824"/>
                  </a:cubicBezTo>
                  <a:cubicBezTo>
                    <a:pt x="4781" y="847"/>
                    <a:pt x="4848" y="861"/>
                    <a:pt x="4855" y="884"/>
                  </a:cubicBezTo>
                  <a:cubicBezTo>
                    <a:pt x="4855" y="884"/>
                    <a:pt x="4863" y="884"/>
                    <a:pt x="4870" y="884"/>
                  </a:cubicBezTo>
                  <a:cubicBezTo>
                    <a:pt x="4848" y="891"/>
                    <a:pt x="4825" y="943"/>
                    <a:pt x="4803" y="958"/>
                  </a:cubicBezTo>
                  <a:cubicBezTo>
                    <a:pt x="4774" y="965"/>
                    <a:pt x="4751" y="973"/>
                    <a:pt x="4722" y="980"/>
                  </a:cubicBezTo>
                  <a:cubicBezTo>
                    <a:pt x="4699" y="980"/>
                    <a:pt x="4677" y="965"/>
                    <a:pt x="4655" y="973"/>
                  </a:cubicBezTo>
                  <a:cubicBezTo>
                    <a:pt x="4640" y="980"/>
                    <a:pt x="4669" y="1040"/>
                    <a:pt x="4625" y="1047"/>
                  </a:cubicBezTo>
                  <a:cubicBezTo>
                    <a:pt x="4603" y="1054"/>
                    <a:pt x="4588" y="1062"/>
                    <a:pt x="4588" y="1092"/>
                  </a:cubicBezTo>
                  <a:cubicBezTo>
                    <a:pt x="4580" y="1129"/>
                    <a:pt x="4625" y="1121"/>
                    <a:pt x="4625" y="1151"/>
                  </a:cubicBezTo>
                  <a:cubicBezTo>
                    <a:pt x="4647" y="1151"/>
                    <a:pt x="4647" y="1173"/>
                    <a:pt x="4640" y="1188"/>
                  </a:cubicBezTo>
                  <a:cubicBezTo>
                    <a:pt x="4610" y="1181"/>
                    <a:pt x="4603" y="1203"/>
                    <a:pt x="4603" y="1233"/>
                  </a:cubicBezTo>
                  <a:cubicBezTo>
                    <a:pt x="4617" y="1240"/>
                    <a:pt x="4617" y="1240"/>
                    <a:pt x="4617" y="1255"/>
                  </a:cubicBezTo>
                  <a:cubicBezTo>
                    <a:pt x="4580" y="1248"/>
                    <a:pt x="4566" y="1292"/>
                    <a:pt x="4536" y="1292"/>
                  </a:cubicBezTo>
                  <a:cubicBezTo>
                    <a:pt x="4514" y="1292"/>
                    <a:pt x="4499" y="1270"/>
                    <a:pt x="4491" y="1248"/>
                  </a:cubicBezTo>
                  <a:cubicBezTo>
                    <a:pt x="4477" y="1225"/>
                    <a:pt x="4454" y="1225"/>
                    <a:pt x="4424" y="1225"/>
                  </a:cubicBezTo>
                  <a:cubicBezTo>
                    <a:pt x="4424" y="1240"/>
                    <a:pt x="4424" y="1262"/>
                    <a:pt x="4424" y="1277"/>
                  </a:cubicBezTo>
                  <a:cubicBezTo>
                    <a:pt x="4380" y="1270"/>
                    <a:pt x="4292" y="1411"/>
                    <a:pt x="4277" y="1322"/>
                  </a:cubicBezTo>
                  <a:cubicBezTo>
                    <a:pt x="4292" y="1314"/>
                    <a:pt x="4335" y="1285"/>
                    <a:pt x="4299" y="1277"/>
                  </a:cubicBezTo>
                  <a:cubicBezTo>
                    <a:pt x="4284" y="1233"/>
                    <a:pt x="4262" y="1166"/>
                    <a:pt x="4210" y="1151"/>
                  </a:cubicBezTo>
                  <a:cubicBezTo>
                    <a:pt x="4180" y="1188"/>
                    <a:pt x="4166" y="1211"/>
                    <a:pt x="4121" y="1218"/>
                  </a:cubicBezTo>
                  <a:cubicBezTo>
                    <a:pt x="4113" y="1248"/>
                    <a:pt x="4136" y="1277"/>
                    <a:pt x="4128" y="1307"/>
                  </a:cubicBezTo>
                  <a:cubicBezTo>
                    <a:pt x="4136" y="1307"/>
                    <a:pt x="4136" y="1307"/>
                    <a:pt x="4143" y="1307"/>
                  </a:cubicBezTo>
                  <a:cubicBezTo>
                    <a:pt x="4143" y="1322"/>
                    <a:pt x="4136" y="1329"/>
                    <a:pt x="4121" y="1337"/>
                  </a:cubicBezTo>
                  <a:cubicBezTo>
                    <a:pt x="4099" y="1344"/>
                    <a:pt x="4106" y="1381"/>
                    <a:pt x="4106" y="1404"/>
                  </a:cubicBezTo>
                  <a:cubicBezTo>
                    <a:pt x="4113" y="1404"/>
                    <a:pt x="4121" y="1411"/>
                    <a:pt x="4136" y="1411"/>
                  </a:cubicBezTo>
                  <a:cubicBezTo>
                    <a:pt x="4136" y="1419"/>
                    <a:pt x="4136" y="1433"/>
                    <a:pt x="4136" y="1441"/>
                  </a:cubicBezTo>
                  <a:cubicBezTo>
                    <a:pt x="4106" y="1441"/>
                    <a:pt x="4113" y="1470"/>
                    <a:pt x="4113" y="1485"/>
                  </a:cubicBezTo>
                  <a:cubicBezTo>
                    <a:pt x="4091" y="1493"/>
                    <a:pt x="4084" y="1478"/>
                    <a:pt x="4069" y="1500"/>
                  </a:cubicBezTo>
                  <a:cubicBezTo>
                    <a:pt x="4062" y="1522"/>
                    <a:pt x="4069" y="1552"/>
                    <a:pt x="4032" y="1545"/>
                  </a:cubicBezTo>
                  <a:cubicBezTo>
                    <a:pt x="4010" y="1545"/>
                    <a:pt x="4010" y="1522"/>
                    <a:pt x="4002" y="1508"/>
                  </a:cubicBezTo>
                  <a:cubicBezTo>
                    <a:pt x="3987" y="1485"/>
                    <a:pt x="3958" y="1485"/>
                    <a:pt x="3935" y="1485"/>
                  </a:cubicBezTo>
                  <a:cubicBezTo>
                    <a:pt x="3883" y="1478"/>
                    <a:pt x="3868" y="1537"/>
                    <a:pt x="3824" y="1545"/>
                  </a:cubicBezTo>
                  <a:cubicBezTo>
                    <a:pt x="3772" y="1552"/>
                    <a:pt x="3742" y="1537"/>
                    <a:pt x="3735" y="1604"/>
                  </a:cubicBezTo>
                  <a:cubicBezTo>
                    <a:pt x="3713" y="1604"/>
                    <a:pt x="3698" y="1619"/>
                    <a:pt x="3683" y="1619"/>
                  </a:cubicBezTo>
                  <a:cubicBezTo>
                    <a:pt x="3661" y="1619"/>
                    <a:pt x="3638" y="1611"/>
                    <a:pt x="3623" y="1619"/>
                  </a:cubicBezTo>
                  <a:cubicBezTo>
                    <a:pt x="3586" y="1626"/>
                    <a:pt x="3571" y="1641"/>
                    <a:pt x="3527" y="1634"/>
                  </a:cubicBezTo>
                  <a:cubicBezTo>
                    <a:pt x="3482" y="1634"/>
                    <a:pt x="3438" y="1641"/>
                    <a:pt x="3393" y="1649"/>
                  </a:cubicBezTo>
                  <a:cubicBezTo>
                    <a:pt x="3393" y="1664"/>
                    <a:pt x="3393" y="1678"/>
                    <a:pt x="3393" y="1686"/>
                  </a:cubicBezTo>
                  <a:cubicBezTo>
                    <a:pt x="3393" y="1678"/>
                    <a:pt x="3393" y="1664"/>
                    <a:pt x="3393" y="1649"/>
                  </a:cubicBezTo>
                  <a:lnTo>
                    <a:pt x="3386" y="1649"/>
                  </a:lnTo>
                  <a:cubicBezTo>
                    <a:pt x="3356" y="1656"/>
                    <a:pt x="3334" y="1619"/>
                    <a:pt x="3304" y="1626"/>
                  </a:cubicBezTo>
                  <a:cubicBezTo>
                    <a:pt x="3230" y="1634"/>
                    <a:pt x="3178" y="1716"/>
                    <a:pt x="3178" y="1597"/>
                  </a:cubicBezTo>
                  <a:cubicBezTo>
                    <a:pt x="3178" y="1559"/>
                    <a:pt x="3185" y="1515"/>
                    <a:pt x="3156" y="1485"/>
                  </a:cubicBezTo>
                  <a:cubicBezTo>
                    <a:pt x="3126" y="1448"/>
                    <a:pt x="3171" y="1419"/>
                    <a:pt x="3148" y="1396"/>
                  </a:cubicBezTo>
                  <a:cubicBezTo>
                    <a:pt x="3148" y="1396"/>
                    <a:pt x="3148" y="1396"/>
                    <a:pt x="3148" y="1389"/>
                  </a:cubicBezTo>
                  <a:cubicBezTo>
                    <a:pt x="3126" y="1389"/>
                    <a:pt x="3126" y="1411"/>
                    <a:pt x="3096" y="1404"/>
                  </a:cubicBezTo>
                  <a:cubicBezTo>
                    <a:pt x="3096" y="1389"/>
                    <a:pt x="3096" y="1374"/>
                    <a:pt x="3096" y="1359"/>
                  </a:cubicBezTo>
                  <a:cubicBezTo>
                    <a:pt x="3059" y="1351"/>
                    <a:pt x="3029" y="1396"/>
                    <a:pt x="2992" y="1381"/>
                  </a:cubicBezTo>
                  <a:cubicBezTo>
                    <a:pt x="2985" y="1344"/>
                    <a:pt x="3022" y="1329"/>
                    <a:pt x="3007" y="1292"/>
                  </a:cubicBezTo>
                  <a:cubicBezTo>
                    <a:pt x="2992" y="1255"/>
                    <a:pt x="2985" y="1211"/>
                    <a:pt x="2962" y="1173"/>
                  </a:cubicBezTo>
                  <a:cubicBezTo>
                    <a:pt x="2940" y="1144"/>
                    <a:pt x="2851" y="980"/>
                    <a:pt x="2799" y="1032"/>
                  </a:cubicBezTo>
                  <a:cubicBezTo>
                    <a:pt x="2777" y="1054"/>
                    <a:pt x="2732" y="1040"/>
                    <a:pt x="2717" y="1017"/>
                  </a:cubicBezTo>
                  <a:cubicBezTo>
                    <a:pt x="2703" y="1010"/>
                    <a:pt x="2695" y="988"/>
                    <a:pt x="2680" y="980"/>
                  </a:cubicBezTo>
                  <a:cubicBezTo>
                    <a:pt x="2673" y="973"/>
                    <a:pt x="2665" y="973"/>
                    <a:pt x="2658" y="973"/>
                  </a:cubicBezTo>
                  <a:cubicBezTo>
                    <a:pt x="2658" y="988"/>
                    <a:pt x="2651" y="1010"/>
                    <a:pt x="2658" y="1017"/>
                  </a:cubicBezTo>
                  <a:cubicBezTo>
                    <a:pt x="2599" y="1047"/>
                    <a:pt x="2643" y="988"/>
                    <a:pt x="2651" y="973"/>
                  </a:cubicBezTo>
                  <a:cubicBezTo>
                    <a:pt x="2643" y="973"/>
                    <a:pt x="2636" y="973"/>
                    <a:pt x="2621" y="973"/>
                  </a:cubicBezTo>
                  <a:cubicBezTo>
                    <a:pt x="2576" y="958"/>
                    <a:pt x="2524" y="951"/>
                    <a:pt x="2487" y="914"/>
                  </a:cubicBezTo>
                  <a:cubicBezTo>
                    <a:pt x="2472" y="906"/>
                    <a:pt x="2428" y="861"/>
                    <a:pt x="2472" y="861"/>
                  </a:cubicBezTo>
                  <a:cubicBezTo>
                    <a:pt x="2480" y="832"/>
                    <a:pt x="2465" y="735"/>
                    <a:pt x="2435" y="720"/>
                  </a:cubicBezTo>
                  <a:cubicBezTo>
                    <a:pt x="2383" y="698"/>
                    <a:pt x="2406" y="661"/>
                    <a:pt x="2443" y="631"/>
                  </a:cubicBezTo>
                  <a:cubicBezTo>
                    <a:pt x="2472" y="594"/>
                    <a:pt x="2458" y="542"/>
                    <a:pt x="2472" y="498"/>
                  </a:cubicBezTo>
                  <a:cubicBezTo>
                    <a:pt x="2480" y="475"/>
                    <a:pt x="2487" y="460"/>
                    <a:pt x="2487" y="431"/>
                  </a:cubicBezTo>
                  <a:cubicBezTo>
                    <a:pt x="2487" y="409"/>
                    <a:pt x="2465" y="401"/>
                    <a:pt x="2465" y="379"/>
                  </a:cubicBezTo>
                  <a:cubicBezTo>
                    <a:pt x="2420" y="371"/>
                    <a:pt x="2376" y="327"/>
                    <a:pt x="2354" y="297"/>
                  </a:cubicBezTo>
                  <a:cubicBezTo>
                    <a:pt x="2339" y="282"/>
                    <a:pt x="2331" y="275"/>
                    <a:pt x="2316" y="282"/>
                  </a:cubicBezTo>
                  <a:cubicBezTo>
                    <a:pt x="2279" y="290"/>
                    <a:pt x="2257" y="275"/>
                    <a:pt x="2220" y="275"/>
                  </a:cubicBezTo>
                  <a:cubicBezTo>
                    <a:pt x="2220" y="297"/>
                    <a:pt x="2212" y="319"/>
                    <a:pt x="2190" y="319"/>
                  </a:cubicBezTo>
                  <a:cubicBezTo>
                    <a:pt x="2190" y="304"/>
                    <a:pt x="2175" y="282"/>
                    <a:pt x="2161" y="290"/>
                  </a:cubicBezTo>
                  <a:cubicBezTo>
                    <a:pt x="2146" y="304"/>
                    <a:pt x="2161" y="319"/>
                    <a:pt x="2153" y="334"/>
                  </a:cubicBezTo>
                  <a:cubicBezTo>
                    <a:pt x="2131" y="371"/>
                    <a:pt x="2086" y="319"/>
                    <a:pt x="2094" y="290"/>
                  </a:cubicBezTo>
                  <a:cubicBezTo>
                    <a:pt x="2086" y="290"/>
                    <a:pt x="2071" y="290"/>
                    <a:pt x="2064" y="290"/>
                  </a:cubicBezTo>
                  <a:cubicBezTo>
                    <a:pt x="2064" y="282"/>
                    <a:pt x="2064" y="267"/>
                    <a:pt x="2064" y="260"/>
                  </a:cubicBezTo>
                  <a:cubicBezTo>
                    <a:pt x="2042" y="260"/>
                    <a:pt x="2012" y="267"/>
                    <a:pt x="1997" y="252"/>
                  </a:cubicBezTo>
                  <a:cubicBezTo>
                    <a:pt x="1990" y="252"/>
                    <a:pt x="1990" y="230"/>
                    <a:pt x="1982" y="223"/>
                  </a:cubicBezTo>
                  <a:cubicBezTo>
                    <a:pt x="1975" y="223"/>
                    <a:pt x="1967" y="223"/>
                    <a:pt x="1960" y="223"/>
                  </a:cubicBezTo>
                  <a:cubicBezTo>
                    <a:pt x="1960" y="245"/>
                    <a:pt x="1960" y="267"/>
                    <a:pt x="1960" y="282"/>
                  </a:cubicBezTo>
                  <a:cubicBezTo>
                    <a:pt x="1930" y="297"/>
                    <a:pt x="1945" y="327"/>
                    <a:pt x="1960" y="342"/>
                  </a:cubicBezTo>
                  <a:cubicBezTo>
                    <a:pt x="1915" y="349"/>
                    <a:pt x="1908" y="297"/>
                    <a:pt x="1871" y="297"/>
                  </a:cubicBezTo>
                  <a:cubicBezTo>
                    <a:pt x="1864" y="304"/>
                    <a:pt x="1864" y="304"/>
                    <a:pt x="1864" y="312"/>
                  </a:cubicBezTo>
                  <a:cubicBezTo>
                    <a:pt x="1826" y="304"/>
                    <a:pt x="1782" y="312"/>
                    <a:pt x="1745" y="304"/>
                  </a:cubicBezTo>
                  <a:cubicBezTo>
                    <a:pt x="1745" y="282"/>
                    <a:pt x="1745" y="252"/>
                    <a:pt x="1767" y="238"/>
                  </a:cubicBezTo>
                  <a:cubicBezTo>
                    <a:pt x="1782" y="230"/>
                    <a:pt x="1797" y="223"/>
                    <a:pt x="1789" y="201"/>
                  </a:cubicBezTo>
                  <a:cubicBezTo>
                    <a:pt x="1759" y="193"/>
                    <a:pt x="1722" y="208"/>
                    <a:pt x="1693" y="201"/>
                  </a:cubicBezTo>
                  <a:cubicBezTo>
                    <a:pt x="1693" y="171"/>
                    <a:pt x="1693" y="134"/>
                    <a:pt x="1693" y="97"/>
                  </a:cubicBezTo>
                  <a:cubicBezTo>
                    <a:pt x="1656" y="97"/>
                    <a:pt x="1618" y="97"/>
                    <a:pt x="1581" y="82"/>
                  </a:cubicBezTo>
                  <a:cubicBezTo>
                    <a:pt x="1537" y="67"/>
                    <a:pt x="1492" y="97"/>
                    <a:pt x="1448" y="89"/>
                  </a:cubicBezTo>
                  <a:cubicBezTo>
                    <a:pt x="1448" y="52"/>
                    <a:pt x="1351" y="22"/>
                    <a:pt x="1336" y="0"/>
                  </a:cubicBezTo>
                  <a:cubicBezTo>
                    <a:pt x="1329" y="7"/>
                    <a:pt x="1314" y="22"/>
                    <a:pt x="1307" y="22"/>
                  </a:cubicBezTo>
                  <a:cubicBezTo>
                    <a:pt x="1307" y="59"/>
                    <a:pt x="1373" y="82"/>
                    <a:pt x="1336" y="126"/>
                  </a:cubicBezTo>
                  <a:cubicBezTo>
                    <a:pt x="1329" y="141"/>
                    <a:pt x="1307" y="134"/>
                    <a:pt x="1299" y="149"/>
                  </a:cubicBezTo>
                  <a:cubicBezTo>
                    <a:pt x="1284" y="171"/>
                    <a:pt x="1314" y="163"/>
                    <a:pt x="1314" y="186"/>
                  </a:cubicBezTo>
                  <a:cubicBezTo>
                    <a:pt x="1314" y="215"/>
                    <a:pt x="1314" y="297"/>
                    <a:pt x="1292" y="319"/>
                  </a:cubicBezTo>
                  <a:cubicBezTo>
                    <a:pt x="1247" y="371"/>
                    <a:pt x="1210" y="364"/>
                    <a:pt x="1151" y="371"/>
                  </a:cubicBezTo>
                  <a:cubicBezTo>
                    <a:pt x="1151" y="386"/>
                    <a:pt x="1158" y="386"/>
                    <a:pt x="1173" y="394"/>
                  </a:cubicBezTo>
                  <a:cubicBezTo>
                    <a:pt x="1195" y="409"/>
                    <a:pt x="1195" y="438"/>
                    <a:pt x="1210" y="453"/>
                  </a:cubicBezTo>
                  <a:cubicBezTo>
                    <a:pt x="1210" y="453"/>
                    <a:pt x="1202" y="460"/>
                    <a:pt x="1195" y="468"/>
                  </a:cubicBezTo>
                  <a:cubicBezTo>
                    <a:pt x="1165" y="468"/>
                    <a:pt x="1121" y="460"/>
                    <a:pt x="1099" y="490"/>
                  </a:cubicBezTo>
                  <a:cubicBezTo>
                    <a:pt x="1121" y="446"/>
                    <a:pt x="1062" y="438"/>
                    <a:pt x="1069" y="401"/>
                  </a:cubicBezTo>
                  <a:cubicBezTo>
                    <a:pt x="1054" y="394"/>
                    <a:pt x="1039" y="394"/>
                    <a:pt x="1024" y="401"/>
                  </a:cubicBezTo>
                  <a:cubicBezTo>
                    <a:pt x="1032" y="438"/>
                    <a:pt x="1002" y="446"/>
                    <a:pt x="987" y="468"/>
                  </a:cubicBezTo>
                  <a:cubicBezTo>
                    <a:pt x="965" y="505"/>
                    <a:pt x="995" y="549"/>
                    <a:pt x="950" y="564"/>
                  </a:cubicBezTo>
                  <a:cubicBezTo>
                    <a:pt x="853" y="594"/>
                    <a:pt x="987" y="661"/>
                    <a:pt x="980" y="713"/>
                  </a:cubicBezTo>
                  <a:lnTo>
                    <a:pt x="1010" y="713"/>
                  </a:lnTo>
                  <a:cubicBezTo>
                    <a:pt x="1017" y="750"/>
                    <a:pt x="1002" y="757"/>
                    <a:pt x="972" y="772"/>
                  </a:cubicBezTo>
                  <a:cubicBezTo>
                    <a:pt x="935" y="787"/>
                    <a:pt x="905" y="824"/>
                    <a:pt x="883" y="869"/>
                  </a:cubicBezTo>
                  <a:cubicBezTo>
                    <a:pt x="876" y="876"/>
                    <a:pt x="868" y="951"/>
                    <a:pt x="853" y="951"/>
                  </a:cubicBezTo>
                  <a:cubicBezTo>
                    <a:pt x="831" y="958"/>
                    <a:pt x="794" y="936"/>
                    <a:pt x="772" y="951"/>
                  </a:cubicBezTo>
                  <a:cubicBezTo>
                    <a:pt x="779" y="973"/>
                    <a:pt x="765" y="980"/>
                    <a:pt x="742" y="980"/>
                  </a:cubicBezTo>
                  <a:cubicBezTo>
                    <a:pt x="750" y="995"/>
                    <a:pt x="750" y="1010"/>
                    <a:pt x="727" y="1017"/>
                  </a:cubicBezTo>
                  <a:cubicBezTo>
                    <a:pt x="727" y="1047"/>
                    <a:pt x="742" y="1047"/>
                    <a:pt x="750" y="1069"/>
                  </a:cubicBezTo>
                  <a:cubicBezTo>
                    <a:pt x="765" y="1106"/>
                    <a:pt x="742" y="1136"/>
                    <a:pt x="735" y="1166"/>
                  </a:cubicBezTo>
                  <a:cubicBezTo>
                    <a:pt x="727" y="1173"/>
                    <a:pt x="727" y="1181"/>
                    <a:pt x="727" y="1196"/>
                  </a:cubicBezTo>
                  <a:cubicBezTo>
                    <a:pt x="757" y="1188"/>
                    <a:pt x="824" y="1203"/>
                    <a:pt x="824" y="1203"/>
                  </a:cubicBezTo>
                  <a:cubicBezTo>
                    <a:pt x="824" y="1211"/>
                    <a:pt x="831" y="1255"/>
                    <a:pt x="831" y="1255"/>
                  </a:cubicBezTo>
                  <a:cubicBezTo>
                    <a:pt x="824" y="1255"/>
                    <a:pt x="816" y="1255"/>
                    <a:pt x="809" y="1255"/>
                  </a:cubicBezTo>
                  <a:cubicBezTo>
                    <a:pt x="809" y="1270"/>
                    <a:pt x="802" y="1322"/>
                    <a:pt x="824" y="1322"/>
                  </a:cubicBezTo>
                  <a:cubicBezTo>
                    <a:pt x="824" y="1337"/>
                    <a:pt x="824" y="1359"/>
                    <a:pt x="816" y="1374"/>
                  </a:cubicBezTo>
                  <a:cubicBezTo>
                    <a:pt x="757" y="1374"/>
                    <a:pt x="816" y="1463"/>
                    <a:pt x="809" y="1500"/>
                  </a:cubicBezTo>
                  <a:cubicBezTo>
                    <a:pt x="802" y="1530"/>
                    <a:pt x="742" y="1582"/>
                    <a:pt x="712" y="1574"/>
                  </a:cubicBezTo>
                  <a:cubicBezTo>
                    <a:pt x="712" y="1597"/>
                    <a:pt x="712" y="1619"/>
                    <a:pt x="712" y="1634"/>
                  </a:cubicBezTo>
                  <a:cubicBezTo>
                    <a:pt x="668" y="1634"/>
                    <a:pt x="668" y="1649"/>
                    <a:pt x="660" y="1693"/>
                  </a:cubicBezTo>
                  <a:cubicBezTo>
                    <a:pt x="631" y="1693"/>
                    <a:pt x="601" y="1693"/>
                    <a:pt x="608" y="1730"/>
                  </a:cubicBezTo>
                  <a:cubicBezTo>
                    <a:pt x="638" y="1738"/>
                    <a:pt x="646" y="1760"/>
                    <a:pt x="675" y="1760"/>
                  </a:cubicBezTo>
                  <a:cubicBezTo>
                    <a:pt x="697" y="1767"/>
                    <a:pt x="720" y="1760"/>
                    <a:pt x="742" y="1760"/>
                  </a:cubicBezTo>
                  <a:cubicBezTo>
                    <a:pt x="765" y="1767"/>
                    <a:pt x="831" y="1767"/>
                    <a:pt x="816" y="1805"/>
                  </a:cubicBezTo>
                  <a:cubicBezTo>
                    <a:pt x="742" y="1812"/>
                    <a:pt x="631" y="1894"/>
                    <a:pt x="616" y="1975"/>
                  </a:cubicBezTo>
                  <a:cubicBezTo>
                    <a:pt x="586" y="1968"/>
                    <a:pt x="542" y="2013"/>
                    <a:pt x="586" y="2042"/>
                  </a:cubicBezTo>
                  <a:cubicBezTo>
                    <a:pt x="616" y="2057"/>
                    <a:pt x="646" y="2042"/>
                    <a:pt x="631" y="2094"/>
                  </a:cubicBezTo>
                  <a:cubicBezTo>
                    <a:pt x="623" y="2139"/>
                    <a:pt x="623" y="2176"/>
                    <a:pt x="594" y="2221"/>
                  </a:cubicBezTo>
                  <a:cubicBezTo>
                    <a:pt x="571" y="2258"/>
                    <a:pt x="616" y="2280"/>
                    <a:pt x="608" y="2317"/>
                  </a:cubicBezTo>
                  <a:cubicBezTo>
                    <a:pt x="594" y="2317"/>
                    <a:pt x="586" y="2317"/>
                    <a:pt x="571" y="2317"/>
                  </a:cubicBezTo>
                  <a:cubicBezTo>
                    <a:pt x="564" y="2339"/>
                    <a:pt x="586" y="2369"/>
                    <a:pt x="571" y="2399"/>
                  </a:cubicBezTo>
                  <a:cubicBezTo>
                    <a:pt x="594" y="2399"/>
                    <a:pt x="601" y="2413"/>
                    <a:pt x="601" y="2428"/>
                  </a:cubicBezTo>
                  <a:cubicBezTo>
                    <a:pt x="586" y="2436"/>
                    <a:pt x="586" y="2451"/>
                    <a:pt x="586" y="2466"/>
                  </a:cubicBezTo>
                  <a:cubicBezTo>
                    <a:pt x="564" y="2466"/>
                    <a:pt x="542" y="2495"/>
                    <a:pt x="534" y="2518"/>
                  </a:cubicBezTo>
                  <a:cubicBezTo>
                    <a:pt x="497" y="2532"/>
                    <a:pt x="408" y="2495"/>
                    <a:pt x="423" y="2562"/>
                  </a:cubicBezTo>
                  <a:cubicBezTo>
                    <a:pt x="475" y="2562"/>
                    <a:pt x="512" y="2599"/>
                    <a:pt x="564" y="2599"/>
                  </a:cubicBezTo>
                  <a:cubicBezTo>
                    <a:pt x="586" y="2607"/>
                    <a:pt x="646" y="2599"/>
                    <a:pt x="653" y="2629"/>
                  </a:cubicBezTo>
                  <a:cubicBezTo>
                    <a:pt x="668" y="2629"/>
                    <a:pt x="675" y="2629"/>
                    <a:pt x="690" y="2629"/>
                  </a:cubicBezTo>
                  <a:cubicBezTo>
                    <a:pt x="690" y="2681"/>
                    <a:pt x="660" y="2673"/>
                    <a:pt x="623" y="2673"/>
                  </a:cubicBezTo>
                  <a:cubicBezTo>
                    <a:pt x="571" y="2740"/>
                    <a:pt x="608" y="2881"/>
                    <a:pt x="601" y="2956"/>
                  </a:cubicBezTo>
                  <a:cubicBezTo>
                    <a:pt x="497" y="2956"/>
                    <a:pt x="297" y="2859"/>
                    <a:pt x="252" y="3000"/>
                  </a:cubicBezTo>
                  <a:cubicBezTo>
                    <a:pt x="245" y="3037"/>
                    <a:pt x="245" y="3082"/>
                    <a:pt x="282" y="3097"/>
                  </a:cubicBezTo>
                  <a:cubicBezTo>
                    <a:pt x="289" y="3112"/>
                    <a:pt x="289" y="3126"/>
                    <a:pt x="289" y="3141"/>
                  </a:cubicBezTo>
                  <a:cubicBezTo>
                    <a:pt x="237" y="3141"/>
                    <a:pt x="237" y="3163"/>
                    <a:pt x="230" y="3208"/>
                  </a:cubicBezTo>
                  <a:cubicBezTo>
                    <a:pt x="230" y="3245"/>
                    <a:pt x="170" y="3268"/>
                    <a:pt x="200" y="3290"/>
                  </a:cubicBezTo>
                  <a:cubicBezTo>
                    <a:pt x="222" y="3320"/>
                    <a:pt x="282" y="3349"/>
                    <a:pt x="282" y="3394"/>
                  </a:cubicBezTo>
                  <a:cubicBezTo>
                    <a:pt x="282" y="3416"/>
                    <a:pt x="274" y="3453"/>
                    <a:pt x="289" y="3468"/>
                  </a:cubicBezTo>
                  <a:cubicBezTo>
                    <a:pt x="289" y="3475"/>
                    <a:pt x="311" y="3475"/>
                    <a:pt x="311" y="3483"/>
                  </a:cubicBezTo>
                  <a:cubicBezTo>
                    <a:pt x="326" y="3527"/>
                    <a:pt x="289" y="3535"/>
                    <a:pt x="267" y="3565"/>
                  </a:cubicBezTo>
                  <a:cubicBezTo>
                    <a:pt x="245" y="3602"/>
                    <a:pt x="230" y="3579"/>
                    <a:pt x="193" y="3572"/>
                  </a:cubicBezTo>
                  <a:cubicBezTo>
                    <a:pt x="170" y="3565"/>
                    <a:pt x="141" y="3579"/>
                    <a:pt x="111" y="3579"/>
                  </a:cubicBezTo>
                  <a:cubicBezTo>
                    <a:pt x="74" y="3587"/>
                    <a:pt x="59" y="3535"/>
                    <a:pt x="37" y="3513"/>
                  </a:cubicBezTo>
                  <a:cubicBezTo>
                    <a:pt x="29" y="3527"/>
                    <a:pt x="29" y="3550"/>
                    <a:pt x="14" y="3550"/>
                  </a:cubicBezTo>
                  <a:cubicBezTo>
                    <a:pt x="7" y="3594"/>
                    <a:pt x="14" y="3609"/>
                    <a:pt x="66" y="3609"/>
                  </a:cubicBezTo>
                  <a:cubicBezTo>
                    <a:pt x="59" y="3661"/>
                    <a:pt x="52" y="3706"/>
                    <a:pt x="44" y="3750"/>
                  </a:cubicBezTo>
                  <a:cubicBezTo>
                    <a:pt x="37" y="3750"/>
                    <a:pt x="29" y="3758"/>
                    <a:pt x="22" y="3758"/>
                  </a:cubicBezTo>
                  <a:cubicBezTo>
                    <a:pt x="22" y="3758"/>
                    <a:pt x="7" y="3832"/>
                    <a:pt x="0" y="3839"/>
                  </a:cubicBezTo>
                  <a:cubicBezTo>
                    <a:pt x="0" y="3862"/>
                    <a:pt x="0" y="3891"/>
                    <a:pt x="14" y="3906"/>
                  </a:cubicBezTo>
                  <a:cubicBezTo>
                    <a:pt x="29" y="3921"/>
                    <a:pt x="44" y="3921"/>
                    <a:pt x="37" y="3943"/>
                  </a:cubicBezTo>
                  <a:cubicBezTo>
                    <a:pt x="66" y="3951"/>
                    <a:pt x="74" y="3980"/>
                    <a:pt x="103" y="3980"/>
                  </a:cubicBezTo>
                  <a:cubicBezTo>
                    <a:pt x="118" y="3973"/>
                    <a:pt x="148" y="3965"/>
                    <a:pt x="141" y="3995"/>
                  </a:cubicBezTo>
                  <a:cubicBezTo>
                    <a:pt x="118" y="3995"/>
                    <a:pt x="103" y="4003"/>
                    <a:pt x="103" y="4025"/>
                  </a:cubicBezTo>
                  <a:cubicBezTo>
                    <a:pt x="96" y="4032"/>
                    <a:pt x="96" y="4025"/>
                    <a:pt x="89" y="4040"/>
                  </a:cubicBezTo>
                  <a:lnTo>
                    <a:pt x="81" y="4040"/>
                  </a:lnTo>
                  <a:cubicBezTo>
                    <a:pt x="81" y="4055"/>
                    <a:pt x="81" y="4077"/>
                    <a:pt x="111" y="4077"/>
                  </a:cubicBezTo>
                  <a:cubicBezTo>
                    <a:pt x="111" y="4099"/>
                    <a:pt x="96" y="4144"/>
                    <a:pt x="133" y="4144"/>
                  </a:cubicBezTo>
                  <a:cubicBezTo>
                    <a:pt x="155" y="4151"/>
                    <a:pt x="193" y="4136"/>
                    <a:pt x="200" y="4159"/>
                  </a:cubicBezTo>
                  <a:cubicBezTo>
                    <a:pt x="215" y="4159"/>
                    <a:pt x="222" y="4159"/>
                    <a:pt x="237" y="4159"/>
                  </a:cubicBezTo>
                  <a:cubicBezTo>
                    <a:pt x="245" y="4122"/>
                    <a:pt x="245" y="4084"/>
                    <a:pt x="297" y="4099"/>
                  </a:cubicBezTo>
                  <a:cubicBezTo>
                    <a:pt x="319" y="4099"/>
                    <a:pt x="356" y="4114"/>
                    <a:pt x="363" y="4084"/>
                  </a:cubicBezTo>
                  <a:cubicBezTo>
                    <a:pt x="371" y="4084"/>
                    <a:pt x="371" y="4084"/>
                    <a:pt x="371" y="4084"/>
                  </a:cubicBezTo>
                  <a:cubicBezTo>
                    <a:pt x="371" y="4099"/>
                    <a:pt x="378" y="4122"/>
                    <a:pt x="378" y="4144"/>
                  </a:cubicBezTo>
                  <a:cubicBezTo>
                    <a:pt x="400" y="4144"/>
                    <a:pt x="438" y="4188"/>
                    <a:pt x="445" y="4173"/>
                  </a:cubicBezTo>
                  <a:cubicBezTo>
                    <a:pt x="445" y="4166"/>
                    <a:pt x="430" y="4107"/>
                    <a:pt x="430" y="4092"/>
                  </a:cubicBezTo>
                  <a:cubicBezTo>
                    <a:pt x="445" y="4107"/>
                    <a:pt x="460" y="4092"/>
                    <a:pt x="467" y="4122"/>
                  </a:cubicBezTo>
                  <a:cubicBezTo>
                    <a:pt x="467" y="4136"/>
                    <a:pt x="475" y="4144"/>
                    <a:pt x="475" y="4151"/>
                  </a:cubicBezTo>
                  <a:cubicBezTo>
                    <a:pt x="482" y="4173"/>
                    <a:pt x="497" y="4196"/>
                    <a:pt x="519" y="4196"/>
                  </a:cubicBezTo>
                  <a:cubicBezTo>
                    <a:pt x="534" y="4248"/>
                    <a:pt x="445" y="4211"/>
                    <a:pt x="423" y="4233"/>
                  </a:cubicBezTo>
                  <a:cubicBezTo>
                    <a:pt x="393" y="4262"/>
                    <a:pt x="400" y="4330"/>
                    <a:pt x="445" y="4344"/>
                  </a:cubicBezTo>
                  <a:cubicBezTo>
                    <a:pt x="505" y="4359"/>
                    <a:pt x="430" y="4448"/>
                    <a:pt x="408" y="4381"/>
                  </a:cubicBezTo>
                  <a:cubicBezTo>
                    <a:pt x="378" y="4330"/>
                    <a:pt x="341" y="4315"/>
                    <a:pt x="282" y="4322"/>
                  </a:cubicBezTo>
                  <a:cubicBezTo>
                    <a:pt x="282" y="4337"/>
                    <a:pt x="267" y="4344"/>
                    <a:pt x="252" y="4344"/>
                  </a:cubicBezTo>
                  <a:cubicBezTo>
                    <a:pt x="252" y="4277"/>
                    <a:pt x="193" y="4307"/>
                    <a:pt x="178" y="4262"/>
                  </a:cubicBezTo>
                  <a:cubicBezTo>
                    <a:pt x="163" y="4211"/>
                    <a:pt x="126" y="4181"/>
                    <a:pt x="74" y="4181"/>
                  </a:cubicBezTo>
                  <a:cubicBezTo>
                    <a:pt x="66" y="4188"/>
                    <a:pt x="66" y="4196"/>
                    <a:pt x="66" y="4211"/>
                  </a:cubicBezTo>
                  <a:cubicBezTo>
                    <a:pt x="89" y="4211"/>
                    <a:pt x="111" y="4233"/>
                    <a:pt x="133" y="4233"/>
                  </a:cubicBezTo>
                  <a:cubicBezTo>
                    <a:pt x="133" y="4255"/>
                    <a:pt x="111" y="4285"/>
                    <a:pt x="133" y="4300"/>
                  </a:cubicBezTo>
                  <a:cubicBezTo>
                    <a:pt x="141" y="4307"/>
                    <a:pt x="155" y="4307"/>
                    <a:pt x="170" y="4322"/>
                  </a:cubicBezTo>
                  <a:cubicBezTo>
                    <a:pt x="200" y="4352"/>
                    <a:pt x="200" y="4404"/>
                    <a:pt x="148" y="4404"/>
                  </a:cubicBezTo>
                  <a:cubicBezTo>
                    <a:pt x="141" y="4426"/>
                    <a:pt x="126" y="4456"/>
                    <a:pt x="133" y="4478"/>
                  </a:cubicBezTo>
                  <a:cubicBezTo>
                    <a:pt x="163" y="4485"/>
                    <a:pt x="200" y="4493"/>
                    <a:pt x="230" y="4485"/>
                  </a:cubicBezTo>
                  <a:cubicBezTo>
                    <a:pt x="252" y="4485"/>
                    <a:pt x="237" y="4396"/>
                    <a:pt x="237" y="4381"/>
                  </a:cubicBezTo>
                  <a:cubicBezTo>
                    <a:pt x="274" y="4374"/>
                    <a:pt x="282" y="4404"/>
                    <a:pt x="304" y="4419"/>
                  </a:cubicBezTo>
                  <a:cubicBezTo>
                    <a:pt x="334" y="4441"/>
                    <a:pt x="400" y="4441"/>
                    <a:pt x="438" y="4441"/>
                  </a:cubicBezTo>
                  <a:cubicBezTo>
                    <a:pt x="438" y="4478"/>
                    <a:pt x="430" y="4522"/>
                    <a:pt x="475" y="4522"/>
                  </a:cubicBezTo>
                  <a:cubicBezTo>
                    <a:pt x="467" y="4530"/>
                    <a:pt x="475" y="4545"/>
                    <a:pt x="475" y="4545"/>
                  </a:cubicBezTo>
                  <a:cubicBezTo>
                    <a:pt x="490" y="4545"/>
                    <a:pt x="490" y="4522"/>
                    <a:pt x="490" y="4515"/>
                  </a:cubicBezTo>
                  <a:cubicBezTo>
                    <a:pt x="527" y="4515"/>
                    <a:pt x="571" y="4515"/>
                    <a:pt x="608" y="4515"/>
                  </a:cubicBezTo>
                  <a:cubicBezTo>
                    <a:pt x="608" y="4508"/>
                    <a:pt x="608" y="4508"/>
                    <a:pt x="608" y="4500"/>
                  </a:cubicBezTo>
                  <a:cubicBezTo>
                    <a:pt x="631" y="4500"/>
                    <a:pt x="660" y="4500"/>
                    <a:pt x="675" y="4485"/>
                  </a:cubicBezTo>
                  <a:cubicBezTo>
                    <a:pt x="690" y="4463"/>
                    <a:pt x="705" y="4448"/>
                    <a:pt x="727" y="4441"/>
                  </a:cubicBezTo>
                  <a:cubicBezTo>
                    <a:pt x="727" y="4426"/>
                    <a:pt x="735" y="4411"/>
                    <a:pt x="720" y="4396"/>
                  </a:cubicBezTo>
                  <a:cubicBezTo>
                    <a:pt x="742" y="4396"/>
                    <a:pt x="802" y="4389"/>
                    <a:pt x="802" y="4419"/>
                  </a:cubicBezTo>
                  <a:cubicBezTo>
                    <a:pt x="809" y="4419"/>
                    <a:pt x="816" y="4419"/>
                    <a:pt x="824" y="4419"/>
                  </a:cubicBezTo>
                  <a:cubicBezTo>
                    <a:pt x="824" y="4411"/>
                    <a:pt x="824" y="4396"/>
                    <a:pt x="824" y="4389"/>
                  </a:cubicBezTo>
                  <a:cubicBezTo>
                    <a:pt x="831" y="4389"/>
                    <a:pt x="846" y="4389"/>
                    <a:pt x="853" y="4389"/>
                  </a:cubicBezTo>
                  <a:cubicBezTo>
                    <a:pt x="853" y="4426"/>
                    <a:pt x="824" y="4441"/>
                    <a:pt x="831" y="4478"/>
                  </a:cubicBezTo>
                  <a:cubicBezTo>
                    <a:pt x="831" y="4478"/>
                    <a:pt x="846" y="4478"/>
                    <a:pt x="853" y="4478"/>
                  </a:cubicBezTo>
                  <a:cubicBezTo>
                    <a:pt x="846" y="4448"/>
                    <a:pt x="905" y="4448"/>
                    <a:pt x="928" y="4456"/>
                  </a:cubicBezTo>
                  <a:cubicBezTo>
                    <a:pt x="965" y="4470"/>
                    <a:pt x="943" y="4560"/>
                    <a:pt x="935" y="4589"/>
                  </a:cubicBezTo>
                  <a:cubicBezTo>
                    <a:pt x="913" y="4589"/>
                    <a:pt x="891" y="4589"/>
                    <a:pt x="913" y="4612"/>
                  </a:cubicBezTo>
                  <a:cubicBezTo>
                    <a:pt x="935" y="4619"/>
                    <a:pt x="943" y="4604"/>
                    <a:pt x="965" y="4612"/>
                  </a:cubicBezTo>
                  <a:cubicBezTo>
                    <a:pt x="972" y="4619"/>
                    <a:pt x="980" y="4619"/>
                    <a:pt x="987" y="4627"/>
                  </a:cubicBezTo>
                  <a:cubicBezTo>
                    <a:pt x="987" y="4649"/>
                    <a:pt x="980" y="4664"/>
                    <a:pt x="980" y="4693"/>
                  </a:cubicBezTo>
                  <a:cubicBezTo>
                    <a:pt x="987" y="4693"/>
                    <a:pt x="987" y="4693"/>
                    <a:pt x="995" y="4693"/>
                  </a:cubicBezTo>
                  <a:cubicBezTo>
                    <a:pt x="995" y="4656"/>
                    <a:pt x="1091" y="4656"/>
                    <a:pt x="1113" y="4671"/>
                  </a:cubicBezTo>
                  <a:cubicBezTo>
                    <a:pt x="1136" y="4686"/>
                    <a:pt x="1121" y="4738"/>
                    <a:pt x="1121" y="4760"/>
                  </a:cubicBezTo>
                  <a:cubicBezTo>
                    <a:pt x="1113" y="4782"/>
                    <a:pt x="1113" y="4805"/>
                    <a:pt x="1113" y="4827"/>
                  </a:cubicBezTo>
                  <a:cubicBezTo>
                    <a:pt x="1121" y="4842"/>
                    <a:pt x="1128" y="4857"/>
                    <a:pt x="1128" y="4872"/>
                  </a:cubicBezTo>
                  <a:cubicBezTo>
                    <a:pt x="1165" y="4872"/>
                    <a:pt x="1217" y="4857"/>
                    <a:pt x="1255" y="4879"/>
                  </a:cubicBezTo>
                  <a:cubicBezTo>
                    <a:pt x="1277" y="4894"/>
                    <a:pt x="1255" y="4983"/>
                    <a:pt x="1247" y="5005"/>
                  </a:cubicBezTo>
                  <a:cubicBezTo>
                    <a:pt x="1225" y="5005"/>
                    <a:pt x="1232" y="5042"/>
                    <a:pt x="1232" y="5057"/>
                  </a:cubicBezTo>
                  <a:cubicBezTo>
                    <a:pt x="1195" y="5057"/>
                    <a:pt x="1173" y="5057"/>
                    <a:pt x="1165" y="5094"/>
                  </a:cubicBezTo>
                  <a:cubicBezTo>
                    <a:pt x="1165" y="5117"/>
                    <a:pt x="1202" y="5206"/>
                    <a:pt x="1158" y="5206"/>
                  </a:cubicBezTo>
                  <a:cubicBezTo>
                    <a:pt x="1121" y="5206"/>
                    <a:pt x="1113" y="5132"/>
                    <a:pt x="1069" y="5132"/>
                  </a:cubicBezTo>
                  <a:cubicBezTo>
                    <a:pt x="1017" y="5139"/>
                    <a:pt x="1062" y="5183"/>
                    <a:pt x="1099" y="5183"/>
                  </a:cubicBezTo>
                  <a:cubicBezTo>
                    <a:pt x="1106" y="5213"/>
                    <a:pt x="1054" y="5213"/>
                    <a:pt x="1039" y="5221"/>
                  </a:cubicBezTo>
                  <a:cubicBezTo>
                    <a:pt x="1024" y="5228"/>
                    <a:pt x="1017" y="5265"/>
                    <a:pt x="1010" y="5295"/>
                  </a:cubicBezTo>
                  <a:cubicBezTo>
                    <a:pt x="1017" y="5302"/>
                    <a:pt x="1010" y="5324"/>
                    <a:pt x="1017" y="5332"/>
                  </a:cubicBezTo>
                  <a:cubicBezTo>
                    <a:pt x="1024" y="5354"/>
                    <a:pt x="1069" y="5377"/>
                    <a:pt x="1091" y="5384"/>
                  </a:cubicBezTo>
                  <a:cubicBezTo>
                    <a:pt x="1143" y="5414"/>
                    <a:pt x="1180" y="5362"/>
                    <a:pt x="1217" y="5332"/>
                  </a:cubicBezTo>
                  <a:cubicBezTo>
                    <a:pt x="1240" y="5310"/>
                    <a:pt x="1262" y="5235"/>
                    <a:pt x="1299" y="5243"/>
                  </a:cubicBezTo>
                  <a:cubicBezTo>
                    <a:pt x="1307" y="5213"/>
                    <a:pt x="1307" y="5176"/>
                    <a:pt x="1307" y="5146"/>
                  </a:cubicBezTo>
                  <a:cubicBezTo>
                    <a:pt x="1299" y="5146"/>
                    <a:pt x="1299" y="5146"/>
                    <a:pt x="1299" y="5146"/>
                  </a:cubicBezTo>
                  <a:cubicBezTo>
                    <a:pt x="1292" y="5132"/>
                    <a:pt x="1299" y="5109"/>
                    <a:pt x="1299" y="5094"/>
                  </a:cubicBezTo>
                  <a:cubicBezTo>
                    <a:pt x="1373" y="5064"/>
                    <a:pt x="1477" y="5042"/>
                    <a:pt x="1559" y="5057"/>
                  </a:cubicBezTo>
                  <a:cubicBezTo>
                    <a:pt x="1596" y="5072"/>
                    <a:pt x="1604" y="5117"/>
                    <a:pt x="1641" y="5124"/>
                  </a:cubicBezTo>
                  <a:cubicBezTo>
                    <a:pt x="1670" y="5124"/>
                    <a:pt x="1715" y="5124"/>
                    <a:pt x="1715" y="5087"/>
                  </a:cubicBezTo>
                  <a:cubicBezTo>
                    <a:pt x="1722" y="5087"/>
                    <a:pt x="1730" y="5079"/>
                    <a:pt x="1745" y="5087"/>
                  </a:cubicBezTo>
                  <a:cubicBezTo>
                    <a:pt x="1752" y="4990"/>
                    <a:pt x="1789" y="5102"/>
                    <a:pt x="1812" y="5057"/>
                  </a:cubicBezTo>
                  <a:cubicBezTo>
                    <a:pt x="1826" y="5020"/>
                    <a:pt x="1834" y="5013"/>
                    <a:pt x="1864" y="5005"/>
                  </a:cubicBezTo>
                  <a:cubicBezTo>
                    <a:pt x="1901" y="4990"/>
                    <a:pt x="1864" y="4946"/>
                    <a:pt x="1901" y="4924"/>
                  </a:cubicBezTo>
                  <a:cubicBezTo>
                    <a:pt x="1834" y="4901"/>
                    <a:pt x="1893" y="4886"/>
                    <a:pt x="1938" y="4886"/>
                  </a:cubicBezTo>
                  <a:cubicBezTo>
                    <a:pt x="1990" y="4894"/>
                    <a:pt x="1997" y="4909"/>
                    <a:pt x="1997" y="4961"/>
                  </a:cubicBezTo>
                  <a:cubicBezTo>
                    <a:pt x="2012" y="4961"/>
                    <a:pt x="2019" y="4953"/>
                    <a:pt x="2027" y="4953"/>
                  </a:cubicBezTo>
                  <a:cubicBezTo>
                    <a:pt x="2034" y="4879"/>
                    <a:pt x="2101" y="4946"/>
                    <a:pt x="2094" y="4990"/>
                  </a:cubicBezTo>
                  <a:cubicBezTo>
                    <a:pt x="2109" y="4998"/>
                    <a:pt x="2131" y="4990"/>
                    <a:pt x="2153" y="4990"/>
                  </a:cubicBezTo>
                  <a:cubicBezTo>
                    <a:pt x="2153" y="4916"/>
                    <a:pt x="2198" y="4938"/>
                    <a:pt x="2257" y="4931"/>
                  </a:cubicBezTo>
                  <a:cubicBezTo>
                    <a:pt x="2264" y="4909"/>
                    <a:pt x="2235" y="4901"/>
                    <a:pt x="2242" y="4879"/>
                  </a:cubicBezTo>
                  <a:cubicBezTo>
                    <a:pt x="2287" y="4857"/>
                    <a:pt x="2272" y="4790"/>
                    <a:pt x="2331" y="4797"/>
                  </a:cubicBezTo>
                  <a:cubicBezTo>
                    <a:pt x="2331" y="4775"/>
                    <a:pt x="2331" y="4753"/>
                    <a:pt x="2339" y="4730"/>
                  </a:cubicBezTo>
                  <a:cubicBezTo>
                    <a:pt x="2354" y="4723"/>
                    <a:pt x="2369" y="4730"/>
                    <a:pt x="2369" y="4738"/>
                  </a:cubicBezTo>
                  <a:cubicBezTo>
                    <a:pt x="2376" y="4738"/>
                    <a:pt x="2383" y="4738"/>
                    <a:pt x="2383" y="4745"/>
                  </a:cubicBezTo>
                  <a:cubicBezTo>
                    <a:pt x="2383" y="4753"/>
                    <a:pt x="2391" y="4767"/>
                    <a:pt x="2391" y="4775"/>
                  </a:cubicBezTo>
                  <a:cubicBezTo>
                    <a:pt x="2413" y="4782"/>
                    <a:pt x="2428" y="4767"/>
                    <a:pt x="2435" y="4745"/>
                  </a:cubicBezTo>
                  <a:cubicBezTo>
                    <a:pt x="2465" y="4753"/>
                    <a:pt x="2502" y="4767"/>
                    <a:pt x="2547" y="4782"/>
                  </a:cubicBezTo>
                  <a:cubicBezTo>
                    <a:pt x="2547" y="4775"/>
                    <a:pt x="2539" y="4767"/>
                    <a:pt x="2539" y="4760"/>
                  </a:cubicBezTo>
                  <a:cubicBezTo>
                    <a:pt x="2539" y="4738"/>
                    <a:pt x="2532" y="4730"/>
                    <a:pt x="2502" y="4730"/>
                  </a:cubicBezTo>
                  <a:cubicBezTo>
                    <a:pt x="2495" y="4701"/>
                    <a:pt x="2472" y="4686"/>
                    <a:pt x="2465" y="4664"/>
                  </a:cubicBezTo>
                  <a:cubicBezTo>
                    <a:pt x="2517" y="4664"/>
                    <a:pt x="2458" y="4582"/>
                    <a:pt x="2458" y="4574"/>
                  </a:cubicBezTo>
                  <a:cubicBezTo>
                    <a:pt x="2450" y="4537"/>
                    <a:pt x="2458" y="4493"/>
                    <a:pt x="2458" y="4456"/>
                  </a:cubicBezTo>
                  <a:cubicBezTo>
                    <a:pt x="2465" y="4456"/>
                    <a:pt x="2472" y="4456"/>
                    <a:pt x="2480" y="4456"/>
                  </a:cubicBezTo>
                  <a:cubicBezTo>
                    <a:pt x="2480" y="4522"/>
                    <a:pt x="2524" y="4574"/>
                    <a:pt x="2532" y="4634"/>
                  </a:cubicBezTo>
                  <a:cubicBezTo>
                    <a:pt x="2532" y="4656"/>
                    <a:pt x="2547" y="4664"/>
                    <a:pt x="2547" y="4686"/>
                  </a:cubicBezTo>
                  <a:cubicBezTo>
                    <a:pt x="2554" y="4693"/>
                    <a:pt x="2547" y="4716"/>
                    <a:pt x="2554" y="4723"/>
                  </a:cubicBezTo>
                  <a:cubicBezTo>
                    <a:pt x="2554" y="4738"/>
                    <a:pt x="2569" y="4760"/>
                    <a:pt x="2591" y="4753"/>
                  </a:cubicBezTo>
                  <a:cubicBezTo>
                    <a:pt x="2606" y="4738"/>
                    <a:pt x="2576" y="4723"/>
                    <a:pt x="2576" y="4723"/>
                  </a:cubicBezTo>
                  <a:cubicBezTo>
                    <a:pt x="2569" y="4693"/>
                    <a:pt x="2584" y="4664"/>
                    <a:pt x="2576" y="4634"/>
                  </a:cubicBezTo>
                  <a:cubicBezTo>
                    <a:pt x="2569" y="4589"/>
                    <a:pt x="2561" y="4537"/>
                    <a:pt x="2554" y="4485"/>
                  </a:cubicBezTo>
                  <a:cubicBezTo>
                    <a:pt x="2547" y="4448"/>
                    <a:pt x="2554" y="4411"/>
                    <a:pt x="2547" y="4374"/>
                  </a:cubicBezTo>
                  <a:cubicBezTo>
                    <a:pt x="2539" y="4337"/>
                    <a:pt x="2532" y="4300"/>
                    <a:pt x="2524" y="4262"/>
                  </a:cubicBezTo>
                  <a:cubicBezTo>
                    <a:pt x="2524" y="4225"/>
                    <a:pt x="2509" y="4196"/>
                    <a:pt x="2509" y="4166"/>
                  </a:cubicBezTo>
                  <a:cubicBezTo>
                    <a:pt x="2487" y="4159"/>
                    <a:pt x="2472" y="4166"/>
                    <a:pt x="2472" y="4181"/>
                  </a:cubicBezTo>
                  <a:cubicBezTo>
                    <a:pt x="2458" y="4144"/>
                    <a:pt x="2487" y="4151"/>
                    <a:pt x="2509" y="4151"/>
                  </a:cubicBezTo>
                  <a:cubicBezTo>
                    <a:pt x="2517" y="4122"/>
                    <a:pt x="2517" y="4122"/>
                    <a:pt x="2524" y="4099"/>
                  </a:cubicBezTo>
                  <a:cubicBezTo>
                    <a:pt x="2539" y="4084"/>
                    <a:pt x="2554" y="4077"/>
                    <a:pt x="2561" y="4055"/>
                  </a:cubicBezTo>
                  <a:cubicBezTo>
                    <a:pt x="2569" y="4017"/>
                    <a:pt x="2569" y="3973"/>
                    <a:pt x="2569" y="3936"/>
                  </a:cubicBezTo>
                  <a:cubicBezTo>
                    <a:pt x="2569" y="3921"/>
                    <a:pt x="2569" y="3899"/>
                    <a:pt x="2569" y="3884"/>
                  </a:cubicBezTo>
                  <a:cubicBezTo>
                    <a:pt x="2561" y="3839"/>
                    <a:pt x="2539" y="3795"/>
                    <a:pt x="2524" y="3758"/>
                  </a:cubicBezTo>
                  <a:cubicBezTo>
                    <a:pt x="2517" y="3706"/>
                    <a:pt x="2502" y="3646"/>
                    <a:pt x="2495" y="3594"/>
                  </a:cubicBezTo>
                  <a:cubicBezTo>
                    <a:pt x="2487" y="3542"/>
                    <a:pt x="2495" y="3483"/>
                    <a:pt x="2517" y="3438"/>
                  </a:cubicBezTo>
                  <a:cubicBezTo>
                    <a:pt x="2524" y="3423"/>
                    <a:pt x="2532" y="3409"/>
                    <a:pt x="2539" y="3394"/>
                  </a:cubicBezTo>
                  <a:cubicBezTo>
                    <a:pt x="2554" y="3342"/>
                    <a:pt x="2569" y="3260"/>
                    <a:pt x="2614" y="3223"/>
                  </a:cubicBezTo>
                  <a:cubicBezTo>
                    <a:pt x="2658" y="3193"/>
                    <a:pt x="2658" y="3141"/>
                    <a:pt x="2688" y="3097"/>
                  </a:cubicBezTo>
                  <a:cubicBezTo>
                    <a:pt x="2703" y="3074"/>
                    <a:pt x="2725" y="3037"/>
                    <a:pt x="2755" y="3030"/>
                  </a:cubicBezTo>
                  <a:cubicBezTo>
                    <a:pt x="2777" y="3023"/>
                    <a:pt x="2792" y="3030"/>
                    <a:pt x="2814" y="3030"/>
                  </a:cubicBezTo>
                  <a:cubicBezTo>
                    <a:pt x="2836" y="3023"/>
                    <a:pt x="2844" y="3008"/>
                    <a:pt x="2866" y="3000"/>
                  </a:cubicBezTo>
                  <a:cubicBezTo>
                    <a:pt x="2866" y="2993"/>
                    <a:pt x="2866" y="2993"/>
                    <a:pt x="2866" y="2985"/>
                  </a:cubicBezTo>
                  <a:cubicBezTo>
                    <a:pt x="2903" y="2963"/>
                    <a:pt x="2962" y="2970"/>
                    <a:pt x="3007" y="2970"/>
                  </a:cubicBezTo>
                  <a:cubicBezTo>
                    <a:pt x="3007" y="3000"/>
                    <a:pt x="3022" y="3023"/>
                    <a:pt x="3022" y="3045"/>
                  </a:cubicBezTo>
                  <a:cubicBezTo>
                    <a:pt x="3022" y="3067"/>
                    <a:pt x="3007" y="3112"/>
                    <a:pt x="3044" y="3104"/>
                  </a:cubicBezTo>
                  <a:cubicBezTo>
                    <a:pt x="3044" y="3082"/>
                    <a:pt x="3044" y="3060"/>
                    <a:pt x="3066" y="3052"/>
                  </a:cubicBezTo>
                  <a:cubicBezTo>
                    <a:pt x="3066" y="3074"/>
                    <a:pt x="3059" y="3089"/>
                    <a:pt x="3059" y="3104"/>
                  </a:cubicBezTo>
                  <a:cubicBezTo>
                    <a:pt x="3096" y="3112"/>
                    <a:pt x="3096" y="3045"/>
                    <a:pt x="3096" y="3023"/>
                  </a:cubicBezTo>
                  <a:cubicBezTo>
                    <a:pt x="3111" y="3037"/>
                    <a:pt x="3096" y="3074"/>
                    <a:pt x="3133" y="3067"/>
                  </a:cubicBezTo>
                  <a:cubicBezTo>
                    <a:pt x="3133" y="3074"/>
                    <a:pt x="3133" y="3082"/>
                    <a:pt x="3133" y="3082"/>
                  </a:cubicBezTo>
                  <a:cubicBezTo>
                    <a:pt x="3141" y="3082"/>
                    <a:pt x="3148" y="3082"/>
                    <a:pt x="3148" y="3082"/>
                  </a:cubicBezTo>
                  <a:cubicBezTo>
                    <a:pt x="3148" y="3074"/>
                    <a:pt x="3156" y="3060"/>
                    <a:pt x="3148" y="3052"/>
                  </a:cubicBezTo>
                  <a:cubicBezTo>
                    <a:pt x="3156" y="3067"/>
                    <a:pt x="3171" y="3067"/>
                    <a:pt x="3185" y="3067"/>
                  </a:cubicBezTo>
                  <a:cubicBezTo>
                    <a:pt x="3156" y="3060"/>
                    <a:pt x="3163" y="3015"/>
                    <a:pt x="3185" y="3000"/>
                  </a:cubicBezTo>
                  <a:cubicBezTo>
                    <a:pt x="3222" y="2963"/>
                    <a:pt x="3260" y="2956"/>
                    <a:pt x="3282" y="2911"/>
                  </a:cubicBezTo>
                  <a:cubicBezTo>
                    <a:pt x="3289" y="2889"/>
                    <a:pt x="3282" y="2866"/>
                    <a:pt x="3297" y="2852"/>
                  </a:cubicBezTo>
                  <a:cubicBezTo>
                    <a:pt x="3304" y="2837"/>
                    <a:pt x="3326" y="2822"/>
                    <a:pt x="3341" y="2807"/>
                  </a:cubicBezTo>
                  <a:cubicBezTo>
                    <a:pt x="3356" y="2785"/>
                    <a:pt x="3356" y="2785"/>
                    <a:pt x="3363" y="2755"/>
                  </a:cubicBezTo>
                  <a:cubicBezTo>
                    <a:pt x="3363" y="2703"/>
                    <a:pt x="3386" y="2696"/>
                    <a:pt x="3430" y="2688"/>
                  </a:cubicBezTo>
                  <a:cubicBezTo>
                    <a:pt x="3460" y="2688"/>
                    <a:pt x="3497" y="2681"/>
                    <a:pt x="3527" y="2673"/>
                  </a:cubicBezTo>
                  <a:cubicBezTo>
                    <a:pt x="3527" y="2644"/>
                    <a:pt x="3482" y="2644"/>
                    <a:pt x="3460" y="2644"/>
                  </a:cubicBezTo>
                  <a:cubicBezTo>
                    <a:pt x="3430" y="2658"/>
                    <a:pt x="3430" y="2673"/>
                    <a:pt x="3386" y="2673"/>
                  </a:cubicBezTo>
                  <a:cubicBezTo>
                    <a:pt x="3401" y="2636"/>
                    <a:pt x="3490" y="2644"/>
                    <a:pt x="3519" y="2644"/>
                  </a:cubicBezTo>
                  <a:cubicBezTo>
                    <a:pt x="3542" y="2644"/>
                    <a:pt x="3571" y="2644"/>
                    <a:pt x="3594" y="2651"/>
                  </a:cubicBezTo>
                  <a:cubicBezTo>
                    <a:pt x="3623" y="2658"/>
                    <a:pt x="3638" y="2681"/>
                    <a:pt x="3668" y="2688"/>
                  </a:cubicBezTo>
                  <a:cubicBezTo>
                    <a:pt x="3668" y="2688"/>
                    <a:pt x="3668" y="2696"/>
                    <a:pt x="3676" y="2703"/>
                  </a:cubicBezTo>
                  <a:cubicBezTo>
                    <a:pt x="3676" y="2681"/>
                    <a:pt x="3676" y="2666"/>
                    <a:pt x="3676" y="2644"/>
                  </a:cubicBezTo>
                  <a:cubicBezTo>
                    <a:pt x="3698" y="2651"/>
                    <a:pt x="3690" y="2688"/>
                    <a:pt x="3690" y="2703"/>
                  </a:cubicBezTo>
                  <a:cubicBezTo>
                    <a:pt x="3735" y="2718"/>
                    <a:pt x="3779" y="2696"/>
                    <a:pt x="3816" y="2681"/>
                  </a:cubicBezTo>
                  <a:cubicBezTo>
                    <a:pt x="3861" y="2658"/>
                    <a:pt x="3883" y="2636"/>
                    <a:pt x="3921" y="2614"/>
                  </a:cubicBezTo>
                  <a:cubicBezTo>
                    <a:pt x="3958" y="2599"/>
                    <a:pt x="4002" y="2592"/>
                    <a:pt x="4039" y="2569"/>
                  </a:cubicBezTo>
                  <a:cubicBezTo>
                    <a:pt x="4054" y="2562"/>
                    <a:pt x="4062" y="2555"/>
                    <a:pt x="4069" y="2540"/>
                  </a:cubicBezTo>
                  <a:cubicBezTo>
                    <a:pt x="4076" y="2518"/>
                    <a:pt x="4069" y="2495"/>
                    <a:pt x="4091" y="2480"/>
                  </a:cubicBezTo>
                  <a:cubicBezTo>
                    <a:pt x="4091" y="2495"/>
                    <a:pt x="4084" y="2518"/>
                    <a:pt x="4091" y="2532"/>
                  </a:cubicBezTo>
                  <a:cubicBezTo>
                    <a:pt x="4091" y="2532"/>
                    <a:pt x="4099" y="2532"/>
                    <a:pt x="4106" y="2532"/>
                  </a:cubicBezTo>
                  <a:cubicBezTo>
                    <a:pt x="4113" y="2532"/>
                    <a:pt x="4106" y="2451"/>
                    <a:pt x="4106" y="2443"/>
                  </a:cubicBezTo>
                  <a:cubicBezTo>
                    <a:pt x="4113" y="2421"/>
                    <a:pt x="4121" y="2384"/>
                    <a:pt x="4128" y="2361"/>
                  </a:cubicBezTo>
                  <a:cubicBezTo>
                    <a:pt x="4143" y="2339"/>
                    <a:pt x="4158" y="2324"/>
                    <a:pt x="4158" y="2295"/>
                  </a:cubicBezTo>
                  <a:cubicBezTo>
                    <a:pt x="4151" y="2272"/>
                    <a:pt x="4128" y="2243"/>
                    <a:pt x="4106" y="2243"/>
                  </a:cubicBezTo>
                  <a:cubicBezTo>
                    <a:pt x="4106" y="2250"/>
                    <a:pt x="4106" y="2258"/>
                    <a:pt x="4106" y="2265"/>
                  </a:cubicBezTo>
                  <a:cubicBezTo>
                    <a:pt x="4113" y="2272"/>
                    <a:pt x="4113" y="2272"/>
                    <a:pt x="4121" y="2272"/>
                  </a:cubicBezTo>
                  <a:cubicBezTo>
                    <a:pt x="4121" y="2302"/>
                    <a:pt x="4121" y="2339"/>
                    <a:pt x="4106" y="2369"/>
                  </a:cubicBezTo>
                  <a:cubicBezTo>
                    <a:pt x="4039" y="2384"/>
                    <a:pt x="4106" y="2206"/>
                    <a:pt x="4121" y="2191"/>
                  </a:cubicBezTo>
                  <a:cubicBezTo>
                    <a:pt x="4136" y="2161"/>
                    <a:pt x="4173" y="2154"/>
                    <a:pt x="4203" y="2139"/>
                  </a:cubicBezTo>
                  <a:cubicBezTo>
                    <a:pt x="4240" y="2116"/>
                    <a:pt x="4270" y="2087"/>
                    <a:pt x="4307" y="2064"/>
                  </a:cubicBezTo>
                  <a:cubicBezTo>
                    <a:pt x="4335" y="2042"/>
                    <a:pt x="4358" y="2035"/>
                    <a:pt x="4380" y="2005"/>
                  </a:cubicBezTo>
                  <a:cubicBezTo>
                    <a:pt x="4410" y="1961"/>
                    <a:pt x="4439" y="1953"/>
                    <a:pt x="4491" y="1931"/>
                  </a:cubicBezTo>
                  <a:cubicBezTo>
                    <a:pt x="4528" y="1909"/>
                    <a:pt x="4573" y="1886"/>
                    <a:pt x="4617" y="1879"/>
                  </a:cubicBezTo>
                  <a:cubicBezTo>
                    <a:pt x="4647" y="1871"/>
                    <a:pt x="4677" y="1864"/>
                    <a:pt x="4707" y="1849"/>
                  </a:cubicBezTo>
                  <a:cubicBezTo>
                    <a:pt x="4729" y="1834"/>
                    <a:pt x="4736" y="1812"/>
                    <a:pt x="4751" y="1797"/>
                  </a:cubicBezTo>
                  <a:cubicBezTo>
                    <a:pt x="4774" y="1775"/>
                    <a:pt x="4796" y="1775"/>
                    <a:pt x="4811" y="1753"/>
                  </a:cubicBezTo>
                  <a:cubicBezTo>
                    <a:pt x="4818" y="1738"/>
                    <a:pt x="4818" y="1708"/>
                    <a:pt x="4833" y="1686"/>
                  </a:cubicBezTo>
                  <a:cubicBezTo>
                    <a:pt x="4863" y="1649"/>
                    <a:pt x="4900" y="1611"/>
                    <a:pt x="4937" y="1582"/>
                  </a:cubicBezTo>
                  <a:cubicBezTo>
                    <a:pt x="4989" y="1530"/>
                    <a:pt x="5056" y="1508"/>
                    <a:pt x="5122" y="1463"/>
                  </a:cubicBezTo>
                  <a:cubicBezTo>
                    <a:pt x="5145" y="1448"/>
                    <a:pt x="5152" y="1433"/>
                    <a:pt x="5167" y="1426"/>
                  </a:cubicBezTo>
                  <a:cubicBezTo>
                    <a:pt x="5182" y="1411"/>
                    <a:pt x="5204" y="1411"/>
                    <a:pt x="5219" y="1404"/>
                  </a:cubicBezTo>
                  <a:cubicBezTo>
                    <a:pt x="5256" y="1381"/>
                    <a:pt x="5293" y="1374"/>
                    <a:pt x="5323" y="1351"/>
                  </a:cubicBezTo>
                  <a:cubicBezTo>
                    <a:pt x="5338" y="1337"/>
                    <a:pt x="5353" y="1300"/>
                    <a:pt x="5382" y="1292"/>
                  </a:cubicBezTo>
                  <a:cubicBezTo>
                    <a:pt x="5412" y="1285"/>
                    <a:pt x="5397" y="1233"/>
                    <a:pt x="5405" y="1211"/>
                  </a:cubicBezTo>
                  <a:cubicBezTo>
                    <a:pt x="5419" y="1196"/>
                    <a:pt x="5442" y="1188"/>
                    <a:pt x="5457" y="1181"/>
                  </a:cubicBezTo>
                  <a:cubicBezTo>
                    <a:pt x="5486" y="1166"/>
                    <a:pt x="5524" y="1121"/>
                    <a:pt x="5553" y="1121"/>
                  </a:cubicBezTo>
                  <a:cubicBezTo>
                    <a:pt x="5553" y="1106"/>
                    <a:pt x="5568" y="1099"/>
                    <a:pt x="5576" y="1092"/>
                  </a:cubicBezTo>
                  <a:cubicBezTo>
                    <a:pt x="5598" y="1069"/>
                    <a:pt x="5605" y="1040"/>
                    <a:pt x="5627" y="1010"/>
                  </a:cubicBezTo>
                  <a:cubicBezTo>
                    <a:pt x="5642" y="995"/>
                    <a:pt x="5665" y="988"/>
                    <a:pt x="5672" y="973"/>
                  </a:cubicBezTo>
                  <a:cubicBezTo>
                    <a:pt x="5679" y="958"/>
                    <a:pt x="5687" y="943"/>
                    <a:pt x="5694" y="928"/>
                  </a:cubicBezTo>
                  <a:cubicBezTo>
                    <a:pt x="5709" y="899"/>
                    <a:pt x="5739" y="876"/>
                    <a:pt x="5761" y="861"/>
                  </a:cubicBezTo>
                  <a:cubicBezTo>
                    <a:pt x="5784" y="839"/>
                    <a:pt x="5813" y="817"/>
                    <a:pt x="5828" y="795"/>
                  </a:cubicBezTo>
                  <a:cubicBezTo>
                    <a:pt x="5835" y="787"/>
                    <a:pt x="5843" y="772"/>
                    <a:pt x="5843" y="765"/>
                  </a:cubicBezTo>
                  <a:cubicBezTo>
                    <a:pt x="5813" y="750"/>
                    <a:pt x="5791" y="735"/>
                    <a:pt x="5791" y="713"/>
                  </a:cubicBezTo>
                </a:path>
              </a:pathLst>
            </a:custGeom>
            <a:solidFill>
              <a:srgbClr val="EFF1F8"/>
            </a:solidFill>
            <a:ln w="9525" cap="flat">
              <a:solidFill>
                <a:schemeClr val="bg1"/>
              </a:solidFill>
              <a:bevel/>
              <a:headEnd/>
              <a:tailEnd/>
            </a:ln>
            <a:effectLst/>
          </p:spPr>
          <p:txBody>
            <a:bodyPr wrap="none" lIns="45695" tIns="22847" rIns="45695" bIns="22847" anchor="ctr"/>
            <a:lstStyle/>
            <a:p>
              <a:pPr defTabSz="685663">
                <a:defRPr/>
              </a:pPr>
              <a:endParaRPr lang="en-US" sz="675" dirty="0">
                <a:latin typeface="Montserrat" charset="0"/>
              </a:endParaRPr>
            </a:p>
          </p:txBody>
        </p:sp>
        <p:sp>
          <p:nvSpPr>
            <p:cNvPr id="108" name="Freeform 26">
              <a:extLst>
                <a:ext uri="{FF2B5EF4-FFF2-40B4-BE49-F238E27FC236}">
                  <a16:creationId xmlns:a16="http://schemas.microsoft.com/office/drawing/2014/main" id="{7894F60B-D814-8B45-94CA-21DA3E315D86}"/>
                </a:ext>
              </a:extLst>
            </p:cNvPr>
            <p:cNvSpPr>
              <a:spLocks noChangeArrowheads="1"/>
            </p:cNvSpPr>
            <p:nvPr/>
          </p:nvSpPr>
          <p:spPr bwMode="auto">
            <a:xfrm>
              <a:off x="13244896" y="6154717"/>
              <a:ext cx="1140006" cy="1796508"/>
            </a:xfrm>
            <a:custGeom>
              <a:avLst/>
              <a:gdLst>
                <a:gd name="T0" fmla="*/ 2606 w 2637"/>
                <a:gd name="T1" fmla="*/ 595 h 4159"/>
                <a:gd name="T2" fmla="*/ 2636 w 2637"/>
                <a:gd name="T3" fmla="*/ 320 h 4159"/>
                <a:gd name="T4" fmla="*/ 2406 w 2637"/>
                <a:gd name="T5" fmla="*/ 297 h 4159"/>
                <a:gd name="T6" fmla="*/ 2087 w 2637"/>
                <a:gd name="T7" fmla="*/ 238 h 4159"/>
                <a:gd name="T8" fmla="*/ 1923 w 2637"/>
                <a:gd name="T9" fmla="*/ 75 h 4159"/>
                <a:gd name="T10" fmla="*/ 1760 w 2637"/>
                <a:gd name="T11" fmla="*/ 45 h 4159"/>
                <a:gd name="T12" fmla="*/ 1485 w 2637"/>
                <a:gd name="T13" fmla="*/ 82 h 4159"/>
                <a:gd name="T14" fmla="*/ 1381 w 2637"/>
                <a:gd name="T15" fmla="*/ 90 h 4159"/>
                <a:gd name="T16" fmla="*/ 1492 w 2637"/>
                <a:gd name="T17" fmla="*/ 275 h 4159"/>
                <a:gd name="T18" fmla="*/ 1477 w 2637"/>
                <a:gd name="T19" fmla="*/ 461 h 4159"/>
                <a:gd name="T20" fmla="*/ 1455 w 2637"/>
                <a:gd name="T21" fmla="*/ 750 h 4159"/>
                <a:gd name="T22" fmla="*/ 1270 w 2637"/>
                <a:gd name="T23" fmla="*/ 892 h 4159"/>
                <a:gd name="T24" fmla="*/ 1344 w 2637"/>
                <a:gd name="T25" fmla="*/ 1263 h 4159"/>
                <a:gd name="T26" fmla="*/ 1247 w 2637"/>
                <a:gd name="T27" fmla="*/ 1545 h 4159"/>
                <a:gd name="T28" fmla="*/ 1307 w 2637"/>
                <a:gd name="T29" fmla="*/ 1619 h 4159"/>
                <a:gd name="T30" fmla="*/ 1336 w 2637"/>
                <a:gd name="T31" fmla="*/ 1983 h 4159"/>
                <a:gd name="T32" fmla="*/ 1173 w 2637"/>
                <a:gd name="T33" fmla="*/ 2251 h 4159"/>
                <a:gd name="T34" fmla="*/ 1077 w 2637"/>
                <a:gd name="T35" fmla="*/ 2377 h 4159"/>
                <a:gd name="T36" fmla="*/ 958 w 2637"/>
                <a:gd name="T37" fmla="*/ 2429 h 4159"/>
                <a:gd name="T38" fmla="*/ 883 w 2637"/>
                <a:gd name="T39" fmla="*/ 2548 h 4159"/>
                <a:gd name="T40" fmla="*/ 512 w 2637"/>
                <a:gd name="T41" fmla="*/ 2659 h 4159"/>
                <a:gd name="T42" fmla="*/ 223 w 2637"/>
                <a:gd name="T43" fmla="*/ 2741 h 4159"/>
                <a:gd name="T44" fmla="*/ 22 w 2637"/>
                <a:gd name="T45" fmla="*/ 2919 h 4159"/>
                <a:gd name="T46" fmla="*/ 170 w 2637"/>
                <a:gd name="T47" fmla="*/ 3082 h 4159"/>
                <a:gd name="T48" fmla="*/ 378 w 2637"/>
                <a:gd name="T49" fmla="*/ 3164 h 4159"/>
                <a:gd name="T50" fmla="*/ 549 w 2637"/>
                <a:gd name="T51" fmla="*/ 3393 h 4159"/>
                <a:gd name="T52" fmla="*/ 623 w 2637"/>
                <a:gd name="T53" fmla="*/ 3557 h 4159"/>
                <a:gd name="T54" fmla="*/ 616 w 2637"/>
                <a:gd name="T55" fmla="*/ 3720 h 4159"/>
                <a:gd name="T56" fmla="*/ 869 w 2637"/>
                <a:gd name="T57" fmla="*/ 3957 h 4159"/>
                <a:gd name="T58" fmla="*/ 1166 w 2637"/>
                <a:gd name="T59" fmla="*/ 4158 h 4159"/>
                <a:gd name="T60" fmla="*/ 1374 w 2637"/>
                <a:gd name="T61" fmla="*/ 3980 h 4159"/>
                <a:gd name="T62" fmla="*/ 1507 w 2637"/>
                <a:gd name="T63" fmla="*/ 3854 h 4159"/>
                <a:gd name="T64" fmla="*/ 1611 w 2637"/>
                <a:gd name="T65" fmla="*/ 3712 h 4159"/>
                <a:gd name="T66" fmla="*/ 1633 w 2637"/>
                <a:gd name="T67" fmla="*/ 3891 h 4159"/>
                <a:gd name="T68" fmla="*/ 1737 w 2637"/>
                <a:gd name="T69" fmla="*/ 3883 h 4159"/>
                <a:gd name="T70" fmla="*/ 1864 w 2637"/>
                <a:gd name="T71" fmla="*/ 3794 h 4159"/>
                <a:gd name="T72" fmla="*/ 2072 w 2637"/>
                <a:gd name="T73" fmla="*/ 3616 h 4159"/>
                <a:gd name="T74" fmla="*/ 2138 w 2637"/>
                <a:gd name="T75" fmla="*/ 3482 h 4159"/>
                <a:gd name="T76" fmla="*/ 2094 w 2637"/>
                <a:gd name="T77" fmla="*/ 3142 h 4159"/>
                <a:gd name="T78" fmla="*/ 2124 w 2637"/>
                <a:gd name="T79" fmla="*/ 2911 h 4159"/>
                <a:gd name="T80" fmla="*/ 1945 w 2637"/>
                <a:gd name="T81" fmla="*/ 2748 h 4159"/>
                <a:gd name="T82" fmla="*/ 1856 w 2637"/>
                <a:gd name="T83" fmla="*/ 2622 h 4159"/>
                <a:gd name="T84" fmla="*/ 1886 w 2637"/>
                <a:gd name="T85" fmla="*/ 2429 h 4159"/>
                <a:gd name="T86" fmla="*/ 1804 w 2637"/>
                <a:gd name="T87" fmla="*/ 2102 h 4159"/>
                <a:gd name="T88" fmla="*/ 1515 w 2637"/>
                <a:gd name="T89" fmla="*/ 1954 h 4159"/>
                <a:gd name="T90" fmla="*/ 1477 w 2637"/>
                <a:gd name="T91" fmla="*/ 1790 h 4159"/>
                <a:gd name="T92" fmla="*/ 1619 w 2637"/>
                <a:gd name="T93" fmla="*/ 1694 h 4159"/>
                <a:gd name="T94" fmla="*/ 1737 w 2637"/>
                <a:gd name="T95" fmla="*/ 1590 h 4159"/>
                <a:gd name="T96" fmla="*/ 2034 w 2637"/>
                <a:gd name="T97" fmla="*/ 1456 h 4159"/>
                <a:gd name="T98" fmla="*/ 1945 w 2637"/>
                <a:gd name="T99" fmla="*/ 1270 h 4159"/>
                <a:gd name="T100" fmla="*/ 1693 w 2637"/>
                <a:gd name="T101" fmla="*/ 1166 h 4159"/>
                <a:gd name="T102" fmla="*/ 1552 w 2637"/>
                <a:gd name="T103" fmla="*/ 1040 h 4159"/>
                <a:gd name="T104" fmla="*/ 1529 w 2637"/>
                <a:gd name="T105" fmla="*/ 773 h 4159"/>
                <a:gd name="T106" fmla="*/ 1708 w 2637"/>
                <a:gd name="T107" fmla="*/ 572 h 4159"/>
                <a:gd name="T108" fmla="*/ 1641 w 2637"/>
                <a:gd name="T109" fmla="*/ 453 h 4159"/>
                <a:gd name="T110" fmla="*/ 1812 w 2637"/>
                <a:gd name="T111" fmla="*/ 557 h 4159"/>
                <a:gd name="T112" fmla="*/ 1834 w 2637"/>
                <a:gd name="T113" fmla="*/ 721 h 4159"/>
                <a:gd name="T114" fmla="*/ 1930 w 2637"/>
                <a:gd name="T115" fmla="*/ 676 h 4159"/>
                <a:gd name="T116" fmla="*/ 2027 w 2637"/>
                <a:gd name="T117" fmla="*/ 699 h 4159"/>
                <a:gd name="T118" fmla="*/ 2064 w 2637"/>
                <a:gd name="T119" fmla="*/ 550 h 4159"/>
                <a:gd name="T120" fmla="*/ 2190 w 2637"/>
                <a:gd name="T121" fmla="*/ 788 h 4159"/>
                <a:gd name="T122" fmla="*/ 2450 w 2637"/>
                <a:gd name="T123" fmla="*/ 788 h 4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7" h="4159">
                  <a:moveTo>
                    <a:pt x="2524" y="684"/>
                  </a:moveTo>
                  <a:lnTo>
                    <a:pt x="2524" y="684"/>
                  </a:lnTo>
                  <a:cubicBezTo>
                    <a:pt x="2539" y="669"/>
                    <a:pt x="2547" y="661"/>
                    <a:pt x="2562" y="647"/>
                  </a:cubicBezTo>
                  <a:cubicBezTo>
                    <a:pt x="2577" y="624"/>
                    <a:pt x="2591" y="617"/>
                    <a:pt x="2606" y="595"/>
                  </a:cubicBezTo>
                  <a:cubicBezTo>
                    <a:pt x="2621" y="580"/>
                    <a:pt x="2629" y="565"/>
                    <a:pt x="2636" y="550"/>
                  </a:cubicBezTo>
                  <a:cubicBezTo>
                    <a:pt x="2614" y="550"/>
                    <a:pt x="2599" y="535"/>
                    <a:pt x="2599" y="520"/>
                  </a:cubicBezTo>
                  <a:cubicBezTo>
                    <a:pt x="2584" y="483"/>
                    <a:pt x="2599" y="424"/>
                    <a:pt x="2614" y="394"/>
                  </a:cubicBezTo>
                  <a:cubicBezTo>
                    <a:pt x="2621" y="364"/>
                    <a:pt x="2636" y="350"/>
                    <a:pt x="2636" y="320"/>
                  </a:cubicBezTo>
                  <a:cubicBezTo>
                    <a:pt x="2621" y="320"/>
                    <a:pt x="2614" y="327"/>
                    <a:pt x="2599" y="327"/>
                  </a:cubicBezTo>
                  <a:cubicBezTo>
                    <a:pt x="2562" y="335"/>
                    <a:pt x="2524" y="327"/>
                    <a:pt x="2480" y="327"/>
                  </a:cubicBezTo>
                  <a:cubicBezTo>
                    <a:pt x="2443" y="327"/>
                    <a:pt x="2413" y="335"/>
                    <a:pt x="2384" y="350"/>
                  </a:cubicBezTo>
                  <a:cubicBezTo>
                    <a:pt x="2376" y="327"/>
                    <a:pt x="2398" y="312"/>
                    <a:pt x="2406" y="297"/>
                  </a:cubicBezTo>
                  <a:cubicBezTo>
                    <a:pt x="2391" y="290"/>
                    <a:pt x="2361" y="290"/>
                    <a:pt x="2339" y="283"/>
                  </a:cubicBezTo>
                  <a:cubicBezTo>
                    <a:pt x="2324" y="275"/>
                    <a:pt x="2309" y="245"/>
                    <a:pt x="2287" y="238"/>
                  </a:cubicBezTo>
                  <a:cubicBezTo>
                    <a:pt x="2227" y="216"/>
                    <a:pt x="2205" y="275"/>
                    <a:pt x="2153" y="268"/>
                  </a:cubicBezTo>
                  <a:cubicBezTo>
                    <a:pt x="2124" y="268"/>
                    <a:pt x="2101" y="268"/>
                    <a:pt x="2087" y="238"/>
                  </a:cubicBezTo>
                  <a:cubicBezTo>
                    <a:pt x="2072" y="208"/>
                    <a:pt x="2087" y="201"/>
                    <a:pt x="2042" y="194"/>
                  </a:cubicBezTo>
                  <a:cubicBezTo>
                    <a:pt x="2012" y="194"/>
                    <a:pt x="2005" y="201"/>
                    <a:pt x="1982" y="179"/>
                  </a:cubicBezTo>
                  <a:cubicBezTo>
                    <a:pt x="1968" y="164"/>
                    <a:pt x="1953" y="149"/>
                    <a:pt x="1945" y="134"/>
                  </a:cubicBezTo>
                  <a:cubicBezTo>
                    <a:pt x="1930" y="119"/>
                    <a:pt x="1938" y="97"/>
                    <a:pt x="1923" y="75"/>
                  </a:cubicBezTo>
                  <a:cubicBezTo>
                    <a:pt x="1901" y="52"/>
                    <a:pt x="1901" y="52"/>
                    <a:pt x="1901" y="45"/>
                  </a:cubicBezTo>
                  <a:cubicBezTo>
                    <a:pt x="1871" y="45"/>
                    <a:pt x="1856" y="38"/>
                    <a:pt x="1849" y="38"/>
                  </a:cubicBezTo>
                  <a:cubicBezTo>
                    <a:pt x="1834" y="45"/>
                    <a:pt x="1827" y="52"/>
                    <a:pt x="1819" y="67"/>
                  </a:cubicBezTo>
                  <a:cubicBezTo>
                    <a:pt x="1797" y="15"/>
                    <a:pt x="1797" y="60"/>
                    <a:pt x="1760" y="45"/>
                  </a:cubicBezTo>
                  <a:cubicBezTo>
                    <a:pt x="1730" y="38"/>
                    <a:pt x="1715" y="0"/>
                    <a:pt x="1678" y="23"/>
                  </a:cubicBezTo>
                  <a:cubicBezTo>
                    <a:pt x="1678" y="38"/>
                    <a:pt x="1678" y="52"/>
                    <a:pt x="1678" y="67"/>
                  </a:cubicBezTo>
                  <a:cubicBezTo>
                    <a:pt x="1633" y="90"/>
                    <a:pt x="1611" y="127"/>
                    <a:pt x="1552" y="97"/>
                  </a:cubicBezTo>
                  <a:cubicBezTo>
                    <a:pt x="1529" y="82"/>
                    <a:pt x="1522" y="82"/>
                    <a:pt x="1485" y="82"/>
                  </a:cubicBezTo>
                  <a:cubicBezTo>
                    <a:pt x="1470" y="82"/>
                    <a:pt x="1425" y="82"/>
                    <a:pt x="1411" y="75"/>
                  </a:cubicBezTo>
                  <a:cubicBezTo>
                    <a:pt x="1411" y="75"/>
                    <a:pt x="1381" y="52"/>
                    <a:pt x="1388" y="60"/>
                  </a:cubicBezTo>
                  <a:cubicBezTo>
                    <a:pt x="1381" y="45"/>
                    <a:pt x="1374" y="38"/>
                    <a:pt x="1374" y="38"/>
                  </a:cubicBezTo>
                  <a:cubicBezTo>
                    <a:pt x="1374" y="60"/>
                    <a:pt x="1374" y="82"/>
                    <a:pt x="1381" y="90"/>
                  </a:cubicBezTo>
                  <a:cubicBezTo>
                    <a:pt x="1396" y="105"/>
                    <a:pt x="1418" y="82"/>
                    <a:pt x="1433" y="105"/>
                  </a:cubicBezTo>
                  <a:cubicBezTo>
                    <a:pt x="1448" y="119"/>
                    <a:pt x="1425" y="149"/>
                    <a:pt x="1455" y="142"/>
                  </a:cubicBezTo>
                  <a:cubicBezTo>
                    <a:pt x="1455" y="164"/>
                    <a:pt x="1455" y="194"/>
                    <a:pt x="1455" y="216"/>
                  </a:cubicBezTo>
                  <a:cubicBezTo>
                    <a:pt x="1463" y="245"/>
                    <a:pt x="1477" y="253"/>
                    <a:pt x="1492" y="275"/>
                  </a:cubicBezTo>
                  <a:cubicBezTo>
                    <a:pt x="1500" y="290"/>
                    <a:pt x="1529" y="335"/>
                    <a:pt x="1522" y="350"/>
                  </a:cubicBezTo>
                  <a:cubicBezTo>
                    <a:pt x="1522" y="357"/>
                    <a:pt x="1492" y="372"/>
                    <a:pt x="1485" y="379"/>
                  </a:cubicBezTo>
                  <a:cubicBezTo>
                    <a:pt x="1477" y="394"/>
                    <a:pt x="1477" y="416"/>
                    <a:pt x="1477" y="431"/>
                  </a:cubicBezTo>
                  <a:cubicBezTo>
                    <a:pt x="1477" y="446"/>
                    <a:pt x="1477" y="453"/>
                    <a:pt x="1477" y="461"/>
                  </a:cubicBezTo>
                  <a:lnTo>
                    <a:pt x="1477" y="461"/>
                  </a:lnTo>
                  <a:cubicBezTo>
                    <a:pt x="1515" y="476"/>
                    <a:pt x="1500" y="520"/>
                    <a:pt x="1500" y="550"/>
                  </a:cubicBezTo>
                  <a:cubicBezTo>
                    <a:pt x="1492" y="609"/>
                    <a:pt x="1552" y="669"/>
                    <a:pt x="1507" y="721"/>
                  </a:cubicBezTo>
                  <a:cubicBezTo>
                    <a:pt x="1492" y="736"/>
                    <a:pt x="1470" y="743"/>
                    <a:pt x="1455" y="750"/>
                  </a:cubicBezTo>
                  <a:cubicBezTo>
                    <a:pt x="1425" y="765"/>
                    <a:pt x="1425" y="788"/>
                    <a:pt x="1411" y="810"/>
                  </a:cubicBezTo>
                  <a:cubicBezTo>
                    <a:pt x="1403" y="825"/>
                    <a:pt x="1366" y="825"/>
                    <a:pt x="1359" y="840"/>
                  </a:cubicBezTo>
                  <a:cubicBezTo>
                    <a:pt x="1344" y="854"/>
                    <a:pt x="1336" y="877"/>
                    <a:pt x="1336" y="899"/>
                  </a:cubicBezTo>
                  <a:cubicBezTo>
                    <a:pt x="1314" y="899"/>
                    <a:pt x="1292" y="899"/>
                    <a:pt x="1270" y="892"/>
                  </a:cubicBezTo>
                  <a:cubicBezTo>
                    <a:pt x="1270" y="936"/>
                    <a:pt x="1225" y="988"/>
                    <a:pt x="1240" y="1033"/>
                  </a:cubicBezTo>
                  <a:cubicBezTo>
                    <a:pt x="1255" y="1062"/>
                    <a:pt x="1299" y="1062"/>
                    <a:pt x="1307" y="1099"/>
                  </a:cubicBezTo>
                  <a:cubicBezTo>
                    <a:pt x="1411" y="1107"/>
                    <a:pt x="1411" y="1211"/>
                    <a:pt x="1418" y="1293"/>
                  </a:cubicBezTo>
                  <a:cubicBezTo>
                    <a:pt x="1388" y="1300"/>
                    <a:pt x="1374" y="1263"/>
                    <a:pt x="1344" y="1263"/>
                  </a:cubicBezTo>
                  <a:cubicBezTo>
                    <a:pt x="1307" y="1270"/>
                    <a:pt x="1299" y="1307"/>
                    <a:pt x="1299" y="1337"/>
                  </a:cubicBezTo>
                  <a:cubicBezTo>
                    <a:pt x="1277" y="1337"/>
                    <a:pt x="1255" y="1337"/>
                    <a:pt x="1232" y="1337"/>
                  </a:cubicBezTo>
                  <a:cubicBezTo>
                    <a:pt x="1225" y="1367"/>
                    <a:pt x="1277" y="1471"/>
                    <a:pt x="1307" y="1486"/>
                  </a:cubicBezTo>
                  <a:cubicBezTo>
                    <a:pt x="1292" y="1508"/>
                    <a:pt x="1255" y="1523"/>
                    <a:pt x="1247" y="1545"/>
                  </a:cubicBezTo>
                  <a:cubicBezTo>
                    <a:pt x="1292" y="1560"/>
                    <a:pt x="1329" y="1567"/>
                    <a:pt x="1344" y="1575"/>
                  </a:cubicBezTo>
                  <a:cubicBezTo>
                    <a:pt x="1329" y="1567"/>
                    <a:pt x="1292" y="1560"/>
                    <a:pt x="1247" y="1545"/>
                  </a:cubicBezTo>
                  <a:cubicBezTo>
                    <a:pt x="1247" y="1552"/>
                    <a:pt x="1247" y="1552"/>
                    <a:pt x="1247" y="1552"/>
                  </a:cubicBezTo>
                  <a:cubicBezTo>
                    <a:pt x="1247" y="1575"/>
                    <a:pt x="1292" y="1604"/>
                    <a:pt x="1307" y="1619"/>
                  </a:cubicBezTo>
                  <a:cubicBezTo>
                    <a:pt x="1344" y="1679"/>
                    <a:pt x="1322" y="1753"/>
                    <a:pt x="1314" y="1812"/>
                  </a:cubicBezTo>
                  <a:cubicBezTo>
                    <a:pt x="1307" y="1820"/>
                    <a:pt x="1299" y="1827"/>
                    <a:pt x="1292" y="1827"/>
                  </a:cubicBezTo>
                  <a:cubicBezTo>
                    <a:pt x="1277" y="1864"/>
                    <a:pt x="1322" y="1864"/>
                    <a:pt x="1336" y="1887"/>
                  </a:cubicBezTo>
                  <a:cubicBezTo>
                    <a:pt x="1351" y="1916"/>
                    <a:pt x="1336" y="1954"/>
                    <a:pt x="1336" y="1983"/>
                  </a:cubicBezTo>
                  <a:cubicBezTo>
                    <a:pt x="1314" y="1983"/>
                    <a:pt x="1284" y="1976"/>
                    <a:pt x="1262" y="1983"/>
                  </a:cubicBezTo>
                  <a:cubicBezTo>
                    <a:pt x="1277" y="2005"/>
                    <a:pt x="1217" y="2043"/>
                    <a:pt x="1284" y="2057"/>
                  </a:cubicBezTo>
                  <a:cubicBezTo>
                    <a:pt x="1284" y="2117"/>
                    <a:pt x="1270" y="2139"/>
                    <a:pt x="1232" y="2184"/>
                  </a:cubicBezTo>
                  <a:cubicBezTo>
                    <a:pt x="1225" y="2206"/>
                    <a:pt x="1173" y="2228"/>
                    <a:pt x="1173" y="2251"/>
                  </a:cubicBezTo>
                  <a:cubicBezTo>
                    <a:pt x="1195" y="2251"/>
                    <a:pt x="1203" y="2265"/>
                    <a:pt x="1210" y="2280"/>
                  </a:cubicBezTo>
                  <a:cubicBezTo>
                    <a:pt x="1180" y="2280"/>
                    <a:pt x="1136" y="2280"/>
                    <a:pt x="1143" y="2317"/>
                  </a:cubicBezTo>
                  <a:cubicBezTo>
                    <a:pt x="1084" y="2280"/>
                    <a:pt x="1091" y="2340"/>
                    <a:pt x="1084" y="2377"/>
                  </a:cubicBezTo>
                  <a:cubicBezTo>
                    <a:pt x="1084" y="2377"/>
                    <a:pt x="1084" y="2377"/>
                    <a:pt x="1077" y="2377"/>
                  </a:cubicBezTo>
                  <a:cubicBezTo>
                    <a:pt x="1077" y="2392"/>
                    <a:pt x="1077" y="2406"/>
                    <a:pt x="1077" y="2421"/>
                  </a:cubicBezTo>
                  <a:cubicBezTo>
                    <a:pt x="1032" y="2421"/>
                    <a:pt x="1039" y="2392"/>
                    <a:pt x="1010" y="2377"/>
                  </a:cubicBezTo>
                  <a:cubicBezTo>
                    <a:pt x="995" y="2369"/>
                    <a:pt x="958" y="2362"/>
                    <a:pt x="935" y="2369"/>
                  </a:cubicBezTo>
                  <a:cubicBezTo>
                    <a:pt x="913" y="2369"/>
                    <a:pt x="958" y="2414"/>
                    <a:pt x="958" y="2429"/>
                  </a:cubicBezTo>
                  <a:cubicBezTo>
                    <a:pt x="958" y="2451"/>
                    <a:pt x="950" y="2451"/>
                    <a:pt x="943" y="2466"/>
                  </a:cubicBezTo>
                  <a:cubicBezTo>
                    <a:pt x="943" y="2481"/>
                    <a:pt x="935" y="2496"/>
                    <a:pt x="935" y="2510"/>
                  </a:cubicBezTo>
                  <a:cubicBezTo>
                    <a:pt x="913" y="2510"/>
                    <a:pt x="891" y="2496"/>
                    <a:pt x="861" y="2496"/>
                  </a:cubicBezTo>
                  <a:cubicBezTo>
                    <a:pt x="883" y="2503"/>
                    <a:pt x="883" y="2525"/>
                    <a:pt x="883" y="2548"/>
                  </a:cubicBezTo>
                  <a:cubicBezTo>
                    <a:pt x="824" y="2548"/>
                    <a:pt x="780" y="2510"/>
                    <a:pt x="727" y="2503"/>
                  </a:cubicBezTo>
                  <a:cubicBezTo>
                    <a:pt x="698" y="2503"/>
                    <a:pt x="705" y="2540"/>
                    <a:pt x="705" y="2562"/>
                  </a:cubicBezTo>
                  <a:cubicBezTo>
                    <a:pt x="638" y="2503"/>
                    <a:pt x="661" y="2629"/>
                    <a:pt x="616" y="2637"/>
                  </a:cubicBezTo>
                  <a:cubicBezTo>
                    <a:pt x="579" y="2644"/>
                    <a:pt x="542" y="2644"/>
                    <a:pt x="512" y="2659"/>
                  </a:cubicBezTo>
                  <a:cubicBezTo>
                    <a:pt x="475" y="2674"/>
                    <a:pt x="445" y="2703"/>
                    <a:pt x="408" y="2726"/>
                  </a:cubicBezTo>
                  <a:cubicBezTo>
                    <a:pt x="378" y="2748"/>
                    <a:pt x="364" y="2756"/>
                    <a:pt x="356" y="2793"/>
                  </a:cubicBezTo>
                  <a:cubicBezTo>
                    <a:pt x="349" y="2822"/>
                    <a:pt x="334" y="2822"/>
                    <a:pt x="312" y="2822"/>
                  </a:cubicBezTo>
                  <a:cubicBezTo>
                    <a:pt x="245" y="2822"/>
                    <a:pt x="223" y="2800"/>
                    <a:pt x="223" y="2741"/>
                  </a:cubicBezTo>
                  <a:cubicBezTo>
                    <a:pt x="193" y="2733"/>
                    <a:pt x="163" y="2733"/>
                    <a:pt x="133" y="2741"/>
                  </a:cubicBezTo>
                  <a:cubicBezTo>
                    <a:pt x="126" y="2763"/>
                    <a:pt x="148" y="2778"/>
                    <a:pt x="141" y="2800"/>
                  </a:cubicBezTo>
                  <a:cubicBezTo>
                    <a:pt x="104" y="2800"/>
                    <a:pt x="67" y="2800"/>
                    <a:pt x="29" y="2800"/>
                  </a:cubicBezTo>
                  <a:cubicBezTo>
                    <a:pt x="59" y="2822"/>
                    <a:pt x="67" y="2919"/>
                    <a:pt x="22" y="2919"/>
                  </a:cubicBezTo>
                  <a:cubicBezTo>
                    <a:pt x="7" y="2934"/>
                    <a:pt x="0" y="2978"/>
                    <a:pt x="0" y="3001"/>
                  </a:cubicBezTo>
                  <a:cubicBezTo>
                    <a:pt x="15" y="3001"/>
                    <a:pt x="52" y="2993"/>
                    <a:pt x="52" y="3015"/>
                  </a:cubicBezTo>
                  <a:cubicBezTo>
                    <a:pt x="52" y="3030"/>
                    <a:pt x="59" y="3038"/>
                    <a:pt x="81" y="3038"/>
                  </a:cubicBezTo>
                  <a:cubicBezTo>
                    <a:pt x="126" y="3038"/>
                    <a:pt x="156" y="3038"/>
                    <a:pt x="170" y="3082"/>
                  </a:cubicBezTo>
                  <a:cubicBezTo>
                    <a:pt x="215" y="3075"/>
                    <a:pt x="230" y="3097"/>
                    <a:pt x="245" y="3127"/>
                  </a:cubicBezTo>
                  <a:cubicBezTo>
                    <a:pt x="275" y="3171"/>
                    <a:pt x="312" y="3149"/>
                    <a:pt x="356" y="3149"/>
                  </a:cubicBezTo>
                  <a:cubicBezTo>
                    <a:pt x="349" y="3164"/>
                    <a:pt x="356" y="3179"/>
                    <a:pt x="371" y="3171"/>
                  </a:cubicBezTo>
                  <a:cubicBezTo>
                    <a:pt x="378" y="3171"/>
                    <a:pt x="378" y="3164"/>
                    <a:pt x="378" y="3164"/>
                  </a:cubicBezTo>
                  <a:cubicBezTo>
                    <a:pt x="401" y="3164"/>
                    <a:pt x="490" y="3156"/>
                    <a:pt x="482" y="3193"/>
                  </a:cubicBezTo>
                  <a:cubicBezTo>
                    <a:pt x="438" y="3208"/>
                    <a:pt x="393" y="3253"/>
                    <a:pt x="430" y="3304"/>
                  </a:cubicBezTo>
                  <a:cubicBezTo>
                    <a:pt x="438" y="3319"/>
                    <a:pt x="460" y="3341"/>
                    <a:pt x="475" y="3349"/>
                  </a:cubicBezTo>
                  <a:cubicBezTo>
                    <a:pt x="490" y="3371"/>
                    <a:pt x="520" y="3386"/>
                    <a:pt x="549" y="3393"/>
                  </a:cubicBezTo>
                  <a:cubicBezTo>
                    <a:pt x="549" y="3408"/>
                    <a:pt x="549" y="3423"/>
                    <a:pt x="542" y="3438"/>
                  </a:cubicBezTo>
                  <a:cubicBezTo>
                    <a:pt x="564" y="3438"/>
                    <a:pt x="579" y="3430"/>
                    <a:pt x="594" y="3438"/>
                  </a:cubicBezTo>
                  <a:cubicBezTo>
                    <a:pt x="586" y="3467"/>
                    <a:pt x="638" y="3482"/>
                    <a:pt x="653" y="3505"/>
                  </a:cubicBezTo>
                  <a:cubicBezTo>
                    <a:pt x="668" y="3542"/>
                    <a:pt x="638" y="3534"/>
                    <a:pt x="623" y="3557"/>
                  </a:cubicBezTo>
                  <a:cubicBezTo>
                    <a:pt x="653" y="3579"/>
                    <a:pt x="683" y="3579"/>
                    <a:pt x="683" y="3616"/>
                  </a:cubicBezTo>
                  <a:cubicBezTo>
                    <a:pt x="690" y="3660"/>
                    <a:pt x="698" y="3638"/>
                    <a:pt x="727" y="3668"/>
                  </a:cubicBezTo>
                  <a:cubicBezTo>
                    <a:pt x="698" y="3675"/>
                    <a:pt x="683" y="3705"/>
                    <a:pt x="646" y="3712"/>
                  </a:cubicBezTo>
                  <a:cubicBezTo>
                    <a:pt x="631" y="3712"/>
                    <a:pt x="623" y="3720"/>
                    <a:pt x="616" y="3720"/>
                  </a:cubicBezTo>
                  <a:cubicBezTo>
                    <a:pt x="623" y="3727"/>
                    <a:pt x="631" y="3727"/>
                    <a:pt x="638" y="3727"/>
                  </a:cubicBezTo>
                  <a:cubicBezTo>
                    <a:pt x="661" y="3817"/>
                    <a:pt x="735" y="3772"/>
                    <a:pt x="787" y="3817"/>
                  </a:cubicBezTo>
                  <a:cubicBezTo>
                    <a:pt x="824" y="3861"/>
                    <a:pt x="780" y="3906"/>
                    <a:pt x="809" y="3950"/>
                  </a:cubicBezTo>
                  <a:cubicBezTo>
                    <a:pt x="817" y="3972"/>
                    <a:pt x="861" y="4002"/>
                    <a:pt x="869" y="3957"/>
                  </a:cubicBezTo>
                  <a:cubicBezTo>
                    <a:pt x="906" y="3943"/>
                    <a:pt x="906" y="3950"/>
                    <a:pt x="928" y="3906"/>
                  </a:cubicBezTo>
                  <a:cubicBezTo>
                    <a:pt x="972" y="3898"/>
                    <a:pt x="972" y="3950"/>
                    <a:pt x="980" y="3980"/>
                  </a:cubicBezTo>
                  <a:cubicBezTo>
                    <a:pt x="995" y="4032"/>
                    <a:pt x="1047" y="4024"/>
                    <a:pt x="1084" y="4054"/>
                  </a:cubicBezTo>
                  <a:cubicBezTo>
                    <a:pt x="1128" y="4091"/>
                    <a:pt x="1166" y="4091"/>
                    <a:pt x="1166" y="4158"/>
                  </a:cubicBezTo>
                  <a:cubicBezTo>
                    <a:pt x="1173" y="4151"/>
                    <a:pt x="1173" y="4143"/>
                    <a:pt x="1180" y="4136"/>
                  </a:cubicBezTo>
                  <a:cubicBezTo>
                    <a:pt x="1210" y="4121"/>
                    <a:pt x="1232" y="4091"/>
                    <a:pt x="1270" y="4084"/>
                  </a:cubicBezTo>
                  <a:cubicBezTo>
                    <a:pt x="1314" y="4069"/>
                    <a:pt x="1351" y="4076"/>
                    <a:pt x="1366" y="4024"/>
                  </a:cubicBezTo>
                  <a:cubicBezTo>
                    <a:pt x="1374" y="4009"/>
                    <a:pt x="1359" y="4002"/>
                    <a:pt x="1374" y="3980"/>
                  </a:cubicBezTo>
                  <a:cubicBezTo>
                    <a:pt x="1388" y="3965"/>
                    <a:pt x="1411" y="3965"/>
                    <a:pt x="1425" y="3943"/>
                  </a:cubicBezTo>
                  <a:cubicBezTo>
                    <a:pt x="1433" y="3935"/>
                    <a:pt x="1440" y="3913"/>
                    <a:pt x="1448" y="3906"/>
                  </a:cubicBezTo>
                  <a:cubicBezTo>
                    <a:pt x="1455" y="3898"/>
                    <a:pt x="1470" y="3891"/>
                    <a:pt x="1477" y="3883"/>
                  </a:cubicBezTo>
                  <a:cubicBezTo>
                    <a:pt x="1485" y="3876"/>
                    <a:pt x="1492" y="3861"/>
                    <a:pt x="1507" y="3854"/>
                  </a:cubicBezTo>
                  <a:cubicBezTo>
                    <a:pt x="1529" y="3839"/>
                    <a:pt x="1529" y="3854"/>
                    <a:pt x="1544" y="3831"/>
                  </a:cubicBezTo>
                  <a:cubicBezTo>
                    <a:pt x="1559" y="3809"/>
                    <a:pt x="1544" y="3809"/>
                    <a:pt x="1567" y="3802"/>
                  </a:cubicBezTo>
                  <a:cubicBezTo>
                    <a:pt x="1582" y="3794"/>
                    <a:pt x="1596" y="3794"/>
                    <a:pt x="1611" y="3787"/>
                  </a:cubicBezTo>
                  <a:cubicBezTo>
                    <a:pt x="1611" y="3764"/>
                    <a:pt x="1619" y="3735"/>
                    <a:pt x="1611" y="3712"/>
                  </a:cubicBezTo>
                  <a:cubicBezTo>
                    <a:pt x="1604" y="3683"/>
                    <a:pt x="1582" y="3675"/>
                    <a:pt x="1574" y="3653"/>
                  </a:cubicBezTo>
                  <a:cubicBezTo>
                    <a:pt x="1648" y="3638"/>
                    <a:pt x="1648" y="3720"/>
                    <a:pt x="1641" y="3764"/>
                  </a:cubicBezTo>
                  <a:cubicBezTo>
                    <a:pt x="1633" y="3794"/>
                    <a:pt x="1619" y="3802"/>
                    <a:pt x="1611" y="3824"/>
                  </a:cubicBezTo>
                  <a:cubicBezTo>
                    <a:pt x="1604" y="3854"/>
                    <a:pt x="1619" y="3868"/>
                    <a:pt x="1633" y="3891"/>
                  </a:cubicBezTo>
                  <a:cubicBezTo>
                    <a:pt x="1641" y="3906"/>
                    <a:pt x="1648" y="3906"/>
                    <a:pt x="1648" y="3928"/>
                  </a:cubicBezTo>
                  <a:cubicBezTo>
                    <a:pt x="1648" y="3935"/>
                    <a:pt x="1641" y="3957"/>
                    <a:pt x="1648" y="3965"/>
                  </a:cubicBezTo>
                  <a:cubicBezTo>
                    <a:pt x="1671" y="3980"/>
                    <a:pt x="1693" y="3950"/>
                    <a:pt x="1700" y="3935"/>
                  </a:cubicBezTo>
                  <a:cubicBezTo>
                    <a:pt x="1715" y="3913"/>
                    <a:pt x="1715" y="3898"/>
                    <a:pt x="1737" y="3883"/>
                  </a:cubicBezTo>
                  <a:cubicBezTo>
                    <a:pt x="1774" y="3876"/>
                    <a:pt x="1789" y="3891"/>
                    <a:pt x="1782" y="3920"/>
                  </a:cubicBezTo>
                  <a:cubicBezTo>
                    <a:pt x="1797" y="3928"/>
                    <a:pt x="1812" y="3928"/>
                    <a:pt x="1819" y="3920"/>
                  </a:cubicBezTo>
                  <a:cubicBezTo>
                    <a:pt x="1827" y="3868"/>
                    <a:pt x="1819" y="3876"/>
                    <a:pt x="1871" y="3868"/>
                  </a:cubicBezTo>
                  <a:cubicBezTo>
                    <a:pt x="1871" y="3854"/>
                    <a:pt x="1864" y="3817"/>
                    <a:pt x="1864" y="3794"/>
                  </a:cubicBezTo>
                  <a:cubicBezTo>
                    <a:pt x="1871" y="3772"/>
                    <a:pt x="1886" y="3764"/>
                    <a:pt x="1886" y="3735"/>
                  </a:cubicBezTo>
                  <a:cubicBezTo>
                    <a:pt x="1923" y="3727"/>
                    <a:pt x="1990" y="3742"/>
                    <a:pt x="1990" y="3697"/>
                  </a:cubicBezTo>
                  <a:cubicBezTo>
                    <a:pt x="2019" y="3683"/>
                    <a:pt x="2034" y="3675"/>
                    <a:pt x="2049" y="3638"/>
                  </a:cubicBezTo>
                  <a:cubicBezTo>
                    <a:pt x="2057" y="3623"/>
                    <a:pt x="2049" y="3623"/>
                    <a:pt x="2072" y="3616"/>
                  </a:cubicBezTo>
                  <a:cubicBezTo>
                    <a:pt x="2079" y="3608"/>
                    <a:pt x="2109" y="3616"/>
                    <a:pt x="2116" y="3616"/>
                  </a:cubicBezTo>
                  <a:cubicBezTo>
                    <a:pt x="2138" y="3623"/>
                    <a:pt x="2168" y="3660"/>
                    <a:pt x="2183" y="3675"/>
                  </a:cubicBezTo>
                  <a:cubicBezTo>
                    <a:pt x="2183" y="3623"/>
                    <a:pt x="2183" y="3623"/>
                    <a:pt x="2183" y="3623"/>
                  </a:cubicBezTo>
                  <a:cubicBezTo>
                    <a:pt x="2153" y="3571"/>
                    <a:pt x="2138" y="3542"/>
                    <a:pt x="2138" y="3482"/>
                  </a:cubicBezTo>
                  <a:cubicBezTo>
                    <a:pt x="2138" y="3423"/>
                    <a:pt x="2124" y="3393"/>
                    <a:pt x="2101" y="3341"/>
                  </a:cubicBezTo>
                  <a:cubicBezTo>
                    <a:pt x="2094" y="3312"/>
                    <a:pt x="2094" y="3290"/>
                    <a:pt x="2094" y="3268"/>
                  </a:cubicBezTo>
                  <a:cubicBezTo>
                    <a:pt x="2087" y="3246"/>
                    <a:pt x="2064" y="3216"/>
                    <a:pt x="2094" y="3208"/>
                  </a:cubicBezTo>
                  <a:cubicBezTo>
                    <a:pt x="2094" y="3186"/>
                    <a:pt x="2101" y="3164"/>
                    <a:pt x="2094" y="3142"/>
                  </a:cubicBezTo>
                  <a:cubicBezTo>
                    <a:pt x="2087" y="3119"/>
                    <a:pt x="2072" y="3119"/>
                    <a:pt x="2064" y="3112"/>
                  </a:cubicBezTo>
                  <a:cubicBezTo>
                    <a:pt x="2057" y="3097"/>
                    <a:pt x="2049" y="3082"/>
                    <a:pt x="2034" y="3082"/>
                  </a:cubicBezTo>
                  <a:cubicBezTo>
                    <a:pt x="2049" y="3045"/>
                    <a:pt x="2034" y="2971"/>
                    <a:pt x="2079" y="2948"/>
                  </a:cubicBezTo>
                  <a:cubicBezTo>
                    <a:pt x="2079" y="2926"/>
                    <a:pt x="2094" y="2904"/>
                    <a:pt x="2124" y="2911"/>
                  </a:cubicBezTo>
                  <a:cubicBezTo>
                    <a:pt x="2109" y="2904"/>
                    <a:pt x="2042" y="2882"/>
                    <a:pt x="2027" y="2882"/>
                  </a:cubicBezTo>
                  <a:cubicBezTo>
                    <a:pt x="1982" y="2882"/>
                    <a:pt x="1953" y="2948"/>
                    <a:pt x="1930" y="2897"/>
                  </a:cubicBezTo>
                  <a:cubicBezTo>
                    <a:pt x="1916" y="2867"/>
                    <a:pt x="1938" y="2815"/>
                    <a:pt x="1945" y="2785"/>
                  </a:cubicBezTo>
                  <a:cubicBezTo>
                    <a:pt x="1945" y="2770"/>
                    <a:pt x="1945" y="2763"/>
                    <a:pt x="1945" y="2748"/>
                  </a:cubicBezTo>
                  <a:cubicBezTo>
                    <a:pt x="1953" y="2741"/>
                    <a:pt x="1968" y="2741"/>
                    <a:pt x="1968" y="2726"/>
                  </a:cubicBezTo>
                  <a:cubicBezTo>
                    <a:pt x="1975" y="2689"/>
                    <a:pt x="1945" y="2696"/>
                    <a:pt x="1923" y="2681"/>
                  </a:cubicBezTo>
                  <a:cubicBezTo>
                    <a:pt x="1901" y="2674"/>
                    <a:pt x="1886" y="2659"/>
                    <a:pt x="1864" y="2644"/>
                  </a:cubicBezTo>
                  <a:cubicBezTo>
                    <a:pt x="1864" y="2637"/>
                    <a:pt x="1864" y="2629"/>
                    <a:pt x="1856" y="2622"/>
                  </a:cubicBezTo>
                  <a:cubicBezTo>
                    <a:pt x="1849" y="2614"/>
                    <a:pt x="1827" y="2622"/>
                    <a:pt x="1812" y="2622"/>
                  </a:cubicBezTo>
                  <a:cubicBezTo>
                    <a:pt x="1812" y="2577"/>
                    <a:pt x="1804" y="2533"/>
                    <a:pt x="1812" y="2488"/>
                  </a:cubicBezTo>
                  <a:cubicBezTo>
                    <a:pt x="1812" y="2473"/>
                    <a:pt x="1819" y="2436"/>
                    <a:pt x="1827" y="2429"/>
                  </a:cubicBezTo>
                  <a:cubicBezTo>
                    <a:pt x="1841" y="2421"/>
                    <a:pt x="1864" y="2436"/>
                    <a:pt x="1886" y="2429"/>
                  </a:cubicBezTo>
                  <a:cubicBezTo>
                    <a:pt x="1901" y="2414"/>
                    <a:pt x="1893" y="2406"/>
                    <a:pt x="1901" y="2384"/>
                  </a:cubicBezTo>
                  <a:cubicBezTo>
                    <a:pt x="1916" y="2347"/>
                    <a:pt x="1938" y="2325"/>
                    <a:pt x="1945" y="2280"/>
                  </a:cubicBezTo>
                  <a:cubicBezTo>
                    <a:pt x="1953" y="2236"/>
                    <a:pt x="1930" y="2139"/>
                    <a:pt x="1886" y="2117"/>
                  </a:cubicBezTo>
                  <a:cubicBezTo>
                    <a:pt x="1864" y="2102"/>
                    <a:pt x="1834" y="2109"/>
                    <a:pt x="1804" y="2102"/>
                  </a:cubicBezTo>
                  <a:cubicBezTo>
                    <a:pt x="1774" y="2102"/>
                    <a:pt x="1760" y="2087"/>
                    <a:pt x="1737" y="2080"/>
                  </a:cubicBezTo>
                  <a:cubicBezTo>
                    <a:pt x="1708" y="2065"/>
                    <a:pt x="1678" y="2065"/>
                    <a:pt x="1648" y="2065"/>
                  </a:cubicBezTo>
                  <a:cubicBezTo>
                    <a:pt x="1648" y="2035"/>
                    <a:pt x="1619" y="2020"/>
                    <a:pt x="1596" y="2013"/>
                  </a:cubicBezTo>
                  <a:cubicBezTo>
                    <a:pt x="1582" y="1991"/>
                    <a:pt x="1529" y="1983"/>
                    <a:pt x="1515" y="1954"/>
                  </a:cubicBezTo>
                  <a:cubicBezTo>
                    <a:pt x="1507" y="1939"/>
                    <a:pt x="1507" y="1924"/>
                    <a:pt x="1500" y="1909"/>
                  </a:cubicBezTo>
                  <a:cubicBezTo>
                    <a:pt x="1485" y="1894"/>
                    <a:pt x="1455" y="1879"/>
                    <a:pt x="1448" y="1864"/>
                  </a:cubicBezTo>
                  <a:cubicBezTo>
                    <a:pt x="1440" y="1835"/>
                    <a:pt x="1463" y="1842"/>
                    <a:pt x="1470" y="1820"/>
                  </a:cubicBezTo>
                  <a:cubicBezTo>
                    <a:pt x="1477" y="1812"/>
                    <a:pt x="1470" y="1805"/>
                    <a:pt x="1477" y="1790"/>
                  </a:cubicBezTo>
                  <a:cubicBezTo>
                    <a:pt x="1485" y="1783"/>
                    <a:pt x="1492" y="1775"/>
                    <a:pt x="1500" y="1768"/>
                  </a:cubicBezTo>
                  <a:cubicBezTo>
                    <a:pt x="1522" y="1731"/>
                    <a:pt x="1515" y="1694"/>
                    <a:pt x="1515" y="1649"/>
                  </a:cubicBezTo>
                  <a:cubicBezTo>
                    <a:pt x="1537" y="1649"/>
                    <a:pt x="1596" y="1642"/>
                    <a:pt x="1604" y="1656"/>
                  </a:cubicBezTo>
                  <a:cubicBezTo>
                    <a:pt x="1619" y="1664"/>
                    <a:pt x="1604" y="1686"/>
                    <a:pt x="1619" y="1694"/>
                  </a:cubicBezTo>
                  <a:cubicBezTo>
                    <a:pt x="1626" y="1701"/>
                    <a:pt x="1648" y="1701"/>
                    <a:pt x="1656" y="1701"/>
                  </a:cubicBezTo>
                  <a:cubicBezTo>
                    <a:pt x="1641" y="1686"/>
                    <a:pt x="1626" y="1679"/>
                    <a:pt x="1633" y="1649"/>
                  </a:cubicBezTo>
                  <a:cubicBezTo>
                    <a:pt x="1656" y="1649"/>
                    <a:pt x="1671" y="1649"/>
                    <a:pt x="1693" y="1649"/>
                  </a:cubicBezTo>
                  <a:cubicBezTo>
                    <a:pt x="1693" y="1604"/>
                    <a:pt x="1685" y="1590"/>
                    <a:pt x="1737" y="1590"/>
                  </a:cubicBezTo>
                  <a:cubicBezTo>
                    <a:pt x="1745" y="1545"/>
                    <a:pt x="1722" y="1523"/>
                    <a:pt x="1730" y="1478"/>
                  </a:cubicBezTo>
                  <a:cubicBezTo>
                    <a:pt x="1752" y="1463"/>
                    <a:pt x="1804" y="1471"/>
                    <a:pt x="1827" y="1463"/>
                  </a:cubicBezTo>
                  <a:cubicBezTo>
                    <a:pt x="1871" y="1456"/>
                    <a:pt x="1908" y="1471"/>
                    <a:pt x="1945" y="1471"/>
                  </a:cubicBezTo>
                  <a:cubicBezTo>
                    <a:pt x="1953" y="1426"/>
                    <a:pt x="2012" y="1471"/>
                    <a:pt x="2034" y="1456"/>
                  </a:cubicBezTo>
                  <a:cubicBezTo>
                    <a:pt x="2049" y="1449"/>
                    <a:pt x="2072" y="1352"/>
                    <a:pt x="2072" y="1330"/>
                  </a:cubicBezTo>
                  <a:cubicBezTo>
                    <a:pt x="2034" y="1322"/>
                    <a:pt x="2049" y="1359"/>
                    <a:pt x="2027" y="1367"/>
                  </a:cubicBezTo>
                  <a:cubicBezTo>
                    <a:pt x="2012" y="1374"/>
                    <a:pt x="1982" y="1344"/>
                    <a:pt x="1968" y="1330"/>
                  </a:cubicBezTo>
                  <a:cubicBezTo>
                    <a:pt x="1960" y="1315"/>
                    <a:pt x="1953" y="1293"/>
                    <a:pt x="1945" y="1270"/>
                  </a:cubicBezTo>
                  <a:cubicBezTo>
                    <a:pt x="1938" y="1255"/>
                    <a:pt x="1923" y="1233"/>
                    <a:pt x="1923" y="1218"/>
                  </a:cubicBezTo>
                  <a:cubicBezTo>
                    <a:pt x="1901" y="1233"/>
                    <a:pt x="1893" y="1248"/>
                    <a:pt x="1864" y="1255"/>
                  </a:cubicBezTo>
                  <a:cubicBezTo>
                    <a:pt x="1827" y="1270"/>
                    <a:pt x="1819" y="1263"/>
                    <a:pt x="1789" y="1248"/>
                  </a:cubicBezTo>
                  <a:cubicBezTo>
                    <a:pt x="1760" y="1233"/>
                    <a:pt x="1708" y="1211"/>
                    <a:pt x="1693" y="1166"/>
                  </a:cubicBezTo>
                  <a:cubicBezTo>
                    <a:pt x="1693" y="1159"/>
                    <a:pt x="1700" y="1144"/>
                    <a:pt x="1693" y="1137"/>
                  </a:cubicBezTo>
                  <a:cubicBezTo>
                    <a:pt x="1693" y="1122"/>
                    <a:pt x="1671" y="1107"/>
                    <a:pt x="1663" y="1099"/>
                  </a:cubicBezTo>
                  <a:cubicBezTo>
                    <a:pt x="1648" y="1085"/>
                    <a:pt x="1633" y="1070"/>
                    <a:pt x="1611" y="1062"/>
                  </a:cubicBezTo>
                  <a:cubicBezTo>
                    <a:pt x="1589" y="1055"/>
                    <a:pt x="1574" y="1047"/>
                    <a:pt x="1552" y="1040"/>
                  </a:cubicBezTo>
                  <a:cubicBezTo>
                    <a:pt x="1529" y="1033"/>
                    <a:pt x="1507" y="1040"/>
                    <a:pt x="1485" y="1040"/>
                  </a:cubicBezTo>
                  <a:cubicBezTo>
                    <a:pt x="1485" y="988"/>
                    <a:pt x="1470" y="892"/>
                    <a:pt x="1529" y="877"/>
                  </a:cubicBezTo>
                  <a:cubicBezTo>
                    <a:pt x="1529" y="854"/>
                    <a:pt x="1515" y="847"/>
                    <a:pt x="1507" y="825"/>
                  </a:cubicBezTo>
                  <a:cubicBezTo>
                    <a:pt x="1507" y="802"/>
                    <a:pt x="1515" y="788"/>
                    <a:pt x="1529" y="773"/>
                  </a:cubicBezTo>
                  <a:cubicBezTo>
                    <a:pt x="1559" y="743"/>
                    <a:pt x="1589" y="743"/>
                    <a:pt x="1619" y="721"/>
                  </a:cubicBezTo>
                  <a:cubicBezTo>
                    <a:pt x="1648" y="706"/>
                    <a:pt x="1633" y="676"/>
                    <a:pt x="1656" y="647"/>
                  </a:cubicBezTo>
                  <a:cubicBezTo>
                    <a:pt x="1678" y="632"/>
                    <a:pt x="1693" y="624"/>
                    <a:pt x="1722" y="624"/>
                  </a:cubicBezTo>
                  <a:cubicBezTo>
                    <a:pt x="1722" y="609"/>
                    <a:pt x="1715" y="587"/>
                    <a:pt x="1708" y="572"/>
                  </a:cubicBezTo>
                  <a:cubicBezTo>
                    <a:pt x="1663" y="565"/>
                    <a:pt x="1656" y="565"/>
                    <a:pt x="1641" y="528"/>
                  </a:cubicBezTo>
                  <a:cubicBezTo>
                    <a:pt x="1626" y="505"/>
                    <a:pt x="1619" y="498"/>
                    <a:pt x="1626" y="468"/>
                  </a:cubicBezTo>
                  <a:cubicBezTo>
                    <a:pt x="1626" y="453"/>
                    <a:pt x="1641" y="446"/>
                    <a:pt x="1641" y="424"/>
                  </a:cubicBezTo>
                  <a:cubicBezTo>
                    <a:pt x="1641" y="431"/>
                    <a:pt x="1641" y="446"/>
                    <a:pt x="1641" y="453"/>
                  </a:cubicBezTo>
                  <a:cubicBezTo>
                    <a:pt x="1656" y="453"/>
                    <a:pt x="1663" y="461"/>
                    <a:pt x="1671" y="461"/>
                  </a:cubicBezTo>
                  <a:cubicBezTo>
                    <a:pt x="1671" y="491"/>
                    <a:pt x="1722" y="520"/>
                    <a:pt x="1745" y="520"/>
                  </a:cubicBezTo>
                  <a:cubicBezTo>
                    <a:pt x="1745" y="528"/>
                    <a:pt x="1745" y="542"/>
                    <a:pt x="1745" y="550"/>
                  </a:cubicBezTo>
                  <a:cubicBezTo>
                    <a:pt x="1767" y="557"/>
                    <a:pt x="1789" y="550"/>
                    <a:pt x="1812" y="557"/>
                  </a:cubicBezTo>
                  <a:cubicBezTo>
                    <a:pt x="1804" y="565"/>
                    <a:pt x="1797" y="580"/>
                    <a:pt x="1797" y="587"/>
                  </a:cubicBezTo>
                  <a:cubicBezTo>
                    <a:pt x="1819" y="595"/>
                    <a:pt x="1841" y="595"/>
                    <a:pt x="1864" y="595"/>
                  </a:cubicBezTo>
                  <a:cubicBezTo>
                    <a:pt x="1864" y="617"/>
                    <a:pt x="1871" y="647"/>
                    <a:pt x="1864" y="661"/>
                  </a:cubicBezTo>
                  <a:cubicBezTo>
                    <a:pt x="1856" y="684"/>
                    <a:pt x="1834" y="699"/>
                    <a:pt x="1834" y="721"/>
                  </a:cubicBezTo>
                  <a:cubicBezTo>
                    <a:pt x="1856" y="728"/>
                    <a:pt x="1871" y="721"/>
                    <a:pt x="1886" y="721"/>
                  </a:cubicBezTo>
                  <a:cubicBezTo>
                    <a:pt x="1886" y="743"/>
                    <a:pt x="1886" y="780"/>
                    <a:pt x="1893" y="795"/>
                  </a:cubicBezTo>
                  <a:cubicBezTo>
                    <a:pt x="1893" y="780"/>
                    <a:pt x="1901" y="758"/>
                    <a:pt x="1901" y="743"/>
                  </a:cubicBezTo>
                  <a:cubicBezTo>
                    <a:pt x="1923" y="728"/>
                    <a:pt x="1893" y="669"/>
                    <a:pt x="1930" y="676"/>
                  </a:cubicBezTo>
                  <a:cubicBezTo>
                    <a:pt x="1938" y="684"/>
                    <a:pt x="1938" y="706"/>
                    <a:pt x="1945" y="713"/>
                  </a:cubicBezTo>
                  <a:cubicBezTo>
                    <a:pt x="1953" y="706"/>
                    <a:pt x="1945" y="684"/>
                    <a:pt x="1953" y="676"/>
                  </a:cubicBezTo>
                  <a:cubicBezTo>
                    <a:pt x="1975" y="654"/>
                    <a:pt x="1975" y="669"/>
                    <a:pt x="1990" y="676"/>
                  </a:cubicBezTo>
                  <a:cubicBezTo>
                    <a:pt x="2005" y="684"/>
                    <a:pt x="2005" y="691"/>
                    <a:pt x="2027" y="699"/>
                  </a:cubicBezTo>
                  <a:cubicBezTo>
                    <a:pt x="2042" y="699"/>
                    <a:pt x="2057" y="699"/>
                    <a:pt x="2072" y="699"/>
                  </a:cubicBezTo>
                  <a:cubicBezTo>
                    <a:pt x="2057" y="676"/>
                    <a:pt x="2042" y="654"/>
                    <a:pt x="2027" y="632"/>
                  </a:cubicBezTo>
                  <a:cubicBezTo>
                    <a:pt x="2012" y="609"/>
                    <a:pt x="1982" y="595"/>
                    <a:pt x="1990" y="557"/>
                  </a:cubicBezTo>
                  <a:cubicBezTo>
                    <a:pt x="2012" y="550"/>
                    <a:pt x="2042" y="550"/>
                    <a:pt x="2064" y="550"/>
                  </a:cubicBezTo>
                  <a:cubicBezTo>
                    <a:pt x="2064" y="595"/>
                    <a:pt x="2101" y="580"/>
                    <a:pt x="2116" y="602"/>
                  </a:cubicBezTo>
                  <a:cubicBezTo>
                    <a:pt x="2124" y="617"/>
                    <a:pt x="2124" y="654"/>
                    <a:pt x="2124" y="669"/>
                  </a:cubicBezTo>
                  <a:cubicBezTo>
                    <a:pt x="2131" y="699"/>
                    <a:pt x="2131" y="706"/>
                    <a:pt x="2138" y="728"/>
                  </a:cubicBezTo>
                  <a:cubicBezTo>
                    <a:pt x="2153" y="758"/>
                    <a:pt x="2161" y="773"/>
                    <a:pt x="2190" y="788"/>
                  </a:cubicBezTo>
                  <a:cubicBezTo>
                    <a:pt x="2227" y="810"/>
                    <a:pt x="2272" y="847"/>
                    <a:pt x="2317" y="854"/>
                  </a:cubicBezTo>
                  <a:cubicBezTo>
                    <a:pt x="2339" y="854"/>
                    <a:pt x="2406" y="869"/>
                    <a:pt x="2421" y="854"/>
                  </a:cubicBezTo>
                  <a:cubicBezTo>
                    <a:pt x="2421" y="847"/>
                    <a:pt x="2428" y="825"/>
                    <a:pt x="2428" y="817"/>
                  </a:cubicBezTo>
                  <a:cubicBezTo>
                    <a:pt x="2435" y="810"/>
                    <a:pt x="2450" y="795"/>
                    <a:pt x="2450" y="788"/>
                  </a:cubicBezTo>
                  <a:cubicBezTo>
                    <a:pt x="2450" y="780"/>
                    <a:pt x="2450" y="765"/>
                    <a:pt x="2450" y="758"/>
                  </a:cubicBezTo>
                  <a:cubicBezTo>
                    <a:pt x="2458" y="743"/>
                    <a:pt x="2465" y="743"/>
                    <a:pt x="2480" y="736"/>
                  </a:cubicBezTo>
                  <a:cubicBezTo>
                    <a:pt x="2487" y="713"/>
                    <a:pt x="2502" y="699"/>
                    <a:pt x="2524" y="684"/>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09" name="Freeform 27">
              <a:extLst>
                <a:ext uri="{FF2B5EF4-FFF2-40B4-BE49-F238E27FC236}">
                  <a16:creationId xmlns:a16="http://schemas.microsoft.com/office/drawing/2014/main" id="{50F34FAE-1C02-954C-8B2D-CAC6D41FDFA8}"/>
                </a:ext>
              </a:extLst>
            </p:cNvPr>
            <p:cNvSpPr>
              <a:spLocks noChangeArrowheads="1"/>
            </p:cNvSpPr>
            <p:nvPr/>
          </p:nvSpPr>
          <p:spPr bwMode="auto">
            <a:xfrm>
              <a:off x="13832056" y="5849899"/>
              <a:ext cx="261172" cy="360064"/>
            </a:xfrm>
            <a:custGeom>
              <a:avLst/>
              <a:gdLst>
                <a:gd name="T0" fmla="*/ 52 w 602"/>
                <a:gd name="T1" fmla="*/ 780 h 833"/>
                <a:gd name="T2" fmla="*/ 52 w 602"/>
                <a:gd name="T3" fmla="*/ 780 h 833"/>
                <a:gd name="T4" fmla="*/ 126 w 602"/>
                <a:gd name="T5" fmla="*/ 787 h 833"/>
                <a:gd name="T6" fmla="*/ 193 w 602"/>
                <a:gd name="T7" fmla="*/ 802 h 833"/>
                <a:gd name="T8" fmla="*/ 319 w 602"/>
                <a:gd name="T9" fmla="*/ 772 h 833"/>
                <a:gd name="T10" fmla="*/ 319 w 602"/>
                <a:gd name="T11" fmla="*/ 728 h 833"/>
                <a:gd name="T12" fmla="*/ 401 w 602"/>
                <a:gd name="T13" fmla="*/ 750 h 833"/>
                <a:gd name="T14" fmla="*/ 460 w 602"/>
                <a:gd name="T15" fmla="*/ 772 h 833"/>
                <a:gd name="T16" fmla="*/ 490 w 602"/>
                <a:gd name="T17" fmla="*/ 743 h 833"/>
                <a:gd name="T18" fmla="*/ 542 w 602"/>
                <a:gd name="T19" fmla="*/ 750 h 833"/>
                <a:gd name="T20" fmla="*/ 542 w 602"/>
                <a:gd name="T21" fmla="*/ 720 h 833"/>
                <a:gd name="T22" fmla="*/ 579 w 602"/>
                <a:gd name="T23" fmla="*/ 653 h 833"/>
                <a:gd name="T24" fmla="*/ 601 w 602"/>
                <a:gd name="T25" fmla="*/ 594 h 833"/>
                <a:gd name="T26" fmla="*/ 564 w 602"/>
                <a:gd name="T27" fmla="*/ 550 h 833"/>
                <a:gd name="T28" fmla="*/ 527 w 602"/>
                <a:gd name="T29" fmla="*/ 438 h 833"/>
                <a:gd name="T30" fmla="*/ 520 w 602"/>
                <a:gd name="T31" fmla="*/ 438 h 833"/>
                <a:gd name="T32" fmla="*/ 512 w 602"/>
                <a:gd name="T33" fmla="*/ 416 h 833"/>
                <a:gd name="T34" fmla="*/ 534 w 602"/>
                <a:gd name="T35" fmla="*/ 416 h 833"/>
                <a:gd name="T36" fmla="*/ 564 w 602"/>
                <a:gd name="T37" fmla="*/ 349 h 833"/>
                <a:gd name="T38" fmla="*/ 586 w 602"/>
                <a:gd name="T39" fmla="*/ 275 h 833"/>
                <a:gd name="T40" fmla="*/ 579 w 602"/>
                <a:gd name="T41" fmla="*/ 230 h 833"/>
                <a:gd name="T42" fmla="*/ 594 w 602"/>
                <a:gd name="T43" fmla="*/ 171 h 833"/>
                <a:gd name="T44" fmla="*/ 564 w 602"/>
                <a:gd name="T45" fmla="*/ 119 h 833"/>
                <a:gd name="T46" fmla="*/ 534 w 602"/>
                <a:gd name="T47" fmla="*/ 45 h 833"/>
                <a:gd name="T48" fmla="*/ 490 w 602"/>
                <a:gd name="T49" fmla="*/ 37 h 833"/>
                <a:gd name="T50" fmla="*/ 453 w 602"/>
                <a:gd name="T51" fmla="*/ 37 h 833"/>
                <a:gd name="T52" fmla="*/ 438 w 602"/>
                <a:gd name="T53" fmla="*/ 8 h 833"/>
                <a:gd name="T54" fmla="*/ 401 w 602"/>
                <a:gd name="T55" fmla="*/ 0 h 833"/>
                <a:gd name="T56" fmla="*/ 401 w 602"/>
                <a:gd name="T57" fmla="*/ 30 h 833"/>
                <a:gd name="T58" fmla="*/ 371 w 602"/>
                <a:gd name="T59" fmla="*/ 30 h 833"/>
                <a:gd name="T60" fmla="*/ 371 w 602"/>
                <a:gd name="T61" fmla="*/ 67 h 833"/>
                <a:gd name="T62" fmla="*/ 326 w 602"/>
                <a:gd name="T63" fmla="*/ 45 h 833"/>
                <a:gd name="T64" fmla="*/ 304 w 602"/>
                <a:gd name="T65" fmla="*/ 82 h 833"/>
                <a:gd name="T66" fmla="*/ 289 w 602"/>
                <a:gd name="T67" fmla="*/ 111 h 833"/>
                <a:gd name="T68" fmla="*/ 267 w 602"/>
                <a:gd name="T69" fmla="*/ 82 h 833"/>
                <a:gd name="T70" fmla="*/ 208 w 602"/>
                <a:gd name="T71" fmla="*/ 119 h 833"/>
                <a:gd name="T72" fmla="*/ 148 w 602"/>
                <a:gd name="T73" fmla="*/ 126 h 833"/>
                <a:gd name="T74" fmla="*/ 96 w 602"/>
                <a:gd name="T75" fmla="*/ 126 h 833"/>
                <a:gd name="T76" fmla="*/ 133 w 602"/>
                <a:gd name="T77" fmla="*/ 193 h 833"/>
                <a:gd name="T78" fmla="*/ 118 w 602"/>
                <a:gd name="T79" fmla="*/ 275 h 833"/>
                <a:gd name="T80" fmla="*/ 96 w 602"/>
                <a:gd name="T81" fmla="*/ 312 h 833"/>
                <a:gd name="T82" fmla="*/ 81 w 602"/>
                <a:gd name="T83" fmla="*/ 342 h 833"/>
                <a:gd name="T84" fmla="*/ 66 w 602"/>
                <a:gd name="T85" fmla="*/ 379 h 833"/>
                <a:gd name="T86" fmla="*/ 22 w 602"/>
                <a:gd name="T87" fmla="*/ 438 h 833"/>
                <a:gd name="T88" fmla="*/ 37 w 602"/>
                <a:gd name="T89" fmla="*/ 520 h 833"/>
                <a:gd name="T90" fmla="*/ 22 w 602"/>
                <a:gd name="T91" fmla="*/ 572 h 833"/>
                <a:gd name="T92" fmla="*/ 0 w 602"/>
                <a:gd name="T93" fmla="*/ 661 h 833"/>
                <a:gd name="T94" fmla="*/ 15 w 602"/>
                <a:gd name="T95" fmla="*/ 668 h 833"/>
                <a:gd name="T96" fmla="*/ 15 w 602"/>
                <a:gd name="T97" fmla="*/ 743 h 833"/>
                <a:gd name="T98" fmla="*/ 29 w 602"/>
                <a:gd name="T99" fmla="*/ 765 h 833"/>
                <a:gd name="T100" fmla="*/ 52 w 602"/>
                <a:gd name="T101" fmla="*/ 780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2" h="833">
                  <a:moveTo>
                    <a:pt x="52" y="780"/>
                  </a:moveTo>
                  <a:lnTo>
                    <a:pt x="52" y="780"/>
                  </a:lnTo>
                  <a:cubicBezTo>
                    <a:pt x="66" y="787"/>
                    <a:pt x="111" y="787"/>
                    <a:pt x="126" y="787"/>
                  </a:cubicBezTo>
                  <a:cubicBezTo>
                    <a:pt x="163" y="787"/>
                    <a:pt x="170" y="787"/>
                    <a:pt x="193" y="802"/>
                  </a:cubicBezTo>
                  <a:cubicBezTo>
                    <a:pt x="252" y="832"/>
                    <a:pt x="274" y="795"/>
                    <a:pt x="319" y="772"/>
                  </a:cubicBezTo>
                  <a:cubicBezTo>
                    <a:pt x="319" y="757"/>
                    <a:pt x="319" y="743"/>
                    <a:pt x="319" y="728"/>
                  </a:cubicBezTo>
                  <a:cubicBezTo>
                    <a:pt x="356" y="705"/>
                    <a:pt x="371" y="743"/>
                    <a:pt x="401" y="750"/>
                  </a:cubicBezTo>
                  <a:cubicBezTo>
                    <a:pt x="438" y="765"/>
                    <a:pt x="438" y="720"/>
                    <a:pt x="460" y="772"/>
                  </a:cubicBezTo>
                  <a:cubicBezTo>
                    <a:pt x="468" y="757"/>
                    <a:pt x="475" y="750"/>
                    <a:pt x="490" y="743"/>
                  </a:cubicBezTo>
                  <a:cubicBezTo>
                    <a:pt x="497" y="743"/>
                    <a:pt x="512" y="750"/>
                    <a:pt x="542" y="750"/>
                  </a:cubicBezTo>
                  <a:cubicBezTo>
                    <a:pt x="542" y="743"/>
                    <a:pt x="542" y="735"/>
                    <a:pt x="542" y="720"/>
                  </a:cubicBezTo>
                  <a:cubicBezTo>
                    <a:pt x="549" y="691"/>
                    <a:pt x="534" y="653"/>
                    <a:pt x="579" y="653"/>
                  </a:cubicBezTo>
                  <a:cubicBezTo>
                    <a:pt x="586" y="631"/>
                    <a:pt x="601" y="609"/>
                    <a:pt x="601" y="594"/>
                  </a:cubicBezTo>
                  <a:cubicBezTo>
                    <a:pt x="594" y="564"/>
                    <a:pt x="579" y="564"/>
                    <a:pt x="564" y="550"/>
                  </a:cubicBezTo>
                  <a:cubicBezTo>
                    <a:pt x="534" y="527"/>
                    <a:pt x="527" y="475"/>
                    <a:pt x="527" y="438"/>
                  </a:cubicBezTo>
                  <a:cubicBezTo>
                    <a:pt x="520" y="438"/>
                    <a:pt x="520" y="438"/>
                    <a:pt x="520" y="438"/>
                  </a:cubicBezTo>
                  <a:cubicBezTo>
                    <a:pt x="520" y="431"/>
                    <a:pt x="512" y="423"/>
                    <a:pt x="512" y="416"/>
                  </a:cubicBezTo>
                  <a:cubicBezTo>
                    <a:pt x="520" y="416"/>
                    <a:pt x="527" y="416"/>
                    <a:pt x="534" y="416"/>
                  </a:cubicBezTo>
                  <a:cubicBezTo>
                    <a:pt x="534" y="386"/>
                    <a:pt x="557" y="364"/>
                    <a:pt x="564" y="349"/>
                  </a:cubicBezTo>
                  <a:cubicBezTo>
                    <a:pt x="579" y="327"/>
                    <a:pt x="586" y="297"/>
                    <a:pt x="586" y="275"/>
                  </a:cubicBezTo>
                  <a:cubicBezTo>
                    <a:pt x="549" y="275"/>
                    <a:pt x="571" y="238"/>
                    <a:pt x="579" y="230"/>
                  </a:cubicBezTo>
                  <a:cubicBezTo>
                    <a:pt x="594" y="208"/>
                    <a:pt x="594" y="193"/>
                    <a:pt x="594" y="171"/>
                  </a:cubicBezTo>
                  <a:cubicBezTo>
                    <a:pt x="542" y="171"/>
                    <a:pt x="564" y="148"/>
                    <a:pt x="564" y="119"/>
                  </a:cubicBezTo>
                  <a:cubicBezTo>
                    <a:pt x="564" y="89"/>
                    <a:pt x="557" y="59"/>
                    <a:pt x="534" y="45"/>
                  </a:cubicBezTo>
                  <a:cubicBezTo>
                    <a:pt x="520" y="45"/>
                    <a:pt x="497" y="37"/>
                    <a:pt x="490" y="37"/>
                  </a:cubicBezTo>
                  <a:cubicBezTo>
                    <a:pt x="475" y="30"/>
                    <a:pt x="468" y="45"/>
                    <a:pt x="453" y="37"/>
                  </a:cubicBezTo>
                  <a:cubicBezTo>
                    <a:pt x="430" y="30"/>
                    <a:pt x="453" y="22"/>
                    <a:pt x="438" y="8"/>
                  </a:cubicBezTo>
                  <a:cubicBezTo>
                    <a:pt x="430" y="0"/>
                    <a:pt x="408" y="0"/>
                    <a:pt x="401" y="0"/>
                  </a:cubicBezTo>
                  <a:cubicBezTo>
                    <a:pt x="401" y="8"/>
                    <a:pt x="401" y="22"/>
                    <a:pt x="401" y="30"/>
                  </a:cubicBezTo>
                  <a:cubicBezTo>
                    <a:pt x="393" y="30"/>
                    <a:pt x="378" y="30"/>
                    <a:pt x="371" y="30"/>
                  </a:cubicBezTo>
                  <a:cubicBezTo>
                    <a:pt x="371" y="45"/>
                    <a:pt x="371" y="59"/>
                    <a:pt x="371" y="67"/>
                  </a:cubicBezTo>
                  <a:cubicBezTo>
                    <a:pt x="349" y="74"/>
                    <a:pt x="341" y="52"/>
                    <a:pt x="326" y="45"/>
                  </a:cubicBezTo>
                  <a:cubicBezTo>
                    <a:pt x="319" y="59"/>
                    <a:pt x="312" y="74"/>
                    <a:pt x="304" y="82"/>
                  </a:cubicBezTo>
                  <a:cubicBezTo>
                    <a:pt x="297" y="89"/>
                    <a:pt x="289" y="111"/>
                    <a:pt x="289" y="111"/>
                  </a:cubicBezTo>
                  <a:cubicBezTo>
                    <a:pt x="267" y="126"/>
                    <a:pt x="282" y="89"/>
                    <a:pt x="267" y="82"/>
                  </a:cubicBezTo>
                  <a:cubicBezTo>
                    <a:pt x="215" y="74"/>
                    <a:pt x="245" y="111"/>
                    <a:pt x="208" y="119"/>
                  </a:cubicBezTo>
                  <a:cubicBezTo>
                    <a:pt x="193" y="126"/>
                    <a:pt x="141" y="97"/>
                    <a:pt x="148" y="126"/>
                  </a:cubicBezTo>
                  <a:cubicBezTo>
                    <a:pt x="133" y="126"/>
                    <a:pt x="111" y="126"/>
                    <a:pt x="96" y="126"/>
                  </a:cubicBezTo>
                  <a:cubicBezTo>
                    <a:pt x="96" y="156"/>
                    <a:pt x="126" y="171"/>
                    <a:pt x="133" y="193"/>
                  </a:cubicBezTo>
                  <a:cubicBezTo>
                    <a:pt x="133" y="208"/>
                    <a:pt x="126" y="253"/>
                    <a:pt x="118" y="275"/>
                  </a:cubicBezTo>
                  <a:cubicBezTo>
                    <a:pt x="111" y="282"/>
                    <a:pt x="104" y="297"/>
                    <a:pt x="96" y="312"/>
                  </a:cubicBezTo>
                  <a:cubicBezTo>
                    <a:pt x="89" y="327"/>
                    <a:pt x="89" y="327"/>
                    <a:pt x="81" y="342"/>
                  </a:cubicBezTo>
                  <a:cubicBezTo>
                    <a:pt x="74" y="356"/>
                    <a:pt x="74" y="364"/>
                    <a:pt x="66" y="379"/>
                  </a:cubicBezTo>
                  <a:cubicBezTo>
                    <a:pt x="59" y="408"/>
                    <a:pt x="22" y="408"/>
                    <a:pt x="22" y="438"/>
                  </a:cubicBezTo>
                  <a:cubicBezTo>
                    <a:pt x="22" y="468"/>
                    <a:pt x="37" y="490"/>
                    <a:pt x="37" y="520"/>
                  </a:cubicBezTo>
                  <a:cubicBezTo>
                    <a:pt x="29" y="535"/>
                    <a:pt x="15" y="550"/>
                    <a:pt x="22" y="572"/>
                  </a:cubicBezTo>
                  <a:cubicBezTo>
                    <a:pt x="29" y="616"/>
                    <a:pt x="44" y="639"/>
                    <a:pt x="0" y="661"/>
                  </a:cubicBezTo>
                  <a:lnTo>
                    <a:pt x="15" y="668"/>
                  </a:lnTo>
                  <a:cubicBezTo>
                    <a:pt x="22" y="683"/>
                    <a:pt x="15" y="713"/>
                    <a:pt x="15" y="743"/>
                  </a:cubicBezTo>
                  <a:cubicBezTo>
                    <a:pt x="15" y="743"/>
                    <a:pt x="22" y="750"/>
                    <a:pt x="29" y="765"/>
                  </a:cubicBezTo>
                  <a:cubicBezTo>
                    <a:pt x="22" y="757"/>
                    <a:pt x="52" y="780"/>
                    <a:pt x="52" y="78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0" name="Freeform 28">
              <a:extLst>
                <a:ext uri="{FF2B5EF4-FFF2-40B4-BE49-F238E27FC236}">
                  <a16:creationId xmlns:a16="http://schemas.microsoft.com/office/drawing/2014/main" id="{BF8BF6B9-C95C-3841-BA43-4678B80794C3}"/>
                </a:ext>
              </a:extLst>
            </p:cNvPr>
            <p:cNvSpPr>
              <a:spLocks noChangeArrowheads="1"/>
            </p:cNvSpPr>
            <p:nvPr/>
          </p:nvSpPr>
          <p:spPr bwMode="auto">
            <a:xfrm>
              <a:off x="11512010" y="8867575"/>
              <a:ext cx="26689" cy="32388"/>
            </a:xfrm>
            <a:custGeom>
              <a:avLst/>
              <a:gdLst>
                <a:gd name="T0" fmla="*/ 52 w 60"/>
                <a:gd name="T1" fmla="*/ 0 h 75"/>
                <a:gd name="T2" fmla="*/ 52 w 60"/>
                <a:gd name="T3" fmla="*/ 0 h 75"/>
                <a:gd name="T4" fmla="*/ 59 w 60"/>
                <a:gd name="T5" fmla="*/ 44 h 75"/>
                <a:gd name="T6" fmla="*/ 59 w 60"/>
                <a:gd name="T7" fmla="*/ 0 h 75"/>
                <a:gd name="T8" fmla="*/ 52 w 60"/>
                <a:gd name="T9" fmla="*/ 0 h 75"/>
              </a:gdLst>
              <a:ahLst/>
              <a:cxnLst>
                <a:cxn ang="0">
                  <a:pos x="T0" y="T1"/>
                </a:cxn>
                <a:cxn ang="0">
                  <a:pos x="T2" y="T3"/>
                </a:cxn>
                <a:cxn ang="0">
                  <a:pos x="T4" y="T5"/>
                </a:cxn>
                <a:cxn ang="0">
                  <a:pos x="T6" y="T7"/>
                </a:cxn>
                <a:cxn ang="0">
                  <a:pos x="T8" y="T9"/>
                </a:cxn>
              </a:cxnLst>
              <a:rect l="0" t="0" r="r" b="b"/>
              <a:pathLst>
                <a:path w="60" h="75">
                  <a:moveTo>
                    <a:pt x="52" y="0"/>
                  </a:moveTo>
                  <a:lnTo>
                    <a:pt x="52" y="0"/>
                  </a:lnTo>
                  <a:cubicBezTo>
                    <a:pt x="44" y="15"/>
                    <a:pt x="0" y="74"/>
                    <a:pt x="59" y="44"/>
                  </a:cubicBezTo>
                  <a:cubicBezTo>
                    <a:pt x="52" y="37"/>
                    <a:pt x="59" y="15"/>
                    <a:pt x="59" y="0"/>
                  </a:cubicBezTo>
                  <a:lnTo>
                    <a:pt x="52" y="0"/>
                  </a:ln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1" name="Freeform 29">
              <a:extLst>
                <a:ext uri="{FF2B5EF4-FFF2-40B4-BE49-F238E27FC236}">
                  <a16:creationId xmlns:a16="http://schemas.microsoft.com/office/drawing/2014/main" id="{175C0097-B9A9-6248-879E-3529184D3D16}"/>
                </a:ext>
              </a:extLst>
            </p:cNvPr>
            <p:cNvSpPr>
              <a:spLocks noChangeArrowheads="1"/>
            </p:cNvSpPr>
            <p:nvPr/>
          </p:nvSpPr>
          <p:spPr bwMode="auto">
            <a:xfrm>
              <a:off x="10169929" y="10488814"/>
              <a:ext cx="1345894" cy="1745070"/>
            </a:xfrm>
            <a:custGeom>
              <a:avLst/>
              <a:gdLst>
                <a:gd name="T0" fmla="*/ 2874 w 3112"/>
                <a:gd name="T1" fmla="*/ 15 h 4041"/>
                <a:gd name="T2" fmla="*/ 2762 w 3112"/>
                <a:gd name="T3" fmla="*/ 208 h 4041"/>
                <a:gd name="T4" fmla="*/ 2502 w 3112"/>
                <a:gd name="T5" fmla="*/ 238 h 4041"/>
                <a:gd name="T6" fmla="*/ 2317 w 3112"/>
                <a:gd name="T7" fmla="*/ 334 h 4041"/>
                <a:gd name="T8" fmla="*/ 2064 w 3112"/>
                <a:gd name="T9" fmla="*/ 334 h 4041"/>
                <a:gd name="T10" fmla="*/ 1804 w 3112"/>
                <a:gd name="T11" fmla="*/ 520 h 4041"/>
                <a:gd name="T12" fmla="*/ 1515 w 3112"/>
                <a:gd name="T13" fmla="*/ 572 h 4041"/>
                <a:gd name="T14" fmla="*/ 1448 w 3112"/>
                <a:gd name="T15" fmla="*/ 549 h 4041"/>
                <a:gd name="T16" fmla="*/ 1173 w 3112"/>
                <a:gd name="T17" fmla="*/ 601 h 4041"/>
                <a:gd name="T18" fmla="*/ 1032 w 3112"/>
                <a:gd name="T19" fmla="*/ 869 h 4041"/>
                <a:gd name="T20" fmla="*/ 1106 w 3112"/>
                <a:gd name="T21" fmla="*/ 1114 h 4041"/>
                <a:gd name="T22" fmla="*/ 794 w 3112"/>
                <a:gd name="T23" fmla="*/ 1277 h 4041"/>
                <a:gd name="T24" fmla="*/ 557 w 3112"/>
                <a:gd name="T25" fmla="*/ 1255 h 4041"/>
                <a:gd name="T26" fmla="*/ 245 w 3112"/>
                <a:gd name="T27" fmla="*/ 1403 h 4041"/>
                <a:gd name="T28" fmla="*/ 155 w 3112"/>
                <a:gd name="T29" fmla="*/ 1337 h 4041"/>
                <a:gd name="T30" fmla="*/ 0 w 3112"/>
                <a:gd name="T31" fmla="*/ 1500 h 4041"/>
                <a:gd name="T32" fmla="*/ 222 w 3112"/>
                <a:gd name="T33" fmla="*/ 1604 h 4041"/>
                <a:gd name="T34" fmla="*/ 349 w 3112"/>
                <a:gd name="T35" fmla="*/ 1842 h 4041"/>
                <a:gd name="T36" fmla="*/ 445 w 3112"/>
                <a:gd name="T37" fmla="*/ 2116 h 4041"/>
                <a:gd name="T38" fmla="*/ 497 w 3112"/>
                <a:gd name="T39" fmla="*/ 2473 h 4041"/>
                <a:gd name="T40" fmla="*/ 675 w 3112"/>
                <a:gd name="T41" fmla="*/ 2540 h 4041"/>
                <a:gd name="T42" fmla="*/ 690 w 3112"/>
                <a:gd name="T43" fmla="*/ 2792 h 4041"/>
                <a:gd name="T44" fmla="*/ 779 w 3112"/>
                <a:gd name="T45" fmla="*/ 3030 h 4041"/>
                <a:gd name="T46" fmla="*/ 675 w 3112"/>
                <a:gd name="T47" fmla="*/ 3446 h 4041"/>
                <a:gd name="T48" fmla="*/ 653 w 3112"/>
                <a:gd name="T49" fmla="*/ 3683 h 4041"/>
                <a:gd name="T50" fmla="*/ 594 w 3112"/>
                <a:gd name="T51" fmla="*/ 3876 h 4041"/>
                <a:gd name="T52" fmla="*/ 690 w 3112"/>
                <a:gd name="T53" fmla="*/ 3980 h 4041"/>
                <a:gd name="T54" fmla="*/ 928 w 3112"/>
                <a:gd name="T55" fmla="*/ 4017 h 4041"/>
                <a:gd name="T56" fmla="*/ 1069 w 3112"/>
                <a:gd name="T57" fmla="*/ 3965 h 4041"/>
                <a:gd name="T58" fmla="*/ 1202 w 3112"/>
                <a:gd name="T59" fmla="*/ 3876 h 4041"/>
                <a:gd name="T60" fmla="*/ 1344 w 3112"/>
                <a:gd name="T61" fmla="*/ 3728 h 4041"/>
                <a:gd name="T62" fmla="*/ 1277 w 3112"/>
                <a:gd name="T63" fmla="*/ 3654 h 4041"/>
                <a:gd name="T64" fmla="*/ 1403 w 3112"/>
                <a:gd name="T65" fmla="*/ 3438 h 4041"/>
                <a:gd name="T66" fmla="*/ 1529 w 3112"/>
                <a:gd name="T67" fmla="*/ 3327 h 4041"/>
                <a:gd name="T68" fmla="*/ 1812 w 3112"/>
                <a:gd name="T69" fmla="*/ 3230 h 4041"/>
                <a:gd name="T70" fmla="*/ 1915 w 3112"/>
                <a:gd name="T71" fmla="*/ 3186 h 4041"/>
                <a:gd name="T72" fmla="*/ 2116 w 3112"/>
                <a:gd name="T73" fmla="*/ 3156 h 4041"/>
                <a:gd name="T74" fmla="*/ 2019 w 3112"/>
                <a:gd name="T75" fmla="*/ 2896 h 4041"/>
                <a:gd name="T76" fmla="*/ 2235 w 3112"/>
                <a:gd name="T77" fmla="*/ 2621 h 4041"/>
                <a:gd name="T78" fmla="*/ 2272 w 3112"/>
                <a:gd name="T79" fmla="*/ 2458 h 4041"/>
                <a:gd name="T80" fmla="*/ 2435 w 3112"/>
                <a:gd name="T81" fmla="*/ 2406 h 4041"/>
                <a:gd name="T82" fmla="*/ 2599 w 3112"/>
                <a:gd name="T83" fmla="*/ 2376 h 4041"/>
                <a:gd name="T84" fmla="*/ 2666 w 3112"/>
                <a:gd name="T85" fmla="*/ 2428 h 4041"/>
                <a:gd name="T86" fmla="*/ 2703 w 3112"/>
                <a:gd name="T87" fmla="*/ 1960 h 4041"/>
                <a:gd name="T88" fmla="*/ 2688 w 3112"/>
                <a:gd name="T89" fmla="*/ 1559 h 4041"/>
                <a:gd name="T90" fmla="*/ 2658 w 3112"/>
                <a:gd name="T91" fmla="*/ 1359 h 4041"/>
                <a:gd name="T92" fmla="*/ 2606 w 3112"/>
                <a:gd name="T93" fmla="*/ 1329 h 4041"/>
                <a:gd name="T94" fmla="*/ 2532 w 3112"/>
                <a:gd name="T95" fmla="*/ 1248 h 4041"/>
                <a:gd name="T96" fmla="*/ 2569 w 3112"/>
                <a:gd name="T97" fmla="*/ 1158 h 4041"/>
                <a:gd name="T98" fmla="*/ 2628 w 3112"/>
                <a:gd name="T99" fmla="*/ 1203 h 4041"/>
                <a:gd name="T100" fmla="*/ 2725 w 3112"/>
                <a:gd name="T101" fmla="*/ 1158 h 4041"/>
                <a:gd name="T102" fmla="*/ 2740 w 3112"/>
                <a:gd name="T103" fmla="*/ 1025 h 4041"/>
                <a:gd name="T104" fmla="*/ 2784 w 3112"/>
                <a:gd name="T105" fmla="*/ 1010 h 4041"/>
                <a:gd name="T106" fmla="*/ 2903 w 3112"/>
                <a:gd name="T107" fmla="*/ 861 h 4041"/>
                <a:gd name="T108" fmla="*/ 2881 w 3112"/>
                <a:gd name="T109" fmla="*/ 750 h 4041"/>
                <a:gd name="T110" fmla="*/ 3044 w 3112"/>
                <a:gd name="T111" fmla="*/ 542 h 4041"/>
                <a:gd name="T112" fmla="*/ 3052 w 3112"/>
                <a:gd name="T113" fmla="*/ 59 h 4041"/>
                <a:gd name="T114" fmla="*/ 2606 w 3112"/>
                <a:gd name="T115" fmla="*/ 1931 h 4041"/>
                <a:gd name="T116" fmla="*/ 2651 w 3112"/>
                <a:gd name="T117" fmla="*/ 2050 h 4041"/>
                <a:gd name="T118" fmla="*/ 2569 w 3112"/>
                <a:gd name="T119" fmla="*/ 1968 h 40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112" h="4041">
                  <a:moveTo>
                    <a:pt x="2896" y="52"/>
                  </a:moveTo>
                  <a:lnTo>
                    <a:pt x="2896" y="52"/>
                  </a:lnTo>
                  <a:cubicBezTo>
                    <a:pt x="2896" y="44"/>
                    <a:pt x="2888" y="30"/>
                    <a:pt x="2888" y="22"/>
                  </a:cubicBezTo>
                  <a:cubicBezTo>
                    <a:pt x="2888" y="15"/>
                    <a:pt x="2881" y="15"/>
                    <a:pt x="2874" y="15"/>
                  </a:cubicBezTo>
                  <a:cubicBezTo>
                    <a:pt x="2874" y="7"/>
                    <a:pt x="2859" y="0"/>
                    <a:pt x="2844" y="7"/>
                  </a:cubicBezTo>
                  <a:cubicBezTo>
                    <a:pt x="2836" y="30"/>
                    <a:pt x="2836" y="52"/>
                    <a:pt x="2836" y="74"/>
                  </a:cubicBezTo>
                  <a:cubicBezTo>
                    <a:pt x="2777" y="67"/>
                    <a:pt x="2792" y="134"/>
                    <a:pt x="2747" y="156"/>
                  </a:cubicBezTo>
                  <a:cubicBezTo>
                    <a:pt x="2740" y="178"/>
                    <a:pt x="2769" y="186"/>
                    <a:pt x="2762" y="208"/>
                  </a:cubicBezTo>
                  <a:cubicBezTo>
                    <a:pt x="2703" y="215"/>
                    <a:pt x="2658" y="193"/>
                    <a:pt x="2658" y="267"/>
                  </a:cubicBezTo>
                  <a:cubicBezTo>
                    <a:pt x="2636" y="267"/>
                    <a:pt x="2614" y="275"/>
                    <a:pt x="2599" y="267"/>
                  </a:cubicBezTo>
                  <a:cubicBezTo>
                    <a:pt x="2606" y="223"/>
                    <a:pt x="2539" y="156"/>
                    <a:pt x="2532" y="230"/>
                  </a:cubicBezTo>
                  <a:cubicBezTo>
                    <a:pt x="2524" y="230"/>
                    <a:pt x="2517" y="238"/>
                    <a:pt x="2502" y="238"/>
                  </a:cubicBezTo>
                  <a:cubicBezTo>
                    <a:pt x="2502" y="186"/>
                    <a:pt x="2495" y="171"/>
                    <a:pt x="2443" y="163"/>
                  </a:cubicBezTo>
                  <a:cubicBezTo>
                    <a:pt x="2398" y="163"/>
                    <a:pt x="2339" y="178"/>
                    <a:pt x="2406" y="201"/>
                  </a:cubicBezTo>
                  <a:cubicBezTo>
                    <a:pt x="2369" y="223"/>
                    <a:pt x="2406" y="267"/>
                    <a:pt x="2369" y="282"/>
                  </a:cubicBezTo>
                  <a:cubicBezTo>
                    <a:pt x="2339" y="290"/>
                    <a:pt x="2331" y="297"/>
                    <a:pt x="2317" y="334"/>
                  </a:cubicBezTo>
                  <a:cubicBezTo>
                    <a:pt x="2294" y="379"/>
                    <a:pt x="2257" y="267"/>
                    <a:pt x="2250" y="364"/>
                  </a:cubicBezTo>
                  <a:cubicBezTo>
                    <a:pt x="2235" y="356"/>
                    <a:pt x="2227" y="364"/>
                    <a:pt x="2220" y="364"/>
                  </a:cubicBezTo>
                  <a:cubicBezTo>
                    <a:pt x="2220" y="401"/>
                    <a:pt x="2175" y="401"/>
                    <a:pt x="2146" y="401"/>
                  </a:cubicBezTo>
                  <a:cubicBezTo>
                    <a:pt x="2109" y="394"/>
                    <a:pt x="2101" y="349"/>
                    <a:pt x="2064" y="334"/>
                  </a:cubicBezTo>
                  <a:cubicBezTo>
                    <a:pt x="1982" y="319"/>
                    <a:pt x="1878" y="341"/>
                    <a:pt x="1804" y="371"/>
                  </a:cubicBezTo>
                  <a:cubicBezTo>
                    <a:pt x="1804" y="386"/>
                    <a:pt x="1797" y="409"/>
                    <a:pt x="1804" y="423"/>
                  </a:cubicBezTo>
                  <a:cubicBezTo>
                    <a:pt x="1804" y="423"/>
                    <a:pt x="1804" y="423"/>
                    <a:pt x="1812" y="423"/>
                  </a:cubicBezTo>
                  <a:cubicBezTo>
                    <a:pt x="1812" y="453"/>
                    <a:pt x="1812" y="490"/>
                    <a:pt x="1804" y="520"/>
                  </a:cubicBezTo>
                  <a:cubicBezTo>
                    <a:pt x="1767" y="512"/>
                    <a:pt x="1745" y="587"/>
                    <a:pt x="1722" y="609"/>
                  </a:cubicBezTo>
                  <a:cubicBezTo>
                    <a:pt x="1685" y="639"/>
                    <a:pt x="1648" y="691"/>
                    <a:pt x="1596" y="661"/>
                  </a:cubicBezTo>
                  <a:cubicBezTo>
                    <a:pt x="1574" y="654"/>
                    <a:pt x="1529" y="631"/>
                    <a:pt x="1522" y="609"/>
                  </a:cubicBezTo>
                  <a:cubicBezTo>
                    <a:pt x="1515" y="601"/>
                    <a:pt x="1522" y="579"/>
                    <a:pt x="1515" y="572"/>
                  </a:cubicBezTo>
                  <a:cubicBezTo>
                    <a:pt x="1507" y="601"/>
                    <a:pt x="1500" y="631"/>
                    <a:pt x="1500" y="639"/>
                  </a:cubicBezTo>
                  <a:cubicBezTo>
                    <a:pt x="1500" y="631"/>
                    <a:pt x="1507" y="601"/>
                    <a:pt x="1515" y="572"/>
                  </a:cubicBezTo>
                  <a:cubicBezTo>
                    <a:pt x="1507" y="572"/>
                    <a:pt x="1507" y="564"/>
                    <a:pt x="1507" y="564"/>
                  </a:cubicBezTo>
                  <a:cubicBezTo>
                    <a:pt x="1485" y="557"/>
                    <a:pt x="1462" y="557"/>
                    <a:pt x="1448" y="549"/>
                  </a:cubicBezTo>
                  <a:cubicBezTo>
                    <a:pt x="1425" y="535"/>
                    <a:pt x="1418" y="512"/>
                    <a:pt x="1396" y="498"/>
                  </a:cubicBezTo>
                  <a:cubicBezTo>
                    <a:pt x="1351" y="483"/>
                    <a:pt x="1351" y="572"/>
                    <a:pt x="1307" y="512"/>
                  </a:cubicBezTo>
                  <a:cubicBezTo>
                    <a:pt x="1292" y="490"/>
                    <a:pt x="1202" y="468"/>
                    <a:pt x="1195" y="498"/>
                  </a:cubicBezTo>
                  <a:cubicBezTo>
                    <a:pt x="1188" y="535"/>
                    <a:pt x="1188" y="572"/>
                    <a:pt x="1173" y="601"/>
                  </a:cubicBezTo>
                  <a:cubicBezTo>
                    <a:pt x="1151" y="646"/>
                    <a:pt x="1069" y="631"/>
                    <a:pt x="1032" y="631"/>
                  </a:cubicBezTo>
                  <a:cubicBezTo>
                    <a:pt x="1032" y="668"/>
                    <a:pt x="1039" y="720"/>
                    <a:pt x="1024" y="750"/>
                  </a:cubicBezTo>
                  <a:cubicBezTo>
                    <a:pt x="1032" y="750"/>
                    <a:pt x="1039" y="757"/>
                    <a:pt x="1047" y="750"/>
                  </a:cubicBezTo>
                  <a:cubicBezTo>
                    <a:pt x="1047" y="795"/>
                    <a:pt x="1054" y="839"/>
                    <a:pt x="1032" y="869"/>
                  </a:cubicBezTo>
                  <a:cubicBezTo>
                    <a:pt x="1010" y="891"/>
                    <a:pt x="957" y="921"/>
                    <a:pt x="935" y="943"/>
                  </a:cubicBezTo>
                  <a:cubicBezTo>
                    <a:pt x="972" y="988"/>
                    <a:pt x="1113" y="943"/>
                    <a:pt x="1136" y="1003"/>
                  </a:cubicBezTo>
                  <a:cubicBezTo>
                    <a:pt x="1143" y="1032"/>
                    <a:pt x="1136" y="1062"/>
                    <a:pt x="1128" y="1091"/>
                  </a:cubicBezTo>
                  <a:cubicBezTo>
                    <a:pt x="1128" y="1106"/>
                    <a:pt x="1113" y="1106"/>
                    <a:pt x="1106" y="1114"/>
                  </a:cubicBezTo>
                  <a:cubicBezTo>
                    <a:pt x="1084" y="1129"/>
                    <a:pt x="1084" y="1151"/>
                    <a:pt x="1084" y="1173"/>
                  </a:cubicBezTo>
                  <a:cubicBezTo>
                    <a:pt x="1039" y="1173"/>
                    <a:pt x="980" y="1158"/>
                    <a:pt x="943" y="1196"/>
                  </a:cubicBezTo>
                  <a:cubicBezTo>
                    <a:pt x="913" y="1225"/>
                    <a:pt x="913" y="1270"/>
                    <a:pt x="905" y="1307"/>
                  </a:cubicBezTo>
                  <a:cubicBezTo>
                    <a:pt x="876" y="1307"/>
                    <a:pt x="824" y="1277"/>
                    <a:pt x="794" y="1277"/>
                  </a:cubicBezTo>
                  <a:cubicBezTo>
                    <a:pt x="750" y="1262"/>
                    <a:pt x="712" y="1255"/>
                    <a:pt x="668" y="1270"/>
                  </a:cubicBezTo>
                  <a:cubicBezTo>
                    <a:pt x="668" y="1277"/>
                    <a:pt x="668" y="1292"/>
                    <a:pt x="660" y="1300"/>
                  </a:cubicBezTo>
                  <a:cubicBezTo>
                    <a:pt x="638" y="1307"/>
                    <a:pt x="631" y="1277"/>
                    <a:pt x="623" y="1262"/>
                  </a:cubicBezTo>
                  <a:cubicBezTo>
                    <a:pt x="601" y="1248"/>
                    <a:pt x="579" y="1255"/>
                    <a:pt x="557" y="1255"/>
                  </a:cubicBezTo>
                  <a:cubicBezTo>
                    <a:pt x="512" y="1262"/>
                    <a:pt x="475" y="1292"/>
                    <a:pt x="467" y="1337"/>
                  </a:cubicBezTo>
                  <a:cubicBezTo>
                    <a:pt x="453" y="1389"/>
                    <a:pt x="453" y="1403"/>
                    <a:pt x="386" y="1396"/>
                  </a:cubicBezTo>
                  <a:cubicBezTo>
                    <a:pt x="363" y="1389"/>
                    <a:pt x="334" y="1389"/>
                    <a:pt x="304" y="1389"/>
                  </a:cubicBezTo>
                  <a:cubicBezTo>
                    <a:pt x="289" y="1396"/>
                    <a:pt x="267" y="1411"/>
                    <a:pt x="245" y="1403"/>
                  </a:cubicBezTo>
                  <a:cubicBezTo>
                    <a:pt x="252" y="1403"/>
                    <a:pt x="245" y="1344"/>
                    <a:pt x="237" y="1337"/>
                  </a:cubicBezTo>
                  <a:cubicBezTo>
                    <a:pt x="215" y="1322"/>
                    <a:pt x="178" y="1329"/>
                    <a:pt x="155" y="1337"/>
                  </a:cubicBezTo>
                  <a:cubicBezTo>
                    <a:pt x="155" y="1366"/>
                    <a:pt x="163" y="1411"/>
                    <a:pt x="163" y="1411"/>
                  </a:cubicBezTo>
                  <a:cubicBezTo>
                    <a:pt x="163" y="1411"/>
                    <a:pt x="155" y="1366"/>
                    <a:pt x="155" y="1337"/>
                  </a:cubicBezTo>
                  <a:cubicBezTo>
                    <a:pt x="155" y="1337"/>
                    <a:pt x="155" y="1337"/>
                    <a:pt x="148" y="1337"/>
                  </a:cubicBezTo>
                  <a:cubicBezTo>
                    <a:pt x="148" y="1389"/>
                    <a:pt x="89" y="1359"/>
                    <a:pt x="89" y="1411"/>
                  </a:cubicBezTo>
                  <a:cubicBezTo>
                    <a:pt x="52" y="1418"/>
                    <a:pt x="37" y="1389"/>
                    <a:pt x="7" y="1381"/>
                  </a:cubicBezTo>
                  <a:cubicBezTo>
                    <a:pt x="0" y="1418"/>
                    <a:pt x="0" y="1463"/>
                    <a:pt x="0" y="1500"/>
                  </a:cubicBezTo>
                  <a:cubicBezTo>
                    <a:pt x="29" y="1500"/>
                    <a:pt x="52" y="1493"/>
                    <a:pt x="74" y="1515"/>
                  </a:cubicBezTo>
                  <a:cubicBezTo>
                    <a:pt x="96" y="1530"/>
                    <a:pt x="118" y="1522"/>
                    <a:pt x="133" y="1537"/>
                  </a:cubicBezTo>
                  <a:cubicBezTo>
                    <a:pt x="155" y="1545"/>
                    <a:pt x="155" y="1567"/>
                    <a:pt x="178" y="1574"/>
                  </a:cubicBezTo>
                  <a:cubicBezTo>
                    <a:pt x="193" y="1582"/>
                    <a:pt x="222" y="1582"/>
                    <a:pt x="222" y="1604"/>
                  </a:cubicBezTo>
                  <a:cubicBezTo>
                    <a:pt x="200" y="1611"/>
                    <a:pt x="148" y="1686"/>
                    <a:pt x="148" y="1708"/>
                  </a:cubicBezTo>
                  <a:cubicBezTo>
                    <a:pt x="141" y="1708"/>
                    <a:pt x="141" y="1708"/>
                    <a:pt x="133" y="1708"/>
                  </a:cubicBezTo>
                  <a:cubicBezTo>
                    <a:pt x="193" y="1708"/>
                    <a:pt x="267" y="1686"/>
                    <a:pt x="319" y="1715"/>
                  </a:cubicBezTo>
                  <a:cubicBezTo>
                    <a:pt x="363" y="1738"/>
                    <a:pt x="349" y="1797"/>
                    <a:pt x="349" y="1842"/>
                  </a:cubicBezTo>
                  <a:cubicBezTo>
                    <a:pt x="334" y="1842"/>
                    <a:pt x="326" y="1842"/>
                    <a:pt x="311" y="1842"/>
                  </a:cubicBezTo>
                  <a:cubicBezTo>
                    <a:pt x="297" y="1864"/>
                    <a:pt x="311" y="1901"/>
                    <a:pt x="304" y="1923"/>
                  </a:cubicBezTo>
                  <a:cubicBezTo>
                    <a:pt x="326" y="1923"/>
                    <a:pt x="415" y="1968"/>
                    <a:pt x="430" y="1990"/>
                  </a:cubicBezTo>
                  <a:cubicBezTo>
                    <a:pt x="460" y="2027"/>
                    <a:pt x="453" y="2079"/>
                    <a:pt x="445" y="2116"/>
                  </a:cubicBezTo>
                  <a:cubicBezTo>
                    <a:pt x="415" y="2139"/>
                    <a:pt x="423" y="2191"/>
                    <a:pt x="415" y="2228"/>
                  </a:cubicBezTo>
                  <a:cubicBezTo>
                    <a:pt x="408" y="2265"/>
                    <a:pt x="400" y="2302"/>
                    <a:pt x="408" y="2339"/>
                  </a:cubicBezTo>
                  <a:cubicBezTo>
                    <a:pt x="415" y="2369"/>
                    <a:pt x="415" y="2406"/>
                    <a:pt x="438" y="2421"/>
                  </a:cubicBezTo>
                  <a:cubicBezTo>
                    <a:pt x="460" y="2436"/>
                    <a:pt x="497" y="2436"/>
                    <a:pt x="497" y="2473"/>
                  </a:cubicBezTo>
                  <a:cubicBezTo>
                    <a:pt x="505" y="2473"/>
                    <a:pt x="512" y="2473"/>
                    <a:pt x="519" y="2465"/>
                  </a:cubicBezTo>
                  <a:cubicBezTo>
                    <a:pt x="519" y="2413"/>
                    <a:pt x="571" y="2428"/>
                    <a:pt x="594" y="2391"/>
                  </a:cubicBezTo>
                  <a:cubicBezTo>
                    <a:pt x="616" y="2369"/>
                    <a:pt x="668" y="2361"/>
                    <a:pt x="698" y="2376"/>
                  </a:cubicBezTo>
                  <a:cubicBezTo>
                    <a:pt x="735" y="2399"/>
                    <a:pt x="742" y="2547"/>
                    <a:pt x="675" y="2540"/>
                  </a:cubicBezTo>
                  <a:cubicBezTo>
                    <a:pt x="675" y="2562"/>
                    <a:pt x="690" y="2569"/>
                    <a:pt x="683" y="2592"/>
                  </a:cubicBezTo>
                  <a:cubicBezTo>
                    <a:pt x="794" y="2607"/>
                    <a:pt x="668" y="2696"/>
                    <a:pt x="683" y="2748"/>
                  </a:cubicBezTo>
                  <a:cubicBezTo>
                    <a:pt x="683" y="2748"/>
                    <a:pt x="683" y="2748"/>
                    <a:pt x="690" y="2748"/>
                  </a:cubicBezTo>
                  <a:cubicBezTo>
                    <a:pt x="690" y="2762"/>
                    <a:pt x="690" y="2777"/>
                    <a:pt x="690" y="2792"/>
                  </a:cubicBezTo>
                  <a:cubicBezTo>
                    <a:pt x="638" y="2807"/>
                    <a:pt x="675" y="2918"/>
                    <a:pt x="631" y="2918"/>
                  </a:cubicBezTo>
                  <a:cubicBezTo>
                    <a:pt x="668" y="2926"/>
                    <a:pt x="683" y="2970"/>
                    <a:pt x="720" y="2963"/>
                  </a:cubicBezTo>
                  <a:cubicBezTo>
                    <a:pt x="735" y="2948"/>
                    <a:pt x="742" y="2926"/>
                    <a:pt x="772" y="2933"/>
                  </a:cubicBezTo>
                  <a:cubicBezTo>
                    <a:pt x="765" y="2978"/>
                    <a:pt x="824" y="3000"/>
                    <a:pt x="779" y="3030"/>
                  </a:cubicBezTo>
                  <a:cubicBezTo>
                    <a:pt x="757" y="3045"/>
                    <a:pt x="742" y="3119"/>
                    <a:pt x="742" y="3149"/>
                  </a:cubicBezTo>
                  <a:cubicBezTo>
                    <a:pt x="683" y="3134"/>
                    <a:pt x="690" y="3267"/>
                    <a:pt x="668" y="3305"/>
                  </a:cubicBezTo>
                  <a:cubicBezTo>
                    <a:pt x="653" y="3334"/>
                    <a:pt x="608" y="3334"/>
                    <a:pt x="616" y="3364"/>
                  </a:cubicBezTo>
                  <a:cubicBezTo>
                    <a:pt x="623" y="3394"/>
                    <a:pt x="653" y="3446"/>
                    <a:pt x="675" y="3446"/>
                  </a:cubicBezTo>
                  <a:cubicBezTo>
                    <a:pt x="683" y="3475"/>
                    <a:pt x="683" y="3505"/>
                    <a:pt x="675" y="3527"/>
                  </a:cubicBezTo>
                  <a:cubicBezTo>
                    <a:pt x="646" y="3527"/>
                    <a:pt x="616" y="3564"/>
                    <a:pt x="616" y="3587"/>
                  </a:cubicBezTo>
                  <a:cubicBezTo>
                    <a:pt x="608" y="3624"/>
                    <a:pt x="646" y="3646"/>
                    <a:pt x="646" y="3683"/>
                  </a:cubicBezTo>
                  <a:cubicBezTo>
                    <a:pt x="653" y="3683"/>
                    <a:pt x="653" y="3683"/>
                    <a:pt x="653" y="3683"/>
                  </a:cubicBezTo>
                  <a:cubicBezTo>
                    <a:pt x="668" y="3728"/>
                    <a:pt x="683" y="3787"/>
                    <a:pt x="616" y="3757"/>
                  </a:cubicBezTo>
                  <a:cubicBezTo>
                    <a:pt x="616" y="3772"/>
                    <a:pt x="616" y="3787"/>
                    <a:pt x="616" y="3802"/>
                  </a:cubicBezTo>
                  <a:cubicBezTo>
                    <a:pt x="608" y="3802"/>
                    <a:pt x="608" y="3809"/>
                    <a:pt x="601" y="3802"/>
                  </a:cubicBezTo>
                  <a:cubicBezTo>
                    <a:pt x="601" y="3832"/>
                    <a:pt x="601" y="3854"/>
                    <a:pt x="594" y="3876"/>
                  </a:cubicBezTo>
                  <a:cubicBezTo>
                    <a:pt x="594" y="3884"/>
                    <a:pt x="586" y="3884"/>
                    <a:pt x="579" y="3884"/>
                  </a:cubicBezTo>
                  <a:cubicBezTo>
                    <a:pt x="579" y="3884"/>
                    <a:pt x="571" y="3891"/>
                    <a:pt x="564" y="3891"/>
                  </a:cubicBezTo>
                  <a:cubicBezTo>
                    <a:pt x="571" y="3906"/>
                    <a:pt x="579" y="3921"/>
                    <a:pt x="594" y="3936"/>
                  </a:cubicBezTo>
                  <a:cubicBezTo>
                    <a:pt x="616" y="3951"/>
                    <a:pt x="660" y="3965"/>
                    <a:pt x="690" y="3980"/>
                  </a:cubicBezTo>
                  <a:cubicBezTo>
                    <a:pt x="735" y="3995"/>
                    <a:pt x="779" y="4017"/>
                    <a:pt x="824" y="4032"/>
                  </a:cubicBezTo>
                  <a:cubicBezTo>
                    <a:pt x="846" y="4032"/>
                    <a:pt x="868" y="4032"/>
                    <a:pt x="891" y="4032"/>
                  </a:cubicBezTo>
                  <a:cubicBezTo>
                    <a:pt x="898" y="4032"/>
                    <a:pt x="905" y="4040"/>
                    <a:pt x="913" y="4032"/>
                  </a:cubicBezTo>
                  <a:cubicBezTo>
                    <a:pt x="913" y="4032"/>
                    <a:pt x="920" y="4017"/>
                    <a:pt x="928" y="4017"/>
                  </a:cubicBezTo>
                  <a:lnTo>
                    <a:pt x="928" y="4017"/>
                  </a:lnTo>
                  <a:cubicBezTo>
                    <a:pt x="935" y="4010"/>
                    <a:pt x="935" y="3988"/>
                    <a:pt x="957" y="3980"/>
                  </a:cubicBezTo>
                  <a:cubicBezTo>
                    <a:pt x="965" y="3973"/>
                    <a:pt x="987" y="3980"/>
                    <a:pt x="1002" y="3980"/>
                  </a:cubicBezTo>
                  <a:cubicBezTo>
                    <a:pt x="1024" y="3980"/>
                    <a:pt x="1047" y="3973"/>
                    <a:pt x="1069" y="3965"/>
                  </a:cubicBezTo>
                  <a:cubicBezTo>
                    <a:pt x="1076" y="3958"/>
                    <a:pt x="1091" y="3951"/>
                    <a:pt x="1099" y="3943"/>
                  </a:cubicBezTo>
                  <a:cubicBezTo>
                    <a:pt x="1106" y="3921"/>
                    <a:pt x="1113" y="3906"/>
                    <a:pt x="1128" y="3891"/>
                  </a:cubicBezTo>
                  <a:cubicBezTo>
                    <a:pt x="1143" y="3884"/>
                    <a:pt x="1165" y="3884"/>
                    <a:pt x="1173" y="3876"/>
                  </a:cubicBezTo>
                  <a:cubicBezTo>
                    <a:pt x="1180" y="3876"/>
                    <a:pt x="1195" y="3876"/>
                    <a:pt x="1202" y="3876"/>
                  </a:cubicBezTo>
                  <a:cubicBezTo>
                    <a:pt x="1210" y="3876"/>
                    <a:pt x="1217" y="3862"/>
                    <a:pt x="1232" y="3862"/>
                  </a:cubicBezTo>
                  <a:cubicBezTo>
                    <a:pt x="1255" y="3847"/>
                    <a:pt x="1270" y="3847"/>
                    <a:pt x="1292" y="3824"/>
                  </a:cubicBezTo>
                  <a:cubicBezTo>
                    <a:pt x="1307" y="3809"/>
                    <a:pt x="1321" y="3787"/>
                    <a:pt x="1329" y="3765"/>
                  </a:cubicBezTo>
                  <a:cubicBezTo>
                    <a:pt x="1336" y="3750"/>
                    <a:pt x="1336" y="3735"/>
                    <a:pt x="1344" y="3728"/>
                  </a:cubicBezTo>
                  <a:cubicBezTo>
                    <a:pt x="1358" y="3713"/>
                    <a:pt x="1358" y="3713"/>
                    <a:pt x="1366" y="3698"/>
                  </a:cubicBezTo>
                  <a:cubicBezTo>
                    <a:pt x="1366" y="3691"/>
                    <a:pt x="1366" y="3661"/>
                    <a:pt x="1366" y="3654"/>
                  </a:cubicBezTo>
                  <a:cubicBezTo>
                    <a:pt x="1358" y="3646"/>
                    <a:pt x="1329" y="3646"/>
                    <a:pt x="1329" y="3654"/>
                  </a:cubicBezTo>
                  <a:cubicBezTo>
                    <a:pt x="1314" y="3654"/>
                    <a:pt x="1292" y="3654"/>
                    <a:pt x="1277" y="3654"/>
                  </a:cubicBezTo>
                  <a:cubicBezTo>
                    <a:pt x="1284" y="3624"/>
                    <a:pt x="1344" y="3639"/>
                    <a:pt x="1358" y="3639"/>
                  </a:cubicBezTo>
                  <a:cubicBezTo>
                    <a:pt x="1366" y="3617"/>
                    <a:pt x="1366" y="3602"/>
                    <a:pt x="1381" y="3587"/>
                  </a:cubicBezTo>
                  <a:cubicBezTo>
                    <a:pt x="1388" y="3579"/>
                    <a:pt x="1403" y="3564"/>
                    <a:pt x="1403" y="3550"/>
                  </a:cubicBezTo>
                  <a:cubicBezTo>
                    <a:pt x="1410" y="3512"/>
                    <a:pt x="1403" y="3475"/>
                    <a:pt x="1403" y="3438"/>
                  </a:cubicBezTo>
                  <a:cubicBezTo>
                    <a:pt x="1410" y="3423"/>
                    <a:pt x="1410" y="3386"/>
                    <a:pt x="1425" y="3371"/>
                  </a:cubicBezTo>
                  <a:cubicBezTo>
                    <a:pt x="1433" y="3364"/>
                    <a:pt x="1440" y="3371"/>
                    <a:pt x="1448" y="3364"/>
                  </a:cubicBezTo>
                  <a:cubicBezTo>
                    <a:pt x="1462" y="3364"/>
                    <a:pt x="1462" y="3357"/>
                    <a:pt x="1477" y="3349"/>
                  </a:cubicBezTo>
                  <a:cubicBezTo>
                    <a:pt x="1492" y="3334"/>
                    <a:pt x="1515" y="3342"/>
                    <a:pt x="1529" y="3327"/>
                  </a:cubicBezTo>
                  <a:cubicBezTo>
                    <a:pt x="1544" y="3312"/>
                    <a:pt x="1552" y="3290"/>
                    <a:pt x="1567" y="3282"/>
                  </a:cubicBezTo>
                  <a:cubicBezTo>
                    <a:pt x="1581" y="3267"/>
                    <a:pt x="1611" y="3267"/>
                    <a:pt x="1633" y="3267"/>
                  </a:cubicBezTo>
                  <a:cubicBezTo>
                    <a:pt x="1678" y="3260"/>
                    <a:pt x="1730" y="3252"/>
                    <a:pt x="1774" y="3238"/>
                  </a:cubicBezTo>
                  <a:cubicBezTo>
                    <a:pt x="1789" y="3230"/>
                    <a:pt x="1797" y="3230"/>
                    <a:pt x="1812" y="3230"/>
                  </a:cubicBezTo>
                  <a:cubicBezTo>
                    <a:pt x="1812" y="3230"/>
                    <a:pt x="1819" y="3223"/>
                    <a:pt x="1819" y="3215"/>
                  </a:cubicBezTo>
                  <a:cubicBezTo>
                    <a:pt x="1826" y="3208"/>
                    <a:pt x="1849" y="3208"/>
                    <a:pt x="1864" y="3208"/>
                  </a:cubicBezTo>
                  <a:cubicBezTo>
                    <a:pt x="1871" y="3193"/>
                    <a:pt x="1871" y="3193"/>
                    <a:pt x="1886" y="3186"/>
                  </a:cubicBezTo>
                  <a:cubicBezTo>
                    <a:pt x="1893" y="3186"/>
                    <a:pt x="1908" y="3186"/>
                    <a:pt x="1915" y="3186"/>
                  </a:cubicBezTo>
                  <a:cubicBezTo>
                    <a:pt x="1953" y="3171"/>
                    <a:pt x="1990" y="3163"/>
                    <a:pt x="2034" y="3171"/>
                  </a:cubicBezTo>
                  <a:cubicBezTo>
                    <a:pt x="2057" y="3171"/>
                    <a:pt x="2079" y="3178"/>
                    <a:pt x="2109" y="3178"/>
                  </a:cubicBezTo>
                  <a:cubicBezTo>
                    <a:pt x="2123" y="3178"/>
                    <a:pt x="2131" y="3171"/>
                    <a:pt x="2146" y="3163"/>
                  </a:cubicBezTo>
                  <a:cubicBezTo>
                    <a:pt x="2138" y="3163"/>
                    <a:pt x="2123" y="3156"/>
                    <a:pt x="2116" y="3156"/>
                  </a:cubicBezTo>
                  <a:cubicBezTo>
                    <a:pt x="2116" y="3149"/>
                    <a:pt x="2109" y="3141"/>
                    <a:pt x="2101" y="3134"/>
                  </a:cubicBezTo>
                  <a:cubicBezTo>
                    <a:pt x="2094" y="3134"/>
                    <a:pt x="2086" y="3134"/>
                    <a:pt x="2079" y="3126"/>
                  </a:cubicBezTo>
                  <a:cubicBezTo>
                    <a:pt x="2057" y="3112"/>
                    <a:pt x="2042" y="3104"/>
                    <a:pt x="2019" y="3097"/>
                  </a:cubicBezTo>
                  <a:cubicBezTo>
                    <a:pt x="1945" y="3060"/>
                    <a:pt x="1990" y="2948"/>
                    <a:pt x="2019" y="2896"/>
                  </a:cubicBezTo>
                  <a:cubicBezTo>
                    <a:pt x="2034" y="2859"/>
                    <a:pt x="2072" y="2844"/>
                    <a:pt x="2086" y="2815"/>
                  </a:cubicBezTo>
                  <a:cubicBezTo>
                    <a:pt x="2094" y="2785"/>
                    <a:pt x="2109" y="2762"/>
                    <a:pt x="2138" y="2748"/>
                  </a:cubicBezTo>
                  <a:cubicBezTo>
                    <a:pt x="2138" y="2703"/>
                    <a:pt x="2183" y="2681"/>
                    <a:pt x="2212" y="2651"/>
                  </a:cubicBezTo>
                  <a:cubicBezTo>
                    <a:pt x="2220" y="2636"/>
                    <a:pt x="2227" y="2629"/>
                    <a:pt x="2235" y="2621"/>
                  </a:cubicBezTo>
                  <a:cubicBezTo>
                    <a:pt x="2242" y="2614"/>
                    <a:pt x="2250" y="2614"/>
                    <a:pt x="2257" y="2607"/>
                  </a:cubicBezTo>
                  <a:cubicBezTo>
                    <a:pt x="2287" y="2584"/>
                    <a:pt x="2257" y="2584"/>
                    <a:pt x="2242" y="2577"/>
                  </a:cubicBezTo>
                  <a:cubicBezTo>
                    <a:pt x="2242" y="2562"/>
                    <a:pt x="2242" y="2488"/>
                    <a:pt x="2264" y="2495"/>
                  </a:cubicBezTo>
                  <a:cubicBezTo>
                    <a:pt x="2264" y="2480"/>
                    <a:pt x="2264" y="2465"/>
                    <a:pt x="2272" y="2458"/>
                  </a:cubicBezTo>
                  <a:cubicBezTo>
                    <a:pt x="2279" y="2443"/>
                    <a:pt x="2309" y="2413"/>
                    <a:pt x="2324" y="2406"/>
                  </a:cubicBezTo>
                  <a:cubicBezTo>
                    <a:pt x="2339" y="2399"/>
                    <a:pt x="2361" y="2399"/>
                    <a:pt x="2376" y="2399"/>
                  </a:cubicBezTo>
                  <a:cubicBezTo>
                    <a:pt x="2391" y="2399"/>
                    <a:pt x="2406" y="2399"/>
                    <a:pt x="2413" y="2399"/>
                  </a:cubicBezTo>
                  <a:cubicBezTo>
                    <a:pt x="2420" y="2406"/>
                    <a:pt x="2428" y="2406"/>
                    <a:pt x="2435" y="2406"/>
                  </a:cubicBezTo>
                  <a:cubicBezTo>
                    <a:pt x="2458" y="2399"/>
                    <a:pt x="2472" y="2421"/>
                    <a:pt x="2495" y="2413"/>
                  </a:cubicBezTo>
                  <a:cubicBezTo>
                    <a:pt x="2487" y="2399"/>
                    <a:pt x="2487" y="2384"/>
                    <a:pt x="2480" y="2376"/>
                  </a:cubicBezTo>
                  <a:cubicBezTo>
                    <a:pt x="2487" y="2369"/>
                    <a:pt x="2495" y="2369"/>
                    <a:pt x="2509" y="2369"/>
                  </a:cubicBezTo>
                  <a:cubicBezTo>
                    <a:pt x="2539" y="2369"/>
                    <a:pt x="2569" y="2376"/>
                    <a:pt x="2599" y="2376"/>
                  </a:cubicBezTo>
                  <a:cubicBezTo>
                    <a:pt x="2606" y="2376"/>
                    <a:pt x="2621" y="2376"/>
                    <a:pt x="2628" y="2376"/>
                  </a:cubicBezTo>
                  <a:cubicBezTo>
                    <a:pt x="2636" y="2384"/>
                    <a:pt x="2643" y="2391"/>
                    <a:pt x="2658" y="2391"/>
                  </a:cubicBezTo>
                  <a:cubicBezTo>
                    <a:pt x="2666" y="2391"/>
                    <a:pt x="2680" y="2384"/>
                    <a:pt x="2688" y="2391"/>
                  </a:cubicBezTo>
                  <a:cubicBezTo>
                    <a:pt x="2703" y="2399"/>
                    <a:pt x="2673" y="2421"/>
                    <a:pt x="2666" y="2428"/>
                  </a:cubicBezTo>
                  <a:cubicBezTo>
                    <a:pt x="2673" y="2428"/>
                    <a:pt x="2680" y="2428"/>
                    <a:pt x="2688" y="2428"/>
                  </a:cubicBezTo>
                  <a:cubicBezTo>
                    <a:pt x="2717" y="2361"/>
                    <a:pt x="2717" y="2361"/>
                    <a:pt x="2717" y="2361"/>
                  </a:cubicBezTo>
                  <a:cubicBezTo>
                    <a:pt x="2717" y="2317"/>
                    <a:pt x="2717" y="2272"/>
                    <a:pt x="2717" y="2228"/>
                  </a:cubicBezTo>
                  <a:cubicBezTo>
                    <a:pt x="2710" y="2139"/>
                    <a:pt x="2703" y="2050"/>
                    <a:pt x="2703" y="1960"/>
                  </a:cubicBezTo>
                  <a:cubicBezTo>
                    <a:pt x="2703" y="1886"/>
                    <a:pt x="2703" y="1812"/>
                    <a:pt x="2703" y="1730"/>
                  </a:cubicBezTo>
                  <a:cubicBezTo>
                    <a:pt x="2703" y="1693"/>
                    <a:pt x="2703" y="1648"/>
                    <a:pt x="2695" y="1611"/>
                  </a:cubicBezTo>
                  <a:cubicBezTo>
                    <a:pt x="2695" y="1604"/>
                    <a:pt x="2688" y="1604"/>
                    <a:pt x="2688" y="1597"/>
                  </a:cubicBezTo>
                  <a:cubicBezTo>
                    <a:pt x="2688" y="1582"/>
                    <a:pt x="2688" y="1567"/>
                    <a:pt x="2688" y="1559"/>
                  </a:cubicBezTo>
                  <a:cubicBezTo>
                    <a:pt x="2688" y="1545"/>
                    <a:pt x="2680" y="1545"/>
                    <a:pt x="2673" y="1537"/>
                  </a:cubicBezTo>
                  <a:cubicBezTo>
                    <a:pt x="2651" y="1500"/>
                    <a:pt x="2666" y="1426"/>
                    <a:pt x="2673" y="1389"/>
                  </a:cubicBezTo>
                  <a:cubicBezTo>
                    <a:pt x="2680" y="1381"/>
                    <a:pt x="2680" y="1366"/>
                    <a:pt x="2680" y="1359"/>
                  </a:cubicBezTo>
                  <a:cubicBezTo>
                    <a:pt x="2673" y="1359"/>
                    <a:pt x="2666" y="1351"/>
                    <a:pt x="2658" y="1359"/>
                  </a:cubicBezTo>
                  <a:cubicBezTo>
                    <a:pt x="2651" y="1359"/>
                    <a:pt x="2643" y="1359"/>
                    <a:pt x="2643" y="1359"/>
                  </a:cubicBezTo>
                  <a:cubicBezTo>
                    <a:pt x="2636" y="1359"/>
                    <a:pt x="2628" y="1359"/>
                    <a:pt x="2628" y="1359"/>
                  </a:cubicBezTo>
                  <a:lnTo>
                    <a:pt x="2621" y="1344"/>
                  </a:lnTo>
                  <a:cubicBezTo>
                    <a:pt x="2621" y="1337"/>
                    <a:pt x="2614" y="1329"/>
                    <a:pt x="2606" y="1329"/>
                  </a:cubicBezTo>
                  <a:cubicBezTo>
                    <a:pt x="2606" y="1344"/>
                    <a:pt x="2576" y="1344"/>
                    <a:pt x="2576" y="1329"/>
                  </a:cubicBezTo>
                  <a:cubicBezTo>
                    <a:pt x="2562" y="1329"/>
                    <a:pt x="2554" y="1322"/>
                    <a:pt x="2539" y="1314"/>
                  </a:cubicBezTo>
                  <a:cubicBezTo>
                    <a:pt x="2562" y="1285"/>
                    <a:pt x="2502" y="1262"/>
                    <a:pt x="2480" y="1262"/>
                  </a:cubicBezTo>
                  <a:cubicBezTo>
                    <a:pt x="2487" y="1240"/>
                    <a:pt x="2532" y="1248"/>
                    <a:pt x="2532" y="1248"/>
                  </a:cubicBezTo>
                  <a:cubicBezTo>
                    <a:pt x="2539" y="1225"/>
                    <a:pt x="2524" y="1211"/>
                    <a:pt x="2547" y="1203"/>
                  </a:cubicBezTo>
                  <a:cubicBezTo>
                    <a:pt x="2547" y="1196"/>
                    <a:pt x="2547" y="1196"/>
                    <a:pt x="2547" y="1188"/>
                  </a:cubicBezTo>
                  <a:cubicBezTo>
                    <a:pt x="2524" y="1188"/>
                    <a:pt x="2517" y="1173"/>
                    <a:pt x="2524" y="1158"/>
                  </a:cubicBezTo>
                  <a:cubicBezTo>
                    <a:pt x="2539" y="1158"/>
                    <a:pt x="2562" y="1144"/>
                    <a:pt x="2569" y="1158"/>
                  </a:cubicBezTo>
                  <a:cubicBezTo>
                    <a:pt x="2576" y="1166"/>
                    <a:pt x="2569" y="1196"/>
                    <a:pt x="2591" y="1181"/>
                  </a:cubicBezTo>
                  <a:cubicBezTo>
                    <a:pt x="2606" y="1173"/>
                    <a:pt x="2599" y="1144"/>
                    <a:pt x="2614" y="1151"/>
                  </a:cubicBezTo>
                  <a:cubicBezTo>
                    <a:pt x="2636" y="1158"/>
                    <a:pt x="2628" y="1181"/>
                    <a:pt x="2614" y="1188"/>
                  </a:cubicBezTo>
                  <a:cubicBezTo>
                    <a:pt x="2614" y="1188"/>
                    <a:pt x="2621" y="1203"/>
                    <a:pt x="2628" y="1203"/>
                  </a:cubicBezTo>
                  <a:cubicBezTo>
                    <a:pt x="2621" y="1203"/>
                    <a:pt x="2614" y="1211"/>
                    <a:pt x="2614" y="1218"/>
                  </a:cubicBezTo>
                  <a:cubicBezTo>
                    <a:pt x="2621" y="1225"/>
                    <a:pt x="2636" y="1218"/>
                    <a:pt x="2643" y="1218"/>
                  </a:cubicBezTo>
                  <a:cubicBezTo>
                    <a:pt x="2658" y="1211"/>
                    <a:pt x="2680" y="1203"/>
                    <a:pt x="2703" y="1211"/>
                  </a:cubicBezTo>
                  <a:cubicBezTo>
                    <a:pt x="2710" y="1196"/>
                    <a:pt x="2717" y="1173"/>
                    <a:pt x="2725" y="1158"/>
                  </a:cubicBezTo>
                  <a:cubicBezTo>
                    <a:pt x="2732" y="1144"/>
                    <a:pt x="2732" y="1121"/>
                    <a:pt x="2732" y="1106"/>
                  </a:cubicBezTo>
                  <a:cubicBezTo>
                    <a:pt x="2740" y="1099"/>
                    <a:pt x="2747" y="1077"/>
                    <a:pt x="2740" y="1069"/>
                  </a:cubicBezTo>
                  <a:cubicBezTo>
                    <a:pt x="2740" y="1054"/>
                    <a:pt x="2703" y="1077"/>
                    <a:pt x="2703" y="1054"/>
                  </a:cubicBezTo>
                  <a:cubicBezTo>
                    <a:pt x="2703" y="1040"/>
                    <a:pt x="2725" y="1025"/>
                    <a:pt x="2740" y="1025"/>
                  </a:cubicBezTo>
                  <a:cubicBezTo>
                    <a:pt x="2747" y="1032"/>
                    <a:pt x="2762" y="1054"/>
                    <a:pt x="2755" y="1054"/>
                  </a:cubicBezTo>
                  <a:cubicBezTo>
                    <a:pt x="2769" y="1054"/>
                    <a:pt x="2769" y="1047"/>
                    <a:pt x="2777" y="1040"/>
                  </a:cubicBezTo>
                  <a:cubicBezTo>
                    <a:pt x="2777" y="1032"/>
                    <a:pt x="2777" y="1032"/>
                    <a:pt x="2777" y="1025"/>
                  </a:cubicBezTo>
                  <a:cubicBezTo>
                    <a:pt x="2777" y="1017"/>
                    <a:pt x="2784" y="1017"/>
                    <a:pt x="2784" y="1010"/>
                  </a:cubicBezTo>
                  <a:cubicBezTo>
                    <a:pt x="2784" y="995"/>
                    <a:pt x="2784" y="988"/>
                    <a:pt x="2792" y="980"/>
                  </a:cubicBezTo>
                  <a:cubicBezTo>
                    <a:pt x="2799" y="973"/>
                    <a:pt x="2807" y="965"/>
                    <a:pt x="2814" y="958"/>
                  </a:cubicBezTo>
                  <a:cubicBezTo>
                    <a:pt x="2836" y="936"/>
                    <a:pt x="2866" y="921"/>
                    <a:pt x="2888" y="899"/>
                  </a:cubicBezTo>
                  <a:cubicBezTo>
                    <a:pt x="2903" y="884"/>
                    <a:pt x="2903" y="876"/>
                    <a:pt x="2903" y="861"/>
                  </a:cubicBezTo>
                  <a:cubicBezTo>
                    <a:pt x="2911" y="846"/>
                    <a:pt x="2925" y="839"/>
                    <a:pt x="2933" y="832"/>
                  </a:cubicBezTo>
                  <a:cubicBezTo>
                    <a:pt x="2940" y="817"/>
                    <a:pt x="2940" y="802"/>
                    <a:pt x="2940" y="787"/>
                  </a:cubicBezTo>
                  <a:cubicBezTo>
                    <a:pt x="2933" y="772"/>
                    <a:pt x="2925" y="772"/>
                    <a:pt x="2911" y="765"/>
                  </a:cubicBezTo>
                  <a:cubicBezTo>
                    <a:pt x="2903" y="765"/>
                    <a:pt x="2896" y="750"/>
                    <a:pt x="2881" y="750"/>
                  </a:cubicBezTo>
                  <a:cubicBezTo>
                    <a:pt x="2896" y="750"/>
                    <a:pt x="2903" y="750"/>
                    <a:pt x="2911" y="750"/>
                  </a:cubicBezTo>
                  <a:cubicBezTo>
                    <a:pt x="2918" y="757"/>
                    <a:pt x="2925" y="765"/>
                    <a:pt x="2933" y="765"/>
                  </a:cubicBezTo>
                  <a:cubicBezTo>
                    <a:pt x="2970" y="772"/>
                    <a:pt x="3007" y="661"/>
                    <a:pt x="3014" y="631"/>
                  </a:cubicBezTo>
                  <a:cubicBezTo>
                    <a:pt x="3029" y="594"/>
                    <a:pt x="3044" y="579"/>
                    <a:pt x="3044" y="542"/>
                  </a:cubicBezTo>
                  <a:cubicBezTo>
                    <a:pt x="3052" y="512"/>
                    <a:pt x="3044" y="483"/>
                    <a:pt x="3052" y="453"/>
                  </a:cubicBezTo>
                  <a:cubicBezTo>
                    <a:pt x="3052" y="386"/>
                    <a:pt x="3104" y="349"/>
                    <a:pt x="3104" y="290"/>
                  </a:cubicBezTo>
                  <a:cubicBezTo>
                    <a:pt x="3111" y="238"/>
                    <a:pt x="3111" y="186"/>
                    <a:pt x="3096" y="134"/>
                  </a:cubicBezTo>
                  <a:cubicBezTo>
                    <a:pt x="3089" y="104"/>
                    <a:pt x="3066" y="82"/>
                    <a:pt x="3052" y="59"/>
                  </a:cubicBezTo>
                  <a:cubicBezTo>
                    <a:pt x="3007" y="44"/>
                    <a:pt x="2970" y="30"/>
                    <a:pt x="2940" y="22"/>
                  </a:cubicBezTo>
                  <a:cubicBezTo>
                    <a:pt x="2933" y="44"/>
                    <a:pt x="2918" y="59"/>
                    <a:pt x="2896" y="52"/>
                  </a:cubicBezTo>
                  <a:close/>
                  <a:moveTo>
                    <a:pt x="2606" y="1931"/>
                  </a:moveTo>
                  <a:lnTo>
                    <a:pt x="2606" y="1931"/>
                  </a:lnTo>
                  <a:cubicBezTo>
                    <a:pt x="2628" y="1923"/>
                    <a:pt x="2651" y="1923"/>
                    <a:pt x="2666" y="1931"/>
                  </a:cubicBezTo>
                  <a:cubicBezTo>
                    <a:pt x="2673" y="1938"/>
                    <a:pt x="2680" y="1953"/>
                    <a:pt x="2688" y="1968"/>
                  </a:cubicBezTo>
                  <a:cubicBezTo>
                    <a:pt x="2695" y="1990"/>
                    <a:pt x="2695" y="2027"/>
                    <a:pt x="2688" y="2057"/>
                  </a:cubicBezTo>
                  <a:cubicBezTo>
                    <a:pt x="2666" y="2072"/>
                    <a:pt x="2673" y="2064"/>
                    <a:pt x="2651" y="2050"/>
                  </a:cubicBezTo>
                  <a:cubicBezTo>
                    <a:pt x="2643" y="2042"/>
                    <a:pt x="2636" y="2042"/>
                    <a:pt x="2628" y="2035"/>
                  </a:cubicBezTo>
                  <a:cubicBezTo>
                    <a:pt x="2621" y="2027"/>
                    <a:pt x="2628" y="2020"/>
                    <a:pt x="2614" y="2020"/>
                  </a:cubicBezTo>
                  <a:lnTo>
                    <a:pt x="2614" y="2020"/>
                  </a:lnTo>
                  <a:cubicBezTo>
                    <a:pt x="2591" y="2013"/>
                    <a:pt x="2569" y="1983"/>
                    <a:pt x="2569" y="1968"/>
                  </a:cubicBezTo>
                  <a:cubicBezTo>
                    <a:pt x="2599" y="1968"/>
                    <a:pt x="2584" y="1938"/>
                    <a:pt x="2606" y="1931"/>
                  </a:cubicBezTo>
                  <a:close/>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2" name="Freeform 30">
              <a:extLst>
                <a:ext uri="{FF2B5EF4-FFF2-40B4-BE49-F238E27FC236}">
                  <a16:creationId xmlns:a16="http://schemas.microsoft.com/office/drawing/2014/main" id="{6918F617-16D0-F444-965D-CE27F26CD02E}"/>
                </a:ext>
              </a:extLst>
            </p:cNvPr>
            <p:cNvSpPr>
              <a:spLocks noChangeArrowheads="1"/>
            </p:cNvSpPr>
            <p:nvPr/>
          </p:nvSpPr>
          <p:spPr bwMode="auto">
            <a:xfrm>
              <a:off x="12493786" y="6792925"/>
              <a:ext cx="1336363" cy="1040184"/>
            </a:xfrm>
            <a:custGeom>
              <a:avLst/>
              <a:gdLst>
                <a:gd name="T0" fmla="*/ 2777 w 3090"/>
                <a:gd name="T1" fmla="*/ 52 h 2406"/>
                <a:gd name="T2" fmla="*/ 2577 w 3090"/>
                <a:gd name="T3" fmla="*/ 216 h 2406"/>
                <a:gd name="T4" fmla="*/ 2465 w 3090"/>
                <a:gd name="T5" fmla="*/ 535 h 2406"/>
                <a:gd name="T6" fmla="*/ 2302 w 3090"/>
                <a:gd name="T7" fmla="*/ 557 h 2406"/>
                <a:gd name="T8" fmla="*/ 2161 w 3090"/>
                <a:gd name="T9" fmla="*/ 609 h 2406"/>
                <a:gd name="T10" fmla="*/ 1998 w 3090"/>
                <a:gd name="T11" fmla="*/ 713 h 2406"/>
                <a:gd name="T12" fmla="*/ 1879 w 3090"/>
                <a:gd name="T13" fmla="*/ 498 h 2406"/>
                <a:gd name="T14" fmla="*/ 1693 w 3090"/>
                <a:gd name="T15" fmla="*/ 431 h 2406"/>
                <a:gd name="T16" fmla="*/ 1574 w 3090"/>
                <a:gd name="T17" fmla="*/ 527 h 2406"/>
                <a:gd name="T18" fmla="*/ 1500 w 3090"/>
                <a:gd name="T19" fmla="*/ 602 h 2406"/>
                <a:gd name="T20" fmla="*/ 1218 w 3090"/>
                <a:gd name="T21" fmla="*/ 713 h 2406"/>
                <a:gd name="T22" fmla="*/ 1025 w 3090"/>
                <a:gd name="T23" fmla="*/ 646 h 2406"/>
                <a:gd name="T24" fmla="*/ 884 w 3090"/>
                <a:gd name="T25" fmla="*/ 795 h 2406"/>
                <a:gd name="T26" fmla="*/ 564 w 3090"/>
                <a:gd name="T27" fmla="*/ 646 h 2406"/>
                <a:gd name="T28" fmla="*/ 126 w 3090"/>
                <a:gd name="T29" fmla="*/ 587 h 2406"/>
                <a:gd name="T30" fmla="*/ 74 w 3090"/>
                <a:gd name="T31" fmla="*/ 661 h 2406"/>
                <a:gd name="T32" fmla="*/ 30 w 3090"/>
                <a:gd name="T33" fmla="*/ 854 h 2406"/>
                <a:gd name="T34" fmla="*/ 267 w 3090"/>
                <a:gd name="T35" fmla="*/ 1099 h 2406"/>
                <a:gd name="T36" fmla="*/ 431 w 3090"/>
                <a:gd name="T37" fmla="*/ 1233 h 2406"/>
                <a:gd name="T38" fmla="*/ 549 w 3090"/>
                <a:gd name="T39" fmla="*/ 1656 h 2406"/>
                <a:gd name="T40" fmla="*/ 572 w 3090"/>
                <a:gd name="T41" fmla="*/ 1885 h 2406"/>
                <a:gd name="T42" fmla="*/ 579 w 3090"/>
                <a:gd name="T43" fmla="*/ 2086 h 2406"/>
                <a:gd name="T44" fmla="*/ 1017 w 3090"/>
                <a:gd name="T45" fmla="*/ 2086 h 2406"/>
                <a:gd name="T46" fmla="*/ 1225 w 3090"/>
                <a:gd name="T47" fmla="*/ 2249 h 2406"/>
                <a:gd name="T48" fmla="*/ 1329 w 3090"/>
                <a:gd name="T49" fmla="*/ 2353 h 2406"/>
                <a:gd name="T50" fmla="*/ 1716 w 3090"/>
                <a:gd name="T51" fmla="*/ 2316 h 2406"/>
                <a:gd name="T52" fmla="*/ 1871 w 3090"/>
                <a:gd name="T53" fmla="*/ 2309 h 2406"/>
                <a:gd name="T54" fmla="*/ 1931 w 3090"/>
                <a:gd name="T55" fmla="*/ 2041 h 2406"/>
                <a:gd name="T56" fmla="*/ 2183 w 3090"/>
                <a:gd name="T57" fmla="*/ 2175 h 2406"/>
                <a:gd name="T58" fmla="*/ 2384 w 3090"/>
                <a:gd name="T59" fmla="*/ 2234 h 2406"/>
                <a:gd name="T60" fmla="*/ 2361 w 3090"/>
                <a:gd name="T61" fmla="*/ 2079 h 2406"/>
                <a:gd name="T62" fmla="*/ 2280 w 3090"/>
                <a:gd name="T63" fmla="*/ 1960 h 2406"/>
                <a:gd name="T64" fmla="*/ 2168 w 3090"/>
                <a:gd name="T65" fmla="*/ 1826 h 2406"/>
                <a:gd name="T66" fmla="*/ 2109 w 3090"/>
                <a:gd name="T67" fmla="*/ 1693 h 2406"/>
                <a:gd name="T68" fmla="*/ 1908 w 3090"/>
                <a:gd name="T69" fmla="*/ 1604 h 2406"/>
                <a:gd name="T70" fmla="*/ 1738 w 3090"/>
                <a:gd name="T71" fmla="*/ 1523 h 2406"/>
                <a:gd name="T72" fmla="*/ 1879 w 3090"/>
                <a:gd name="T73" fmla="*/ 1322 h 2406"/>
                <a:gd name="T74" fmla="*/ 2050 w 3090"/>
                <a:gd name="T75" fmla="*/ 1344 h 2406"/>
                <a:gd name="T76" fmla="*/ 2250 w 3090"/>
                <a:gd name="T77" fmla="*/ 1181 h 2406"/>
                <a:gd name="T78" fmla="*/ 2465 w 3090"/>
                <a:gd name="T79" fmla="*/ 1025 h 2406"/>
                <a:gd name="T80" fmla="*/ 2673 w 3090"/>
                <a:gd name="T81" fmla="*/ 1032 h 2406"/>
                <a:gd name="T82" fmla="*/ 2673 w 3090"/>
                <a:gd name="T83" fmla="*/ 891 h 2406"/>
                <a:gd name="T84" fmla="*/ 2815 w 3090"/>
                <a:gd name="T85" fmla="*/ 899 h 2406"/>
                <a:gd name="T86" fmla="*/ 2948 w 3090"/>
                <a:gd name="T87" fmla="*/ 802 h 2406"/>
                <a:gd name="T88" fmla="*/ 3022 w 3090"/>
                <a:gd name="T89" fmla="*/ 579 h 2406"/>
                <a:gd name="T90" fmla="*/ 3074 w 3090"/>
                <a:gd name="T91" fmla="*/ 409 h 2406"/>
                <a:gd name="T92" fmla="*/ 3045 w 3090"/>
                <a:gd name="T93" fmla="*/ 141 h 2406"/>
                <a:gd name="T94" fmla="*/ 2911 w 3090"/>
                <a:gd name="T95" fmla="*/ 45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90" h="2406">
                  <a:moveTo>
                    <a:pt x="2785" y="8"/>
                  </a:moveTo>
                  <a:lnTo>
                    <a:pt x="2785" y="8"/>
                  </a:lnTo>
                  <a:cubicBezTo>
                    <a:pt x="2777" y="8"/>
                    <a:pt x="2777" y="52"/>
                    <a:pt x="2777" y="52"/>
                  </a:cubicBezTo>
                  <a:cubicBezTo>
                    <a:pt x="2748" y="52"/>
                    <a:pt x="2763" y="82"/>
                    <a:pt x="2755" y="97"/>
                  </a:cubicBezTo>
                  <a:cubicBezTo>
                    <a:pt x="2718" y="97"/>
                    <a:pt x="2681" y="97"/>
                    <a:pt x="2644" y="97"/>
                  </a:cubicBezTo>
                  <a:cubicBezTo>
                    <a:pt x="2629" y="134"/>
                    <a:pt x="2621" y="208"/>
                    <a:pt x="2577" y="216"/>
                  </a:cubicBezTo>
                  <a:cubicBezTo>
                    <a:pt x="2488" y="223"/>
                    <a:pt x="2547" y="312"/>
                    <a:pt x="2525" y="364"/>
                  </a:cubicBezTo>
                  <a:cubicBezTo>
                    <a:pt x="2518" y="394"/>
                    <a:pt x="2480" y="386"/>
                    <a:pt x="2480" y="423"/>
                  </a:cubicBezTo>
                  <a:cubicBezTo>
                    <a:pt x="2480" y="453"/>
                    <a:pt x="2480" y="505"/>
                    <a:pt x="2465" y="535"/>
                  </a:cubicBezTo>
                  <a:cubicBezTo>
                    <a:pt x="2458" y="550"/>
                    <a:pt x="2428" y="535"/>
                    <a:pt x="2413" y="542"/>
                  </a:cubicBezTo>
                  <a:cubicBezTo>
                    <a:pt x="2384" y="557"/>
                    <a:pt x="2406" y="579"/>
                    <a:pt x="2399" y="602"/>
                  </a:cubicBezTo>
                  <a:cubicBezTo>
                    <a:pt x="2354" y="624"/>
                    <a:pt x="2339" y="557"/>
                    <a:pt x="2302" y="557"/>
                  </a:cubicBezTo>
                  <a:cubicBezTo>
                    <a:pt x="2302" y="594"/>
                    <a:pt x="2250" y="624"/>
                    <a:pt x="2220" y="617"/>
                  </a:cubicBezTo>
                  <a:cubicBezTo>
                    <a:pt x="2220" y="594"/>
                    <a:pt x="2206" y="550"/>
                    <a:pt x="2176" y="572"/>
                  </a:cubicBezTo>
                  <a:cubicBezTo>
                    <a:pt x="2161" y="579"/>
                    <a:pt x="2168" y="594"/>
                    <a:pt x="2161" y="609"/>
                  </a:cubicBezTo>
                  <a:cubicBezTo>
                    <a:pt x="2146" y="617"/>
                    <a:pt x="2131" y="617"/>
                    <a:pt x="2124" y="631"/>
                  </a:cubicBezTo>
                  <a:cubicBezTo>
                    <a:pt x="2109" y="668"/>
                    <a:pt x="2124" y="750"/>
                    <a:pt x="2057" y="736"/>
                  </a:cubicBezTo>
                  <a:cubicBezTo>
                    <a:pt x="2057" y="698"/>
                    <a:pt x="2013" y="728"/>
                    <a:pt x="1998" y="713"/>
                  </a:cubicBezTo>
                  <a:cubicBezTo>
                    <a:pt x="1983" y="691"/>
                    <a:pt x="1998" y="654"/>
                    <a:pt x="1990" y="631"/>
                  </a:cubicBezTo>
                  <a:cubicBezTo>
                    <a:pt x="1990" y="550"/>
                    <a:pt x="1938" y="617"/>
                    <a:pt x="1886" y="602"/>
                  </a:cubicBezTo>
                  <a:cubicBezTo>
                    <a:pt x="1886" y="572"/>
                    <a:pt x="1908" y="527"/>
                    <a:pt x="1879" y="498"/>
                  </a:cubicBezTo>
                  <a:cubicBezTo>
                    <a:pt x="1864" y="483"/>
                    <a:pt x="1842" y="476"/>
                    <a:pt x="1834" y="453"/>
                  </a:cubicBezTo>
                  <a:cubicBezTo>
                    <a:pt x="1834" y="446"/>
                    <a:pt x="1834" y="446"/>
                    <a:pt x="1827" y="438"/>
                  </a:cubicBezTo>
                  <a:cubicBezTo>
                    <a:pt x="1797" y="446"/>
                    <a:pt x="1693" y="490"/>
                    <a:pt x="1693" y="431"/>
                  </a:cubicBezTo>
                  <a:cubicBezTo>
                    <a:pt x="1671" y="423"/>
                    <a:pt x="1634" y="416"/>
                    <a:pt x="1619" y="423"/>
                  </a:cubicBezTo>
                  <a:cubicBezTo>
                    <a:pt x="1589" y="438"/>
                    <a:pt x="1611" y="468"/>
                    <a:pt x="1604" y="490"/>
                  </a:cubicBezTo>
                  <a:cubicBezTo>
                    <a:pt x="1597" y="505"/>
                    <a:pt x="1574" y="505"/>
                    <a:pt x="1574" y="527"/>
                  </a:cubicBezTo>
                  <a:cubicBezTo>
                    <a:pt x="1574" y="542"/>
                    <a:pt x="1574" y="550"/>
                    <a:pt x="1567" y="557"/>
                  </a:cubicBezTo>
                  <a:cubicBezTo>
                    <a:pt x="1567" y="579"/>
                    <a:pt x="1552" y="579"/>
                    <a:pt x="1537" y="587"/>
                  </a:cubicBezTo>
                  <a:cubicBezTo>
                    <a:pt x="1515" y="587"/>
                    <a:pt x="1508" y="587"/>
                    <a:pt x="1500" y="602"/>
                  </a:cubicBezTo>
                  <a:cubicBezTo>
                    <a:pt x="1500" y="617"/>
                    <a:pt x="1493" y="639"/>
                    <a:pt x="1478" y="646"/>
                  </a:cubicBezTo>
                  <a:cubicBezTo>
                    <a:pt x="1418" y="654"/>
                    <a:pt x="1366" y="639"/>
                    <a:pt x="1314" y="668"/>
                  </a:cubicBezTo>
                  <a:cubicBezTo>
                    <a:pt x="1314" y="721"/>
                    <a:pt x="1248" y="706"/>
                    <a:pt x="1218" y="713"/>
                  </a:cubicBezTo>
                  <a:cubicBezTo>
                    <a:pt x="1196" y="721"/>
                    <a:pt x="1196" y="750"/>
                    <a:pt x="1173" y="758"/>
                  </a:cubicBezTo>
                  <a:cubicBezTo>
                    <a:pt x="1159" y="758"/>
                    <a:pt x="1136" y="750"/>
                    <a:pt x="1121" y="743"/>
                  </a:cubicBezTo>
                  <a:cubicBezTo>
                    <a:pt x="1077" y="721"/>
                    <a:pt x="1077" y="639"/>
                    <a:pt x="1025" y="646"/>
                  </a:cubicBezTo>
                  <a:cubicBezTo>
                    <a:pt x="980" y="654"/>
                    <a:pt x="988" y="683"/>
                    <a:pt x="973" y="706"/>
                  </a:cubicBezTo>
                  <a:cubicBezTo>
                    <a:pt x="958" y="736"/>
                    <a:pt x="921" y="728"/>
                    <a:pt x="891" y="728"/>
                  </a:cubicBezTo>
                  <a:cubicBezTo>
                    <a:pt x="891" y="750"/>
                    <a:pt x="891" y="773"/>
                    <a:pt x="884" y="795"/>
                  </a:cubicBezTo>
                  <a:cubicBezTo>
                    <a:pt x="832" y="795"/>
                    <a:pt x="735" y="787"/>
                    <a:pt x="728" y="721"/>
                  </a:cubicBezTo>
                  <a:cubicBezTo>
                    <a:pt x="728" y="683"/>
                    <a:pt x="735" y="609"/>
                    <a:pt x="676" y="624"/>
                  </a:cubicBezTo>
                  <a:cubicBezTo>
                    <a:pt x="646" y="631"/>
                    <a:pt x="587" y="691"/>
                    <a:pt x="564" y="646"/>
                  </a:cubicBezTo>
                  <a:cubicBezTo>
                    <a:pt x="542" y="602"/>
                    <a:pt x="527" y="557"/>
                    <a:pt x="475" y="565"/>
                  </a:cubicBezTo>
                  <a:cubicBezTo>
                    <a:pt x="468" y="639"/>
                    <a:pt x="423" y="624"/>
                    <a:pt x="356" y="624"/>
                  </a:cubicBezTo>
                  <a:cubicBezTo>
                    <a:pt x="290" y="617"/>
                    <a:pt x="186" y="631"/>
                    <a:pt x="126" y="587"/>
                  </a:cubicBezTo>
                  <a:cubicBezTo>
                    <a:pt x="111" y="587"/>
                    <a:pt x="89" y="579"/>
                    <a:pt x="59" y="572"/>
                  </a:cubicBezTo>
                  <a:cubicBezTo>
                    <a:pt x="59" y="587"/>
                    <a:pt x="59" y="602"/>
                    <a:pt x="59" y="617"/>
                  </a:cubicBezTo>
                  <a:cubicBezTo>
                    <a:pt x="67" y="631"/>
                    <a:pt x="89" y="639"/>
                    <a:pt x="74" y="661"/>
                  </a:cubicBezTo>
                  <a:cubicBezTo>
                    <a:pt x="52" y="691"/>
                    <a:pt x="37" y="713"/>
                    <a:pt x="59" y="743"/>
                  </a:cubicBezTo>
                  <a:cubicBezTo>
                    <a:pt x="82" y="780"/>
                    <a:pt x="44" y="780"/>
                    <a:pt x="22" y="802"/>
                  </a:cubicBezTo>
                  <a:cubicBezTo>
                    <a:pt x="0" y="825"/>
                    <a:pt x="15" y="839"/>
                    <a:pt x="30" y="854"/>
                  </a:cubicBezTo>
                  <a:cubicBezTo>
                    <a:pt x="82" y="854"/>
                    <a:pt x="134" y="869"/>
                    <a:pt x="134" y="914"/>
                  </a:cubicBezTo>
                  <a:cubicBezTo>
                    <a:pt x="141" y="988"/>
                    <a:pt x="163" y="1003"/>
                    <a:pt x="215" y="1040"/>
                  </a:cubicBezTo>
                  <a:cubicBezTo>
                    <a:pt x="245" y="1055"/>
                    <a:pt x="260" y="1070"/>
                    <a:pt x="267" y="1099"/>
                  </a:cubicBezTo>
                  <a:cubicBezTo>
                    <a:pt x="275" y="1129"/>
                    <a:pt x="282" y="1166"/>
                    <a:pt x="319" y="1159"/>
                  </a:cubicBezTo>
                  <a:cubicBezTo>
                    <a:pt x="319" y="1181"/>
                    <a:pt x="319" y="1218"/>
                    <a:pt x="342" y="1225"/>
                  </a:cubicBezTo>
                  <a:cubicBezTo>
                    <a:pt x="371" y="1240"/>
                    <a:pt x="416" y="1218"/>
                    <a:pt x="431" y="1233"/>
                  </a:cubicBezTo>
                  <a:cubicBezTo>
                    <a:pt x="498" y="1285"/>
                    <a:pt x="431" y="1389"/>
                    <a:pt x="446" y="1463"/>
                  </a:cubicBezTo>
                  <a:cubicBezTo>
                    <a:pt x="498" y="1448"/>
                    <a:pt x="483" y="1560"/>
                    <a:pt x="490" y="1597"/>
                  </a:cubicBezTo>
                  <a:cubicBezTo>
                    <a:pt x="520" y="1597"/>
                    <a:pt x="535" y="1634"/>
                    <a:pt x="549" y="1656"/>
                  </a:cubicBezTo>
                  <a:cubicBezTo>
                    <a:pt x="579" y="1708"/>
                    <a:pt x="631" y="1693"/>
                    <a:pt x="676" y="1693"/>
                  </a:cubicBezTo>
                  <a:cubicBezTo>
                    <a:pt x="668" y="1738"/>
                    <a:pt x="654" y="1775"/>
                    <a:pt x="654" y="1812"/>
                  </a:cubicBezTo>
                  <a:cubicBezTo>
                    <a:pt x="654" y="1863"/>
                    <a:pt x="594" y="1856"/>
                    <a:pt x="572" y="1885"/>
                  </a:cubicBezTo>
                  <a:cubicBezTo>
                    <a:pt x="535" y="1915"/>
                    <a:pt x="512" y="1952"/>
                    <a:pt x="498" y="1997"/>
                  </a:cubicBezTo>
                  <a:cubicBezTo>
                    <a:pt x="512" y="1997"/>
                    <a:pt x="527" y="1997"/>
                    <a:pt x="535" y="2012"/>
                  </a:cubicBezTo>
                  <a:cubicBezTo>
                    <a:pt x="557" y="2027"/>
                    <a:pt x="557" y="2064"/>
                    <a:pt x="579" y="2086"/>
                  </a:cubicBezTo>
                  <a:cubicBezTo>
                    <a:pt x="616" y="2130"/>
                    <a:pt x="735" y="2145"/>
                    <a:pt x="795" y="2116"/>
                  </a:cubicBezTo>
                  <a:cubicBezTo>
                    <a:pt x="817" y="2101"/>
                    <a:pt x="839" y="2086"/>
                    <a:pt x="869" y="2079"/>
                  </a:cubicBezTo>
                  <a:cubicBezTo>
                    <a:pt x="921" y="2071"/>
                    <a:pt x="965" y="2093"/>
                    <a:pt x="1017" y="2086"/>
                  </a:cubicBezTo>
                  <a:cubicBezTo>
                    <a:pt x="1054" y="2079"/>
                    <a:pt x="1092" y="2071"/>
                    <a:pt x="1129" y="2056"/>
                  </a:cubicBezTo>
                  <a:cubicBezTo>
                    <a:pt x="1159" y="2041"/>
                    <a:pt x="1188" y="2012"/>
                    <a:pt x="1225" y="2019"/>
                  </a:cubicBezTo>
                  <a:cubicBezTo>
                    <a:pt x="1233" y="2093"/>
                    <a:pt x="1233" y="2175"/>
                    <a:pt x="1225" y="2249"/>
                  </a:cubicBezTo>
                  <a:cubicBezTo>
                    <a:pt x="1218" y="2249"/>
                    <a:pt x="1218" y="2249"/>
                    <a:pt x="1211" y="2257"/>
                  </a:cubicBezTo>
                  <a:cubicBezTo>
                    <a:pt x="1211" y="2286"/>
                    <a:pt x="1173" y="2286"/>
                    <a:pt x="1166" y="2309"/>
                  </a:cubicBezTo>
                  <a:cubicBezTo>
                    <a:pt x="1218" y="2316"/>
                    <a:pt x="1270" y="2361"/>
                    <a:pt x="1329" y="2353"/>
                  </a:cubicBezTo>
                  <a:cubicBezTo>
                    <a:pt x="1374" y="2346"/>
                    <a:pt x="1389" y="2294"/>
                    <a:pt x="1426" y="2279"/>
                  </a:cubicBezTo>
                  <a:cubicBezTo>
                    <a:pt x="1470" y="2257"/>
                    <a:pt x="1530" y="2279"/>
                    <a:pt x="1574" y="2294"/>
                  </a:cubicBezTo>
                  <a:cubicBezTo>
                    <a:pt x="1619" y="2316"/>
                    <a:pt x="1671" y="2361"/>
                    <a:pt x="1716" y="2316"/>
                  </a:cubicBezTo>
                  <a:cubicBezTo>
                    <a:pt x="1760" y="2331"/>
                    <a:pt x="1738" y="2361"/>
                    <a:pt x="1716" y="2383"/>
                  </a:cubicBezTo>
                  <a:cubicBezTo>
                    <a:pt x="1745" y="2390"/>
                    <a:pt x="1767" y="2405"/>
                    <a:pt x="1805" y="2398"/>
                  </a:cubicBezTo>
                  <a:cubicBezTo>
                    <a:pt x="1827" y="2368"/>
                    <a:pt x="1805" y="2301"/>
                    <a:pt x="1871" y="2309"/>
                  </a:cubicBezTo>
                  <a:cubicBezTo>
                    <a:pt x="1879" y="2264"/>
                    <a:pt x="1842" y="2234"/>
                    <a:pt x="1849" y="2197"/>
                  </a:cubicBezTo>
                  <a:cubicBezTo>
                    <a:pt x="1916" y="2175"/>
                    <a:pt x="1834" y="2049"/>
                    <a:pt x="1819" y="2019"/>
                  </a:cubicBezTo>
                  <a:cubicBezTo>
                    <a:pt x="1856" y="2012"/>
                    <a:pt x="1938" y="1982"/>
                    <a:pt x="1931" y="2041"/>
                  </a:cubicBezTo>
                  <a:cubicBezTo>
                    <a:pt x="1983" y="2049"/>
                    <a:pt x="2050" y="2027"/>
                    <a:pt x="2087" y="2071"/>
                  </a:cubicBezTo>
                  <a:cubicBezTo>
                    <a:pt x="2109" y="2093"/>
                    <a:pt x="2161" y="2153"/>
                    <a:pt x="2153" y="2182"/>
                  </a:cubicBezTo>
                  <a:cubicBezTo>
                    <a:pt x="2161" y="2182"/>
                    <a:pt x="2176" y="2182"/>
                    <a:pt x="2183" y="2175"/>
                  </a:cubicBezTo>
                  <a:cubicBezTo>
                    <a:pt x="2206" y="2086"/>
                    <a:pt x="2339" y="2168"/>
                    <a:pt x="2324" y="2242"/>
                  </a:cubicBezTo>
                  <a:cubicBezTo>
                    <a:pt x="2339" y="2242"/>
                    <a:pt x="2347" y="2242"/>
                    <a:pt x="2354" y="2242"/>
                  </a:cubicBezTo>
                  <a:cubicBezTo>
                    <a:pt x="2361" y="2242"/>
                    <a:pt x="2369" y="2234"/>
                    <a:pt x="2384" y="2234"/>
                  </a:cubicBezTo>
                  <a:cubicBezTo>
                    <a:pt x="2421" y="2227"/>
                    <a:pt x="2436" y="2197"/>
                    <a:pt x="2465" y="2190"/>
                  </a:cubicBezTo>
                  <a:cubicBezTo>
                    <a:pt x="2436" y="2160"/>
                    <a:pt x="2428" y="2182"/>
                    <a:pt x="2421" y="2138"/>
                  </a:cubicBezTo>
                  <a:cubicBezTo>
                    <a:pt x="2421" y="2101"/>
                    <a:pt x="2391" y="2101"/>
                    <a:pt x="2361" y="2079"/>
                  </a:cubicBezTo>
                  <a:cubicBezTo>
                    <a:pt x="2376" y="2056"/>
                    <a:pt x="2406" y="2064"/>
                    <a:pt x="2391" y="2027"/>
                  </a:cubicBezTo>
                  <a:cubicBezTo>
                    <a:pt x="2376" y="2004"/>
                    <a:pt x="2324" y="1989"/>
                    <a:pt x="2332" y="1960"/>
                  </a:cubicBezTo>
                  <a:cubicBezTo>
                    <a:pt x="2317" y="1952"/>
                    <a:pt x="2302" y="1960"/>
                    <a:pt x="2280" y="1960"/>
                  </a:cubicBezTo>
                  <a:cubicBezTo>
                    <a:pt x="2287" y="1945"/>
                    <a:pt x="2287" y="1930"/>
                    <a:pt x="2287" y="1915"/>
                  </a:cubicBezTo>
                  <a:cubicBezTo>
                    <a:pt x="2258" y="1908"/>
                    <a:pt x="2228" y="1893"/>
                    <a:pt x="2213" y="1871"/>
                  </a:cubicBezTo>
                  <a:cubicBezTo>
                    <a:pt x="2198" y="1863"/>
                    <a:pt x="2176" y="1841"/>
                    <a:pt x="2168" y="1826"/>
                  </a:cubicBezTo>
                  <a:cubicBezTo>
                    <a:pt x="2131" y="1775"/>
                    <a:pt x="2176" y="1730"/>
                    <a:pt x="2220" y="1715"/>
                  </a:cubicBezTo>
                  <a:cubicBezTo>
                    <a:pt x="2228" y="1678"/>
                    <a:pt x="2139" y="1686"/>
                    <a:pt x="2116" y="1686"/>
                  </a:cubicBezTo>
                  <a:cubicBezTo>
                    <a:pt x="2116" y="1686"/>
                    <a:pt x="2116" y="1693"/>
                    <a:pt x="2109" y="1693"/>
                  </a:cubicBezTo>
                  <a:cubicBezTo>
                    <a:pt x="2094" y="1701"/>
                    <a:pt x="2087" y="1686"/>
                    <a:pt x="2094" y="1671"/>
                  </a:cubicBezTo>
                  <a:cubicBezTo>
                    <a:pt x="2050" y="1671"/>
                    <a:pt x="2013" y="1693"/>
                    <a:pt x="1983" y="1649"/>
                  </a:cubicBezTo>
                  <a:cubicBezTo>
                    <a:pt x="1968" y="1619"/>
                    <a:pt x="1953" y="1597"/>
                    <a:pt x="1908" y="1604"/>
                  </a:cubicBezTo>
                  <a:cubicBezTo>
                    <a:pt x="1894" y="1560"/>
                    <a:pt x="1864" y="1560"/>
                    <a:pt x="1819" y="1560"/>
                  </a:cubicBezTo>
                  <a:cubicBezTo>
                    <a:pt x="1797" y="1560"/>
                    <a:pt x="1790" y="1552"/>
                    <a:pt x="1790" y="1537"/>
                  </a:cubicBezTo>
                  <a:cubicBezTo>
                    <a:pt x="1790" y="1515"/>
                    <a:pt x="1753" y="1523"/>
                    <a:pt x="1738" y="1523"/>
                  </a:cubicBezTo>
                  <a:cubicBezTo>
                    <a:pt x="1738" y="1500"/>
                    <a:pt x="1745" y="1456"/>
                    <a:pt x="1760" y="1441"/>
                  </a:cubicBezTo>
                  <a:cubicBezTo>
                    <a:pt x="1805" y="1441"/>
                    <a:pt x="1797" y="1344"/>
                    <a:pt x="1767" y="1322"/>
                  </a:cubicBezTo>
                  <a:cubicBezTo>
                    <a:pt x="1805" y="1322"/>
                    <a:pt x="1842" y="1322"/>
                    <a:pt x="1879" y="1322"/>
                  </a:cubicBezTo>
                  <a:cubicBezTo>
                    <a:pt x="1886" y="1300"/>
                    <a:pt x="1864" y="1285"/>
                    <a:pt x="1871" y="1263"/>
                  </a:cubicBezTo>
                  <a:cubicBezTo>
                    <a:pt x="1901" y="1255"/>
                    <a:pt x="1931" y="1255"/>
                    <a:pt x="1961" y="1263"/>
                  </a:cubicBezTo>
                  <a:cubicBezTo>
                    <a:pt x="1961" y="1322"/>
                    <a:pt x="1983" y="1344"/>
                    <a:pt x="2050" y="1344"/>
                  </a:cubicBezTo>
                  <a:cubicBezTo>
                    <a:pt x="2072" y="1344"/>
                    <a:pt x="2087" y="1344"/>
                    <a:pt x="2094" y="1315"/>
                  </a:cubicBezTo>
                  <a:cubicBezTo>
                    <a:pt x="2102" y="1278"/>
                    <a:pt x="2116" y="1270"/>
                    <a:pt x="2146" y="1248"/>
                  </a:cubicBezTo>
                  <a:cubicBezTo>
                    <a:pt x="2183" y="1225"/>
                    <a:pt x="2213" y="1196"/>
                    <a:pt x="2250" y="1181"/>
                  </a:cubicBezTo>
                  <a:cubicBezTo>
                    <a:pt x="2280" y="1166"/>
                    <a:pt x="2317" y="1166"/>
                    <a:pt x="2354" y="1159"/>
                  </a:cubicBezTo>
                  <a:cubicBezTo>
                    <a:pt x="2399" y="1151"/>
                    <a:pt x="2376" y="1025"/>
                    <a:pt x="2443" y="1084"/>
                  </a:cubicBezTo>
                  <a:cubicBezTo>
                    <a:pt x="2443" y="1062"/>
                    <a:pt x="2436" y="1025"/>
                    <a:pt x="2465" y="1025"/>
                  </a:cubicBezTo>
                  <a:cubicBezTo>
                    <a:pt x="2518" y="1032"/>
                    <a:pt x="2562" y="1070"/>
                    <a:pt x="2621" y="1070"/>
                  </a:cubicBezTo>
                  <a:cubicBezTo>
                    <a:pt x="2621" y="1047"/>
                    <a:pt x="2621" y="1025"/>
                    <a:pt x="2599" y="1018"/>
                  </a:cubicBezTo>
                  <a:cubicBezTo>
                    <a:pt x="2629" y="1018"/>
                    <a:pt x="2651" y="1032"/>
                    <a:pt x="2673" y="1032"/>
                  </a:cubicBezTo>
                  <a:cubicBezTo>
                    <a:pt x="2673" y="1018"/>
                    <a:pt x="2681" y="1003"/>
                    <a:pt x="2681" y="988"/>
                  </a:cubicBezTo>
                  <a:cubicBezTo>
                    <a:pt x="2688" y="973"/>
                    <a:pt x="2696" y="973"/>
                    <a:pt x="2696" y="951"/>
                  </a:cubicBezTo>
                  <a:cubicBezTo>
                    <a:pt x="2696" y="936"/>
                    <a:pt x="2651" y="891"/>
                    <a:pt x="2673" y="891"/>
                  </a:cubicBezTo>
                  <a:cubicBezTo>
                    <a:pt x="2696" y="884"/>
                    <a:pt x="2733" y="891"/>
                    <a:pt x="2748" y="899"/>
                  </a:cubicBezTo>
                  <a:cubicBezTo>
                    <a:pt x="2777" y="914"/>
                    <a:pt x="2770" y="943"/>
                    <a:pt x="2815" y="943"/>
                  </a:cubicBezTo>
                  <a:cubicBezTo>
                    <a:pt x="2815" y="928"/>
                    <a:pt x="2815" y="914"/>
                    <a:pt x="2815" y="899"/>
                  </a:cubicBezTo>
                  <a:cubicBezTo>
                    <a:pt x="2822" y="899"/>
                    <a:pt x="2822" y="899"/>
                    <a:pt x="2822" y="899"/>
                  </a:cubicBezTo>
                  <a:cubicBezTo>
                    <a:pt x="2829" y="862"/>
                    <a:pt x="2822" y="802"/>
                    <a:pt x="2881" y="839"/>
                  </a:cubicBezTo>
                  <a:cubicBezTo>
                    <a:pt x="2874" y="802"/>
                    <a:pt x="2918" y="802"/>
                    <a:pt x="2948" y="802"/>
                  </a:cubicBezTo>
                  <a:cubicBezTo>
                    <a:pt x="2941" y="787"/>
                    <a:pt x="2933" y="773"/>
                    <a:pt x="2911" y="773"/>
                  </a:cubicBezTo>
                  <a:cubicBezTo>
                    <a:pt x="2911" y="750"/>
                    <a:pt x="2963" y="728"/>
                    <a:pt x="2970" y="706"/>
                  </a:cubicBezTo>
                  <a:cubicBezTo>
                    <a:pt x="3008" y="661"/>
                    <a:pt x="3022" y="639"/>
                    <a:pt x="3022" y="579"/>
                  </a:cubicBezTo>
                  <a:cubicBezTo>
                    <a:pt x="2955" y="565"/>
                    <a:pt x="3015" y="527"/>
                    <a:pt x="3000" y="505"/>
                  </a:cubicBezTo>
                  <a:cubicBezTo>
                    <a:pt x="3022" y="498"/>
                    <a:pt x="3052" y="505"/>
                    <a:pt x="3074" y="505"/>
                  </a:cubicBezTo>
                  <a:cubicBezTo>
                    <a:pt x="3074" y="476"/>
                    <a:pt x="3089" y="438"/>
                    <a:pt x="3074" y="409"/>
                  </a:cubicBezTo>
                  <a:cubicBezTo>
                    <a:pt x="3060" y="386"/>
                    <a:pt x="3015" y="386"/>
                    <a:pt x="3030" y="349"/>
                  </a:cubicBezTo>
                  <a:cubicBezTo>
                    <a:pt x="3037" y="349"/>
                    <a:pt x="3045" y="342"/>
                    <a:pt x="3052" y="334"/>
                  </a:cubicBezTo>
                  <a:cubicBezTo>
                    <a:pt x="3060" y="275"/>
                    <a:pt x="3082" y="201"/>
                    <a:pt x="3045" y="141"/>
                  </a:cubicBezTo>
                  <a:cubicBezTo>
                    <a:pt x="3030" y="126"/>
                    <a:pt x="2985" y="97"/>
                    <a:pt x="2985" y="74"/>
                  </a:cubicBezTo>
                  <a:cubicBezTo>
                    <a:pt x="2985" y="74"/>
                    <a:pt x="2985" y="74"/>
                    <a:pt x="2985" y="67"/>
                  </a:cubicBezTo>
                  <a:cubicBezTo>
                    <a:pt x="2955" y="60"/>
                    <a:pt x="2918" y="52"/>
                    <a:pt x="2911" y="45"/>
                  </a:cubicBezTo>
                  <a:cubicBezTo>
                    <a:pt x="2874" y="15"/>
                    <a:pt x="2829" y="0"/>
                    <a:pt x="2785" y="8"/>
                  </a:cubicBezTo>
                </a:path>
              </a:pathLst>
            </a:custGeom>
            <a:solidFill>
              <a:srgbClr val="EFF1F8"/>
            </a:solid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3" name="Freeform 31">
              <a:extLst>
                <a:ext uri="{FF2B5EF4-FFF2-40B4-BE49-F238E27FC236}">
                  <a16:creationId xmlns:a16="http://schemas.microsoft.com/office/drawing/2014/main" id="{E7D1DEA5-D433-844A-9EF8-963BBA6D4A1B}"/>
                </a:ext>
              </a:extLst>
            </p:cNvPr>
            <p:cNvSpPr>
              <a:spLocks noChangeArrowheads="1"/>
            </p:cNvSpPr>
            <p:nvPr/>
          </p:nvSpPr>
          <p:spPr bwMode="auto">
            <a:xfrm>
              <a:off x="13014226" y="8608482"/>
              <a:ext cx="9531" cy="7621"/>
            </a:xfrm>
            <a:custGeom>
              <a:avLst/>
              <a:gdLst>
                <a:gd name="T0" fmla="*/ 22 w 23"/>
                <a:gd name="T1" fmla="*/ 0 h 16"/>
                <a:gd name="T2" fmla="*/ 22 w 23"/>
                <a:gd name="T3" fmla="*/ 0 h 16"/>
                <a:gd name="T4" fmla="*/ 0 w 23"/>
                <a:gd name="T5" fmla="*/ 15 h 16"/>
                <a:gd name="T6" fmla="*/ 22 w 23"/>
                <a:gd name="T7" fmla="*/ 0 h 16"/>
              </a:gdLst>
              <a:ahLst/>
              <a:cxnLst>
                <a:cxn ang="0">
                  <a:pos x="T0" y="T1"/>
                </a:cxn>
                <a:cxn ang="0">
                  <a:pos x="T2" y="T3"/>
                </a:cxn>
                <a:cxn ang="0">
                  <a:pos x="T4" y="T5"/>
                </a:cxn>
                <a:cxn ang="0">
                  <a:pos x="T6" y="T7"/>
                </a:cxn>
              </a:cxnLst>
              <a:rect l="0" t="0" r="r" b="b"/>
              <a:pathLst>
                <a:path w="23" h="16">
                  <a:moveTo>
                    <a:pt x="22" y="0"/>
                  </a:moveTo>
                  <a:lnTo>
                    <a:pt x="22" y="0"/>
                  </a:lnTo>
                  <a:cubicBezTo>
                    <a:pt x="15" y="8"/>
                    <a:pt x="8" y="8"/>
                    <a:pt x="0" y="15"/>
                  </a:cubicBezTo>
                  <a:cubicBezTo>
                    <a:pt x="8" y="15"/>
                    <a:pt x="22" y="8"/>
                    <a:pt x="22" y="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4" name="Freeform 32">
              <a:extLst>
                <a:ext uri="{FF2B5EF4-FFF2-40B4-BE49-F238E27FC236}">
                  <a16:creationId xmlns:a16="http://schemas.microsoft.com/office/drawing/2014/main" id="{F02DF4EE-B7EC-DE48-B7DB-304C8CDAD7AE}"/>
                </a:ext>
              </a:extLst>
            </p:cNvPr>
            <p:cNvSpPr>
              <a:spLocks noChangeArrowheads="1"/>
            </p:cNvSpPr>
            <p:nvPr/>
          </p:nvSpPr>
          <p:spPr bwMode="auto">
            <a:xfrm>
              <a:off x="10680835" y="5602238"/>
              <a:ext cx="116287" cy="129546"/>
            </a:xfrm>
            <a:custGeom>
              <a:avLst/>
              <a:gdLst>
                <a:gd name="T0" fmla="*/ 149 w 269"/>
                <a:gd name="T1" fmla="*/ 8 h 298"/>
                <a:gd name="T2" fmla="*/ 149 w 269"/>
                <a:gd name="T3" fmla="*/ 8 h 298"/>
                <a:gd name="T4" fmla="*/ 112 w 269"/>
                <a:gd name="T5" fmla="*/ 8 h 298"/>
                <a:gd name="T6" fmla="*/ 97 w 269"/>
                <a:gd name="T7" fmla="*/ 30 h 298"/>
                <a:gd name="T8" fmla="*/ 75 w 269"/>
                <a:gd name="T9" fmla="*/ 23 h 298"/>
                <a:gd name="T10" fmla="*/ 52 w 269"/>
                <a:gd name="T11" fmla="*/ 45 h 298"/>
                <a:gd name="T12" fmla="*/ 60 w 269"/>
                <a:gd name="T13" fmla="*/ 82 h 298"/>
                <a:gd name="T14" fmla="*/ 60 w 269"/>
                <a:gd name="T15" fmla="*/ 104 h 298"/>
                <a:gd name="T16" fmla="*/ 60 w 269"/>
                <a:gd name="T17" fmla="*/ 112 h 298"/>
                <a:gd name="T18" fmla="*/ 60 w 269"/>
                <a:gd name="T19" fmla="*/ 126 h 298"/>
                <a:gd name="T20" fmla="*/ 45 w 269"/>
                <a:gd name="T21" fmla="*/ 134 h 298"/>
                <a:gd name="T22" fmla="*/ 37 w 269"/>
                <a:gd name="T23" fmla="*/ 149 h 298"/>
                <a:gd name="T24" fmla="*/ 22 w 269"/>
                <a:gd name="T25" fmla="*/ 149 h 298"/>
                <a:gd name="T26" fmla="*/ 15 w 269"/>
                <a:gd name="T27" fmla="*/ 171 h 298"/>
                <a:gd name="T28" fmla="*/ 0 w 269"/>
                <a:gd name="T29" fmla="*/ 186 h 298"/>
                <a:gd name="T30" fmla="*/ 8 w 269"/>
                <a:gd name="T31" fmla="*/ 201 h 298"/>
                <a:gd name="T32" fmla="*/ 22 w 269"/>
                <a:gd name="T33" fmla="*/ 215 h 298"/>
                <a:gd name="T34" fmla="*/ 22 w 269"/>
                <a:gd name="T35" fmla="*/ 223 h 298"/>
                <a:gd name="T36" fmla="*/ 45 w 269"/>
                <a:gd name="T37" fmla="*/ 223 h 298"/>
                <a:gd name="T38" fmla="*/ 67 w 269"/>
                <a:gd name="T39" fmla="*/ 215 h 298"/>
                <a:gd name="T40" fmla="*/ 82 w 269"/>
                <a:gd name="T41" fmla="*/ 215 h 298"/>
                <a:gd name="T42" fmla="*/ 90 w 269"/>
                <a:gd name="T43" fmla="*/ 215 h 298"/>
                <a:gd name="T44" fmla="*/ 97 w 269"/>
                <a:gd name="T45" fmla="*/ 208 h 298"/>
                <a:gd name="T46" fmla="*/ 112 w 269"/>
                <a:gd name="T47" fmla="*/ 223 h 298"/>
                <a:gd name="T48" fmla="*/ 127 w 269"/>
                <a:gd name="T49" fmla="*/ 223 h 298"/>
                <a:gd name="T50" fmla="*/ 127 w 269"/>
                <a:gd name="T51" fmla="*/ 230 h 298"/>
                <a:gd name="T52" fmla="*/ 141 w 269"/>
                <a:gd name="T53" fmla="*/ 230 h 298"/>
                <a:gd name="T54" fmla="*/ 141 w 269"/>
                <a:gd name="T55" fmla="*/ 245 h 298"/>
                <a:gd name="T56" fmla="*/ 141 w 269"/>
                <a:gd name="T57" fmla="*/ 260 h 298"/>
                <a:gd name="T58" fmla="*/ 156 w 269"/>
                <a:gd name="T59" fmla="*/ 275 h 298"/>
                <a:gd name="T60" fmla="*/ 164 w 269"/>
                <a:gd name="T61" fmla="*/ 282 h 298"/>
                <a:gd name="T62" fmla="*/ 164 w 269"/>
                <a:gd name="T63" fmla="*/ 290 h 298"/>
                <a:gd name="T64" fmla="*/ 208 w 269"/>
                <a:gd name="T65" fmla="*/ 275 h 298"/>
                <a:gd name="T66" fmla="*/ 208 w 269"/>
                <a:gd name="T67" fmla="*/ 245 h 298"/>
                <a:gd name="T68" fmla="*/ 230 w 269"/>
                <a:gd name="T69" fmla="*/ 238 h 298"/>
                <a:gd name="T70" fmla="*/ 245 w 269"/>
                <a:gd name="T71" fmla="*/ 245 h 298"/>
                <a:gd name="T72" fmla="*/ 245 w 269"/>
                <a:gd name="T73" fmla="*/ 245 h 298"/>
                <a:gd name="T74" fmla="*/ 208 w 269"/>
                <a:gd name="T75" fmla="*/ 208 h 298"/>
                <a:gd name="T76" fmla="*/ 245 w 269"/>
                <a:gd name="T77" fmla="*/ 245 h 298"/>
                <a:gd name="T78" fmla="*/ 245 w 269"/>
                <a:gd name="T79" fmla="*/ 208 h 298"/>
                <a:gd name="T80" fmla="*/ 245 w 269"/>
                <a:gd name="T81" fmla="*/ 178 h 298"/>
                <a:gd name="T82" fmla="*/ 245 w 269"/>
                <a:gd name="T83" fmla="*/ 149 h 298"/>
                <a:gd name="T84" fmla="*/ 245 w 269"/>
                <a:gd name="T85" fmla="*/ 126 h 298"/>
                <a:gd name="T86" fmla="*/ 245 w 269"/>
                <a:gd name="T87" fmla="*/ 104 h 298"/>
                <a:gd name="T88" fmla="*/ 230 w 269"/>
                <a:gd name="T89" fmla="*/ 104 h 298"/>
                <a:gd name="T90" fmla="*/ 216 w 269"/>
                <a:gd name="T91" fmla="*/ 89 h 298"/>
                <a:gd name="T92" fmla="*/ 216 w 269"/>
                <a:gd name="T93" fmla="*/ 82 h 298"/>
                <a:gd name="T94" fmla="*/ 208 w 269"/>
                <a:gd name="T95" fmla="*/ 82 h 298"/>
                <a:gd name="T96" fmla="*/ 201 w 269"/>
                <a:gd name="T97" fmla="*/ 67 h 298"/>
                <a:gd name="T98" fmla="*/ 201 w 269"/>
                <a:gd name="T99" fmla="*/ 60 h 298"/>
                <a:gd name="T100" fmla="*/ 193 w 269"/>
                <a:gd name="T101" fmla="*/ 60 h 298"/>
                <a:gd name="T102" fmla="*/ 186 w 269"/>
                <a:gd name="T103" fmla="*/ 45 h 298"/>
                <a:gd name="T104" fmla="*/ 193 w 269"/>
                <a:gd name="T105" fmla="*/ 37 h 298"/>
                <a:gd name="T106" fmla="*/ 178 w 269"/>
                <a:gd name="T107" fmla="*/ 15 h 298"/>
                <a:gd name="T108" fmla="*/ 164 w 269"/>
                <a:gd name="T109" fmla="*/ 23 h 298"/>
                <a:gd name="T110" fmla="*/ 156 w 269"/>
                <a:gd name="T111" fmla="*/ 15 h 298"/>
                <a:gd name="T112" fmla="*/ 156 w 269"/>
                <a:gd name="T113" fmla="*/ 60 h 298"/>
                <a:gd name="T114" fmla="*/ 156 w 269"/>
                <a:gd name="T115" fmla="*/ 15 h 298"/>
                <a:gd name="T116" fmla="*/ 149 w 269"/>
                <a:gd name="T117" fmla="*/ 15 h 298"/>
                <a:gd name="T118" fmla="*/ 149 w 269"/>
                <a:gd name="T119" fmla="*/ 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9" h="298">
                  <a:moveTo>
                    <a:pt x="149" y="8"/>
                  </a:moveTo>
                  <a:lnTo>
                    <a:pt x="149" y="8"/>
                  </a:lnTo>
                  <a:cubicBezTo>
                    <a:pt x="134" y="8"/>
                    <a:pt x="119" y="0"/>
                    <a:pt x="112" y="8"/>
                  </a:cubicBezTo>
                  <a:cubicBezTo>
                    <a:pt x="104" y="15"/>
                    <a:pt x="104" y="23"/>
                    <a:pt x="97" y="30"/>
                  </a:cubicBezTo>
                  <a:cubicBezTo>
                    <a:pt x="90" y="30"/>
                    <a:pt x="82" y="23"/>
                    <a:pt x="75" y="23"/>
                  </a:cubicBezTo>
                  <a:cubicBezTo>
                    <a:pt x="67" y="30"/>
                    <a:pt x="60" y="37"/>
                    <a:pt x="52" y="45"/>
                  </a:cubicBezTo>
                  <a:cubicBezTo>
                    <a:pt x="52" y="52"/>
                    <a:pt x="52" y="75"/>
                    <a:pt x="60" y="82"/>
                  </a:cubicBezTo>
                  <a:cubicBezTo>
                    <a:pt x="67" y="89"/>
                    <a:pt x="52" y="97"/>
                    <a:pt x="60" y="104"/>
                  </a:cubicBezTo>
                  <a:cubicBezTo>
                    <a:pt x="60" y="104"/>
                    <a:pt x="67" y="104"/>
                    <a:pt x="60" y="112"/>
                  </a:cubicBezTo>
                  <a:lnTo>
                    <a:pt x="60" y="126"/>
                  </a:lnTo>
                  <a:cubicBezTo>
                    <a:pt x="52" y="126"/>
                    <a:pt x="45" y="126"/>
                    <a:pt x="45" y="134"/>
                  </a:cubicBezTo>
                  <a:cubicBezTo>
                    <a:pt x="37" y="141"/>
                    <a:pt x="45" y="141"/>
                    <a:pt x="37" y="149"/>
                  </a:cubicBezTo>
                  <a:cubicBezTo>
                    <a:pt x="30" y="149"/>
                    <a:pt x="22" y="149"/>
                    <a:pt x="22" y="149"/>
                  </a:cubicBezTo>
                  <a:cubicBezTo>
                    <a:pt x="15" y="156"/>
                    <a:pt x="15" y="164"/>
                    <a:pt x="15" y="171"/>
                  </a:cubicBezTo>
                  <a:cubicBezTo>
                    <a:pt x="8" y="178"/>
                    <a:pt x="0" y="171"/>
                    <a:pt x="0" y="186"/>
                  </a:cubicBezTo>
                  <a:cubicBezTo>
                    <a:pt x="0" y="193"/>
                    <a:pt x="0" y="201"/>
                    <a:pt x="8" y="201"/>
                  </a:cubicBezTo>
                  <a:cubicBezTo>
                    <a:pt x="15" y="201"/>
                    <a:pt x="22" y="215"/>
                    <a:pt x="22" y="215"/>
                  </a:cubicBezTo>
                  <a:cubicBezTo>
                    <a:pt x="15" y="223"/>
                    <a:pt x="15" y="230"/>
                    <a:pt x="22" y="223"/>
                  </a:cubicBezTo>
                  <a:cubicBezTo>
                    <a:pt x="30" y="223"/>
                    <a:pt x="37" y="223"/>
                    <a:pt x="45" y="223"/>
                  </a:cubicBezTo>
                  <a:cubicBezTo>
                    <a:pt x="60" y="223"/>
                    <a:pt x="60" y="223"/>
                    <a:pt x="67" y="215"/>
                  </a:cubicBezTo>
                  <a:cubicBezTo>
                    <a:pt x="75" y="215"/>
                    <a:pt x="75" y="223"/>
                    <a:pt x="82" y="215"/>
                  </a:cubicBezTo>
                  <a:cubicBezTo>
                    <a:pt x="90" y="215"/>
                    <a:pt x="90" y="215"/>
                    <a:pt x="90" y="215"/>
                  </a:cubicBezTo>
                  <a:cubicBezTo>
                    <a:pt x="75" y="208"/>
                    <a:pt x="90" y="201"/>
                    <a:pt x="97" y="208"/>
                  </a:cubicBezTo>
                  <a:cubicBezTo>
                    <a:pt x="97" y="215"/>
                    <a:pt x="104" y="223"/>
                    <a:pt x="112" y="223"/>
                  </a:cubicBezTo>
                  <a:cubicBezTo>
                    <a:pt x="119" y="223"/>
                    <a:pt x="119" y="223"/>
                    <a:pt x="127" y="223"/>
                  </a:cubicBezTo>
                  <a:lnTo>
                    <a:pt x="127" y="230"/>
                  </a:lnTo>
                  <a:cubicBezTo>
                    <a:pt x="134" y="230"/>
                    <a:pt x="141" y="230"/>
                    <a:pt x="141" y="230"/>
                  </a:cubicBezTo>
                  <a:cubicBezTo>
                    <a:pt x="141" y="238"/>
                    <a:pt x="141" y="238"/>
                    <a:pt x="141" y="245"/>
                  </a:cubicBezTo>
                  <a:cubicBezTo>
                    <a:pt x="134" y="253"/>
                    <a:pt x="134" y="260"/>
                    <a:pt x="141" y="260"/>
                  </a:cubicBezTo>
                  <a:cubicBezTo>
                    <a:pt x="141" y="267"/>
                    <a:pt x="156" y="267"/>
                    <a:pt x="156" y="275"/>
                  </a:cubicBezTo>
                  <a:cubicBezTo>
                    <a:pt x="156" y="282"/>
                    <a:pt x="156" y="282"/>
                    <a:pt x="164" y="282"/>
                  </a:cubicBezTo>
                  <a:cubicBezTo>
                    <a:pt x="164" y="290"/>
                    <a:pt x="164" y="290"/>
                    <a:pt x="164" y="290"/>
                  </a:cubicBezTo>
                  <a:cubicBezTo>
                    <a:pt x="178" y="297"/>
                    <a:pt x="201" y="282"/>
                    <a:pt x="208" y="275"/>
                  </a:cubicBezTo>
                  <a:cubicBezTo>
                    <a:pt x="208" y="260"/>
                    <a:pt x="193" y="260"/>
                    <a:pt x="208" y="245"/>
                  </a:cubicBezTo>
                  <a:cubicBezTo>
                    <a:pt x="216" y="245"/>
                    <a:pt x="223" y="238"/>
                    <a:pt x="230" y="238"/>
                  </a:cubicBezTo>
                  <a:cubicBezTo>
                    <a:pt x="238" y="245"/>
                    <a:pt x="238" y="253"/>
                    <a:pt x="245" y="245"/>
                  </a:cubicBezTo>
                  <a:lnTo>
                    <a:pt x="245" y="245"/>
                  </a:lnTo>
                  <a:cubicBezTo>
                    <a:pt x="230" y="230"/>
                    <a:pt x="216" y="208"/>
                    <a:pt x="208" y="208"/>
                  </a:cubicBezTo>
                  <a:cubicBezTo>
                    <a:pt x="216" y="208"/>
                    <a:pt x="230" y="230"/>
                    <a:pt x="245" y="245"/>
                  </a:cubicBezTo>
                  <a:cubicBezTo>
                    <a:pt x="260" y="230"/>
                    <a:pt x="253" y="215"/>
                    <a:pt x="245" y="208"/>
                  </a:cubicBezTo>
                  <a:cubicBezTo>
                    <a:pt x="230" y="201"/>
                    <a:pt x="230" y="186"/>
                    <a:pt x="245" y="178"/>
                  </a:cubicBezTo>
                  <a:cubicBezTo>
                    <a:pt x="268" y="171"/>
                    <a:pt x="253" y="164"/>
                    <a:pt x="245" y="149"/>
                  </a:cubicBezTo>
                  <a:cubicBezTo>
                    <a:pt x="245" y="141"/>
                    <a:pt x="245" y="134"/>
                    <a:pt x="245" y="126"/>
                  </a:cubicBezTo>
                  <a:cubicBezTo>
                    <a:pt x="253" y="126"/>
                    <a:pt x="253" y="112"/>
                    <a:pt x="245" y="104"/>
                  </a:cubicBezTo>
                  <a:cubicBezTo>
                    <a:pt x="238" y="104"/>
                    <a:pt x="230" y="119"/>
                    <a:pt x="230" y="104"/>
                  </a:cubicBezTo>
                  <a:cubicBezTo>
                    <a:pt x="223" y="97"/>
                    <a:pt x="223" y="97"/>
                    <a:pt x="216" y="89"/>
                  </a:cubicBezTo>
                  <a:cubicBezTo>
                    <a:pt x="216" y="89"/>
                    <a:pt x="216" y="89"/>
                    <a:pt x="216" y="82"/>
                  </a:cubicBezTo>
                  <a:cubicBezTo>
                    <a:pt x="208" y="82"/>
                    <a:pt x="208" y="82"/>
                    <a:pt x="208" y="82"/>
                  </a:cubicBezTo>
                  <a:cubicBezTo>
                    <a:pt x="201" y="75"/>
                    <a:pt x="201" y="67"/>
                    <a:pt x="201" y="67"/>
                  </a:cubicBezTo>
                  <a:cubicBezTo>
                    <a:pt x="201" y="67"/>
                    <a:pt x="201" y="67"/>
                    <a:pt x="201" y="60"/>
                  </a:cubicBezTo>
                  <a:lnTo>
                    <a:pt x="193" y="60"/>
                  </a:lnTo>
                  <a:cubicBezTo>
                    <a:pt x="193" y="60"/>
                    <a:pt x="178" y="52"/>
                    <a:pt x="186" y="45"/>
                  </a:cubicBezTo>
                  <a:cubicBezTo>
                    <a:pt x="186" y="37"/>
                    <a:pt x="201" y="52"/>
                    <a:pt x="193" y="37"/>
                  </a:cubicBezTo>
                  <a:cubicBezTo>
                    <a:pt x="193" y="37"/>
                    <a:pt x="186" y="15"/>
                    <a:pt x="178" y="15"/>
                  </a:cubicBezTo>
                  <a:cubicBezTo>
                    <a:pt x="171" y="15"/>
                    <a:pt x="171" y="23"/>
                    <a:pt x="164" y="23"/>
                  </a:cubicBezTo>
                  <a:cubicBezTo>
                    <a:pt x="164" y="23"/>
                    <a:pt x="156" y="23"/>
                    <a:pt x="156" y="15"/>
                  </a:cubicBezTo>
                  <a:cubicBezTo>
                    <a:pt x="156" y="30"/>
                    <a:pt x="156" y="45"/>
                    <a:pt x="156" y="60"/>
                  </a:cubicBezTo>
                  <a:cubicBezTo>
                    <a:pt x="156" y="45"/>
                    <a:pt x="156" y="30"/>
                    <a:pt x="156" y="15"/>
                  </a:cubicBezTo>
                  <a:lnTo>
                    <a:pt x="149" y="15"/>
                  </a:lnTo>
                  <a:cubicBezTo>
                    <a:pt x="149" y="15"/>
                    <a:pt x="149" y="15"/>
                    <a:pt x="149" y="8"/>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5" name="Freeform 33">
              <a:extLst>
                <a:ext uri="{FF2B5EF4-FFF2-40B4-BE49-F238E27FC236}">
                  <a16:creationId xmlns:a16="http://schemas.microsoft.com/office/drawing/2014/main" id="{8B9B5A80-9519-7B44-9A98-CCD47AC5BF36}"/>
                </a:ext>
              </a:extLst>
            </p:cNvPr>
            <p:cNvSpPr>
              <a:spLocks noChangeArrowheads="1"/>
            </p:cNvSpPr>
            <p:nvPr/>
          </p:nvSpPr>
          <p:spPr bwMode="auto">
            <a:xfrm>
              <a:off x="9672366" y="2927480"/>
              <a:ext cx="2077938" cy="1560276"/>
            </a:xfrm>
            <a:custGeom>
              <a:avLst/>
              <a:gdLst>
                <a:gd name="T0" fmla="*/ 1760 w 4806"/>
                <a:gd name="T1" fmla="*/ 3431 h 3610"/>
                <a:gd name="T2" fmla="*/ 1812 w 4806"/>
                <a:gd name="T3" fmla="*/ 3394 h 3610"/>
                <a:gd name="T4" fmla="*/ 1842 w 4806"/>
                <a:gd name="T5" fmla="*/ 3149 h 3610"/>
                <a:gd name="T6" fmla="*/ 1983 w 4806"/>
                <a:gd name="T7" fmla="*/ 3089 h 3610"/>
                <a:gd name="T8" fmla="*/ 2303 w 4806"/>
                <a:gd name="T9" fmla="*/ 2918 h 3610"/>
                <a:gd name="T10" fmla="*/ 2644 w 4806"/>
                <a:gd name="T11" fmla="*/ 3104 h 3610"/>
                <a:gd name="T12" fmla="*/ 3105 w 4806"/>
                <a:gd name="T13" fmla="*/ 3111 h 3610"/>
                <a:gd name="T14" fmla="*/ 3275 w 4806"/>
                <a:gd name="T15" fmla="*/ 3371 h 3610"/>
                <a:gd name="T16" fmla="*/ 3454 w 4806"/>
                <a:gd name="T17" fmla="*/ 3490 h 3610"/>
                <a:gd name="T18" fmla="*/ 3595 w 4806"/>
                <a:gd name="T19" fmla="*/ 3564 h 3610"/>
                <a:gd name="T20" fmla="*/ 3706 w 4806"/>
                <a:gd name="T21" fmla="*/ 3357 h 3610"/>
                <a:gd name="T22" fmla="*/ 3773 w 4806"/>
                <a:gd name="T23" fmla="*/ 3512 h 3610"/>
                <a:gd name="T24" fmla="*/ 3951 w 4806"/>
                <a:gd name="T25" fmla="*/ 3520 h 3610"/>
                <a:gd name="T26" fmla="*/ 4159 w 4806"/>
                <a:gd name="T27" fmla="*/ 3394 h 3610"/>
                <a:gd name="T28" fmla="*/ 4181 w 4806"/>
                <a:gd name="T29" fmla="*/ 3163 h 3610"/>
                <a:gd name="T30" fmla="*/ 3884 w 4806"/>
                <a:gd name="T31" fmla="*/ 2629 h 3610"/>
                <a:gd name="T32" fmla="*/ 3959 w 4806"/>
                <a:gd name="T33" fmla="*/ 2309 h 3610"/>
                <a:gd name="T34" fmla="*/ 4204 w 4806"/>
                <a:gd name="T35" fmla="*/ 2302 h 3610"/>
                <a:gd name="T36" fmla="*/ 4263 w 4806"/>
                <a:gd name="T37" fmla="*/ 2035 h 3610"/>
                <a:gd name="T38" fmla="*/ 4619 w 4806"/>
                <a:gd name="T39" fmla="*/ 1879 h 3610"/>
                <a:gd name="T40" fmla="*/ 4761 w 4806"/>
                <a:gd name="T41" fmla="*/ 1359 h 3610"/>
                <a:gd name="T42" fmla="*/ 4642 w 4806"/>
                <a:gd name="T43" fmla="*/ 1151 h 3610"/>
                <a:gd name="T44" fmla="*/ 4115 w 4806"/>
                <a:gd name="T45" fmla="*/ 973 h 3610"/>
                <a:gd name="T46" fmla="*/ 3632 w 4806"/>
                <a:gd name="T47" fmla="*/ 1091 h 3610"/>
                <a:gd name="T48" fmla="*/ 3461 w 4806"/>
                <a:gd name="T49" fmla="*/ 1181 h 3610"/>
                <a:gd name="T50" fmla="*/ 3090 w 4806"/>
                <a:gd name="T51" fmla="*/ 1240 h 3610"/>
                <a:gd name="T52" fmla="*/ 3001 w 4806"/>
                <a:gd name="T53" fmla="*/ 1114 h 3610"/>
                <a:gd name="T54" fmla="*/ 2726 w 4806"/>
                <a:gd name="T55" fmla="*/ 995 h 3610"/>
                <a:gd name="T56" fmla="*/ 2384 w 4806"/>
                <a:gd name="T57" fmla="*/ 616 h 3610"/>
                <a:gd name="T58" fmla="*/ 2072 w 4806"/>
                <a:gd name="T59" fmla="*/ 319 h 3610"/>
                <a:gd name="T60" fmla="*/ 1760 w 4806"/>
                <a:gd name="T61" fmla="*/ 82 h 3610"/>
                <a:gd name="T62" fmla="*/ 1456 w 4806"/>
                <a:gd name="T63" fmla="*/ 37 h 3610"/>
                <a:gd name="T64" fmla="*/ 1166 w 4806"/>
                <a:gd name="T65" fmla="*/ 67 h 3610"/>
                <a:gd name="T66" fmla="*/ 847 w 4806"/>
                <a:gd name="T67" fmla="*/ 141 h 3610"/>
                <a:gd name="T68" fmla="*/ 632 w 4806"/>
                <a:gd name="T69" fmla="*/ 186 h 3610"/>
                <a:gd name="T70" fmla="*/ 320 w 4806"/>
                <a:gd name="T71" fmla="*/ 349 h 3610"/>
                <a:gd name="T72" fmla="*/ 38 w 4806"/>
                <a:gd name="T73" fmla="*/ 549 h 3610"/>
                <a:gd name="T74" fmla="*/ 60 w 4806"/>
                <a:gd name="T75" fmla="*/ 728 h 3610"/>
                <a:gd name="T76" fmla="*/ 275 w 4806"/>
                <a:gd name="T77" fmla="*/ 780 h 3610"/>
                <a:gd name="T78" fmla="*/ 424 w 4806"/>
                <a:gd name="T79" fmla="*/ 928 h 3610"/>
                <a:gd name="T80" fmla="*/ 750 w 4806"/>
                <a:gd name="T81" fmla="*/ 1062 h 3610"/>
                <a:gd name="T82" fmla="*/ 780 w 4806"/>
                <a:gd name="T83" fmla="*/ 1292 h 3610"/>
                <a:gd name="T84" fmla="*/ 877 w 4806"/>
                <a:gd name="T85" fmla="*/ 1522 h 3610"/>
                <a:gd name="T86" fmla="*/ 713 w 4806"/>
                <a:gd name="T87" fmla="*/ 1589 h 3610"/>
                <a:gd name="T88" fmla="*/ 476 w 4806"/>
                <a:gd name="T89" fmla="*/ 1753 h 3610"/>
                <a:gd name="T90" fmla="*/ 498 w 4806"/>
                <a:gd name="T91" fmla="*/ 2205 h 3610"/>
                <a:gd name="T92" fmla="*/ 498 w 4806"/>
                <a:gd name="T93" fmla="*/ 2473 h 3610"/>
                <a:gd name="T94" fmla="*/ 505 w 4806"/>
                <a:gd name="T95" fmla="*/ 2703 h 3610"/>
                <a:gd name="T96" fmla="*/ 780 w 4806"/>
                <a:gd name="T97" fmla="*/ 2963 h 3610"/>
                <a:gd name="T98" fmla="*/ 1100 w 4806"/>
                <a:gd name="T99" fmla="*/ 3119 h 3610"/>
                <a:gd name="T100" fmla="*/ 1129 w 4806"/>
                <a:gd name="T101" fmla="*/ 3230 h 3610"/>
                <a:gd name="T102" fmla="*/ 1293 w 4806"/>
                <a:gd name="T103" fmla="*/ 3349 h 3610"/>
                <a:gd name="T104" fmla="*/ 1389 w 4806"/>
                <a:gd name="T105" fmla="*/ 3327 h 3610"/>
                <a:gd name="T106" fmla="*/ 1545 w 4806"/>
                <a:gd name="T107" fmla="*/ 3497 h 3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06" h="3610">
                  <a:moveTo>
                    <a:pt x="1619" y="3520"/>
                  </a:moveTo>
                  <a:lnTo>
                    <a:pt x="1619" y="3520"/>
                  </a:lnTo>
                  <a:cubicBezTo>
                    <a:pt x="1619" y="3483"/>
                    <a:pt x="1657" y="3490"/>
                    <a:pt x="1657" y="3468"/>
                  </a:cubicBezTo>
                  <a:cubicBezTo>
                    <a:pt x="1679" y="3460"/>
                    <a:pt x="1701" y="3468"/>
                    <a:pt x="1723" y="3468"/>
                  </a:cubicBezTo>
                  <a:cubicBezTo>
                    <a:pt x="1753" y="3460"/>
                    <a:pt x="1753" y="3453"/>
                    <a:pt x="1760" y="3431"/>
                  </a:cubicBezTo>
                  <a:cubicBezTo>
                    <a:pt x="1768" y="3401"/>
                    <a:pt x="1775" y="3408"/>
                    <a:pt x="1783" y="3408"/>
                  </a:cubicBezTo>
                  <a:cubicBezTo>
                    <a:pt x="1775" y="3394"/>
                    <a:pt x="1768" y="3371"/>
                    <a:pt x="1768" y="3364"/>
                  </a:cubicBezTo>
                  <a:cubicBezTo>
                    <a:pt x="1768" y="3371"/>
                    <a:pt x="1775" y="3394"/>
                    <a:pt x="1783" y="3408"/>
                  </a:cubicBezTo>
                  <a:cubicBezTo>
                    <a:pt x="1790" y="3408"/>
                    <a:pt x="1798" y="3408"/>
                    <a:pt x="1805" y="3408"/>
                  </a:cubicBezTo>
                  <a:cubicBezTo>
                    <a:pt x="1812" y="3401"/>
                    <a:pt x="1805" y="3394"/>
                    <a:pt x="1812" y="3394"/>
                  </a:cubicBezTo>
                  <a:cubicBezTo>
                    <a:pt x="1812" y="3394"/>
                    <a:pt x="1820" y="3394"/>
                    <a:pt x="1820" y="3386"/>
                  </a:cubicBezTo>
                  <a:cubicBezTo>
                    <a:pt x="1835" y="3379"/>
                    <a:pt x="1842" y="3379"/>
                    <a:pt x="1850" y="3371"/>
                  </a:cubicBezTo>
                  <a:cubicBezTo>
                    <a:pt x="1879" y="3342"/>
                    <a:pt x="1879" y="3297"/>
                    <a:pt x="1887" y="3252"/>
                  </a:cubicBezTo>
                  <a:cubicBezTo>
                    <a:pt x="1887" y="3230"/>
                    <a:pt x="1894" y="3208"/>
                    <a:pt x="1894" y="3178"/>
                  </a:cubicBezTo>
                  <a:cubicBezTo>
                    <a:pt x="1887" y="3149"/>
                    <a:pt x="1872" y="3149"/>
                    <a:pt x="1842" y="3149"/>
                  </a:cubicBezTo>
                  <a:cubicBezTo>
                    <a:pt x="1842" y="3126"/>
                    <a:pt x="1850" y="3111"/>
                    <a:pt x="1857" y="3089"/>
                  </a:cubicBezTo>
                  <a:cubicBezTo>
                    <a:pt x="1872" y="3089"/>
                    <a:pt x="1879" y="3082"/>
                    <a:pt x="1894" y="3082"/>
                  </a:cubicBezTo>
                  <a:cubicBezTo>
                    <a:pt x="1902" y="3104"/>
                    <a:pt x="1902" y="3111"/>
                    <a:pt x="1924" y="3119"/>
                  </a:cubicBezTo>
                  <a:cubicBezTo>
                    <a:pt x="1946" y="3126"/>
                    <a:pt x="1946" y="3126"/>
                    <a:pt x="1961" y="3111"/>
                  </a:cubicBezTo>
                  <a:cubicBezTo>
                    <a:pt x="1968" y="3104"/>
                    <a:pt x="1976" y="3097"/>
                    <a:pt x="1983" y="3089"/>
                  </a:cubicBezTo>
                  <a:cubicBezTo>
                    <a:pt x="1983" y="3089"/>
                    <a:pt x="1991" y="3089"/>
                    <a:pt x="1998" y="3082"/>
                  </a:cubicBezTo>
                  <a:cubicBezTo>
                    <a:pt x="2006" y="3074"/>
                    <a:pt x="2013" y="3060"/>
                    <a:pt x="2013" y="3045"/>
                  </a:cubicBezTo>
                  <a:cubicBezTo>
                    <a:pt x="2043" y="3037"/>
                    <a:pt x="2087" y="3052"/>
                    <a:pt x="2117" y="3037"/>
                  </a:cubicBezTo>
                  <a:cubicBezTo>
                    <a:pt x="2147" y="3022"/>
                    <a:pt x="2139" y="2978"/>
                    <a:pt x="2162" y="2955"/>
                  </a:cubicBezTo>
                  <a:cubicBezTo>
                    <a:pt x="2184" y="2896"/>
                    <a:pt x="2243" y="2911"/>
                    <a:pt x="2303" y="2918"/>
                  </a:cubicBezTo>
                  <a:cubicBezTo>
                    <a:pt x="2354" y="2918"/>
                    <a:pt x="2414" y="2918"/>
                    <a:pt x="2466" y="2926"/>
                  </a:cubicBezTo>
                  <a:cubicBezTo>
                    <a:pt x="2481" y="2948"/>
                    <a:pt x="2466" y="2970"/>
                    <a:pt x="2488" y="2992"/>
                  </a:cubicBezTo>
                  <a:cubicBezTo>
                    <a:pt x="2503" y="3007"/>
                    <a:pt x="2533" y="3007"/>
                    <a:pt x="2555" y="3007"/>
                  </a:cubicBezTo>
                  <a:cubicBezTo>
                    <a:pt x="2592" y="3015"/>
                    <a:pt x="2585" y="3015"/>
                    <a:pt x="2600" y="3045"/>
                  </a:cubicBezTo>
                  <a:cubicBezTo>
                    <a:pt x="2607" y="3067"/>
                    <a:pt x="2637" y="3082"/>
                    <a:pt x="2644" y="3104"/>
                  </a:cubicBezTo>
                  <a:cubicBezTo>
                    <a:pt x="2667" y="3111"/>
                    <a:pt x="2696" y="3104"/>
                    <a:pt x="2719" y="3104"/>
                  </a:cubicBezTo>
                  <a:cubicBezTo>
                    <a:pt x="2741" y="3111"/>
                    <a:pt x="2741" y="3119"/>
                    <a:pt x="2756" y="3141"/>
                  </a:cubicBezTo>
                  <a:cubicBezTo>
                    <a:pt x="2785" y="3178"/>
                    <a:pt x="2830" y="3186"/>
                    <a:pt x="2874" y="3178"/>
                  </a:cubicBezTo>
                  <a:cubicBezTo>
                    <a:pt x="2919" y="3178"/>
                    <a:pt x="2964" y="3163"/>
                    <a:pt x="3001" y="3149"/>
                  </a:cubicBezTo>
                  <a:cubicBezTo>
                    <a:pt x="3030" y="3141"/>
                    <a:pt x="3067" y="3104"/>
                    <a:pt x="3105" y="3111"/>
                  </a:cubicBezTo>
                  <a:cubicBezTo>
                    <a:pt x="3105" y="3134"/>
                    <a:pt x="3097" y="3163"/>
                    <a:pt x="3105" y="3186"/>
                  </a:cubicBezTo>
                  <a:cubicBezTo>
                    <a:pt x="3119" y="3200"/>
                    <a:pt x="3157" y="3208"/>
                    <a:pt x="3171" y="3230"/>
                  </a:cubicBezTo>
                  <a:cubicBezTo>
                    <a:pt x="3186" y="3245"/>
                    <a:pt x="3209" y="3275"/>
                    <a:pt x="3216" y="3297"/>
                  </a:cubicBezTo>
                  <a:cubicBezTo>
                    <a:pt x="3216" y="3319"/>
                    <a:pt x="3216" y="3342"/>
                    <a:pt x="3216" y="3364"/>
                  </a:cubicBezTo>
                  <a:cubicBezTo>
                    <a:pt x="3231" y="3371"/>
                    <a:pt x="3253" y="3364"/>
                    <a:pt x="3275" y="3371"/>
                  </a:cubicBezTo>
                  <a:cubicBezTo>
                    <a:pt x="3290" y="3371"/>
                    <a:pt x="3313" y="3386"/>
                    <a:pt x="3327" y="3379"/>
                  </a:cubicBezTo>
                  <a:cubicBezTo>
                    <a:pt x="3350" y="3379"/>
                    <a:pt x="3350" y="3357"/>
                    <a:pt x="3364" y="3349"/>
                  </a:cubicBezTo>
                  <a:cubicBezTo>
                    <a:pt x="3372" y="3342"/>
                    <a:pt x="3387" y="3349"/>
                    <a:pt x="3394" y="3349"/>
                  </a:cubicBezTo>
                  <a:cubicBezTo>
                    <a:pt x="3402" y="3342"/>
                    <a:pt x="3409" y="3334"/>
                    <a:pt x="3416" y="3327"/>
                  </a:cubicBezTo>
                  <a:cubicBezTo>
                    <a:pt x="3521" y="3275"/>
                    <a:pt x="3469" y="3446"/>
                    <a:pt x="3454" y="3490"/>
                  </a:cubicBezTo>
                  <a:cubicBezTo>
                    <a:pt x="3431" y="3483"/>
                    <a:pt x="3424" y="3512"/>
                    <a:pt x="3424" y="3527"/>
                  </a:cubicBezTo>
                  <a:cubicBezTo>
                    <a:pt x="3431" y="3520"/>
                    <a:pt x="3461" y="3512"/>
                    <a:pt x="3476" y="3512"/>
                  </a:cubicBezTo>
                  <a:cubicBezTo>
                    <a:pt x="3498" y="3520"/>
                    <a:pt x="3498" y="3527"/>
                    <a:pt x="3513" y="3542"/>
                  </a:cubicBezTo>
                  <a:cubicBezTo>
                    <a:pt x="3528" y="3564"/>
                    <a:pt x="3528" y="3564"/>
                    <a:pt x="3550" y="3564"/>
                  </a:cubicBezTo>
                  <a:cubicBezTo>
                    <a:pt x="3565" y="3564"/>
                    <a:pt x="3580" y="3564"/>
                    <a:pt x="3595" y="3564"/>
                  </a:cubicBezTo>
                  <a:cubicBezTo>
                    <a:pt x="3595" y="3557"/>
                    <a:pt x="3595" y="3550"/>
                    <a:pt x="3595" y="3542"/>
                  </a:cubicBezTo>
                  <a:cubicBezTo>
                    <a:pt x="3595" y="3512"/>
                    <a:pt x="3587" y="3490"/>
                    <a:pt x="3565" y="3468"/>
                  </a:cubicBezTo>
                  <a:cubicBezTo>
                    <a:pt x="3558" y="3460"/>
                    <a:pt x="3528" y="3460"/>
                    <a:pt x="3528" y="3446"/>
                  </a:cubicBezTo>
                  <a:cubicBezTo>
                    <a:pt x="3521" y="3431"/>
                    <a:pt x="3550" y="3423"/>
                    <a:pt x="3565" y="3423"/>
                  </a:cubicBezTo>
                  <a:cubicBezTo>
                    <a:pt x="3580" y="3364"/>
                    <a:pt x="3661" y="3371"/>
                    <a:pt x="3706" y="3357"/>
                  </a:cubicBezTo>
                  <a:cubicBezTo>
                    <a:pt x="3706" y="3342"/>
                    <a:pt x="3721" y="3334"/>
                    <a:pt x="3736" y="3312"/>
                  </a:cubicBezTo>
                  <a:cubicBezTo>
                    <a:pt x="3736" y="3312"/>
                    <a:pt x="3743" y="3312"/>
                    <a:pt x="3751" y="3312"/>
                  </a:cubicBezTo>
                  <a:cubicBezTo>
                    <a:pt x="3751" y="3364"/>
                    <a:pt x="3728" y="3408"/>
                    <a:pt x="3736" y="3453"/>
                  </a:cubicBezTo>
                  <a:cubicBezTo>
                    <a:pt x="3751" y="3460"/>
                    <a:pt x="3758" y="3460"/>
                    <a:pt x="3773" y="3468"/>
                  </a:cubicBezTo>
                  <a:cubicBezTo>
                    <a:pt x="3773" y="3483"/>
                    <a:pt x="3773" y="3497"/>
                    <a:pt x="3773" y="3512"/>
                  </a:cubicBezTo>
                  <a:cubicBezTo>
                    <a:pt x="3803" y="3512"/>
                    <a:pt x="3818" y="3535"/>
                    <a:pt x="3840" y="3557"/>
                  </a:cubicBezTo>
                  <a:cubicBezTo>
                    <a:pt x="3840" y="3557"/>
                    <a:pt x="3892" y="3609"/>
                    <a:pt x="3892" y="3594"/>
                  </a:cubicBezTo>
                  <a:cubicBezTo>
                    <a:pt x="3884" y="3557"/>
                    <a:pt x="3907" y="3557"/>
                    <a:pt x="3929" y="3542"/>
                  </a:cubicBezTo>
                  <a:cubicBezTo>
                    <a:pt x="3936" y="3535"/>
                    <a:pt x="3944" y="3542"/>
                    <a:pt x="3944" y="3542"/>
                  </a:cubicBezTo>
                  <a:cubicBezTo>
                    <a:pt x="3951" y="3535"/>
                    <a:pt x="3944" y="3527"/>
                    <a:pt x="3951" y="3520"/>
                  </a:cubicBezTo>
                  <a:cubicBezTo>
                    <a:pt x="3959" y="3512"/>
                    <a:pt x="3959" y="3505"/>
                    <a:pt x="3973" y="3497"/>
                  </a:cubicBezTo>
                  <a:cubicBezTo>
                    <a:pt x="3973" y="3490"/>
                    <a:pt x="4026" y="3490"/>
                    <a:pt x="4026" y="3490"/>
                  </a:cubicBezTo>
                  <a:cubicBezTo>
                    <a:pt x="4026" y="3453"/>
                    <a:pt x="4055" y="3423"/>
                    <a:pt x="4085" y="3401"/>
                  </a:cubicBezTo>
                  <a:cubicBezTo>
                    <a:pt x="4085" y="3423"/>
                    <a:pt x="4107" y="3446"/>
                    <a:pt x="4129" y="3438"/>
                  </a:cubicBezTo>
                  <a:cubicBezTo>
                    <a:pt x="4152" y="3438"/>
                    <a:pt x="4152" y="3416"/>
                    <a:pt x="4159" y="3394"/>
                  </a:cubicBezTo>
                  <a:cubicBezTo>
                    <a:pt x="4174" y="3371"/>
                    <a:pt x="4174" y="3371"/>
                    <a:pt x="4204" y="3357"/>
                  </a:cubicBezTo>
                  <a:cubicBezTo>
                    <a:pt x="4226" y="3349"/>
                    <a:pt x="4241" y="3334"/>
                    <a:pt x="4263" y="3334"/>
                  </a:cubicBezTo>
                  <a:cubicBezTo>
                    <a:pt x="4241" y="3305"/>
                    <a:pt x="4256" y="3275"/>
                    <a:pt x="4233" y="3245"/>
                  </a:cubicBezTo>
                  <a:cubicBezTo>
                    <a:pt x="4226" y="3230"/>
                    <a:pt x="4211" y="3223"/>
                    <a:pt x="4204" y="3208"/>
                  </a:cubicBezTo>
                  <a:cubicBezTo>
                    <a:pt x="4189" y="3200"/>
                    <a:pt x="4189" y="3178"/>
                    <a:pt x="4181" y="3163"/>
                  </a:cubicBezTo>
                  <a:cubicBezTo>
                    <a:pt x="4159" y="3134"/>
                    <a:pt x="4129" y="3111"/>
                    <a:pt x="4122" y="3074"/>
                  </a:cubicBezTo>
                  <a:cubicBezTo>
                    <a:pt x="4115" y="3030"/>
                    <a:pt x="4137" y="3007"/>
                    <a:pt x="4152" y="2978"/>
                  </a:cubicBezTo>
                  <a:cubicBezTo>
                    <a:pt x="4218" y="2881"/>
                    <a:pt x="4077" y="2896"/>
                    <a:pt x="4026" y="2889"/>
                  </a:cubicBezTo>
                  <a:cubicBezTo>
                    <a:pt x="3966" y="2874"/>
                    <a:pt x="3899" y="2814"/>
                    <a:pt x="3892" y="2755"/>
                  </a:cubicBezTo>
                  <a:cubicBezTo>
                    <a:pt x="3884" y="2710"/>
                    <a:pt x="3899" y="2666"/>
                    <a:pt x="3884" y="2629"/>
                  </a:cubicBezTo>
                  <a:lnTo>
                    <a:pt x="3981" y="2621"/>
                  </a:lnTo>
                  <a:cubicBezTo>
                    <a:pt x="3996" y="2592"/>
                    <a:pt x="3981" y="2592"/>
                    <a:pt x="3973" y="2577"/>
                  </a:cubicBezTo>
                  <a:cubicBezTo>
                    <a:pt x="3944" y="2510"/>
                    <a:pt x="3936" y="2428"/>
                    <a:pt x="3907" y="2361"/>
                  </a:cubicBezTo>
                  <a:cubicBezTo>
                    <a:pt x="3899" y="2354"/>
                    <a:pt x="3899" y="2354"/>
                    <a:pt x="3899" y="2354"/>
                  </a:cubicBezTo>
                  <a:cubicBezTo>
                    <a:pt x="3914" y="2339"/>
                    <a:pt x="3944" y="2317"/>
                    <a:pt x="3959" y="2309"/>
                  </a:cubicBezTo>
                  <a:cubicBezTo>
                    <a:pt x="3981" y="2309"/>
                    <a:pt x="3988" y="2324"/>
                    <a:pt x="4003" y="2324"/>
                  </a:cubicBezTo>
                  <a:cubicBezTo>
                    <a:pt x="4018" y="2332"/>
                    <a:pt x="4033" y="2324"/>
                    <a:pt x="4048" y="2324"/>
                  </a:cubicBezTo>
                  <a:cubicBezTo>
                    <a:pt x="4077" y="2332"/>
                    <a:pt x="4092" y="2354"/>
                    <a:pt x="4129" y="2347"/>
                  </a:cubicBezTo>
                  <a:cubicBezTo>
                    <a:pt x="4159" y="2347"/>
                    <a:pt x="4181" y="2339"/>
                    <a:pt x="4218" y="2347"/>
                  </a:cubicBezTo>
                  <a:cubicBezTo>
                    <a:pt x="4211" y="2339"/>
                    <a:pt x="4204" y="2309"/>
                    <a:pt x="4204" y="2302"/>
                  </a:cubicBezTo>
                  <a:cubicBezTo>
                    <a:pt x="4211" y="2280"/>
                    <a:pt x="4226" y="2287"/>
                    <a:pt x="4241" y="2280"/>
                  </a:cubicBezTo>
                  <a:cubicBezTo>
                    <a:pt x="4271" y="2258"/>
                    <a:pt x="4293" y="2235"/>
                    <a:pt x="4293" y="2198"/>
                  </a:cubicBezTo>
                  <a:cubicBezTo>
                    <a:pt x="4293" y="2183"/>
                    <a:pt x="4278" y="2176"/>
                    <a:pt x="4285" y="2153"/>
                  </a:cubicBezTo>
                  <a:cubicBezTo>
                    <a:pt x="4285" y="2139"/>
                    <a:pt x="4300" y="2124"/>
                    <a:pt x="4300" y="2101"/>
                  </a:cubicBezTo>
                  <a:cubicBezTo>
                    <a:pt x="4293" y="2087"/>
                    <a:pt x="4278" y="2050"/>
                    <a:pt x="4263" y="2035"/>
                  </a:cubicBezTo>
                  <a:cubicBezTo>
                    <a:pt x="4300" y="2035"/>
                    <a:pt x="4322" y="2027"/>
                    <a:pt x="4360" y="2027"/>
                  </a:cubicBezTo>
                  <a:cubicBezTo>
                    <a:pt x="4374" y="2027"/>
                    <a:pt x="4412" y="2035"/>
                    <a:pt x="4426" y="2020"/>
                  </a:cubicBezTo>
                  <a:cubicBezTo>
                    <a:pt x="4434" y="2012"/>
                    <a:pt x="4426" y="1983"/>
                    <a:pt x="4434" y="1968"/>
                  </a:cubicBezTo>
                  <a:cubicBezTo>
                    <a:pt x="4441" y="1931"/>
                    <a:pt x="4478" y="1908"/>
                    <a:pt x="4508" y="1893"/>
                  </a:cubicBezTo>
                  <a:cubicBezTo>
                    <a:pt x="4545" y="1871"/>
                    <a:pt x="4582" y="1879"/>
                    <a:pt x="4619" y="1879"/>
                  </a:cubicBezTo>
                  <a:cubicBezTo>
                    <a:pt x="4619" y="1834"/>
                    <a:pt x="4619" y="1804"/>
                    <a:pt x="4642" y="1767"/>
                  </a:cubicBezTo>
                  <a:cubicBezTo>
                    <a:pt x="4657" y="1753"/>
                    <a:pt x="4664" y="1738"/>
                    <a:pt x="4671" y="1723"/>
                  </a:cubicBezTo>
                  <a:cubicBezTo>
                    <a:pt x="4679" y="1700"/>
                    <a:pt x="4679" y="1678"/>
                    <a:pt x="4701" y="1671"/>
                  </a:cubicBezTo>
                  <a:cubicBezTo>
                    <a:pt x="4701" y="1619"/>
                    <a:pt x="4686" y="1530"/>
                    <a:pt x="4746" y="1522"/>
                  </a:cubicBezTo>
                  <a:cubicBezTo>
                    <a:pt x="4775" y="1470"/>
                    <a:pt x="4738" y="1411"/>
                    <a:pt x="4761" y="1359"/>
                  </a:cubicBezTo>
                  <a:cubicBezTo>
                    <a:pt x="4775" y="1329"/>
                    <a:pt x="4805" y="1337"/>
                    <a:pt x="4790" y="1292"/>
                  </a:cubicBezTo>
                  <a:cubicBezTo>
                    <a:pt x="4775" y="1270"/>
                    <a:pt x="4761" y="1262"/>
                    <a:pt x="4753" y="1240"/>
                  </a:cubicBezTo>
                  <a:cubicBezTo>
                    <a:pt x="4746" y="1233"/>
                    <a:pt x="4738" y="1225"/>
                    <a:pt x="4731" y="1225"/>
                  </a:cubicBezTo>
                  <a:cubicBezTo>
                    <a:pt x="4716" y="1218"/>
                    <a:pt x="4701" y="1225"/>
                    <a:pt x="4694" y="1218"/>
                  </a:cubicBezTo>
                  <a:cubicBezTo>
                    <a:pt x="4664" y="1203"/>
                    <a:pt x="4657" y="1166"/>
                    <a:pt x="4642" y="1151"/>
                  </a:cubicBezTo>
                  <a:cubicBezTo>
                    <a:pt x="4605" y="1099"/>
                    <a:pt x="4582" y="1084"/>
                    <a:pt x="4523" y="1099"/>
                  </a:cubicBezTo>
                  <a:cubicBezTo>
                    <a:pt x="4463" y="1106"/>
                    <a:pt x="4426" y="1084"/>
                    <a:pt x="4374" y="1069"/>
                  </a:cubicBezTo>
                  <a:cubicBezTo>
                    <a:pt x="4330" y="1054"/>
                    <a:pt x="4263" y="1010"/>
                    <a:pt x="4226" y="1010"/>
                  </a:cubicBezTo>
                  <a:cubicBezTo>
                    <a:pt x="4226" y="988"/>
                    <a:pt x="4218" y="965"/>
                    <a:pt x="4189" y="958"/>
                  </a:cubicBezTo>
                  <a:cubicBezTo>
                    <a:pt x="4159" y="951"/>
                    <a:pt x="4144" y="980"/>
                    <a:pt x="4115" y="973"/>
                  </a:cubicBezTo>
                  <a:cubicBezTo>
                    <a:pt x="4100" y="995"/>
                    <a:pt x="4107" y="1032"/>
                    <a:pt x="4077" y="1040"/>
                  </a:cubicBezTo>
                  <a:cubicBezTo>
                    <a:pt x="4055" y="1047"/>
                    <a:pt x="4011" y="1040"/>
                    <a:pt x="3988" y="1032"/>
                  </a:cubicBezTo>
                  <a:cubicBezTo>
                    <a:pt x="3936" y="1025"/>
                    <a:pt x="3862" y="1010"/>
                    <a:pt x="3810" y="1017"/>
                  </a:cubicBezTo>
                  <a:cubicBezTo>
                    <a:pt x="3780" y="1025"/>
                    <a:pt x="3758" y="1054"/>
                    <a:pt x="3721" y="1062"/>
                  </a:cubicBezTo>
                  <a:cubicBezTo>
                    <a:pt x="3691" y="1069"/>
                    <a:pt x="3661" y="1077"/>
                    <a:pt x="3632" y="1091"/>
                  </a:cubicBezTo>
                  <a:cubicBezTo>
                    <a:pt x="3617" y="1106"/>
                    <a:pt x="3610" y="1114"/>
                    <a:pt x="3587" y="1114"/>
                  </a:cubicBezTo>
                  <a:cubicBezTo>
                    <a:pt x="3572" y="1121"/>
                    <a:pt x="3558" y="1114"/>
                    <a:pt x="3543" y="1114"/>
                  </a:cubicBezTo>
                  <a:cubicBezTo>
                    <a:pt x="3528" y="1121"/>
                    <a:pt x="3521" y="1136"/>
                    <a:pt x="3513" y="1143"/>
                  </a:cubicBezTo>
                  <a:cubicBezTo>
                    <a:pt x="3498" y="1151"/>
                    <a:pt x="3483" y="1151"/>
                    <a:pt x="3469" y="1151"/>
                  </a:cubicBezTo>
                  <a:cubicBezTo>
                    <a:pt x="3469" y="1166"/>
                    <a:pt x="3461" y="1173"/>
                    <a:pt x="3461" y="1181"/>
                  </a:cubicBezTo>
                  <a:cubicBezTo>
                    <a:pt x="3424" y="1188"/>
                    <a:pt x="3379" y="1173"/>
                    <a:pt x="3342" y="1181"/>
                  </a:cubicBezTo>
                  <a:cubicBezTo>
                    <a:pt x="3298" y="1188"/>
                    <a:pt x="3313" y="1203"/>
                    <a:pt x="3290" y="1233"/>
                  </a:cubicBezTo>
                  <a:cubicBezTo>
                    <a:pt x="3268" y="1255"/>
                    <a:pt x="3253" y="1240"/>
                    <a:pt x="3231" y="1233"/>
                  </a:cubicBezTo>
                  <a:cubicBezTo>
                    <a:pt x="3201" y="1218"/>
                    <a:pt x="3201" y="1225"/>
                    <a:pt x="3164" y="1233"/>
                  </a:cubicBezTo>
                  <a:cubicBezTo>
                    <a:pt x="3142" y="1240"/>
                    <a:pt x="3112" y="1240"/>
                    <a:pt x="3090" y="1240"/>
                  </a:cubicBezTo>
                  <a:cubicBezTo>
                    <a:pt x="3067" y="1240"/>
                    <a:pt x="3045" y="1233"/>
                    <a:pt x="3023" y="1233"/>
                  </a:cubicBezTo>
                  <a:cubicBezTo>
                    <a:pt x="3001" y="1233"/>
                    <a:pt x="2956" y="1255"/>
                    <a:pt x="2941" y="1248"/>
                  </a:cubicBezTo>
                  <a:cubicBezTo>
                    <a:pt x="2882" y="1225"/>
                    <a:pt x="3008" y="1166"/>
                    <a:pt x="3038" y="1166"/>
                  </a:cubicBezTo>
                  <a:cubicBezTo>
                    <a:pt x="3038" y="1143"/>
                    <a:pt x="3038" y="1136"/>
                    <a:pt x="3023" y="1121"/>
                  </a:cubicBezTo>
                  <a:cubicBezTo>
                    <a:pt x="3016" y="1114"/>
                    <a:pt x="3008" y="1114"/>
                    <a:pt x="3001" y="1114"/>
                  </a:cubicBezTo>
                  <a:cubicBezTo>
                    <a:pt x="2993" y="1106"/>
                    <a:pt x="2993" y="1091"/>
                    <a:pt x="2986" y="1084"/>
                  </a:cubicBezTo>
                  <a:cubicBezTo>
                    <a:pt x="2956" y="1054"/>
                    <a:pt x="2934" y="1069"/>
                    <a:pt x="2897" y="1062"/>
                  </a:cubicBezTo>
                  <a:cubicBezTo>
                    <a:pt x="2882" y="1054"/>
                    <a:pt x="2859" y="1054"/>
                    <a:pt x="2852" y="1047"/>
                  </a:cubicBezTo>
                  <a:cubicBezTo>
                    <a:pt x="2837" y="1032"/>
                    <a:pt x="2837" y="1010"/>
                    <a:pt x="2830" y="1002"/>
                  </a:cubicBezTo>
                  <a:cubicBezTo>
                    <a:pt x="2808" y="988"/>
                    <a:pt x="2756" y="995"/>
                    <a:pt x="2726" y="995"/>
                  </a:cubicBezTo>
                  <a:cubicBezTo>
                    <a:pt x="2674" y="988"/>
                    <a:pt x="2659" y="995"/>
                    <a:pt x="2622" y="951"/>
                  </a:cubicBezTo>
                  <a:cubicBezTo>
                    <a:pt x="2577" y="913"/>
                    <a:pt x="2600" y="869"/>
                    <a:pt x="2585" y="817"/>
                  </a:cubicBezTo>
                  <a:cubicBezTo>
                    <a:pt x="2585" y="794"/>
                    <a:pt x="2570" y="765"/>
                    <a:pt x="2548" y="743"/>
                  </a:cubicBezTo>
                  <a:cubicBezTo>
                    <a:pt x="2525" y="713"/>
                    <a:pt x="2503" y="720"/>
                    <a:pt x="2466" y="713"/>
                  </a:cubicBezTo>
                  <a:cubicBezTo>
                    <a:pt x="2407" y="705"/>
                    <a:pt x="2407" y="661"/>
                    <a:pt x="2384" y="616"/>
                  </a:cubicBezTo>
                  <a:cubicBezTo>
                    <a:pt x="2354" y="572"/>
                    <a:pt x="2295" y="609"/>
                    <a:pt x="2251" y="586"/>
                  </a:cubicBezTo>
                  <a:cubicBezTo>
                    <a:pt x="2228" y="572"/>
                    <a:pt x="2221" y="549"/>
                    <a:pt x="2206" y="535"/>
                  </a:cubicBezTo>
                  <a:cubicBezTo>
                    <a:pt x="2191" y="512"/>
                    <a:pt x="2169" y="512"/>
                    <a:pt x="2154" y="497"/>
                  </a:cubicBezTo>
                  <a:cubicBezTo>
                    <a:pt x="2139" y="475"/>
                    <a:pt x="2117" y="438"/>
                    <a:pt x="2109" y="416"/>
                  </a:cubicBezTo>
                  <a:cubicBezTo>
                    <a:pt x="2095" y="379"/>
                    <a:pt x="2095" y="349"/>
                    <a:pt x="2072" y="319"/>
                  </a:cubicBezTo>
                  <a:cubicBezTo>
                    <a:pt x="2035" y="267"/>
                    <a:pt x="1976" y="208"/>
                    <a:pt x="1902" y="238"/>
                  </a:cubicBezTo>
                  <a:cubicBezTo>
                    <a:pt x="1887" y="245"/>
                    <a:pt x="1894" y="260"/>
                    <a:pt x="1872" y="267"/>
                  </a:cubicBezTo>
                  <a:cubicBezTo>
                    <a:pt x="1850" y="275"/>
                    <a:pt x="1835" y="260"/>
                    <a:pt x="1827" y="245"/>
                  </a:cubicBezTo>
                  <a:cubicBezTo>
                    <a:pt x="1820" y="215"/>
                    <a:pt x="1835" y="163"/>
                    <a:pt x="1835" y="134"/>
                  </a:cubicBezTo>
                  <a:cubicBezTo>
                    <a:pt x="1835" y="82"/>
                    <a:pt x="1812" y="89"/>
                    <a:pt x="1760" y="82"/>
                  </a:cubicBezTo>
                  <a:cubicBezTo>
                    <a:pt x="1723" y="82"/>
                    <a:pt x="1686" y="82"/>
                    <a:pt x="1657" y="67"/>
                  </a:cubicBezTo>
                  <a:cubicBezTo>
                    <a:pt x="1649" y="67"/>
                    <a:pt x="1649" y="59"/>
                    <a:pt x="1642" y="52"/>
                  </a:cubicBezTo>
                  <a:cubicBezTo>
                    <a:pt x="1634" y="52"/>
                    <a:pt x="1619" y="52"/>
                    <a:pt x="1612" y="52"/>
                  </a:cubicBezTo>
                  <a:cubicBezTo>
                    <a:pt x="1590" y="52"/>
                    <a:pt x="1575" y="52"/>
                    <a:pt x="1552" y="59"/>
                  </a:cubicBezTo>
                  <a:cubicBezTo>
                    <a:pt x="1508" y="67"/>
                    <a:pt x="1478" y="96"/>
                    <a:pt x="1456" y="37"/>
                  </a:cubicBezTo>
                  <a:cubicBezTo>
                    <a:pt x="1441" y="37"/>
                    <a:pt x="1441" y="15"/>
                    <a:pt x="1426" y="7"/>
                  </a:cubicBezTo>
                  <a:cubicBezTo>
                    <a:pt x="1412" y="0"/>
                    <a:pt x="1374" y="7"/>
                    <a:pt x="1360" y="15"/>
                  </a:cubicBezTo>
                  <a:cubicBezTo>
                    <a:pt x="1337" y="22"/>
                    <a:pt x="1345" y="44"/>
                    <a:pt x="1322" y="52"/>
                  </a:cubicBezTo>
                  <a:cubicBezTo>
                    <a:pt x="1300" y="67"/>
                    <a:pt x="1293" y="44"/>
                    <a:pt x="1270" y="37"/>
                  </a:cubicBezTo>
                  <a:cubicBezTo>
                    <a:pt x="1226" y="30"/>
                    <a:pt x="1204" y="52"/>
                    <a:pt x="1166" y="67"/>
                  </a:cubicBezTo>
                  <a:cubicBezTo>
                    <a:pt x="1122" y="74"/>
                    <a:pt x="1100" y="89"/>
                    <a:pt x="1055" y="89"/>
                  </a:cubicBezTo>
                  <a:cubicBezTo>
                    <a:pt x="1048" y="104"/>
                    <a:pt x="1048" y="111"/>
                    <a:pt x="1048" y="126"/>
                  </a:cubicBezTo>
                  <a:cubicBezTo>
                    <a:pt x="988" y="126"/>
                    <a:pt x="958" y="111"/>
                    <a:pt x="907" y="96"/>
                  </a:cubicBezTo>
                  <a:cubicBezTo>
                    <a:pt x="869" y="89"/>
                    <a:pt x="780" y="59"/>
                    <a:pt x="743" y="82"/>
                  </a:cubicBezTo>
                  <a:cubicBezTo>
                    <a:pt x="788" y="104"/>
                    <a:pt x="832" y="74"/>
                    <a:pt x="847" y="141"/>
                  </a:cubicBezTo>
                  <a:cubicBezTo>
                    <a:pt x="855" y="141"/>
                    <a:pt x="862" y="149"/>
                    <a:pt x="877" y="156"/>
                  </a:cubicBezTo>
                  <a:cubicBezTo>
                    <a:pt x="877" y="171"/>
                    <a:pt x="877" y="178"/>
                    <a:pt x="877" y="193"/>
                  </a:cubicBezTo>
                  <a:cubicBezTo>
                    <a:pt x="855" y="200"/>
                    <a:pt x="840" y="200"/>
                    <a:pt x="817" y="200"/>
                  </a:cubicBezTo>
                  <a:cubicBezTo>
                    <a:pt x="795" y="200"/>
                    <a:pt x="773" y="208"/>
                    <a:pt x="750" y="215"/>
                  </a:cubicBezTo>
                  <a:cubicBezTo>
                    <a:pt x="698" y="223"/>
                    <a:pt x="676" y="193"/>
                    <a:pt x="632" y="186"/>
                  </a:cubicBezTo>
                  <a:cubicBezTo>
                    <a:pt x="587" y="171"/>
                    <a:pt x="543" y="186"/>
                    <a:pt x="498" y="186"/>
                  </a:cubicBezTo>
                  <a:cubicBezTo>
                    <a:pt x="483" y="186"/>
                    <a:pt x="446" y="178"/>
                    <a:pt x="431" y="186"/>
                  </a:cubicBezTo>
                  <a:cubicBezTo>
                    <a:pt x="416" y="193"/>
                    <a:pt x="402" y="215"/>
                    <a:pt x="387" y="230"/>
                  </a:cubicBezTo>
                  <a:cubicBezTo>
                    <a:pt x="387" y="260"/>
                    <a:pt x="372" y="275"/>
                    <a:pt x="342" y="275"/>
                  </a:cubicBezTo>
                  <a:cubicBezTo>
                    <a:pt x="335" y="297"/>
                    <a:pt x="327" y="327"/>
                    <a:pt x="320" y="349"/>
                  </a:cubicBezTo>
                  <a:cubicBezTo>
                    <a:pt x="298" y="356"/>
                    <a:pt x="275" y="349"/>
                    <a:pt x="253" y="349"/>
                  </a:cubicBezTo>
                  <a:cubicBezTo>
                    <a:pt x="253" y="431"/>
                    <a:pt x="142" y="416"/>
                    <a:pt x="134" y="490"/>
                  </a:cubicBezTo>
                  <a:cubicBezTo>
                    <a:pt x="127" y="490"/>
                    <a:pt x="127" y="490"/>
                    <a:pt x="127" y="497"/>
                  </a:cubicBezTo>
                  <a:cubicBezTo>
                    <a:pt x="90" y="505"/>
                    <a:pt x="75" y="460"/>
                    <a:pt x="45" y="505"/>
                  </a:cubicBezTo>
                  <a:cubicBezTo>
                    <a:pt x="38" y="520"/>
                    <a:pt x="45" y="535"/>
                    <a:pt x="38" y="549"/>
                  </a:cubicBezTo>
                  <a:cubicBezTo>
                    <a:pt x="38" y="564"/>
                    <a:pt x="8" y="586"/>
                    <a:pt x="8" y="594"/>
                  </a:cubicBezTo>
                  <a:cubicBezTo>
                    <a:pt x="8" y="609"/>
                    <a:pt x="15" y="609"/>
                    <a:pt x="23" y="624"/>
                  </a:cubicBezTo>
                  <a:cubicBezTo>
                    <a:pt x="30" y="646"/>
                    <a:pt x="30" y="668"/>
                    <a:pt x="23" y="698"/>
                  </a:cubicBezTo>
                  <a:cubicBezTo>
                    <a:pt x="15" y="705"/>
                    <a:pt x="0" y="713"/>
                    <a:pt x="15" y="728"/>
                  </a:cubicBezTo>
                  <a:cubicBezTo>
                    <a:pt x="15" y="728"/>
                    <a:pt x="53" y="728"/>
                    <a:pt x="60" y="728"/>
                  </a:cubicBezTo>
                  <a:cubicBezTo>
                    <a:pt x="45" y="765"/>
                    <a:pt x="112" y="750"/>
                    <a:pt x="105" y="794"/>
                  </a:cubicBezTo>
                  <a:cubicBezTo>
                    <a:pt x="134" y="794"/>
                    <a:pt x="142" y="757"/>
                    <a:pt x="179" y="765"/>
                  </a:cubicBezTo>
                  <a:cubicBezTo>
                    <a:pt x="179" y="772"/>
                    <a:pt x="179" y="772"/>
                    <a:pt x="179" y="772"/>
                  </a:cubicBezTo>
                  <a:cubicBezTo>
                    <a:pt x="208" y="780"/>
                    <a:pt x="231" y="750"/>
                    <a:pt x="260" y="765"/>
                  </a:cubicBezTo>
                  <a:cubicBezTo>
                    <a:pt x="268" y="765"/>
                    <a:pt x="268" y="780"/>
                    <a:pt x="275" y="780"/>
                  </a:cubicBezTo>
                  <a:cubicBezTo>
                    <a:pt x="283" y="787"/>
                    <a:pt x="290" y="780"/>
                    <a:pt x="298" y="780"/>
                  </a:cubicBezTo>
                  <a:cubicBezTo>
                    <a:pt x="313" y="787"/>
                    <a:pt x="327" y="787"/>
                    <a:pt x="342" y="787"/>
                  </a:cubicBezTo>
                  <a:cubicBezTo>
                    <a:pt x="342" y="809"/>
                    <a:pt x="364" y="824"/>
                    <a:pt x="372" y="839"/>
                  </a:cubicBezTo>
                  <a:cubicBezTo>
                    <a:pt x="379" y="861"/>
                    <a:pt x="372" y="884"/>
                    <a:pt x="379" y="898"/>
                  </a:cubicBezTo>
                  <a:cubicBezTo>
                    <a:pt x="387" y="936"/>
                    <a:pt x="402" y="913"/>
                    <a:pt x="424" y="928"/>
                  </a:cubicBezTo>
                  <a:cubicBezTo>
                    <a:pt x="446" y="943"/>
                    <a:pt x="431" y="973"/>
                    <a:pt x="461" y="965"/>
                  </a:cubicBezTo>
                  <a:cubicBezTo>
                    <a:pt x="476" y="988"/>
                    <a:pt x="505" y="973"/>
                    <a:pt x="528" y="988"/>
                  </a:cubicBezTo>
                  <a:cubicBezTo>
                    <a:pt x="543" y="995"/>
                    <a:pt x="550" y="1017"/>
                    <a:pt x="558" y="1025"/>
                  </a:cubicBezTo>
                  <a:cubicBezTo>
                    <a:pt x="572" y="1032"/>
                    <a:pt x="587" y="1040"/>
                    <a:pt x="602" y="1040"/>
                  </a:cubicBezTo>
                  <a:cubicBezTo>
                    <a:pt x="654" y="1054"/>
                    <a:pt x="706" y="1032"/>
                    <a:pt x="750" y="1062"/>
                  </a:cubicBezTo>
                  <a:cubicBezTo>
                    <a:pt x="750" y="1069"/>
                    <a:pt x="750" y="1084"/>
                    <a:pt x="750" y="1099"/>
                  </a:cubicBezTo>
                  <a:cubicBezTo>
                    <a:pt x="736" y="1099"/>
                    <a:pt x="736" y="1106"/>
                    <a:pt x="736" y="1121"/>
                  </a:cubicBezTo>
                  <a:cubicBezTo>
                    <a:pt x="684" y="1121"/>
                    <a:pt x="669" y="1233"/>
                    <a:pt x="713" y="1255"/>
                  </a:cubicBezTo>
                  <a:cubicBezTo>
                    <a:pt x="721" y="1262"/>
                    <a:pt x="743" y="1255"/>
                    <a:pt x="750" y="1255"/>
                  </a:cubicBezTo>
                  <a:cubicBezTo>
                    <a:pt x="773" y="1262"/>
                    <a:pt x="765" y="1285"/>
                    <a:pt x="780" y="1292"/>
                  </a:cubicBezTo>
                  <a:cubicBezTo>
                    <a:pt x="803" y="1307"/>
                    <a:pt x="840" y="1314"/>
                    <a:pt x="847" y="1344"/>
                  </a:cubicBezTo>
                  <a:cubicBezTo>
                    <a:pt x="877" y="1344"/>
                    <a:pt x="914" y="1337"/>
                    <a:pt x="921" y="1366"/>
                  </a:cubicBezTo>
                  <a:cubicBezTo>
                    <a:pt x="936" y="1388"/>
                    <a:pt x="914" y="1418"/>
                    <a:pt x="899" y="1441"/>
                  </a:cubicBezTo>
                  <a:cubicBezTo>
                    <a:pt x="892" y="1455"/>
                    <a:pt x="884" y="1463"/>
                    <a:pt x="884" y="1478"/>
                  </a:cubicBezTo>
                  <a:cubicBezTo>
                    <a:pt x="884" y="1493"/>
                    <a:pt x="892" y="1507"/>
                    <a:pt x="877" y="1522"/>
                  </a:cubicBezTo>
                  <a:cubicBezTo>
                    <a:pt x="877" y="1530"/>
                    <a:pt x="855" y="1530"/>
                    <a:pt x="840" y="1537"/>
                  </a:cubicBezTo>
                  <a:cubicBezTo>
                    <a:pt x="832" y="1545"/>
                    <a:pt x="825" y="1567"/>
                    <a:pt x="825" y="1574"/>
                  </a:cubicBezTo>
                  <a:cubicBezTo>
                    <a:pt x="803" y="1574"/>
                    <a:pt x="788" y="1574"/>
                    <a:pt x="765" y="1574"/>
                  </a:cubicBezTo>
                  <a:cubicBezTo>
                    <a:pt x="758" y="1574"/>
                    <a:pt x="743" y="1574"/>
                    <a:pt x="736" y="1574"/>
                  </a:cubicBezTo>
                  <a:cubicBezTo>
                    <a:pt x="721" y="1582"/>
                    <a:pt x="713" y="1589"/>
                    <a:pt x="713" y="1589"/>
                  </a:cubicBezTo>
                  <a:cubicBezTo>
                    <a:pt x="698" y="1596"/>
                    <a:pt x="661" y="1596"/>
                    <a:pt x="654" y="1604"/>
                  </a:cubicBezTo>
                  <a:cubicBezTo>
                    <a:pt x="639" y="1619"/>
                    <a:pt x="647" y="1648"/>
                    <a:pt x="647" y="1663"/>
                  </a:cubicBezTo>
                  <a:cubicBezTo>
                    <a:pt x="647" y="1693"/>
                    <a:pt x="639" y="1700"/>
                    <a:pt x="632" y="1723"/>
                  </a:cubicBezTo>
                  <a:cubicBezTo>
                    <a:pt x="610" y="1760"/>
                    <a:pt x="617" y="1753"/>
                    <a:pt x="595" y="1753"/>
                  </a:cubicBezTo>
                  <a:cubicBezTo>
                    <a:pt x="565" y="1745"/>
                    <a:pt x="498" y="1730"/>
                    <a:pt x="476" y="1753"/>
                  </a:cubicBezTo>
                  <a:cubicBezTo>
                    <a:pt x="468" y="1760"/>
                    <a:pt x="468" y="1790"/>
                    <a:pt x="468" y="1804"/>
                  </a:cubicBezTo>
                  <a:cubicBezTo>
                    <a:pt x="461" y="1827"/>
                    <a:pt x="439" y="1886"/>
                    <a:pt x="461" y="1893"/>
                  </a:cubicBezTo>
                  <a:cubicBezTo>
                    <a:pt x="461" y="1931"/>
                    <a:pt x="461" y="1968"/>
                    <a:pt x="468" y="2005"/>
                  </a:cubicBezTo>
                  <a:cubicBezTo>
                    <a:pt x="476" y="2005"/>
                    <a:pt x="476" y="2012"/>
                    <a:pt x="483" y="2012"/>
                  </a:cubicBezTo>
                  <a:cubicBezTo>
                    <a:pt x="483" y="2079"/>
                    <a:pt x="483" y="2139"/>
                    <a:pt x="498" y="2205"/>
                  </a:cubicBezTo>
                  <a:cubicBezTo>
                    <a:pt x="513" y="2235"/>
                    <a:pt x="520" y="2265"/>
                    <a:pt x="520" y="2295"/>
                  </a:cubicBezTo>
                  <a:cubicBezTo>
                    <a:pt x="513" y="2309"/>
                    <a:pt x="505" y="2317"/>
                    <a:pt x="505" y="2332"/>
                  </a:cubicBezTo>
                  <a:cubicBezTo>
                    <a:pt x="505" y="2339"/>
                    <a:pt x="520" y="2339"/>
                    <a:pt x="520" y="2354"/>
                  </a:cubicBezTo>
                  <a:cubicBezTo>
                    <a:pt x="520" y="2361"/>
                    <a:pt x="520" y="2369"/>
                    <a:pt x="520" y="2376"/>
                  </a:cubicBezTo>
                  <a:cubicBezTo>
                    <a:pt x="520" y="2413"/>
                    <a:pt x="498" y="2443"/>
                    <a:pt x="498" y="2473"/>
                  </a:cubicBezTo>
                  <a:cubicBezTo>
                    <a:pt x="498" y="2480"/>
                    <a:pt x="505" y="2503"/>
                    <a:pt x="513" y="2510"/>
                  </a:cubicBezTo>
                  <a:cubicBezTo>
                    <a:pt x="513" y="2532"/>
                    <a:pt x="520" y="2555"/>
                    <a:pt x="520" y="2577"/>
                  </a:cubicBezTo>
                  <a:cubicBezTo>
                    <a:pt x="520" y="2592"/>
                    <a:pt x="520" y="2614"/>
                    <a:pt x="513" y="2629"/>
                  </a:cubicBezTo>
                  <a:cubicBezTo>
                    <a:pt x="513" y="2644"/>
                    <a:pt x="491" y="2658"/>
                    <a:pt x="491" y="2666"/>
                  </a:cubicBezTo>
                  <a:cubicBezTo>
                    <a:pt x="483" y="2688"/>
                    <a:pt x="498" y="2688"/>
                    <a:pt x="505" y="2703"/>
                  </a:cubicBezTo>
                  <a:cubicBezTo>
                    <a:pt x="505" y="2718"/>
                    <a:pt x="505" y="2740"/>
                    <a:pt x="505" y="2755"/>
                  </a:cubicBezTo>
                  <a:lnTo>
                    <a:pt x="513" y="2755"/>
                  </a:lnTo>
                  <a:cubicBezTo>
                    <a:pt x="513" y="2785"/>
                    <a:pt x="505" y="2807"/>
                    <a:pt x="505" y="2829"/>
                  </a:cubicBezTo>
                  <a:cubicBezTo>
                    <a:pt x="550" y="2829"/>
                    <a:pt x="595" y="2844"/>
                    <a:pt x="587" y="2896"/>
                  </a:cubicBezTo>
                  <a:cubicBezTo>
                    <a:pt x="632" y="2903"/>
                    <a:pt x="765" y="2903"/>
                    <a:pt x="780" y="2963"/>
                  </a:cubicBezTo>
                  <a:cubicBezTo>
                    <a:pt x="803" y="2970"/>
                    <a:pt x="803" y="3000"/>
                    <a:pt x="825" y="3007"/>
                  </a:cubicBezTo>
                  <a:cubicBezTo>
                    <a:pt x="840" y="3022"/>
                    <a:pt x="862" y="3007"/>
                    <a:pt x="877" y="3015"/>
                  </a:cubicBezTo>
                  <a:cubicBezTo>
                    <a:pt x="914" y="3037"/>
                    <a:pt x="884" y="3126"/>
                    <a:pt x="958" y="3111"/>
                  </a:cubicBezTo>
                  <a:cubicBezTo>
                    <a:pt x="958" y="3104"/>
                    <a:pt x="966" y="3097"/>
                    <a:pt x="966" y="3089"/>
                  </a:cubicBezTo>
                  <a:cubicBezTo>
                    <a:pt x="1018" y="3089"/>
                    <a:pt x="1048" y="3119"/>
                    <a:pt x="1100" y="3119"/>
                  </a:cubicBezTo>
                  <a:cubicBezTo>
                    <a:pt x="1100" y="3104"/>
                    <a:pt x="1100" y="3089"/>
                    <a:pt x="1100" y="3074"/>
                  </a:cubicBezTo>
                  <a:cubicBezTo>
                    <a:pt x="1115" y="3067"/>
                    <a:pt x="1129" y="3060"/>
                    <a:pt x="1152" y="3060"/>
                  </a:cubicBezTo>
                  <a:cubicBezTo>
                    <a:pt x="1152" y="3097"/>
                    <a:pt x="1122" y="3126"/>
                    <a:pt x="1129" y="3163"/>
                  </a:cubicBezTo>
                  <a:cubicBezTo>
                    <a:pt x="1137" y="3163"/>
                    <a:pt x="1137" y="3163"/>
                    <a:pt x="1137" y="3163"/>
                  </a:cubicBezTo>
                  <a:cubicBezTo>
                    <a:pt x="1137" y="3186"/>
                    <a:pt x="1144" y="3200"/>
                    <a:pt x="1129" y="3230"/>
                  </a:cubicBezTo>
                  <a:cubicBezTo>
                    <a:pt x="1129" y="3238"/>
                    <a:pt x="1085" y="3260"/>
                    <a:pt x="1122" y="3275"/>
                  </a:cubicBezTo>
                  <a:cubicBezTo>
                    <a:pt x="1122" y="3290"/>
                    <a:pt x="1122" y="3312"/>
                    <a:pt x="1129" y="3319"/>
                  </a:cubicBezTo>
                  <a:cubicBezTo>
                    <a:pt x="1152" y="3290"/>
                    <a:pt x="1226" y="3297"/>
                    <a:pt x="1263" y="3305"/>
                  </a:cubicBezTo>
                  <a:cubicBezTo>
                    <a:pt x="1263" y="3319"/>
                    <a:pt x="1270" y="3334"/>
                    <a:pt x="1278" y="3349"/>
                  </a:cubicBezTo>
                  <a:cubicBezTo>
                    <a:pt x="1285" y="3349"/>
                    <a:pt x="1293" y="3349"/>
                    <a:pt x="1293" y="3349"/>
                  </a:cubicBezTo>
                  <a:lnTo>
                    <a:pt x="1293" y="3357"/>
                  </a:lnTo>
                  <a:cubicBezTo>
                    <a:pt x="1307" y="3357"/>
                    <a:pt x="1322" y="3357"/>
                    <a:pt x="1330" y="3357"/>
                  </a:cubicBezTo>
                  <a:cubicBezTo>
                    <a:pt x="1330" y="3342"/>
                    <a:pt x="1337" y="3334"/>
                    <a:pt x="1352" y="3334"/>
                  </a:cubicBezTo>
                  <a:cubicBezTo>
                    <a:pt x="1352" y="3334"/>
                    <a:pt x="1352" y="3334"/>
                    <a:pt x="1352" y="3327"/>
                  </a:cubicBezTo>
                  <a:cubicBezTo>
                    <a:pt x="1367" y="3327"/>
                    <a:pt x="1382" y="3327"/>
                    <a:pt x="1389" y="3327"/>
                  </a:cubicBezTo>
                  <a:cubicBezTo>
                    <a:pt x="1397" y="3357"/>
                    <a:pt x="1419" y="3364"/>
                    <a:pt x="1412" y="3386"/>
                  </a:cubicBezTo>
                  <a:cubicBezTo>
                    <a:pt x="1434" y="3386"/>
                    <a:pt x="1456" y="3386"/>
                    <a:pt x="1471" y="3386"/>
                  </a:cubicBezTo>
                  <a:cubicBezTo>
                    <a:pt x="1493" y="3394"/>
                    <a:pt x="1538" y="3438"/>
                    <a:pt x="1545" y="3460"/>
                  </a:cubicBezTo>
                  <a:cubicBezTo>
                    <a:pt x="1545" y="3468"/>
                    <a:pt x="1545" y="3483"/>
                    <a:pt x="1538" y="3497"/>
                  </a:cubicBezTo>
                  <a:lnTo>
                    <a:pt x="1545" y="3497"/>
                  </a:lnTo>
                  <a:cubicBezTo>
                    <a:pt x="1575" y="3512"/>
                    <a:pt x="1590" y="3520"/>
                    <a:pt x="1619" y="352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6" name="Freeform 34">
              <a:extLst>
                <a:ext uri="{FF2B5EF4-FFF2-40B4-BE49-F238E27FC236}">
                  <a16:creationId xmlns:a16="http://schemas.microsoft.com/office/drawing/2014/main" id="{E556EE7F-FAC0-5848-96FB-DD0F1B6F7A5C}"/>
                </a:ext>
              </a:extLst>
            </p:cNvPr>
            <p:cNvSpPr>
              <a:spLocks noChangeArrowheads="1"/>
            </p:cNvSpPr>
            <p:nvPr/>
          </p:nvSpPr>
          <p:spPr bwMode="auto">
            <a:xfrm>
              <a:off x="15061663" y="6998675"/>
              <a:ext cx="3813" cy="1904"/>
            </a:xfrm>
            <a:custGeom>
              <a:avLst/>
              <a:gdLst>
                <a:gd name="T0" fmla="*/ 0 w 8"/>
                <a:gd name="T1" fmla="*/ 0 h 1"/>
                <a:gd name="T2" fmla="*/ 0 w 8"/>
                <a:gd name="T3" fmla="*/ 0 h 1"/>
                <a:gd name="T4" fmla="*/ 7 w 8"/>
                <a:gd name="T5" fmla="*/ 0 h 1"/>
                <a:gd name="T6" fmla="*/ 7 w 8"/>
                <a:gd name="T7" fmla="*/ 0 h 1"/>
                <a:gd name="T8" fmla="*/ 0 w 8"/>
                <a:gd name="T9" fmla="*/ 0 h 1"/>
              </a:gdLst>
              <a:ahLst/>
              <a:cxnLst>
                <a:cxn ang="0">
                  <a:pos x="T0" y="T1"/>
                </a:cxn>
                <a:cxn ang="0">
                  <a:pos x="T2" y="T3"/>
                </a:cxn>
                <a:cxn ang="0">
                  <a:pos x="T4" y="T5"/>
                </a:cxn>
                <a:cxn ang="0">
                  <a:pos x="T6" y="T7"/>
                </a:cxn>
                <a:cxn ang="0">
                  <a:pos x="T8" y="T9"/>
                </a:cxn>
              </a:cxnLst>
              <a:rect l="0" t="0" r="r" b="b"/>
              <a:pathLst>
                <a:path w="8" h="1">
                  <a:moveTo>
                    <a:pt x="0" y="0"/>
                  </a:moveTo>
                  <a:lnTo>
                    <a:pt x="0" y="0"/>
                  </a:lnTo>
                  <a:cubicBezTo>
                    <a:pt x="0" y="0"/>
                    <a:pt x="0" y="0"/>
                    <a:pt x="7" y="0"/>
                  </a:cubicBezTo>
                  <a:lnTo>
                    <a:pt x="7" y="0"/>
                  </a:lnTo>
                  <a:lnTo>
                    <a:pt x="0" y="0"/>
                  </a:ln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7" name="Freeform 35">
              <a:extLst>
                <a:ext uri="{FF2B5EF4-FFF2-40B4-BE49-F238E27FC236}">
                  <a16:creationId xmlns:a16="http://schemas.microsoft.com/office/drawing/2014/main" id="{60F95984-B873-0F4D-BAEB-4BBCF1DAAC17}"/>
                </a:ext>
              </a:extLst>
            </p:cNvPr>
            <p:cNvSpPr>
              <a:spLocks noChangeArrowheads="1"/>
            </p:cNvSpPr>
            <p:nvPr/>
          </p:nvSpPr>
          <p:spPr bwMode="auto">
            <a:xfrm>
              <a:off x="14316272" y="5804178"/>
              <a:ext cx="1791984" cy="1276416"/>
            </a:xfrm>
            <a:custGeom>
              <a:avLst/>
              <a:gdLst>
                <a:gd name="T0" fmla="*/ 1819 w 4145"/>
                <a:gd name="T1" fmla="*/ 2852 h 2956"/>
                <a:gd name="T2" fmla="*/ 1961 w 4145"/>
                <a:gd name="T3" fmla="*/ 2926 h 2956"/>
                <a:gd name="T4" fmla="*/ 2064 w 4145"/>
                <a:gd name="T5" fmla="*/ 2785 h 2956"/>
                <a:gd name="T6" fmla="*/ 2287 w 4145"/>
                <a:gd name="T7" fmla="*/ 2740 h 2956"/>
                <a:gd name="T8" fmla="*/ 2310 w 4145"/>
                <a:gd name="T9" fmla="*/ 2658 h 2956"/>
                <a:gd name="T10" fmla="*/ 2421 w 4145"/>
                <a:gd name="T11" fmla="*/ 2347 h 2956"/>
                <a:gd name="T12" fmla="*/ 2480 w 4145"/>
                <a:gd name="T13" fmla="*/ 2146 h 2956"/>
                <a:gd name="T14" fmla="*/ 2495 w 4145"/>
                <a:gd name="T15" fmla="*/ 2072 h 2956"/>
                <a:gd name="T16" fmla="*/ 2480 w 4145"/>
                <a:gd name="T17" fmla="*/ 1901 h 2956"/>
                <a:gd name="T18" fmla="*/ 2584 w 4145"/>
                <a:gd name="T19" fmla="*/ 1738 h 2956"/>
                <a:gd name="T20" fmla="*/ 2748 w 4145"/>
                <a:gd name="T21" fmla="*/ 1641 h 2956"/>
                <a:gd name="T22" fmla="*/ 2874 w 4145"/>
                <a:gd name="T23" fmla="*/ 1426 h 2956"/>
                <a:gd name="T24" fmla="*/ 3074 w 4145"/>
                <a:gd name="T25" fmla="*/ 1144 h 2956"/>
                <a:gd name="T26" fmla="*/ 3156 w 4145"/>
                <a:gd name="T27" fmla="*/ 1151 h 2956"/>
                <a:gd name="T28" fmla="*/ 3438 w 4145"/>
                <a:gd name="T29" fmla="*/ 884 h 2956"/>
                <a:gd name="T30" fmla="*/ 3572 w 4145"/>
                <a:gd name="T31" fmla="*/ 787 h 2956"/>
                <a:gd name="T32" fmla="*/ 3720 w 4145"/>
                <a:gd name="T33" fmla="*/ 706 h 2956"/>
                <a:gd name="T34" fmla="*/ 3802 w 4145"/>
                <a:gd name="T35" fmla="*/ 579 h 2956"/>
                <a:gd name="T36" fmla="*/ 4040 w 4145"/>
                <a:gd name="T37" fmla="*/ 527 h 2956"/>
                <a:gd name="T38" fmla="*/ 4055 w 4145"/>
                <a:gd name="T39" fmla="*/ 423 h 2956"/>
                <a:gd name="T40" fmla="*/ 3988 w 4145"/>
                <a:gd name="T41" fmla="*/ 119 h 2956"/>
                <a:gd name="T42" fmla="*/ 3965 w 4145"/>
                <a:gd name="T43" fmla="*/ 22 h 2956"/>
                <a:gd name="T44" fmla="*/ 3765 w 4145"/>
                <a:gd name="T45" fmla="*/ 97 h 2956"/>
                <a:gd name="T46" fmla="*/ 3617 w 4145"/>
                <a:gd name="T47" fmla="*/ 134 h 2956"/>
                <a:gd name="T48" fmla="*/ 3520 w 4145"/>
                <a:gd name="T49" fmla="*/ 193 h 2956"/>
                <a:gd name="T50" fmla="*/ 3394 w 4145"/>
                <a:gd name="T51" fmla="*/ 238 h 2956"/>
                <a:gd name="T52" fmla="*/ 3342 w 4145"/>
                <a:gd name="T53" fmla="*/ 267 h 2956"/>
                <a:gd name="T54" fmla="*/ 3149 w 4145"/>
                <a:gd name="T55" fmla="*/ 364 h 2956"/>
                <a:gd name="T56" fmla="*/ 2948 w 4145"/>
                <a:gd name="T57" fmla="*/ 357 h 2956"/>
                <a:gd name="T58" fmla="*/ 2963 w 4145"/>
                <a:gd name="T59" fmla="*/ 483 h 2956"/>
                <a:gd name="T60" fmla="*/ 2844 w 4145"/>
                <a:gd name="T61" fmla="*/ 602 h 2956"/>
                <a:gd name="T62" fmla="*/ 2748 w 4145"/>
                <a:gd name="T63" fmla="*/ 780 h 2956"/>
                <a:gd name="T64" fmla="*/ 2569 w 4145"/>
                <a:gd name="T65" fmla="*/ 869 h 2956"/>
                <a:gd name="T66" fmla="*/ 2354 w 4145"/>
                <a:gd name="T67" fmla="*/ 914 h 2956"/>
                <a:gd name="T68" fmla="*/ 2020 w 4145"/>
                <a:gd name="T69" fmla="*/ 869 h 2956"/>
                <a:gd name="T70" fmla="*/ 1842 w 4145"/>
                <a:gd name="T71" fmla="*/ 951 h 2956"/>
                <a:gd name="T72" fmla="*/ 1648 w 4145"/>
                <a:gd name="T73" fmla="*/ 995 h 2956"/>
                <a:gd name="T74" fmla="*/ 1515 w 4145"/>
                <a:gd name="T75" fmla="*/ 995 h 2956"/>
                <a:gd name="T76" fmla="*/ 1337 w 4145"/>
                <a:gd name="T77" fmla="*/ 1040 h 2956"/>
                <a:gd name="T78" fmla="*/ 1188 w 4145"/>
                <a:gd name="T79" fmla="*/ 1025 h 2956"/>
                <a:gd name="T80" fmla="*/ 906 w 4145"/>
                <a:gd name="T81" fmla="*/ 1084 h 2956"/>
                <a:gd name="T82" fmla="*/ 549 w 4145"/>
                <a:gd name="T83" fmla="*/ 980 h 2956"/>
                <a:gd name="T84" fmla="*/ 223 w 4145"/>
                <a:gd name="T85" fmla="*/ 1099 h 2956"/>
                <a:gd name="T86" fmla="*/ 156 w 4145"/>
                <a:gd name="T87" fmla="*/ 1359 h 2956"/>
                <a:gd name="T88" fmla="*/ 0 w 4145"/>
                <a:gd name="T89" fmla="*/ 1545 h 2956"/>
                <a:gd name="T90" fmla="*/ 126 w 4145"/>
                <a:gd name="T91" fmla="*/ 1775 h 2956"/>
                <a:gd name="T92" fmla="*/ 193 w 4145"/>
                <a:gd name="T93" fmla="*/ 1886 h 2956"/>
                <a:gd name="T94" fmla="*/ 267 w 4145"/>
                <a:gd name="T95" fmla="*/ 1760 h 2956"/>
                <a:gd name="T96" fmla="*/ 631 w 4145"/>
                <a:gd name="T97" fmla="*/ 1730 h 2956"/>
                <a:gd name="T98" fmla="*/ 951 w 4145"/>
                <a:gd name="T99" fmla="*/ 1767 h 2956"/>
                <a:gd name="T100" fmla="*/ 1069 w 4145"/>
                <a:gd name="T101" fmla="*/ 1856 h 2956"/>
                <a:gd name="T102" fmla="*/ 1262 w 4145"/>
                <a:gd name="T103" fmla="*/ 1782 h 2956"/>
                <a:gd name="T104" fmla="*/ 1418 w 4145"/>
                <a:gd name="T105" fmla="*/ 1745 h 2956"/>
                <a:gd name="T106" fmla="*/ 1686 w 4145"/>
                <a:gd name="T107" fmla="*/ 1619 h 2956"/>
                <a:gd name="T108" fmla="*/ 1730 w 4145"/>
                <a:gd name="T109" fmla="*/ 1767 h 2956"/>
                <a:gd name="T110" fmla="*/ 1968 w 4145"/>
                <a:gd name="T111" fmla="*/ 1886 h 2956"/>
                <a:gd name="T112" fmla="*/ 2131 w 4145"/>
                <a:gd name="T113" fmla="*/ 2168 h 2956"/>
                <a:gd name="T114" fmla="*/ 1931 w 4145"/>
                <a:gd name="T115" fmla="*/ 2369 h 2956"/>
                <a:gd name="T116" fmla="*/ 1856 w 4145"/>
                <a:gd name="T117" fmla="*/ 2495 h 2956"/>
                <a:gd name="T118" fmla="*/ 1753 w 4145"/>
                <a:gd name="T119" fmla="*/ 2725 h 2956"/>
                <a:gd name="T120" fmla="*/ 1753 w 4145"/>
                <a:gd name="T121" fmla="*/ 2881 h 2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5" h="2956">
                  <a:moveTo>
                    <a:pt x="1753" y="2881"/>
                  </a:moveTo>
                  <a:lnTo>
                    <a:pt x="1753" y="2881"/>
                  </a:lnTo>
                  <a:cubicBezTo>
                    <a:pt x="1753" y="2881"/>
                    <a:pt x="1782" y="2881"/>
                    <a:pt x="1812" y="2874"/>
                  </a:cubicBezTo>
                  <a:cubicBezTo>
                    <a:pt x="1812" y="2866"/>
                    <a:pt x="1812" y="2859"/>
                    <a:pt x="1819" y="2852"/>
                  </a:cubicBezTo>
                  <a:cubicBezTo>
                    <a:pt x="1812" y="2859"/>
                    <a:pt x="1812" y="2866"/>
                    <a:pt x="1812" y="2874"/>
                  </a:cubicBezTo>
                  <a:cubicBezTo>
                    <a:pt x="1849" y="2874"/>
                    <a:pt x="1886" y="2866"/>
                    <a:pt x="1894" y="2866"/>
                  </a:cubicBezTo>
                  <a:cubicBezTo>
                    <a:pt x="1894" y="2896"/>
                    <a:pt x="1894" y="2918"/>
                    <a:pt x="1894" y="2948"/>
                  </a:cubicBezTo>
                  <a:cubicBezTo>
                    <a:pt x="1916" y="2955"/>
                    <a:pt x="1946" y="2941"/>
                    <a:pt x="1961" y="2926"/>
                  </a:cubicBezTo>
                  <a:cubicBezTo>
                    <a:pt x="1983" y="2904"/>
                    <a:pt x="1983" y="2889"/>
                    <a:pt x="1983" y="2859"/>
                  </a:cubicBezTo>
                  <a:cubicBezTo>
                    <a:pt x="1998" y="2859"/>
                    <a:pt x="2013" y="2859"/>
                    <a:pt x="2020" y="2859"/>
                  </a:cubicBezTo>
                  <a:cubicBezTo>
                    <a:pt x="2020" y="2844"/>
                    <a:pt x="2020" y="2822"/>
                    <a:pt x="2027" y="2814"/>
                  </a:cubicBezTo>
                  <a:cubicBezTo>
                    <a:pt x="2035" y="2792"/>
                    <a:pt x="2050" y="2792"/>
                    <a:pt x="2064" y="2785"/>
                  </a:cubicBezTo>
                  <a:cubicBezTo>
                    <a:pt x="2087" y="2763"/>
                    <a:pt x="2087" y="2710"/>
                    <a:pt x="2087" y="2681"/>
                  </a:cubicBezTo>
                  <a:cubicBezTo>
                    <a:pt x="2102" y="2710"/>
                    <a:pt x="2146" y="2733"/>
                    <a:pt x="2153" y="2763"/>
                  </a:cubicBezTo>
                  <a:cubicBezTo>
                    <a:pt x="2183" y="2770"/>
                    <a:pt x="2198" y="2740"/>
                    <a:pt x="2220" y="2733"/>
                  </a:cubicBezTo>
                  <a:cubicBezTo>
                    <a:pt x="2243" y="2733"/>
                    <a:pt x="2265" y="2748"/>
                    <a:pt x="2287" y="2740"/>
                  </a:cubicBezTo>
                  <a:cubicBezTo>
                    <a:pt x="2272" y="2710"/>
                    <a:pt x="2258" y="2688"/>
                    <a:pt x="2250" y="2666"/>
                  </a:cubicBezTo>
                  <a:cubicBezTo>
                    <a:pt x="2258" y="2688"/>
                    <a:pt x="2272" y="2710"/>
                    <a:pt x="2287" y="2740"/>
                  </a:cubicBezTo>
                  <a:cubicBezTo>
                    <a:pt x="2287" y="2740"/>
                    <a:pt x="2287" y="2740"/>
                    <a:pt x="2295" y="2733"/>
                  </a:cubicBezTo>
                  <a:cubicBezTo>
                    <a:pt x="2295" y="2703"/>
                    <a:pt x="2295" y="2688"/>
                    <a:pt x="2310" y="2658"/>
                  </a:cubicBezTo>
                  <a:cubicBezTo>
                    <a:pt x="2324" y="2636"/>
                    <a:pt x="2324" y="2614"/>
                    <a:pt x="2324" y="2584"/>
                  </a:cubicBezTo>
                  <a:cubicBezTo>
                    <a:pt x="2332" y="2532"/>
                    <a:pt x="2332" y="2480"/>
                    <a:pt x="2339" y="2428"/>
                  </a:cubicBezTo>
                  <a:cubicBezTo>
                    <a:pt x="2361" y="2428"/>
                    <a:pt x="2384" y="2428"/>
                    <a:pt x="2406" y="2428"/>
                  </a:cubicBezTo>
                  <a:cubicBezTo>
                    <a:pt x="2421" y="2406"/>
                    <a:pt x="2413" y="2376"/>
                    <a:pt x="2421" y="2347"/>
                  </a:cubicBezTo>
                  <a:cubicBezTo>
                    <a:pt x="2428" y="2317"/>
                    <a:pt x="2443" y="2295"/>
                    <a:pt x="2421" y="2265"/>
                  </a:cubicBezTo>
                  <a:cubicBezTo>
                    <a:pt x="2436" y="2258"/>
                    <a:pt x="2443" y="2258"/>
                    <a:pt x="2458" y="2258"/>
                  </a:cubicBezTo>
                  <a:cubicBezTo>
                    <a:pt x="2465" y="2243"/>
                    <a:pt x="2473" y="2228"/>
                    <a:pt x="2473" y="2206"/>
                  </a:cubicBezTo>
                  <a:cubicBezTo>
                    <a:pt x="2480" y="2191"/>
                    <a:pt x="2473" y="2161"/>
                    <a:pt x="2480" y="2146"/>
                  </a:cubicBezTo>
                  <a:cubicBezTo>
                    <a:pt x="2488" y="2139"/>
                    <a:pt x="2510" y="2116"/>
                    <a:pt x="2518" y="2109"/>
                  </a:cubicBezTo>
                  <a:cubicBezTo>
                    <a:pt x="2532" y="2094"/>
                    <a:pt x="2540" y="2079"/>
                    <a:pt x="2569" y="2079"/>
                  </a:cubicBezTo>
                  <a:cubicBezTo>
                    <a:pt x="2562" y="2079"/>
                    <a:pt x="2562" y="2072"/>
                    <a:pt x="2562" y="2072"/>
                  </a:cubicBezTo>
                  <a:cubicBezTo>
                    <a:pt x="2532" y="2072"/>
                    <a:pt x="2503" y="2072"/>
                    <a:pt x="2495" y="2072"/>
                  </a:cubicBezTo>
                  <a:cubicBezTo>
                    <a:pt x="2503" y="2072"/>
                    <a:pt x="2532" y="2072"/>
                    <a:pt x="2562" y="2072"/>
                  </a:cubicBezTo>
                  <a:cubicBezTo>
                    <a:pt x="2555" y="2050"/>
                    <a:pt x="2555" y="2020"/>
                    <a:pt x="2555" y="1990"/>
                  </a:cubicBezTo>
                  <a:cubicBezTo>
                    <a:pt x="2562" y="1923"/>
                    <a:pt x="2540" y="1961"/>
                    <a:pt x="2503" y="1938"/>
                  </a:cubicBezTo>
                  <a:cubicBezTo>
                    <a:pt x="2495" y="1931"/>
                    <a:pt x="2480" y="1908"/>
                    <a:pt x="2480" y="1901"/>
                  </a:cubicBezTo>
                  <a:cubicBezTo>
                    <a:pt x="2473" y="1886"/>
                    <a:pt x="2458" y="1901"/>
                    <a:pt x="2473" y="1879"/>
                  </a:cubicBezTo>
                  <a:cubicBezTo>
                    <a:pt x="2480" y="1856"/>
                    <a:pt x="2525" y="1842"/>
                    <a:pt x="2547" y="1834"/>
                  </a:cubicBezTo>
                  <a:cubicBezTo>
                    <a:pt x="2547" y="1805"/>
                    <a:pt x="2569" y="1812"/>
                    <a:pt x="2577" y="1797"/>
                  </a:cubicBezTo>
                  <a:cubicBezTo>
                    <a:pt x="2584" y="1775"/>
                    <a:pt x="2569" y="1760"/>
                    <a:pt x="2584" y="1738"/>
                  </a:cubicBezTo>
                  <a:cubicBezTo>
                    <a:pt x="2614" y="1701"/>
                    <a:pt x="2673" y="1701"/>
                    <a:pt x="2688" y="1663"/>
                  </a:cubicBezTo>
                  <a:cubicBezTo>
                    <a:pt x="2666" y="1649"/>
                    <a:pt x="2666" y="1634"/>
                    <a:pt x="2666" y="1611"/>
                  </a:cubicBezTo>
                  <a:cubicBezTo>
                    <a:pt x="2696" y="1604"/>
                    <a:pt x="2718" y="1604"/>
                    <a:pt x="2748" y="1589"/>
                  </a:cubicBezTo>
                  <a:cubicBezTo>
                    <a:pt x="2725" y="1597"/>
                    <a:pt x="2740" y="1626"/>
                    <a:pt x="2748" y="1641"/>
                  </a:cubicBezTo>
                  <a:cubicBezTo>
                    <a:pt x="2763" y="1671"/>
                    <a:pt x="2777" y="1671"/>
                    <a:pt x="2800" y="1671"/>
                  </a:cubicBezTo>
                  <a:cubicBezTo>
                    <a:pt x="2859" y="1663"/>
                    <a:pt x="2881" y="1611"/>
                    <a:pt x="2866" y="1559"/>
                  </a:cubicBezTo>
                  <a:cubicBezTo>
                    <a:pt x="2852" y="1522"/>
                    <a:pt x="2859" y="1522"/>
                    <a:pt x="2881" y="1500"/>
                  </a:cubicBezTo>
                  <a:cubicBezTo>
                    <a:pt x="2918" y="1456"/>
                    <a:pt x="2889" y="1463"/>
                    <a:pt x="2874" y="1426"/>
                  </a:cubicBezTo>
                  <a:cubicBezTo>
                    <a:pt x="2874" y="1433"/>
                    <a:pt x="2941" y="1322"/>
                    <a:pt x="2941" y="1314"/>
                  </a:cubicBezTo>
                  <a:cubicBezTo>
                    <a:pt x="2955" y="1300"/>
                    <a:pt x="2978" y="1300"/>
                    <a:pt x="2993" y="1277"/>
                  </a:cubicBezTo>
                  <a:cubicBezTo>
                    <a:pt x="3015" y="1240"/>
                    <a:pt x="3000" y="1188"/>
                    <a:pt x="3030" y="1151"/>
                  </a:cubicBezTo>
                  <a:cubicBezTo>
                    <a:pt x="3037" y="1144"/>
                    <a:pt x="3060" y="1144"/>
                    <a:pt x="3074" y="1144"/>
                  </a:cubicBezTo>
                  <a:cubicBezTo>
                    <a:pt x="3074" y="1159"/>
                    <a:pt x="3067" y="1181"/>
                    <a:pt x="3074" y="1196"/>
                  </a:cubicBezTo>
                  <a:cubicBezTo>
                    <a:pt x="3074" y="1211"/>
                    <a:pt x="3082" y="1211"/>
                    <a:pt x="3097" y="1211"/>
                  </a:cubicBezTo>
                  <a:cubicBezTo>
                    <a:pt x="3104" y="1203"/>
                    <a:pt x="3104" y="1203"/>
                    <a:pt x="3112" y="1196"/>
                  </a:cubicBezTo>
                  <a:cubicBezTo>
                    <a:pt x="3126" y="1181"/>
                    <a:pt x="3149" y="1166"/>
                    <a:pt x="3156" y="1151"/>
                  </a:cubicBezTo>
                  <a:cubicBezTo>
                    <a:pt x="3156" y="1129"/>
                    <a:pt x="3156" y="1114"/>
                    <a:pt x="3163" y="1092"/>
                  </a:cubicBezTo>
                  <a:cubicBezTo>
                    <a:pt x="3193" y="1017"/>
                    <a:pt x="3282" y="1003"/>
                    <a:pt x="3349" y="965"/>
                  </a:cubicBezTo>
                  <a:cubicBezTo>
                    <a:pt x="3364" y="958"/>
                    <a:pt x="3386" y="943"/>
                    <a:pt x="3394" y="928"/>
                  </a:cubicBezTo>
                  <a:cubicBezTo>
                    <a:pt x="3401" y="914"/>
                    <a:pt x="3416" y="884"/>
                    <a:pt x="3438" y="884"/>
                  </a:cubicBezTo>
                  <a:cubicBezTo>
                    <a:pt x="3438" y="861"/>
                    <a:pt x="3438" y="847"/>
                    <a:pt x="3446" y="832"/>
                  </a:cubicBezTo>
                  <a:cubicBezTo>
                    <a:pt x="3460" y="824"/>
                    <a:pt x="3490" y="824"/>
                    <a:pt x="3505" y="817"/>
                  </a:cubicBezTo>
                  <a:cubicBezTo>
                    <a:pt x="3520" y="817"/>
                    <a:pt x="3535" y="817"/>
                    <a:pt x="3542" y="817"/>
                  </a:cubicBezTo>
                  <a:cubicBezTo>
                    <a:pt x="3557" y="809"/>
                    <a:pt x="3565" y="795"/>
                    <a:pt x="3572" y="787"/>
                  </a:cubicBezTo>
                  <a:cubicBezTo>
                    <a:pt x="3587" y="772"/>
                    <a:pt x="3602" y="765"/>
                    <a:pt x="3617" y="750"/>
                  </a:cubicBezTo>
                  <a:cubicBezTo>
                    <a:pt x="3624" y="743"/>
                    <a:pt x="3624" y="735"/>
                    <a:pt x="3639" y="728"/>
                  </a:cubicBezTo>
                  <a:cubicBezTo>
                    <a:pt x="3654" y="720"/>
                    <a:pt x="3676" y="728"/>
                    <a:pt x="3691" y="728"/>
                  </a:cubicBezTo>
                  <a:cubicBezTo>
                    <a:pt x="3691" y="720"/>
                    <a:pt x="3706" y="713"/>
                    <a:pt x="3720" y="706"/>
                  </a:cubicBezTo>
                  <a:cubicBezTo>
                    <a:pt x="3713" y="706"/>
                    <a:pt x="3706" y="706"/>
                    <a:pt x="3706" y="698"/>
                  </a:cubicBezTo>
                  <a:cubicBezTo>
                    <a:pt x="3720" y="698"/>
                    <a:pt x="3743" y="668"/>
                    <a:pt x="3750" y="661"/>
                  </a:cubicBezTo>
                  <a:cubicBezTo>
                    <a:pt x="3765" y="654"/>
                    <a:pt x="3795" y="646"/>
                    <a:pt x="3802" y="631"/>
                  </a:cubicBezTo>
                  <a:cubicBezTo>
                    <a:pt x="3802" y="624"/>
                    <a:pt x="3802" y="594"/>
                    <a:pt x="3802" y="579"/>
                  </a:cubicBezTo>
                  <a:cubicBezTo>
                    <a:pt x="3810" y="549"/>
                    <a:pt x="3824" y="549"/>
                    <a:pt x="3854" y="542"/>
                  </a:cubicBezTo>
                  <a:cubicBezTo>
                    <a:pt x="3862" y="564"/>
                    <a:pt x="3928" y="564"/>
                    <a:pt x="3951" y="557"/>
                  </a:cubicBezTo>
                  <a:cubicBezTo>
                    <a:pt x="3958" y="557"/>
                    <a:pt x="3973" y="549"/>
                    <a:pt x="3988" y="542"/>
                  </a:cubicBezTo>
                  <a:cubicBezTo>
                    <a:pt x="4003" y="535"/>
                    <a:pt x="4032" y="535"/>
                    <a:pt x="4040" y="527"/>
                  </a:cubicBezTo>
                  <a:cubicBezTo>
                    <a:pt x="4084" y="527"/>
                    <a:pt x="4129" y="498"/>
                    <a:pt x="4136" y="453"/>
                  </a:cubicBezTo>
                  <a:cubicBezTo>
                    <a:pt x="4136" y="438"/>
                    <a:pt x="4144" y="386"/>
                    <a:pt x="4122" y="394"/>
                  </a:cubicBezTo>
                  <a:cubicBezTo>
                    <a:pt x="4107" y="394"/>
                    <a:pt x="4107" y="409"/>
                    <a:pt x="4099" y="416"/>
                  </a:cubicBezTo>
                  <a:cubicBezTo>
                    <a:pt x="4084" y="423"/>
                    <a:pt x="4069" y="423"/>
                    <a:pt x="4055" y="423"/>
                  </a:cubicBezTo>
                  <a:cubicBezTo>
                    <a:pt x="4055" y="401"/>
                    <a:pt x="4047" y="386"/>
                    <a:pt x="4040" y="371"/>
                  </a:cubicBezTo>
                  <a:cubicBezTo>
                    <a:pt x="4032" y="349"/>
                    <a:pt x="4032" y="334"/>
                    <a:pt x="4032" y="312"/>
                  </a:cubicBezTo>
                  <a:cubicBezTo>
                    <a:pt x="3980" y="290"/>
                    <a:pt x="3980" y="245"/>
                    <a:pt x="3980" y="193"/>
                  </a:cubicBezTo>
                  <a:cubicBezTo>
                    <a:pt x="3980" y="171"/>
                    <a:pt x="3980" y="134"/>
                    <a:pt x="3988" y="119"/>
                  </a:cubicBezTo>
                  <a:cubicBezTo>
                    <a:pt x="3995" y="112"/>
                    <a:pt x="4010" y="112"/>
                    <a:pt x="4017" y="104"/>
                  </a:cubicBezTo>
                  <a:cubicBezTo>
                    <a:pt x="4032" y="97"/>
                    <a:pt x="4040" y="89"/>
                    <a:pt x="4047" y="74"/>
                  </a:cubicBezTo>
                  <a:cubicBezTo>
                    <a:pt x="4055" y="59"/>
                    <a:pt x="4077" y="44"/>
                    <a:pt x="4069" y="30"/>
                  </a:cubicBezTo>
                  <a:cubicBezTo>
                    <a:pt x="4055" y="0"/>
                    <a:pt x="3988" y="15"/>
                    <a:pt x="3965" y="22"/>
                  </a:cubicBezTo>
                  <a:cubicBezTo>
                    <a:pt x="3943" y="22"/>
                    <a:pt x="3928" y="30"/>
                    <a:pt x="3906" y="30"/>
                  </a:cubicBezTo>
                  <a:cubicBezTo>
                    <a:pt x="3884" y="30"/>
                    <a:pt x="3869" y="30"/>
                    <a:pt x="3854" y="44"/>
                  </a:cubicBezTo>
                  <a:cubicBezTo>
                    <a:pt x="3832" y="67"/>
                    <a:pt x="3832" y="67"/>
                    <a:pt x="3810" y="67"/>
                  </a:cubicBezTo>
                  <a:cubicBezTo>
                    <a:pt x="3787" y="74"/>
                    <a:pt x="3780" y="82"/>
                    <a:pt x="3765" y="97"/>
                  </a:cubicBezTo>
                  <a:cubicBezTo>
                    <a:pt x="3750" y="104"/>
                    <a:pt x="3720" y="104"/>
                    <a:pt x="3706" y="112"/>
                  </a:cubicBezTo>
                  <a:cubicBezTo>
                    <a:pt x="3691" y="112"/>
                    <a:pt x="3668" y="112"/>
                    <a:pt x="3654" y="119"/>
                  </a:cubicBezTo>
                  <a:cubicBezTo>
                    <a:pt x="3646" y="119"/>
                    <a:pt x="3646" y="134"/>
                    <a:pt x="3639" y="134"/>
                  </a:cubicBezTo>
                  <a:cubicBezTo>
                    <a:pt x="3631" y="141"/>
                    <a:pt x="3624" y="134"/>
                    <a:pt x="3617" y="134"/>
                  </a:cubicBezTo>
                  <a:cubicBezTo>
                    <a:pt x="3602" y="141"/>
                    <a:pt x="3602" y="149"/>
                    <a:pt x="3594" y="156"/>
                  </a:cubicBezTo>
                  <a:cubicBezTo>
                    <a:pt x="3587" y="163"/>
                    <a:pt x="3579" y="163"/>
                    <a:pt x="3572" y="171"/>
                  </a:cubicBezTo>
                  <a:cubicBezTo>
                    <a:pt x="3565" y="171"/>
                    <a:pt x="3550" y="171"/>
                    <a:pt x="3542" y="178"/>
                  </a:cubicBezTo>
                  <a:cubicBezTo>
                    <a:pt x="3535" y="178"/>
                    <a:pt x="3527" y="186"/>
                    <a:pt x="3520" y="193"/>
                  </a:cubicBezTo>
                  <a:cubicBezTo>
                    <a:pt x="3498" y="201"/>
                    <a:pt x="3483" y="193"/>
                    <a:pt x="3468" y="208"/>
                  </a:cubicBezTo>
                  <a:cubicBezTo>
                    <a:pt x="3453" y="215"/>
                    <a:pt x="3453" y="215"/>
                    <a:pt x="3446" y="215"/>
                  </a:cubicBezTo>
                  <a:cubicBezTo>
                    <a:pt x="3431" y="223"/>
                    <a:pt x="3431" y="230"/>
                    <a:pt x="3423" y="238"/>
                  </a:cubicBezTo>
                  <a:cubicBezTo>
                    <a:pt x="3416" y="238"/>
                    <a:pt x="3401" y="238"/>
                    <a:pt x="3394" y="238"/>
                  </a:cubicBezTo>
                  <a:cubicBezTo>
                    <a:pt x="3379" y="245"/>
                    <a:pt x="3386" y="245"/>
                    <a:pt x="3371" y="252"/>
                  </a:cubicBezTo>
                  <a:lnTo>
                    <a:pt x="3371" y="260"/>
                  </a:lnTo>
                  <a:cubicBezTo>
                    <a:pt x="3364" y="260"/>
                    <a:pt x="3364" y="260"/>
                    <a:pt x="3357" y="260"/>
                  </a:cubicBezTo>
                  <a:cubicBezTo>
                    <a:pt x="3357" y="267"/>
                    <a:pt x="3342" y="267"/>
                    <a:pt x="3342" y="267"/>
                  </a:cubicBezTo>
                  <a:cubicBezTo>
                    <a:pt x="3327" y="275"/>
                    <a:pt x="3320" y="282"/>
                    <a:pt x="3312" y="290"/>
                  </a:cubicBezTo>
                  <a:cubicBezTo>
                    <a:pt x="3297" y="304"/>
                    <a:pt x="3282" y="312"/>
                    <a:pt x="3267" y="319"/>
                  </a:cubicBezTo>
                  <a:cubicBezTo>
                    <a:pt x="3245" y="327"/>
                    <a:pt x="3223" y="342"/>
                    <a:pt x="3208" y="349"/>
                  </a:cubicBezTo>
                  <a:cubicBezTo>
                    <a:pt x="3186" y="371"/>
                    <a:pt x="3171" y="357"/>
                    <a:pt x="3149" y="364"/>
                  </a:cubicBezTo>
                  <a:cubicBezTo>
                    <a:pt x="3149" y="386"/>
                    <a:pt x="3119" y="371"/>
                    <a:pt x="3104" y="379"/>
                  </a:cubicBezTo>
                  <a:cubicBezTo>
                    <a:pt x="3089" y="386"/>
                    <a:pt x="3074" y="401"/>
                    <a:pt x="3052" y="401"/>
                  </a:cubicBezTo>
                  <a:cubicBezTo>
                    <a:pt x="3037" y="401"/>
                    <a:pt x="3015" y="379"/>
                    <a:pt x="3000" y="371"/>
                  </a:cubicBezTo>
                  <a:cubicBezTo>
                    <a:pt x="2993" y="371"/>
                    <a:pt x="2963" y="357"/>
                    <a:pt x="2948" y="357"/>
                  </a:cubicBezTo>
                  <a:cubicBezTo>
                    <a:pt x="2941" y="364"/>
                    <a:pt x="2941" y="371"/>
                    <a:pt x="2941" y="379"/>
                  </a:cubicBezTo>
                  <a:cubicBezTo>
                    <a:pt x="2941" y="394"/>
                    <a:pt x="2948" y="386"/>
                    <a:pt x="2955" y="394"/>
                  </a:cubicBezTo>
                  <a:cubicBezTo>
                    <a:pt x="2970" y="409"/>
                    <a:pt x="2970" y="460"/>
                    <a:pt x="2970" y="475"/>
                  </a:cubicBezTo>
                  <a:cubicBezTo>
                    <a:pt x="2963" y="483"/>
                    <a:pt x="2963" y="483"/>
                    <a:pt x="2963" y="483"/>
                  </a:cubicBezTo>
                  <a:cubicBezTo>
                    <a:pt x="2948" y="483"/>
                    <a:pt x="2941" y="505"/>
                    <a:pt x="2926" y="520"/>
                  </a:cubicBezTo>
                  <a:cubicBezTo>
                    <a:pt x="2918" y="527"/>
                    <a:pt x="2904" y="542"/>
                    <a:pt x="2896" y="549"/>
                  </a:cubicBezTo>
                  <a:cubicBezTo>
                    <a:pt x="2881" y="564"/>
                    <a:pt x="2866" y="572"/>
                    <a:pt x="2859" y="587"/>
                  </a:cubicBezTo>
                  <a:cubicBezTo>
                    <a:pt x="2852" y="587"/>
                    <a:pt x="2844" y="594"/>
                    <a:pt x="2844" y="602"/>
                  </a:cubicBezTo>
                  <a:cubicBezTo>
                    <a:pt x="2837" y="602"/>
                    <a:pt x="2829" y="609"/>
                    <a:pt x="2822" y="616"/>
                  </a:cubicBezTo>
                  <a:cubicBezTo>
                    <a:pt x="2800" y="639"/>
                    <a:pt x="2785" y="661"/>
                    <a:pt x="2763" y="691"/>
                  </a:cubicBezTo>
                  <a:cubicBezTo>
                    <a:pt x="2755" y="698"/>
                    <a:pt x="2748" y="713"/>
                    <a:pt x="2748" y="735"/>
                  </a:cubicBezTo>
                  <a:cubicBezTo>
                    <a:pt x="2740" y="750"/>
                    <a:pt x="2748" y="765"/>
                    <a:pt x="2748" y="780"/>
                  </a:cubicBezTo>
                  <a:cubicBezTo>
                    <a:pt x="2725" y="780"/>
                    <a:pt x="2718" y="780"/>
                    <a:pt x="2703" y="795"/>
                  </a:cubicBezTo>
                  <a:cubicBezTo>
                    <a:pt x="2696" y="809"/>
                    <a:pt x="2688" y="824"/>
                    <a:pt x="2681" y="839"/>
                  </a:cubicBezTo>
                  <a:cubicBezTo>
                    <a:pt x="2666" y="854"/>
                    <a:pt x="2651" y="861"/>
                    <a:pt x="2629" y="869"/>
                  </a:cubicBezTo>
                  <a:cubicBezTo>
                    <a:pt x="2614" y="869"/>
                    <a:pt x="2592" y="869"/>
                    <a:pt x="2569" y="869"/>
                  </a:cubicBezTo>
                  <a:cubicBezTo>
                    <a:pt x="2562" y="869"/>
                    <a:pt x="2555" y="869"/>
                    <a:pt x="2547" y="869"/>
                  </a:cubicBezTo>
                  <a:cubicBezTo>
                    <a:pt x="2532" y="869"/>
                    <a:pt x="2532" y="876"/>
                    <a:pt x="2518" y="884"/>
                  </a:cubicBezTo>
                  <a:cubicBezTo>
                    <a:pt x="2503" y="891"/>
                    <a:pt x="2480" y="891"/>
                    <a:pt x="2465" y="891"/>
                  </a:cubicBezTo>
                  <a:cubicBezTo>
                    <a:pt x="2421" y="884"/>
                    <a:pt x="2384" y="884"/>
                    <a:pt x="2354" y="914"/>
                  </a:cubicBezTo>
                  <a:cubicBezTo>
                    <a:pt x="2339" y="921"/>
                    <a:pt x="2310" y="921"/>
                    <a:pt x="2287" y="928"/>
                  </a:cubicBezTo>
                  <a:cubicBezTo>
                    <a:pt x="2258" y="928"/>
                    <a:pt x="2235" y="936"/>
                    <a:pt x="2206" y="921"/>
                  </a:cubicBezTo>
                  <a:cubicBezTo>
                    <a:pt x="2183" y="906"/>
                    <a:pt x="2161" y="899"/>
                    <a:pt x="2139" y="891"/>
                  </a:cubicBezTo>
                  <a:cubicBezTo>
                    <a:pt x="2102" y="884"/>
                    <a:pt x="2064" y="869"/>
                    <a:pt x="2020" y="869"/>
                  </a:cubicBezTo>
                  <a:cubicBezTo>
                    <a:pt x="1998" y="869"/>
                    <a:pt x="1998" y="891"/>
                    <a:pt x="1975" y="899"/>
                  </a:cubicBezTo>
                  <a:cubicBezTo>
                    <a:pt x="1968" y="899"/>
                    <a:pt x="1961" y="899"/>
                    <a:pt x="1946" y="899"/>
                  </a:cubicBezTo>
                  <a:cubicBezTo>
                    <a:pt x="1938" y="899"/>
                    <a:pt x="1931" y="914"/>
                    <a:pt x="1923" y="914"/>
                  </a:cubicBezTo>
                  <a:cubicBezTo>
                    <a:pt x="1894" y="928"/>
                    <a:pt x="1871" y="943"/>
                    <a:pt x="1842" y="951"/>
                  </a:cubicBezTo>
                  <a:cubicBezTo>
                    <a:pt x="1827" y="951"/>
                    <a:pt x="1805" y="951"/>
                    <a:pt x="1790" y="958"/>
                  </a:cubicBezTo>
                  <a:cubicBezTo>
                    <a:pt x="1775" y="958"/>
                    <a:pt x="1767" y="973"/>
                    <a:pt x="1753" y="973"/>
                  </a:cubicBezTo>
                  <a:cubicBezTo>
                    <a:pt x="1738" y="973"/>
                    <a:pt x="1723" y="980"/>
                    <a:pt x="1708" y="980"/>
                  </a:cubicBezTo>
                  <a:cubicBezTo>
                    <a:pt x="1686" y="988"/>
                    <a:pt x="1671" y="988"/>
                    <a:pt x="1648" y="995"/>
                  </a:cubicBezTo>
                  <a:cubicBezTo>
                    <a:pt x="1626" y="1003"/>
                    <a:pt x="1604" y="1003"/>
                    <a:pt x="1574" y="995"/>
                  </a:cubicBezTo>
                  <a:cubicBezTo>
                    <a:pt x="1559" y="995"/>
                    <a:pt x="1545" y="988"/>
                    <a:pt x="1530" y="973"/>
                  </a:cubicBezTo>
                  <a:cubicBezTo>
                    <a:pt x="1530" y="973"/>
                    <a:pt x="1530" y="973"/>
                    <a:pt x="1522" y="973"/>
                  </a:cubicBezTo>
                  <a:cubicBezTo>
                    <a:pt x="1508" y="980"/>
                    <a:pt x="1515" y="988"/>
                    <a:pt x="1515" y="995"/>
                  </a:cubicBezTo>
                  <a:cubicBezTo>
                    <a:pt x="1515" y="1025"/>
                    <a:pt x="1522" y="1040"/>
                    <a:pt x="1493" y="1054"/>
                  </a:cubicBezTo>
                  <a:cubicBezTo>
                    <a:pt x="1493" y="1032"/>
                    <a:pt x="1500" y="1010"/>
                    <a:pt x="1478" y="1003"/>
                  </a:cubicBezTo>
                  <a:cubicBezTo>
                    <a:pt x="1441" y="995"/>
                    <a:pt x="1441" y="1017"/>
                    <a:pt x="1426" y="1032"/>
                  </a:cubicBezTo>
                  <a:cubicBezTo>
                    <a:pt x="1403" y="1054"/>
                    <a:pt x="1366" y="1032"/>
                    <a:pt x="1337" y="1040"/>
                  </a:cubicBezTo>
                  <a:cubicBezTo>
                    <a:pt x="1307" y="1047"/>
                    <a:pt x="1285" y="1069"/>
                    <a:pt x="1255" y="1062"/>
                  </a:cubicBezTo>
                  <a:cubicBezTo>
                    <a:pt x="1255" y="1047"/>
                    <a:pt x="1255" y="1032"/>
                    <a:pt x="1255" y="1025"/>
                  </a:cubicBezTo>
                  <a:cubicBezTo>
                    <a:pt x="1240" y="1025"/>
                    <a:pt x="1233" y="1017"/>
                    <a:pt x="1218" y="1017"/>
                  </a:cubicBezTo>
                  <a:cubicBezTo>
                    <a:pt x="1210" y="1017"/>
                    <a:pt x="1196" y="1025"/>
                    <a:pt x="1188" y="1025"/>
                  </a:cubicBezTo>
                  <a:cubicBezTo>
                    <a:pt x="1166" y="1032"/>
                    <a:pt x="1158" y="1040"/>
                    <a:pt x="1158" y="1069"/>
                  </a:cubicBezTo>
                  <a:cubicBezTo>
                    <a:pt x="1121" y="1084"/>
                    <a:pt x="1077" y="1084"/>
                    <a:pt x="1040" y="1077"/>
                  </a:cubicBezTo>
                  <a:cubicBezTo>
                    <a:pt x="1017" y="1069"/>
                    <a:pt x="995" y="1062"/>
                    <a:pt x="973" y="1069"/>
                  </a:cubicBezTo>
                  <a:cubicBezTo>
                    <a:pt x="943" y="1077"/>
                    <a:pt x="936" y="1092"/>
                    <a:pt x="906" y="1084"/>
                  </a:cubicBezTo>
                  <a:cubicBezTo>
                    <a:pt x="869" y="1084"/>
                    <a:pt x="839" y="1077"/>
                    <a:pt x="809" y="1077"/>
                  </a:cubicBezTo>
                  <a:cubicBezTo>
                    <a:pt x="772" y="1069"/>
                    <a:pt x="728" y="1077"/>
                    <a:pt x="698" y="1062"/>
                  </a:cubicBezTo>
                  <a:cubicBezTo>
                    <a:pt x="676" y="1054"/>
                    <a:pt x="639" y="1032"/>
                    <a:pt x="616" y="1017"/>
                  </a:cubicBezTo>
                  <a:cubicBezTo>
                    <a:pt x="594" y="1003"/>
                    <a:pt x="572" y="988"/>
                    <a:pt x="549" y="980"/>
                  </a:cubicBezTo>
                  <a:cubicBezTo>
                    <a:pt x="520" y="980"/>
                    <a:pt x="475" y="980"/>
                    <a:pt x="438" y="988"/>
                  </a:cubicBezTo>
                  <a:cubicBezTo>
                    <a:pt x="438" y="1025"/>
                    <a:pt x="438" y="1047"/>
                    <a:pt x="394" y="1054"/>
                  </a:cubicBezTo>
                  <a:cubicBezTo>
                    <a:pt x="364" y="1069"/>
                    <a:pt x="334" y="1069"/>
                    <a:pt x="304" y="1084"/>
                  </a:cubicBezTo>
                  <a:cubicBezTo>
                    <a:pt x="275" y="1092"/>
                    <a:pt x="252" y="1092"/>
                    <a:pt x="223" y="1099"/>
                  </a:cubicBezTo>
                  <a:cubicBezTo>
                    <a:pt x="201" y="1106"/>
                    <a:pt x="178" y="1114"/>
                    <a:pt x="156" y="1129"/>
                  </a:cubicBezTo>
                  <a:cubicBezTo>
                    <a:pt x="156" y="1159"/>
                    <a:pt x="141" y="1173"/>
                    <a:pt x="134" y="1203"/>
                  </a:cubicBezTo>
                  <a:cubicBezTo>
                    <a:pt x="119" y="1233"/>
                    <a:pt x="104" y="1292"/>
                    <a:pt x="119" y="1329"/>
                  </a:cubicBezTo>
                  <a:cubicBezTo>
                    <a:pt x="119" y="1344"/>
                    <a:pt x="134" y="1359"/>
                    <a:pt x="156" y="1359"/>
                  </a:cubicBezTo>
                  <a:cubicBezTo>
                    <a:pt x="149" y="1374"/>
                    <a:pt x="141" y="1389"/>
                    <a:pt x="126" y="1404"/>
                  </a:cubicBezTo>
                  <a:cubicBezTo>
                    <a:pt x="111" y="1426"/>
                    <a:pt x="97" y="1433"/>
                    <a:pt x="82" y="1456"/>
                  </a:cubicBezTo>
                  <a:cubicBezTo>
                    <a:pt x="67" y="1470"/>
                    <a:pt x="59" y="1478"/>
                    <a:pt x="44" y="1493"/>
                  </a:cubicBezTo>
                  <a:cubicBezTo>
                    <a:pt x="22" y="1508"/>
                    <a:pt x="7" y="1522"/>
                    <a:pt x="0" y="1545"/>
                  </a:cubicBezTo>
                  <a:cubicBezTo>
                    <a:pt x="0" y="1545"/>
                    <a:pt x="7" y="1545"/>
                    <a:pt x="15" y="1537"/>
                  </a:cubicBezTo>
                  <a:cubicBezTo>
                    <a:pt x="22" y="1530"/>
                    <a:pt x="22" y="1522"/>
                    <a:pt x="44" y="1508"/>
                  </a:cubicBezTo>
                  <a:cubicBezTo>
                    <a:pt x="134" y="1456"/>
                    <a:pt x="89" y="1649"/>
                    <a:pt x="141" y="1671"/>
                  </a:cubicBezTo>
                  <a:cubicBezTo>
                    <a:pt x="149" y="1716"/>
                    <a:pt x="134" y="1738"/>
                    <a:pt x="126" y="1775"/>
                  </a:cubicBezTo>
                  <a:cubicBezTo>
                    <a:pt x="126" y="1805"/>
                    <a:pt x="141" y="1842"/>
                    <a:pt x="141" y="1879"/>
                  </a:cubicBezTo>
                  <a:cubicBezTo>
                    <a:pt x="141" y="1916"/>
                    <a:pt x="134" y="1961"/>
                    <a:pt x="134" y="2005"/>
                  </a:cubicBezTo>
                  <a:cubicBezTo>
                    <a:pt x="163" y="2005"/>
                    <a:pt x="193" y="2005"/>
                    <a:pt x="208" y="1998"/>
                  </a:cubicBezTo>
                  <a:cubicBezTo>
                    <a:pt x="230" y="1983"/>
                    <a:pt x="201" y="1908"/>
                    <a:pt x="193" y="1886"/>
                  </a:cubicBezTo>
                  <a:cubicBezTo>
                    <a:pt x="186" y="1886"/>
                    <a:pt x="178" y="1879"/>
                    <a:pt x="171" y="1886"/>
                  </a:cubicBezTo>
                  <a:cubicBezTo>
                    <a:pt x="171" y="1864"/>
                    <a:pt x="171" y="1849"/>
                    <a:pt x="171" y="1834"/>
                  </a:cubicBezTo>
                  <a:cubicBezTo>
                    <a:pt x="208" y="1827"/>
                    <a:pt x="208" y="1797"/>
                    <a:pt x="230" y="1782"/>
                  </a:cubicBezTo>
                  <a:cubicBezTo>
                    <a:pt x="245" y="1760"/>
                    <a:pt x="238" y="1760"/>
                    <a:pt x="267" y="1760"/>
                  </a:cubicBezTo>
                  <a:cubicBezTo>
                    <a:pt x="304" y="1760"/>
                    <a:pt x="431" y="1782"/>
                    <a:pt x="431" y="1716"/>
                  </a:cubicBezTo>
                  <a:cubicBezTo>
                    <a:pt x="460" y="1716"/>
                    <a:pt x="483" y="1723"/>
                    <a:pt x="512" y="1716"/>
                  </a:cubicBezTo>
                  <a:cubicBezTo>
                    <a:pt x="542" y="1708"/>
                    <a:pt x="557" y="1701"/>
                    <a:pt x="579" y="1708"/>
                  </a:cubicBezTo>
                  <a:cubicBezTo>
                    <a:pt x="601" y="1716"/>
                    <a:pt x="609" y="1730"/>
                    <a:pt x="631" y="1730"/>
                  </a:cubicBezTo>
                  <a:cubicBezTo>
                    <a:pt x="661" y="1738"/>
                    <a:pt x="698" y="1745"/>
                    <a:pt x="728" y="1738"/>
                  </a:cubicBezTo>
                  <a:cubicBezTo>
                    <a:pt x="757" y="1738"/>
                    <a:pt x="780" y="1723"/>
                    <a:pt x="809" y="1723"/>
                  </a:cubicBezTo>
                  <a:cubicBezTo>
                    <a:pt x="832" y="1723"/>
                    <a:pt x="854" y="1738"/>
                    <a:pt x="876" y="1745"/>
                  </a:cubicBezTo>
                  <a:cubicBezTo>
                    <a:pt x="906" y="1760"/>
                    <a:pt x="928" y="1738"/>
                    <a:pt x="951" y="1767"/>
                  </a:cubicBezTo>
                  <a:cubicBezTo>
                    <a:pt x="965" y="1782"/>
                    <a:pt x="958" y="1819"/>
                    <a:pt x="988" y="1819"/>
                  </a:cubicBezTo>
                  <a:cubicBezTo>
                    <a:pt x="1010" y="1827"/>
                    <a:pt x="1010" y="1790"/>
                    <a:pt x="1017" y="1790"/>
                  </a:cubicBezTo>
                  <a:cubicBezTo>
                    <a:pt x="1040" y="1775"/>
                    <a:pt x="1047" y="1775"/>
                    <a:pt x="1069" y="1782"/>
                  </a:cubicBezTo>
                  <a:cubicBezTo>
                    <a:pt x="1069" y="1797"/>
                    <a:pt x="1062" y="1834"/>
                    <a:pt x="1069" y="1856"/>
                  </a:cubicBezTo>
                  <a:cubicBezTo>
                    <a:pt x="1077" y="1879"/>
                    <a:pt x="1091" y="1879"/>
                    <a:pt x="1121" y="1879"/>
                  </a:cubicBezTo>
                  <a:cubicBezTo>
                    <a:pt x="1129" y="1856"/>
                    <a:pt x="1129" y="1842"/>
                    <a:pt x="1144" y="1834"/>
                  </a:cubicBezTo>
                  <a:cubicBezTo>
                    <a:pt x="1151" y="1827"/>
                    <a:pt x="1166" y="1834"/>
                    <a:pt x="1181" y="1819"/>
                  </a:cubicBezTo>
                  <a:cubicBezTo>
                    <a:pt x="1188" y="1767"/>
                    <a:pt x="1225" y="1782"/>
                    <a:pt x="1262" y="1782"/>
                  </a:cubicBezTo>
                  <a:cubicBezTo>
                    <a:pt x="1322" y="1767"/>
                    <a:pt x="1262" y="1753"/>
                    <a:pt x="1270" y="1723"/>
                  </a:cubicBezTo>
                  <a:cubicBezTo>
                    <a:pt x="1270" y="1686"/>
                    <a:pt x="1314" y="1693"/>
                    <a:pt x="1314" y="1663"/>
                  </a:cubicBezTo>
                  <a:cubicBezTo>
                    <a:pt x="1337" y="1663"/>
                    <a:pt x="1359" y="1663"/>
                    <a:pt x="1381" y="1678"/>
                  </a:cubicBezTo>
                  <a:cubicBezTo>
                    <a:pt x="1396" y="1693"/>
                    <a:pt x="1389" y="1730"/>
                    <a:pt x="1418" y="1745"/>
                  </a:cubicBezTo>
                  <a:cubicBezTo>
                    <a:pt x="1418" y="1708"/>
                    <a:pt x="1433" y="1708"/>
                    <a:pt x="1441" y="1678"/>
                  </a:cubicBezTo>
                  <a:cubicBezTo>
                    <a:pt x="1448" y="1656"/>
                    <a:pt x="1426" y="1634"/>
                    <a:pt x="1463" y="1611"/>
                  </a:cubicBezTo>
                  <a:cubicBezTo>
                    <a:pt x="1508" y="1589"/>
                    <a:pt x="1574" y="1671"/>
                    <a:pt x="1611" y="1619"/>
                  </a:cubicBezTo>
                  <a:cubicBezTo>
                    <a:pt x="1634" y="1619"/>
                    <a:pt x="1656" y="1619"/>
                    <a:pt x="1686" y="1619"/>
                  </a:cubicBezTo>
                  <a:cubicBezTo>
                    <a:pt x="1716" y="1619"/>
                    <a:pt x="1745" y="1611"/>
                    <a:pt x="1775" y="1611"/>
                  </a:cubicBezTo>
                  <a:cubicBezTo>
                    <a:pt x="1782" y="1634"/>
                    <a:pt x="1753" y="1634"/>
                    <a:pt x="1730" y="1641"/>
                  </a:cubicBezTo>
                  <a:cubicBezTo>
                    <a:pt x="1723" y="1649"/>
                    <a:pt x="1701" y="1678"/>
                    <a:pt x="1701" y="1693"/>
                  </a:cubicBezTo>
                  <a:cubicBezTo>
                    <a:pt x="1745" y="1701"/>
                    <a:pt x="1738" y="1730"/>
                    <a:pt x="1730" y="1767"/>
                  </a:cubicBezTo>
                  <a:cubicBezTo>
                    <a:pt x="1723" y="1797"/>
                    <a:pt x="1723" y="1827"/>
                    <a:pt x="1723" y="1864"/>
                  </a:cubicBezTo>
                  <a:cubicBezTo>
                    <a:pt x="1760" y="1871"/>
                    <a:pt x="1775" y="1842"/>
                    <a:pt x="1805" y="1834"/>
                  </a:cubicBezTo>
                  <a:cubicBezTo>
                    <a:pt x="1834" y="1827"/>
                    <a:pt x="1871" y="1812"/>
                    <a:pt x="1901" y="1819"/>
                  </a:cubicBezTo>
                  <a:cubicBezTo>
                    <a:pt x="1938" y="1834"/>
                    <a:pt x="1931" y="1871"/>
                    <a:pt x="1968" y="1886"/>
                  </a:cubicBezTo>
                  <a:cubicBezTo>
                    <a:pt x="1983" y="1894"/>
                    <a:pt x="2027" y="1901"/>
                    <a:pt x="2050" y="1901"/>
                  </a:cubicBezTo>
                  <a:cubicBezTo>
                    <a:pt x="2020" y="1908"/>
                    <a:pt x="2020" y="1990"/>
                    <a:pt x="2020" y="2005"/>
                  </a:cubicBezTo>
                  <a:cubicBezTo>
                    <a:pt x="2035" y="2057"/>
                    <a:pt x="2102" y="2057"/>
                    <a:pt x="2131" y="2094"/>
                  </a:cubicBezTo>
                  <a:cubicBezTo>
                    <a:pt x="2139" y="2116"/>
                    <a:pt x="2139" y="2146"/>
                    <a:pt x="2131" y="2168"/>
                  </a:cubicBezTo>
                  <a:cubicBezTo>
                    <a:pt x="2116" y="2176"/>
                    <a:pt x="2102" y="2183"/>
                    <a:pt x="2087" y="2191"/>
                  </a:cubicBezTo>
                  <a:cubicBezTo>
                    <a:pt x="2057" y="2206"/>
                    <a:pt x="2035" y="2250"/>
                    <a:pt x="1998" y="2265"/>
                  </a:cubicBezTo>
                  <a:cubicBezTo>
                    <a:pt x="1975" y="2280"/>
                    <a:pt x="1946" y="2280"/>
                    <a:pt x="1916" y="2295"/>
                  </a:cubicBezTo>
                  <a:cubicBezTo>
                    <a:pt x="1938" y="2317"/>
                    <a:pt x="1931" y="2354"/>
                    <a:pt x="1931" y="2369"/>
                  </a:cubicBezTo>
                  <a:cubicBezTo>
                    <a:pt x="1953" y="2376"/>
                    <a:pt x="1975" y="2376"/>
                    <a:pt x="1990" y="2391"/>
                  </a:cubicBezTo>
                  <a:cubicBezTo>
                    <a:pt x="1998" y="2399"/>
                    <a:pt x="2005" y="2436"/>
                    <a:pt x="1990" y="2451"/>
                  </a:cubicBezTo>
                  <a:cubicBezTo>
                    <a:pt x="1961" y="2495"/>
                    <a:pt x="1871" y="2413"/>
                    <a:pt x="1834" y="2413"/>
                  </a:cubicBezTo>
                  <a:cubicBezTo>
                    <a:pt x="1812" y="2458"/>
                    <a:pt x="1834" y="2458"/>
                    <a:pt x="1856" y="2495"/>
                  </a:cubicBezTo>
                  <a:cubicBezTo>
                    <a:pt x="1879" y="2540"/>
                    <a:pt x="1842" y="2555"/>
                    <a:pt x="1819" y="2577"/>
                  </a:cubicBezTo>
                  <a:cubicBezTo>
                    <a:pt x="1812" y="2592"/>
                    <a:pt x="1805" y="2614"/>
                    <a:pt x="1805" y="2636"/>
                  </a:cubicBezTo>
                  <a:cubicBezTo>
                    <a:pt x="1805" y="2673"/>
                    <a:pt x="1805" y="2673"/>
                    <a:pt x="1790" y="2696"/>
                  </a:cubicBezTo>
                  <a:cubicBezTo>
                    <a:pt x="1775" y="2703"/>
                    <a:pt x="1767" y="2718"/>
                    <a:pt x="1753" y="2725"/>
                  </a:cubicBezTo>
                  <a:cubicBezTo>
                    <a:pt x="1753" y="2740"/>
                    <a:pt x="1753" y="2748"/>
                    <a:pt x="1753" y="2755"/>
                  </a:cubicBezTo>
                  <a:cubicBezTo>
                    <a:pt x="1745" y="2763"/>
                    <a:pt x="1738" y="2755"/>
                    <a:pt x="1730" y="2763"/>
                  </a:cubicBezTo>
                  <a:lnTo>
                    <a:pt x="1730" y="2763"/>
                  </a:lnTo>
                  <a:cubicBezTo>
                    <a:pt x="1745" y="2792"/>
                    <a:pt x="1760" y="2837"/>
                    <a:pt x="1753" y="2881"/>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8" name="Freeform 36">
              <a:extLst>
                <a:ext uri="{FF2B5EF4-FFF2-40B4-BE49-F238E27FC236}">
                  <a16:creationId xmlns:a16="http://schemas.microsoft.com/office/drawing/2014/main" id="{B96CDCF1-D17C-824D-9C25-A67D4B27A55C}"/>
                </a:ext>
              </a:extLst>
            </p:cNvPr>
            <p:cNvSpPr>
              <a:spLocks noChangeArrowheads="1"/>
            </p:cNvSpPr>
            <p:nvPr/>
          </p:nvSpPr>
          <p:spPr bwMode="auto">
            <a:xfrm>
              <a:off x="9321595" y="8181741"/>
              <a:ext cx="26689" cy="26671"/>
            </a:xfrm>
            <a:custGeom>
              <a:avLst/>
              <a:gdLst>
                <a:gd name="T0" fmla="*/ 15 w 61"/>
                <a:gd name="T1" fmla="*/ 59 h 60"/>
                <a:gd name="T2" fmla="*/ 15 w 61"/>
                <a:gd name="T3" fmla="*/ 59 h 60"/>
                <a:gd name="T4" fmla="*/ 37 w 61"/>
                <a:gd name="T5" fmla="*/ 22 h 60"/>
                <a:gd name="T6" fmla="*/ 60 w 61"/>
                <a:gd name="T7" fmla="*/ 22 h 60"/>
                <a:gd name="T8" fmla="*/ 60 w 61"/>
                <a:gd name="T9" fmla="*/ 15 h 60"/>
                <a:gd name="T10" fmla="*/ 45 w 61"/>
                <a:gd name="T11" fmla="*/ 0 h 60"/>
                <a:gd name="T12" fmla="*/ 37 w 61"/>
                <a:gd name="T13" fmla="*/ 7 h 60"/>
                <a:gd name="T14" fmla="*/ 7 w 61"/>
                <a:gd name="T15" fmla="*/ 29 h 60"/>
                <a:gd name="T16" fmla="*/ 0 w 61"/>
                <a:gd name="T17" fmla="*/ 59 h 60"/>
                <a:gd name="T18" fmla="*/ 15 w 61"/>
                <a:gd name="T19"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0">
                  <a:moveTo>
                    <a:pt x="15" y="59"/>
                  </a:moveTo>
                  <a:lnTo>
                    <a:pt x="15" y="59"/>
                  </a:lnTo>
                  <a:cubicBezTo>
                    <a:pt x="22" y="44"/>
                    <a:pt x="30" y="29"/>
                    <a:pt x="37" y="22"/>
                  </a:cubicBezTo>
                  <a:cubicBezTo>
                    <a:pt x="37" y="22"/>
                    <a:pt x="45" y="22"/>
                    <a:pt x="60" y="22"/>
                  </a:cubicBezTo>
                  <a:lnTo>
                    <a:pt x="60" y="15"/>
                  </a:lnTo>
                  <a:cubicBezTo>
                    <a:pt x="60" y="7"/>
                    <a:pt x="52" y="7"/>
                    <a:pt x="45" y="0"/>
                  </a:cubicBezTo>
                  <a:cubicBezTo>
                    <a:pt x="37" y="0"/>
                    <a:pt x="37" y="7"/>
                    <a:pt x="37" y="7"/>
                  </a:cubicBezTo>
                  <a:cubicBezTo>
                    <a:pt x="30" y="15"/>
                    <a:pt x="15" y="15"/>
                    <a:pt x="7" y="29"/>
                  </a:cubicBezTo>
                  <a:cubicBezTo>
                    <a:pt x="0" y="37"/>
                    <a:pt x="0" y="44"/>
                    <a:pt x="0" y="59"/>
                  </a:cubicBezTo>
                  <a:cubicBezTo>
                    <a:pt x="7" y="59"/>
                    <a:pt x="15" y="59"/>
                    <a:pt x="15" y="59"/>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19" name="Freeform 37">
              <a:extLst>
                <a:ext uri="{FF2B5EF4-FFF2-40B4-BE49-F238E27FC236}">
                  <a16:creationId xmlns:a16="http://schemas.microsoft.com/office/drawing/2014/main" id="{4ADA97AA-7FBE-D14E-8D86-EC2B4DF204EF}"/>
                </a:ext>
              </a:extLst>
            </p:cNvPr>
            <p:cNvSpPr>
              <a:spLocks noChangeArrowheads="1"/>
            </p:cNvSpPr>
            <p:nvPr/>
          </p:nvSpPr>
          <p:spPr bwMode="auto">
            <a:xfrm>
              <a:off x="10661771" y="4903067"/>
              <a:ext cx="55284" cy="83824"/>
            </a:xfrm>
            <a:custGeom>
              <a:avLst/>
              <a:gdLst>
                <a:gd name="T0" fmla="*/ 126 w 127"/>
                <a:gd name="T1" fmla="*/ 52 h 194"/>
                <a:gd name="T2" fmla="*/ 126 w 127"/>
                <a:gd name="T3" fmla="*/ 52 h 194"/>
                <a:gd name="T4" fmla="*/ 96 w 127"/>
                <a:gd name="T5" fmla="*/ 15 h 194"/>
                <a:gd name="T6" fmla="*/ 74 w 127"/>
                <a:gd name="T7" fmla="*/ 0 h 194"/>
                <a:gd name="T8" fmla="*/ 7 w 127"/>
                <a:gd name="T9" fmla="*/ 104 h 194"/>
                <a:gd name="T10" fmla="*/ 22 w 127"/>
                <a:gd name="T11" fmla="*/ 127 h 194"/>
                <a:gd name="T12" fmla="*/ 22 w 127"/>
                <a:gd name="T13" fmla="*/ 156 h 194"/>
                <a:gd name="T14" fmla="*/ 44 w 127"/>
                <a:gd name="T15" fmla="*/ 186 h 194"/>
                <a:gd name="T16" fmla="*/ 59 w 127"/>
                <a:gd name="T17" fmla="*/ 186 h 194"/>
                <a:gd name="T18" fmla="*/ 59 w 127"/>
                <a:gd name="T19" fmla="*/ 156 h 194"/>
                <a:gd name="T20" fmla="*/ 66 w 127"/>
                <a:gd name="T21" fmla="*/ 179 h 194"/>
                <a:gd name="T22" fmla="*/ 126 w 127"/>
                <a:gd name="T23" fmla="*/ 5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94">
                  <a:moveTo>
                    <a:pt x="126" y="52"/>
                  </a:moveTo>
                  <a:lnTo>
                    <a:pt x="126" y="52"/>
                  </a:lnTo>
                  <a:cubicBezTo>
                    <a:pt x="119" y="45"/>
                    <a:pt x="111" y="30"/>
                    <a:pt x="96" y="15"/>
                  </a:cubicBezTo>
                  <a:cubicBezTo>
                    <a:pt x="89" y="8"/>
                    <a:pt x="74" y="0"/>
                    <a:pt x="74" y="0"/>
                  </a:cubicBezTo>
                  <a:cubicBezTo>
                    <a:pt x="52" y="0"/>
                    <a:pt x="15" y="90"/>
                    <a:pt x="7" y="104"/>
                  </a:cubicBezTo>
                  <a:cubicBezTo>
                    <a:pt x="0" y="119"/>
                    <a:pt x="15" y="119"/>
                    <a:pt x="22" y="127"/>
                  </a:cubicBezTo>
                  <a:cubicBezTo>
                    <a:pt x="22" y="141"/>
                    <a:pt x="15" y="149"/>
                    <a:pt x="22" y="156"/>
                  </a:cubicBezTo>
                  <a:lnTo>
                    <a:pt x="44" y="186"/>
                  </a:lnTo>
                  <a:cubicBezTo>
                    <a:pt x="44" y="193"/>
                    <a:pt x="52" y="193"/>
                    <a:pt x="59" y="186"/>
                  </a:cubicBezTo>
                  <a:cubicBezTo>
                    <a:pt x="59" y="179"/>
                    <a:pt x="59" y="156"/>
                    <a:pt x="59" y="156"/>
                  </a:cubicBezTo>
                  <a:cubicBezTo>
                    <a:pt x="66" y="164"/>
                    <a:pt x="66" y="171"/>
                    <a:pt x="66" y="179"/>
                  </a:cubicBezTo>
                  <a:cubicBezTo>
                    <a:pt x="96" y="156"/>
                    <a:pt x="119" y="90"/>
                    <a:pt x="126" y="52"/>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20" name="Freeform 38">
              <a:extLst>
                <a:ext uri="{FF2B5EF4-FFF2-40B4-BE49-F238E27FC236}">
                  <a16:creationId xmlns:a16="http://schemas.microsoft.com/office/drawing/2014/main" id="{1ACB9AD8-1878-BD49-9BAD-AACCA2D4F21A}"/>
                </a:ext>
              </a:extLst>
            </p:cNvPr>
            <p:cNvSpPr>
              <a:spLocks noChangeArrowheads="1"/>
            </p:cNvSpPr>
            <p:nvPr/>
          </p:nvSpPr>
          <p:spPr bwMode="auto">
            <a:xfrm>
              <a:off x="10686553" y="4969745"/>
              <a:ext cx="3813" cy="13337"/>
            </a:xfrm>
            <a:custGeom>
              <a:avLst/>
              <a:gdLst>
                <a:gd name="T0" fmla="*/ 0 w 8"/>
                <a:gd name="T1" fmla="*/ 30 h 31"/>
                <a:gd name="T2" fmla="*/ 0 w 8"/>
                <a:gd name="T3" fmla="*/ 30 h 31"/>
                <a:gd name="T4" fmla="*/ 7 w 8"/>
                <a:gd name="T5" fmla="*/ 23 h 31"/>
                <a:gd name="T6" fmla="*/ 0 w 8"/>
                <a:gd name="T7" fmla="*/ 0 h 31"/>
                <a:gd name="T8" fmla="*/ 0 w 8"/>
                <a:gd name="T9" fmla="*/ 30 h 31"/>
              </a:gdLst>
              <a:ahLst/>
              <a:cxnLst>
                <a:cxn ang="0">
                  <a:pos x="T0" y="T1"/>
                </a:cxn>
                <a:cxn ang="0">
                  <a:pos x="T2" y="T3"/>
                </a:cxn>
                <a:cxn ang="0">
                  <a:pos x="T4" y="T5"/>
                </a:cxn>
                <a:cxn ang="0">
                  <a:pos x="T6" y="T7"/>
                </a:cxn>
                <a:cxn ang="0">
                  <a:pos x="T8" y="T9"/>
                </a:cxn>
              </a:cxnLst>
              <a:rect l="0" t="0" r="r" b="b"/>
              <a:pathLst>
                <a:path w="8" h="31">
                  <a:moveTo>
                    <a:pt x="0" y="30"/>
                  </a:moveTo>
                  <a:lnTo>
                    <a:pt x="0" y="30"/>
                  </a:lnTo>
                  <a:cubicBezTo>
                    <a:pt x="7" y="30"/>
                    <a:pt x="7" y="30"/>
                    <a:pt x="7" y="23"/>
                  </a:cubicBezTo>
                  <a:cubicBezTo>
                    <a:pt x="7" y="15"/>
                    <a:pt x="7" y="8"/>
                    <a:pt x="0" y="0"/>
                  </a:cubicBezTo>
                  <a:cubicBezTo>
                    <a:pt x="0" y="0"/>
                    <a:pt x="0" y="23"/>
                    <a:pt x="0" y="3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21" name="Freeform 39">
              <a:extLst>
                <a:ext uri="{FF2B5EF4-FFF2-40B4-BE49-F238E27FC236}">
                  <a16:creationId xmlns:a16="http://schemas.microsoft.com/office/drawing/2014/main" id="{CAB786C4-74B9-654E-98C8-E6AC7956864E}"/>
                </a:ext>
              </a:extLst>
            </p:cNvPr>
            <p:cNvSpPr>
              <a:spLocks noChangeArrowheads="1"/>
            </p:cNvSpPr>
            <p:nvPr/>
          </p:nvSpPr>
          <p:spPr bwMode="auto">
            <a:xfrm>
              <a:off x="10701804" y="4908782"/>
              <a:ext cx="13345" cy="17146"/>
            </a:xfrm>
            <a:custGeom>
              <a:avLst/>
              <a:gdLst>
                <a:gd name="T0" fmla="*/ 30 w 31"/>
                <a:gd name="T1" fmla="*/ 22 h 38"/>
                <a:gd name="T2" fmla="*/ 30 w 31"/>
                <a:gd name="T3" fmla="*/ 22 h 38"/>
                <a:gd name="T4" fmla="*/ 0 w 31"/>
                <a:gd name="T5" fmla="*/ 0 h 38"/>
                <a:gd name="T6" fmla="*/ 30 w 31"/>
                <a:gd name="T7" fmla="*/ 37 h 38"/>
                <a:gd name="T8" fmla="*/ 30 w 31"/>
                <a:gd name="T9" fmla="*/ 22 h 38"/>
              </a:gdLst>
              <a:ahLst/>
              <a:cxnLst>
                <a:cxn ang="0">
                  <a:pos x="T0" y="T1"/>
                </a:cxn>
                <a:cxn ang="0">
                  <a:pos x="T2" y="T3"/>
                </a:cxn>
                <a:cxn ang="0">
                  <a:pos x="T4" y="T5"/>
                </a:cxn>
                <a:cxn ang="0">
                  <a:pos x="T6" y="T7"/>
                </a:cxn>
                <a:cxn ang="0">
                  <a:pos x="T8" y="T9"/>
                </a:cxn>
              </a:cxnLst>
              <a:rect l="0" t="0" r="r" b="b"/>
              <a:pathLst>
                <a:path w="31" h="38">
                  <a:moveTo>
                    <a:pt x="30" y="22"/>
                  </a:moveTo>
                  <a:lnTo>
                    <a:pt x="30" y="22"/>
                  </a:lnTo>
                  <a:cubicBezTo>
                    <a:pt x="30" y="22"/>
                    <a:pt x="15" y="8"/>
                    <a:pt x="0" y="0"/>
                  </a:cubicBezTo>
                  <a:cubicBezTo>
                    <a:pt x="15" y="15"/>
                    <a:pt x="23" y="30"/>
                    <a:pt x="30" y="37"/>
                  </a:cubicBezTo>
                  <a:cubicBezTo>
                    <a:pt x="30" y="30"/>
                    <a:pt x="30" y="22"/>
                    <a:pt x="30" y="22"/>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22" name="Freeform 40">
              <a:extLst>
                <a:ext uri="{FF2B5EF4-FFF2-40B4-BE49-F238E27FC236}">
                  <a16:creationId xmlns:a16="http://schemas.microsoft.com/office/drawing/2014/main" id="{50249162-C032-9E45-A07E-479C4C484256}"/>
                </a:ext>
              </a:extLst>
            </p:cNvPr>
            <p:cNvSpPr>
              <a:spLocks noChangeArrowheads="1"/>
            </p:cNvSpPr>
            <p:nvPr/>
          </p:nvSpPr>
          <p:spPr bwMode="auto">
            <a:xfrm>
              <a:off x="11241306" y="10982234"/>
              <a:ext cx="97224" cy="93350"/>
            </a:xfrm>
            <a:custGeom>
              <a:avLst/>
              <a:gdLst>
                <a:gd name="T0" fmla="*/ 163 w 224"/>
                <a:gd name="T1" fmla="*/ 74 h 216"/>
                <a:gd name="T2" fmla="*/ 163 w 224"/>
                <a:gd name="T3" fmla="*/ 74 h 216"/>
                <a:gd name="T4" fmla="*/ 134 w 224"/>
                <a:gd name="T5" fmla="*/ 74 h 216"/>
                <a:gd name="T6" fmla="*/ 148 w 224"/>
                <a:gd name="T7" fmla="*/ 59 h 216"/>
                <a:gd name="T8" fmla="*/ 134 w 224"/>
                <a:gd name="T9" fmla="*/ 44 h 216"/>
                <a:gd name="T10" fmla="*/ 134 w 224"/>
                <a:gd name="T11" fmla="*/ 7 h 216"/>
                <a:gd name="T12" fmla="*/ 111 w 224"/>
                <a:gd name="T13" fmla="*/ 37 h 216"/>
                <a:gd name="T14" fmla="*/ 89 w 224"/>
                <a:gd name="T15" fmla="*/ 14 h 216"/>
                <a:gd name="T16" fmla="*/ 44 w 224"/>
                <a:gd name="T17" fmla="*/ 14 h 216"/>
                <a:gd name="T18" fmla="*/ 67 w 224"/>
                <a:gd name="T19" fmla="*/ 44 h 216"/>
                <a:gd name="T20" fmla="*/ 67 w 224"/>
                <a:gd name="T21" fmla="*/ 59 h 216"/>
                <a:gd name="T22" fmla="*/ 52 w 224"/>
                <a:gd name="T23" fmla="*/ 104 h 216"/>
                <a:gd name="T24" fmla="*/ 0 w 224"/>
                <a:gd name="T25" fmla="*/ 118 h 216"/>
                <a:gd name="T26" fmla="*/ 59 w 224"/>
                <a:gd name="T27" fmla="*/ 170 h 216"/>
                <a:gd name="T28" fmla="*/ 96 w 224"/>
                <a:gd name="T29" fmla="*/ 185 h 216"/>
                <a:gd name="T30" fmla="*/ 126 w 224"/>
                <a:gd name="T31" fmla="*/ 185 h 216"/>
                <a:gd name="T32" fmla="*/ 141 w 224"/>
                <a:gd name="T33" fmla="*/ 200 h 216"/>
                <a:gd name="T34" fmla="*/ 148 w 224"/>
                <a:gd name="T35" fmla="*/ 215 h 216"/>
                <a:gd name="T36" fmla="*/ 163 w 224"/>
                <a:gd name="T37" fmla="*/ 215 h 216"/>
                <a:gd name="T38" fmla="*/ 178 w 224"/>
                <a:gd name="T39" fmla="*/ 215 h 216"/>
                <a:gd name="T40" fmla="*/ 200 w 224"/>
                <a:gd name="T41" fmla="*/ 215 h 216"/>
                <a:gd name="T42" fmla="*/ 208 w 224"/>
                <a:gd name="T43" fmla="*/ 170 h 216"/>
                <a:gd name="T44" fmla="*/ 215 w 224"/>
                <a:gd name="T45" fmla="*/ 81 h 216"/>
                <a:gd name="T46" fmla="*/ 223 w 224"/>
                <a:gd name="T47" fmla="*/ 67 h 216"/>
                <a:gd name="T48" fmla="*/ 163 w 224"/>
                <a:gd name="T49" fmla="*/ 7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4" h="216">
                  <a:moveTo>
                    <a:pt x="163" y="74"/>
                  </a:moveTo>
                  <a:lnTo>
                    <a:pt x="163" y="74"/>
                  </a:lnTo>
                  <a:cubicBezTo>
                    <a:pt x="156" y="74"/>
                    <a:pt x="141" y="81"/>
                    <a:pt x="134" y="74"/>
                  </a:cubicBezTo>
                  <a:cubicBezTo>
                    <a:pt x="134" y="67"/>
                    <a:pt x="141" y="59"/>
                    <a:pt x="148" y="59"/>
                  </a:cubicBezTo>
                  <a:cubicBezTo>
                    <a:pt x="141" y="59"/>
                    <a:pt x="134" y="44"/>
                    <a:pt x="134" y="44"/>
                  </a:cubicBezTo>
                  <a:cubicBezTo>
                    <a:pt x="148" y="37"/>
                    <a:pt x="156" y="14"/>
                    <a:pt x="134" y="7"/>
                  </a:cubicBezTo>
                  <a:cubicBezTo>
                    <a:pt x="119" y="0"/>
                    <a:pt x="126" y="29"/>
                    <a:pt x="111" y="37"/>
                  </a:cubicBezTo>
                  <a:cubicBezTo>
                    <a:pt x="89" y="52"/>
                    <a:pt x="96" y="22"/>
                    <a:pt x="89" y="14"/>
                  </a:cubicBezTo>
                  <a:cubicBezTo>
                    <a:pt x="82" y="0"/>
                    <a:pt x="59" y="14"/>
                    <a:pt x="44" y="14"/>
                  </a:cubicBezTo>
                  <a:cubicBezTo>
                    <a:pt x="37" y="29"/>
                    <a:pt x="44" y="44"/>
                    <a:pt x="67" y="44"/>
                  </a:cubicBezTo>
                  <a:cubicBezTo>
                    <a:pt x="67" y="52"/>
                    <a:pt x="67" y="52"/>
                    <a:pt x="67" y="59"/>
                  </a:cubicBezTo>
                  <a:cubicBezTo>
                    <a:pt x="44" y="67"/>
                    <a:pt x="59" y="81"/>
                    <a:pt x="52" y="104"/>
                  </a:cubicBezTo>
                  <a:cubicBezTo>
                    <a:pt x="52" y="104"/>
                    <a:pt x="7" y="96"/>
                    <a:pt x="0" y="118"/>
                  </a:cubicBezTo>
                  <a:cubicBezTo>
                    <a:pt x="22" y="118"/>
                    <a:pt x="82" y="141"/>
                    <a:pt x="59" y="170"/>
                  </a:cubicBezTo>
                  <a:cubicBezTo>
                    <a:pt x="74" y="178"/>
                    <a:pt x="82" y="185"/>
                    <a:pt x="96" y="185"/>
                  </a:cubicBezTo>
                  <a:cubicBezTo>
                    <a:pt x="96" y="200"/>
                    <a:pt x="126" y="200"/>
                    <a:pt x="126" y="185"/>
                  </a:cubicBezTo>
                  <a:cubicBezTo>
                    <a:pt x="134" y="185"/>
                    <a:pt x="141" y="193"/>
                    <a:pt x="141" y="200"/>
                  </a:cubicBezTo>
                  <a:lnTo>
                    <a:pt x="148" y="215"/>
                  </a:lnTo>
                  <a:cubicBezTo>
                    <a:pt x="148" y="215"/>
                    <a:pt x="156" y="215"/>
                    <a:pt x="163" y="215"/>
                  </a:cubicBezTo>
                  <a:cubicBezTo>
                    <a:pt x="163" y="215"/>
                    <a:pt x="171" y="215"/>
                    <a:pt x="178" y="215"/>
                  </a:cubicBezTo>
                  <a:cubicBezTo>
                    <a:pt x="186" y="207"/>
                    <a:pt x="193" y="215"/>
                    <a:pt x="200" y="215"/>
                  </a:cubicBezTo>
                  <a:cubicBezTo>
                    <a:pt x="208" y="200"/>
                    <a:pt x="208" y="185"/>
                    <a:pt x="208" y="170"/>
                  </a:cubicBezTo>
                  <a:cubicBezTo>
                    <a:pt x="208" y="141"/>
                    <a:pt x="208" y="111"/>
                    <a:pt x="215" y="81"/>
                  </a:cubicBezTo>
                  <a:cubicBezTo>
                    <a:pt x="215" y="81"/>
                    <a:pt x="223" y="74"/>
                    <a:pt x="223" y="67"/>
                  </a:cubicBezTo>
                  <a:cubicBezTo>
                    <a:pt x="200" y="59"/>
                    <a:pt x="178" y="67"/>
                    <a:pt x="163" y="74"/>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23" name="Freeform 41">
              <a:extLst>
                <a:ext uri="{FF2B5EF4-FFF2-40B4-BE49-F238E27FC236}">
                  <a16:creationId xmlns:a16="http://schemas.microsoft.com/office/drawing/2014/main" id="{2821709B-50AD-2541-B4A7-C6299D43E24B}"/>
                </a:ext>
              </a:extLst>
            </p:cNvPr>
            <p:cNvSpPr>
              <a:spLocks noChangeArrowheads="1"/>
            </p:cNvSpPr>
            <p:nvPr/>
          </p:nvSpPr>
          <p:spPr bwMode="auto">
            <a:xfrm>
              <a:off x="11281338" y="11319437"/>
              <a:ext cx="55285" cy="64773"/>
            </a:xfrm>
            <a:custGeom>
              <a:avLst/>
              <a:gdLst>
                <a:gd name="T0" fmla="*/ 45 w 127"/>
                <a:gd name="T1" fmla="*/ 97 h 150"/>
                <a:gd name="T2" fmla="*/ 45 w 127"/>
                <a:gd name="T3" fmla="*/ 97 h 150"/>
                <a:gd name="T4" fmla="*/ 45 w 127"/>
                <a:gd name="T5" fmla="*/ 97 h 150"/>
                <a:gd name="T6" fmla="*/ 59 w 127"/>
                <a:gd name="T7" fmla="*/ 112 h 150"/>
                <a:gd name="T8" fmla="*/ 82 w 127"/>
                <a:gd name="T9" fmla="*/ 127 h 150"/>
                <a:gd name="T10" fmla="*/ 119 w 127"/>
                <a:gd name="T11" fmla="*/ 134 h 150"/>
                <a:gd name="T12" fmla="*/ 119 w 127"/>
                <a:gd name="T13" fmla="*/ 45 h 150"/>
                <a:gd name="T14" fmla="*/ 97 w 127"/>
                <a:gd name="T15" fmla="*/ 8 h 150"/>
                <a:gd name="T16" fmla="*/ 37 w 127"/>
                <a:gd name="T17" fmla="*/ 8 h 150"/>
                <a:gd name="T18" fmla="*/ 0 w 127"/>
                <a:gd name="T19" fmla="*/ 45 h 150"/>
                <a:gd name="T20" fmla="*/ 45 w 127"/>
                <a:gd name="T21" fmla="*/ 9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 h="150">
                  <a:moveTo>
                    <a:pt x="45" y="97"/>
                  </a:moveTo>
                  <a:lnTo>
                    <a:pt x="45" y="97"/>
                  </a:lnTo>
                  <a:lnTo>
                    <a:pt x="45" y="97"/>
                  </a:lnTo>
                  <a:cubicBezTo>
                    <a:pt x="59" y="97"/>
                    <a:pt x="52" y="104"/>
                    <a:pt x="59" y="112"/>
                  </a:cubicBezTo>
                  <a:cubicBezTo>
                    <a:pt x="67" y="119"/>
                    <a:pt x="74" y="119"/>
                    <a:pt x="82" y="127"/>
                  </a:cubicBezTo>
                  <a:cubicBezTo>
                    <a:pt x="104" y="141"/>
                    <a:pt x="97" y="149"/>
                    <a:pt x="119" y="134"/>
                  </a:cubicBezTo>
                  <a:cubicBezTo>
                    <a:pt x="126" y="104"/>
                    <a:pt x="126" y="67"/>
                    <a:pt x="119" y="45"/>
                  </a:cubicBezTo>
                  <a:cubicBezTo>
                    <a:pt x="111" y="30"/>
                    <a:pt x="104" y="15"/>
                    <a:pt x="97" y="8"/>
                  </a:cubicBezTo>
                  <a:cubicBezTo>
                    <a:pt x="82" y="0"/>
                    <a:pt x="59" y="0"/>
                    <a:pt x="37" y="8"/>
                  </a:cubicBezTo>
                  <a:cubicBezTo>
                    <a:pt x="15" y="15"/>
                    <a:pt x="30" y="45"/>
                    <a:pt x="0" y="45"/>
                  </a:cubicBezTo>
                  <a:cubicBezTo>
                    <a:pt x="0" y="60"/>
                    <a:pt x="22" y="90"/>
                    <a:pt x="45" y="97"/>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24" name="Freeform 42">
              <a:extLst>
                <a:ext uri="{FF2B5EF4-FFF2-40B4-BE49-F238E27FC236}">
                  <a16:creationId xmlns:a16="http://schemas.microsoft.com/office/drawing/2014/main" id="{C206F8F7-5676-234B-B29F-8D7112A68578}"/>
                </a:ext>
              </a:extLst>
            </p:cNvPr>
            <p:cNvSpPr>
              <a:spLocks noChangeArrowheads="1"/>
            </p:cNvSpPr>
            <p:nvPr/>
          </p:nvSpPr>
          <p:spPr bwMode="auto">
            <a:xfrm>
              <a:off x="9321595" y="8191267"/>
              <a:ext cx="97226" cy="186699"/>
            </a:xfrm>
            <a:custGeom>
              <a:avLst/>
              <a:gdLst>
                <a:gd name="T0" fmla="*/ 215 w 224"/>
                <a:gd name="T1" fmla="*/ 193 h 432"/>
                <a:gd name="T2" fmla="*/ 215 w 224"/>
                <a:gd name="T3" fmla="*/ 193 h 432"/>
                <a:gd name="T4" fmla="*/ 193 w 224"/>
                <a:gd name="T5" fmla="*/ 193 h 432"/>
                <a:gd name="T6" fmla="*/ 186 w 224"/>
                <a:gd name="T7" fmla="*/ 215 h 432"/>
                <a:gd name="T8" fmla="*/ 119 w 224"/>
                <a:gd name="T9" fmla="*/ 186 h 432"/>
                <a:gd name="T10" fmla="*/ 156 w 224"/>
                <a:gd name="T11" fmla="*/ 156 h 432"/>
                <a:gd name="T12" fmla="*/ 215 w 224"/>
                <a:gd name="T13" fmla="*/ 134 h 432"/>
                <a:gd name="T14" fmla="*/ 60 w 224"/>
                <a:gd name="T15" fmla="*/ 0 h 432"/>
                <a:gd name="T16" fmla="*/ 22 w 224"/>
                <a:gd name="T17" fmla="*/ 37 h 432"/>
                <a:gd name="T18" fmla="*/ 15 w 224"/>
                <a:gd name="T19" fmla="*/ 37 h 432"/>
                <a:gd name="T20" fmla="*/ 7 w 224"/>
                <a:gd name="T21" fmla="*/ 215 h 432"/>
                <a:gd name="T22" fmla="*/ 223 w 224"/>
                <a:gd name="T23" fmla="*/ 290 h 432"/>
                <a:gd name="T24" fmla="*/ 223 w 224"/>
                <a:gd name="T25" fmla="*/ 230 h 432"/>
                <a:gd name="T26" fmla="*/ 223 w 224"/>
                <a:gd name="T27" fmla="*/ 230 h 432"/>
                <a:gd name="T28" fmla="*/ 223 w 224"/>
                <a:gd name="T29" fmla="*/ 230 h 432"/>
                <a:gd name="T30" fmla="*/ 223 w 224"/>
                <a:gd name="T31" fmla="*/ 193 h 432"/>
                <a:gd name="T32" fmla="*/ 215 w 224"/>
                <a:gd name="T33" fmla="*/ 19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4" h="432">
                  <a:moveTo>
                    <a:pt x="215" y="193"/>
                  </a:moveTo>
                  <a:lnTo>
                    <a:pt x="215" y="193"/>
                  </a:lnTo>
                  <a:cubicBezTo>
                    <a:pt x="208" y="193"/>
                    <a:pt x="201" y="193"/>
                    <a:pt x="193" y="193"/>
                  </a:cubicBezTo>
                  <a:cubicBezTo>
                    <a:pt x="193" y="201"/>
                    <a:pt x="186" y="208"/>
                    <a:pt x="186" y="215"/>
                  </a:cubicBezTo>
                  <a:cubicBezTo>
                    <a:pt x="171" y="215"/>
                    <a:pt x="119" y="223"/>
                    <a:pt x="119" y="186"/>
                  </a:cubicBezTo>
                  <a:cubicBezTo>
                    <a:pt x="126" y="171"/>
                    <a:pt x="149" y="178"/>
                    <a:pt x="156" y="156"/>
                  </a:cubicBezTo>
                  <a:cubicBezTo>
                    <a:pt x="178" y="156"/>
                    <a:pt x="223" y="171"/>
                    <a:pt x="215" y="134"/>
                  </a:cubicBezTo>
                  <a:cubicBezTo>
                    <a:pt x="208" y="96"/>
                    <a:pt x="112" y="15"/>
                    <a:pt x="60" y="0"/>
                  </a:cubicBezTo>
                  <a:cubicBezTo>
                    <a:pt x="60" y="15"/>
                    <a:pt x="37" y="22"/>
                    <a:pt x="22" y="37"/>
                  </a:cubicBezTo>
                  <a:cubicBezTo>
                    <a:pt x="22" y="37"/>
                    <a:pt x="22" y="37"/>
                    <a:pt x="15" y="37"/>
                  </a:cubicBezTo>
                  <a:cubicBezTo>
                    <a:pt x="0" y="89"/>
                    <a:pt x="0" y="186"/>
                    <a:pt x="7" y="215"/>
                  </a:cubicBezTo>
                  <a:cubicBezTo>
                    <a:pt x="52" y="431"/>
                    <a:pt x="67" y="297"/>
                    <a:pt x="223" y="290"/>
                  </a:cubicBezTo>
                  <a:cubicBezTo>
                    <a:pt x="223" y="275"/>
                    <a:pt x="223" y="252"/>
                    <a:pt x="223" y="230"/>
                  </a:cubicBezTo>
                  <a:lnTo>
                    <a:pt x="223" y="230"/>
                  </a:lnTo>
                  <a:lnTo>
                    <a:pt x="223" y="230"/>
                  </a:lnTo>
                  <a:cubicBezTo>
                    <a:pt x="223" y="215"/>
                    <a:pt x="223" y="208"/>
                    <a:pt x="223" y="193"/>
                  </a:cubicBezTo>
                  <a:cubicBezTo>
                    <a:pt x="223" y="193"/>
                    <a:pt x="223" y="193"/>
                    <a:pt x="215" y="193"/>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sp>
          <p:nvSpPr>
            <p:cNvPr id="125" name="Freeform 43">
              <a:extLst>
                <a:ext uri="{FF2B5EF4-FFF2-40B4-BE49-F238E27FC236}">
                  <a16:creationId xmlns:a16="http://schemas.microsoft.com/office/drawing/2014/main" id="{900D8FB8-E0DD-8E41-A291-B6948B9B2A5A}"/>
                </a:ext>
              </a:extLst>
            </p:cNvPr>
            <p:cNvSpPr>
              <a:spLocks noChangeArrowheads="1"/>
            </p:cNvSpPr>
            <p:nvPr/>
          </p:nvSpPr>
          <p:spPr bwMode="auto">
            <a:xfrm>
              <a:off x="9329221" y="8191267"/>
              <a:ext cx="19064" cy="17146"/>
            </a:xfrm>
            <a:custGeom>
              <a:avLst/>
              <a:gdLst>
                <a:gd name="T0" fmla="*/ 45 w 46"/>
                <a:gd name="T1" fmla="*/ 0 h 38"/>
                <a:gd name="T2" fmla="*/ 45 w 46"/>
                <a:gd name="T3" fmla="*/ 0 h 38"/>
                <a:gd name="T4" fmla="*/ 22 w 46"/>
                <a:gd name="T5" fmla="*/ 0 h 38"/>
                <a:gd name="T6" fmla="*/ 0 w 46"/>
                <a:gd name="T7" fmla="*/ 37 h 38"/>
                <a:gd name="T8" fmla="*/ 7 w 46"/>
                <a:gd name="T9" fmla="*/ 37 h 38"/>
                <a:gd name="T10" fmla="*/ 45 w 46"/>
                <a:gd name="T11" fmla="*/ 0 h 38"/>
              </a:gdLst>
              <a:ahLst/>
              <a:cxnLst>
                <a:cxn ang="0">
                  <a:pos x="T0" y="T1"/>
                </a:cxn>
                <a:cxn ang="0">
                  <a:pos x="T2" y="T3"/>
                </a:cxn>
                <a:cxn ang="0">
                  <a:pos x="T4" y="T5"/>
                </a:cxn>
                <a:cxn ang="0">
                  <a:pos x="T6" y="T7"/>
                </a:cxn>
                <a:cxn ang="0">
                  <a:pos x="T8" y="T9"/>
                </a:cxn>
                <a:cxn ang="0">
                  <a:pos x="T10" y="T11"/>
                </a:cxn>
              </a:cxnLst>
              <a:rect l="0" t="0" r="r" b="b"/>
              <a:pathLst>
                <a:path w="46" h="38">
                  <a:moveTo>
                    <a:pt x="45" y="0"/>
                  </a:moveTo>
                  <a:lnTo>
                    <a:pt x="45" y="0"/>
                  </a:lnTo>
                  <a:cubicBezTo>
                    <a:pt x="30" y="0"/>
                    <a:pt x="22" y="0"/>
                    <a:pt x="22" y="0"/>
                  </a:cubicBezTo>
                  <a:cubicBezTo>
                    <a:pt x="15" y="7"/>
                    <a:pt x="7" y="22"/>
                    <a:pt x="0" y="37"/>
                  </a:cubicBezTo>
                  <a:cubicBezTo>
                    <a:pt x="7" y="37"/>
                    <a:pt x="7" y="37"/>
                    <a:pt x="7" y="37"/>
                  </a:cubicBezTo>
                  <a:cubicBezTo>
                    <a:pt x="22" y="22"/>
                    <a:pt x="45" y="15"/>
                    <a:pt x="45" y="0"/>
                  </a:cubicBezTo>
                </a:path>
              </a:pathLst>
            </a:custGeom>
            <a:grpFill/>
            <a:ln w="9525" cap="flat">
              <a:solidFill>
                <a:schemeClr val="bg1"/>
              </a:solidFill>
              <a:bevel/>
              <a:headEnd/>
              <a:tailEnd/>
            </a:ln>
            <a:effectLst/>
          </p:spPr>
          <p:txBody>
            <a:bodyPr wrap="none" lIns="45695" tIns="22847" rIns="45695" bIns="22847" anchor="ctr"/>
            <a:lstStyle/>
            <a:p>
              <a:pPr defTabSz="685663">
                <a:defRPr/>
              </a:pPr>
              <a:endParaRPr lang="en-US" sz="675">
                <a:latin typeface="Montserrat" charset="0"/>
              </a:endParaRPr>
            </a:p>
          </p:txBody>
        </p:sp>
      </p:grpSp>
      <p:grpSp>
        <p:nvGrpSpPr>
          <p:cNvPr id="252" name="Group 251">
            <a:extLst>
              <a:ext uri="{FF2B5EF4-FFF2-40B4-BE49-F238E27FC236}">
                <a16:creationId xmlns:a16="http://schemas.microsoft.com/office/drawing/2014/main" id="{CD0ABB23-6D54-144C-832B-434FD854D21C}"/>
              </a:ext>
            </a:extLst>
          </p:cNvPr>
          <p:cNvGrpSpPr/>
          <p:nvPr/>
        </p:nvGrpSpPr>
        <p:grpSpPr>
          <a:xfrm>
            <a:off x="6875484" y="2144436"/>
            <a:ext cx="1246973" cy="765548"/>
            <a:chOff x="6719087" y="5314824"/>
            <a:chExt cx="3325262" cy="2041460"/>
          </a:xfrm>
        </p:grpSpPr>
        <p:sp>
          <p:nvSpPr>
            <p:cNvPr id="258" name="Rectangle 257">
              <a:extLst>
                <a:ext uri="{FF2B5EF4-FFF2-40B4-BE49-F238E27FC236}">
                  <a16:creationId xmlns:a16="http://schemas.microsoft.com/office/drawing/2014/main" id="{48773EC6-65C0-9B41-BE06-E8B376837E97}"/>
                </a:ext>
              </a:extLst>
            </p:cNvPr>
            <p:cNvSpPr/>
            <p:nvPr/>
          </p:nvSpPr>
          <p:spPr>
            <a:xfrm>
              <a:off x="6719087" y="5314824"/>
              <a:ext cx="3325262" cy="2041460"/>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259" name="Group 258">
              <a:extLst>
                <a:ext uri="{FF2B5EF4-FFF2-40B4-BE49-F238E27FC236}">
                  <a16:creationId xmlns:a16="http://schemas.microsoft.com/office/drawing/2014/main" id="{19A74720-C44F-7247-BDE9-24ACC6AB7675}"/>
                </a:ext>
              </a:extLst>
            </p:cNvPr>
            <p:cNvGrpSpPr/>
            <p:nvPr/>
          </p:nvGrpSpPr>
          <p:grpSpPr>
            <a:xfrm>
              <a:off x="6891418" y="5658893"/>
              <a:ext cx="2874649" cy="1366026"/>
              <a:chOff x="20367925" y="7771565"/>
              <a:chExt cx="2874649" cy="1366026"/>
            </a:xfrm>
          </p:grpSpPr>
          <p:sp>
            <p:nvSpPr>
              <p:cNvPr id="260" name="Subtitle 2">
                <a:extLst>
                  <a:ext uri="{FF2B5EF4-FFF2-40B4-BE49-F238E27FC236}">
                    <a16:creationId xmlns:a16="http://schemas.microsoft.com/office/drawing/2014/main" id="{06256346-D24C-1F43-929F-849D69BD7293}"/>
                  </a:ext>
                </a:extLst>
              </p:cNvPr>
              <p:cNvSpPr txBox="1">
                <a:spLocks/>
              </p:cNvSpPr>
              <p:nvPr/>
            </p:nvSpPr>
            <p:spPr>
              <a:xfrm>
                <a:off x="20367925" y="8417895"/>
                <a:ext cx="2874649" cy="719696"/>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1050" dirty="0">
                    <a:solidFill>
                      <a:schemeClr val="bg1"/>
                    </a:solidFill>
                    <a:latin typeface="Roboto Light" panose="02000000000000000000" pitchFamily="2" charset="0"/>
                    <a:ea typeface="Roboto Light" panose="02000000000000000000" pitchFamily="2" charset="0"/>
                    <a:cs typeface="Poppins Light" pitchFamily="2" charset="77"/>
                  </a:rPr>
                  <a:t>Write your title.</a:t>
                </a:r>
                <a:endParaRPr lang="en-US" sz="1050" dirty="0">
                  <a:solidFill>
                    <a:schemeClr val="bg1"/>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261" name="Rectangle 260">
                <a:extLst>
                  <a:ext uri="{FF2B5EF4-FFF2-40B4-BE49-F238E27FC236}">
                    <a16:creationId xmlns:a16="http://schemas.microsoft.com/office/drawing/2014/main" id="{89A4D20E-56C7-DA43-80A2-512D0D5BA80B}"/>
                  </a:ext>
                </a:extLst>
              </p:cNvPr>
              <p:cNvSpPr/>
              <p:nvPr/>
            </p:nvSpPr>
            <p:spPr>
              <a:xfrm>
                <a:off x="20479570" y="7771565"/>
                <a:ext cx="2651358" cy="523221"/>
              </a:xfrm>
              <a:prstGeom prst="rect">
                <a:avLst/>
              </a:prstGeom>
            </p:spPr>
            <p:txBody>
              <a:bodyPr wrap="square">
                <a:spAutoFit/>
              </a:bodyPr>
              <a:lstStyle/>
              <a:p>
                <a:pPr algn="ctr"/>
                <a:r>
                  <a:rPr lang="en-US" sz="675" dirty="0">
                    <a:solidFill>
                      <a:schemeClr val="bg1"/>
                    </a:solidFill>
                    <a:latin typeface="Roboto" panose="02000000000000000000" pitchFamily="2" charset="0"/>
                    <a:ea typeface="Roboto" panose="02000000000000000000" pitchFamily="2" charset="0"/>
                    <a:cs typeface="Lato Light" panose="020F0502020204030203" pitchFamily="34" charset="0"/>
                  </a:rPr>
                  <a:t>+120</a:t>
                </a:r>
              </a:p>
            </p:txBody>
          </p:sp>
        </p:grpSp>
      </p:grpSp>
      <p:grpSp>
        <p:nvGrpSpPr>
          <p:cNvPr id="253" name="Group 252">
            <a:extLst>
              <a:ext uri="{FF2B5EF4-FFF2-40B4-BE49-F238E27FC236}">
                <a16:creationId xmlns:a16="http://schemas.microsoft.com/office/drawing/2014/main" id="{C26A53B2-B68A-E749-9FF6-CD21F6A8416F}"/>
              </a:ext>
            </a:extLst>
          </p:cNvPr>
          <p:cNvGrpSpPr/>
          <p:nvPr/>
        </p:nvGrpSpPr>
        <p:grpSpPr>
          <a:xfrm>
            <a:off x="4642318" y="3067833"/>
            <a:ext cx="1246973" cy="765548"/>
            <a:chOff x="6719087" y="5314824"/>
            <a:chExt cx="3325262" cy="2041460"/>
          </a:xfrm>
        </p:grpSpPr>
        <p:sp>
          <p:nvSpPr>
            <p:cNvPr id="254" name="Rectangle 253">
              <a:extLst>
                <a:ext uri="{FF2B5EF4-FFF2-40B4-BE49-F238E27FC236}">
                  <a16:creationId xmlns:a16="http://schemas.microsoft.com/office/drawing/2014/main" id="{4F2D1D16-70F5-4247-BEAB-57FBC5E15A22}"/>
                </a:ext>
              </a:extLst>
            </p:cNvPr>
            <p:cNvSpPr/>
            <p:nvPr/>
          </p:nvSpPr>
          <p:spPr>
            <a:xfrm>
              <a:off x="6719087" y="5314824"/>
              <a:ext cx="3325262" cy="2041460"/>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p>
          </p:txBody>
        </p:sp>
        <p:grpSp>
          <p:nvGrpSpPr>
            <p:cNvPr id="255" name="Group 254">
              <a:extLst>
                <a:ext uri="{FF2B5EF4-FFF2-40B4-BE49-F238E27FC236}">
                  <a16:creationId xmlns:a16="http://schemas.microsoft.com/office/drawing/2014/main" id="{4977FC7D-9B62-6B4A-8C35-332A88B33401}"/>
                </a:ext>
              </a:extLst>
            </p:cNvPr>
            <p:cNvGrpSpPr/>
            <p:nvPr/>
          </p:nvGrpSpPr>
          <p:grpSpPr>
            <a:xfrm>
              <a:off x="6891418" y="5658893"/>
              <a:ext cx="2874649" cy="1366026"/>
              <a:chOff x="20367925" y="7771565"/>
              <a:chExt cx="2874649" cy="1366026"/>
            </a:xfrm>
          </p:grpSpPr>
          <p:sp>
            <p:nvSpPr>
              <p:cNvPr id="256" name="Subtitle 2">
                <a:extLst>
                  <a:ext uri="{FF2B5EF4-FFF2-40B4-BE49-F238E27FC236}">
                    <a16:creationId xmlns:a16="http://schemas.microsoft.com/office/drawing/2014/main" id="{4CA85EB1-878B-8249-8B3E-2FB7F1C2B4F8}"/>
                  </a:ext>
                </a:extLst>
              </p:cNvPr>
              <p:cNvSpPr txBox="1">
                <a:spLocks/>
              </p:cNvSpPr>
              <p:nvPr/>
            </p:nvSpPr>
            <p:spPr>
              <a:xfrm>
                <a:off x="20367925" y="8417895"/>
                <a:ext cx="2874649" cy="719696"/>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1050" dirty="0">
                    <a:solidFill>
                      <a:schemeClr val="bg1"/>
                    </a:solidFill>
                    <a:latin typeface="Roboto Light" panose="02000000000000000000" pitchFamily="2" charset="0"/>
                    <a:ea typeface="Roboto Light" panose="02000000000000000000" pitchFamily="2" charset="0"/>
                    <a:cs typeface="Poppins Light" pitchFamily="2" charset="77"/>
                  </a:rPr>
                  <a:t>Write your title.</a:t>
                </a:r>
                <a:endParaRPr lang="en-US" sz="1050" dirty="0">
                  <a:solidFill>
                    <a:schemeClr val="bg1"/>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257" name="Rectangle 256">
                <a:extLst>
                  <a:ext uri="{FF2B5EF4-FFF2-40B4-BE49-F238E27FC236}">
                    <a16:creationId xmlns:a16="http://schemas.microsoft.com/office/drawing/2014/main" id="{20CABF58-D888-FF46-B756-F43F6DE3A7A4}"/>
                  </a:ext>
                </a:extLst>
              </p:cNvPr>
              <p:cNvSpPr/>
              <p:nvPr/>
            </p:nvSpPr>
            <p:spPr>
              <a:xfrm>
                <a:off x="20479570" y="7771565"/>
                <a:ext cx="2651358" cy="523221"/>
              </a:xfrm>
              <a:prstGeom prst="rect">
                <a:avLst/>
              </a:prstGeom>
            </p:spPr>
            <p:txBody>
              <a:bodyPr wrap="square">
                <a:spAutoFit/>
              </a:bodyPr>
              <a:lstStyle/>
              <a:p>
                <a:pPr algn="ctr"/>
                <a:r>
                  <a:rPr lang="en-US" sz="675" dirty="0">
                    <a:solidFill>
                      <a:schemeClr val="bg1"/>
                    </a:solidFill>
                    <a:latin typeface="Roboto" panose="02000000000000000000" pitchFamily="2" charset="0"/>
                    <a:ea typeface="Roboto" panose="02000000000000000000" pitchFamily="2" charset="0"/>
                    <a:cs typeface="Lato Light" panose="020F0502020204030203" pitchFamily="34" charset="0"/>
                  </a:rPr>
                  <a:t>+2345</a:t>
                </a:r>
              </a:p>
            </p:txBody>
          </p:sp>
        </p:grpSp>
      </p:grpSp>
      <p:sp>
        <p:nvSpPr>
          <p:cNvPr id="2" name="Text Placeholder 5">
            <a:extLst>
              <a:ext uri="{FF2B5EF4-FFF2-40B4-BE49-F238E27FC236}">
                <a16:creationId xmlns:a16="http://schemas.microsoft.com/office/drawing/2014/main" id="{31FC103A-7C46-724B-5904-1E63BC9FD7BF}"/>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accent1"/>
                </a:solidFill>
              </a:rPr>
              <a:t>India Editable Map</a:t>
            </a:r>
          </a:p>
        </p:txBody>
      </p:sp>
      <p:grpSp>
        <p:nvGrpSpPr>
          <p:cNvPr id="3" name="Group 2">
            <a:extLst>
              <a:ext uri="{FF2B5EF4-FFF2-40B4-BE49-F238E27FC236}">
                <a16:creationId xmlns:a16="http://schemas.microsoft.com/office/drawing/2014/main" id="{9F0ED72A-DBF6-F662-5A1B-FD354FF61FD4}"/>
              </a:ext>
            </a:extLst>
          </p:cNvPr>
          <p:cNvGrpSpPr/>
          <p:nvPr/>
        </p:nvGrpSpPr>
        <p:grpSpPr>
          <a:xfrm>
            <a:off x="667288" y="2111744"/>
            <a:ext cx="3242410" cy="1826659"/>
            <a:chOff x="5363008" y="2111744"/>
            <a:chExt cx="3242410" cy="1826659"/>
          </a:xfrm>
        </p:grpSpPr>
        <p:sp>
          <p:nvSpPr>
            <p:cNvPr id="4" name="Oval 3">
              <a:extLst>
                <a:ext uri="{FF2B5EF4-FFF2-40B4-BE49-F238E27FC236}">
                  <a16:creationId xmlns:a16="http://schemas.microsoft.com/office/drawing/2014/main" id="{6EC5D3BE-9F15-313A-E8E8-2D7D61B6F4B0}"/>
                </a:ext>
              </a:extLst>
            </p:cNvPr>
            <p:cNvSpPr/>
            <p:nvPr/>
          </p:nvSpPr>
          <p:spPr>
            <a:xfrm>
              <a:off x="5363008" y="2129877"/>
              <a:ext cx="611272" cy="6112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5" name="Group 4">
              <a:extLst>
                <a:ext uri="{FF2B5EF4-FFF2-40B4-BE49-F238E27FC236}">
                  <a16:creationId xmlns:a16="http://schemas.microsoft.com/office/drawing/2014/main" id="{89109163-B4AA-CF1F-EEF9-85AA53AD05D3}"/>
                </a:ext>
              </a:extLst>
            </p:cNvPr>
            <p:cNvGrpSpPr/>
            <p:nvPr/>
          </p:nvGrpSpPr>
          <p:grpSpPr>
            <a:xfrm>
              <a:off x="6059773" y="2111744"/>
              <a:ext cx="2545645" cy="657077"/>
              <a:chOff x="1739385" y="6662633"/>
              <a:chExt cx="6788387" cy="1752204"/>
            </a:xfrm>
          </p:grpSpPr>
          <p:sp>
            <p:nvSpPr>
              <p:cNvPr id="12" name="Subtitle 2">
                <a:extLst>
                  <a:ext uri="{FF2B5EF4-FFF2-40B4-BE49-F238E27FC236}">
                    <a16:creationId xmlns:a16="http://schemas.microsoft.com/office/drawing/2014/main" id="{8846B611-289C-76F0-573C-D33F096EBA46}"/>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3" name="Rectangle 12">
                <a:extLst>
                  <a:ext uri="{FF2B5EF4-FFF2-40B4-BE49-F238E27FC236}">
                    <a16:creationId xmlns:a16="http://schemas.microsoft.com/office/drawing/2014/main" id="{58CF6C7D-8316-0AC6-D8D6-0B7734506C18}"/>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sp>
          <p:nvSpPr>
            <p:cNvPr id="6" name="Oval 5">
              <a:extLst>
                <a:ext uri="{FF2B5EF4-FFF2-40B4-BE49-F238E27FC236}">
                  <a16:creationId xmlns:a16="http://schemas.microsoft.com/office/drawing/2014/main" id="{81BE769C-AB61-EA5C-FA33-ECB3113427E1}"/>
                </a:ext>
              </a:extLst>
            </p:cNvPr>
            <p:cNvSpPr/>
            <p:nvPr/>
          </p:nvSpPr>
          <p:spPr>
            <a:xfrm>
              <a:off x="5363008" y="3291171"/>
              <a:ext cx="611272" cy="611272"/>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7" name="Shape 2808">
              <a:extLst>
                <a:ext uri="{FF2B5EF4-FFF2-40B4-BE49-F238E27FC236}">
                  <a16:creationId xmlns:a16="http://schemas.microsoft.com/office/drawing/2014/main" id="{DFB29CD5-2BA6-BDD4-447E-99D6DF483CE6}"/>
                </a:ext>
              </a:extLst>
            </p:cNvPr>
            <p:cNvSpPr/>
            <p:nvPr/>
          </p:nvSpPr>
          <p:spPr>
            <a:xfrm>
              <a:off x="5506546" y="2269207"/>
              <a:ext cx="330923" cy="330923"/>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chemeClr val="tx2"/>
                </a:solidFill>
              </a:endParaRPr>
            </a:p>
          </p:txBody>
        </p:sp>
        <p:sp>
          <p:nvSpPr>
            <p:cNvPr id="8" name="Shape 2944">
              <a:extLst>
                <a:ext uri="{FF2B5EF4-FFF2-40B4-BE49-F238E27FC236}">
                  <a16:creationId xmlns:a16="http://schemas.microsoft.com/office/drawing/2014/main" id="{3D9956B6-1EC5-E662-DA58-E13AE04AA99A}"/>
                </a:ext>
              </a:extLst>
            </p:cNvPr>
            <p:cNvSpPr/>
            <p:nvPr/>
          </p:nvSpPr>
          <p:spPr>
            <a:xfrm>
              <a:off x="5503183" y="3431345"/>
              <a:ext cx="330923" cy="33092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4284" tIns="14284" rIns="14284" bIns="14284" anchor="ctr"/>
            <a:lstStyle/>
            <a:p>
              <a:pPr algn="ct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latin typeface="Montserrat" pitchFamily="2" charset="77"/>
              </a:endParaRPr>
            </a:p>
          </p:txBody>
        </p:sp>
        <p:grpSp>
          <p:nvGrpSpPr>
            <p:cNvPr id="9" name="Group 8">
              <a:extLst>
                <a:ext uri="{FF2B5EF4-FFF2-40B4-BE49-F238E27FC236}">
                  <a16:creationId xmlns:a16="http://schemas.microsoft.com/office/drawing/2014/main" id="{1D0D06D3-1743-1D39-69A2-EC863B528101}"/>
                </a:ext>
              </a:extLst>
            </p:cNvPr>
            <p:cNvGrpSpPr/>
            <p:nvPr/>
          </p:nvGrpSpPr>
          <p:grpSpPr>
            <a:xfrm>
              <a:off x="6059773" y="3281326"/>
              <a:ext cx="2545645" cy="657077"/>
              <a:chOff x="1739385" y="6662633"/>
              <a:chExt cx="6788387" cy="1752204"/>
            </a:xfrm>
          </p:grpSpPr>
          <p:sp>
            <p:nvSpPr>
              <p:cNvPr id="10" name="Subtitle 2">
                <a:extLst>
                  <a:ext uri="{FF2B5EF4-FFF2-40B4-BE49-F238E27FC236}">
                    <a16:creationId xmlns:a16="http://schemas.microsoft.com/office/drawing/2014/main" id="{7E870B40-32C2-1996-1565-079AB0BFEC5A}"/>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1" name="Rectangle 10">
                <a:extLst>
                  <a:ext uri="{FF2B5EF4-FFF2-40B4-BE49-F238E27FC236}">
                    <a16:creationId xmlns:a16="http://schemas.microsoft.com/office/drawing/2014/main" id="{EFFFD62E-A142-EECF-14A8-8B72D3D6A236}"/>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grpSp>
    </p:spTree>
    <p:extLst>
      <p:ext uri="{BB962C8B-B14F-4D97-AF65-F5344CB8AC3E}">
        <p14:creationId xmlns:p14="http://schemas.microsoft.com/office/powerpoint/2010/main" val="282062173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2" name="Group 91">
            <a:extLst>
              <a:ext uri="{FF2B5EF4-FFF2-40B4-BE49-F238E27FC236}">
                <a16:creationId xmlns:a16="http://schemas.microsoft.com/office/drawing/2014/main" id="{87E36689-9E94-DA4A-A239-8181E6E421AF}"/>
              </a:ext>
            </a:extLst>
          </p:cNvPr>
          <p:cNvGrpSpPr/>
          <p:nvPr/>
        </p:nvGrpSpPr>
        <p:grpSpPr>
          <a:xfrm>
            <a:off x="814182" y="1532539"/>
            <a:ext cx="3422053" cy="3228125"/>
            <a:chOff x="3090623" y="673509"/>
            <a:chExt cx="6010754" cy="5670126"/>
          </a:xfrm>
          <a:solidFill>
            <a:srgbClr val="EFF1F8"/>
          </a:solidFill>
        </p:grpSpPr>
        <p:sp>
          <p:nvSpPr>
            <p:cNvPr id="93" name="Freeform 92">
              <a:extLst>
                <a:ext uri="{FF2B5EF4-FFF2-40B4-BE49-F238E27FC236}">
                  <a16:creationId xmlns:a16="http://schemas.microsoft.com/office/drawing/2014/main" id="{FF427982-DE4E-134E-B599-982A54D6AFA3}"/>
                </a:ext>
              </a:extLst>
            </p:cNvPr>
            <p:cNvSpPr>
              <a:spLocks noChangeArrowheads="1"/>
            </p:cNvSpPr>
            <p:nvPr/>
          </p:nvSpPr>
          <p:spPr bwMode="auto">
            <a:xfrm>
              <a:off x="3090623" y="1216164"/>
              <a:ext cx="2374803" cy="3492743"/>
            </a:xfrm>
            <a:custGeom>
              <a:avLst/>
              <a:gdLst>
                <a:gd name="T0" fmla="*/ 7481 w 7738"/>
                <a:gd name="T1" fmla="*/ 599 h 11380"/>
                <a:gd name="T2" fmla="*/ 7405 w 7738"/>
                <a:gd name="T3" fmla="*/ 652 h 11380"/>
                <a:gd name="T4" fmla="*/ 7259 w 7738"/>
                <a:gd name="T5" fmla="*/ 785 h 11380"/>
                <a:gd name="T6" fmla="*/ 7155 w 7738"/>
                <a:gd name="T7" fmla="*/ 337 h 11380"/>
                <a:gd name="T8" fmla="*/ 6858 w 7738"/>
                <a:gd name="T9" fmla="*/ 104 h 11380"/>
                <a:gd name="T10" fmla="*/ 6654 w 7738"/>
                <a:gd name="T11" fmla="*/ 116 h 11380"/>
                <a:gd name="T12" fmla="*/ 6392 w 7738"/>
                <a:gd name="T13" fmla="*/ 250 h 11380"/>
                <a:gd name="T14" fmla="*/ 6235 w 7738"/>
                <a:gd name="T15" fmla="*/ 436 h 11380"/>
                <a:gd name="T16" fmla="*/ 6072 w 7738"/>
                <a:gd name="T17" fmla="*/ 407 h 11380"/>
                <a:gd name="T18" fmla="*/ 5880 w 7738"/>
                <a:gd name="T19" fmla="*/ 494 h 11380"/>
                <a:gd name="T20" fmla="*/ 5979 w 7738"/>
                <a:gd name="T21" fmla="*/ 622 h 11380"/>
                <a:gd name="T22" fmla="*/ 5810 w 7738"/>
                <a:gd name="T23" fmla="*/ 687 h 11380"/>
                <a:gd name="T24" fmla="*/ 5845 w 7738"/>
                <a:gd name="T25" fmla="*/ 756 h 11380"/>
                <a:gd name="T26" fmla="*/ 5711 w 7738"/>
                <a:gd name="T27" fmla="*/ 797 h 11380"/>
                <a:gd name="T28" fmla="*/ 5530 w 7738"/>
                <a:gd name="T29" fmla="*/ 925 h 11380"/>
                <a:gd name="T30" fmla="*/ 5676 w 7738"/>
                <a:gd name="T31" fmla="*/ 1013 h 11380"/>
                <a:gd name="T32" fmla="*/ 5513 w 7738"/>
                <a:gd name="T33" fmla="*/ 1274 h 11380"/>
                <a:gd name="T34" fmla="*/ 5524 w 7738"/>
                <a:gd name="T35" fmla="*/ 1350 h 11380"/>
                <a:gd name="T36" fmla="*/ 5315 w 7738"/>
                <a:gd name="T37" fmla="*/ 1309 h 11380"/>
                <a:gd name="T38" fmla="*/ 5158 w 7738"/>
                <a:gd name="T39" fmla="*/ 1211 h 11380"/>
                <a:gd name="T40" fmla="*/ 5134 w 7738"/>
                <a:gd name="T41" fmla="*/ 1350 h 11380"/>
                <a:gd name="T42" fmla="*/ 5222 w 7738"/>
                <a:gd name="T43" fmla="*/ 1600 h 11380"/>
                <a:gd name="T44" fmla="*/ 5164 w 7738"/>
                <a:gd name="T45" fmla="*/ 1746 h 11380"/>
                <a:gd name="T46" fmla="*/ 4977 w 7738"/>
                <a:gd name="T47" fmla="*/ 1665 h 11380"/>
                <a:gd name="T48" fmla="*/ 4832 w 7738"/>
                <a:gd name="T49" fmla="*/ 1333 h 11380"/>
                <a:gd name="T50" fmla="*/ 4622 w 7738"/>
                <a:gd name="T51" fmla="*/ 1502 h 11380"/>
                <a:gd name="T52" fmla="*/ 4552 w 7738"/>
                <a:gd name="T53" fmla="*/ 2130 h 11380"/>
                <a:gd name="T54" fmla="*/ 4191 w 7738"/>
                <a:gd name="T55" fmla="*/ 2520 h 11380"/>
                <a:gd name="T56" fmla="*/ 3010 w 7738"/>
                <a:gd name="T57" fmla="*/ 3126 h 11380"/>
                <a:gd name="T58" fmla="*/ 2433 w 7738"/>
                <a:gd name="T59" fmla="*/ 3376 h 11380"/>
                <a:gd name="T60" fmla="*/ 1607 w 7738"/>
                <a:gd name="T61" fmla="*/ 3603 h 11380"/>
                <a:gd name="T62" fmla="*/ 844 w 7738"/>
                <a:gd name="T63" fmla="*/ 4075 h 11380"/>
                <a:gd name="T64" fmla="*/ 593 w 7738"/>
                <a:gd name="T65" fmla="*/ 4342 h 11380"/>
                <a:gd name="T66" fmla="*/ 442 w 7738"/>
                <a:gd name="T67" fmla="*/ 4278 h 11380"/>
                <a:gd name="T68" fmla="*/ 233 w 7738"/>
                <a:gd name="T69" fmla="*/ 5379 h 11380"/>
                <a:gd name="T70" fmla="*/ 646 w 7738"/>
                <a:gd name="T71" fmla="*/ 6246 h 11380"/>
                <a:gd name="T72" fmla="*/ 512 w 7738"/>
                <a:gd name="T73" fmla="*/ 6444 h 11380"/>
                <a:gd name="T74" fmla="*/ 250 w 7738"/>
                <a:gd name="T75" fmla="*/ 6060 h 11380"/>
                <a:gd name="T76" fmla="*/ 436 w 7738"/>
                <a:gd name="T77" fmla="*/ 6595 h 11380"/>
                <a:gd name="T78" fmla="*/ 233 w 7738"/>
                <a:gd name="T79" fmla="*/ 6392 h 11380"/>
                <a:gd name="T80" fmla="*/ 180 w 7738"/>
                <a:gd name="T81" fmla="*/ 6461 h 11380"/>
                <a:gd name="T82" fmla="*/ 576 w 7738"/>
                <a:gd name="T83" fmla="*/ 7276 h 11380"/>
                <a:gd name="T84" fmla="*/ 995 w 7738"/>
                <a:gd name="T85" fmla="*/ 8207 h 11380"/>
                <a:gd name="T86" fmla="*/ 1281 w 7738"/>
                <a:gd name="T87" fmla="*/ 9295 h 11380"/>
                <a:gd name="T88" fmla="*/ 1345 w 7738"/>
                <a:gd name="T89" fmla="*/ 9872 h 11380"/>
                <a:gd name="T90" fmla="*/ 1013 w 7738"/>
                <a:gd name="T91" fmla="*/ 10518 h 11380"/>
                <a:gd name="T92" fmla="*/ 1461 w 7738"/>
                <a:gd name="T93" fmla="*/ 11158 h 11380"/>
                <a:gd name="T94" fmla="*/ 2014 w 7738"/>
                <a:gd name="T95" fmla="*/ 11327 h 11380"/>
                <a:gd name="T96" fmla="*/ 2305 w 7738"/>
                <a:gd name="T97" fmla="*/ 11333 h 11380"/>
                <a:gd name="T98" fmla="*/ 2817 w 7738"/>
                <a:gd name="T99" fmla="*/ 11042 h 11380"/>
                <a:gd name="T100" fmla="*/ 3627 w 7738"/>
                <a:gd name="T101" fmla="*/ 10704 h 11380"/>
                <a:gd name="T102" fmla="*/ 4418 w 7738"/>
                <a:gd name="T103" fmla="*/ 10681 h 11380"/>
                <a:gd name="T104" fmla="*/ 4855 w 7738"/>
                <a:gd name="T105" fmla="*/ 10658 h 11380"/>
                <a:gd name="T106" fmla="*/ 5356 w 7738"/>
                <a:gd name="T107" fmla="*/ 10314 h 11380"/>
                <a:gd name="T108" fmla="*/ 6345 w 7738"/>
                <a:gd name="T109" fmla="*/ 9732 h 11380"/>
                <a:gd name="T110" fmla="*/ 7737 w 7738"/>
                <a:gd name="T111" fmla="*/ 9406 h 11380"/>
                <a:gd name="T112" fmla="*/ 1147 w 7738"/>
                <a:gd name="T113" fmla="*/ 3586 h 11380"/>
                <a:gd name="T114" fmla="*/ 122 w 7738"/>
                <a:gd name="T115" fmla="*/ 6339 h 11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738" h="11380">
                  <a:moveTo>
                    <a:pt x="7713" y="576"/>
                  </a:moveTo>
                  <a:lnTo>
                    <a:pt x="7713" y="576"/>
                  </a:lnTo>
                  <a:cubicBezTo>
                    <a:pt x="7684" y="559"/>
                    <a:pt x="7649" y="553"/>
                    <a:pt x="7614" y="541"/>
                  </a:cubicBezTo>
                  <a:cubicBezTo>
                    <a:pt x="7574" y="535"/>
                    <a:pt x="7556" y="512"/>
                    <a:pt x="7516" y="512"/>
                  </a:cubicBezTo>
                  <a:cubicBezTo>
                    <a:pt x="7498" y="512"/>
                    <a:pt x="7486" y="518"/>
                    <a:pt x="7463" y="518"/>
                  </a:cubicBezTo>
                  <a:cubicBezTo>
                    <a:pt x="7463" y="547"/>
                    <a:pt x="7469" y="570"/>
                    <a:pt x="7486" y="593"/>
                  </a:cubicBezTo>
                  <a:cubicBezTo>
                    <a:pt x="7481" y="599"/>
                    <a:pt x="7481" y="599"/>
                    <a:pt x="7481" y="599"/>
                  </a:cubicBezTo>
                  <a:cubicBezTo>
                    <a:pt x="7469" y="599"/>
                    <a:pt x="7463" y="593"/>
                    <a:pt x="7451" y="588"/>
                  </a:cubicBezTo>
                  <a:cubicBezTo>
                    <a:pt x="7440" y="593"/>
                    <a:pt x="7440" y="593"/>
                    <a:pt x="7440" y="593"/>
                  </a:cubicBezTo>
                  <a:cubicBezTo>
                    <a:pt x="7440" y="599"/>
                    <a:pt x="7446" y="605"/>
                    <a:pt x="7451" y="611"/>
                  </a:cubicBezTo>
                  <a:cubicBezTo>
                    <a:pt x="7446" y="622"/>
                    <a:pt x="7446" y="622"/>
                    <a:pt x="7446" y="622"/>
                  </a:cubicBezTo>
                  <a:cubicBezTo>
                    <a:pt x="7428" y="617"/>
                    <a:pt x="7416" y="605"/>
                    <a:pt x="7405" y="593"/>
                  </a:cubicBezTo>
                  <a:cubicBezTo>
                    <a:pt x="7393" y="599"/>
                    <a:pt x="7393" y="599"/>
                    <a:pt x="7393" y="599"/>
                  </a:cubicBezTo>
                  <a:cubicBezTo>
                    <a:pt x="7393" y="622"/>
                    <a:pt x="7405" y="628"/>
                    <a:pt x="7405" y="652"/>
                  </a:cubicBezTo>
                  <a:cubicBezTo>
                    <a:pt x="7405" y="657"/>
                    <a:pt x="7399" y="657"/>
                    <a:pt x="7393" y="657"/>
                  </a:cubicBezTo>
                  <a:cubicBezTo>
                    <a:pt x="7364" y="617"/>
                    <a:pt x="7364" y="617"/>
                    <a:pt x="7364" y="617"/>
                  </a:cubicBezTo>
                  <a:cubicBezTo>
                    <a:pt x="7347" y="640"/>
                    <a:pt x="7335" y="652"/>
                    <a:pt x="7335" y="681"/>
                  </a:cubicBezTo>
                  <a:cubicBezTo>
                    <a:pt x="7335" y="722"/>
                    <a:pt x="7376" y="826"/>
                    <a:pt x="7312" y="722"/>
                  </a:cubicBezTo>
                  <a:cubicBezTo>
                    <a:pt x="7300" y="751"/>
                    <a:pt x="7288" y="791"/>
                    <a:pt x="7288" y="815"/>
                  </a:cubicBezTo>
                  <a:cubicBezTo>
                    <a:pt x="7288" y="826"/>
                    <a:pt x="7300" y="855"/>
                    <a:pt x="7288" y="832"/>
                  </a:cubicBezTo>
                  <a:cubicBezTo>
                    <a:pt x="7259" y="785"/>
                    <a:pt x="7259" y="785"/>
                    <a:pt x="7259" y="785"/>
                  </a:cubicBezTo>
                  <a:cubicBezTo>
                    <a:pt x="7224" y="780"/>
                    <a:pt x="7195" y="756"/>
                    <a:pt x="7253" y="756"/>
                  </a:cubicBezTo>
                  <a:cubicBezTo>
                    <a:pt x="7277" y="756"/>
                    <a:pt x="7294" y="739"/>
                    <a:pt x="7294" y="716"/>
                  </a:cubicBezTo>
                  <a:cubicBezTo>
                    <a:pt x="7294" y="681"/>
                    <a:pt x="7277" y="663"/>
                    <a:pt x="7277" y="622"/>
                  </a:cubicBezTo>
                  <a:cubicBezTo>
                    <a:pt x="7277" y="593"/>
                    <a:pt x="7271" y="576"/>
                    <a:pt x="7283" y="553"/>
                  </a:cubicBezTo>
                  <a:cubicBezTo>
                    <a:pt x="7294" y="535"/>
                    <a:pt x="7318" y="529"/>
                    <a:pt x="7318" y="506"/>
                  </a:cubicBezTo>
                  <a:cubicBezTo>
                    <a:pt x="7318" y="454"/>
                    <a:pt x="7271" y="436"/>
                    <a:pt x="7230" y="413"/>
                  </a:cubicBezTo>
                  <a:cubicBezTo>
                    <a:pt x="7190" y="390"/>
                    <a:pt x="7178" y="372"/>
                    <a:pt x="7155" y="337"/>
                  </a:cubicBezTo>
                  <a:cubicBezTo>
                    <a:pt x="7149" y="320"/>
                    <a:pt x="7125" y="320"/>
                    <a:pt x="7125" y="308"/>
                  </a:cubicBezTo>
                  <a:cubicBezTo>
                    <a:pt x="7125" y="296"/>
                    <a:pt x="7131" y="296"/>
                    <a:pt x="7131" y="291"/>
                  </a:cubicBezTo>
                  <a:cubicBezTo>
                    <a:pt x="7131" y="250"/>
                    <a:pt x="7090" y="244"/>
                    <a:pt x="7056" y="221"/>
                  </a:cubicBezTo>
                  <a:cubicBezTo>
                    <a:pt x="7038" y="209"/>
                    <a:pt x="7027" y="198"/>
                    <a:pt x="7003" y="186"/>
                  </a:cubicBezTo>
                  <a:cubicBezTo>
                    <a:pt x="6986" y="174"/>
                    <a:pt x="6957" y="174"/>
                    <a:pt x="6957" y="157"/>
                  </a:cubicBezTo>
                  <a:cubicBezTo>
                    <a:pt x="6957" y="128"/>
                    <a:pt x="6957" y="99"/>
                    <a:pt x="6933" y="99"/>
                  </a:cubicBezTo>
                  <a:cubicBezTo>
                    <a:pt x="6904" y="99"/>
                    <a:pt x="6887" y="104"/>
                    <a:pt x="6858" y="104"/>
                  </a:cubicBezTo>
                  <a:cubicBezTo>
                    <a:pt x="6799" y="104"/>
                    <a:pt x="6764" y="58"/>
                    <a:pt x="6747" y="0"/>
                  </a:cubicBezTo>
                  <a:cubicBezTo>
                    <a:pt x="6724" y="11"/>
                    <a:pt x="6712" y="23"/>
                    <a:pt x="6695" y="35"/>
                  </a:cubicBezTo>
                  <a:cubicBezTo>
                    <a:pt x="6648" y="17"/>
                    <a:pt x="6648" y="17"/>
                    <a:pt x="6648" y="17"/>
                  </a:cubicBezTo>
                  <a:cubicBezTo>
                    <a:pt x="6636" y="17"/>
                    <a:pt x="6636" y="17"/>
                    <a:pt x="6636" y="17"/>
                  </a:cubicBezTo>
                  <a:cubicBezTo>
                    <a:pt x="6666" y="58"/>
                    <a:pt x="6677" y="87"/>
                    <a:pt x="6712" y="104"/>
                  </a:cubicBezTo>
                  <a:cubicBezTo>
                    <a:pt x="6706" y="116"/>
                    <a:pt x="6706" y="116"/>
                    <a:pt x="6706" y="116"/>
                  </a:cubicBezTo>
                  <a:cubicBezTo>
                    <a:pt x="6689" y="116"/>
                    <a:pt x="6677" y="116"/>
                    <a:pt x="6654" y="116"/>
                  </a:cubicBezTo>
                  <a:cubicBezTo>
                    <a:pt x="6654" y="163"/>
                    <a:pt x="6631" y="192"/>
                    <a:pt x="6590" y="221"/>
                  </a:cubicBezTo>
                  <a:cubicBezTo>
                    <a:pt x="6572" y="227"/>
                    <a:pt x="6572" y="250"/>
                    <a:pt x="6555" y="250"/>
                  </a:cubicBezTo>
                  <a:cubicBezTo>
                    <a:pt x="6508" y="250"/>
                    <a:pt x="6508" y="192"/>
                    <a:pt x="6508" y="145"/>
                  </a:cubicBezTo>
                  <a:cubicBezTo>
                    <a:pt x="6508" y="81"/>
                    <a:pt x="6514" y="133"/>
                    <a:pt x="6468" y="157"/>
                  </a:cubicBezTo>
                  <a:cubicBezTo>
                    <a:pt x="6450" y="168"/>
                    <a:pt x="6421" y="163"/>
                    <a:pt x="6421" y="186"/>
                  </a:cubicBezTo>
                  <a:cubicBezTo>
                    <a:pt x="6421" y="203"/>
                    <a:pt x="6450" y="203"/>
                    <a:pt x="6456" y="221"/>
                  </a:cubicBezTo>
                  <a:cubicBezTo>
                    <a:pt x="6427" y="227"/>
                    <a:pt x="6415" y="250"/>
                    <a:pt x="6392" y="250"/>
                  </a:cubicBezTo>
                  <a:cubicBezTo>
                    <a:pt x="6322" y="250"/>
                    <a:pt x="6386" y="168"/>
                    <a:pt x="6305" y="256"/>
                  </a:cubicBezTo>
                  <a:cubicBezTo>
                    <a:pt x="6310" y="279"/>
                    <a:pt x="6310" y="279"/>
                    <a:pt x="6310" y="279"/>
                  </a:cubicBezTo>
                  <a:cubicBezTo>
                    <a:pt x="6299" y="296"/>
                    <a:pt x="6275" y="308"/>
                    <a:pt x="6275" y="331"/>
                  </a:cubicBezTo>
                  <a:cubicBezTo>
                    <a:pt x="6275" y="349"/>
                    <a:pt x="6287" y="355"/>
                    <a:pt x="6287" y="372"/>
                  </a:cubicBezTo>
                  <a:cubicBezTo>
                    <a:pt x="6287" y="396"/>
                    <a:pt x="6252" y="390"/>
                    <a:pt x="6229" y="396"/>
                  </a:cubicBezTo>
                  <a:cubicBezTo>
                    <a:pt x="6235" y="413"/>
                    <a:pt x="6235" y="425"/>
                    <a:pt x="6241" y="442"/>
                  </a:cubicBezTo>
                  <a:cubicBezTo>
                    <a:pt x="6235" y="436"/>
                    <a:pt x="6235" y="436"/>
                    <a:pt x="6235" y="436"/>
                  </a:cubicBezTo>
                  <a:cubicBezTo>
                    <a:pt x="6223" y="419"/>
                    <a:pt x="6206" y="419"/>
                    <a:pt x="6200" y="401"/>
                  </a:cubicBezTo>
                  <a:cubicBezTo>
                    <a:pt x="6188" y="390"/>
                    <a:pt x="6194" y="361"/>
                    <a:pt x="6171" y="361"/>
                  </a:cubicBezTo>
                  <a:cubicBezTo>
                    <a:pt x="6095" y="361"/>
                    <a:pt x="6112" y="483"/>
                    <a:pt x="6112" y="285"/>
                  </a:cubicBezTo>
                  <a:lnTo>
                    <a:pt x="6118" y="279"/>
                  </a:lnTo>
                  <a:cubicBezTo>
                    <a:pt x="6118" y="256"/>
                    <a:pt x="6095" y="256"/>
                    <a:pt x="6078" y="244"/>
                  </a:cubicBezTo>
                  <a:cubicBezTo>
                    <a:pt x="6078" y="349"/>
                    <a:pt x="6078" y="349"/>
                    <a:pt x="6078" y="349"/>
                  </a:cubicBezTo>
                  <a:cubicBezTo>
                    <a:pt x="6078" y="372"/>
                    <a:pt x="6078" y="384"/>
                    <a:pt x="6072" y="407"/>
                  </a:cubicBezTo>
                  <a:cubicBezTo>
                    <a:pt x="6037" y="407"/>
                    <a:pt x="6008" y="407"/>
                    <a:pt x="5990" y="442"/>
                  </a:cubicBezTo>
                  <a:cubicBezTo>
                    <a:pt x="5984" y="436"/>
                    <a:pt x="5984" y="430"/>
                    <a:pt x="5979" y="430"/>
                  </a:cubicBezTo>
                  <a:cubicBezTo>
                    <a:pt x="5979" y="419"/>
                    <a:pt x="5979" y="419"/>
                    <a:pt x="5979" y="419"/>
                  </a:cubicBezTo>
                  <a:cubicBezTo>
                    <a:pt x="5955" y="419"/>
                    <a:pt x="5955" y="419"/>
                    <a:pt x="5955" y="419"/>
                  </a:cubicBezTo>
                  <a:cubicBezTo>
                    <a:pt x="5949" y="419"/>
                    <a:pt x="5944" y="413"/>
                    <a:pt x="5938" y="413"/>
                  </a:cubicBezTo>
                  <a:cubicBezTo>
                    <a:pt x="5932" y="413"/>
                    <a:pt x="5932" y="419"/>
                    <a:pt x="5926" y="419"/>
                  </a:cubicBezTo>
                  <a:cubicBezTo>
                    <a:pt x="5932" y="454"/>
                    <a:pt x="5880" y="459"/>
                    <a:pt x="5880" y="494"/>
                  </a:cubicBezTo>
                  <a:cubicBezTo>
                    <a:pt x="5880" y="529"/>
                    <a:pt x="5915" y="547"/>
                    <a:pt x="5944" y="547"/>
                  </a:cubicBezTo>
                  <a:cubicBezTo>
                    <a:pt x="5944" y="553"/>
                    <a:pt x="5949" y="553"/>
                    <a:pt x="5949" y="559"/>
                  </a:cubicBezTo>
                  <a:cubicBezTo>
                    <a:pt x="5949" y="576"/>
                    <a:pt x="5938" y="588"/>
                    <a:pt x="5926" y="599"/>
                  </a:cubicBezTo>
                  <a:cubicBezTo>
                    <a:pt x="5932" y="611"/>
                    <a:pt x="5932" y="611"/>
                    <a:pt x="5932" y="611"/>
                  </a:cubicBezTo>
                  <a:cubicBezTo>
                    <a:pt x="5938" y="611"/>
                    <a:pt x="5938" y="617"/>
                    <a:pt x="5944" y="617"/>
                  </a:cubicBezTo>
                  <a:cubicBezTo>
                    <a:pt x="5949" y="617"/>
                    <a:pt x="5955" y="611"/>
                    <a:pt x="5961" y="605"/>
                  </a:cubicBezTo>
                  <a:cubicBezTo>
                    <a:pt x="5967" y="611"/>
                    <a:pt x="5973" y="622"/>
                    <a:pt x="5979" y="622"/>
                  </a:cubicBezTo>
                  <a:cubicBezTo>
                    <a:pt x="5990" y="622"/>
                    <a:pt x="5996" y="628"/>
                    <a:pt x="6002" y="628"/>
                  </a:cubicBezTo>
                  <a:cubicBezTo>
                    <a:pt x="5990" y="634"/>
                    <a:pt x="5984" y="640"/>
                    <a:pt x="5984" y="652"/>
                  </a:cubicBezTo>
                  <a:cubicBezTo>
                    <a:pt x="5984" y="669"/>
                    <a:pt x="6008" y="675"/>
                    <a:pt x="6025" y="692"/>
                  </a:cubicBezTo>
                  <a:cubicBezTo>
                    <a:pt x="6002" y="698"/>
                    <a:pt x="5990" y="710"/>
                    <a:pt x="5967" y="710"/>
                  </a:cubicBezTo>
                  <a:cubicBezTo>
                    <a:pt x="5932" y="710"/>
                    <a:pt x="5915" y="687"/>
                    <a:pt x="5886" y="675"/>
                  </a:cubicBezTo>
                  <a:cubicBezTo>
                    <a:pt x="5886" y="687"/>
                    <a:pt x="5880" y="692"/>
                    <a:pt x="5874" y="704"/>
                  </a:cubicBezTo>
                  <a:cubicBezTo>
                    <a:pt x="5816" y="675"/>
                    <a:pt x="5816" y="570"/>
                    <a:pt x="5810" y="687"/>
                  </a:cubicBezTo>
                  <a:cubicBezTo>
                    <a:pt x="5786" y="687"/>
                    <a:pt x="5769" y="687"/>
                    <a:pt x="5746" y="687"/>
                  </a:cubicBezTo>
                  <a:cubicBezTo>
                    <a:pt x="5746" y="698"/>
                    <a:pt x="5746" y="704"/>
                    <a:pt x="5746" y="716"/>
                  </a:cubicBezTo>
                  <a:cubicBezTo>
                    <a:pt x="5769" y="716"/>
                    <a:pt x="5769" y="716"/>
                    <a:pt x="5769" y="716"/>
                  </a:cubicBezTo>
                  <a:cubicBezTo>
                    <a:pt x="5786" y="716"/>
                    <a:pt x="5798" y="704"/>
                    <a:pt x="5821" y="704"/>
                  </a:cubicBezTo>
                  <a:cubicBezTo>
                    <a:pt x="5798" y="722"/>
                    <a:pt x="5786" y="733"/>
                    <a:pt x="5763" y="739"/>
                  </a:cubicBezTo>
                  <a:cubicBezTo>
                    <a:pt x="5769" y="762"/>
                    <a:pt x="5786" y="768"/>
                    <a:pt x="5810" y="768"/>
                  </a:cubicBezTo>
                  <a:cubicBezTo>
                    <a:pt x="5821" y="768"/>
                    <a:pt x="5833" y="756"/>
                    <a:pt x="5845" y="756"/>
                  </a:cubicBezTo>
                  <a:cubicBezTo>
                    <a:pt x="5839" y="774"/>
                    <a:pt x="5839" y="785"/>
                    <a:pt x="5839" y="809"/>
                  </a:cubicBezTo>
                  <a:cubicBezTo>
                    <a:pt x="5839" y="838"/>
                    <a:pt x="5932" y="919"/>
                    <a:pt x="5909" y="914"/>
                  </a:cubicBezTo>
                  <a:cubicBezTo>
                    <a:pt x="5862" y="896"/>
                    <a:pt x="5874" y="867"/>
                    <a:pt x="5839" y="867"/>
                  </a:cubicBezTo>
                  <a:cubicBezTo>
                    <a:pt x="5827" y="867"/>
                    <a:pt x="5821" y="879"/>
                    <a:pt x="5816" y="885"/>
                  </a:cubicBezTo>
                  <a:cubicBezTo>
                    <a:pt x="5792" y="873"/>
                    <a:pt x="5775" y="873"/>
                    <a:pt x="5769" y="855"/>
                  </a:cubicBezTo>
                  <a:cubicBezTo>
                    <a:pt x="5757" y="838"/>
                    <a:pt x="5775" y="815"/>
                    <a:pt x="5763" y="797"/>
                  </a:cubicBezTo>
                  <a:cubicBezTo>
                    <a:pt x="5746" y="785"/>
                    <a:pt x="5728" y="803"/>
                    <a:pt x="5711" y="797"/>
                  </a:cubicBezTo>
                  <a:cubicBezTo>
                    <a:pt x="5699" y="791"/>
                    <a:pt x="5699" y="780"/>
                    <a:pt x="5687" y="780"/>
                  </a:cubicBezTo>
                  <a:cubicBezTo>
                    <a:pt x="5658" y="780"/>
                    <a:pt x="5653" y="815"/>
                    <a:pt x="5629" y="826"/>
                  </a:cubicBezTo>
                  <a:cubicBezTo>
                    <a:pt x="5641" y="850"/>
                    <a:pt x="5641" y="850"/>
                    <a:pt x="5641" y="850"/>
                  </a:cubicBezTo>
                  <a:cubicBezTo>
                    <a:pt x="5629" y="867"/>
                    <a:pt x="5618" y="879"/>
                    <a:pt x="5594" y="879"/>
                  </a:cubicBezTo>
                  <a:cubicBezTo>
                    <a:pt x="5583" y="879"/>
                    <a:pt x="5571" y="867"/>
                    <a:pt x="5565" y="855"/>
                  </a:cubicBezTo>
                  <a:cubicBezTo>
                    <a:pt x="5554" y="879"/>
                    <a:pt x="5519" y="879"/>
                    <a:pt x="5519" y="908"/>
                  </a:cubicBezTo>
                  <a:cubicBezTo>
                    <a:pt x="5519" y="914"/>
                    <a:pt x="5524" y="919"/>
                    <a:pt x="5530" y="925"/>
                  </a:cubicBezTo>
                  <a:cubicBezTo>
                    <a:pt x="5507" y="943"/>
                    <a:pt x="5501" y="972"/>
                    <a:pt x="5501" y="1001"/>
                  </a:cubicBezTo>
                  <a:cubicBezTo>
                    <a:pt x="5501" y="1018"/>
                    <a:pt x="5513" y="1030"/>
                    <a:pt x="5530" y="1030"/>
                  </a:cubicBezTo>
                  <a:cubicBezTo>
                    <a:pt x="5530" y="1030"/>
                    <a:pt x="5536" y="1030"/>
                    <a:pt x="5542" y="1030"/>
                  </a:cubicBezTo>
                  <a:cubicBezTo>
                    <a:pt x="5554" y="1030"/>
                    <a:pt x="5554" y="1030"/>
                    <a:pt x="5554" y="1030"/>
                  </a:cubicBezTo>
                  <a:cubicBezTo>
                    <a:pt x="5554" y="1042"/>
                    <a:pt x="5554" y="1053"/>
                    <a:pt x="5554" y="1071"/>
                  </a:cubicBezTo>
                  <a:cubicBezTo>
                    <a:pt x="5618" y="1042"/>
                    <a:pt x="5629" y="1001"/>
                    <a:pt x="5676" y="954"/>
                  </a:cubicBezTo>
                  <a:cubicBezTo>
                    <a:pt x="5676" y="1013"/>
                    <a:pt x="5676" y="1013"/>
                    <a:pt x="5676" y="1013"/>
                  </a:cubicBezTo>
                  <a:cubicBezTo>
                    <a:pt x="5676" y="1048"/>
                    <a:pt x="5612" y="1048"/>
                    <a:pt x="5612" y="1088"/>
                  </a:cubicBezTo>
                  <a:cubicBezTo>
                    <a:pt x="5612" y="1094"/>
                    <a:pt x="5618" y="1100"/>
                    <a:pt x="5618" y="1111"/>
                  </a:cubicBezTo>
                  <a:cubicBezTo>
                    <a:pt x="5606" y="1117"/>
                    <a:pt x="5594" y="1123"/>
                    <a:pt x="5594" y="1135"/>
                  </a:cubicBezTo>
                  <a:cubicBezTo>
                    <a:pt x="5594" y="1152"/>
                    <a:pt x="5606" y="1158"/>
                    <a:pt x="5606" y="1176"/>
                  </a:cubicBezTo>
                  <a:cubicBezTo>
                    <a:pt x="5606" y="1193"/>
                    <a:pt x="5583" y="1193"/>
                    <a:pt x="5571" y="1211"/>
                  </a:cubicBezTo>
                  <a:cubicBezTo>
                    <a:pt x="5554" y="1205"/>
                    <a:pt x="5548" y="1199"/>
                    <a:pt x="5530" y="1193"/>
                  </a:cubicBezTo>
                  <a:cubicBezTo>
                    <a:pt x="5524" y="1228"/>
                    <a:pt x="5524" y="1245"/>
                    <a:pt x="5513" y="1274"/>
                  </a:cubicBezTo>
                  <a:cubicBezTo>
                    <a:pt x="5524" y="1280"/>
                    <a:pt x="5530" y="1286"/>
                    <a:pt x="5542" y="1286"/>
                  </a:cubicBezTo>
                  <a:cubicBezTo>
                    <a:pt x="5554" y="1286"/>
                    <a:pt x="5559" y="1280"/>
                    <a:pt x="5571" y="1280"/>
                  </a:cubicBezTo>
                  <a:cubicBezTo>
                    <a:pt x="5589" y="1280"/>
                    <a:pt x="5757" y="1333"/>
                    <a:pt x="5723" y="1344"/>
                  </a:cubicBezTo>
                  <a:cubicBezTo>
                    <a:pt x="5658" y="1327"/>
                    <a:pt x="5623" y="1344"/>
                    <a:pt x="5565" y="1333"/>
                  </a:cubicBezTo>
                  <a:cubicBezTo>
                    <a:pt x="5536" y="1327"/>
                    <a:pt x="5519" y="1304"/>
                    <a:pt x="5490" y="1304"/>
                  </a:cubicBezTo>
                  <a:lnTo>
                    <a:pt x="5484" y="1309"/>
                  </a:lnTo>
                  <a:cubicBezTo>
                    <a:pt x="5484" y="1333"/>
                    <a:pt x="5501" y="1350"/>
                    <a:pt x="5524" y="1350"/>
                  </a:cubicBezTo>
                  <a:cubicBezTo>
                    <a:pt x="5524" y="1368"/>
                    <a:pt x="5519" y="1374"/>
                    <a:pt x="5513" y="1385"/>
                  </a:cubicBezTo>
                  <a:cubicBezTo>
                    <a:pt x="5495" y="1374"/>
                    <a:pt x="5490" y="1356"/>
                    <a:pt x="5466" y="1356"/>
                  </a:cubicBezTo>
                  <a:cubicBezTo>
                    <a:pt x="5460" y="1356"/>
                    <a:pt x="5455" y="1362"/>
                    <a:pt x="5449" y="1362"/>
                  </a:cubicBezTo>
                  <a:cubicBezTo>
                    <a:pt x="5408" y="1362"/>
                    <a:pt x="5408" y="1315"/>
                    <a:pt x="5385" y="1286"/>
                  </a:cubicBezTo>
                  <a:cubicBezTo>
                    <a:pt x="5361" y="1257"/>
                    <a:pt x="5332" y="1263"/>
                    <a:pt x="5297" y="1263"/>
                  </a:cubicBezTo>
                  <a:cubicBezTo>
                    <a:pt x="5292" y="1263"/>
                    <a:pt x="5292" y="1263"/>
                    <a:pt x="5286" y="1263"/>
                  </a:cubicBezTo>
                  <a:cubicBezTo>
                    <a:pt x="5297" y="1286"/>
                    <a:pt x="5315" y="1286"/>
                    <a:pt x="5315" y="1309"/>
                  </a:cubicBezTo>
                  <a:cubicBezTo>
                    <a:pt x="5315" y="1315"/>
                    <a:pt x="5309" y="1315"/>
                    <a:pt x="5309" y="1321"/>
                  </a:cubicBezTo>
                  <a:cubicBezTo>
                    <a:pt x="5286" y="1321"/>
                    <a:pt x="5286" y="1321"/>
                    <a:pt x="5286" y="1321"/>
                  </a:cubicBezTo>
                  <a:cubicBezTo>
                    <a:pt x="5274" y="1321"/>
                    <a:pt x="5268" y="1333"/>
                    <a:pt x="5257" y="1333"/>
                  </a:cubicBezTo>
                  <a:cubicBezTo>
                    <a:pt x="5245" y="1333"/>
                    <a:pt x="5239" y="1315"/>
                    <a:pt x="5228" y="1309"/>
                  </a:cubicBezTo>
                  <a:cubicBezTo>
                    <a:pt x="5204" y="1280"/>
                    <a:pt x="5175" y="1269"/>
                    <a:pt x="5175" y="1228"/>
                  </a:cubicBezTo>
                  <a:cubicBezTo>
                    <a:pt x="5175" y="1222"/>
                    <a:pt x="5181" y="1216"/>
                    <a:pt x="5181" y="1205"/>
                  </a:cubicBezTo>
                  <a:cubicBezTo>
                    <a:pt x="5158" y="1211"/>
                    <a:pt x="5158" y="1211"/>
                    <a:pt x="5158" y="1211"/>
                  </a:cubicBezTo>
                  <a:cubicBezTo>
                    <a:pt x="5152" y="1211"/>
                    <a:pt x="5152" y="1205"/>
                    <a:pt x="5146" y="1205"/>
                  </a:cubicBezTo>
                  <a:cubicBezTo>
                    <a:pt x="5140" y="1205"/>
                    <a:pt x="5140" y="1211"/>
                    <a:pt x="5134" y="1211"/>
                  </a:cubicBezTo>
                  <a:cubicBezTo>
                    <a:pt x="5134" y="1228"/>
                    <a:pt x="5129" y="1234"/>
                    <a:pt x="5129" y="1251"/>
                  </a:cubicBezTo>
                  <a:cubicBezTo>
                    <a:pt x="5129" y="1257"/>
                    <a:pt x="5134" y="1257"/>
                    <a:pt x="5134" y="1263"/>
                  </a:cubicBezTo>
                  <a:cubicBezTo>
                    <a:pt x="5169" y="1263"/>
                    <a:pt x="5169" y="1263"/>
                    <a:pt x="5169" y="1263"/>
                  </a:cubicBezTo>
                  <a:cubicBezTo>
                    <a:pt x="5169" y="1327"/>
                    <a:pt x="5169" y="1327"/>
                    <a:pt x="5169" y="1327"/>
                  </a:cubicBezTo>
                  <a:cubicBezTo>
                    <a:pt x="5158" y="1339"/>
                    <a:pt x="5134" y="1339"/>
                    <a:pt x="5134" y="1350"/>
                  </a:cubicBezTo>
                  <a:cubicBezTo>
                    <a:pt x="5134" y="1368"/>
                    <a:pt x="5146" y="1374"/>
                    <a:pt x="5146" y="1385"/>
                  </a:cubicBezTo>
                  <a:cubicBezTo>
                    <a:pt x="5146" y="1408"/>
                    <a:pt x="5111" y="1414"/>
                    <a:pt x="5111" y="1437"/>
                  </a:cubicBezTo>
                  <a:cubicBezTo>
                    <a:pt x="5111" y="1472"/>
                    <a:pt x="5158" y="1455"/>
                    <a:pt x="5181" y="1472"/>
                  </a:cubicBezTo>
                  <a:cubicBezTo>
                    <a:pt x="5204" y="1502"/>
                    <a:pt x="5198" y="1537"/>
                    <a:pt x="5210" y="1571"/>
                  </a:cubicBezTo>
                  <a:cubicBezTo>
                    <a:pt x="5228" y="1566"/>
                    <a:pt x="5245" y="1571"/>
                    <a:pt x="5263" y="1560"/>
                  </a:cubicBezTo>
                  <a:cubicBezTo>
                    <a:pt x="5274" y="1566"/>
                    <a:pt x="5274" y="1566"/>
                    <a:pt x="5274" y="1566"/>
                  </a:cubicBezTo>
                  <a:cubicBezTo>
                    <a:pt x="5257" y="1583"/>
                    <a:pt x="5245" y="1589"/>
                    <a:pt x="5222" y="1600"/>
                  </a:cubicBezTo>
                  <a:cubicBezTo>
                    <a:pt x="5251" y="1641"/>
                    <a:pt x="5280" y="1665"/>
                    <a:pt x="5216" y="1624"/>
                  </a:cubicBezTo>
                  <a:cubicBezTo>
                    <a:pt x="5233" y="1670"/>
                    <a:pt x="5245" y="1700"/>
                    <a:pt x="5274" y="1740"/>
                  </a:cubicBezTo>
                  <a:cubicBezTo>
                    <a:pt x="5268" y="1752"/>
                    <a:pt x="5268" y="1752"/>
                    <a:pt x="5268" y="1752"/>
                  </a:cubicBezTo>
                  <a:cubicBezTo>
                    <a:pt x="5233" y="1729"/>
                    <a:pt x="5210" y="1717"/>
                    <a:pt x="5181" y="1694"/>
                  </a:cubicBezTo>
                  <a:cubicBezTo>
                    <a:pt x="5158" y="1670"/>
                    <a:pt x="5164" y="1630"/>
                    <a:pt x="5134" y="1630"/>
                  </a:cubicBezTo>
                  <a:cubicBezTo>
                    <a:pt x="5117" y="1630"/>
                    <a:pt x="5129" y="1659"/>
                    <a:pt x="5129" y="1676"/>
                  </a:cubicBezTo>
                  <a:cubicBezTo>
                    <a:pt x="5129" y="1705"/>
                    <a:pt x="5152" y="1717"/>
                    <a:pt x="5164" y="1746"/>
                  </a:cubicBezTo>
                  <a:cubicBezTo>
                    <a:pt x="5158" y="1752"/>
                    <a:pt x="5146" y="1758"/>
                    <a:pt x="5134" y="1758"/>
                  </a:cubicBezTo>
                  <a:cubicBezTo>
                    <a:pt x="5134" y="1787"/>
                    <a:pt x="5105" y="1793"/>
                    <a:pt x="5105" y="1822"/>
                  </a:cubicBezTo>
                  <a:cubicBezTo>
                    <a:pt x="5105" y="1833"/>
                    <a:pt x="5111" y="1839"/>
                    <a:pt x="5111" y="1851"/>
                  </a:cubicBezTo>
                  <a:cubicBezTo>
                    <a:pt x="5111" y="1886"/>
                    <a:pt x="5094" y="2031"/>
                    <a:pt x="5094" y="1926"/>
                  </a:cubicBezTo>
                  <a:cubicBezTo>
                    <a:pt x="5094" y="1909"/>
                    <a:pt x="5100" y="1897"/>
                    <a:pt x="5100" y="1880"/>
                  </a:cubicBezTo>
                  <a:cubicBezTo>
                    <a:pt x="5100" y="1839"/>
                    <a:pt x="5065" y="1828"/>
                    <a:pt x="5030" y="1804"/>
                  </a:cubicBezTo>
                  <a:cubicBezTo>
                    <a:pt x="4989" y="1763"/>
                    <a:pt x="5006" y="1717"/>
                    <a:pt x="4977" y="1665"/>
                  </a:cubicBezTo>
                  <a:cubicBezTo>
                    <a:pt x="4954" y="1624"/>
                    <a:pt x="4902" y="1618"/>
                    <a:pt x="4902" y="1571"/>
                  </a:cubicBezTo>
                  <a:cubicBezTo>
                    <a:pt x="4902" y="1554"/>
                    <a:pt x="4907" y="1548"/>
                    <a:pt x="4907" y="1531"/>
                  </a:cubicBezTo>
                  <a:cubicBezTo>
                    <a:pt x="4907" y="1513"/>
                    <a:pt x="4907" y="1513"/>
                    <a:pt x="4907" y="1513"/>
                  </a:cubicBezTo>
                  <a:cubicBezTo>
                    <a:pt x="4896" y="1507"/>
                    <a:pt x="4890" y="1507"/>
                    <a:pt x="4872" y="1502"/>
                  </a:cubicBezTo>
                  <a:cubicBezTo>
                    <a:pt x="4878" y="1478"/>
                    <a:pt x="4878" y="1478"/>
                    <a:pt x="4878" y="1478"/>
                  </a:cubicBezTo>
                  <a:cubicBezTo>
                    <a:pt x="4855" y="1449"/>
                    <a:pt x="4808" y="1443"/>
                    <a:pt x="4808" y="1403"/>
                  </a:cubicBezTo>
                  <a:cubicBezTo>
                    <a:pt x="4808" y="1374"/>
                    <a:pt x="4826" y="1362"/>
                    <a:pt x="4832" y="1333"/>
                  </a:cubicBezTo>
                  <a:cubicBezTo>
                    <a:pt x="4814" y="1333"/>
                    <a:pt x="4808" y="1333"/>
                    <a:pt x="4791" y="1333"/>
                  </a:cubicBezTo>
                  <a:cubicBezTo>
                    <a:pt x="4779" y="1374"/>
                    <a:pt x="4756" y="1391"/>
                    <a:pt x="4715" y="1397"/>
                  </a:cubicBezTo>
                  <a:cubicBezTo>
                    <a:pt x="4721" y="1420"/>
                    <a:pt x="4715" y="1432"/>
                    <a:pt x="4715" y="1455"/>
                  </a:cubicBezTo>
                  <a:cubicBezTo>
                    <a:pt x="4715" y="1478"/>
                    <a:pt x="4733" y="1490"/>
                    <a:pt x="4756" y="1496"/>
                  </a:cubicBezTo>
                  <a:cubicBezTo>
                    <a:pt x="4750" y="1502"/>
                    <a:pt x="4750" y="1507"/>
                    <a:pt x="4750" y="1513"/>
                  </a:cubicBezTo>
                  <a:cubicBezTo>
                    <a:pt x="4715" y="1513"/>
                    <a:pt x="4692" y="1525"/>
                    <a:pt x="4657" y="1525"/>
                  </a:cubicBezTo>
                  <a:cubicBezTo>
                    <a:pt x="4640" y="1525"/>
                    <a:pt x="4634" y="1507"/>
                    <a:pt x="4622" y="1502"/>
                  </a:cubicBezTo>
                  <a:cubicBezTo>
                    <a:pt x="4616" y="1542"/>
                    <a:pt x="4622" y="1560"/>
                    <a:pt x="4622" y="1600"/>
                  </a:cubicBezTo>
                  <a:cubicBezTo>
                    <a:pt x="4611" y="1600"/>
                    <a:pt x="4611" y="1600"/>
                    <a:pt x="4611" y="1600"/>
                  </a:cubicBezTo>
                  <a:cubicBezTo>
                    <a:pt x="4552" y="1612"/>
                    <a:pt x="4535" y="1647"/>
                    <a:pt x="4500" y="1694"/>
                  </a:cubicBezTo>
                  <a:cubicBezTo>
                    <a:pt x="4471" y="1740"/>
                    <a:pt x="4436" y="1763"/>
                    <a:pt x="4436" y="1816"/>
                  </a:cubicBezTo>
                  <a:cubicBezTo>
                    <a:pt x="4436" y="1886"/>
                    <a:pt x="4453" y="1926"/>
                    <a:pt x="4459" y="1991"/>
                  </a:cubicBezTo>
                  <a:cubicBezTo>
                    <a:pt x="4459" y="2031"/>
                    <a:pt x="4442" y="2060"/>
                    <a:pt x="4471" y="2089"/>
                  </a:cubicBezTo>
                  <a:cubicBezTo>
                    <a:pt x="4488" y="2113"/>
                    <a:pt x="4552" y="2095"/>
                    <a:pt x="4552" y="2130"/>
                  </a:cubicBezTo>
                  <a:cubicBezTo>
                    <a:pt x="4552" y="2206"/>
                    <a:pt x="4482" y="2241"/>
                    <a:pt x="4412" y="2282"/>
                  </a:cubicBezTo>
                  <a:cubicBezTo>
                    <a:pt x="4360" y="2311"/>
                    <a:pt x="4337" y="2346"/>
                    <a:pt x="4273" y="2357"/>
                  </a:cubicBezTo>
                  <a:cubicBezTo>
                    <a:pt x="4249" y="2363"/>
                    <a:pt x="4255" y="2392"/>
                    <a:pt x="4238" y="2404"/>
                  </a:cubicBezTo>
                  <a:cubicBezTo>
                    <a:pt x="4244" y="2421"/>
                    <a:pt x="4255" y="2427"/>
                    <a:pt x="4255" y="2450"/>
                  </a:cubicBezTo>
                  <a:cubicBezTo>
                    <a:pt x="4255" y="2474"/>
                    <a:pt x="4232" y="2491"/>
                    <a:pt x="4209" y="2491"/>
                  </a:cubicBezTo>
                  <a:cubicBezTo>
                    <a:pt x="4203" y="2491"/>
                    <a:pt x="4197" y="2497"/>
                    <a:pt x="4186" y="2497"/>
                  </a:cubicBezTo>
                  <a:cubicBezTo>
                    <a:pt x="4191" y="2509"/>
                    <a:pt x="4191" y="2509"/>
                    <a:pt x="4191" y="2520"/>
                  </a:cubicBezTo>
                  <a:cubicBezTo>
                    <a:pt x="4191" y="2619"/>
                    <a:pt x="4139" y="2666"/>
                    <a:pt x="4086" y="2741"/>
                  </a:cubicBezTo>
                  <a:cubicBezTo>
                    <a:pt x="4023" y="2817"/>
                    <a:pt x="3988" y="2870"/>
                    <a:pt x="3906" y="2928"/>
                  </a:cubicBezTo>
                  <a:cubicBezTo>
                    <a:pt x="3825" y="2980"/>
                    <a:pt x="3766" y="2998"/>
                    <a:pt x="3673" y="3033"/>
                  </a:cubicBezTo>
                  <a:cubicBezTo>
                    <a:pt x="3592" y="3067"/>
                    <a:pt x="3551" y="3108"/>
                    <a:pt x="3464" y="3108"/>
                  </a:cubicBezTo>
                  <a:cubicBezTo>
                    <a:pt x="3400" y="3108"/>
                    <a:pt x="3400" y="3108"/>
                    <a:pt x="3400" y="3108"/>
                  </a:cubicBezTo>
                  <a:cubicBezTo>
                    <a:pt x="3306" y="3108"/>
                    <a:pt x="3260" y="3178"/>
                    <a:pt x="3167" y="3178"/>
                  </a:cubicBezTo>
                  <a:cubicBezTo>
                    <a:pt x="3103" y="3178"/>
                    <a:pt x="3074" y="3126"/>
                    <a:pt x="3010" y="3126"/>
                  </a:cubicBezTo>
                  <a:cubicBezTo>
                    <a:pt x="2998" y="3126"/>
                    <a:pt x="2998" y="3132"/>
                    <a:pt x="2992" y="3132"/>
                  </a:cubicBezTo>
                  <a:cubicBezTo>
                    <a:pt x="2992" y="3143"/>
                    <a:pt x="2992" y="3149"/>
                    <a:pt x="2992" y="3161"/>
                  </a:cubicBezTo>
                  <a:cubicBezTo>
                    <a:pt x="2975" y="3161"/>
                    <a:pt x="2969" y="3149"/>
                    <a:pt x="2957" y="3149"/>
                  </a:cubicBezTo>
                  <a:cubicBezTo>
                    <a:pt x="2887" y="3149"/>
                    <a:pt x="2882" y="3225"/>
                    <a:pt x="2829" y="3271"/>
                  </a:cubicBezTo>
                  <a:cubicBezTo>
                    <a:pt x="2777" y="3312"/>
                    <a:pt x="2730" y="3324"/>
                    <a:pt x="2666" y="3324"/>
                  </a:cubicBezTo>
                  <a:cubicBezTo>
                    <a:pt x="2619" y="3324"/>
                    <a:pt x="2619" y="3324"/>
                    <a:pt x="2619" y="3324"/>
                  </a:cubicBezTo>
                  <a:cubicBezTo>
                    <a:pt x="2550" y="3341"/>
                    <a:pt x="2497" y="3341"/>
                    <a:pt x="2433" y="3376"/>
                  </a:cubicBezTo>
                  <a:cubicBezTo>
                    <a:pt x="2387" y="3405"/>
                    <a:pt x="2375" y="3440"/>
                    <a:pt x="2334" y="3469"/>
                  </a:cubicBezTo>
                  <a:cubicBezTo>
                    <a:pt x="2264" y="3522"/>
                    <a:pt x="2206" y="3539"/>
                    <a:pt x="2119" y="3539"/>
                  </a:cubicBezTo>
                  <a:cubicBezTo>
                    <a:pt x="2072" y="3539"/>
                    <a:pt x="2055" y="3481"/>
                    <a:pt x="2002" y="3481"/>
                  </a:cubicBezTo>
                  <a:cubicBezTo>
                    <a:pt x="1944" y="3481"/>
                    <a:pt x="1915" y="3527"/>
                    <a:pt x="1863" y="3527"/>
                  </a:cubicBezTo>
                  <a:cubicBezTo>
                    <a:pt x="1845" y="3527"/>
                    <a:pt x="1839" y="3522"/>
                    <a:pt x="1828" y="3522"/>
                  </a:cubicBezTo>
                  <a:cubicBezTo>
                    <a:pt x="1828" y="3516"/>
                    <a:pt x="1857" y="3411"/>
                    <a:pt x="1839" y="3446"/>
                  </a:cubicBezTo>
                  <a:cubicBezTo>
                    <a:pt x="1775" y="3533"/>
                    <a:pt x="1705" y="3556"/>
                    <a:pt x="1607" y="3603"/>
                  </a:cubicBezTo>
                  <a:cubicBezTo>
                    <a:pt x="1589" y="3591"/>
                    <a:pt x="1589" y="3591"/>
                    <a:pt x="1589" y="3591"/>
                  </a:cubicBezTo>
                  <a:cubicBezTo>
                    <a:pt x="1572" y="3615"/>
                    <a:pt x="1577" y="3644"/>
                    <a:pt x="1554" y="3656"/>
                  </a:cubicBezTo>
                  <a:cubicBezTo>
                    <a:pt x="1508" y="3685"/>
                    <a:pt x="1455" y="3679"/>
                    <a:pt x="1420" y="3719"/>
                  </a:cubicBezTo>
                  <a:cubicBezTo>
                    <a:pt x="1356" y="3784"/>
                    <a:pt x="1333" y="3830"/>
                    <a:pt x="1263" y="3888"/>
                  </a:cubicBezTo>
                  <a:cubicBezTo>
                    <a:pt x="1164" y="3976"/>
                    <a:pt x="1088" y="3999"/>
                    <a:pt x="960" y="4028"/>
                  </a:cubicBezTo>
                  <a:cubicBezTo>
                    <a:pt x="925" y="4040"/>
                    <a:pt x="914" y="4075"/>
                    <a:pt x="879" y="4075"/>
                  </a:cubicBezTo>
                  <a:cubicBezTo>
                    <a:pt x="867" y="4075"/>
                    <a:pt x="856" y="4075"/>
                    <a:pt x="844" y="4075"/>
                  </a:cubicBezTo>
                  <a:cubicBezTo>
                    <a:pt x="821" y="4110"/>
                    <a:pt x="826" y="4145"/>
                    <a:pt x="803" y="4179"/>
                  </a:cubicBezTo>
                  <a:cubicBezTo>
                    <a:pt x="780" y="4220"/>
                    <a:pt x="751" y="4238"/>
                    <a:pt x="739" y="4284"/>
                  </a:cubicBezTo>
                  <a:cubicBezTo>
                    <a:pt x="727" y="4342"/>
                    <a:pt x="733" y="4389"/>
                    <a:pt x="687" y="4424"/>
                  </a:cubicBezTo>
                  <a:cubicBezTo>
                    <a:pt x="681" y="4412"/>
                    <a:pt x="669" y="4406"/>
                    <a:pt x="658" y="4401"/>
                  </a:cubicBezTo>
                  <a:cubicBezTo>
                    <a:pt x="646" y="4430"/>
                    <a:pt x="623" y="4436"/>
                    <a:pt x="593" y="4447"/>
                  </a:cubicBezTo>
                  <a:cubicBezTo>
                    <a:pt x="588" y="4436"/>
                    <a:pt x="582" y="4424"/>
                    <a:pt x="582" y="4406"/>
                  </a:cubicBezTo>
                  <a:cubicBezTo>
                    <a:pt x="582" y="4383"/>
                    <a:pt x="593" y="4371"/>
                    <a:pt x="593" y="4342"/>
                  </a:cubicBezTo>
                  <a:cubicBezTo>
                    <a:pt x="559" y="4249"/>
                    <a:pt x="559" y="4249"/>
                    <a:pt x="559" y="4249"/>
                  </a:cubicBezTo>
                  <a:cubicBezTo>
                    <a:pt x="564" y="4232"/>
                    <a:pt x="564" y="4226"/>
                    <a:pt x="564" y="4208"/>
                  </a:cubicBezTo>
                  <a:cubicBezTo>
                    <a:pt x="553" y="4139"/>
                    <a:pt x="553" y="4139"/>
                    <a:pt x="553" y="4139"/>
                  </a:cubicBezTo>
                  <a:cubicBezTo>
                    <a:pt x="559" y="4121"/>
                    <a:pt x="582" y="4110"/>
                    <a:pt x="582" y="4086"/>
                  </a:cubicBezTo>
                  <a:cubicBezTo>
                    <a:pt x="582" y="4080"/>
                    <a:pt x="576" y="4069"/>
                    <a:pt x="570" y="4069"/>
                  </a:cubicBezTo>
                  <a:cubicBezTo>
                    <a:pt x="524" y="4069"/>
                    <a:pt x="512" y="4121"/>
                    <a:pt x="495" y="4162"/>
                  </a:cubicBezTo>
                  <a:cubicBezTo>
                    <a:pt x="477" y="4208"/>
                    <a:pt x="466" y="4238"/>
                    <a:pt x="442" y="4278"/>
                  </a:cubicBezTo>
                  <a:cubicBezTo>
                    <a:pt x="425" y="4319"/>
                    <a:pt x="425" y="4342"/>
                    <a:pt x="413" y="4377"/>
                  </a:cubicBezTo>
                  <a:cubicBezTo>
                    <a:pt x="396" y="4424"/>
                    <a:pt x="372" y="4447"/>
                    <a:pt x="372" y="4494"/>
                  </a:cubicBezTo>
                  <a:cubicBezTo>
                    <a:pt x="372" y="4581"/>
                    <a:pt x="442" y="4622"/>
                    <a:pt x="442" y="4709"/>
                  </a:cubicBezTo>
                  <a:cubicBezTo>
                    <a:pt x="442" y="4732"/>
                    <a:pt x="419" y="4738"/>
                    <a:pt x="419" y="4762"/>
                  </a:cubicBezTo>
                  <a:cubicBezTo>
                    <a:pt x="419" y="4797"/>
                    <a:pt x="425" y="4814"/>
                    <a:pt x="425" y="4843"/>
                  </a:cubicBezTo>
                  <a:cubicBezTo>
                    <a:pt x="425" y="4925"/>
                    <a:pt x="372" y="4960"/>
                    <a:pt x="332" y="5035"/>
                  </a:cubicBezTo>
                  <a:cubicBezTo>
                    <a:pt x="267" y="5157"/>
                    <a:pt x="233" y="5239"/>
                    <a:pt x="233" y="5379"/>
                  </a:cubicBezTo>
                  <a:cubicBezTo>
                    <a:pt x="233" y="5524"/>
                    <a:pt x="384" y="5582"/>
                    <a:pt x="361" y="5728"/>
                  </a:cubicBezTo>
                  <a:cubicBezTo>
                    <a:pt x="361" y="5757"/>
                    <a:pt x="361" y="5786"/>
                    <a:pt x="390" y="5804"/>
                  </a:cubicBezTo>
                  <a:cubicBezTo>
                    <a:pt x="413" y="5815"/>
                    <a:pt x="436" y="5821"/>
                    <a:pt x="448" y="5844"/>
                  </a:cubicBezTo>
                  <a:cubicBezTo>
                    <a:pt x="477" y="5926"/>
                    <a:pt x="477" y="5984"/>
                    <a:pt x="530" y="6054"/>
                  </a:cubicBezTo>
                  <a:cubicBezTo>
                    <a:pt x="564" y="6095"/>
                    <a:pt x="576" y="6124"/>
                    <a:pt x="611" y="6159"/>
                  </a:cubicBezTo>
                  <a:cubicBezTo>
                    <a:pt x="629" y="6188"/>
                    <a:pt x="658" y="6199"/>
                    <a:pt x="658" y="6229"/>
                  </a:cubicBezTo>
                  <a:cubicBezTo>
                    <a:pt x="658" y="6234"/>
                    <a:pt x="646" y="6240"/>
                    <a:pt x="646" y="6246"/>
                  </a:cubicBezTo>
                  <a:cubicBezTo>
                    <a:pt x="646" y="6258"/>
                    <a:pt x="652" y="6264"/>
                    <a:pt x="652" y="6275"/>
                  </a:cubicBezTo>
                  <a:cubicBezTo>
                    <a:pt x="652" y="6281"/>
                    <a:pt x="634" y="6281"/>
                    <a:pt x="634" y="6287"/>
                  </a:cubicBezTo>
                  <a:cubicBezTo>
                    <a:pt x="629" y="6310"/>
                    <a:pt x="634" y="6322"/>
                    <a:pt x="634" y="6339"/>
                  </a:cubicBezTo>
                  <a:cubicBezTo>
                    <a:pt x="629" y="6357"/>
                    <a:pt x="611" y="6362"/>
                    <a:pt x="611" y="6386"/>
                  </a:cubicBezTo>
                  <a:cubicBezTo>
                    <a:pt x="611" y="6409"/>
                    <a:pt x="629" y="6421"/>
                    <a:pt x="629" y="6444"/>
                  </a:cubicBezTo>
                  <a:cubicBezTo>
                    <a:pt x="629" y="6479"/>
                    <a:pt x="599" y="6520"/>
                    <a:pt x="559" y="6520"/>
                  </a:cubicBezTo>
                  <a:cubicBezTo>
                    <a:pt x="524" y="6520"/>
                    <a:pt x="530" y="6473"/>
                    <a:pt x="512" y="6444"/>
                  </a:cubicBezTo>
                  <a:cubicBezTo>
                    <a:pt x="495" y="6409"/>
                    <a:pt x="471" y="6397"/>
                    <a:pt x="460" y="6362"/>
                  </a:cubicBezTo>
                  <a:cubicBezTo>
                    <a:pt x="448" y="6362"/>
                    <a:pt x="448" y="6362"/>
                    <a:pt x="448" y="6362"/>
                  </a:cubicBezTo>
                  <a:cubicBezTo>
                    <a:pt x="425" y="6386"/>
                    <a:pt x="396" y="6397"/>
                    <a:pt x="355" y="6351"/>
                  </a:cubicBezTo>
                  <a:cubicBezTo>
                    <a:pt x="355" y="6304"/>
                    <a:pt x="384" y="6275"/>
                    <a:pt x="384" y="6229"/>
                  </a:cubicBezTo>
                  <a:cubicBezTo>
                    <a:pt x="384" y="6194"/>
                    <a:pt x="355" y="6182"/>
                    <a:pt x="337" y="6153"/>
                  </a:cubicBezTo>
                  <a:cubicBezTo>
                    <a:pt x="308" y="6112"/>
                    <a:pt x="303" y="6089"/>
                    <a:pt x="267" y="6054"/>
                  </a:cubicBezTo>
                  <a:cubicBezTo>
                    <a:pt x="250" y="6060"/>
                    <a:pt x="250" y="6060"/>
                    <a:pt x="250" y="6060"/>
                  </a:cubicBezTo>
                  <a:cubicBezTo>
                    <a:pt x="244" y="6077"/>
                    <a:pt x="244" y="6083"/>
                    <a:pt x="244" y="6101"/>
                  </a:cubicBezTo>
                  <a:cubicBezTo>
                    <a:pt x="244" y="6135"/>
                    <a:pt x="244" y="6135"/>
                    <a:pt x="244" y="6135"/>
                  </a:cubicBezTo>
                  <a:cubicBezTo>
                    <a:pt x="244" y="6176"/>
                    <a:pt x="273" y="6188"/>
                    <a:pt x="291" y="6229"/>
                  </a:cubicBezTo>
                  <a:cubicBezTo>
                    <a:pt x="308" y="6281"/>
                    <a:pt x="308" y="6316"/>
                    <a:pt x="343" y="6362"/>
                  </a:cubicBezTo>
                  <a:cubicBezTo>
                    <a:pt x="367" y="6403"/>
                    <a:pt x="401" y="6409"/>
                    <a:pt x="442" y="6438"/>
                  </a:cubicBezTo>
                  <a:cubicBezTo>
                    <a:pt x="471" y="6461"/>
                    <a:pt x="466" y="6502"/>
                    <a:pt x="466" y="6543"/>
                  </a:cubicBezTo>
                  <a:cubicBezTo>
                    <a:pt x="466" y="6566"/>
                    <a:pt x="448" y="6578"/>
                    <a:pt x="436" y="6595"/>
                  </a:cubicBezTo>
                  <a:cubicBezTo>
                    <a:pt x="413" y="6619"/>
                    <a:pt x="407" y="6648"/>
                    <a:pt x="378" y="6648"/>
                  </a:cubicBezTo>
                  <a:cubicBezTo>
                    <a:pt x="361" y="6648"/>
                    <a:pt x="355" y="6630"/>
                    <a:pt x="343" y="6624"/>
                  </a:cubicBezTo>
                  <a:cubicBezTo>
                    <a:pt x="320" y="6613"/>
                    <a:pt x="291" y="6607"/>
                    <a:pt x="291" y="6584"/>
                  </a:cubicBezTo>
                  <a:cubicBezTo>
                    <a:pt x="291" y="6560"/>
                    <a:pt x="297" y="6549"/>
                    <a:pt x="297" y="6525"/>
                  </a:cubicBezTo>
                  <a:cubicBezTo>
                    <a:pt x="279" y="6514"/>
                    <a:pt x="262" y="6508"/>
                    <a:pt x="250" y="6490"/>
                  </a:cubicBezTo>
                  <a:cubicBezTo>
                    <a:pt x="256" y="6473"/>
                    <a:pt x="262" y="6461"/>
                    <a:pt x="262" y="6444"/>
                  </a:cubicBezTo>
                  <a:cubicBezTo>
                    <a:pt x="262" y="6421"/>
                    <a:pt x="250" y="6403"/>
                    <a:pt x="233" y="6392"/>
                  </a:cubicBezTo>
                  <a:cubicBezTo>
                    <a:pt x="215" y="6392"/>
                    <a:pt x="215" y="6392"/>
                    <a:pt x="215" y="6392"/>
                  </a:cubicBezTo>
                  <a:cubicBezTo>
                    <a:pt x="215" y="6421"/>
                    <a:pt x="215" y="6421"/>
                    <a:pt x="215" y="6421"/>
                  </a:cubicBezTo>
                  <a:cubicBezTo>
                    <a:pt x="227" y="6461"/>
                    <a:pt x="227" y="6461"/>
                    <a:pt x="227" y="6461"/>
                  </a:cubicBezTo>
                  <a:cubicBezTo>
                    <a:pt x="227" y="6502"/>
                    <a:pt x="227" y="6502"/>
                    <a:pt x="227" y="6502"/>
                  </a:cubicBezTo>
                  <a:cubicBezTo>
                    <a:pt x="215" y="6508"/>
                    <a:pt x="215" y="6508"/>
                    <a:pt x="215" y="6508"/>
                  </a:cubicBezTo>
                  <a:cubicBezTo>
                    <a:pt x="209" y="6490"/>
                    <a:pt x="204" y="6473"/>
                    <a:pt x="186" y="6461"/>
                  </a:cubicBezTo>
                  <a:cubicBezTo>
                    <a:pt x="180" y="6461"/>
                    <a:pt x="180" y="6461"/>
                    <a:pt x="180" y="6461"/>
                  </a:cubicBezTo>
                  <a:cubicBezTo>
                    <a:pt x="186" y="6496"/>
                    <a:pt x="215" y="6502"/>
                    <a:pt x="238" y="6537"/>
                  </a:cubicBezTo>
                  <a:cubicBezTo>
                    <a:pt x="273" y="6601"/>
                    <a:pt x="308" y="6630"/>
                    <a:pt x="355" y="6688"/>
                  </a:cubicBezTo>
                  <a:cubicBezTo>
                    <a:pt x="407" y="6747"/>
                    <a:pt x="419" y="6787"/>
                    <a:pt x="454" y="6851"/>
                  </a:cubicBezTo>
                  <a:cubicBezTo>
                    <a:pt x="524" y="6956"/>
                    <a:pt x="570" y="7020"/>
                    <a:pt x="582" y="7148"/>
                  </a:cubicBezTo>
                  <a:cubicBezTo>
                    <a:pt x="588" y="7148"/>
                    <a:pt x="593" y="7148"/>
                    <a:pt x="599" y="7148"/>
                  </a:cubicBezTo>
                  <a:cubicBezTo>
                    <a:pt x="605" y="7160"/>
                    <a:pt x="605" y="7160"/>
                    <a:pt x="605" y="7160"/>
                  </a:cubicBezTo>
                  <a:cubicBezTo>
                    <a:pt x="570" y="7195"/>
                    <a:pt x="576" y="7230"/>
                    <a:pt x="576" y="7276"/>
                  </a:cubicBezTo>
                  <a:cubicBezTo>
                    <a:pt x="576" y="7335"/>
                    <a:pt x="570" y="7375"/>
                    <a:pt x="599" y="7428"/>
                  </a:cubicBezTo>
                  <a:cubicBezTo>
                    <a:pt x="611" y="7445"/>
                    <a:pt x="634" y="7439"/>
                    <a:pt x="646" y="7457"/>
                  </a:cubicBezTo>
                  <a:cubicBezTo>
                    <a:pt x="669" y="7479"/>
                    <a:pt x="669" y="7497"/>
                    <a:pt x="687" y="7520"/>
                  </a:cubicBezTo>
                  <a:cubicBezTo>
                    <a:pt x="733" y="7578"/>
                    <a:pt x="768" y="7607"/>
                    <a:pt x="786" y="7677"/>
                  </a:cubicBezTo>
                  <a:cubicBezTo>
                    <a:pt x="815" y="7747"/>
                    <a:pt x="803" y="7793"/>
                    <a:pt x="838" y="7858"/>
                  </a:cubicBezTo>
                  <a:cubicBezTo>
                    <a:pt x="861" y="7898"/>
                    <a:pt x="896" y="7904"/>
                    <a:pt x="925" y="7939"/>
                  </a:cubicBezTo>
                  <a:cubicBezTo>
                    <a:pt x="989" y="8026"/>
                    <a:pt x="995" y="8096"/>
                    <a:pt x="995" y="8207"/>
                  </a:cubicBezTo>
                  <a:cubicBezTo>
                    <a:pt x="995" y="8242"/>
                    <a:pt x="978" y="8265"/>
                    <a:pt x="978" y="8306"/>
                  </a:cubicBezTo>
                  <a:cubicBezTo>
                    <a:pt x="978" y="8393"/>
                    <a:pt x="978" y="8393"/>
                    <a:pt x="978" y="8393"/>
                  </a:cubicBezTo>
                  <a:cubicBezTo>
                    <a:pt x="978" y="8416"/>
                    <a:pt x="972" y="8434"/>
                    <a:pt x="972" y="8463"/>
                  </a:cubicBezTo>
                  <a:cubicBezTo>
                    <a:pt x="972" y="8498"/>
                    <a:pt x="995" y="8510"/>
                    <a:pt x="1001" y="8539"/>
                  </a:cubicBezTo>
                  <a:cubicBezTo>
                    <a:pt x="1024" y="8608"/>
                    <a:pt x="1013" y="8649"/>
                    <a:pt x="1024" y="8719"/>
                  </a:cubicBezTo>
                  <a:cubicBezTo>
                    <a:pt x="1042" y="8824"/>
                    <a:pt x="1083" y="8876"/>
                    <a:pt x="1129" y="8969"/>
                  </a:cubicBezTo>
                  <a:cubicBezTo>
                    <a:pt x="1199" y="9092"/>
                    <a:pt x="1228" y="9167"/>
                    <a:pt x="1281" y="9295"/>
                  </a:cubicBezTo>
                  <a:cubicBezTo>
                    <a:pt x="1310" y="9360"/>
                    <a:pt x="1356" y="9389"/>
                    <a:pt x="1356" y="9458"/>
                  </a:cubicBezTo>
                  <a:cubicBezTo>
                    <a:pt x="1356" y="9534"/>
                    <a:pt x="1356" y="9534"/>
                    <a:pt x="1356" y="9534"/>
                  </a:cubicBezTo>
                  <a:cubicBezTo>
                    <a:pt x="1356" y="9546"/>
                    <a:pt x="1350" y="9552"/>
                    <a:pt x="1350" y="9563"/>
                  </a:cubicBezTo>
                  <a:cubicBezTo>
                    <a:pt x="1350" y="9604"/>
                    <a:pt x="1368" y="9627"/>
                    <a:pt x="1368" y="9674"/>
                  </a:cubicBezTo>
                  <a:cubicBezTo>
                    <a:pt x="1368" y="9703"/>
                    <a:pt x="1362" y="9720"/>
                    <a:pt x="1350" y="9744"/>
                  </a:cubicBezTo>
                  <a:cubicBezTo>
                    <a:pt x="1362" y="9784"/>
                    <a:pt x="1362" y="9784"/>
                    <a:pt x="1362" y="9784"/>
                  </a:cubicBezTo>
                  <a:cubicBezTo>
                    <a:pt x="1350" y="9819"/>
                    <a:pt x="1356" y="9843"/>
                    <a:pt x="1345" y="9872"/>
                  </a:cubicBezTo>
                  <a:cubicBezTo>
                    <a:pt x="1339" y="9883"/>
                    <a:pt x="1321" y="9883"/>
                    <a:pt x="1310" y="9889"/>
                  </a:cubicBezTo>
                  <a:cubicBezTo>
                    <a:pt x="1292" y="9907"/>
                    <a:pt x="1292" y="9930"/>
                    <a:pt x="1286" y="9959"/>
                  </a:cubicBezTo>
                  <a:cubicBezTo>
                    <a:pt x="1327" y="10209"/>
                    <a:pt x="1327" y="10209"/>
                    <a:pt x="1327" y="10209"/>
                  </a:cubicBezTo>
                  <a:cubicBezTo>
                    <a:pt x="1327" y="10291"/>
                    <a:pt x="1304" y="10338"/>
                    <a:pt x="1263" y="10413"/>
                  </a:cubicBezTo>
                  <a:cubicBezTo>
                    <a:pt x="1228" y="10483"/>
                    <a:pt x="1187" y="10535"/>
                    <a:pt x="1106" y="10535"/>
                  </a:cubicBezTo>
                  <a:cubicBezTo>
                    <a:pt x="1065" y="10535"/>
                    <a:pt x="1053" y="10495"/>
                    <a:pt x="1013" y="10471"/>
                  </a:cubicBezTo>
                  <a:cubicBezTo>
                    <a:pt x="1013" y="10518"/>
                    <a:pt x="1013" y="10518"/>
                    <a:pt x="1013" y="10518"/>
                  </a:cubicBezTo>
                  <a:cubicBezTo>
                    <a:pt x="1013" y="10541"/>
                    <a:pt x="1001" y="10547"/>
                    <a:pt x="1001" y="10564"/>
                  </a:cubicBezTo>
                  <a:cubicBezTo>
                    <a:pt x="1001" y="10704"/>
                    <a:pt x="1001" y="10704"/>
                    <a:pt x="1001" y="10704"/>
                  </a:cubicBezTo>
                  <a:cubicBezTo>
                    <a:pt x="1001" y="10751"/>
                    <a:pt x="1013" y="10780"/>
                    <a:pt x="1024" y="10827"/>
                  </a:cubicBezTo>
                  <a:cubicBezTo>
                    <a:pt x="1036" y="10873"/>
                    <a:pt x="1036" y="10902"/>
                    <a:pt x="1071" y="10931"/>
                  </a:cubicBezTo>
                  <a:cubicBezTo>
                    <a:pt x="1077" y="10914"/>
                    <a:pt x="1083" y="10902"/>
                    <a:pt x="1094" y="10885"/>
                  </a:cubicBezTo>
                  <a:cubicBezTo>
                    <a:pt x="1199" y="10925"/>
                    <a:pt x="1263" y="10954"/>
                    <a:pt x="1345" y="11036"/>
                  </a:cubicBezTo>
                  <a:cubicBezTo>
                    <a:pt x="1391" y="11083"/>
                    <a:pt x="1438" y="11100"/>
                    <a:pt x="1461" y="11158"/>
                  </a:cubicBezTo>
                  <a:cubicBezTo>
                    <a:pt x="1478" y="11187"/>
                    <a:pt x="1461" y="11211"/>
                    <a:pt x="1484" y="11228"/>
                  </a:cubicBezTo>
                  <a:cubicBezTo>
                    <a:pt x="1519" y="11251"/>
                    <a:pt x="1548" y="11234"/>
                    <a:pt x="1583" y="11246"/>
                  </a:cubicBezTo>
                  <a:cubicBezTo>
                    <a:pt x="1671" y="11275"/>
                    <a:pt x="1717" y="11298"/>
                    <a:pt x="1793" y="11345"/>
                  </a:cubicBezTo>
                  <a:cubicBezTo>
                    <a:pt x="1799" y="11327"/>
                    <a:pt x="1804" y="11316"/>
                    <a:pt x="1810" y="11298"/>
                  </a:cubicBezTo>
                  <a:cubicBezTo>
                    <a:pt x="1909" y="11345"/>
                    <a:pt x="1909" y="11345"/>
                    <a:pt x="1909" y="11345"/>
                  </a:cubicBezTo>
                  <a:cubicBezTo>
                    <a:pt x="1927" y="11333"/>
                    <a:pt x="1933" y="11316"/>
                    <a:pt x="1944" y="11298"/>
                  </a:cubicBezTo>
                  <a:cubicBezTo>
                    <a:pt x="1967" y="11316"/>
                    <a:pt x="1985" y="11327"/>
                    <a:pt x="2014" y="11327"/>
                  </a:cubicBezTo>
                  <a:cubicBezTo>
                    <a:pt x="2043" y="11327"/>
                    <a:pt x="2061" y="11333"/>
                    <a:pt x="2090" y="11333"/>
                  </a:cubicBezTo>
                  <a:cubicBezTo>
                    <a:pt x="2107" y="11333"/>
                    <a:pt x="2113" y="11310"/>
                    <a:pt x="2136" y="11310"/>
                  </a:cubicBezTo>
                  <a:cubicBezTo>
                    <a:pt x="2154" y="11310"/>
                    <a:pt x="2165" y="11316"/>
                    <a:pt x="2183" y="11310"/>
                  </a:cubicBezTo>
                  <a:cubicBezTo>
                    <a:pt x="2183" y="11321"/>
                    <a:pt x="2177" y="11327"/>
                    <a:pt x="2177" y="11339"/>
                  </a:cubicBezTo>
                  <a:cubicBezTo>
                    <a:pt x="2177" y="11350"/>
                    <a:pt x="2194" y="11345"/>
                    <a:pt x="2206" y="11350"/>
                  </a:cubicBezTo>
                  <a:cubicBezTo>
                    <a:pt x="2224" y="11356"/>
                    <a:pt x="2235" y="11374"/>
                    <a:pt x="2259" y="11374"/>
                  </a:cubicBezTo>
                  <a:cubicBezTo>
                    <a:pt x="2282" y="11374"/>
                    <a:pt x="2282" y="11333"/>
                    <a:pt x="2305" y="11333"/>
                  </a:cubicBezTo>
                  <a:cubicBezTo>
                    <a:pt x="2346" y="11333"/>
                    <a:pt x="2363" y="11374"/>
                    <a:pt x="2404" y="11379"/>
                  </a:cubicBezTo>
                  <a:cubicBezTo>
                    <a:pt x="2404" y="11316"/>
                    <a:pt x="2474" y="11304"/>
                    <a:pt x="2532" y="11269"/>
                  </a:cubicBezTo>
                  <a:cubicBezTo>
                    <a:pt x="2567" y="11251"/>
                    <a:pt x="2590" y="11251"/>
                    <a:pt x="2625" y="11228"/>
                  </a:cubicBezTo>
                  <a:cubicBezTo>
                    <a:pt x="2649" y="11211"/>
                    <a:pt x="2643" y="11182"/>
                    <a:pt x="2672" y="11170"/>
                  </a:cubicBezTo>
                  <a:cubicBezTo>
                    <a:pt x="2695" y="11153"/>
                    <a:pt x="2701" y="11135"/>
                    <a:pt x="2730" y="11123"/>
                  </a:cubicBezTo>
                  <a:cubicBezTo>
                    <a:pt x="2759" y="11112"/>
                    <a:pt x="2782" y="11117"/>
                    <a:pt x="2806" y="11094"/>
                  </a:cubicBezTo>
                  <a:cubicBezTo>
                    <a:pt x="2817" y="11083"/>
                    <a:pt x="2806" y="11059"/>
                    <a:pt x="2817" y="11042"/>
                  </a:cubicBezTo>
                  <a:cubicBezTo>
                    <a:pt x="2847" y="10995"/>
                    <a:pt x="2899" y="10995"/>
                    <a:pt x="2951" y="10995"/>
                  </a:cubicBezTo>
                  <a:cubicBezTo>
                    <a:pt x="2992" y="10995"/>
                    <a:pt x="3010" y="11013"/>
                    <a:pt x="3050" y="11019"/>
                  </a:cubicBezTo>
                  <a:cubicBezTo>
                    <a:pt x="3056" y="10995"/>
                    <a:pt x="3079" y="10995"/>
                    <a:pt x="3103" y="10990"/>
                  </a:cubicBezTo>
                  <a:cubicBezTo>
                    <a:pt x="3184" y="10827"/>
                    <a:pt x="3271" y="10687"/>
                    <a:pt x="3452" y="10687"/>
                  </a:cubicBezTo>
                  <a:cubicBezTo>
                    <a:pt x="3469" y="10687"/>
                    <a:pt x="3475" y="10698"/>
                    <a:pt x="3487" y="10698"/>
                  </a:cubicBezTo>
                  <a:cubicBezTo>
                    <a:pt x="3510" y="10698"/>
                    <a:pt x="3516" y="10687"/>
                    <a:pt x="3539" y="10687"/>
                  </a:cubicBezTo>
                  <a:cubicBezTo>
                    <a:pt x="3574" y="10687"/>
                    <a:pt x="3592" y="10704"/>
                    <a:pt x="3627" y="10704"/>
                  </a:cubicBezTo>
                  <a:cubicBezTo>
                    <a:pt x="3656" y="10704"/>
                    <a:pt x="3650" y="10664"/>
                    <a:pt x="3679" y="10658"/>
                  </a:cubicBezTo>
                  <a:cubicBezTo>
                    <a:pt x="3731" y="10646"/>
                    <a:pt x="3766" y="10646"/>
                    <a:pt x="3825" y="10646"/>
                  </a:cubicBezTo>
                  <a:cubicBezTo>
                    <a:pt x="3918" y="10646"/>
                    <a:pt x="3918" y="10646"/>
                    <a:pt x="3918" y="10646"/>
                  </a:cubicBezTo>
                  <a:cubicBezTo>
                    <a:pt x="3982" y="10646"/>
                    <a:pt x="4017" y="10617"/>
                    <a:pt x="4081" y="10617"/>
                  </a:cubicBezTo>
                  <a:cubicBezTo>
                    <a:pt x="4162" y="10617"/>
                    <a:pt x="4203" y="10664"/>
                    <a:pt x="4285" y="10664"/>
                  </a:cubicBezTo>
                  <a:cubicBezTo>
                    <a:pt x="4314" y="10664"/>
                    <a:pt x="4325" y="10640"/>
                    <a:pt x="4354" y="10640"/>
                  </a:cubicBezTo>
                  <a:cubicBezTo>
                    <a:pt x="4383" y="10640"/>
                    <a:pt x="4401" y="10652"/>
                    <a:pt x="4418" y="10681"/>
                  </a:cubicBezTo>
                  <a:cubicBezTo>
                    <a:pt x="4424" y="10698"/>
                    <a:pt x="4424" y="10722"/>
                    <a:pt x="4442" y="10722"/>
                  </a:cubicBezTo>
                  <a:cubicBezTo>
                    <a:pt x="4465" y="10722"/>
                    <a:pt x="4482" y="10727"/>
                    <a:pt x="4500" y="10716"/>
                  </a:cubicBezTo>
                  <a:cubicBezTo>
                    <a:pt x="4523" y="10704"/>
                    <a:pt x="4523" y="10664"/>
                    <a:pt x="4552" y="10664"/>
                  </a:cubicBezTo>
                  <a:cubicBezTo>
                    <a:pt x="4581" y="10664"/>
                    <a:pt x="4593" y="10687"/>
                    <a:pt x="4622" y="10687"/>
                  </a:cubicBezTo>
                  <a:cubicBezTo>
                    <a:pt x="4640" y="10687"/>
                    <a:pt x="4645" y="10675"/>
                    <a:pt x="4657" y="10669"/>
                  </a:cubicBezTo>
                  <a:cubicBezTo>
                    <a:pt x="4709" y="10669"/>
                    <a:pt x="4709" y="10669"/>
                    <a:pt x="4709" y="10669"/>
                  </a:cubicBezTo>
                  <a:cubicBezTo>
                    <a:pt x="4768" y="10669"/>
                    <a:pt x="4797" y="10658"/>
                    <a:pt x="4855" y="10658"/>
                  </a:cubicBezTo>
                  <a:cubicBezTo>
                    <a:pt x="4902" y="10658"/>
                    <a:pt x="4907" y="10722"/>
                    <a:pt x="4954" y="10722"/>
                  </a:cubicBezTo>
                  <a:cubicBezTo>
                    <a:pt x="5012" y="10722"/>
                    <a:pt x="5041" y="10693"/>
                    <a:pt x="5094" y="10664"/>
                  </a:cubicBezTo>
                  <a:cubicBezTo>
                    <a:pt x="5117" y="10652"/>
                    <a:pt x="5134" y="10652"/>
                    <a:pt x="5164" y="10646"/>
                  </a:cubicBezTo>
                  <a:cubicBezTo>
                    <a:pt x="5187" y="10640"/>
                    <a:pt x="5210" y="10640"/>
                    <a:pt x="5210" y="10623"/>
                  </a:cubicBezTo>
                  <a:cubicBezTo>
                    <a:pt x="5210" y="10605"/>
                    <a:pt x="5198" y="10599"/>
                    <a:pt x="5198" y="10582"/>
                  </a:cubicBezTo>
                  <a:cubicBezTo>
                    <a:pt x="5198" y="10518"/>
                    <a:pt x="5280" y="10518"/>
                    <a:pt x="5315" y="10465"/>
                  </a:cubicBezTo>
                  <a:cubicBezTo>
                    <a:pt x="5350" y="10413"/>
                    <a:pt x="5344" y="10372"/>
                    <a:pt x="5356" y="10314"/>
                  </a:cubicBezTo>
                  <a:cubicBezTo>
                    <a:pt x="5373" y="10244"/>
                    <a:pt x="5396" y="10204"/>
                    <a:pt x="5455" y="10169"/>
                  </a:cubicBezTo>
                  <a:cubicBezTo>
                    <a:pt x="5507" y="10139"/>
                    <a:pt x="5530" y="10105"/>
                    <a:pt x="5583" y="10105"/>
                  </a:cubicBezTo>
                  <a:cubicBezTo>
                    <a:pt x="5635" y="10105"/>
                    <a:pt x="5635" y="10105"/>
                    <a:pt x="5635" y="10105"/>
                  </a:cubicBezTo>
                  <a:cubicBezTo>
                    <a:pt x="5693" y="10105"/>
                    <a:pt x="5717" y="10070"/>
                    <a:pt x="5763" y="10041"/>
                  </a:cubicBezTo>
                  <a:cubicBezTo>
                    <a:pt x="5856" y="9982"/>
                    <a:pt x="5909" y="9942"/>
                    <a:pt x="6013" y="9918"/>
                  </a:cubicBezTo>
                  <a:cubicBezTo>
                    <a:pt x="6153" y="9907"/>
                    <a:pt x="6188" y="9761"/>
                    <a:pt x="6322" y="9726"/>
                  </a:cubicBezTo>
                  <a:cubicBezTo>
                    <a:pt x="6345" y="9732"/>
                    <a:pt x="6345" y="9732"/>
                    <a:pt x="6345" y="9732"/>
                  </a:cubicBezTo>
                  <a:cubicBezTo>
                    <a:pt x="6363" y="9720"/>
                    <a:pt x="6375" y="9709"/>
                    <a:pt x="6398" y="9709"/>
                  </a:cubicBezTo>
                  <a:cubicBezTo>
                    <a:pt x="6485" y="9709"/>
                    <a:pt x="6526" y="9761"/>
                    <a:pt x="6607" y="9761"/>
                  </a:cubicBezTo>
                  <a:cubicBezTo>
                    <a:pt x="6764" y="9761"/>
                    <a:pt x="6852" y="9744"/>
                    <a:pt x="7009" y="9709"/>
                  </a:cubicBezTo>
                  <a:cubicBezTo>
                    <a:pt x="7079" y="9691"/>
                    <a:pt x="7108" y="9656"/>
                    <a:pt x="7178" y="9639"/>
                  </a:cubicBezTo>
                  <a:cubicBezTo>
                    <a:pt x="7300" y="9610"/>
                    <a:pt x="7364" y="9581"/>
                    <a:pt x="7481" y="9528"/>
                  </a:cubicBezTo>
                  <a:cubicBezTo>
                    <a:pt x="7585" y="9487"/>
                    <a:pt x="7626" y="9406"/>
                    <a:pt x="7737" y="9406"/>
                  </a:cubicBezTo>
                  <a:lnTo>
                    <a:pt x="7737" y="9406"/>
                  </a:lnTo>
                  <a:cubicBezTo>
                    <a:pt x="7737" y="6258"/>
                    <a:pt x="7737" y="6258"/>
                    <a:pt x="7737" y="6258"/>
                  </a:cubicBezTo>
                  <a:lnTo>
                    <a:pt x="7737" y="6258"/>
                  </a:lnTo>
                  <a:cubicBezTo>
                    <a:pt x="7713" y="576"/>
                    <a:pt x="7713" y="576"/>
                    <a:pt x="7713" y="576"/>
                  </a:cubicBezTo>
                  <a:close/>
                  <a:moveTo>
                    <a:pt x="1123" y="3580"/>
                  </a:moveTo>
                  <a:lnTo>
                    <a:pt x="1123" y="3580"/>
                  </a:lnTo>
                  <a:cubicBezTo>
                    <a:pt x="1141" y="3539"/>
                    <a:pt x="1164" y="3510"/>
                    <a:pt x="1205" y="3498"/>
                  </a:cubicBezTo>
                  <a:cubicBezTo>
                    <a:pt x="1205" y="3539"/>
                    <a:pt x="1187" y="3586"/>
                    <a:pt x="1147" y="3586"/>
                  </a:cubicBezTo>
                  <a:cubicBezTo>
                    <a:pt x="1135" y="3586"/>
                    <a:pt x="1129" y="3586"/>
                    <a:pt x="1123" y="3580"/>
                  </a:cubicBezTo>
                  <a:close/>
                  <a:moveTo>
                    <a:pt x="29" y="6019"/>
                  </a:moveTo>
                  <a:lnTo>
                    <a:pt x="29" y="6019"/>
                  </a:lnTo>
                  <a:cubicBezTo>
                    <a:pt x="23" y="6019"/>
                    <a:pt x="17" y="6013"/>
                    <a:pt x="6" y="6013"/>
                  </a:cubicBezTo>
                  <a:cubicBezTo>
                    <a:pt x="6" y="6019"/>
                    <a:pt x="0" y="6025"/>
                    <a:pt x="0" y="6036"/>
                  </a:cubicBezTo>
                  <a:cubicBezTo>
                    <a:pt x="0" y="6118"/>
                    <a:pt x="29" y="6164"/>
                    <a:pt x="70" y="6234"/>
                  </a:cubicBezTo>
                  <a:cubicBezTo>
                    <a:pt x="93" y="6275"/>
                    <a:pt x="99" y="6304"/>
                    <a:pt x="122" y="6339"/>
                  </a:cubicBezTo>
                  <a:cubicBezTo>
                    <a:pt x="116" y="6223"/>
                    <a:pt x="29" y="6170"/>
                    <a:pt x="29" y="6054"/>
                  </a:cubicBezTo>
                  <a:lnTo>
                    <a:pt x="29" y="6019"/>
                  </a:lnTo>
                  <a:close/>
                </a:path>
              </a:pathLst>
            </a:custGeom>
            <a:solidFill>
              <a:schemeClr val="accent2"/>
            </a:solidFill>
            <a:ln w="9525" cap="flat" cmpd="sng">
              <a:solidFill>
                <a:schemeClr val="bg1"/>
              </a:solidFill>
              <a:bevel/>
              <a:headEnd/>
              <a:tailEnd/>
            </a:ln>
            <a:effectLst/>
          </p:spPr>
          <p:txBody>
            <a:bodyPr wrap="none" anchor="ctr"/>
            <a:lstStyle/>
            <a:p>
              <a:pPr defTabSz="342831">
                <a:defRPr/>
              </a:pPr>
              <a:endParaRPr lang="en-US" sz="338">
                <a:latin typeface="Montserrat" charset="0"/>
              </a:endParaRPr>
            </a:p>
          </p:txBody>
        </p:sp>
        <p:sp>
          <p:nvSpPr>
            <p:cNvPr id="94" name="Freeform 93">
              <a:extLst>
                <a:ext uri="{FF2B5EF4-FFF2-40B4-BE49-F238E27FC236}">
                  <a16:creationId xmlns:a16="http://schemas.microsoft.com/office/drawing/2014/main" id="{34D2D247-E282-BC4C-8FEE-B1545E484594}"/>
                </a:ext>
              </a:extLst>
            </p:cNvPr>
            <p:cNvSpPr>
              <a:spLocks noChangeArrowheads="1"/>
            </p:cNvSpPr>
            <p:nvPr/>
          </p:nvSpPr>
          <p:spPr bwMode="auto">
            <a:xfrm>
              <a:off x="5457307" y="808834"/>
              <a:ext cx="1336926" cy="2333007"/>
            </a:xfrm>
            <a:custGeom>
              <a:avLst/>
              <a:gdLst>
                <a:gd name="T0" fmla="*/ 984 w 4355"/>
                <a:gd name="T1" fmla="*/ 157 h 7604"/>
                <a:gd name="T2" fmla="*/ 874 w 4355"/>
                <a:gd name="T3" fmla="*/ 227 h 7604"/>
                <a:gd name="T4" fmla="*/ 676 w 4355"/>
                <a:gd name="T5" fmla="*/ 59 h 7604"/>
                <a:gd name="T6" fmla="*/ 897 w 4355"/>
                <a:gd name="T7" fmla="*/ 379 h 7604"/>
                <a:gd name="T8" fmla="*/ 1171 w 4355"/>
                <a:gd name="T9" fmla="*/ 268 h 7604"/>
                <a:gd name="T10" fmla="*/ 664 w 4355"/>
                <a:gd name="T11" fmla="*/ 169 h 7604"/>
                <a:gd name="T12" fmla="*/ 781 w 4355"/>
                <a:gd name="T13" fmla="*/ 361 h 7604"/>
                <a:gd name="T14" fmla="*/ 554 w 4355"/>
                <a:gd name="T15" fmla="*/ 315 h 7604"/>
                <a:gd name="T16" fmla="*/ 571 w 4355"/>
                <a:gd name="T17" fmla="*/ 204 h 7604"/>
                <a:gd name="T18" fmla="*/ 3591 w 4355"/>
                <a:gd name="T19" fmla="*/ 1374 h 7604"/>
                <a:gd name="T20" fmla="*/ 3824 w 4355"/>
                <a:gd name="T21" fmla="*/ 1549 h 7604"/>
                <a:gd name="T22" fmla="*/ 3708 w 4355"/>
                <a:gd name="T23" fmla="*/ 1520 h 7604"/>
                <a:gd name="T24" fmla="*/ 3754 w 4355"/>
                <a:gd name="T25" fmla="*/ 1386 h 7604"/>
                <a:gd name="T26" fmla="*/ 3498 w 4355"/>
                <a:gd name="T27" fmla="*/ 1298 h 7604"/>
                <a:gd name="T28" fmla="*/ 3498 w 4355"/>
                <a:gd name="T29" fmla="*/ 1298 h 7604"/>
                <a:gd name="T30" fmla="*/ 3894 w 4355"/>
                <a:gd name="T31" fmla="*/ 2352 h 7604"/>
                <a:gd name="T32" fmla="*/ 4348 w 4355"/>
                <a:gd name="T33" fmla="*/ 2742 h 7604"/>
                <a:gd name="T34" fmla="*/ 0 w 4355"/>
                <a:gd name="T35" fmla="*/ 1904 h 7604"/>
                <a:gd name="T36" fmla="*/ 117 w 4355"/>
                <a:gd name="T37" fmla="*/ 1898 h 7604"/>
                <a:gd name="T38" fmla="*/ 292 w 4355"/>
                <a:gd name="T39" fmla="*/ 1997 h 7604"/>
                <a:gd name="T40" fmla="*/ 297 w 4355"/>
                <a:gd name="T41" fmla="*/ 1881 h 7604"/>
                <a:gd name="T42" fmla="*/ 449 w 4355"/>
                <a:gd name="T43" fmla="*/ 1828 h 7604"/>
                <a:gd name="T44" fmla="*/ 361 w 4355"/>
                <a:gd name="T45" fmla="*/ 1724 h 7604"/>
                <a:gd name="T46" fmla="*/ 268 w 4355"/>
                <a:gd name="T47" fmla="*/ 1531 h 7604"/>
                <a:gd name="T48" fmla="*/ 466 w 4355"/>
                <a:gd name="T49" fmla="*/ 1217 h 7604"/>
                <a:gd name="T50" fmla="*/ 629 w 4355"/>
                <a:gd name="T51" fmla="*/ 1112 h 7604"/>
                <a:gd name="T52" fmla="*/ 664 w 4355"/>
                <a:gd name="T53" fmla="*/ 815 h 7604"/>
                <a:gd name="T54" fmla="*/ 781 w 4355"/>
                <a:gd name="T55" fmla="*/ 763 h 7604"/>
                <a:gd name="T56" fmla="*/ 880 w 4355"/>
                <a:gd name="T57" fmla="*/ 740 h 7604"/>
                <a:gd name="T58" fmla="*/ 949 w 4355"/>
                <a:gd name="T59" fmla="*/ 751 h 7604"/>
                <a:gd name="T60" fmla="*/ 1060 w 4355"/>
                <a:gd name="T61" fmla="*/ 588 h 7604"/>
                <a:gd name="T62" fmla="*/ 1369 w 4355"/>
                <a:gd name="T63" fmla="*/ 588 h 7604"/>
                <a:gd name="T64" fmla="*/ 1753 w 4355"/>
                <a:gd name="T65" fmla="*/ 425 h 7604"/>
                <a:gd name="T66" fmla="*/ 1718 w 4355"/>
                <a:gd name="T67" fmla="*/ 297 h 7604"/>
                <a:gd name="T68" fmla="*/ 1374 w 4355"/>
                <a:gd name="T69" fmla="*/ 94 h 7604"/>
                <a:gd name="T70" fmla="*/ 1526 w 4355"/>
                <a:gd name="T71" fmla="*/ 128 h 7604"/>
                <a:gd name="T72" fmla="*/ 1613 w 4355"/>
                <a:gd name="T73" fmla="*/ 41 h 7604"/>
                <a:gd name="T74" fmla="*/ 1712 w 4355"/>
                <a:gd name="T75" fmla="*/ 0 h 7604"/>
                <a:gd name="T76" fmla="*/ 1840 w 4355"/>
                <a:gd name="T77" fmla="*/ 204 h 7604"/>
                <a:gd name="T78" fmla="*/ 2235 w 4355"/>
                <a:gd name="T79" fmla="*/ 385 h 7604"/>
                <a:gd name="T80" fmla="*/ 2375 w 4355"/>
                <a:gd name="T81" fmla="*/ 437 h 7604"/>
                <a:gd name="T82" fmla="*/ 2631 w 4355"/>
                <a:gd name="T83" fmla="*/ 507 h 7604"/>
                <a:gd name="T84" fmla="*/ 2957 w 4355"/>
                <a:gd name="T85" fmla="*/ 583 h 7604"/>
                <a:gd name="T86" fmla="*/ 3097 w 4355"/>
                <a:gd name="T87" fmla="*/ 536 h 7604"/>
                <a:gd name="T88" fmla="*/ 3295 w 4355"/>
                <a:gd name="T89" fmla="*/ 425 h 7604"/>
                <a:gd name="T90" fmla="*/ 3242 w 4355"/>
                <a:gd name="T91" fmla="*/ 594 h 7604"/>
                <a:gd name="T92" fmla="*/ 3358 w 4355"/>
                <a:gd name="T93" fmla="*/ 693 h 7604"/>
                <a:gd name="T94" fmla="*/ 3469 w 4355"/>
                <a:gd name="T95" fmla="*/ 542 h 7604"/>
                <a:gd name="T96" fmla="*/ 3737 w 4355"/>
                <a:gd name="T97" fmla="*/ 583 h 7604"/>
                <a:gd name="T98" fmla="*/ 3743 w 4355"/>
                <a:gd name="T99" fmla="*/ 681 h 7604"/>
                <a:gd name="T100" fmla="*/ 3650 w 4355"/>
                <a:gd name="T101" fmla="*/ 932 h 7604"/>
                <a:gd name="T102" fmla="*/ 3539 w 4355"/>
                <a:gd name="T103" fmla="*/ 978 h 7604"/>
                <a:gd name="T104" fmla="*/ 3428 w 4355"/>
                <a:gd name="T105" fmla="*/ 1007 h 7604"/>
                <a:gd name="T106" fmla="*/ 3329 w 4355"/>
                <a:gd name="T107" fmla="*/ 1165 h 7604"/>
                <a:gd name="T108" fmla="*/ 3230 w 4355"/>
                <a:gd name="T109" fmla="*/ 1601 h 7604"/>
                <a:gd name="T110" fmla="*/ 3242 w 4355"/>
                <a:gd name="T111" fmla="*/ 2015 h 7604"/>
                <a:gd name="T112" fmla="*/ 3725 w 4355"/>
                <a:gd name="T113" fmla="*/ 2410 h 7604"/>
                <a:gd name="T114" fmla="*/ 3964 w 4355"/>
                <a:gd name="T115" fmla="*/ 2474 h 7604"/>
                <a:gd name="T116" fmla="*/ 4226 w 4355"/>
                <a:gd name="T117" fmla="*/ 2626 h 7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55" h="7604">
                  <a:moveTo>
                    <a:pt x="1089" y="59"/>
                  </a:moveTo>
                  <a:lnTo>
                    <a:pt x="1089" y="59"/>
                  </a:lnTo>
                  <a:cubicBezTo>
                    <a:pt x="1083" y="105"/>
                    <a:pt x="1089" y="128"/>
                    <a:pt x="1089" y="175"/>
                  </a:cubicBezTo>
                  <a:cubicBezTo>
                    <a:pt x="1077" y="146"/>
                    <a:pt x="1072" y="117"/>
                    <a:pt x="1043" y="117"/>
                  </a:cubicBezTo>
                  <a:cubicBezTo>
                    <a:pt x="1013" y="117"/>
                    <a:pt x="984" y="128"/>
                    <a:pt x="984" y="157"/>
                  </a:cubicBezTo>
                  <a:cubicBezTo>
                    <a:pt x="984" y="181"/>
                    <a:pt x="984" y="192"/>
                    <a:pt x="984" y="210"/>
                  </a:cubicBezTo>
                  <a:cubicBezTo>
                    <a:pt x="967" y="181"/>
                    <a:pt x="978" y="128"/>
                    <a:pt x="944" y="128"/>
                  </a:cubicBezTo>
                  <a:cubicBezTo>
                    <a:pt x="909" y="128"/>
                    <a:pt x="891" y="157"/>
                    <a:pt x="856" y="163"/>
                  </a:cubicBezTo>
                  <a:cubicBezTo>
                    <a:pt x="862" y="187"/>
                    <a:pt x="874" y="198"/>
                    <a:pt x="885" y="227"/>
                  </a:cubicBezTo>
                  <a:cubicBezTo>
                    <a:pt x="874" y="227"/>
                    <a:pt x="874" y="227"/>
                    <a:pt x="874" y="227"/>
                  </a:cubicBezTo>
                  <a:cubicBezTo>
                    <a:pt x="845" y="210"/>
                    <a:pt x="833" y="187"/>
                    <a:pt x="798" y="169"/>
                  </a:cubicBezTo>
                  <a:cubicBezTo>
                    <a:pt x="775" y="163"/>
                    <a:pt x="751" y="157"/>
                    <a:pt x="746" y="128"/>
                  </a:cubicBezTo>
                  <a:cubicBezTo>
                    <a:pt x="769" y="128"/>
                    <a:pt x="769" y="128"/>
                    <a:pt x="769" y="128"/>
                  </a:cubicBezTo>
                  <a:cubicBezTo>
                    <a:pt x="769" y="123"/>
                    <a:pt x="769" y="117"/>
                    <a:pt x="775" y="111"/>
                  </a:cubicBezTo>
                  <a:cubicBezTo>
                    <a:pt x="734" y="105"/>
                    <a:pt x="717" y="76"/>
                    <a:pt x="676" y="59"/>
                  </a:cubicBezTo>
                  <a:cubicBezTo>
                    <a:pt x="676" y="59"/>
                    <a:pt x="670" y="64"/>
                    <a:pt x="670" y="70"/>
                  </a:cubicBezTo>
                  <a:cubicBezTo>
                    <a:pt x="670" y="157"/>
                    <a:pt x="722" y="198"/>
                    <a:pt x="722" y="291"/>
                  </a:cubicBezTo>
                  <a:cubicBezTo>
                    <a:pt x="751" y="291"/>
                    <a:pt x="769" y="297"/>
                    <a:pt x="786" y="309"/>
                  </a:cubicBezTo>
                  <a:cubicBezTo>
                    <a:pt x="815" y="320"/>
                    <a:pt x="804" y="355"/>
                    <a:pt x="827" y="373"/>
                  </a:cubicBezTo>
                  <a:cubicBezTo>
                    <a:pt x="850" y="385"/>
                    <a:pt x="868" y="373"/>
                    <a:pt x="897" y="379"/>
                  </a:cubicBezTo>
                  <a:cubicBezTo>
                    <a:pt x="920" y="390"/>
                    <a:pt x="932" y="408"/>
                    <a:pt x="949" y="431"/>
                  </a:cubicBezTo>
                  <a:cubicBezTo>
                    <a:pt x="967" y="420"/>
                    <a:pt x="967" y="396"/>
                    <a:pt x="984" y="385"/>
                  </a:cubicBezTo>
                  <a:cubicBezTo>
                    <a:pt x="1008" y="367"/>
                    <a:pt x="1037" y="373"/>
                    <a:pt x="1060" y="350"/>
                  </a:cubicBezTo>
                  <a:cubicBezTo>
                    <a:pt x="1095" y="320"/>
                    <a:pt x="1095" y="262"/>
                    <a:pt x="1141" y="262"/>
                  </a:cubicBezTo>
                  <a:cubicBezTo>
                    <a:pt x="1153" y="262"/>
                    <a:pt x="1159" y="268"/>
                    <a:pt x="1171" y="268"/>
                  </a:cubicBezTo>
                  <a:cubicBezTo>
                    <a:pt x="1188" y="233"/>
                    <a:pt x="1217" y="216"/>
                    <a:pt x="1217" y="181"/>
                  </a:cubicBezTo>
                  <a:cubicBezTo>
                    <a:pt x="1217" y="152"/>
                    <a:pt x="1182" y="157"/>
                    <a:pt x="1171" y="134"/>
                  </a:cubicBezTo>
                  <a:cubicBezTo>
                    <a:pt x="1141" y="99"/>
                    <a:pt x="1130" y="76"/>
                    <a:pt x="1089" y="59"/>
                  </a:cubicBezTo>
                  <a:close/>
                  <a:moveTo>
                    <a:pt x="664" y="169"/>
                  </a:moveTo>
                  <a:lnTo>
                    <a:pt x="664" y="169"/>
                  </a:lnTo>
                  <a:cubicBezTo>
                    <a:pt x="676" y="210"/>
                    <a:pt x="652" y="227"/>
                    <a:pt x="647" y="268"/>
                  </a:cubicBezTo>
                  <a:cubicBezTo>
                    <a:pt x="664" y="268"/>
                    <a:pt x="682" y="262"/>
                    <a:pt x="693" y="274"/>
                  </a:cubicBezTo>
                  <a:cubicBezTo>
                    <a:pt x="687" y="297"/>
                    <a:pt x="687" y="297"/>
                    <a:pt x="687" y="297"/>
                  </a:cubicBezTo>
                  <a:cubicBezTo>
                    <a:pt x="687" y="303"/>
                    <a:pt x="687" y="309"/>
                    <a:pt x="687" y="315"/>
                  </a:cubicBezTo>
                  <a:cubicBezTo>
                    <a:pt x="728" y="320"/>
                    <a:pt x="751" y="332"/>
                    <a:pt x="781" y="361"/>
                  </a:cubicBezTo>
                  <a:cubicBezTo>
                    <a:pt x="769" y="367"/>
                    <a:pt x="757" y="379"/>
                    <a:pt x="740" y="379"/>
                  </a:cubicBezTo>
                  <a:cubicBezTo>
                    <a:pt x="687" y="379"/>
                    <a:pt x="658" y="350"/>
                    <a:pt x="606" y="350"/>
                  </a:cubicBezTo>
                  <a:cubicBezTo>
                    <a:pt x="571" y="350"/>
                    <a:pt x="554" y="361"/>
                    <a:pt x="524" y="367"/>
                  </a:cubicBezTo>
                  <a:cubicBezTo>
                    <a:pt x="530" y="350"/>
                    <a:pt x="530" y="332"/>
                    <a:pt x="536" y="315"/>
                  </a:cubicBezTo>
                  <a:cubicBezTo>
                    <a:pt x="554" y="315"/>
                    <a:pt x="554" y="315"/>
                    <a:pt x="554" y="315"/>
                  </a:cubicBezTo>
                  <a:cubicBezTo>
                    <a:pt x="559" y="315"/>
                    <a:pt x="565" y="320"/>
                    <a:pt x="571" y="320"/>
                  </a:cubicBezTo>
                  <a:cubicBezTo>
                    <a:pt x="594" y="320"/>
                    <a:pt x="623" y="326"/>
                    <a:pt x="623" y="303"/>
                  </a:cubicBezTo>
                  <a:cubicBezTo>
                    <a:pt x="623" y="268"/>
                    <a:pt x="594" y="262"/>
                    <a:pt x="583" y="233"/>
                  </a:cubicBezTo>
                  <a:cubicBezTo>
                    <a:pt x="594" y="210"/>
                    <a:pt x="594" y="210"/>
                    <a:pt x="594" y="210"/>
                  </a:cubicBezTo>
                  <a:cubicBezTo>
                    <a:pt x="583" y="210"/>
                    <a:pt x="577" y="204"/>
                    <a:pt x="571" y="204"/>
                  </a:cubicBezTo>
                  <a:cubicBezTo>
                    <a:pt x="577" y="192"/>
                    <a:pt x="577" y="192"/>
                    <a:pt x="577" y="192"/>
                  </a:cubicBezTo>
                  <a:cubicBezTo>
                    <a:pt x="612" y="175"/>
                    <a:pt x="623" y="152"/>
                    <a:pt x="647" y="128"/>
                  </a:cubicBezTo>
                  <a:cubicBezTo>
                    <a:pt x="658" y="140"/>
                    <a:pt x="664" y="152"/>
                    <a:pt x="664" y="169"/>
                  </a:cubicBezTo>
                  <a:close/>
                  <a:moveTo>
                    <a:pt x="3591" y="1374"/>
                  </a:moveTo>
                  <a:lnTo>
                    <a:pt x="3591" y="1374"/>
                  </a:lnTo>
                  <a:cubicBezTo>
                    <a:pt x="3591" y="1392"/>
                    <a:pt x="3597" y="1403"/>
                    <a:pt x="3597" y="1421"/>
                  </a:cubicBezTo>
                  <a:cubicBezTo>
                    <a:pt x="3597" y="1467"/>
                    <a:pt x="3591" y="1496"/>
                    <a:pt x="3586" y="1549"/>
                  </a:cubicBezTo>
                  <a:cubicBezTo>
                    <a:pt x="3667" y="1549"/>
                    <a:pt x="3708" y="1595"/>
                    <a:pt x="3789" y="1595"/>
                  </a:cubicBezTo>
                  <a:cubicBezTo>
                    <a:pt x="3801" y="1595"/>
                    <a:pt x="3813" y="1590"/>
                    <a:pt x="3824" y="1595"/>
                  </a:cubicBezTo>
                  <a:cubicBezTo>
                    <a:pt x="3824" y="1578"/>
                    <a:pt x="3824" y="1566"/>
                    <a:pt x="3824" y="1549"/>
                  </a:cubicBezTo>
                  <a:cubicBezTo>
                    <a:pt x="3818" y="1543"/>
                    <a:pt x="3818" y="1543"/>
                    <a:pt x="3818" y="1543"/>
                  </a:cubicBezTo>
                  <a:cubicBezTo>
                    <a:pt x="3807" y="1555"/>
                    <a:pt x="3801" y="1566"/>
                    <a:pt x="3784" y="1566"/>
                  </a:cubicBezTo>
                  <a:cubicBezTo>
                    <a:pt x="3772" y="1566"/>
                    <a:pt x="3772" y="1549"/>
                    <a:pt x="3766" y="1549"/>
                  </a:cubicBezTo>
                  <a:cubicBezTo>
                    <a:pt x="3754" y="1549"/>
                    <a:pt x="3749" y="1555"/>
                    <a:pt x="3743" y="1555"/>
                  </a:cubicBezTo>
                  <a:cubicBezTo>
                    <a:pt x="3720" y="1555"/>
                    <a:pt x="3708" y="1537"/>
                    <a:pt x="3708" y="1520"/>
                  </a:cubicBezTo>
                  <a:cubicBezTo>
                    <a:pt x="3708" y="1491"/>
                    <a:pt x="3731" y="1491"/>
                    <a:pt x="3743" y="1467"/>
                  </a:cubicBezTo>
                  <a:cubicBezTo>
                    <a:pt x="3725" y="1461"/>
                    <a:pt x="3708" y="1450"/>
                    <a:pt x="3708" y="1432"/>
                  </a:cubicBezTo>
                  <a:cubicBezTo>
                    <a:pt x="3708" y="1421"/>
                    <a:pt x="3714" y="1415"/>
                    <a:pt x="3714" y="1403"/>
                  </a:cubicBezTo>
                  <a:cubicBezTo>
                    <a:pt x="3725" y="1403"/>
                    <a:pt x="3731" y="1403"/>
                    <a:pt x="3743" y="1403"/>
                  </a:cubicBezTo>
                  <a:cubicBezTo>
                    <a:pt x="3778" y="1403"/>
                    <a:pt x="3824" y="1386"/>
                    <a:pt x="3754" y="1386"/>
                  </a:cubicBezTo>
                  <a:cubicBezTo>
                    <a:pt x="3731" y="1386"/>
                    <a:pt x="3708" y="1368"/>
                    <a:pt x="3708" y="1345"/>
                  </a:cubicBezTo>
                  <a:cubicBezTo>
                    <a:pt x="3708" y="1328"/>
                    <a:pt x="3720" y="1322"/>
                    <a:pt x="3720" y="1304"/>
                  </a:cubicBezTo>
                  <a:cubicBezTo>
                    <a:pt x="3720" y="1281"/>
                    <a:pt x="3690" y="1328"/>
                    <a:pt x="3679" y="1345"/>
                  </a:cubicBezTo>
                  <a:cubicBezTo>
                    <a:pt x="3661" y="1374"/>
                    <a:pt x="3626" y="1374"/>
                    <a:pt x="3591" y="1374"/>
                  </a:cubicBezTo>
                  <a:close/>
                  <a:moveTo>
                    <a:pt x="3498" y="1298"/>
                  </a:moveTo>
                  <a:lnTo>
                    <a:pt x="3498" y="1298"/>
                  </a:lnTo>
                  <a:cubicBezTo>
                    <a:pt x="3487" y="1293"/>
                    <a:pt x="3481" y="1293"/>
                    <a:pt x="3469" y="1287"/>
                  </a:cubicBezTo>
                  <a:cubicBezTo>
                    <a:pt x="3463" y="1298"/>
                    <a:pt x="3463" y="1304"/>
                    <a:pt x="3463" y="1310"/>
                  </a:cubicBezTo>
                  <a:cubicBezTo>
                    <a:pt x="3463" y="1339"/>
                    <a:pt x="3475" y="1351"/>
                    <a:pt x="3492" y="1374"/>
                  </a:cubicBezTo>
                  <a:cubicBezTo>
                    <a:pt x="3492" y="1345"/>
                    <a:pt x="3504" y="1328"/>
                    <a:pt x="3498" y="1298"/>
                  </a:cubicBezTo>
                  <a:close/>
                  <a:moveTo>
                    <a:pt x="3894" y="2306"/>
                  </a:moveTo>
                  <a:lnTo>
                    <a:pt x="3894" y="2306"/>
                  </a:lnTo>
                  <a:cubicBezTo>
                    <a:pt x="3883" y="2288"/>
                    <a:pt x="3883" y="2265"/>
                    <a:pt x="3859" y="2265"/>
                  </a:cubicBezTo>
                  <a:cubicBezTo>
                    <a:pt x="3847" y="2265"/>
                    <a:pt x="3836" y="2271"/>
                    <a:pt x="3824" y="2282"/>
                  </a:cubicBezTo>
                  <a:cubicBezTo>
                    <a:pt x="3847" y="2317"/>
                    <a:pt x="3865" y="2329"/>
                    <a:pt x="3894" y="2352"/>
                  </a:cubicBezTo>
                  <a:cubicBezTo>
                    <a:pt x="3894" y="2346"/>
                    <a:pt x="3900" y="2341"/>
                    <a:pt x="3900" y="2335"/>
                  </a:cubicBezTo>
                  <a:cubicBezTo>
                    <a:pt x="3900" y="2329"/>
                    <a:pt x="3894" y="2311"/>
                    <a:pt x="3894" y="2306"/>
                  </a:cubicBezTo>
                  <a:close/>
                  <a:moveTo>
                    <a:pt x="4348" y="2742"/>
                  </a:moveTo>
                  <a:lnTo>
                    <a:pt x="4348" y="2742"/>
                  </a:lnTo>
                  <a:lnTo>
                    <a:pt x="4348" y="2742"/>
                  </a:lnTo>
                  <a:cubicBezTo>
                    <a:pt x="4354" y="7603"/>
                    <a:pt x="4354" y="7603"/>
                    <a:pt x="4354" y="7603"/>
                  </a:cubicBezTo>
                  <a:lnTo>
                    <a:pt x="4354" y="7603"/>
                  </a:lnTo>
                  <a:cubicBezTo>
                    <a:pt x="24" y="7586"/>
                    <a:pt x="24" y="7586"/>
                    <a:pt x="24" y="7586"/>
                  </a:cubicBezTo>
                  <a:lnTo>
                    <a:pt x="24" y="7586"/>
                  </a:lnTo>
                  <a:cubicBezTo>
                    <a:pt x="0" y="1904"/>
                    <a:pt x="0" y="1904"/>
                    <a:pt x="0" y="1904"/>
                  </a:cubicBezTo>
                  <a:lnTo>
                    <a:pt x="0" y="1904"/>
                  </a:lnTo>
                  <a:cubicBezTo>
                    <a:pt x="53" y="1921"/>
                    <a:pt x="88" y="1956"/>
                    <a:pt x="88" y="2015"/>
                  </a:cubicBezTo>
                  <a:cubicBezTo>
                    <a:pt x="88" y="2137"/>
                    <a:pt x="88" y="2015"/>
                    <a:pt x="146" y="2015"/>
                  </a:cubicBezTo>
                  <a:cubicBezTo>
                    <a:pt x="140" y="1980"/>
                    <a:pt x="117" y="1962"/>
                    <a:pt x="117" y="1927"/>
                  </a:cubicBezTo>
                  <a:cubicBezTo>
                    <a:pt x="117" y="1916"/>
                    <a:pt x="117" y="1910"/>
                    <a:pt x="117" y="1898"/>
                  </a:cubicBezTo>
                  <a:cubicBezTo>
                    <a:pt x="123" y="1892"/>
                    <a:pt x="129" y="1892"/>
                    <a:pt x="134" y="1892"/>
                  </a:cubicBezTo>
                  <a:cubicBezTo>
                    <a:pt x="140" y="1892"/>
                    <a:pt x="146" y="1898"/>
                    <a:pt x="152" y="1898"/>
                  </a:cubicBezTo>
                  <a:cubicBezTo>
                    <a:pt x="175" y="1892"/>
                    <a:pt x="175" y="1892"/>
                    <a:pt x="175" y="1892"/>
                  </a:cubicBezTo>
                  <a:cubicBezTo>
                    <a:pt x="192" y="1921"/>
                    <a:pt x="210" y="1933"/>
                    <a:pt x="245" y="1945"/>
                  </a:cubicBezTo>
                  <a:cubicBezTo>
                    <a:pt x="268" y="1956"/>
                    <a:pt x="268" y="1985"/>
                    <a:pt x="292" y="1997"/>
                  </a:cubicBezTo>
                  <a:cubicBezTo>
                    <a:pt x="338" y="2038"/>
                    <a:pt x="402" y="2050"/>
                    <a:pt x="379" y="2044"/>
                  </a:cubicBezTo>
                  <a:cubicBezTo>
                    <a:pt x="379" y="2026"/>
                    <a:pt x="355" y="2032"/>
                    <a:pt x="344" y="2015"/>
                  </a:cubicBezTo>
                  <a:cubicBezTo>
                    <a:pt x="321" y="1997"/>
                    <a:pt x="326" y="1974"/>
                    <a:pt x="321" y="1945"/>
                  </a:cubicBezTo>
                  <a:cubicBezTo>
                    <a:pt x="315" y="1927"/>
                    <a:pt x="297" y="1916"/>
                    <a:pt x="297" y="1898"/>
                  </a:cubicBezTo>
                  <a:cubicBezTo>
                    <a:pt x="297" y="1881"/>
                    <a:pt x="297" y="1881"/>
                    <a:pt x="297" y="1881"/>
                  </a:cubicBezTo>
                  <a:cubicBezTo>
                    <a:pt x="367" y="1881"/>
                    <a:pt x="367" y="1881"/>
                    <a:pt x="367" y="1881"/>
                  </a:cubicBezTo>
                  <a:cubicBezTo>
                    <a:pt x="379" y="1881"/>
                    <a:pt x="385" y="1869"/>
                    <a:pt x="391" y="1869"/>
                  </a:cubicBezTo>
                  <a:cubicBezTo>
                    <a:pt x="396" y="1869"/>
                    <a:pt x="402" y="1875"/>
                    <a:pt x="408" y="1875"/>
                  </a:cubicBezTo>
                  <a:cubicBezTo>
                    <a:pt x="431" y="1875"/>
                    <a:pt x="443" y="1846"/>
                    <a:pt x="466" y="1846"/>
                  </a:cubicBezTo>
                  <a:cubicBezTo>
                    <a:pt x="460" y="1840"/>
                    <a:pt x="460" y="1828"/>
                    <a:pt x="449" y="1828"/>
                  </a:cubicBezTo>
                  <a:cubicBezTo>
                    <a:pt x="420" y="1828"/>
                    <a:pt x="408" y="1840"/>
                    <a:pt x="379" y="1840"/>
                  </a:cubicBezTo>
                  <a:cubicBezTo>
                    <a:pt x="361" y="1840"/>
                    <a:pt x="350" y="1840"/>
                    <a:pt x="332" y="1840"/>
                  </a:cubicBezTo>
                  <a:cubicBezTo>
                    <a:pt x="332" y="1822"/>
                    <a:pt x="332" y="1811"/>
                    <a:pt x="332" y="1793"/>
                  </a:cubicBezTo>
                  <a:cubicBezTo>
                    <a:pt x="332" y="1758"/>
                    <a:pt x="367" y="1758"/>
                    <a:pt x="379" y="1729"/>
                  </a:cubicBezTo>
                  <a:cubicBezTo>
                    <a:pt x="373" y="1729"/>
                    <a:pt x="367" y="1724"/>
                    <a:pt x="361" y="1724"/>
                  </a:cubicBezTo>
                  <a:cubicBezTo>
                    <a:pt x="350" y="1724"/>
                    <a:pt x="338" y="1729"/>
                    <a:pt x="326" y="1735"/>
                  </a:cubicBezTo>
                  <a:cubicBezTo>
                    <a:pt x="309" y="1706"/>
                    <a:pt x="280" y="1712"/>
                    <a:pt x="251" y="1694"/>
                  </a:cubicBezTo>
                  <a:cubicBezTo>
                    <a:pt x="216" y="1671"/>
                    <a:pt x="198" y="1636"/>
                    <a:pt x="198" y="1590"/>
                  </a:cubicBezTo>
                  <a:cubicBezTo>
                    <a:pt x="198" y="1561"/>
                    <a:pt x="216" y="1537"/>
                    <a:pt x="245" y="1520"/>
                  </a:cubicBezTo>
                  <a:cubicBezTo>
                    <a:pt x="268" y="1531"/>
                    <a:pt x="268" y="1531"/>
                    <a:pt x="268" y="1531"/>
                  </a:cubicBezTo>
                  <a:cubicBezTo>
                    <a:pt x="292" y="1479"/>
                    <a:pt x="367" y="1473"/>
                    <a:pt x="367" y="1415"/>
                  </a:cubicBezTo>
                  <a:cubicBezTo>
                    <a:pt x="367" y="1386"/>
                    <a:pt x="385" y="1374"/>
                    <a:pt x="396" y="1351"/>
                  </a:cubicBezTo>
                  <a:cubicBezTo>
                    <a:pt x="408" y="1310"/>
                    <a:pt x="396" y="1287"/>
                    <a:pt x="396" y="1246"/>
                  </a:cubicBezTo>
                  <a:cubicBezTo>
                    <a:pt x="396" y="1223"/>
                    <a:pt x="402" y="1205"/>
                    <a:pt x="420" y="1194"/>
                  </a:cubicBezTo>
                  <a:cubicBezTo>
                    <a:pt x="437" y="1205"/>
                    <a:pt x="449" y="1217"/>
                    <a:pt x="466" y="1217"/>
                  </a:cubicBezTo>
                  <a:cubicBezTo>
                    <a:pt x="524" y="1217"/>
                    <a:pt x="542" y="1159"/>
                    <a:pt x="594" y="1141"/>
                  </a:cubicBezTo>
                  <a:cubicBezTo>
                    <a:pt x="606" y="1159"/>
                    <a:pt x="612" y="1165"/>
                    <a:pt x="623" y="1182"/>
                  </a:cubicBezTo>
                  <a:cubicBezTo>
                    <a:pt x="635" y="1182"/>
                    <a:pt x="635" y="1182"/>
                    <a:pt x="635" y="1182"/>
                  </a:cubicBezTo>
                  <a:cubicBezTo>
                    <a:pt x="629" y="1170"/>
                    <a:pt x="618" y="1159"/>
                    <a:pt x="618" y="1141"/>
                  </a:cubicBezTo>
                  <a:cubicBezTo>
                    <a:pt x="618" y="1130"/>
                    <a:pt x="629" y="1124"/>
                    <a:pt x="629" y="1112"/>
                  </a:cubicBezTo>
                  <a:cubicBezTo>
                    <a:pt x="629" y="1054"/>
                    <a:pt x="554" y="1042"/>
                    <a:pt x="554" y="984"/>
                  </a:cubicBezTo>
                  <a:cubicBezTo>
                    <a:pt x="554" y="961"/>
                    <a:pt x="565" y="943"/>
                    <a:pt x="565" y="920"/>
                  </a:cubicBezTo>
                  <a:lnTo>
                    <a:pt x="571" y="914"/>
                  </a:lnTo>
                  <a:cubicBezTo>
                    <a:pt x="588" y="914"/>
                    <a:pt x="594" y="926"/>
                    <a:pt x="606" y="926"/>
                  </a:cubicBezTo>
                  <a:cubicBezTo>
                    <a:pt x="658" y="926"/>
                    <a:pt x="664" y="862"/>
                    <a:pt x="664" y="815"/>
                  </a:cubicBezTo>
                  <a:cubicBezTo>
                    <a:pt x="676" y="804"/>
                    <a:pt x="682" y="786"/>
                    <a:pt x="693" y="786"/>
                  </a:cubicBezTo>
                  <a:cubicBezTo>
                    <a:pt x="740" y="786"/>
                    <a:pt x="751" y="833"/>
                    <a:pt x="792" y="833"/>
                  </a:cubicBezTo>
                  <a:cubicBezTo>
                    <a:pt x="810" y="833"/>
                    <a:pt x="821" y="833"/>
                    <a:pt x="839" y="833"/>
                  </a:cubicBezTo>
                  <a:cubicBezTo>
                    <a:pt x="845" y="827"/>
                    <a:pt x="845" y="821"/>
                    <a:pt x="850" y="821"/>
                  </a:cubicBezTo>
                  <a:cubicBezTo>
                    <a:pt x="827" y="792"/>
                    <a:pt x="781" y="798"/>
                    <a:pt x="781" y="763"/>
                  </a:cubicBezTo>
                  <a:cubicBezTo>
                    <a:pt x="781" y="751"/>
                    <a:pt x="763" y="751"/>
                    <a:pt x="763" y="740"/>
                  </a:cubicBezTo>
                  <a:cubicBezTo>
                    <a:pt x="763" y="711"/>
                    <a:pt x="781" y="699"/>
                    <a:pt x="781" y="670"/>
                  </a:cubicBezTo>
                  <a:cubicBezTo>
                    <a:pt x="821" y="681"/>
                    <a:pt x="850" y="705"/>
                    <a:pt x="868" y="746"/>
                  </a:cubicBezTo>
                  <a:cubicBezTo>
                    <a:pt x="874" y="746"/>
                    <a:pt x="874" y="746"/>
                    <a:pt x="874" y="746"/>
                  </a:cubicBezTo>
                  <a:cubicBezTo>
                    <a:pt x="880" y="740"/>
                    <a:pt x="880" y="740"/>
                    <a:pt x="880" y="740"/>
                  </a:cubicBezTo>
                  <a:cubicBezTo>
                    <a:pt x="891" y="746"/>
                    <a:pt x="897" y="751"/>
                    <a:pt x="909" y="763"/>
                  </a:cubicBezTo>
                  <a:cubicBezTo>
                    <a:pt x="920" y="769"/>
                    <a:pt x="920" y="769"/>
                    <a:pt x="920" y="769"/>
                  </a:cubicBezTo>
                  <a:cubicBezTo>
                    <a:pt x="920" y="757"/>
                    <a:pt x="920" y="751"/>
                    <a:pt x="920" y="746"/>
                  </a:cubicBezTo>
                  <a:cubicBezTo>
                    <a:pt x="926" y="740"/>
                    <a:pt x="926" y="740"/>
                    <a:pt x="926" y="740"/>
                  </a:cubicBezTo>
                  <a:cubicBezTo>
                    <a:pt x="938" y="746"/>
                    <a:pt x="944" y="746"/>
                    <a:pt x="949" y="751"/>
                  </a:cubicBezTo>
                  <a:cubicBezTo>
                    <a:pt x="955" y="746"/>
                    <a:pt x="955" y="740"/>
                    <a:pt x="955" y="734"/>
                  </a:cubicBezTo>
                  <a:cubicBezTo>
                    <a:pt x="955" y="693"/>
                    <a:pt x="920" y="681"/>
                    <a:pt x="920" y="641"/>
                  </a:cubicBezTo>
                  <a:cubicBezTo>
                    <a:pt x="920" y="623"/>
                    <a:pt x="920" y="623"/>
                    <a:pt x="920" y="623"/>
                  </a:cubicBezTo>
                  <a:cubicBezTo>
                    <a:pt x="955" y="617"/>
                    <a:pt x="973" y="606"/>
                    <a:pt x="1008" y="600"/>
                  </a:cubicBezTo>
                  <a:cubicBezTo>
                    <a:pt x="1025" y="600"/>
                    <a:pt x="1043" y="606"/>
                    <a:pt x="1060" y="588"/>
                  </a:cubicBezTo>
                  <a:cubicBezTo>
                    <a:pt x="1077" y="565"/>
                    <a:pt x="1072" y="542"/>
                    <a:pt x="1095" y="518"/>
                  </a:cubicBezTo>
                  <a:cubicBezTo>
                    <a:pt x="1095" y="577"/>
                    <a:pt x="1159" y="594"/>
                    <a:pt x="1217" y="594"/>
                  </a:cubicBezTo>
                  <a:cubicBezTo>
                    <a:pt x="1270" y="594"/>
                    <a:pt x="1270" y="594"/>
                    <a:pt x="1270" y="594"/>
                  </a:cubicBezTo>
                  <a:cubicBezTo>
                    <a:pt x="1281" y="594"/>
                    <a:pt x="1287" y="600"/>
                    <a:pt x="1304" y="600"/>
                  </a:cubicBezTo>
                  <a:cubicBezTo>
                    <a:pt x="1334" y="600"/>
                    <a:pt x="1345" y="588"/>
                    <a:pt x="1369" y="588"/>
                  </a:cubicBezTo>
                  <a:cubicBezTo>
                    <a:pt x="1403" y="588"/>
                    <a:pt x="1415" y="617"/>
                    <a:pt x="1444" y="617"/>
                  </a:cubicBezTo>
                  <a:cubicBezTo>
                    <a:pt x="1497" y="617"/>
                    <a:pt x="1520" y="571"/>
                    <a:pt x="1572" y="559"/>
                  </a:cubicBezTo>
                  <a:cubicBezTo>
                    <a:pt x="1613" y="548"/>
                    <a:pt x="1636" y="536"/>
                    <a:pt x="1677" y="530"/>
                  </a:cubicBezTo>
                  <a:cubicBezTo>
                    <a:pt x="1706" y="524"/>
                    <a:pt x="1741" y="530"/>
                    <a:pt x="1753" y="507"/>
                  </a:cubicBezTo>
                  <a:cubicBezTo>
                    <a:pt x="1758" y="478"/>
                    <a:pt x="1753" y="454"/>
                    <a:pt x="1753" y="425"/>
                  </a:cubicBezTo>
                  <a:cubicBezTo>
                    <a:pt x="1753" y="344"/>
                    <a:pt x="1753" y="344"/>
                    <a:pt x="1753" y="344"/>
                  </a:cubicBezTo>
                  <a:cubicBezTo>
                    <a:pt x="1753" y="315"/>
                    <a:pt x="1776" y="303"/>
                    <a:pt x="1799" y="280"/>
                  </a:cubicBezTo>
                  <a:cubicBezTo>
                    <a:pt x="1793" y="280"/>
                    <a:pt x="1793" y="274"/>
                    <a:pt x="1788" y="274"/>
                  </a:cubicBezTo>
                  <a:cubicBezTo>
                    <a:pt x="1758" y="274"/>
                    <a:pt x="1747" y="297"/>
                    <a:pt x="1724" y="303"/>
                  </a:cubicBezTo>
                  <a:lnTo>
                    <a:pt x="1718" y="297"/>
                  </a:lnTo>
                  <a:cubicBezTo>
                    <a:pt x="1718" y="274"/>
                    <a:pt x="1735" y="262"/>
                    <a:pt x="1735" y="245"/>
                  </a:cubicBezTo>
                  <a:cubicBezTo>
                    <a:pt x="1735" y="192"/>
                    <a:pt x="1677" y="181"/>
                    <a:pt x="1630" y="181"/>
                  </a:cubicBezTo>
                  <a:cubicBezTo>
                    <a:pt x="1572" y="181"/>
                    <a:pt x="1543" y="210"/>
                    <a:pt x="1485" y="239"/>
                  </a:cubicBezTo>
                  <a:cubicBezTo>
                    <a:pt x="1479" y="192"/>
                    <a:pt x="1456" y="169"/>
                    <a:pt x="1421" y="140"/>
                  </a:cubicBezTo>
                  <a:cubicBezTo>
                    <a:pt x="1403" y="123"/>
                    <a:pt x="1374" y="117"/>
                    <a:pt x="1374" y="94"/>
                  </a:cubicBezTo>
                  <a:cubicBezTo>
                    <a:pt x="1374" y="82"/>
                    <a:pt x="1374" y="76"/>
                    <a:pt x="1374" y="64"/>
                  </a:cubicBezTo>
                  <a:cubicBezTo>
                    <a:pt x="1398" y="64"/>
                    <a:pt x="1398" y="64"/>
                    <a:pt x="1398" y="64"/>
                  </a:cubicBezTo>
                  <a:cubicBezTo>
                    <a:pt x="1409" y="64"/>
                    <a:pt x="1415" y="70"/>
                    <a:pt x="1421" y="70"/>
                  </a:cubicBezTo>
                  <a:cubicBezTo>
                    <a:pt x="1438" y="70"/>
                    <a:pt x="1438" y="47"/>
                    <a:pt x="1456" y="47"/>
                  </a:cubicBezTo>
                  <a:cubicBezTo>
                    <a:pt x="1497" y="47"/>
                    <a:pt x="1497" y="99"/>
                    <a:pt x="1526" y="128"/>
                  </a:cubicBezTo>
                  <a:lnTo>
                    <a:pt x="1532" y="123"/>
                  </a:lnTo>
                  <a:cubicBezTo>
                    <a:pt x="1532" y="111"/>
                    <a:pt x="1526" y="105"/>
                    <a:pt x="1526" y="94"/>
                  </a:cubicBezTo>
                  <a:cubicBezTo>
                    <a:pt x="1526" y="70"/>
                    <a:pt x="1532" y="53"/>
                    <a:pt x="1549" y="35"/>
                  </a:cubicBezTo>
                  <a:cubicBezTo>
                    <a:pt x="1561" y="47"/>
                    <a:pt x="1566" y="53"/>
                    <a:pt x="1578" y="53"/>
                  </a:cubicBezTo>
                  <a:cubicBezTo>
                    <a:pt x="1590" y="53"/>
                    <a:pt x="1601" y="41"/>
                    <a:pt x="1613" y="41"/>
                  </a:cubicBezTo>
                  <a:cubicBezTo>
                    <a:pt x="1636" y="41"/>
                    <a:pt x="1630" y="64"/>
                    <a:pt x="1642" y="82"/>
                  </a:cubicBezTo>
                  <a:cubicBezTo>
                    <a:pt x="1660" y="99"/>
                    <a:pt x="1677" y="94"/>
                    <a:pt x="1695" y="105"/>
                  </a:cubicBezTo>
                  <a:cubicBezTo>
                    <a:pt x="1695" y="99"/>
                    <a:pt x="1700" y="99"/>
                    <a:pt x="1700" y="94"/>
                  </a:cubicBezTo>
                  <a:cubicBezTo>
                    <a:pt x="1700" y="70"/>
                    <a:pt x="1683" y="59"/>
                    <a:pt x="1683" y="29"/>
                  </a:cubicBezTo>
                  <a:cubicBezTo>
                    <a:pt x="1683" y="18"/>
                    <a:pt x="1700" y="12"/>
                    <a:pt x="1712" y="0"/>
                  </a:cubicBezTo>
                  <a:cubicBezTo>
                    <a:pt x="1729" y="18"/>
                    <a:pt x="1724" y="35"/>
                    <a:pt x="1724" y="53"/>
                  </a:cubicBezTo>
                  <a:cubicBezTo>
                    <a:pt x="1724" y="117"/>
                    <a:pt x="1724" y="117"/>
                    <a:pt x="1724" y="117"/>
                  </a:cubicBezTo>
                  <a:cubicBezTo>
                    <a:pt x="1724" y="140"/>
                    <a:pt x="1729" y="157"/>
                    <a:pt x="1747" y="169"/>
                  </a:cubicBezTo>
                  <a:cubicBezTo>
                    <a:pt x="1770" y="181"/>
                    <a:pt x="1753" y="216"/>
                    <a:pt x="1776" y="216"/>
                  </a:cubicBezTo>
                  <a:cubicBezTo>
                    <a:pt x="1805" y="216"/>
                    <a:pt x="1823" y="222"/>
                    <a:pt x="1840" y="204"/>
                  </a:cubicBezTo>
                  <a:cubicBezTo>
                    <a:pt x="1858" y="192"/>
                    <a:pt x="1846" y="157"/>
                    <a:pt x="1869" y="157"/>
                  </a:cubicBezTo>
                  <a:cubicBezTo>
                    <a:pt x="1968" y="157"/>
                    <a:pt x="1945" y="332"/>
                    <a:pt x="2044" y="332"/>
                  </a:cubicBezTo>
                  <a:cubicBezTo>
                    <a:pt x="2061" y="332"/>
                    <a:pt x="2073" y="332"/>
                    <a:pt x="2089" y="332"/>
                  </a:cubicBezTo>
                  <a:cubicBezTo>
                    <a:pt x="2107" y="332"/>
                    <a:pt x="2118" y="350"/>
                    <a:pt x="2136" y="361"/>
                  </a:cubicBezTo>
                  <a:cubicBezTo>
                    <a:pt x="2171" y="379"/>
                    <a:pt x="2194" y="385"/>
                    <a:pt x="2235" y="385"/>
                  </a:cubicBezTo>
                  <a:cubicBezTo>
                    <a:pt x="2252" y="385"/>
                    <a:pt x="2252" y="373"/>
                    <a:pt x="2264" y="361"/>
                  </a:cubicBezTo>
                  <a:cubicBezTo>
                    <a:pt x="2282" y="332"/>
                    <a:pt x="2305" y="338"/>
                    <a:pt x="2340" y="332"/>
                  </a:cubicBezTo>
                  <a:cubicBezTo>
                    <a:pt x="2340" y="338"/>
                    <a:pt x="2346" y="338"/>
                    <a:pt x="2346" y="344"/>
                  </a:cubicBezTo>
                  <a:cubicBezTo>
                    <a:pt x="2346" y="361"/>
                    <a:pt x="2317" y="367"/>
                    <a:pt x="2317" y="390"/>
                  </a:cubicBezTo>
                  <a:cubicBezTo>
                    <a:pt x="2317" y="420"/>
                    <a:pt x="2346" y="437"/>
                    <a:pt x="2375" y="437"/>
                  </a:cubicBezTo>
                  <a:cubicBezTo>
                    <a:pt x="2398" y="437"/>
                    <a:pt x="2404" y="414"/>
                    <a:pt x="2421" y="414"/>
                  </a:cubicBezTo>
                  <a:cubicBezTo>
                    <a:pt x="2462" y="414"/>
                    <a:pt x="2485" y="460"/>
                    <a:pt x="2485" y="507"/>
                  </a:cubicBezTo>
                  <a:cubicBezTo>
                    <a:pt x="2485" y="507"/>
                    <a:pt x="2491" y="513"/>
                    <a:pt x="2497" y="513"/>
                  </a:cubicBezTo>
                  <a:cubicBezTo>
                    <a:pt x="2503" y="495"/>
                    <a:pt x="2503" y="466"/>
                    <a:pt x="2526" y="466"/>
                  </a:cubicBezTo>
                  <a:cubicBezTo>
                    <a:pt x="2567" y="466"/>
                    <a:pt x="2584" y="507"/>
                    <a:pt x="2631" y="507"/>
                  </a:cubicBezTo>
                  <a:cubicBezTo>
                    <a:pt x="2683" y="507"/>
                    <a:pt x="2683" y="507"/>
                    <a:pt x="2683" y="507"/>
                  </a:cubicBezTo>
                  <a:cubicBezTo>
                    <a:pt x="2718" y="507"/>
                    <a:pt x="2724" y="466"/>
                    <a:pt x="2759" y="449"/>
                  </a:cubicBezTo>
                  <a:cubicBezTo>
                    <a:pt x="2794" y="507"/>
                    <a:pt x="2840" y="518"/>
                    <a:pt x="2887" y="553"/>
                  </a:cubicBezTo>
                  <a:cubicBezTo>
                    <a:pt x="2904" y="565"/>
                    <a:pt x="2899" y="594"/>
                    <a:pt x="2922" y="594"/>
                  </a:cubicBezTo>
                  <a:cubicBezTo>
                    <a:pt x="2934" y="594"/>
                    <a:pt x="2939" y="583"/>
                    <a:pt x="2957" y="583"/>
                  </a:cubicBezTo>
                  <a:cubicBezTo>
                    <a:pt x="2980" y="583"/>
                    <a:pt x="2992" y="612"/>
                    <a:pt x="3015" y="612"/>
                  </a:cubicBezTo>
                  <a:cubicBezTo>
                    <a:pt x="3038" y="612"/>
                    <a:pt x="3044" y="588"/>
                    <a:pt x="3062" y="577"/>
                  </a:cubicBezTo>
                  <a:cubicBezTo>
                    <a:pt x="3050" y="571"/>
                    <a:pt x="3038" y="571"/>
                    <a:pt x="3027" y="577"/>
                  </a:cubicBezTo>
                  <a:cubicBezTo>
                    <a:pt x="3032" y="548"/>
                    <a:pt x="3056" y="548"/>
                    <a:pt x="3067" y="524"/>
                  </a:cubicBezTo>
                  <a:cubicBezTo>
                    <a:pt x="3079" y="530"/>
                    <a:pt x="3085" y="536"/>
                    <a:pt x="3097" y="536"/>
                  </a:cubicBezTo>
                  <a:cubicBezTo>
                    <a:pt x="3120" y="536"/>
                    <a:pt x="3120" y="489"/>
                    <a:pt x="3143" y="489"/>
                  </a:cubicBezTo>
                  <a:cubicBezTo>
                    <a:pt x="3155" y="489"/>
                    <a:pt x="3155" y="495"/>
                    <a:pt x="3166" y="495"/>
                  </a:cubicBezTo>
                  <a:cubicBezTo>
                    <a:pt x="3184" y="495"/>
                    <a:pt x="3195" y="483"/>
                    <a:pt x="3207" y="478"/>
                  </a:cubicBezTo>
                  <a:cubicBezTo>
                    <a:pt x="3201" y="472"/>
                    <a:pt x="3195" y="472"/>
                    <a:pt x="3184" y="466"/>
                  </a:cubicBezTo>
                  <a:cubicBezTo>
                    <a:pt x="3230" y="449"/>
                    <a:pt x="3254" y="443"/>
                    <a:pt x="3295" y="425"/>
                  </a:cubicBezTo>
                  <a:cubicBezTo>
                    <a:pt x="3300" y="425"/>
                    <a:pt x="3300" y="425"/>
                    <a:pt x="3300" y="425"/>
                  </a:cubicBezTo>
                  <a:cubicBezTo>
                    <a:pt x="3283" y="472"/>
                    <a:pt x="3283" y="507"/>
                    <a:pt x="3242" y="536"/>
                  </a:cubicBezTo>
                  <a:cubicBezTo>
                    <a:pt x="3230" y="548"/>
                    <a:pt x="3225" y="553"/>
                    <a:pt x="3225" y="571"/>
                  </a:cubicBezTo>
                  <a:cubicBezTo>
                    <a:pt x="3225" y="594"/>
                    <a:pt x="3225" y="594"/>
                    <a:pt x="3225" y="594"/>
                  </a:cubicBezTo>
                  <a:cubicBezTo>
                    <a:pt x="3230" y="594"/>
                    <a:pt x="3236" y="594"/>
                    <a:pt x="3242" y="594"/>
                  </a:cubicBezTo>
                  <a:cubicBezTo>
                    <a:pt x="3271" y="594"/>
                    <a:pt x="3277" y="553"/>
                    <a:pt x="3306" y="553"/>
                  </a:cubicBezTo>
                  <a:cubicBezTo>
                    <a:pt x="3318" y="553"/>
                    <a:pt x="3312" y="571"/>
                    <a:pt x="3324" y="571"/>
                  </a:cubicBezTo>
                  <a:cubicBezTo>
                    <a:pt x="3347" y="583"/>
                    <a:pt x="3382" y="583"/>
                    <a:pt x="3382" y="612"/>
                  </a:cubicBezTo>
                  <a:cubicBezTo>
                    <a:pt x="3382" y="635"/>
                    <a:pt x="3358" y="641"/>
                    <a:pt x="3358" y="670"/>
                  </a:cubicBezTo>
                  <a:cubicBezTo>
                    <a:pt x="3358" y="676"/>
                    <a:pt x="3358" y="681"/>
                    <a:pt x="3358" y="693"/>
                  </a:cubicBezTo>
                  <a:cubicBezTo>
                    <a:pt x="3446" y="693"/>
                    <a:pt x="3446" y="693"/>
                    <a:pt x="3446" y="693"/>
                  </a:cubicBezTo>
                  <a:cubicBezTo>
                    <a:pt x="3452" y="693"/>
                    <a:pt x="3458" y="699"/>
                    <a:pt x="3463" y="699"/>
                  </a:cubicBezTo>
                  <a:cubicBezTo>
                    <a:pt x="3498" y="699"/>
                    <a:pt x="3510" y="664"/>
                    <a:pt x="3527" y="629"/>
                  </a:cubicBezTo>
                  <a:cubicBezTo>
                    <a:pt x="3533" y="612"/>
                    <a:pt x="3556" y="600"/>
                    <a:pt x="3556" y="577"/>
                  </a:cubicBezTo>
                  <a:cubicBezTo>
                    <a:pt x="3556" y="542"/>
                    <a:pt x="3504" y="553"/>
                    <a:pt x="3469" y="542"/>
                  </a:cubicBezTo>
                  <a:cubicBezTo>
                    <a:pt x="3481" y="513"/>
                    <a:pt x="3504" y="501"/>
                    <a:pt x="3533" y="495"/>
                  </a:cubicBezTo>
                  <a:cubicBezTo>
                    <a:pt x="3568" y="483"/>
                    <a:pt x="3580" y="460"/>
                    <a:pt x="3609" y="449"/>
                  </a:cubicBezTo>
                  <a:cubicBezTo>
                    <a:pt x="3615" y="507"/>
                    <a:pt x="3638" y="542"/>
                    <a:pt x="3679" y="571"/>
                  </a:cubicBezTo>
                  <a:cubicBezTo>
                    <a:pt x="3702" y="583"/>
                    <a:pt x="3702" y="606"/>
                    <a:pt x="3725" y="606"/>
                  </a:cubicBezTo>
                  <a:cubicBezTo>
                    <a:pt x="3737" y="606"/>
                    <a:pt x="3737" y="594"/>
                    <a:pt x="3737" y="583"/>
                  </a:cubicBezTo>
                  <a:cubicBezTo>
                    <a:pt x="3737" y="571"/>
                    <a:pt x="3731" y="559"/>
                    <a:pt x="3731" y="548"/>
                  </a:cubicBezTo>
                  <a:cubicBezTo>
                    <a:pt x="3737" y="548"/>
                    <a:pt x="3737" y="542"/>
                    <a:pt x="3743" y="542"/>
                  </a:cubicBezTo>
                  <a:cubicBezTo>
                    <a:pt x="3778" y="542"/>
                    <a:pt x="3801" y="571"/>
                    <a:pt x="3801" y="606"/>
                  </a:cubicBezTo>
                  <a:cubicBezTo>
                    <a:pt x="3801" y="641"/>
                    <a:pt x="3801" y="693"/>
                    <a:pt x="3766" y="693"/>
                  </a:cubicBezTo>
                  <a:cubicBezTo>
                    <a:pt x="3754" y="693"/>
                    <a:pt x="3749" y="681"/>
                    <a:pt x="3743" y="681"/>
                  </a:cubicBezTo>
                  <a:cubicBezTo>
                    <a:pt x="3720" y="681"/>
                    <a:pt x="3720" y="681"/>
                    <a:pt x="3720" y="681"/>
                  </a:cubicBezTo>
                  <a:cubicBezTo>
                    <a:pt x="3714" y="746"/>
                    <a:pt x="3702" y="786"/>
                    <a:pt x="3661" y="833"/>
                  </a:cubicBezTo>
                  <a:cubicBezTo>
                    <a:pt x="3638" y="827"/>
                    <a:pt x="3638" y="827"/>
                    <a:pt x="3638" y="827"/>
                  </a:cubicBezTo>
                  <a:cubicBezTo>
                    <a:pt x="3626" y="839"/>
                    <a:pt x="3615" y="844"/>
                    <a:pt x="3597" y="850"/>
                  </a:cubicBezTo>
                  <a:cubicBezTo>
                    <a:pt x="3615" y="885"/>
                    <a:pt x="3638" y="897"/>
                    <a:pt x="3650" y="932"/>
                  </a:cubicBezTo>
                  <a:cubicBezTo>
                    <a:pt x="3620" y="938"/>
                    <a:pt x="3603" y="938"/>
                    <a:pt x="3586" y="949"/>
                  </a:cubicBezTo>
                  <a:cubicBezTo>
                    <a:pt x="3603" y="967"/>
                    <a:pt x="3615" y="978"/>
                    <a:pt x="3626" y="996"/>
                  </a:cubicBezTo>
                  <a:cubicBezTo>
                    <a:pt x="3597" y="1013"/>
                    <a:pt x="3597" y="1037"/>
                    <a:pt x="3574" y="1060"/>
                  </a:cubicBezTo>
                  <a:cubicBezTo>
                    <a:pt x="3556" y="1037"/>
                    <a:pt x="3562" y="1013"/>
                    <a:pt x="3551" y="978"/>
                  </a:cubicBezTo>
                  <a:cubicBezTo>
                    <a:pt x="3539" y="978"/>
                    <a:pt x="3539" y="978"/>
                    <a:pt x="3539" y="978"/>
                  </a:cubicBezTo>
                  <a:cubicBezTo>
                    <a:pt x="3533" y="1002"/>
                    <a:pt x="3516" y="1019"/>
                    <a:pt x="3492" y="1019"/>
                  </a:cubicBezTo>
                  <a:cubicBezTo>
                    <a:pt x="3492" y="1025"/>
                    <a:pt x="3492" y="1025"/>
                    <a:pt x="3492" y="1025"/>
                  </a:cubicBezTo>
                  <a:cubicBezTo>
                    <a:pt x="3492" y="1031"/>
                    <a:pt x="3498" y="1037"/>
                    <a:pt x="3498" y="1037"/>
                  </a:cubicBezTo>
                  <a:cubicBezTo>
                    <a:pt x="3498" y="1060"/>
                    <a:pt x="3469" y="1060"/>
                    <a:pt x="3446" y="1077"/>
                  </a:cubicBezTo>
                  <a:cubicBezTo>
                    <a:pt x="3440" y="1048"/>
                    <a:pt x="3452" y="1031"/>
                    <a:pt x="3428" y="1007"/>
                  </a:cubicBezTo>
                  <a:cubicBezTo>
                    <a:pt x="3417" y="1037"/>
                    <a:pt x="3417" y="1054"/>
                    <a:pt x="3393" y="1066"/>
                  </a:cubicBezTo>
                  <a:cubicBezTo>
                    <a:pt x="3388" y="1066"/>
                    <a:pt x="3388" y="1054"/>
                    <a:pt x="3382" y="1054"/>
                  </a:cubicBezTo>
                  <a:cubicBezTo>
                    <a:pt x="3347" y="1054"/>
                    <a:pt x="3312" y="1083"/>
                    <a:pt x="3312" y="1118"/>
                  </a:cubicBezTo>
                  <a:cubicBezTo>
                    <a:pt x="3312" y="1141"/>
                    <a:pt x="3329" y="1147"/>
                    <a:pt x="3341" y="1165"/>
                  </a:cubicBezTo>
                  <a:cubicBezTo>
                    <a:pt x="3329" y="1165"/>
                    <a:pt x="3329" y="1165"/>
                    <a:pt x="3329" y="1165"/>
                  </a:cubicBezTo>
                  <a:cubicBezTo>
                    <a:pt x="3312" y="1159"/>
                    <a:pt x="3312" y="1159"/>
                    <a:pt x="3312" y="1159"/>
                  </a:cubicBezTo>
                  <a:cubicBezTo>
                    <a:pt x="3306" y="1188"/>
                    <a:pt x="3300" y="1211"/>
                    <a:pt x="3300" y="1240"/>
                  </a:cubicBezTo>
                  <a:cubicBezTo>
                    <a:pt x="3300" y="1281"/>
                    <a:pt x="3318" y="1322"/>
                    <a:pt x="3358" y="1322"/>
                  </a:cubicBezTo>
                  <a:cubicBezTo>
                    <a:pt x="3411" y="1322"/>
                    <a:pt x="3364" y="1438"/>
                    <a:pt x="3329" y="1508"/>
                  </a:cubicBezTo>
                  <a:cubicBezTo>
                    <a:pt x="3306" y="1555"/>
                    <a:pt x="3254" y="1555"/>
                    <a:pt x="3230" y="1601"/>
                  </a:cubicBezTo>
                  <a:cubicBezTo>
                    <a:pt x="3195" y="1671"/>
                    <a:pt x="3184" y="1712"/>
                    <a:pt x="3137" y="1770"/>
                  </a:cubicBezTo>
                  <a:cubicBezTo>
                    <a:pt x="3120" y="1793"/>
                    <a:pt x="3097" y="1799"/>
                    <a:pt x="3085" y="1828"/>
                  </a:cubicBezTo>
                  <a:cubicBezTo>
                    <a:pt x="3085" y="1892"/>
                    <a:pt x="3085" y="1892"/>
                    <a:pt x="3085" y="1892"/>
                  </a:cubicBezTo>
                  <a:cubicBezTo>
                    <a:pt x="3085" y="1916"/>
                    <a:pt x="3108" y="1910"/>
                    <a:pt x="3126" y="1927"/>
                  </a:cubicBezTo>
                  <a:cubicBezTo>
                    <a:pt x="3230" y="1991"/>
                    <a:pt x="3166" y="2015"/>
                    <a:pt x="3242" y="2015"/>
                  </a:cubicBezTo>
                  <a:cubicBezTo>
                    <a:pt x="3277" y="2015"/>
                    <a:pt x="3283" y="2050"/>
                    <a:pt x="3312" y="2067"/>
                  </a:cubicBezTo>
                  <a:cubicBezTo>
                    <a:pt x="3382" y="2102"/>
                    <a:pt x="3434" y="2108"/>
                    <a:pt x="3492" y="2166"/>
                  </a:cubicBezTo>
                  <a:cubicBezTo>
                    <a:pt x="3510" y="2189"/>
                    <a:pt x="3504" y="2213"/>
                    <a:pt x="3527" y="2242"/>
                  </a:cubicBezTo>
                  <a:cubicBezTo>
                    <a:pt x="3603" y="2329"/>
                    <a:pt x="3720" y="2271"/>
                    <a:pt x="3679" y="2358"/>
                  </a:cubicBezTo>
                  <a:cubicBezTo>
                    <a:pt x="3702" y="2364"/>
                    <a:pt x="3708" y="2387"/>
                    <a:pt x="3725" y="2410"/>
                  </a:cubicBezTo>
                  <a:cubicBezTo>
                    <a:pt x="3737" y="2405"/>
                    <a:pt x="3743" y="2399"/>
                    <a:pt x="3754" y="2399"/>
                  </a:cubicBezTo>
                  <a:cubicBezTo>
                    <a:pt x="3772" y="2399"/>
                    <a:pt x="3784" y="2410"/>
                    <a:pt x="3801" y="2410"/>
                  </a:cubicBezTo>
                  <a:cubicBezTo>
                    <a:pt x="3813" y="2410"/>
                    <a:pt x="3818" y="2405"/>
                    <a:pt x="3824" y="2399"/>
                  </a:cubicBezTo>
                  <a:cubicBezTo>
                    <a:pt x="3836" y="2399"/>
                    <a:pt x="3842" y="2399"/>
                    <a:pt x="3853" y="2399"/>
                  </a:cubicBezTo>
                  <a:cubicBezTo>
                    <a:pt x="3906" y="2399"/>
                    <a:pt x="3935" y="2428"/>
                    <a:pt x="3964" y="2474"/>
                  </a:cubicBezTo>
                  <a:cubicBezTo>
                    <a:pt x="3981" y="2504"/>
                    <a:pt x="4016" y="2492"/>
                    <a:pt x="4046" y="2515"/>
                  </a:cubicBezTo>
                  <a:cubicBezTo>
                    <a:pt x="4104" y="2556"/>
                    <a:pt x="4139" y="2591"/>
                    <a:pt x="4209" y="2591"/>
                  </a:cubicBezTo>
                  <a:cubicBezTo>
                    <a:pt x="4209" y="2591"/>
                    <a:pt x="4209" y="2597"/>
                    <a:pt x="4209" y="2602"/>
                  </a:cubicBezTo>
                  <a:cubicBezTo>
                    <a:pt x="4209" y="2608"/>
                    <a:pt x="4203" y="2608"/>
                    <a:pt x="4203" y="2614"/>
                  </a:cubicBezTo>
                  <a:cubicBezTo>
                    <a:pt x="4203" y="2620"/>
                    <a:pt x="4220" y="2620"/>
                    <a:pt x="4226" y="2626"/>
                  </a:cubicBezTo>
                  <a:cubicBezTo>
                    <a:pt x="4249" y="2643"/>
                    <a:pt x="4261" y="2649"/>
                    <a:pt x="4278" y="2672"/>
                  </a:cubicBezTo>
                  <a:cubicBezTo>
                    <a:pt x="4302" y="2702"/>
                    <a:pt x="4325" y="2725"/>
                    <a:pt x="4348" y="2742"/>
                  </a:cubicBezTo>
                  <a:close/>
                </a:path>
              </a:pathLst>
            </a:custGeom>
            <a:grpFill/>
            <a:ln w="9525" cap="flat" cmpd="sng">
              <a:solidFill>
                <a:schemeClr val="bg1"/>
              </a:solidFill>
              <a:bevel/>
              <a:headEnd/>
              <a:tailEnd/>
            </a:ln>
            <a:effectLst/>
          </p:spPr>
          <p:txBody>
            <a:bodyPr wrap="none" anchor="ctr"/>
            <a:lstStyle/>
            <a:p>
              <a:pPr defTabSz="342831">
                <a:defRPr/>
              </a:pPr>
              <a:endParaRPr lang="en-US" sz="338">
                <a:latin typeface="Montserrat" charset="0"/>
              </a:endParaRPr>
            </a:p>
          </p:txBody>
        </p:sp>
        <p:sp>
          <p:nvSpPr>
            <p:cNvPr id="95" name="Freeform 94">
              <a:extLst>
                <a:ext uri="{FF2B5EF4-FFF2-40B4-BE49-F238E27FC236}">
                  <a16:creationId xmlns:a16="http://schemas.microsoft.com/office/drawing/2014/main" id="{2F158B17-07BC-2D4E-BDC3-5E6D5AA45160}"/>
                </a:ext>
              </a:extLst>
            </p:cNvPr>
            <p:cNvSpPr>
              <a:spLocks noChangeArrowheads="1"/>
            </p:cNvSpPr>
            <p:nvPr/>
          </p:nvSpPr>
          <p:spPr bwMode="auto">
            <a:xfrm>
              <a:off x="6791527" y="673509"/>
              <a:ext cx="2301731" cy="3002867"/>
            </a:xfrm>
            <a:custGeom>
              <a:avLst/>
              <a:gdLst>
                <a:gd name="T0" fmla="*/ 740 w 7500"/>
                <a:gd name="T1" fmla="*/ 3126 h 9786"/>
                <a:gd name="T2" fmla="*/ 716 w 7500"/>
                <a:gd name="T3" fmla="*/ 3394 h 9786"/>
                <a:gd name="T4" fmla="*/ 2009 w 7500"/>
                <a:gd name="T5" fmla="*/ 279 h 9786"/>
                <a:gd name="T6" fmla="*/ 2049 w 7500"/>
                <a:gd name="T7" fmla="*/ 17 h 9786"/>
                <a:gd name="T8" fmla="*/ 6427 w 7500"/>
                <a:gd name="T9" fmla="*/ 6898 h 9786"/>
                <a:gd name="T10" fmla="*/ 7353 w 7500"/>
                <a:gd name="T11" fmla="*/ 7428 h 9786"/>
                <a:gd name="T12" fmla="*/ 7213 w 7500"/>
                <a:gd name="T13" fmla="*/ 7824 h 9786"/>
                <a:gd name="T14" fmla="*/ 7359 w 7500"/>
                <a:gd name="T15" fmla="*/ 7434 h 9786"/>
                <a:gd name="T16" fmla="*/ 7289 w 7500"/>
                <a:gd name="T17" fmla="*/ 9331 h 9786"/>
                <a:gd name="T18" fmla="*/ 6742 w 7500"/>
                <a:gd name="T19" fmla="*/ 9435 h 9786"/>
                <a:gd name="T20" fmla="*/ 6497 w 7500"/>
                <a:gd name="T21" fmla="*/ 9744 h 9786"/>
                <a:gd name="T22" fmla="*/ 6066 w 7500"/>
                <a:gd name="T23" fmla="*/ 9494 h 9786"/>
                <a:gd name="T24" fmla="*/ 5577 w 7500"/>
                <a:gd name="T25" fmla="*/ 9453 h 9786"/>
                <a:gd name="T26" fmla="*/ 1467 w 7500"/>
                <a:gd name="T27" fmla="*/ 8051 h 9786"/>
                <a:gd name="T28" fmla="*/ 402 w 7500"/>
                <a:gd name="T29" fmla="*/ 3341 h 9786"/>
                <a:gd name="T30" fmla="*/ 1002 w 7500"/>
                <a:gd name="T31" fmla="*/ 3761 h 9786"/>
                <a:gd name="T32" fmla="*/ 1345 w 7500"/>
                <a:gd name="T33" fmla="*/ 3656 h 9786"/>
                <a:gd name="T34" fmla="*/ 1531 w 7500"/>
                <a:gd name="T35" fmla="*/ 3307 h 9786"/>
                <a:gd name="T36" fmla="*/ 1595 w 7500"/>
                <a:gd name="T37" fmla="*/ 3184 h 9786"/>
                <a:gd name="T38" fmla="*/ 1753 w 7500"/>
                <a:gd name="T39" fmla="*/ 2497 h 9786"/>
                <a:gd name="T40" fmla="*/ 1683 w 7500"/>
                <a:gd name="T41" fmla="*/ 1863 h 9786"/>
                <a:gd name="T42" fmla="*/ 1828 w 7500"/>
                <a:gd name="T43" fmla="*/ 1577 h 9786"/>
                <a:gd name="T44" fmla="*/ 1875 w 7500"/>
                <a:gd name="T45" fmla="*/ 1240 h 9786"/>
                <a:gd name="T46" fmla="*/ 1910 w 7500"/>
                <a:gd name="T47" fmla="*/ 1007 h 9786"/>
                <a:gd name="T48" fmla="*/ 1910 w 7500"/>
                <a:gd name="T49" fmla="*/ 879 h 9786"/>
                <a:gd name="T50" fmla="*/ 2009 w 7500"/>
                <a:gd name="T51" fmla="*/ 402 h 9786"/>
                <a:gd name="T52" fmla="*/ 2172 w 7500"/>
                <a:gd name="T53" fmla="*/ 396 h 9786"/>
                <a:gd name="T54" fmla="*/ 2335 w 7500"/>
                <a:gd name="T55" fmla="*/ 576 h 9786"/>
                <a:gd name="T56" fmla="*/ 2451 w 7500"/>
                <a:gd name="T57" fmla="*/ 1013 h 9786"/>
                <a:gd name="T58" fmla="*/ 2591 w 7500"/>
                <a:gd name="T59" fmla="*/ 1356 h 9786"/>
                <a:gd name="T60" fmla="*/ 2713 w 7500"/>
                <a:gd name="T61" fmla="*/ 1857 h 9786"/>
                <a:gd name="T62" fmla="*/ 3173 w 7500"/>
                <a:gd name="T63" fmla="*/ 2043 h 9786"/>
                <a:gd name="T64" fmla="*/ 3476 w 7500"/>
                <a:gd name="T65" fmla="*/ 2340 h 9786"/>
                <a:gd name="T66" fmla="*/ 3557 w 7500"/>
                <a:gd name="T67" fmla="*/ 2835 h 9786"/>
                <a:gd name="T68" fmla="*/ 3802 w 7500"/>
                <a:gd name="T69" fmla="*/ 3376 h 9786"/>
                <a:gd name="T70" fmla="*/ 3907 w 7500"/>
                <a:gd name="T71" fmla="*/ 3871 h 9786"/>
                <a:gd name="T72" fmla="*/ 4035 w 7500"/>
                <a:gd name="T73" fmla="*/ 4407 h 9786"/>
                <a:gd name="T74" fmla="*/ 4489 w 7500"/>
                <a:gd name="T75" fmla="*/ 4634 h 9786"/>
                <a:gd name="T76" fmla="*/ 4751 w 7500"/>
                <a:gd name="T77" fmla="*/ 4785 h 9786"/>
                <a:gd name="T78" fmla="*/ 5100 w 7500"/>
                <a:gd name="T79" fmla="*/ 5030 h 9786"/>
                <a:gd name="T80" fmla="*/ 5147 w 7500"/>
                <a:gd name="T81" fmla="*/ 5158 h 9786"/>
                <a:gd name="T82" fmla="*/ 5321 w 7500"/>
                <a:gd name="T83" fmla="*/ 5437 h 9786"/>
                <a:gd name="T84" fmla="*/ 5414 w 7500"/>
                <a:gd name="T85" fmla="*/ 5565 h 9786"/>
                <a:gd name="T86" fmla="*/ 5595 w 7500"/>
                <a:gd name="T87" fmla="*/ 6089 h 9786"/>
                <a:gd name="T88" fmla="*/ 5775 w 7500"/>
                <a:gd name="T89" fmla="*/ 6124 h 9786"/>
                <a:gd name="T90" fmla="*/ 6072 w 7500"/>
                <a:gd name="T91" fmla="*/ 6223 h 9786"/>
                <a:gd name="T92" fmla="*/ 6177 w 7500"/>
                <a:gd name="T93" fmla="*/ 6357 h 9786"/>
                <a:gd name="T94" fmla="*/ 6165 w 7500"/>
                <a:gd name="T95" fmla="*/ 6700 h 9786"/>
                <a:gd name="T96" fmla="*/ 6439 w 7500"/>
                <a:gd name="T97" fmla="*/ 6962 h 9786"/>
                <a:gd name="T98" fmla="*/ 6759 w 7500"/>
                <a:gd name="T99" fmla="*/ 7259 h 9786"/>
                <a:gd name="T100" fmla="*/ 7056 w 7500"/>
                <a:gd name="T101" fmla="*/ 7638 h 9786"/>
                <a:gd name="T102" fmla="*/ 7260 w 7500"/>
                <a:gd name="T103" fmla="*/ 8226 h 9786"/>
                <a:gd name="T104" fmla="*/ 7336 w 7500"/>
                <a:gd name="T105" fmla="*/ 8447 h 9786"/>
                <a:gd name="T106" fmla="*/ 7399 w 7500"/>
                <a:gd name="T107" fmla="*/ 8901 h 9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00" h="9786">
                  <a:moveTo>
                    <a:pt x="559" y="3219"/>
                  </a:moveTo>
                  <a:lnTo>
                    <a:pt x="559" y="3219"/>
                  </a:lnTo>
                  <a:cubicBezTo>
                    <a:pt x="559" y="3242"/>
                    <a:pt x="588" y="3248"/>
                    <a:pt x="611" y="3248"/>
                  </a:cubicBezTo>
                  <a:cubicBezTo>
                    <a:pt x="629" y="3248"/>
                    <a:pt x="629" y="3225"/>
                    <a:pt x="641" y="3213"/>
                  </a:cubicBezTo>
                  <a:cubicBezTo>
                    <a:pt x="658" y="3202"/>
                    <a:pt x="670" y="3207"/>
                    <a:pt x="687" y="3207"/>
                  </a:cubicBezTo>
                  <a:cubicBezTo>
                    <a:pt x="687" y="3173"/>
                    <a:pt x="705" y="3126"/>
                    <a:pt x="740" y="3126"/>
                  </a:cubicBezTo>
                  <a:cubicBezTo>
                    <a:pt x="757" y="3126"/>
                    <a:pt x="763" y="3149"/>
                    <a:pt x="780" y="3149"/>
                  </a:cubicBezTo>
                  <a:cubicBezTo>
                    <a:pt x="786" y="3149"/>
                    <a:pt x="798" y="3138"/>
                    <a:pt x="798" y="3126"/>
                  </a:cubicBezTo>
                  <a:cubicBezTo>
                    <a:pt x="798" y="3091"/>
                    <a:pt x="740" y="3097"/>
                    <a:pt x="705" y="3109"/>
                  </a:cubicBezTo>
                  <a:cubicBezTo>
                    <a:pt x="641" y="3138"/>
                    <a:pt x="559" y="3149"/>
                    <a:pt x="559" y="3219"/>
                  </a:cubicBezTo>
                  <a:close/>
                  <a:moveTo>
                    <a:pt x="716" y="3394"/>
                  </a:moveTo>
                  <a:lnTo>
                    <a:pt x="716" y="3394"/>
                  </a:lnTo>
                  <a:cubicBezTo>
                    <a:pt x="705" y="3411"/>
                    <a:pt x="693" y="3417"/>
                    <a:pt x="681" y="3435"/>
                  </a:cubicBezTo>
                  <a:cubicBezTo>
                    <a:pt x="699" y="3440"/>
                    <a:pt x="710" y="3440"/>
                    <a:pt x="734" y="3440"/>
                  </a:cubicBezTo>
                  <a:cubicBezTo>
                    <a:pt x="734" y="3423"/>
                    <a:pt x="728" y="3405"/>
                    <a:pt x="716" y="3394"/>
                  </a:cubicBezTo>
                  <a:close/>
                  <a:moveTo>
                    <a:pt x="2038" y="233"/>
                  </a:moveTo>
                  <a:lnTo>
                    <a:pt x="2038" y="233"/>
                  </a:lnTo>
                  <a:cubicBezTo>
                    <a:pt x="2020" y="244"/>
                    <a:pt x="2009" y="256"/>
                    <a:pt x="2009" y="279"/>
                  </a:cubicBezTo>
                  <a:cubicBezTo>
                    <a:pt x="2009" y="291"/>
                    <a:pt x="2014" y="291"/>
                    <a:pt x="2014" y="303"/>
                  </a:cubicBezTo>
                  <a:cubicBezTo>
                    <a:pt x="2020" y="285"/>
                    <a:pt x="2038" y="279"/>
                    <a:pt x="2055" y="279"/>
                  </a:cubicBezTo>
                  <a:cubicBezTo>
                    <a:pt x="2055" y="273"/>
                    <a:pt x="2055" y="273"/>
                    <a:pt x="2055" y="268"/>
                  </a:cubicBezTo>
                  <a:cubicBezTo>
                    <a:pt x="2055" y="250"/>
                    <a:pt x="2049" y="244"/>
                    <a:pt x="2038" y="233"/>
                  </a:cubicBezTo>
                  <a:close/>
                  <a:moveTo>
                    <a:pt x="2049" y="17"/>
                  </a:moveTo>
                  <a:lnTo>
                    <a:pt x="2049" y="17"/>
                  </a:lnTo>
                  <a:cubicBezTo>
                    <a:pt x="2049" y="35"/>
                    <a:pt x="2067" y="41"/>
                    <a:pt x="2073" y="52"/>
                  </a:cubicBezTo>
                  <a:cubicBezTo>
                    <a:pt x="2090" y="41"/>
                    <a:pt x="2096" y="29"/>
                    <a:pt x="2102" y="12"/>
                  </a:cubicBezTo>
                  <a:cubicBezTo>
                    <a:pt x="2084" y="0"/>
                    <a:pt x="2049" y="0"/>
                    <a:pt x="2049" y="17"/>
                  </a:cubicBezTo>
                  <a:close/>
                  <a:moveTo>
                    <a:pt x="6293" y="6718"/>
                  </a:moveTo>
                  <a:lnTo>
                    <a:pt x="6293" y="6718"/>
                  </a:lnTo>
                  <a:cubicBezTo>
                    <a:pt x="6305" y="6805"/>
                    <a:pt x="6363" y="6840"/>
                    <a:pt x="6427" y="6898"/>
                  </a:cubicBezTo>
                  <a:cubicBezTo>
                    <a:pt x="6427" y="6893"/>
                    <a:pt x="6433" y="6893"/>
                    <a:pt x="6433" y="6887"/>
                  </a:cubicBezTo>
                  <a:cubicBezTo>
                    <a:pt x="6433" y="6852"/>
                    <a:pt x="6404" y="6840"/>
                    <a:pt x="6381" y="6811"/>
                  </a:cubicBezTo>
                  <a:cubicBezTo>
                    <a:pt x="6352" y="6770"/>
                    <a:pt x="6340" y="6724"/>
                    <a:pt x="6293" y="6718"/>
                  </a:cubicBezTo>
                  <a:close/>
                  <a:moveTo>
                    <a:pt x="7359" y="7434"/>
                  </a:moveTo>
                  <a:lnTo>
                    <a:pt x="7359" y="7434"/>
                  </a:lnTo>
                  <a:cubicBezTo>
                    <a:pt x="7353" y="7428"/>
                    <a:pt x="7353" y="7428"/>
                    <a:pt x="7353" y="7428"/>
                  </a:cubicBezTo>
                  <a:cubicBezTo>
                    <a:pt x="7353" y="7451"/>
                    <a:pt x="7359" y="7463"/>
                    <a:pt x="7359" y="7486"/>
                  </a:cubicBezTo>
                  <a:cubicBezTo>
                    <a:pt x="7359" y="7533"/>
                    <a:pt x="7336" y="7562"/>
                    <a:pt x="7300" y="7591"/>
                  </a:cubicBezTo>
                  <a:cubicBezTo>
                    <a:pt x="7283" y="7597"/>
                    <a:pt x="7266" y="7603"/>
                    <a:pt x="7266" y="7614"/>
                  </a:cubicBezTo>
                  <a:cubicBezTo>
                    <a:pt x="7266" y="7632"/>
                    <a:pt x="7271" y="7643"/>
                    <a:pt x="7271" y="7661"/>
                  </a:cubicBezTo>
                  <a:cubicBezTo>
                    <a:pt x="7271" y="7731"/>
                    <a:pt x="7271" y="7731"/>
                    <a:pt x="7271" y="7731"/>
                  </a:cubicBezTo>
                  <a:cubicBezTo>
                    <a:pt x="7271" y="7771"/>
                    <a:pt x="7242" y="7789"/>
                    <a:pt x="7213" y="7824"/>
                  </a:cubicBezTo>
                  <a:cubicBezTo>
                    <a:pt x="7248" y="7836"/>
                    <a:pt x="7237" y="7871"/>
                    <a:pt x="7248" y="7900"/>
                  </a:cubicBezTo>
                  <a:cubicBezTo>
                    <a:pt x="7254" y="7917"/>
                    <a:pt x="7271" y="7923"/>
                    <a:pt x="7283" y="7934"/>
                  </a:cubicBezTo>
                  <a:cubicBezTo>
                    <a:pt x="7318" y="7894"/>
                    <a:pt x="7283" y="7847"/>
                    <a:pt x="7312" y="7795"/>
                  </a:cubicBezTo>
                  <a:cubicBezTo>
                    <a:pt x="7336" y="7742"/>
                    <a:pt x="7341" y="7708"/>
                    <a:pt x="7359" y="7655"/>
                  </a:cubicBezTo>
                  <a:cubicBezTo>
                    <a:pt x="7382" y="7603"/>
                    <a:pt x="7411" y="7579"/>
                    <a:pt x="7411" y="7527"/>
                  </a:cubicBezTo>
                  <a:cubicBezTo>
                    <a:pt x="7411" y="7486"/>
                    <a:pt x="7376" y="7469"/>
                    <a:pt x="7359" y="7434"/>
                  </a:cubicBezTo>
                  <a:close/>
                  <a:moveTo>
                    <a:pt x="7499" y="9221"/>
                  </a:moveTo>
                  <a:lnTo>
                    <a:pt x="7499" y="9221"/>
                  </a:lnTo>
                  <a:lnTo>
                    <a:pt x="7499" y="9221"/>
                  </a:lnTo>
                  <a:cubicBezTo>
                    <a:pt x="7464" y="9243"/>
                    <a:pt x="7446" y="9255"/>
                    <a:pt x="7411" y="9267"/>
                  </a:cubicBezTo>
                  <a:cubicBezTo>
                    <a:pt x="7388" y="9272"/>
                    <a:pt x="7365" y="9261"/>
                    <a:pt x="7347" y="9272"/>
                  </a:cubicBezTo>
                  <a:cubicBezTo>
                    <a:pt x="7318" y="9284"/>
                    <a:pt x="7318" y="9331"/>
                    <a:pt x="7289" y="9331"/>
                  </a:cubicBezTo>
                  <a:cubicBezTo>
                    <a:pt x="7271" y="9331"/>
                    <a:pt x="7266" y="9319"/>
                    <a:pt x="7248" y="9319"/>
                  </a:cubicBezTo>
                  <a:cubicBezTo>
                    <a:pt x="7213" y="9313"/>
                    <a:pt x="7184" y="9325"/>
                    <a:pt x="7149" y="9325"/>
                  </a:cubicBezTo>
                  <a:cubicBezTo>
                    <a:pt x="7091" y="9325"/>
                    <a:pt x="7068" y="9278"/>
                    <a:pt x="7010" y="9278"/>
                  </a:cubicBezTo>
                  <a:cubicBezTo>
                    <a:pt x="6963" y="9278"/>
                    <a:pt x="6957" y="9325"/>
                    <a:pt x="6922" y="9354"/>
                  </a:cubicBezTo>
                  <a:cubicBezTo>
                    <a:pt x="6905" y="9366"/>
                    <a:pt x="6887" y="9354"/>
                    <a:pt x="6864" y="9366"/>
                  </a:cubicBezTo>
                  <a:cubicBezTo>
                    <a:pt x="6811" y="9383"/>
                    <a:pt x="6794" y="9418"/>
                    <a:pt x="6742" y="9435"/>
                  </a:cubicBezTo>
                  <a:cubicBezTo>
                    <a:pt x="6753" y="9465"/>
                    <a:pt x="6759" y="9482"/>
                    <a:pt x="6777" y="9500"/>
                  </a:cubicBezTo>
                  <a:cubicBezTo>
                    <a:pt x="6782" y="9505"/>
                    <a:pt x="6800" y="9505"/>
                    <a:pt x="6800" y="9517"/>
                  </a:cubicBezTo>
                  <a:cubicBezTo>
                    <a:pt x="6800" y="9581"/>
                    <a:pt x="6753" y="9639"/>
                    <a:pt x="6689" y="9639"/>
                  </a:cubicBezTo>
                  <a:cubicBezTo>
                    <a:pt x="6689" y="9651"/>
                    <a:pt x="6689" y="9657"/>
                    <a:pt x="6683" y="9668"/>
                  </a:cubicBezTo>
                  <a:cubicBezTo>
                    <a:pt x="6654" y="9668"/>
                    <a:pt x="6643" y="9628"/>
                    <a:pt x="6614" y="9628"/>
                  </a:cubicBezTo>
                  <a:cubicBezTo>
                    <a:pt x="6550" y="9628"/>
                    <a:pt x="6526" y="9686"/>
                    <a:pt x="6497" y="9744"/>
                  </a:cubicBezTo>
                  <a:cubicBezTo>
                    <a:pt x="6485" y="9761"/>
                    <a:pt x="6491" y="9785"/>
                    <a:pt x="6474" y="9785"/>
                  </a:cubicBezTo>
                  <a:cubicBezTo>
                    <a:pt x="6392" y="9785"/>
                    <a:pt x="6439" y="9645"/>
                    <a:pt x="6369" y="9610"/>
                  </a:cubicBezTo>
                  <a:cubicBezTo>
                    <a:pt x="6305" y="9581"/>
                    <a:pt x="6282" y="9546"/>
                    <a:pt x="6224" y="9511"/>
                  </a:cubicBezTo>
                  <a:cubicBezTo>
                    <a:pt x="6206" y="9500"/>
                    <a:pt x="6206" y="9476"/>
                    <a:pt x="6183" y="9476"/>
                  </a:cubicBezTo>
                  <a:cubicBezTo>
                    <a:pt x="6159" y="9476"/>
                    <a:pt x="6148" y="9494"/>
                    <a:pt x="6119" y="9494"/>
                  </a:cubicBezTo>
                  <a:cubicBezTo>
                    <a:pt x="6066" y="9494"/>
                    <a:pt x="6066" y="9494"/>
                    <a:pt x="6066" y="9494"/>
                  </a:cubicBezTo>
                  <a:cubicBezTo>
                    <a:pt x="6061" y="9494"/>
                    <a:pt x="6055" y="9500"/>
                    <a:pt x="6043" y="9500"/>
                  </a:cubicBezTo>
                  <a:cubicBezTo>
                    <a:pt x="5996" y="9500"/>
                    <a:pt x="5991" y="9435"/>
                    <a:pt x="5944" y="9435"/>
                  </a:cubicBezTo>
                  <a:cubicBezTo>
                    <a:pt x="5868" y="9435"/>
                    <a:pt x="5833" y="9482"/>
                    <a:pt x="5758" y="9482"/>
                  </a:cubicBezTo>
                  <a:cubicBezTo>
                    <a:pt x="5740" y="9482"/>
                    <a:pt x="5735" y="9476"/>
                    <a:pt x="5717" y="9476"/>
                  </a:cubicBezTo>
                  <a:cubicBezTo>
                    <a:pt x="5665" y="9476"/>
                    <a:pt x="5665" y="9476"/>
                    <a:pt x="5665" y="9476"/>
                  </a:cubicBezTo>
                  <a:cubicBezTo>
                    <a:pt x="5630" y="9476"/>
                    <a:pt x="5612" y="9453"/>
                    <a:pt x="5577" y="9453"/>
                  </a:cubicBezTo>
                  <a:cubicBezTo>
                    <a:pt x="5531" y="9453"/>
                    <a:pt x="5513" y="9500"/>
                    <a:pt x="5473" y="9529"/>
                  </a:cubicBezTo>
                  <a:cubicBezTo>
                    <a:pt x="5426" y="9563"/>
                    <a:pt x="5385" y="9563"/>
                    <a:pt x="5350" y="9610"/>
                  </a:cubicBezTo>
                  <a:cubicBezTo>
                    <a:pt x="5333" y="9628"/>
                    <a:pt x="5344" y="9663"/>
                    <a:pt x="5321" y="9668"/>
                  </a:cubicBezTo>
                  <a:cubicBezTo>
                    <a:pt x="1467" y="9680"/>
                    <a:pt x="1467" y="9680"/>
                    <a:pt x="1467" y="9680"/>
                  </a:cubicBezTo>
                  <a:lnTo>
                    <a:pt x="1467" y="9680"/>
                  </a:lnTo>
                  <a:cubicBezTo>
                    <a:pt x="1467" y="8051"/>
                    <a:pt x="1467" y="8051"/>
                    <a:pt x="1467" y="8051"/>
                  </a:cubicBezTo>
                  <a:cubicBezTo>
                    <a:pt x="6" y="8045"/>
                    <a:pt x="6" y="8045"/>
                    <a:pt x="6" y="8045"/>
                  </a:cubicBezTo>
                  <a:lnTo>
                    <a:pt x="6" y="8045"/>
                  </a:lnTo>
                  <a:cubicBezTo>
                    <a:pt x="0" y="3184"/>
                    <a:pt x="0" y="3184"/>
                    <a:pt x="0" y="3184"/>
                  </a:cubicBezTo>
                  <a:lnTo>
                    <a:pt x="0" y="3184"/>
                  </a:lnTo>
                  <a:cubicBezTo>
                    <a:pt x="35" y="3219"/>
                    <a:pt x="70" y="3237"/>
                    <a:pt x="128" y="3254"/>
                  </a:cubicBezTo>
                  <a:cubicBezTo>
                    <a:pt x="233" y="3289"/>
                    <a:pt x="291" y="3307"/>
                    <a:pt x="402" y="3341"/>
                  </a:cubicBezTo>
                  <a:cubicBezTo>
                    <a:pt x="454" y="3353"/>
                    <a:pt x="501" y="3359"/>
                    <a:pt x="530" y="3405"/>
                  </a:cubicBezTo>
                  <a:cubicBezTo>
                    <a:pt x="565" y="3464"/>
                    <a:pt x="536" y="3522"/>
                    <a:pt x="582" y="3568"/>
                  </a:cubicBezTo>
                  <a:cubicBezTo>
                    <a:pt x="617" y="3603"/>
                    <a:pt x="664" y="3580"/>
                    <a:pt x="710" y="3598"/>
                  </a:cubicBezTo>
                  <a:cubicBezTo>
                    <a:pt x="740" y="3603"/>
                    <a:pt x="745" y="3627"/>
                    <a:pt x="769" y="3644"/>
                  </a:cubicBezTo>
                  <a:cubicBezTo>
                    <a:pt x="844" y="3708"/>
                    <a:pt x="792" y="3691"/>
                    <a:pt x="856" y="3691"/>
                  </a:cubicBezTo>
                  <a:cubicBezTo>
                    <a:pt x="920" y="3691"/>
                    <a:pt x="937" y="3761"/>
                    <a:pt x="1002" y="3761"/>
                  </a:cubicBezTo>
                  <a:cubicBezTo>
                    <a:pt x="1054" y="3761"/>
                    <a:pt x="1054" y="3761"/>
                    <a:pt x="1054" y="3761"/>
                  </a:cubicBezTo>
                  <a:cubicBezTo>
                    <a:pt x="1153" y="3761"/>
                    <a:pt x="1194" y="3679"/>
                    <a:pt x="1293" y="3679"/>
                  </a:cubicBezTo>
                  <a:cubicBezTo>
                    <a:pt x="1299" y="3679"/>
                    <a:pt x="1304" y="3691"/>
                    <a:pt x="1310" y="3696"/>
                  </a:cubicBezTo>
                  <a:cubicBezTo>
                    <a:pt x="1310" y="3656"/>
                    <a:pt x="1310" y="3656"/>
                    <a:pt x="1310" y="3656"/>
                  </a:cubicBezTo>
                  <a:cubicBezTo>
                    <a:pt x="1316" y="3656"/>
                    <a:pt x="1316" y="3650"/>
                    <a:pt x="1322" y="3650"/>
                  </a:cubicBezTo>
                  <a:cubicBezTo>
                    <a:pt x="1328" y="3650"/>
                    <a:pt x="1333" y="3656"/>
                    <a:pt x="1345" y="3656"/>
                  </a:cubicBezTo>
                  <a:cubicBezTo>
                    <a:pt x="1345" y="3603"/>
                    <a:pt x="1380" y="3586"/>
                    <a:pt x="1403" y="3539"/>
                  </a:cubicBezTo>
                  <a:cubicBezTo>
                    <a:pt x="1415" y="3551"/>
                    <a:pt x="1415" y="3551"/>
                    <a:pt x="1415" y="3551"/>
                  </a:cubicBezTo>
                  <a:cubicBezTo>
                    <a:pt x="1444" y="3487"/>
                    <a:pt x="1467" y="3446"/>
                    <a:pt x="1456" y="3382"/>
                  </a:cubicBezTo>
                  <a:cubicBezTo>
                    <a:pt x="1479" y="3370"/>
                    <a:pt x="1491" y="3353"/>
                    <a:pt x="1502" y="3330"/>
                  </a:cubicBezTo>
                  <a:cubicBezTo>
                    <a:pt x="1508" y="3318"/>
                    <a:pt x="1508" y="3295"/>
                    <a:pt x="1520" y="3295"/>
                  </a:cubicBezTo>
                  <a:cubicBezTo>
                    <a:pt x="1525" y="3295"/>
                    <a:pt x="1525" y="3307"/>
                    <a:pt x="1531" y="3307"/>
                  </a:cubicBezTo>
                  <a:cubicBezTo>
                    <a:pt x="1531" y="3295"/>
                    <a:pt x="1531" y="3283"/>
                    <a:pt x="1531" y="3266"/>
                  </a:cubicBezTo>
                  <a:cubicBezTo>
                    <a:pt x="1549" y="3266"/>
                    <a:pt x="1560" y="3266"/>
                    <a:pt x="1584" y="3266"/>
                  </a:cubicBezTo>
                  <a:cubicBezTo>
                    <a:pt x="1572" y="3260"/>
                    <a:pt x="1566" y="3254"/>
                    <a:pt x="1566" y="3237"/>
                  </a:cubicBezTo>
                  <a:cubicBezTo>
                    <a:pt x="1566" y="3225"/>
                    <a:pt x="1572" y="3213"/>
                    <a:pt x="1584" y="3213"/>
                  </a:cubicBezTo>
                  <a:cubicBezTo>
                    <a:pt x="1590" y="3213"/>
                    <a:pt x="1590" y="3219"/>
                    <a:pt x="1595" y="3219"/>
                  </a:cubicBezTo>
                  <a:cubicBezTo>
                    <a:pt x="1595" y="3184"/>
                    <a:pt x="1595" y="3184"/>
                    <a:pt x="1595" y="3184"/>
                  </a:cubicBezTo>
                  <a:cubicBezTo>
                    <a:pt x="1595" y="3074"/>
                    <a:pt x="1665" y="3021"/>
                    <a:pt x="1665" y="2916"/>
                  </a:cubicBezTo>
                  <a:cubicBezTo>
                    <a:pt x="1665" y="2899"/>
                    <a:pt x="1654" y="2887"/>
                    <a:pt x="1654" y="2870"/>
                  </a:cubicBezTo>
                  <a:cubicBezTo>
                    <a:pt x="1654" y="2841"/>
                    <a:pt x="1665" y="2829"/>
                    <a:pt x="1665" y="2800"/>
                  </a:cubicBezTo>
                  <a:cubicBezTo>
                    <a:pt x="1665" y="2730"/>
                    <a:pt x="1688" y="2689"/>
                    <a:pt x="1712" y="2620"/>
                  </a:cubicBezTo>
                  <a:cubicBezTo>
                    <a:pt x="1723" y="2585"/>
                    <a:pt x="1718" y="2544"/>
                    <a:pt x="1753" y="2521"/>
                  </a:cubicBezTo>
                  <a:cubicBezTo>
                    <a:pt x="1805" y="2521"/>
                    <a:pt x="1753" y="2526"/>
                    <a:pt x="1753" y="2497"/>
                  </a:cubicBezTo>
                  <a:cubicBezTo>
                    <a:pt x="1753" y="2486"/>
                    <a:pt x="1764" y="2480"/>
                    <a:pt x="1770" y="2474"/>
                  </a:cubicBezTo>
                  <a:cubicBezTo>
                    <a:pt x="1788" y="2451"/>
                    <a:pt x="1782" y="2433"/>
                    <a:pt x="1788" y="2410"/>
                  </a:cubicBezTo>
                  <a:cubicBezTo>
                    <a:pt x="1729" y="2317"/>
                    <a:pt x="1712" y="2253"/>
                    <a:pt x="1712" y="2142"/>
                  </a:cubicBezTo>
                  <a:cubicBezTo>
                    <a:pt x="1712" y="2090"/>
                    <a:pt x="1753" y="2061"/>
                    <a:pt x="1753" y="2008"/>
                  </a:cubicBezTo>
                  <a:cubicBezTo>
                    <a:pt x="1753" y="1956"/>
                    <a:pt x="1753" y="1956"/>
                    <a:pt x="1753" y="1956"/>
                  </a:cubicBezTo>
                  <a:cubicBezTo>
                    <a:pt x="1753" y="1909"/>
                    <a:pt x="1683" y="1909"/>
                    <a:pt x="1683" y="1863"/>
                  </a:cubicBezTo>
                  <a:cubicBezTo>
                    <a:pt x="1683" y="1834"/>
                    <a:pt x="1700" y="1822"/>
                    <a:pt x="1700" y="1793"/>
                  </a:cubicBezTo>
                  <a:cubicBezTo>
                    <a:pt x="1706" y="1752"/>
                    <a:pt x="1706" y="1723"/>
                    <a:pt x="1729" y="1688"/>
                  </a:cubicBezTo>
                  <a:cubicBezTo>
                    <a:pt x="1753" y="1659"/>
                    <a:pt x="1735" y="1624"/>
                    <a:pt x="1758" y="1595"/>
                  </a:cubicBezTo>
                  <a:cubicBezTo>
                    <a:pt x="1776" y="1601"/>
                    <a:pt x="1776" y="1618"/>
                    <a:pt x="1793" y="1636"/>
                  </a:cubicBezTo>
                  <a:cubicBezTo>
                    <a:pt x="1799" y="1642"/>
                    <a:pt x="1799" y="1642"/>
                    <a:pt x="1799" y="1642"/>
                  </a:cubicBezTo>
                  <a:cubicBezTo>
                    <a:pt x="1799" y="1612"/>
                    <a:pt x="1817" y="1601"/>
                    <a:pt x="1828" y="1577"/>
                  </a:cubicBezTo>
                  <a:cubicBezTo>
                    <a:pt x="1793" y="1566"/>
                    <a:pt x="1788" y="1525"/>
                    <a:pt x="1776" y="1496"/>
                  </a:cubicBezTo>
                  <a:cubicBezTo>
                    <a:pt x="1758" y="1455"/>
                    <a:pt x="1747" y="1438"/>
                    <a:pt x="1747" y="1397"/>
                  </a:cubicBezTo>
                  <a:cubicBezTo>
                    <a:pt x="1747" y="1362"/>
                    <a:pt x="1782" y="1362"/>
                    <a:pt x="1811" y="1339"/>
                  </a:cubicBezTo>
                  <a:cubicBezTo>
                    <a:pt x="1834" y="1321"/>
                    <a:pt x="1834" y="1292"/>
                    <a:pt x="1851" y="1263"/>
                  </a:cubicBezTo>
                  <a:cubicBezTo>
                    <a:pt x="1910" y="1310"/>
                    <a:pt x="1933" y="1414"/>
                    <a:pt x="1904" y="1275"/>
                  </a:cubicBezTo>
                  <a:cubicBezTo>
                    <a:pt x="1985" y="1281"/>
                    <a:pt x="1904" y="1257"/>
                    <a:pt x="1875" y="1240"/>
                  </a:cubicBezTo>
                  <a:cubicBezTo>
                    <a:pt x="2020" y="1164"/>
                    <a:pt x="1793" y="1240"/>
                    <a:pt x="1793" y="1094"/>
                  </a:cubicBezTo>
                  <a:cubicBezTo>
                    <a:pt x="1793" y="1065"/>
                    <a:pt x="1793" y="1048"/>
                    <a:pt x="1817" y="1036"/>
                  </a:cubicBezTo>
                  <a:cubicBezTo>
                    <a:pt x="1834" y="1036"/>
                    <a:pt x="1834" y="1036"/>
                    <a:pt x="1834" y="1036"/>
                  </a:cubicBezTo>
                  <a:cubicBezTo>
                    <a:pt x="1828" y="1025"/>
                    <a:pt x="1828" y="1019"/>
                    <a:pt x="1828" y="1007"/>
                  </a:cubicBezTo>
                  <a:cubicBezTo>
                    <a:pt x="1828" y="972"/>
                    <a:pt x="1851" y="960"/>
                    <a:pt x="1881" y="937"/>
                  </a:cubicBezTo>
                  <a:cubicBezTo>
                    <a:pt x="1892" y="960"/>
                    <a:pt x="1904" y="978"/>
                    <a:pt x="1910" y="1007"/>
                  </a:cubicBezTo>
                  <a:cubicBezTo>
                    <a:pt x="1910" y="1013"/>
                    <a:pt x="1916" y="1025"/>
                    <a:pt x="1916" y="1007"/>
                  </a:cubicBezTo>
                  <a:cubicBezTo>
                    <a:pt x="1916" y="990"/>
                    <a:pt x="1910" y="978"/>
                    <a:pt x="1910" y="960"/>
                  </a:cubicBezTo>
                  <a:cubicBezTo>
                    <a:pt x="1910" y="949"/>
                    <a:pt x="1910" y="949"/>
                    <a:pt x="1910" y="949"/>
                  </a:cubicBezTo>
                  <a:cubicBezTo>
                    <a:pt x="1956" y="949"/>
                    <a:pt x="1956" y="949"/>
                    <a:pt x="1956" y="949"/>
                  </a:cubicBezTo>
                  <a:cubicBezTo>
                    <a:pt x="1956" y="937"/>
                    <a:pt x="1956" y="937"/>
                    <a:pt x="1956" y="925"/>
                  </a:cubicBezTo>
                  <a:cubicBezTo>
                    <a:pt x="1956" y="902"/>
                    <a:pt x="1910" y="908"/>
                    <a:pt x="1910" y="879"/>
                  </a:cubicBezTo>
                  <a:cubicBezTo>
                    <a:pt x="1910" y="832"/>
                    <a:pt x="1945" y="815"/>
                    <a:pt x="1974" y="780"/>
                  </a:cubicBezTo>
                  <a:cubicBezTo>
                    <a:pt x="1968" y="774"/>
                    <a:pt x="1962" y="762"/>
                    <a:pt x="1962" y="751"/>
                  </a:cubicBezTo>
                  <a:cubicBezTo>
                    <a:pt x="1962" y="687"/>
                    <a:pt x="2003" y="658"/>
                    <a:pt x="2003" y="594"/>
                  </a:cubicBezTo>
                  <a:cubicBezTo>
                    <a:pt x="2003" y="530"/>
                    <a:pt x="2003" y="530"/>
                    <a:pt x="2003" y="530"/>
                  </a:cubicBezTo>
                  <a:cubicBezTo>
                    <a:pt x="2003" y="501"/>
                    <a:pt x="2009" y="483"/>
                    <a:pt x="2009" y="448"/>
                  </a:cubicBezTo>
                  <a:cubicBezTo>
                    <a:pt x="2009" y="431"/>
                    <a:pt x="2009" y="419"/>
                    <a:pt x="2009" y="402"/>
                  </a:cubicBezTo>
                  <a:cubicBezTo>
                    <a:pt x="2020" y="402"/>
                    <a:pt x="2032" y="402"/>
                    <a:pt x="2044" y="402"/>
                  </a:cubicBezTo>
                  <a:cubicBezTo>
                    <a:pt x="2084" y="402"/>
                    <a:pt x="2114" y="373"/>
                    <a:pt x="2131" y="338"/>
                  </a:cubicBezTo>
                  <a:cubicBezTo>
                    <a:pt x="2137" y="320"/>
                    <a:pt x="2131" y="285"/>
                    <a:pt x="2154" y="285"/>
                  </a:cubicBezTo>
                  <a:cubicBezTo>
                    <a:pt x="2172" y="285"/>
                    <a:pt x="2177" y="291"/>
                    <a:pt x="2195" y="285"/>
                  </a:cubicBezTo>
                  <a:cubicBezTo>
                    <a:pt x="2195" y="291"/>
                    <a:pt x="2201" y="297"/>
                    <a:pt x="2201" y="303"/>
                  </a:cubicBezTo>
                  <a:cubicBezTo>
                    <a:pt x="2201" y="338"/>
                    <a:pt x="2177" y="361"/>
                    <a:pt x="2172" y="396"/>
                  </a:cubicBezTo>
                  <a:cubicBezTo>
                    <a:pt x="2177" y="396"/>
                    <a:pt x="2177" y="396"/>
                    <a:pt x="2183" y="396"/>
                  </a:cubicBezTo>
                  <a:cubicBezTo>
                    <a:pt x="2207" y="396"/>
                    <a:pt x="2218" y="390"/>
                    <a:pt x="2236" y="390"/>
                  </a:cubicBezTo>
                  <a:cubicBezTo>
                    <a:pt x="2247" y="390"/>
                    <a:pt x="2247" y="407"/>
                    <a:pt x="2259" y="413"/>
                  </a:cubicBezTo>
                  <a:cubicBezTo>
                    <a:pt x="2282" y="413"/>
                    <a:pt x="2311" y="413"/>
                    <a:pt x="2311" y="436"/>
                  </a:cubicBezTo>
                  <a:cubicBezTo>
                    <a:pt x="2311" y="460"/>
                    <a:pt x="2300" y="471"/>
                    <a:pt x="2300" y="495"/>
                  </a:cubicBezTo>
                  <a:cubicBezTo>
                    <a:pt x="2300" y="530"/>
                    <a:pt x="2323" y="541"/>
                    <a:pt x="2335" y="576"/>
                  </a:cubicBezTo>
                  <a:cubicBezTo>
                    <a:pt x="2358" y="640"/>
                    <a:pt x="2358" y="687"/>
                    <a:pt x="2358" y="757"/>
                  </a:cubicBezTo>
                  <a:cubicBezTo>
                    <a:pt x="2358" y="780"/>
                    <a:pt x="2346" y="792"/>
                    <a:pt x="2346" y="821"/>
                  </a:cubicBezTo>
                  <a:cubicBezTo>
                    <a:pt x="2346" y="856"/>
                    <a:pt x="2375" y="891"/>
                    <a:pt x="2410" y="891"/>
                  </a:cubicBezTo>
                  <a:cubicBezTo>
                    <a:pt x="2434" y="891"/>
                    <a:pt x="2445" y="873"/>
                    <a:pt x="2469" y="873"/>
                  </a:cubicBezTo>
                  <a:cubicBezTo>
                    <a:pt x="2486" y="873"/>
                    <a:pt x="2492" y="896"/>
                    <a:pt x="2492" y="920"/>
                  </a:cubicBezTo>
                  <a:cubicBezTo>
                    <a:pt x="2492" y="955"/>
                    <a:pt x="2451" y="972"/>
                    <a:pt x="2451" y="1013"/>
                  </a:cubicBezTo>
                  <a:cubicBezTo>
                    <a:pt x="2451" y="1042"/>
                    <a:pt x="2451" y="1071"/>
                    <a:pt x="2474" y="1088"/>
                  </a:cubicBezTo>
                  <a:cubicBezTo>
                    <a:pt x="2498" y="1100"/>
                    <a:pt x="2521" y="1088"/>
                    <a:pt x="2538" y="1112"/>
                  </a:cubicBezTo>
                  <a:cubicBezTo>
                    <a:pt x="2550" y="1135"/>
                    <a:pt x="2538" y="1158"/>
                    <a:pt x="2556" y="1176"/>
                  </a:cubicBezTo>
                  <a:cubicBezTo>
                    <a:pt x="2579" y="1199"/>
                    <a:pt x="2620" y="1188"/>
                    <a:pt x="2620" y="1217"/>
                  </a:cubicBezTo>
                  <a:cubicBezTo>
                    <a:pt x="2620" y="1263"/>
                    <a:pt x="2579" y="1286"/>
                    <a:pt x="2579" y="1333"/>
                  </a:cubicBezTo>
                  <a:cubicBezTo>
                    <a:pt x="2579" y="1345"/>
                    <a:pt x="2585" y="1356"/>
                    <a:pt x="2591" y="1356"/>
                  </a:cubicBezTo>
                  <a:cubicBezTo>
                    <a:pt x="2608" y="1356"/>
                    <a:pt x="2620" y="1351"/>
                    <a:pt x="2632" y="1333"/>
                  </a:cubicBezTo>
                  <a:cubicBezTo>
                    <a:pt x="2655" y="1339"/>
                    <a:pt x="2655" y="1339"/>
                    <a:pt x="2655" y="1339"/>
                  </a:cubicBezTo>
                  <a:cubicBezTo>
                    <a:pt x="2655" y="1374"/>
                    <a:pt x="2649" y="1391"/>
                    <a:pt x="2649" y="1432"/>
                  </a:cubicBezTo>
                  <a:cubicBezTo>
                    <a:pt x="2649" y="1519"/>
                    <a:pt x="2701" y="1560"/>
                    <a:pt x="2701" y="1653"/>
                  </a:cubicBezTo>
                  <a:cubicBezTo>
                    <a:pt x="2701" y="1700"/>
                    <a:pt x="2661" y="1717"/>
                    <a:pt x="2661" y="1758"/>
                  </a:cubicBezTo>
                  <a:cubicBezTo>
                    <a:pt x="2661" y="1805"/>
                    <a:pt x="2690" y="1822"/>
                    <a:pt x="2713" y="1857"/>
                  </a:cubicBezTo>
                  <a:cubicBezTo>
                    <a:pt x="2736" y="1915"/>
                    <a:pt x="2725" y="1962"/>
                    <a:pt x="2748" y="2026"/>
                  </a:cubicBezTo>
                  <a:cubicBezTo>
                    <a:pt x="2777" y="2090"/>
                    <a:pt x="2818" y="2113"/>
                    <a:pt x="2864" y="2166"/>
                  </a:cubicBezTo>
                  <a:cubicBezTo>
                    <a:pt x="2923" y="2119"/>
                    <a:pt x="2940" y="2043"/>
                    <a:pt x="3010" y="2043"/>
                  </a:cubicBezTo>
                  <a:cubicBezTo>
                    <a:pt x="3027" y="2043"/>
                    <a:pt x="3033" y="2055"/>
                    <a:pt x="3051" y="2055"/>
                  </a:cubicBezTo>
                  <a:cubicBezTo>
                    <a:pt x="3092" y="2055"/>
                    <a:pt x="3097" y="2008"/>
                    <a:pt x="3132" y="1997"/>
                  </a:cubicBezTo>
                  <a:cubicBezTo>
                    <a:pt x="3144" y="2020"/>
                    <a:pt x="3173" y="2020"/>
                    <a:pt x="3173" y="2043"/>
                  </a:cubicBezTo>
                  <a:cubicBezTo>
                    <a:pt x="3173" y="2049"/>
                    <a:pt x="3167" y="2049"/>
                    <a:pt x="3167" y="2055"/>
                  </a:cubicBezTo>
                  <a:cubicBezTo>
                    <a:pt x="3167" y="2066"/>
                    <a:pt x="3185" y="2066"/>
                    <a:pt x="3191" y="2078"/>
                  </a:cubicBezTo>
                  <a:cubicBezTo>
                    <a:pt x="3214" y="2119"/>
                    <a:pt x="3202" y="2166"/>
                    <a:pt x="3243" y="2189"/>
                  </a:cubicBezTo>
                  <a:cubicBezTo>
                    <a:pt x="3284" y="2206"/>
                    <a:pt x="3330" y="2189"/>
                    <a:pt x="3348" y="2224"/>
                  </a:cubicBezTo>
                  <a:cubicBezTo>
                    <a:pt x="3354" y="2247"/>
                    <a:pt x="3348" y="2264"/>
                    <a:pt x="3365" y="2282"/>
                  </a:cubicBezTo>
                  <a:cubicBezTo>
                    <a:pt x="3400" y="2317"/>
                    <a:pt x="3441" y="2311"/>
                    <a:pt x="3476" y="2340"/>
                  </a:cubicBezTo>
                  <a:cubicBezTo>
                    <a:pt x="3499" y="2358"/>
                    <a:pt x="3534" y="2358"/>
                    <a:pt x="3534" y="2387"/>
                  </a:cubicBezTo>
                  <a:cubicBezTo>
                    <a:pt x="3534" y="2422"/>
                    <a:pt x="3499" y="2433"/>
                    <a:pt x="3499" y="2474"/>
                  </a:cubicBezTo>
                  <a:cubicBezTo>
                    <a:pt x="3499" y="2503"/>
                    <a:pt x="3511" y="2526"/>
                    <a:pt x="3534" y="2550"/>
                  </a:cubicBezTo>
                  <a:cubicBezTo>
                    <a:pt x="3511" y="2573"/>
                    <a:pt x="3493" y="2596"/>
                    <a:pt x="3493" y="2625"/>
                  </a:cubicBezTo>
                  <a:cubicBezTo>
                    <a:pt x="3493" y="2695"/>
                    <a:pt x="3563" y="2718"/>
                    <a:pt x="3563" y="2788"/>
                  </a:cubicBezTo>
                  <a:cubicBezTo>
                    <a:pt x="3563" y="2806"/>
                    <a:pt x="3557" y="2818"/>
                    <a:pt x="3557" y="2835"/>
                  </a:cubicBezTo>
                  <a:cubicBezTo>
                    <a:pt x="3557" y="2870"/>
                    <a:pt x="3610" y="2876"/>
                    <a:pt x="3610" y="2911"/>
                  </a:cubicBezTo>
                  <a:cubicBezTo>
                    <a:pt x="3610" y="2940"/>
                    <a:pt x="3592" y="2957"/>
                    <a:pt x="3592" y="2992"/>
                  </a:cubicBezTo>
                  <a:cubicBezTo>
                    <a:pt x="3592" y="3004"/>
                    <a:pt x="3598" y="3010"/>
                    <a:pt x="3598" y="3027"/>
                  </a:cubicBezTo>
                  <a:cubicBezTo>
                    <a:pt x="3598" y="3050"/>
                    <a:pt x="3569" y="3056"/>
                    <a:pt x="3569" y="3085"/>
                  </a:cubicBezTo>
                  <a:cubicBezTo>
                    <a:pt x="3569" y="3138"/>
                    <a:pt x="3621" y="3155"/>
                    <a:pt x="3650" y="3196"/>
                  </a:cubicBezTo>
                  <a:cubicBezTo>
                    <a:pt x="3703" y="3272"/>
                    <a:pt x="3726" y="3324"/>
                    <a:pt x="3802" y="3376"/>
                  </a:cubicBezTo>
                  <a:cubicBezTo>
                    <a:pt x="3819" y="3370"/>
                    <a:pt x="3819" y="3370"/>
                    <a:pt x="3819" y="3370"/>
                  </a:cubicBezTo>
                  <a:cubicBezTo>
                    <a:pt x="3819" y="3382"/>
                    <a:pt x="3813" y="3394"/>
                    <a:pt x="3813" y="3405"/>
                  </a:cubicBezTo>
                  <a:cubicBezTo>
                    <a:pt x="3813" y="3429"/>
                    <a:pt x="3831" y="3440"/>
                    <a:pt x="3837" y="3464"/>
                  </a:cubicBezTo>
                  <a:cubicBezTo>
                    <a:pt x="3866" y="3539"/>
                    <a:pt x="3877" y="3586"/>
                    <a:pt x="3895" y="3673"/>
                  </a:cubicBezTo>
                  <a:cubicBezTo>
                    <a:pt x="3901" y="3685"/>
                    <a:pt x="3907" y="3691"/>
                    <a:pt x="3907" y="3702"/>
                  </a:cubicBezTo>
                  <a:cubicBezTo>
                    <a:pt x="3907" y="3766"/>
                    <a:pt x="3907" y="3807"/>
                    <a:pt x="3907" y="3871"/>
                  </a:cubicBezTo>
                  <a:cubicBezTo>
                    <a:pt x="3860" y="3982"/>
                    <a:pt x="3860" y="3982"/>
                    <a:pt x="3860" y="3982"/>
                  </a:cubicBezTo>
                  <a:cubicBezTo>
                    <a:pt x="3866" y="4034"/>
                    <a:pt x="3877" y="4069"/>
                    <a:pt x="3912" y="4104"/>
                  </a:cubicBezTo>
                  <a:cubicBezTo>
                    <a:pt x="3947" y="4133"/>
                    <a:pt x="3959" y="4151"/>
                    <a:pt x="3988" y="4180"/>
                  </a:cubicBezTo>
                  <a:cubicBezTo>
                    <a:pt x="4000" y="4185"/>
                    <a:pt x="4011" y="4191"/>
                    <a:pt x="4011" y="4203"/>
                  </a:cubicBezTo>
                  <a:cubicBezTo>
                    <a:pt x="4011" y="4244"/>
                    <a:pt x="3994" y="4267"/>
                    <a:pt x="3994" y="4308"/>
                  </a:cubicBezTo>
                  <a:cubicBezTo>
                    <a:pt x="3994" y="4348"/>
                    <a:pt x="4011" y="4372"/>
                    <a:pt x="4035" y="4407"/>
                  </a:cubicBezTo>
                  <a:cubicBezTo>
                    <a:pt x="4104" y="4465"/>
                    <a:pt x="4157" y="4488"/>
                    <a:pt x="4238" y="4529"/>
                  </a:cubicBezTo>
                  <a:cubicBezTo>
                    <a:pt x="4279" y="4546"/>
                    <a:pt x="4285" y="4581"/>
                    <a:pt x="4326" y="4599"/>
                  </a:cubicBezTo>
                  <a:cubicBezTo>
                    <a:pt x="4332" y="4564"/>
                    <a:pt x="4343" y="4546"/>
                    <a:pt x="4372" y="4529"/>
                  </a:cubicBezTo>
                  <a:cubicBezTo>
                    <a:pt x="4372" y="4541"/>
                    <a:pt x="4372" y="4541"/>
                    <a:pt x="4372" y="4541"/>
                  </a:cubicBezTo>
                  <a:cubicBezTo>
                    <a:pt x="4361" y="4558"/>
                    <a:pt x="4361" y="4558"/>
                    <a:pt x="4361" y="4558"/>
                  </a:cubicBezTo>
                  <a:cubicBezTo>
                    <a:pt x="4378" y="4611"/>
                    <a:pt x="4430" y="4634"/>
                    <a:pt x="4489" y="4634"/>
                  </a:cubicBezTo>
                  <a:cubicBezTo>
                    <a:pt x="4518" y="4634"/>
                    <a:pt x="4535" y="4622"/>
                    <a:pt x="4570" y="4616"/>
                  </a:cubicBezTo>
                  <a:cubicBezTo>
                    <a:pt x="4588" y="4651"/>
                    <a:pt x="4611" y="4663"/>
                    <a:pt x="4611" y="4704"/>
                  </a:cubicBezTo>
                  <a:cubicBezTo>
                    <a:pt x="4611" y="4715"/>
                    <a:pt x="4605" y="4721"/>
                    <a:pt x="4605" y="4739"/>
                  </a:cubicBezTo>
                  <a:cubicBezTo>
                    <a:pt x="4605" y="4797"/>
                    <a:pt x="4658" y="4814"/>
                    <a:pt x="4698" y="4855"/>
                  </a:cubicBezTo>
                  <a:cubicBezTo>
                    <a:pt x="4710" y="4826"/>
                    <a:pt x="4710" y="4808"/>
                    <a:pt x="4727" y="4779"/>
                  </a:cubicBezTo>
                  <a:cubicBezTo>
                    <a:pt x="4751" y="4785"/>
                    <a:pt x="4751" y="4785"/>
                    <a:pt x="4751" y="4785"/>
                  </a:cubicBezTo>
                  <a:cubicBezTo>
                    <a:pt x="4751" y="4837"/>
                    <a:pt x="4774" y="4902"/>
                    <a:pt x="4826" y="4902"/>
                  </a:cubicBezTo>
                  <a:cubicBezTo>
                    <a:pt x="4844" y="4902"/>
                    <a:pt x="4844" y="4867"/>
                    <a:pt x="4861" y="4867"/>
                  </a:cubicBezTo>
                  <a:cubicBezTo>
                    <a:pt x="4896" y="4867"/>
                    <a:pt x="4902" y="4902"/>
                    <a:pt x="4925" y="4925"/>
                  </a:cubicBezTo>
                  <a:cubicBezTo>
                    <a:pt x="4972" y="4960"/>
                    <a:pt x="4989" y="4995"/>
                    <a:pt x="5048" y="5012"/>
                  </a:cubicBezTo>
                  <a:cubicBezTo>
                    <a:pt x="5048" y="4995"/>
                    <a:pt x="5059" y="4983"/>
                    <a:pt x="5071" y="4977"/>
                  </a:cubicBezTo>
                  <a:cubicBezTo>
                    <a:pt x="5082" y="5000"/>
                    <a:pt x="5082" y="5018"/>
                    <a:pt x="5100" y="5030"/>
                  </a:cubicBezTo>
                  <a:cubicBezTo>
                    <a:pt x="5118" y="5041"/>
                    <a:pt x="5135" y="5035"/>
                    <a:pt x="5147" y="5053"/>
                  </a:cubicBezTo>
                  <a:cubicBezTo>
                    <a:pt x="5152" y="5059"/>
                    <a:pt x="5147" y="5076"/>
                    <a:pt x="5158" y="5082"/>
                  </a:cubicBezTo>
                  <a:cubicBezTo>
                    <a:pt x="5187" y="5100"/>
                    <a:pt x="5222" y="5100"/>
                    <a:pt x="5222" y="5129"/>
                  </a:cubicBezTo>
                  <a:cubicBezTo>
                    <a:pt x="5222" y="5146"/>
                    <a:pt x="5205" y="5163"/>
                    <a:pt x="5181" y="5163"/>
                  </a:cubicBezTo>
                  <a:cubicBezTo>
                    <a:pt x="5170" y="5163"/>
                    <a:pt x="5164" y="5152"/>
                    <a:pt x="5152" y="5146"/>
                  </a:cubicBezTo>
                  <a:cubicBezTo>
                    <a:pt x="5152" y="5152"/>
                    <a:pt x="5147" y="5158"/>
                    <a:pt x="5147" y="5158"/>
                  </a:cubicBezTo>
                  <a:cubicBezTo>
                    <a:pt x="5147" y="5169"/>
                    <a:pt x="5158" y="5169"/>
                    <a:pt x="5158" y="5181"/>
                  </a:cubicBezTo>
                  <a:cubicBezTo>
                    <a:pt x="5158" y="5193"/>
                    <a:pt x="5141" y="5198"/>
                    <a:pt x="5141" y="5210"/>
                  </a:cubicBezTo>
                  <a:cubicBezTo>
                    <a:pt x="5141" y="5233"/>
                    <a:pt x="5158" y="5245"/>
                    <a:pt x="5170" y="5268"/>
                  </a:cubicBezTo>
                  <a:cubicBezTo>
                    <a:pt x="5222" y="5321"/>
                    <a:pt x="5234" y="5402"/>
                    <a:pt x="5310" y="5391"/>
                  </a:cubicBezTo>
                  <a:cubicBezTo>
                    <a:pt x="5310" y="5408"/>
                    <a:pt x="5310" y="5414"/>
                    <a:pt x="5310" y="5431"/>
                  </a:cubicBezTo>
                  <a:cubicBezTo>
                    <a:pt x="5321" y="5437"/>
                    <a:pt x="5321" y="5437"/>
                    <a:pt x="5321" y="5437"/>
                  </a:cubicBezTo>
                  <a:cubicBezTo>
                    <a:pt x="5327" y="5431"/>
                    <a:pt x="5327" y="5431"/>
                    <a:pt x="5333" y="5431"/>
                  </a:cubicBezTo>
                  <a:cubicBezTo>
                    <a:pt x="5350" y="5431"/>
                    <a:pt x="5350" y="5449"/>
                    <a:pt x="5362" y="5466"/>
                  </a:cubicBezTo>
                  <a:cubicBezTo>
                    <a:pt x="5374" y="5484"/>
                    <a:pt x="5403" y="5484"/>
                    <a:pt x="5403" y="5501"/>
                  </a:cubicBezTo>
                  <a:cubicBezTo>
                    <a:pt x="5403" y="5524"/>
                    <a:pt x="5385" y="5530"/>
                    <a:pt x="5385" y="5548"/>
                  </a:cubicBezTo>
                  <a:cubicBezTo>
                    <a:pt x="5385" y="5559"/>
                    <a:pt x="5391" y="5565"/>
                    <a:pt x="5391" y="5571"/>
                  </a:cubicBezTo>
                  <a:cubicBezTo>
                    <a:pt x="5397" y="5571"/>
                    <a:pt x="5403" y="5565"/>
                    <a:pt x="5414" y="5565"/>
                  </a:cubicBezTo>
                  <a:cubicBezTo>
                    <a:pt x="5432" y="5565"/>
                    <a:pt x="5432" y="5594"/>
                    <a:pt x="5432" y="5618"/>
                  </a:cubicBezTo>
                  <a:cubicBezTo>
                    <a:pt x="5438" y="5658"/>
                    <a:pt x="5432" y="5717"/>
                    <a:pt x="5473" y="5717"/>
                  </a:cubicBezTo>
                  <a:cubicBezTo>
                    <a:pt x="5478" y="5717"/>
                    <a:pt x="5484" y="5717"/>
                    <a:pt x="5490" y="5711"/>
                  </a:cubicBezTo>
                  <a:cubicBezTo>
                    <a:pt x="5496" y="5728"/>
                    <a:pt x="5519" y="5734"/>
                    <a:pt x="5519" y="5757"/>
                  </a:cubicBezTo>
                  <a:cubicBezTo>
                    <a:pt x="5519" y="5781"/>
                    <a:pt x="5507" y="5792"/>
                    <a:pt x="5507" y="5815"/>
                  </a:cubicBezTo>
                  <a:cubicBezTo>
                    <a:pt x="5507" y="5926"/>
                    <a:pt x="5595" y="5973"/>
                    <a:pt x="5595" y="6089"/>
                  </a:cubicBezTo>
                  <a:cubicBezTo>
                    <a:pt x="5595" y="6101"/>
                    <a:pt x="5583" y="6107"/>
                    <a:pt x="5583" y="6118"/>
                  </a:cubicBezTo>
                  <a:cubicBezTo>
                    <a:pt x="5583" y="6136"/>
                    <a:pt x="5601" y="6136"/>
                    <a:pt x="5607" y="6141"/>
                  </a:cubicBezTo>
                  <a:cubicBezTo>
                    <a:pt x="5624" y="6159"/>
                    <a:pt x="5624" y="6188"/>
                    <a:pt x="5647" y="6188"/>
                  </a:cubicBezTo>
                  <a:cubicBezTo>
                    <a:pt x="5659" y="6188"/>
                    <a:pt x="5659" y="6171"/>
                    <a:pt x="5670" y="6171"/>
                  </a:cubicBezTo>
                  <a:cubicBezTo>
                    <a:pt x="5781" y="6171"/>
                    <a:pt x="5822" y="6380"/>
                    <a:pt x="5764" y="6141"/>
                  </a:cubicBezTo>
                  <a:cubicBezTo>
                    <a:pt x="5775" y="6124"/>
                    <a:pt x="5775" y="6124"/>
                    <a:pt x="5775" y="6124"/>
                  </a:cubicBezTo>
                  <a:cubicBezTo>
                    <a:pt x="5770" y="6112"/>
                    <a:pt x="5764" y="6107"/>
                    <a:pt x="5764" y="6095"/>
                  </a:cubicBezTo>
                  <a:cubicBezTo>
                    <a:pt x="5764" y="6066"/>
                    <a:pt x="5770" y="6037"/>
                    <a:pt x="5793" y="6037"/>
                  </a:cubicBezTo>
                  <a:cubicBezTo>
                    <a:pt x="5833" y="6037"/>
                    <a:pt x="5822" y="6083"/>
                    <a:pt x="5851" y="6112"/>
                  </a:cubicBezTo>
                  <a:cubicBezTo>
                    <a:pt x="5892" y="6159"/>
                    <a:pt x="5927" y="6182"/>
                    <a:pt x="5973" y="6229"/>
                  </a:cubicBezTo>
                  <a:cubicBezTo>
                    <a:pt x="6008" y="6258"/>
                    <a:pt x="6026" y="6281"/>
                    <a:pt x="6072" y="6287"/>
                  </a:cubicBezTo>
                  <a:cubicBezTo>
                    <a:pt x="6072" y="6223"/>
                    <a:pt x="6072" y="6223"/>
                    <a:pt x="6072" y="6223"/>
                  </a:cubicBezTo>
                  <a:cubicBezTo>
                    <a:pt x="6072" y="6194"/>
                    <a:pt x="6055" y="6176"/>
                    <a:pt x="6055" y="6147"/>
                  </a:cubicBezTo>
                  <a:cubicBezTo>
                    <a:pt x="6055" y="6130"/>
                    <a:pt x="6055" y="6130"/>
                    <a:pt x="6055" y="6130"/>
                  </a:cubicBezTo>
                  <a:cubicBezTo>
                    <a:pt x="6061" y="6130"/>
                    <a:pt x="6061" y="6124"/>
                    <a:pt x="6066" y="6124"/>
                  </a:cubicBezTo>
                  <a:cubicBezTo>
                    <a:pt x="6090" y="6124"/>
                    <a:pt x="6084" y="6165"/>
                    <a:pt x="6101" y="6182"/>
                  </a:cubicBezTo>
                  <a:cubicBezTo>
                    <a:pt x="6130" y="6217"/>
                    <a:pt x="6125" y="6246"/>
                    <a:pt x="6142" y="6281"/>
                  </a:cubicBezTo>
                  <a:cubicBezTo>
                    <a:pt x="6154" y="6310"/>
                    <a:pt x="6177" y="6328"/>
                    <a:pt x="6177" y="6357"/>
                  </a:cubicBezTo>
                  <a:cubicBezTo>
                    <a:pt x="6177" y="6380"/>
                    <a:pt x="6154" y="6392"/>
                    <a:pt x="6154" y="6415"/>
                  </a:cubicBezTo>
                  <a:cubicBezTo>
                    <a:pt x="6154" y="6438"/>
                    <a:pt x="6171" y="6456"/>
                    <a:pt x="6177" y="6479"/>
                  </a:cubicBezTo>
                  <a:cubicBezTo>
                    <a:pt x="6189" y="6561"/>
                    <a:pt x="6194" y="6601"/>
                    <a:pt x="6194" y="6683"/>
                  </a:cubicBezTo>
                  <a:cubicBezTo>
                    <a:pt x="6194" y="6706"/>
                    <a:pt x="6194" y="6706"/>
                    <a:pt x="6194" y="6706"/>
                  </a:cubicBezTo>
                  <a:cubicBezTo>
                    <a:pt x="6189" y="6706"/>
                    <a:pt x="6189" y="6706"/>
                    <a:pt x="6183" y="6706"/>
                  </a:cubicBezTo>
                  <a:cubicBezTo>
                    <a:pt x="6177" y="6706"/>
                    <a:pt x="6171" y="6700"/>
                    <a:pt x="6165" y="6700"/>
                  </a:cubicBezTo>
                  <a:cubicBezTo>
                    <a:pt x="6148" y="6700"/>
                    <a:pt x="6119" y="6706"/>
                    <a:pt x="6119" y="6724"/>
                  </a:cubicBezTo>
                  <a:cubicBezTo>
                    <a:pt x="6119" y="6747"/>
                    <a:pt x="6142" y="6747"/>
                    <a:pt x="6154" y="6764"/>
                  </a:cubicBezTo>
                  <a:cubicBezTo>
                    <a:pt x="6183" y="6793"/>
                    <a:pt x="6212" y="6793"/>
                    <a:pt x="6241" y="6823"/>
                  </a:cubicBezTo>
                  <a:cubicBezTo>
                    <a:pt x="6259" y="6811"/>
                    <a:pt x="6253" y="6793"/>
                    <a:pt x="6264" y="6776"/>
                  </a:cubicBezTo>
                  <a:cubicBezTo>
                    <a:pt x="6322" y="6805"/>
                    <a:pt x="6328" y="6858"/>
                    <a:pt x="6363" y="6916"/>
                  </a:cubicBezTo>
                  <a:cubicBezTo>
                    <a:pt x="6381" y="6939"/>
                    <a:pt x="6410" y="6939"/>
                    <a:pt x="6439" y="6962"/>
                  </a:cubicBezTo>
                  <a:cubicBezTo>
                    <a:pt x="6456" y="6974"/>
                    <a:pt x="6462" y="6991"/>
                    <a:pt x="6474" y="7015"/>
                  </a:cubicBezTo>
                  <a:cubicBezTo>
                    <a:pt x="6491" y="7044"/>
                    <a:pt x="6520" y="7044"/>
                    <a:pt x="6555" y="7056"/>
                  </a:cubicBezTo>
                  <a:cubicBezTo>
                    <a:pt x="6567" y="7044"/>
                    <a:pt x="6573" y="7032"/>
                    <a:pt x="6585" y="7032"/>
                  </a:cubicBezTo>
                  <a:cubicBezTo>
                    <a:pt x="6602" y="7032"/>
                    <a:pt x="6608" y="7044"/>
                    <a:pt x="6625" y="7056"/>
                  </a:cubicBezTo>
                  <a:cubicBezTo>
                    <a:pt x="6678" y="7073"/>
                    <a:pt x="6713" y="7090"/>
                    <a:pt x="6736" y="7143"/>
                  </a:cubicBezTo>
                  <a:cubicBezTo>
                    <a:pt x="6753" y="7184"/>
                    <a:pt x="6765" y="7213"/>
                    <a:pt x="6759" y="7259"/>
                  </a:cubicBezTo>
                  <a:cubicBezTo>
                    <a:pt x="6771" y="7259"/>
                    <a:pt x="6771" y="7259"/>
                    <a:pt x="6771" y="7259"/>
                  </a:cubicBezTo>
                  <a:cubicBezTo>
                    <a:pt x="6806" y="7288"/>
                    <a:pt x="6800" y="7329"/>
                    <a:pt x="6835" y="7358"/>
                  </a:cubicBezTo>
                  <a:cubicBezTo>
                    <a:pt x="6870" y="7393"/>
                    <a:pt x="6916" y="7376"/>
                    <a:pt x="6951" y="7411"/>
                  </a:cubicBezTo>
                  <a:cubicBezTo>
                    <a:pt x="6974" y="7434"/>
                    <a:pt x="6957" y="7463"/>
                    <a:pt x="6963" y="7492"/>
                  </a:cubicBezTo>
                  <a:cubicBezTo>
                    <a:pt x="6974" y="7533"/>
                    <a:pt x="7010" y="7545"/>
                    <a:pt x="7021" y="7579"/>
                  </a:cubicBezTo>
                  <a:cubicBezTo>
                    <a:pt x="7027" y="7608"/>
                    <a:pt x="7033" y="7626"/>
                    <a:pt x="7056" y="7638"/>
                  </a:cubicBezTo>
                  <a:cubicBezTo>
                    <a:pt x="7091" y="7655"/>
                    <a:pt x="7108" y="7667"/>
                    <a:pt x="7143" y="7673"/>
                  </a:cubicBezTo>
                  <a:cubicBezTo>
                    <a:pt x="7161" y="7678"/>
                    <a:pt x="7190" y="7678"/>
                    <a:pt x="7190" y="7696"/>
                  </a:cubicBezTo>
                  <a:cubicBezTo>
                    <a:pt x="7190" y="7754"/>
                    <a:pt x="7161" y="7777"/>
                    <a:pt x="7161" y="7830"/>
                  </a:cubicBezTo>
                  <a:cubicBezTo>
                    <a:pt x="7161" y="7905"/>
                    <a:pt x="7207" y="7940"/>
                    <a:pt x="7260" y="7987"/>
                  </a:cubicBezTo>
                  <a:cubicBezTo>
                    <a:pt x="7277" y="8010"/>
                    <a:pt x="7312" y="8010"/>
                    <a:pt x="7312" y="8039"/>
                  </a:cubicBezTo>
                  <a:cubicBezTo>
                    <a:pt x="7312" y="8115"/>
                    <a:pt x="7260" y="8150"/>
                    <a:pt x="7260" y="8226"/>
                  </a:cubicBezTo>
                  <a:cubicBezTo>
                    <a:pt x="7260" y="8249"/>
                    <a:pt x="7271" y="8260"/>
                    <a:pt x="7271" y="8284"/>
                  </a:cubicBezTo>
                  <a:cubicBezTo>
                    <a:pt x="7277" y="8284"/>
                    <a:pt x="7277" y="8284"/>
                    <a:pt x="7283" y="8284"/>
                  </a:cubicBezTo>
                  <a:cubicBezTo>
                    <a:pt x="7289" y="8284"/>
                    <a:pt x="7289" y="8278"/>
                    <a:pt x="7295" y="8278"/>
                  </a:cubicBezTo>
                  <a:cubicBezTo>
                    <a:pt x="7306" y="8301"/>
                    <a:pt x="7306" y="8319"/>
                    <a:pt x="7306" y="8342"/>
                  </a:cubicBezTo>
                  <a:cubicBezTo>
                    <a:pt x="7306" y="8377"/>
                    <a:pt x="7306" y="8377"/>
                    <a:pt x="7306" y="8377"/>
                  </a:cubicBezTo>
                  <a:cubicBezTo>
                    <a:pt x="7306" y="8406"/>
                    <a:pt x="7318" y="8423"/>
                    <a:pt x="7336" y="8447"/>
                  </a:cubicBezTo>
                  <a:cubicBezTo>
                    <a:pt x="7289" y="8482"/>
                    <a:pt x="7266" y="8523"/>
                    <a:pt x="7266" y="8581"/>
                  </a:cubicBezTo>
                  <a:cubicBezTo>
                    <a:pt x="7266" y="8604"/>
                    <a:pt x="7289" y="8610"/>
                    <a:pt x="7306" y="8627"/>
                  </a:cubicBezTo>
                  <a:cubicBezTo>
                    <a:pt x="7295" y="8645"/>
                    <a:pt x="7266" y="8645"/>
                    <a:pt x="7266" y="8668"/>
                  </a:cubicBezTo>
                  <a:cubicBezTo>
                    <a:pt x="7266" y="8697"/>
                    <a:pt x="7300" y="8703"/>
                    <a:pt x="7312" y="8738"/>
                  </a:cubicBezTo>
                  <a:cubicBezTo>
                    <a:pt x="7324" y="8761"/>
                    <a:pt x="7318" y="8784"/>
                    <a:pt x="7330" y="8808"/>
                  </a:cubicBezTo>
                  <a:cubicBezTo>
                    <a:pt x="7341" y="8854"/>
                    <a:pt x="7376" y="8860"/>
                    <a:pt x="7399" y="8901"/>
                  </a:cubicBezTo>
                  <a:cubicBezTo>
                    <a:pt x="7394" y="8924"/>
                    <a:pt x="7388" y="8936"/>
                    <a:pt x="7388" y="8965"/>
                  </a:cubicBezTo>
                  <a:cubicBezTo>
                    <a:pt x="7388" y="9075"/>
                    <a:pt x="7469" y="9134"/>
                    <a:pt x="7499" y="9221"/>
                  </a:cubicBezTo>
                  <a:close/>
                </a:path>
              </a:pathLst>
            </a:custGeom>
            <a:grpFill/>
            <a:ln w="9525" cap="flat" cmpd="sng">
              <a:solidFill>
                <a:schemeClr val="bg1"/>
              </a:solidFill>
              <a:bevel/>
              <a:headEnd/>
              <a:tailEnd/>
            </a:ln>
            <a:effectLst/>
          </p:spPr>
          <p:txBody>
            <a:bodyPr wrap="none" anchor="ctr"/>
            <a:lstStyle/>
            <a:p>
              <a:pPr defTabSz="342831">
                <a:defRPr/>
              </a:pPr>
              <a:endParaRPr lang="en-US" sz="338">
                <a:latin typeface="Montserrat" charset="0"/>
              </a:endParaRPr>
            </a:p>
          </p:txBody>
        </p:sp>
        <p:sp>
          <p:nvSpPr>
            <p:cNvPr id="96" name="Freeform 95">
              <a:extLst>
                <a:ext uri="{FF2B5EF4-FFF2-40B4-BE49-F238E27FC236}">
                  <a16:creationId xmlns:a16="http://schemas.microsoft.com/office/drawing/2014/main" id="{C5C8B1B8-EB2A-F54D-B6C7-BE8A05CF27A5}"/>
                </a:ext>
              </a:extLst>
            </p:cNvPr>
            <p:cNvSpPr>
              <a:spLocks noChangeArrowheads="1"/>
            </p:cNvSpPr>
            <p:nvPr/>
          </p:nvSpPr>
          <p:spPr bwMode="auto">
            <a:xfrm>
              <a:off x="5465426" y="3136427"/>
              <a:ext cx="1776703" cy="2123253"/>
            </a:xfrm>
            <a:custGeom>
              <a:avLst/>
              <a:gdLst>
                <a:gd name="T0" fmla="*/ 4254 w 5792"/>
                <a:gd name="T1" fmla="*/ 5564 h 6921"/>
                <a:gd name="T2" fmla="*/ 4336 w 5792"/>
                <a:gd name="T3" fmla="*/ 5506 h 6921"/>
                <a:gd name="T4" fmla="*/ 3696 w 5792"/>
                <a:gd name="T5" fmla="*/ 5640 h 6921"/>
                <a:gd name="T6" fmla="*/ 3853 w 5792"/>
                <a:gd name="T7" fmla="*/ 5686 h 6921"/>
                <a:gd name="T8" fmla="*/ 3957 w 5792"/>
                <a:gd name="T9" fmla="*/ 5651 h 6921"/>
                <a:gd name="T10" fmla="*/ 4109 w 5792"/>
                <a:gd name="T11" fmla="*/ 5715 h 6921"/>
                <a:gd name="T12" fmla="*/ 4219 w 5792"/>
                <a:gd name="T13" fmla="*/ 5523 h 6921"/>
                <a:gd name="T14" fmla="*/ 4149 w 5792"/>
                <a:gd name="T15" fmla="*/ 5453 h 6921"/>
                <a:gd name="T16" fmla="*/ 3672 w 5792"/>
                <a:gd name="T17" fmla="*/ 5517 h 6921"/>
                <a:gd name="T18" fmla="*/ 0 w 5792"/>
                <a:gd name="T19" fmla="*/ 3148 h 6921"/>
                <a:gd name="T20" fmla="*/ 0 w 5792"/>
                <a:gd name="T21" fmla="*/ 0 h 6921"/>
                <a:gd name="T22" fmla="*/ 5791 w 5792"/>
                <a:gd name="T23" fmla="*/ 23 h 6921"/>
                <a:gd name="T24" fmla="*/ 5780 w 5792"/>
                <a:gd name="T25" fmla="*/ 4504 h 6921"/>
                <a:gd name="T26" fmla="*/ 5774 w 5792"/>
                <a:gd name="T27" fmla="*/ 6914 h 6921"/>
                <a:gd name="T28" fmla="*/ 5553 w 5792"/>
                <a:gd name="T29" fmla="*/ 6856 h 6921"/>
                <a:gd name="T30" fmla="*/ 5337 w 5792"/>
                <a:gd name="T31" fmla="*/ 6554 h 6921"/>
                <a:gd name="T32" fmla="*/ 5215 w 5792"/>
                <a:gd name="T33" fmla="*/ 6350 h 6921"/>
                <a:gd name="T34" fmla="*/ 5250 w 5792"/>
                <a:gd name="T35" fmla="*/ 6036 h 6921"/>
                <a:gd name="T36" fmla="*/ 4895 w 5792"/>
                <a:gd name="T37" fmla="*/ 5442 h 6921"/>
                <a:gd name="T38" fmla="*/ 4924 w 5792"/>
                <a:gd name="T39" fmla="*/ 5366 h 6921"/>
                <a:gd name="T40" fmla="*/ 4953 w 5792"/>
                <a:gd name="T41" fmla="*/ 5500 h 6921"/>
                <a:gd name="T42" fmla="*/ 4825 w 5792"/>
                <a:gd name="T43" fmla="*/ 5319 h 6921"/>
                <a:gd name="T44" fmla="*/ 4493 w 5792"/>
                <a:gd name="T45" fmla="*/ 5459 h 6921"/>
                <a:gd name="T46" fmla="*/ 4481 w 5792"/>
                <a:gd name="T47" fmla="*/ 5366 h 6921"/>
                <a:gd name="T48" fmla="*/ 4505 w 5792"/>
                <a:gd name="T49" fmla="*/ 4801 h 6921"/>
                <a:gd name="T50" fmla="*/ 4342 w 5792"/>
                <a:gd name="T51" fmla="*/ 4662 h 6921"/>
                <a:gd name="T52" fmla="*/ 4225 w 5792"/>
                <a:gd name="T53" fmla="*/ 5063 h 6921"/>
                <a:gd name="T54" fmla="*/ 3800 w 5792"/>
                <a:gd name="T55" fmla="*/ 5232 h 6921"/>
                <a:gd name="T56" fmla="*/ 3818 w 5792"/>
                <a:gd name="T57" fmla="*/ 5127 h 6921"/>
                <a:gd name="T58" fmla="*/ 4010 w 5792"/>
                <a:gd name="T59" fmla="*/ 5017 h 6921"/>
                <a:gd name="T60" fmla="*/ 4103 w 5792"/>
                <a:gd name="T61" fmla="*/ 4609 h 6921"/>
                <a:gd name="T62" fmla="*/ 4120 w 5792"/>
                <a:gd name="T63" fmla="*/ 4469 h 6921"/>
                <a:gd name="T64" fmla="*/ 4231 w 5792"/>
                <a:gd name="T65" fmla="*/ 4312 h 6921"/>
                <a:gd name="T66" fmla="*/ 4260 w 5792"/>
                <a:gd name="T67" fmla="*/ 4062 h 6921"/>
                <a:gd name="T68" fmla="*/ 4266 w 5792"/>
                <a:gd name="T69" fmla="*/ 4004 h 6921"/>
                <a:gd name="T70" fmla="*/ 4359 w 5792"/>
                <a:gd name="T71" fmla="*/ 3986 h 6921"/>
                <a:gd name="T72" fmla="*/ 4225 w 5792"/>
                <a:gd name="T73" fmla="*/ 3608 h 6921"/>
                <a:gd name="T74" fmla="*/ 4202 w 5792"/>
                <a:gd name="T75" fmla="*/ 3870 h 6921"/>
                <a:gd name="T76" fmla="*/ 4062 w 5792"/>
                <a:gd name="T77" fmla="*/ 3957 h 6921"/>
                <a:gd name="T78" fmla="*/ 4033 w 5792"/>
                <a:gd name="T79" fmla="*/ 4132 h 6921"/>
                <a:gd name="T80" fmla="*/ 3812 w 5792"/>
                <a:gd name="T81" fmla="*/ 4301 h 6921"/>
                <a:gd name="T82" fmla="*/ 3666 w 5792"/>
                <a:gd name="T83" fmla="*/ 4406 h 6921"/>
                <a:gd name="T84" fmla="*/ 3416 w 5792"/>
                <a:gd name="T85" fmla="*/ 4714 h 6921"/>
                <a:gd name="T86" fmla="*/ 3300 w 5792"/>
                <a:gd name="T87" fmla="*/ 4889 h 6921"/>
                <a:gd name="T88" fmla="*/ 3288 w 5792"/>
                <a:gd name="T89" fmla="*/ 4964 h 6921"/>
                <a:gd name="T90" fmla="*/ 3218 w 5792"/>
                <a:gd name="T91" fmla="*/ 4970 h 6921"/>
                <a:gd name="T92" fmla="*/ 3131 w 5792"/>
                <a:gd name="T93" fmla="*/ 4906 h 6921"/>
                <a:gd name="T94" fmla="*/ 3119 w 5792"/>
                <a:gd name="T95" fmla="*/ 4825 h 6921"/>
                <a:gd name="T96" fmla="*/ 3026 w 5792"/>
                <a:gd name="T97" fmla="*/ 4557 h 6921"/>
                <a:gd name="T98" fmla="*/ 2968 w 5792"/>
                <a:gd name="T99" fmla="*/ 4388 h 6921"/>
                <a:gd name="T100" fmla="*/ 2805 w 5792"/>
                <a:gd name="T101" fmla="*/ 4080 h 6921"/>
                <a:gd name="T102" fmla="*/ 2619 w 5792"/>
                <a:gd name="T103" fmla="*/ 3969 h 6921"/>
                <a:gd name="T104" fmla="*/ 2502 w 5792"/>
                <a:gd name="T105" fmla="*/ 3847 h 6921"/>
                <a:gd name="T106" fmla="*/ 2514 w 5792"/>
                <a:gd name="T107" fmla="*/ 3783 h 6921"/>
                <a:gd name="T108" fmla="*/ 2345 w 5792"/>
                <a:gd name="T109" fmla="*/ 3625 h 6921"/>
                <a:gd name="T110" fmla="*/ 2345 w 5792"/>
                <a:gd name="T111" fmla="*/ 3561 h 6921"/>
                <a:gd name="T112" fmla="*/ 2269 w 5792"/>
                <a:gd name="T113" fmla="*/ 3428 h 6921"/>
                <a:gd name="T114" fmla="*/ 2153 w 5792"/>
                <a:gd name="T115" fmla="*/ 3381 h 6921"/>
                <a:gd name="T116" fmla="*/ 1903 w 5792"/>
                <a:gd name="T117" fmla="*/ 3358 h 6921"/>
                <a:gd name="T118" fmla="*/ 1531 w 5792"/>
                <a:gd name="T119" fmla="*/ 3334 h 6921"/>
                <a:gd name="T120" fmla="*/ 1053 w 5792"/>
                <a:gd name="T121" fmla="*/ 3008 h 6921"/>
                <a:gd name="T122" fmla="*/ 693 w 5792"/>
                <a:gd name="T123" fmla="*/ 3084 h 6921"/>
                <a:gd name="T124" fmla="*/ 64 w 5792"/>
                <a:gd name="T125" fmla="*/ 3148 h 69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92" h="6921">
                  <a:moveTo>
                    <a:pt x="4336" y="5506"/>
                  </a:moveTo>
                  <a:lnTo>
                    <a:pt x="4336" y="5506"/>
                  </a:lnTo>
                  <a:cubicBezTo>
                    <a:pt x="4295" y="5511"/>
                    <a:pt x="4278" y="5535"/>
                    <a:pt x="4254" y="5564"/>
                  </a:cubicBezTo>
                  <a:cubicBezTo>
                    <a:pt x="4283" y="5599"/>
                    <a:pt x="4318" y="5599"/>
                    <a:pt x="4365" y="5599"/>
                  </a:cubicBezTo>
                  <a:cubicBezTo>
                    <a:pt x="4377" y="5599"/>
                    <a:pt x="4382" y="5581"/>
                    <a:pt x="4400" y="5576"/>
                  </a:cubicBezTo>
                  <a:cubicBezTo>
                    <a:pt x="4382" y="5547"/>
                    <a:pt x="4365" y="5523"/>
                    <a:pt x="4336" y="5506"/>
                  </a:cubicBezTo>
                  <a:close/>
                  <a:moveTo>
                    <a:pt x="3643" y="5605"/>
                  </a:moveTo>
                  <a:lnTo>
                    <a:pt x="3643" y="5605"/>
                  </a:lnTo>
                  <a:cubicBezTo>
                    <a:pt x="3643" y="5634"/>
                    <a:pt x="3678" y="5628"/>
                    <a:pt x="3696" y="5640"/>
                  </a:cubicBezTo>
                  <a:cubicBezTo>
                    <a:pt x="3713" y="5651"/>
                    <a:pt x="3719" y="5674"/>
                    <a:pt x="3736" y="5674"/>
                  </a:cubicBezTo>
                  <a:cubicBezTo>
                    <a:pt x="3800" y="5674"/>
                    <a:pt x="3800" y="5674"/>
                    <a:pt x="3800" y="5674"/>
                  </a:cubicBezTo>
                  <a:cubicBezTo>
                    <a:pt x="3853" y="5686"/>
                    <a:pt x="3853" y="5686"/>
                    <a:pt x="3853" y="5686"/>
                  </a:cubicBezTo>
                  <a:cubicBezTo>
                    <a:pt x="3893" y="5686"/>
                    <a:pt x="3917" y="5686"/>
                    <a:pt x="3957" y="5680"/>
                  </a:cubicBezTo>
                  <a:cubicBezTo>
                    <a:pt x="3957" y="5674"/>
                    <a:pt x="3963" y="5669"/>
                    <a:pt x="3963" y="5663"/>
                  </a:cubicBezTo>
                  <a:cubicBezTo>
                    <a:pt x="3963" y="5657"/>
                    <a:pt x="3957" y="5657"/>
                    <a:pt x="3957" y="5651"/>
                  </a:cubicBezTo>
                  <a:cubicBezTo>
                    <a:pt x="3969" y="5645"/>
                    <a:pt x="3969" y="5645"/>
                    <a:pt x="3969" y="5645"/>
                  </a:cubicBezTo>
                  <a:cubicBezTo>
                    <a:pt x="4033" y="5645"/>
                    <a:pt x="4033" y="5645"/>
                    <a:pt x="4033" y="5645"/>
                  </a:cubicBezTo>
                  <a:cubicBezTo>
                    <a:pt x="4056" y="5674"/>
                    <a:pt x="4074" y="5692"/>
                    <a:pt x="4109" y="5715"/>
                  </a:cubicBezTo>
                  <a:cubicBezTo>
                    <a:pt x="4126" y="5674"/>
                    <a:pt x="4149" y="5657"/>
                    <a:pt x="4149" y="5616"/>
                  </a:cubicBezTo>
                  <a:cubicBezTo>
                    <a:pt x="4149" y="5593"/>
                    <a:pt x="4185" y="5605"/>
                    <a:pt x="4202" y="5593"/>
                  </a:cubicBezTo>
                  <a:cubicBezTo>
                    <a:pt x="4225" y="5576"/>
                    <a:pt x="4214" y="5552"/>
                    <a:pt x="4219" y="5523"/>
                  </a:cubicBezTo>
                  <a:cubicBezTo>
                    <a:pt x="4208" y="5523"/>
                    <a:pt x="4202" y="5523"/>
                    <a:pt x="4190" y="5523"/>
                  </a:cubicBezTo>
                  <a:cubicBezTo>
                    <a:pt x="4167" y="5523"/>
                    <a:pt x="4132" y="5523"/>
                    <a:pt x="4132" y="5494"/>
                  </a:cubicBezTo>
                  <a:cubicBezTo>
                    <a:pt x="4132" y="5477"/>
                    <a:pt x="4149" y="5471"/>
                    <a:pt x="4149" y="5453"/>
                  </a:cubicBezTo>
                  <a:cubicBezTo>
                    <a:pt x="4149" y="5436"/>
                    <a:pt x="4126" y="5424"/>
                    <a:pt x="4109" y="5424"/>
                  </a:cubicBezTo>
                  <a:cubicBezTo>
                    <a:pt x="3992" y="5424"/>
                    <a:pt x="3923" y="5442"/>
                    <a:pt x="3812" y="5482"/>
                  </a:cubicBezTo>
                  <a:cubicBezTo>
                    <a:pt x="3760" y="5506"/>
                    <a:pt x="3713" y="5482"/>
                    <a:pt x="3672" y="5517"/>
                  </a:cubicBezTo>
                  <a:cubicBezTo>
                    <a:pt x="3649" y="5541"/>
                    <a:pt x="3643" y="5570"/>
                    <a:pt x="3643" y="5605"/>
                  </a:cubicBezTo>
                  <a:close/>
                  <a:moveTo>
                    <a:pt x="0" y="3148"/>
                  </a:moveTo>
                  <a:lnTo>
                    <a:pt x="0" y="3148"/>
                  </a:lnTo>
                  <a:lnTo>
                    <a:pt x="0" y="3148"/>
                  </a:lnTo>
                  <a:cubicBezTo>
                    <a:pt x="0" y="0"/>
                    <a:pt x="0" y="0"/>
                    <a:pt x="0" y="0"/>
                  </a:cubicBezTo>
                  <a:lnTo>
                    <a:pt x="0" y="0"/>
                  </a:lnTo>
                  <a:cubicBezTo>
                    <a:pt x="4330" y="17"/>
                    <a:pt x="4330" y="17"/>
                    <a:pt x="4330" y="17"/>
                  </a:cubicBezTo>
                  <a:lnTo>
                    <a:pt x="4330" y="17"/>
                  </a:lnTo>
                  <a:cubicBezTo>
                    <a:pt x="5791" y="23"/>
                    <a:pt x="5791" y="23"/>
                    <a:pt x="5791" y="23"/>
                  </a:cubicBezTo>
                  <a:cubicBezTo>
                    <a:pt x="5791" y="1652"/>
                    <a:pt x="5791" y="1652"/>
                    <a:pt x="5791" y="1652"/>
                  </a:cubicBezTo>
                  <a:lnTo>
                    <a:pt x="5791" y="1652"/>
                  </a:lnTo>
                  <a:cubicBezTo>
                    <a:pt x="5780" y="4504"/>
                    <a:pt x="5780" y="4504"/>
                    <a:pt x="5780" y="4504"/>
                  </a:cubicBezTo>
                  <a:lnTo>
                    <a:pt x="5780" y="4504"/>
                  </a:lnTo>
                  <a:cubicBezTo>
                    <a:pt x="5774" y="6914"/>
                    <a:pt x="5774" y="6914"/>
                    <a:pt x="5774" y="6914"/>
                  </a:cubicBezTo>
                  <a:lnTo>
                    <a:pt x="5774" y="6914"/>
                  </a:lnTo>
                  <a:cubicBezTo>
                    <a:pt x="5756" y="6909"/>
                    <a:pt x="5739" y="6909"/>
                    <a:pt x="5716" y="6909"/>
                  </a:cubicBezTo>
                  <a:cubicBezTo>
                    <a:pt x="5686" y="6909"/>
                    <a:pt x="5669" y="6920"/>
                    <a:pt x="5634" y="6920"/>
                  </a:cubicBezTo>
                  <a:cubicBezTo>
                    <a:pt x="5593" y="6920"/>
                    <a:pt x="5582" y="6880"/>
                    <a:pt x="5553" y="6856"/>
                  </a:cubicBezTo>
                  <a:cubicBezTo>
                    <a:pt x="5477" y="6798"/>
                    <a:pt x="5454" y="6746"/>
                    <a:pt x="5413" y="6658"/>
                  </a:cubicBezTo>
                  <a:cubicBezTo>
                    <a:pt x="5401" y="6635"/>
                    <a:pt x="5384" y="6618"/>
                    <a:pt x="5366" y="6594"/>
                  </a:cubicBezTo>
                  <a:cubicBezTo>
                    <a:pt x="5355" y="6577"/>
                    <a:pt x="5355" y="6559"/>
                    <a:pt x="5337" y="6554"/>
                  </a:cubicBezTo>
                  <a:cubicBezTo>
                    <a:pt x="5314" y="6548"/>
                    <a:pt x="5297" y="6559"/>
                    <a:pt x="5279" y="6548"/>
                  </a:cubicBezTo>
                  <a:cubicBezTo>
                    <a:pt x="5232" y="6495"/>
                    <a:pt x="5250" y="6431"/>
                    <a:pt x="5192" y="6385"/>
                  </a:cubicBezTo>
                  <a:cubicBezTo>
                    <a:pt x="5197" y="6367"/>
                    <a:pt x="5215" y="6367"/>
                    <a:pt x="5215" y="6350"/>
                  </a:cubicBezTo>
                  <a:cubicBezTo>
                    <a:pt x="5215" y="6297"/>
                    <a:pt x="5192" y="6257"/>
                    <a:pt x="5139" y="6245"/>
                  </a:cubicBezTo>
                  <a:cubicBezTo>
                    <a:pt x="5203" y="6216"/>
                    <a:pt x="5250" y="6181"/>
                    <a:pt x="5250" y="6111"/>
                  </a:cubicBezTo>
                  <a:cubicBezTo>
                    <a:pt x="5250" y="6036"/>
                    <a:pt x="5250" y="6036"/>
                    <a:pt x="5250" y="6036"/>
                  </a:cubicBezTo>
                  <a:cubicBezTo>
                    <a:pt x="5250" y="5890"/>
                    <a:pt x="5168" y="5820"/>
                    <a:pt x="5110" y="5680"/>
                  </a:cubicBezTo>
                  <a:cubicBezTo>
                    <a:pt x="5081" y="5645"/>
                    <a:pt x="5046" y="5645"/>
                    <a:pt x="5017" y="5605"/>
                  </a:cubicBezTo>
                  <a:cubicBezTo>
                    <a:pt x="4976" y="5541"/>
                    <a:pt x="4935" y="5511"/>
                    <a:pt x="4895" y="5442"/>
                  </a:cubicBezTo>
                  <a:cubicBezTo>
                    <a:pt x="4889" y="5430"/>
                    <a:pt x="4866" y="5424"/>
                    <a:pt x="4866" y="5407"/>
                  </a:cubicBezTo>
                  <a:cubicBezTo>
                    <a:pt x="4866" y="5395"/>
                    <a:pt x="4866" y="5389"/>
                    <a:pt x="4871" y="5384"/>
                  </a:cubicBezTo>
                  <a:cubicBezTo>
                    <a:pt x="4889" y="5378"/>
                    <a:pt x="4901" y="5366"/>
                    <a:pt x="4924" y="5366"/>
                  </a:cubicBezTo>
                  <a:cubicBezTo>
                    <a:pt x="4941" y="5366"/>
                    <a:pt x="4959" y="5378"/>
                    <a:pt x="4959" y="5395"/>
                  </a:cubicBezTo>
                  <a:cubicBezTo>
                    <a:pt x="4959" y="5424"/>
                    <a:pt x="4930" y="5442"/>
                    <a:pt x="4930" y="5471"/>
                  </a:cubicBezTo>
                  <a:cubicBezTo>
                    <a:pt x="4930" y="5482"/>
                    <a:pt x="4947" y="5488"/>
                    <a:pt x="4953" y="5500"/>
                  </a:cubicBezTo>
                  <a:cubicBezTo>
                    <a:pt x="5011" y="5488"/>
                    <a:pt x="5005" y="5418"/>
                    <a:pt x="5005" y="5354"/>
                  </a:cubicBezTo>
                  <a:cubicBezTo>
                    <a:pt x="5005" y="5308"/>
                    <a:pt x="4976" y="5261"/>
                    <a:pt x="4930" y="5261"/>
                  </a:cubicBezTo>
                  <a:cubicBezTo>
                    <a:pt x="4883" y="5261"/>
                    <a:pt x="4866" y="5302"/>
                    <a:pt x="4825" y="5319"/>
                  </a:cubicBezTo>
                  <a:cubicBezTo>
                    <a:pt x="4802" y="5325"/>
                    <a:pt x="4784" y="5319"/>
                    <a:pt x="4761" y="5319"/>
                  </a:cubicBezTo>
                  <a:cubicBezTo>
                    <a:pt x="4720" y="5325"/>
                    <a:pt x="4714" y="5366"/>
                    <a:pt x="4674" y="5384"/>
                  </a:cubicBezTo>
                  <a:cubicBezTo>
                    <a:pt x="4609" y="5424"/>
                    <a:pt x="4569" y="5442"/>
                    <a:pt x="4493" y="5459"/>
                  </a:cubicBezTo>
                  <a:cubicBezTo>
                    <a:pt x="4412" y="5447"/>
                    <a:pt x="4412" y="5447"/>
                    <a:pt x="4412" y="5447"/>
                  </a:cubicBezTo>
                  <a:cubicBezTo>
                    <a:pt x="4406" y="5436"/>
                    <a:pt x="4406" y="5436"/>
                    <a:pt x="4406" y="5436"/>
                  </a:cubicBezTo>
                  <a:cubicBezTo>
                    <a:pt x="4423" y="5401"/>
                    <a:pt x="4464" y="5401"/>
                    <a:pt x="4481" y="5366"/>
                  </a:cubicBezTo>
                  <a:cubicBezTo>
                    <a:pt x="4534" y="5273"/>
                    <a:pt x="4557" y="5209"/>
                    <a:pt x="4592" y="5110"/>
                  </a:cubicBezTo>
                  <a:cubicBezTo>
                    <a:pt x="4609" y="5058"/>
                    <a:pt x="4633" y="5034"/>
                    <a:pt x="4633" y="4982"/>
                  </a:cubicBezTo>
                  <a:cubicBezTo>
                    <a:pt x="4633" y="4895"/>
                    <a:pt x="4551" y="4871"/>
                    <a:pt x="4505" y="4801"/>
                  </a:cubicBezTo>
                  <a:cubicBezTo>
                    <a:pt x="4470" y="4749"/>
                    <a:pt x="4470" y="4708"/>
                    <a:pt x="4452" y="4650"/>
                  </a:cubicBezTo>
                  <a:cubicBezTo>
                    <a:pt x="4441" y="4615"/>
                    <a:pt x="4417" y="4598"/>
                    <a:pt x="4412" y="4557"/>
                  </a:cubicBezTo>
                  <a:cubicBezTo>
                    <a:pt x="4377" y="4592"/>
                    <a:pt x="4371" y="4621"/>
                    <a:pt x="4342" y="4662"/>
                  </a:cubicBezTo>
                  <a:cubicBezTo>
                    <a:pt x="4295" y="4720"/>
                    <a:pt x="4278" y="4766"/>
                    <a:pt x="4272" y="4842"/>
                  </a:cubicBezTo>
                  <a:cubicBezTo>
                    <a:pt x="4272" y="4906"/>
                    <a:pt x="4249" y="4941"/>
                    <a:pt x="4237" y="4999"/>
                  </a:cubicBezTo>
                  <a:cubicBezTo>
                    <a:pt x="4237" y="5028"/>
                    <a:pt x="4225" y="5040"/>
                    <a:pt x="4225" y="5063"/>
                  </a:cubicBezTo>
                  <a:cubicBezTo>
                    <a:pt x="4219" y="5098"/>
                    <a:pt x="4214" y="5133"/>
                    <a:pt x="4179" y="5133"/>
                  </a:cubicBezTo>
                  <a:cubicBezTo>
                    <a:pt x="4144" y="5133"/>
                    <a:pt x="4126" y="5116"/>
                    <a:pt x="4091" y="5116"/>
                  </a:cubicBezTo>
                  <a:cubicBezTo>
                    <a:pt x="3969" y="5116"/>
                    <a:pt x="3923" y="5232"/>
                    <a:pt x="3800" y="5232"/>
                  </a:cubicBezTo>
                  <a:cubicBezTo>
                    <a:pt x="3783" y="5232"/>
                    <a:pt x="3783" y="5232"/>
                    <a:pt x="3783" y="5232"/>
                  </a:cubicBezTo>
                  <a:cubicBezTo>
                    <a:pt x="3783" y="5209"/>
                    <a:pt x="3783" y="5209"/>
                    <a:pt x="3783" y="5209"/>
                  </a:cubicBezTo>
                  <a:cubicBezTo>
                    <a:pt x="3783" y="5174"/>
                    <a:pt x="3806" y="5156"/>
                    <a:pt x="3818" y="5127"/>
                  </a:cubicBezTo>
                  <a:cubicBezTo>
                    <a:pt x="3835" y="5087"/>
                    <a:pt x="3823" y="5046"/>
                    <a:pt x="3864" y="5028"/>
                  </a:cubicBezTo>
                  <a:cubicBezTo>
                    <a:pt x="3888" y="5017"/>
                    <a:pt x="3911" y="5017"/>
                    <a:pt x="3940" y="5017"/>
                  </a:cubicBezTo>
                  <a:cubicBezTo>
                    <a:pt x="4010" y="5017"/>
                    <a:pt x="4010" y="5017"/>
                    <a:pt x="4010" y="5017"/>
                  </a:cubicBezTo>
                  <a:cubicBezTo>
                    <a:pt x="4086" y="5017"/>
                    <a:pt x="4097" y="4924"/>
                    <a:pt x="4097" y="4848"/>
                  </a:cubicBezTo>
                  <a:cubicBezTo>
                    <a:pt x="4097" y="4801"/>
                    <a:pt x="4086" y="4772"/>
                    <a:pt x="4074" y="4726"/>
                  </a:cubicBezTo>
                  <a:cubicBezTo>
                    <a:pt x="4103" y="4609"/>
                    <a:pt x="4103" y="4609"/>
                    <a:pt x="4103" y="4609"/>
                  </a:cubicBezTo>
                  <a:cubicBezTo>
                    <a:pt x="4103" y="4598"/>
                    <a:pt x="4091" y="4586"/>
                    <a:pt x="4091" y="4574"/>
                  </a:cubicBezTo>
                  <a:cubicBezTo>
                    <a:pt x="4091" y="4533"/>
                    <a:pt x="4132" y="4528"/>
                    <a:pt x="4132" y="4487"/>
                  </a:cubicBezTo>
                  <a:cubicBezTo>
                    <a:pt x="4132" y="4481"/>
                    <a:pt x="4120" y="4481"/>
                    <a:pt x="4120" y="4469"/>
                  </a:cubicBezTo>
                  <a:cubicBezTo>
                    <a:pt x="4120" y="4440"/>
                    <a:pt x="4167" y="4435"/>
                    <a:pt x="4167" y="4406"/>
                  </a:cubicBezTo>
                  <a:cubicBezTo>
                    <a:pt x="4167" y="4394"/>
                    <a:pt x="4155" y="4394"/>
                    <a:pt x="4144" y="4388"/>
                  </a:cubicBezTo>
                  <a:cubicBezTo>
                    <a:pt x="4167" y="4353"/>
                    <a:pt x="4196" y="4341"/>
                    <a:pt x="4231" y="4312"/>
                  </a:cubicBezTo>
                  <a:cubicBezTo>
                    <a:pt x="4254" y="4295"/>
                    <a:pt x="4254" y="4266"/>
                    <a:pt x="4278" y="4254"/>
                  </a:cubicBezTo>
                  <a:cubicBezTo>
                    <a:pt x="4295" y="4248"/>
                    <a:pt x="4318" y="4237"/>
                    <a:pt x="4318" y="4219"/>
                  </a:cubicBezTo>
                  <a:cubicBezTo>
                    <a:pt x="4318" y="4155"/>
                    <a:pt x="4260" y="4126"/>
                    <a:pt x="4260" y="4062"/>
                  </a:cubicBezTo>
                  <a:cubicBezTo>
                    <a:pt x="4260" y="4044"/>
                    <a:pt x="4266" y="4044"/>
                    <a:pt x="4266" y="4027"/>
                  </a:cubicBezTo>
                  <a:cubicBezTo>
                    <a:pt x="4266" y="4021"/>
                    <a:pt x="4260" y="4021"/>
                    <a:pt x="4260" y="4015"/>
                  </a:cubicBezTo>
                  <a:cubicBezTo>
                    <a:pt x="4260" y="4010"/>
                    <a:pt x="4260" y="4010"/>
                    <a:pt x="4266" y="4004"/>
                  </a:cubicBezTo>
                  <a:cubicBezTo>
                    <a:pt x="4289" y="4004"/>
                    <a:pt x="4301" y="3980"/>
                    <a:pt x="4330" y="3980"/>
                  </a:cubicBezTo>
                  <a:cubicBezTo>
                    <a:pt x="4336" y="3980"/>
                    <a:pt x="4342" y="3992"/>
                    <a:pt x="4348" y="3992"/>
                  </a:cubicBezTo>
                  <a:cubicBezTo>
                    <a:pt x="4353" y="3992"/>
                    <a:pt x="4359" y="3986"/>
                    <a:pt x="4359" y="3986"/>
                  </a:cubicBezTo>
                  <a:cubicBezTo>
                    <a:pt x="4359" y="3963"/>
                    <a:pt x="4359" y="3963"/>
                    <a:pt x="4359" y="3963"/>
                  </a:cubicBezTo>
                  <a:cubicBezTo>
                    <a:pt x="4359" y="3928"/>
                    <a:pt x="4324" y="3917"/>
                    <a:pt x="4313" y="3881"/>
                  </a:cubicBezTo>
                  <a:cubicBezTo>
                    <a:pt x="4272" y="3777"/>
                    <a:pt x="4301" y="3689"/>
                    <a:pt x="4225" y="3608"/>
                  </a:cubicBezTo>
                  <a:cubicBezTo>
                    <a:pt x="4219" y="3643"/>
                    <a:pt x="4214" y="3666"/>
                    <a:pt x="4214" y="3701"/>
                  </a:cubicBezTo>
                  <a:cubicBezTo>
                    <a:pt x="4214" y="3736"/>
                    <a:pt x="4225" y="3754"/>
                    <a:pt x="4225" y="3783"/>
                  </a:cubicBezTo>
                  <a:cubicBezTo>
                    <a:pt x="4225" y="3817"/>
                    <a:pt x="4231" y="3852"/>
                    <a:pt x="4202" y="3870"/>
                  </a:cubicBezTo>
                  <a:cubicBezTo>
                    <a:pt x="4185" y="3887"/>
                    <a:pt x="4161" y="3870"/>
                    <a:pt x="4138" y="3876"/>
                  </a:cubicBezTo>
                  <a:cubicBezTo>
                    <a:pt x="4115" y="3893"/>
                    <a:pt x="4126" y="3928"/>
                    <a:pt x="4103" y="3946"/>
                  </a:cubicBezTo>
                  <a:cubicBezTo>
                    <a:pt x="4091" y="3951"/>
                    <a:pt x="4074" y="3946"/>
                    <a:pt x="4062" y="3957"/>
                  </a:cubicBezTo>
                  <a:cubicBezTo>
                    <a:pt x="4051" y="3975"/>
                    <a:pt x="4056" y="3992"/>
                    <a:pt x="4056" y="4015"/>
                  </a:cubicBezTo>
                  <a:cubicBezTo>
                    <a:pt x="4051" y="4027"/>
                    <a:pt x="4039" y="4039"/>
                    <a:pt x="4033" y="4050"/>
                  </a:cubicBezTo>
                  <a:cubicBezTo>
                    <a:pt x="4027" y="4085"/>
                    <a:pt x="4045" y="4103"/>
                    <a:pt x="4033" y="4132"/>
                  </a:cubicBezTo>
                  <a:cubicBezTo>
                    <a:pt x="4016" y="4155"/>
                    <a:pt x="3998" y="4161"/>
                    <a:pt x="3992" y="4184"/>
                  </a:cubicBezTo>
                  <a:cubicBezTo>
                    <a:pt x="3969" y="4243"/>
                    <a:pt x="3957" y="4306"/>
                    <a:pt x="3893" y="4306"/>
                  </a:cubicBezTo>
                  <a:cubicBezTo>
                    <a:pt x="3864" y="4306"/>
                    <a:pt x="3847" y="4301"/>
                    <a:pt x="3812" y="4301"/>
                  </a:cubicBezTo>
                  <a:cubicBezTo>
                    <a:pt x="3794" y="4301"/>
                    <a:pt x="3794" y="4318"/>
                    <a:pt x="3783" y="4336"/>
                  </a:cubicBezTo>
                  <a:cubicBezTo>
                    <a:pt x="3771" y="4353"/>
                    <a:pt x="3754" y="4365"/>
                    <a:pt x="3736" y="4382"/>
                  </a:cubicBezTo>
                  <a:cubicBezTo>
                    <a:pt x="3713" y="4400"/>
                    <a:pt x="3696" y="4394"/>
                    <a:pt x="3666" y="4406"/>
                  </a:cubicBezTo>
                  <a:cubicBezTo>
                    <a:pt x="3626" y="4423"/>
                    <a:pt x="3614" y="4452"/>
                    <a:pt x="3573" y="4481"/>
                  </a:cubicBezTo>
                  <a:cubicBezTo>
                    <a:pt x="3527" y="4522"/>
                    <a:pt x="3527" y="4569"/>
                    <a:pt x="3492" y="4627"/>
                  </a:cubicBezTo>
                  <a:cubicBezTo>
                    <a:pt x="3474" y="4667"/>
                    <a:pt x="3416" y="4667"/>
                    <a:pt x="3416" y="4714"/>
                  </a:cubicBezTo>
                  <a:cubicBezTo>
                    <a:pt x="3416" y="4726"/>
                    <a:pt x="3422" y="4732"/>
                    <a:pt x="3422" y="4743"/>
                  </a:cubicBezTo>
                  <a:cubicBezTo>
                    <a:pt x="3422" y="4778"/>
                    <a:pt x="3381" y="4772"/>
                    <a:pt x="3358" y="4790"/>
                  </a:cubicBezTo>
                  <a:cubicBezTo>
                    <a:pt x="3317" y="4813"/>
                    <a:pt x="3300" y="4848"/>
                    <a:pt x="3300" y="4889"/>
                  </a:cubicBezTo>
                  <a:cubicBezTo>
                    <a:pt x="3300" y="4895"/>
                    <a:pt x="3305" y="4895"/>
                    <a:pt x="3305" y="4900"/>
                  </a:cubicBezTo>
                  <a:cubicBezTo>
                    <a:pt x="3305" y="4918"/>
                    <a:pt x="3282" y="4924"/>
                    <a:pt x="3282" y="4941"/>
                  </a:cubicBezTo>
                  <a:cubicBezTo>
                    <a:pt x="3282" y="4953"/>
                    <a:pt x="3288" y="4953"/>
                    <a:pt x="3288" y="4964"/>
                  </a:cubicBezTo>
                  <a:cubicBezTo>
                    <a:pt x="3311" y="4958"/>
                    <a:pt x="3329" y="4958"/>
                    <a:pt x="3346" y="4941"/>
                  </a:cubicBezTo>
                  <a:cubicBezTo>
                    <a:pt x="3340" y="4976"/>
                    <a:pt x="3334" y="4999"/>
                    <a:pt x="3334" y="5028"/>
                  </a:cubicBezTo>
                  <a:cubicBezTo>
                    <a:pt x="3294" y="4999"/>
                    <a:pt x="3271" y="4970"/>
                    <a:pt x="3218" y="4970"/>
                  </a:cubicBezTo>
                  <a:cubicBezTo>
                    <a:pt x="3201" y="4970"/>
                    <a:pt x="3201" y="5005"/>
                    <a:pt x="3195" y="5028"/>
                  </a:cubicBezTo>
                  <a:cubicBezTo>
                    <a:pt x="3189" y="5022"/>
                    <a:pt x="3189" y="5022"/>
                    <a:pt x="3189" y="5022"/>
                  </a:cubicBezTo>
                  <a:cubicBezTo>
                    <a:pt x="3166" y="4976"/>
                    <a:pt x="3166" y="4941"/>
                    <a:pt x="3131" y="4906"/>
                  </a:cubicBezTo>
                  <a:cubicBezTo>
                    <a:pt x="2985" y="4761"/>
                    <a:pt x="3049" y="4854"/>
                    <a:pt x="3108" y="4854"/>
                  </a:cubicBezTo>
                  <a:cubicBezTo>
                    <a:pt x="3119" y="4854"/>
                    <a:pt x="3119" y="4854"/>
                    <a:pt x="3119" y="4854"/>
                  </a:cubicBezTo>
                  <a:cubicBezTo>
                    <a:pt x="3119" y="4825"/>
                    <a:pt x="3119" y="4825"/>
                    <a:pt x="3119" y="4825"/>
                  </a:cubicBezTo>
                  <a:cubicBezTo>
                    <a:pt x="3073" y="4702"/>
                    <a:pt x="3073" y="4702"/>
                    <a:pt x="3073" y="4702"/>
                  </a:cubicBezTo>
                  <a:cubicBezTo>
                    <a:pt x="3073" y="4667"/>
                    <a:pt x="3078" y="4644"/>
                    <a:pt x="3061" y="4615"/>
                  </a:cubicBezTo>
                  <a:cubicBezTo>
                    <a:pt x="3049" y="4592"/>
                    <a:pt x="3026" y="4586"/>
                    <a:pt x="3026" y="4557"/>
                  </a:cubicBezTo>
                  <a:cubicBezTo>
                    <a:pt x="3026" y="4551"/>
                    <a:pt x="3032" y="4545"/>
                    <a:pt x="3032" y="4533"/>
                  </a:cubicBezTo>
                  <a:cubicBezTo>
                    <a:pt x="3032" y="4504"/>
                    <a:pt x="3014" y="4493"/>
                    <a:pt x="3008" y="4464"/>
                  </a:cubicBezTo>
                  <a:cubicBezTo>
                    <a:pt x="2997" y="4435"/>
                    <a:pt x="2997" y="4406"/>
                    <a:pt x="2968" y="4388"/>
                  </a:cubicBezTo>
                  <a:cubicBezTo>
                    <a:pt x="2933" y="4370"/>
                    <a:pt x="2910" y="4359"/>
                    <a:pt x="2892" y="4324"/>
                  </a:cubicBezTo>
                  <a:cubicBezTo>
                    <a:pt x="2869" y="4289"/>
                    <a:pt x="2845" y="4277"/>
                    <a:pt x="2834" y="4243"/>
                  </a:cubicBezTo>
                  <a:cubicBezTo>
                    <a:pt x="2811" y="4178"/>
                    <a:pt x="2828" y="4138"/>
                    <a:pt x="2805" y="4080"/>
                  </a:cubicBezTo>
                  <a:cubicBezTo>
                    <a:pt x="2793" y="4050"/>
                    <a:pt x="2752" y="4050"/>
                    <a:pt x="2752" y="4021"/>
                  </a:cubicBezTo>
                  <a:cubicBezTo>
                    <a:pt x="2752" y="4015"/>
                    <a:pt x="2758" y="4010"/>
                    <a:pt x="2758" y="4004"/>
                  </a:cubicBezTo>
                  <a:cubicBezTo>
                    <a:pt x="2758" y="3951"/>
                    <a:pt x="2671" y="3980"/>
                    <a:pt x="2619" y="3969"/>
                  </a:cubicBezTo>
                  <a:cubicBezTo>
                    <a:pt x="2560" y="3963"/>
                    <a:pt x="2549" y="3893"/>
                    <a:pt x="2496" y="3893"/>
                  </a:cubicBezTo>
                  <a:cubicBezTo>
                    <a:pt x="2496" y="3870"/>
                    <a:pt x="2496" y="3870"/>
                    <a:pt x="2496" y="3870"/>
                  </a:cubicBezTo>
                  <a:cubicBezTo>
                    <a:pt x="2496" y="3864"/>
                    <a:pt x="2502" y="3858"/>
                    <a:pt x="2502" y="3847"/>
                  </a:cubicBezTo>
                  <a:cubicBezTo>
                    <a:pt x="2502" y="3823"/>
                    <a:pt x="2473" y="3829"/>
                    <a:pt x="2450" y="3817"/>
                  </a:cubicBezTo>
                  <a:cubicBezTo>
                    <a:pt x="2479" y="3800"/>
                    <a:pt x="2473" y="3777"/>
                    <a:pt x="2490" y="3748"/>
                  </a:cubicBezTo>
                  <a:cubicBezTo>
                    <a:pt x="2508" y="3754"/>
                    <a:pt x="2508" y="3765"/>
                    <a:pt x="2514" y="3783"/>
                  </a:cubicBezTo>
                  <a:cubicBezTo>
                    <a:pt x="2531" y="3754"/>
                    <a:pt x="2554" y="3742"/>
                    <a:pt x="2554" y="3707"/>
                  </a:cubicBezTo>
                  <a:cubicBezTo>
                    <a:pt x="2554" y="3643"/>
                    <a:pt x="2537" y="3573"/>
                    <a:pt x="2473" y="3573"/>
                  </a:cubicBezTo>
                  <a:cubicBezTo>
                    <a:pt x="2415" y="3573"/>
                    <a:pt x="2397" y="3614"/>
                    <a:pt x="2345" y="3625"/>
                  </a:cubicBezTo>
                  <a:cubicBezTo>
                    <a:pt x="2339" y="3620"/>
                    <a:pt x="2333" y="3620"/>
                    <a:pt x="2333" y="3614"/>
                  </a:cubicBezTo>
                  <a:cubicBezTo>
                    <a:pt x="2333" y="3602"/>
                    <a:pt x="2351" y="3596"/>
                    <a:pt x="2351" y="3585"/>
                  </a:cubicBezTo>
                  <a:cubicBezTo>
                    <a:pt x="2351" y="3573"/>
                    <a:pt x="2345" y="3573"/>
                    <a:pt x="2345" y="3561"/>
                  </a:cubicBezTo>
                  <a:cubicBezTo>
                    <a:pt x="2356" y="3567"/>
                    <a:pt x="2362" y="3573"/>
                    <a:pt x="2374" y="3579"/>
                  </a:cubicBezTo>
                  <a:cubicBezTo>
                    <a:pt x="2385" y="3573"/>
                    <a:pt x="2385" y="3573"/>
                    <a:pt x="2385" y="3573"/>
                  </a:cubicBezTo>
                  <a:cubicBezTo>
                    <a:pt x="2368" y="3503"/>
                    <a:pt x="2310" y="3486"/>
                    <a:pt x="2269" y="3428"/>
                  </a:cubicBezTo>
                  <a:cubicBezTo>
                    <a:pt x="2252" y="3404"/>
                    <a:pt x="2246" y="3369"/>
                    <a:pt x="2217" y="3369"/>
                  </a:cubicBezTo>
                  <a:cubicBezTo>
                    <a:pt x="2199" y="3369"/>
                    <a:pt x="2199" y="3398"/>
                    <a:pt x="2182" y="3398"/>
                  </a:cubicBezTo>
                  <a:cubicBezTo>
                    <a:pt x="2170" y="3398"/>
                    <a:pt x="2164" y="3392"/>
                    <a:pt x="2153" y="3381"/>
                  </a:cubicBezTo>
                  <a:cubicBezTo>
                    <a:pt x="2124" y="3398"/>
                    <a:pt x="2112" y="3433"/>
                    <a:pt x="2077" y="3433"/>
                  </a:cubicBezTo>
                  <a:cubicBezTo>
                    <a:pt x="2026" y="3433"/>
                    <a:pt x="2002" y="3404"/>
                    <a:pt x="1956" y="3375"/>
                  </a:cubicBezTo>
                  <a:cubicBezTo>
                    <a:pt x="1938" y="3363"/>
                    <a:pt x="1921" y="3369"/>
                    <a:pt x="1903" y="3358"/>
                  </a:cubicBezTo>
                  <a:cubicBezTo>
                    <a:pt x="1828" y="3311"/>
                    <a:pt x="1781" y="3270"/>
                    <a:pt x="1694" y="3270"/>
                  </a:cubicBezTo>
                  <a:cubicBezTo>
                    <a:pt x="1665" y="3270"/>
                    <a:pt x="1653" y="3299"/>
                    <a:pt x="1630" y="3317"/>
                  </a:cubicBezTo>
                  <a:cubicBezTo>
                    <a:pt x="1595" y="3328"/>
                    <a:pt x="1566" y="3328"/>
                    <a:pt x="1531" y="3334"/>
                  </a:cubicBezTo>
                  <a:cubicBezTo>
                    <a:pt x="1525" y="3247"/>
                    <a:pt x="1432" y="3241"/>
                    <a:pt x="1368" y="3177"/>
                  </a:cubicBezTo>
                  <a:cubicBezTo>
                    <a:pt x="1304" y="3131"/>
                    <a:pt x="1257" y="3113"/>
                    <a:pt x="1187" y="3072"/>
                  </a:cubicBezTo>
                  <a:cubicBezTo>
                    <a:pt x="1135" y="3043"/>
                    <a:pt x="1112" y="3008"/>
                    <a:pt x="1053" y="3008"/>
                  </a:cubicBezTo>
                  <a:cubicBezTo>
                    <a:pt x="1019" y="3008"/>
                    <a:pt x="1001" y="3037"/>
                    <a:pt x="972" y="3055"/>
                  </a:cubicBezTo>
                  <a:cubicBezTo>
                    <a:pt x="925" y="3078"/>
                    <a:pt x="890" y="3090"/>
                    <a:pt x="832" y="3090"/>
                  </a:cubicBezTo>
                  <a:cubicBezTo>
                    <a:pt x="780" y="3090"/>
                    <a:pt x="751" y="3084"/>
                    <a:pt x="693" y="3084"/>
                  </a:cubicBezTo>
                  <a:cubicBezTo>
                    <a:pt x="646" y="3084"/>
                    <a:pt x="623" y="3090"/>
                    <a:pt x="576" y="3090"/>
                  </a:cubicBezTo>
                  <a:cubicBezTo>
                    <a:pt x="361" y="3090"/>
                    <a:pt x="361" y="3090"/>
                    <a:pt x="361" y="3090"/>
                  </a:cubicBezTo>
                  <a:cubicBezTo>
                    <a:pt x="64" y="3148"/>
                    <a:pt x="64" y="3148"/>
                    <a:pt x="64" y="3148"/>
                  </a:cubicBezTo>
                  <a:cubicBezTo>
                    <a:pt x="5" y="3148"/>
                    <a:pt x="5" y="3148"/>
                    <a:pt x="5" y="3148"/>
                  </a:cubicBezTo>
                  <a:lnTo>
                    <a:pt x="0" y="3148"/>
                  </a:lnTo>
                  <a:close/>
                </a:path>
              </a:pathLst>
            </a:custGeom>
            <a:grpFill/>
            <a:ln w="9525" cap="flat" cmpd="sng">
              <a:solidFill>
                <a:schemeClr val="bg1"/>
              </a:solidFill>
              <a:bevel/>
              <a:headEnd/>
              <a:tailEnd/>
            </a:ln>
            <a:effectLst/>
          </p:spPr>
          <p:txBody>
            <a:bodyPr wrap="none" anchor="ctr"/>
            <a:lstStyle/>
            <a:p>
              <a:pPr defTabSz="342831">
                <a:defRPr/>
              </a:pPr>
              <a:endParaRPr lang="en-US" sz="338">
                <a:latin typeface="Montserrat" charset="0"/>
              </a:endParaRPr>
            </a:p>
          </p:txBody>
        </p:sp>
        <p:sp>
          <p:nvSpPr>
            <p:cNvPr id="97" name="Freeform 96">
              <a:extLst>
                <a:ext uri="{FF2B5EF4-FFF2-40B4-BE49-F238E27FC236}">
                  <a16:creationId xmlns:a16="http://schemas.microsoft.com/office/drawing/2014/main" id="{C15E03CB-5FFF-AF45-8AAD-ECE48E965CC7}"/>
                </a:ext>
              </a:extLst>
            </p:cNvPr>
            <p:cNvSpPr>
              <a:spLocks noChangeArrowheads="1"/>
            </p:cNvSpPr>
            <p:nvPr/>
          </p:nvSpPr>
          <p:spPr bwMode="auto">
            <a:xfrm>
              <a:off x="7236718" y="4518099"/>
              <a:ext cx="1328806" cy="943216"/>
            </a:xfrm>
            <a:custGeom>
              <a:avLst/>
              <a:gdLst>
                <a:gd name="T0" fmla="*/ 2026 w 4332"/>
                <a:gd name="T1" fmla="*/ 2683 h 3074"/>
                <a:gd name="T2" fmla="*/ 0 w 4332"/>
                <a:gd name="T3" fmla="*/ 2415 h 3074"/>
                <a:gd name="T4" fmla="*/ 6 w 4332"/>
                <a:gd name="T5" fmla="*/ 5 h 3074"/>
                <a:gd name="T6" fmla="*/ 145 w 4332"/>
                <a:gd name="T7" fmla="*/ 34 h 3074"/>
                <a:gd name="T8" fmla="*/ 442 w 4332"/>
                <a:gd name="T9" fmla="*/ 58 h 3074"/>
                <a:gd name="T10" fmla="*/ 623 w 4332"/>
                <a:gd name="T11" fmla="*/ 168 h 3074"/>
                <a:gd name="T12" fmla="*/ 716 w 4332"/>
                <a:gd name="T13" fmla="*/ 331 h 3074"/>
                <a:gd name="T14" fmla="*/ 879 w 4332"/>
                <a:gd name="T15" fmla="*/ 296 h 3074"/>
                <a:gd name="T16" fmla="*/ 1129 w 4332"/>
                <a:gd name="T17" fmla="*/ 518 h 3074"/>
                <a:gd name="T18" fmla="*/ 1257 w 4332"/>
                <a:gd name="T19" fmla="*/ 768 h 3074"/>
                <a:gd name="T20" fmla="*/ 1560 w 4332"/>
                <a:gd name="T21" fmla="*/ 983 h 3074"/>
                <a:gd name="T22" fmla="*/ 1845 w 4332"/>
                <a:gd name="T23" fmla="*/ 1240 h 3074"/>
                <a:gd name="T24" fmla="*/ 1915 w 4332"/>
                <a:gd name="T25" fmla="*/ 1164 h 3074"/>
                <a:gd name="T26" fmla="*/ 2171 w 4332"/>
                <a:gd name="T27" fmla="*/ 1071 h 3074"/>
                <a:gd name="T28" fmla="*/ 2427 w 4332"/>
                <a:gd name="T29" fmla="*/ 1170 h 3074"/>
                <a:gd name="T30" fmla="*/ 2596 w 4332"/>
                <a:gd name="T31" fmla="*/ 1193 h 3074"/>
                <a:gd name="T32" fmla="*/ 2637 w 4332"/>
                <a:gd name="T33" fmla="*/ 1158 h 3074"/>
                <a:gd name="T34" fmla="*/ 2753 w 4332"/>
                <a:gd name="T35" fmla="*/ 1193 h 3074"/>
                <a:gd name="T36" fmla="*/ 3184 w 4332"/>
                <a:gd name="T37" fmla="*/ 1135 h 3074"/>
                <a:gd name="T38" fmla="*/ 3405 w 4332"/>
                <a:gd name="T39" fmla="*/ 1385 h 3074"/>
                <a:gd name="T40" fmla="*/ 3522 w 4332"/>
                <a:gd name="T41" fmla="*/ 1664 h 3074"/>
                <a:gd name="T42" fmla="*/ 4331 w 4332"/>
                <a:gd name="T43" fmla="*/ 2072 h 3074"/>
                <a:gd name="T44" fmla="*/ 4226 w 4332"/>
                <a:gd name="T45" fmla="*/ 2066 h 3074"/>
                <a:gd name="T46" fmla="*/ 4063 w 4332"/>
                <a:gd name="T47" fmla="*/ 2223 h 3074"/>
                <a:gd name="T48" fmla="*/ 3894 w 4332"/>
                <a:gd name="T49" fmla="*/ 2235 h 3074"/>
                <a:gd name="T50" fmla="*/ 3621 w 4332"/>
                <a:gd name="T51" fmla="*/ 2235 h 3074"/>
                <a:gd name="T52" fmla="*/ 3446 w 4332"/>
                <a:gd name="T53" fmla="*/ 2247 h 3074"/>
                <a:gd name="T54" fmla="*/ 3208 w 4332"/>
                <a:gd name="T55" fmla="*/ 2276 h 3074"/>
                <a:gd name="T56" fmla="*/ 3126 w 4332"/>
                <a:gd name="T57" fmla="*/ 2421 h 3074"/>
                <a:gd name="T58" fmla="*/ 3068 w 4332"/>
                <a:gd name="T59" fmla="*/ 2555 h 3074"/>
                <a:gd name="T60" fmla="*/ 2719 w 4332"/>
                <a:gd name="T61" fmla="*/ 2759 h 3074"/>
                <a:gd name="T62" fmla="*/ 2556 w 4332"/>
                <a:gd name="T63" fmla="*/ 2881 h 3074"/>
                <a:gd name="T64" fmla="*/ 2643 w 4332"/>
                <a:gd name="T65" fmla="*/ 2916 h 3074"/>
                <a:gd name="T66" fmla="*/ 2532 w 4332"/>
                <a:gd name="T67" fmla="*/ 2887 h 3074"/>
                <a:gd name="T68" fmla="*/ 2369 w 4332"/>
                <a:gd name="T69" fmla="*/ 2846 h 3074"/>
                <a:gd name="T70" fmla="*/ 2340 w 4332"/>
                <a:gd name="T71" fmla="*/ 2753 h 3074"/>
                <a:gd name="T72" fmla="*/ 2189 w 4332"/>
                <a:gd name="T73" fmla="*/ 2730 h 3074"/>
                <a:gd name="T74" fmla="*/ 2142 w 4332"/>
                <a:gd name="T75" fmla="*/ 2613 h 3074"/>
                <a:gd name="T76" fmla="*/ 2043 w 4332"/>
                <a:gd name="T77" fmla="*/ 2613 h 3074"/>
                <a:gd name="T78" fmla="*/ 1851 w 4332"/>
                <a:gd name="T79" fmla="*/ 2613 h 3074"/>
                <a:gd name="T80" fmla="*/ 1944 w 4332"/>
                <a:gd name="T81" fmla="*/ 2334 h 3074"/>
                <a:gd name="T82" fmla="*/ 1746 w 4332"/>
                <a:gd name="T83" fmla="*/ 2381 h 3074"/>
                <a:gd name="T84" fmla="*/ 1705 w 4332"/>
                <a:gd name="T85" fmla="*/ 2491 h 3074"/>
                <a:gd name="T86" fmla="*/ 1711 w 4332"/>
                <a:gd name="T87" fmla="*/ 2538 h 3074"/>
                <a:gd name="T88" fmla="*/ 1304 w 4332"/>
                <a:gd name="T89" fmla="*/ 2817 h 3074"/>
                <a:gd name="T90" fmla="*/ 1106 w 4332"/>
                <a:gd name="T91" fmla="*/ 2841 h 3074"/>
                <a:gd name="T92" fmla="*/ 681 w 4332"/>
                <a:gd name="T93" fmla="*/ 2596 h 3074"/>
                <a:gd name="T94" fmla="*/ 401 w 4332"/>
                <a:gd name="T95" fmla="*/ 2532 h 3074"/>
                <a:gd name="T96" fmla="*/ 308 w 4332"/>
                <a:gd name="T97" fmla="*/ 2602 h 3074"/>
                <a:gd name="T98" fmla="*/ 169 w 4332"/>
                <a:gd name="T99" fmla="*/ 2515 h 3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32" h="3074">
                  <a:moveTo>
                    <a:pt x="2072" y="2642"/>
                  </a:moveTo>
                  <a:lnTo>
                    <a:pt x="2072" y="2642"/>
                  </a:lnTo>
                  <a:cubicBezTo>
                    <a:pt x="2049" y="2648"/>
                    <a:pt x="2037" y="2666"/>
                    <a:pt x="2026" y="2683"/>
                  </a:cubicBezTo>
                  <a:cubicBezTo>
                    <a:pt x="2043" y="2683"/>
                    <a:pt x="2055" y="2683"/>
                    <a:pt x="2078" y="2683"/>
                  </a:cubicBezTo>
                  <a:cubicBezTo>
                    <a:pt x="2078" y="2672"/>
                    <a:pt x="2072" y="2660"/>
                    <a:pt x="2072" y="2642"/>
                  </a:cubicBezTo>
                  <a:close/>
                  <a:moveTo>
                    <a:pt x="0" y="2415"/>
                  </a:moveTo>
                  <a:lnTo>
                    <a:pt x="0" y="2415"/>
                  </a:lnTo>
                  <a:lnTo>
                    <a:pt x="0" y="2415"/>
                  </a:lnTo>
                  <a:cubicBezTo>
                    <a:pt x="6" y="5"/>
                    <a:pt x="6" y="5"/>
                    <a:pt x="6" y="5"/>
                  </a:cubicBezTo>
                  <a:lnTo>
                    <a:pt x="6" y="5"/>
                  </a:lnTo>
                  <a:cubicBezTo>
                    <a:pt x="29" y="0"/>
                    <a:pt x="29" y="0"/>
                    <a:pt x="29" y="0"/>
                  </a:cubicBezTo>
                  <a:cubicBezTo>
                    <a:pt x="70" y="23"/>
                    <a:pt x="99" y="17"/>
                    <a:pt x="145" y="34"/>
                  </a:cubicBezTo>
                  <a:cubicBezTo>
                    <a:pt x="204" y="58"/>
                    <a:pt x="221" y="104"/>
                    <a:pt x="285" y="104"/>
                  </a:cubicBezTo>
                  <a:cubicBezTo>
                    <a:pt x="320" y="104"/>
                    <a:pt x="314" y="40"/>
                    <a:pt x="349" y="40"/>
                  </a:cubicBezTo>
                  <a:cubicBezTo>
                    <a:pt x="384" y="40"/>
                    <a:pt x="407" y="58"/>
                    <a:pt x="442" y="58"/>
                  </a:cubicBezTo>
                  <a:cubicBezTo>
                    <a:pt x="466" y="58"/>
                    <a:pt x="477" y="52"/>
                    <a:pt x="501" y="52"/>
                  </a:cubicBezTo>
                  <a:cubicBezTo>
                    <a:pt x="547" y="52"/>
                    <a:pt x="570" y="93"/>
                    <a:pt x="599" y="133"/>
                  </a:cubicBezTo>
                  <a:cubicBezTo>
                    <a:pt x="605" y="145"/>
                    <a:pt x="611" y="157"/>
                    <a:pt x="623" y="168"/>
                  </a:cubicBezTo>
                  <a:cubicBezTo>
                    <a:pt x="646" y="186"/>
                    <a:pt x="693" y="168"/>
                    <a:pt x="693" y="197"/>
                  </a:cubicBezTo>
                  <a:cubicBezTo>
                    <a:pt x="693" y="221"/>
                    <a:pt x="681" y="238"/>
                    <a:pt x="681" y="267"/>
                  </a:cubicBezTo>
                  <a:cubicBezTo>
                    <a:pt x="681" y="296"/>
                    <a:pt x="704" y="308"/>
                    <a:pt x="716" y="331"/>
                  </a:cubicBezTo>
                  <a:cubicBezTo>
                    <a:pt x="739" y="384"/>
                    <a:pt x="745" y="442"/>
                    <a:pt x="797" y="442"/>
                  </a:cubicBezTo>
                  <a:cubicBezTo>
                    <a:pt x="832" y="442"/>
                    <a:pt x="838" y="396"/>
                    <a:pt x="838" y="360"/>
                  </a:cubicBezTo>
                  <a:cubicBezTo>
                    <a:pt x="844" y="331"/>
                    <a:pt x="873" y="326"/>
                    <a:pt x="879" y="296"/>
                  </a:cubicBezTo>
                  <a:cubicBezTo>
                    <a:pt x="902" y="366"/>
                    <a:pt x="972" y="372"/>
                    <a:pt x="1036" y="390"/>
                  </a:cubicBezTo>
                  <a:cubicBezTo>
                    <a:pt x="1088" y="401"/>
                    <a:pt x="1106" y="430"/>
                    <a:pt x="1153" y="448"/>
                  </a:cubicBezTo>
                  <a:cubicBezTo>
                    <a:pt x="1147" y="477"/>
                    <a:pt x="1129" y="489"/>
                    <a:pt x="1129" y="518"/>
                  </a:cubicBezTo>
                  <a:cubicBezTo>
                    <a:pt x="1129" y="576"/>
                    <a:pt x="1129" y="622"/>
                    <a:pt x="1170" y="663"/>
                  </a:cubicBezTo>
                  <a:cubicBezTo>
                    <a:pt x="1199" y="692"/>
                    <a:pt x="1257" y="686"/>
                    <a:pt x="1257" y="727"/>
                  </a:cubicBezTo>
                  <a:cubicBezTo>
                    <a:pt x="1257" y="768"/>
                    <a:pt x="1257" y="768"/>
                    <a:pt x="1257" y="768"/>
                  </a:cubicBezTo>
                  <a:cubicBezTo>
                    <a:pt x="1257" y="797"/>
                    <a:pt x="1298" y="791"/>
                    <a:pt x="1321" y="797"/>
                  </a:cubicBezTo>
                  <a:cubicBezTo>
                    <a:pt x="1362" y="809"/>
                    <a:pt x="1379" y="838"/>
                    <a:pt x="1414" y="861"/>
                  </a:cubicBezTo>
                  <a:cubicBezTo>
                    <a:pt x="1479" y="902"/>
                    <a:pt x="1525" y="919"/>
                    <a:pt x="1560" y="983"/>
                  </a:cubicBezTo>
                  <a:cubicBezTo>
                    <a:pt x="1572" y="1007"/>
                    <a:pt x="1595" y="1007"/>
                    <a:pt x="1612" y="1024"/>
                  </a:cubicBezTo>
                  <a:cubicBezTo>
                    <a:pt x="1647" y="1082"/>
                    <a:pt x="1665" y="1123"/>
                    <a:pt x="1723" y="1164"/>
                  </a:cubicBezTo>
                  <a:cubicBezTo>
                    <a:pt x="1764" y="1199"/>
                    <a:pt x="1787" y="1240"/>
                    <a:pt x="1845" y="1240"/>
                  </a:cubicBezTo>
                  <a:cubicBezTo>
                    <a:pt x="1857" y="1240"/>
                    <a:pt x="1857" y="1228"/>
                    <a:pt x="1868" y="1222"/>
                  </a:cubicBezTo>
                  <a:cubicBezTo>
                    <a:pt x="1892" y="1216"/>
                    <a:pt x="1909" y="1222"/>
                    <a:pt x="1933" y="1216"/>
                  </a:cubicBezTo>
                  <a:cubicBezTo>
                    <a:pt x="1927" y="1193"/>
                    <a:pt x="1915" y="1187"/>
                    <a:pt x="1915" y="1164"/>
                  </a:cubicBezTo>
                  <a:cubicBezTo>
                    <a:pt x="1915" y="1117"/>
                    <a:pt x="1962" y="1082"/>
                    <a:pt x="2008" y="1082"/>
                  </a:cubicBezTo>
                  <a:cubicBezTo>
                    <a:pt x="2049" y="1082"/>
                    <a:pt x="2072" y="1094"/>
                    <a:pt x="2113" y="1094"/>
                  </a:cubicBezTo>
                  <a:cubicBezTo>
                    <a:pt x="2142" y="1094"/>
                    <a:pt x="2148" y="1071"/>
                    <a:pt x="2171" y="1071"/>
                  </a:cubicBezTo>
                  <a:cubicBezTo>
                    <a:pt x="2253" y="1071"/>
                    <a:pt x="2270" y="1164"/>
                    <a:pt x="2346" y="1164"/>
                  </a:cubicBezTo>
                  <a:cubicBezTo>
                    <a:pt x="2358" y="1164"/>
                    <a:pt x="2358" y="1152"/>
                    <a:pt x="2369" y="1152"/>
                  </a:cubicBezTo>
                  <a:cubicBezTo>
                    <a:pt x="2393" y="1152"/>
                    <a:pt x="2398" y="1170"/>
                    <a:pt x="2427" y="1170"/>
                  </a:cubicBezTo>
                  <a:cubicBezTo>
                    <a:pt x="2439" y="1170"/>
                    <a:pt x="2445" y="1164"/>
                    <a:pt x="2462" y="1164"/>
                  </a:cubicBezTo>
                  <a:cubicBezTo>
                    <a:pt x="2480" y="1164"/>
                    <a:pt x="2486" y="1181"/>
                    <a:pt x="2497" y="1187"/>
                  </a:cubicBezTo>
                  <a:cubicBezTo>
                    <a:pt x="2532" y="1199"/>
                    <a:pt x="2561" y="1193"/>
                    <a:pt x="2596" y="1193"/>
                  </a:cubicBezTo>
                  <a:cubicBezTo>
                    <a:pt x="2620" y="1193"/>
                    <a:pt x="2620" y="1193"/>
                    <a:pt x="2620" y="1193"/>
                  </a:cubicBezTo>
                  <a:cubicBezTo>
                    <a:pt x="2620" y="1170"/>
                    <a:pt x="2620" y="1170"/>
                    <a:pt x="2620" y="1170"/>
                  </a:cubicBezTo>
                  <a:cubicBezTo>
                    <a:pt x="2625" y="1164"/>
                    <a:pt x="2631" y="1158"/>
                    <a:pt x="2637" y="1158"/>
                  </a:cubicBezTo>
                  <a:cubicBezTo>
                    <a:pt x="2649" y="1158"/>
                    <a:pt x="2654" y="1164"/>
                    <a:pt x="2666" y="1164"/>
                  </a:cubicBezTo>
                  <a:cubicBezTo>
                    <a:pt x="2678" y="1164"/>
                    <a:pt x="2684" y="1164"/>
                    <a:pt x="2695" y="1164"/>
                  </a:cubicBezTo>
                  <a:cubicBezTo>
                    <a:pt x="2719" y="1164"/>
                    <a:pt x="2730" y="1187"/>
                    <a:pt x="2753" y="1193"/>
                  </a:cubicBezTo>
                  <a:cubicBezTo>
                    <a:pt x="2812" y="1216"/>
                    <a:pt x="2847" y="1240"/>
                    <a:pt x="2911" y="1240"/>
                  </a:cubicBezTo>
                  <a:cubicBezTo>
                    <a:pt x="2940" y="1240"/>
                    <a:pt x="2934" y="1187"/>
                    <a:pt x="2963" y="1181"/>
                  </a:cubicBezTo>
                  <a:cubicBezTo>
                    <a:pt x="3050" y="1158"/>
                    <a:pt x="3097" y="1135"/>
                    <a:pt x="3184" y="1135"/>
                  </a:cubicBezTo>
                  <a:cubicBezTo>
                    <a:pt x="3260" y="1135"/>
                    <a:pt x="3306" y="1146"/>
                    <a:pt x="3365" y="1193"/>
                  </a:cubicBezTo>
                  <a:cubicBezTo>
                    <a:pt x="3411" y="1222"/>
                    <a:pt x="3405" y="1274"/>
                    <a:pt x="3405" y="1333"/>
                  </a:cubicBezTo>
                  <a:cubicBezTo>
                    <a:pt x="3405" y="1385"/>
                    <a:pt x="3405" y="1385"/>
                    <a:pt x="3405" y="1385"/>
                  </a:cubicBezTo>
                  <a:cubicBezTo>
                    <a:pt x="3405" y="1467"/>
                    <a:pt x="3469" y="1496"/>
                    <a:pt x="3469" y="1577"/>
                  </a:cubicBezTo>
                  <a:cubicBezTo>
                    <a:pt x="3469" y="1595"/>
                    <a:pt x="3464" y="1600"/>
                    <a:pt x="3464" y="1618"/>
                  </a:cubicBezTo>
                  <a:cubicBezTo>
                    <a:pt x="3464" y="1647"/>
                    <a:pt x="3493" y="1653"/>
                    <a:pt x="3522" y="1664"/>
                  </a:cubicBezTo>
                  <a:cubicBezTo>
                    <a:pt x="3568" y="1682"/>
                    <a:pt x="3592" y="1705"/>
                    <a:pt x="3638" y="1723"/>
                  </a:cubicBezTo>
                  <a:cubicBezTo>
                    <a:pt x="4331" y="2072"/>
                    <a:pt x="4331" y="2072"/>
                    <a:pt x="4331" y="2072"/>
                  </a:cubicBezTo>
                  <a:lnTo>
                    <a:pt x="4331" y="2072"/>
                  </a:lnTo>
                  <a:cubicBezTo>
                    <a:pt x="4331" y="2084"/>
                    <a:pt x="4320" y="2101"/>
                    <a:pt x="4302" y="2101"/>
                  </a:cubicBezTo>
                  <a:cubicBezTo>
                    <a:pt x="4273" y="2101"/>
                    <a:pt x="4261" y="2078"/>
                    <a:pt x="4255" y="2055"/>
                  </a:cubicBezTo>
                  <a:cubicBezTo>
                    <a:pt x="4244" y="2060"/>
                    <a:pt x="4238" y="2066"/>
                    <a:pt x="4226" y="2066"/>
                  </a:cubicBezTo>
                  <a:cubicBezTo>
                    <a:pt x="4186" y="2031"/>
                    <a:pt x="4191" y="2037"/>
                    <a:pt x="4226" y="2107"/>
                  </a:cubicBezTo>
                  <a:cubicBezTo>
                    <a:pt x="4226" y="2183"/>
                    <a:pt x="4145" y="2194"/>
                    <a:pt x="4081" y="2223"/>
                  </a:cubicBezTo>
                  <a:cubicBezTo>
                    <a:pt x="4063" y="2223"/>
                    <a:pt x="4063" y="2223"/>
                    <a:pt x="4063" y="2223"/>
                  </a:cubicBezTo>
                  <a:cubicBezTo>
                    <a:pt x="4034" y="2229"/>
                    <a:pt x="4017" y="2235"/>
                    <a:pt x="3982" y="2235"/>
                  </a:cubicBezTo>
                  <a:cubicBezTo>
                    <a:pt x="3959" y="2235"/>
                    <a:pt x="3947" y="2223"/>
                    <a:pt x="3924" y="2223"/>
                  </a:cubicBezTo>
                  <a:cubicBezTo>
                    <a:pt x="3912" y="2223"/>
                    <a:pt x="3906" y="2235"/>
                    <a:pt x="3894" y="2235"/>
                  </a:cubicBezTo>
                  <a:cubicBezTo>
                    <a:pt x="3877" y="2235"/>
                    <a:pt x="3877" y="2223"/>
                    <a:pt x="3860" y="2223"/>
                  </a:cubicBezTo>
                  <a:cubicBezTo>
                    <a:pt x="3790" y="2223"/>
                    <a:pt x="3749" y="2252"/>
                    <a:pt x="3673" y="2252"/>
                  </a:cubicBezTo>
                  <a:cubicBezTo>
                    <a:pt x="3650" y="2252"/>
                    <a:pt x="3632" y="2252"/>
                    <a:pt x="3621" y="2235"/>
                  </a:cubicBezTo>
                  <a:cubicBezTo>
                    <a:pt x="3603" y="2258"/>
                    <a:pt x="3574" y="2252"/>
                    <a:pt x="3539" y="2258"/>
                  </a:cubicBezTo>
                  <a:cubicBezTo>
                    <a:pt x="3510" y="2264"/>
                    <a:pt x="3493" y="2276"/>
                    <a:pt x="3464" y="2276"/>
                  </a:cubicBezTo>
                  <a:cubicBezTo>
                    <a:pt x="3452" y="2276"/>
                    <a:pt x="3452" y="2258"/>
                    <a:pt x="3446" y="2247"/>
                  </a:cubicBezTo>
                  <a:cubicBezTo>
                    <a:pt x="3429" y="2287"/>
                    <a:pt x="3382" y="2293"/>
                    <a:pt x="3336" y="2293"/>
                  </a:cubicBezTo>
                  <a:cubicBezTo>
                    <a:pt x="3318" y="2293"/>
                    <a:pt x="3312" y="2264"/>
                    <a:pt x="3295" y="2264"/>
                  </a:cubicBezTo>
                  <a:cubicBezTo>
                    <a:pt x="3260" y="2264"/>
                    <a:pt x="3242" y="2270"/>
                    <a:pt x="3208" y="2276"/>
                  </a:cubicBezTo>
                  <a:cubicBezTo>
                    <a:pt x="3208" y="2282"/>
                    <a:pt x="3208" y="2287"/>
                    <a:pt x="3208" y="2293"/>
                  </a:cubicBezTo>
                  <a:cubicBezTo>
                    <a:pt x="3208" y="2316"/>
                    <a:pt x="3213" y="2334"/>
                    <a:pt x="3225" y="2352"/>
                  </a:cubicBezTo>
                  <a:cubicBezTo>
                    <a:pt x="3184" y="2375"/>
                    <a:pt x="3126" y="2375"/>
                    <a:pt x="3126" y="2421"/>
                  </a:cubicBezTo>
                  <a:cubicBezTo>
                    <a:pt x="3126" y="2427"/>
                    <a:pt x="3126" y="2427"/>
                    <a:pt x="3126" y="2433"/>
                  </a:cubicBezTo>
                  <a:cubicBezTo>
                    <a:pt x="3155" y="2415"/>
                    <a:pt x="3167" y="2404"/>
                    <a:pt x="3202" y="2398"/>
                  </a:cubicBezTo>
                  <a:cubicBezTo>
                    <a:pt x="3143" y="2456"/>
                    <a:pt x="3126" y="2497"/>
                    <a:pt x="3068" y="2555"/>
                  </a:cubicBezTo>
                  <a:cubicBezTo>
                    <a:pt x="3015" y="2608"/>
                    <a:pt x="2986" y="2637"/>
                    <a:pt x="2928" y="2683"/>
                  </a:cubicBezTo>
                  <a:cubicBezTo>
                    <a:pt x="2899" y="2707"/>
                    <a:pt x="2887" y="2724"/>
                    <a:pt x="2852" y="2736"/>
                  </a:cubicBezTo>
                  <a:cubicBezTo>
                    <a:pt x="2800" y="2753"/>
                    <a:pt x="2765" y="2741"/>
                    <a:pt x="2719" y="2759"/>
                  </a:cubicBezTo>
                  <a:cubicBezTo>
                    <a:pt x="2660" y="2782"/>
                    <a:pt x="2625" y="2805"/>
                    <a:pt x="2567" y="2805"/>
                  </a:cubicBezTo>
                  <a:cubicBezTo>
                    <a:pt x="2550" y="2805"/>
                    <a:pt x="2538" y="2805"/>
                    <a:pt x="2521" y="2805"/>
                  </a:cubicBezTo>
                  <a:cubicBezTo>
                    <a:pt x="2526" y="2835"/>
                    <a:pt x="2538" y="2852"/>
                    <a:pt x="2556" y="2881"/>
                  </a:cubicBezTo>
                  <a:cubicBezTo>
                    <a:pt x="2561" y="2899"/>
                    <a:pt x="2567" y="2922"/>
                    <a:pt x="2585" y="2922"/>
                  </a:cubicBezTo>
                  <a:cubicBezTo>
                    <a:pt x="2608" y="2922"/>
                    <a:pt x="2625" y="2910"/>
                    <a:pt x="2643" y="2899"/>
                  </a:cubicBezTo>
                  <a:cubicBezTo>
                    <a:pt x="2643" y="2904"/>
                    <a:pt x="2643" y="2910"/>
                    <a:pt x="2643" y="2916"/>
                  </a:cubicBezTo>
                  <a:cubicBezTo>
                    <a:pt x="2643" y="2980"/>
                    <a:pt x="2637" y="3015"/>
                    <a:pt x="2631" y="3073"/>
                  </a:cubicBezTo>
                  <a:cubicBezTo>
                    <a:pt x="2590" y="3062"/>
                    <a:pt x="2590" y="3021"/>
                    <a:pt x="2573" y="2980"/>
                  </a:cubicBezTo>
                  <a:cubicBezTo>
                    <a:pt x="2556" y="2945"/>
                    <a:pt x="2532" y="2928"/>
                    <a:pt x="2532" y="2887"/>
                  </a:cubicBezTo>
                  <a:cubicBezTo>
                    <a:pt x="2497" y="2881"/>
                    <a:pt x="2480" y="2864"/>
                    <a:pt x="2445" y="2864"/>
                  </a:cubicBezTo>
                  <a:cubicBezTo>
                    <a:pt x="2416" y="2864"/>
                    <a:pt x="2422" y="2904"/>
                    <a:pt x="2416" y="2934"/>
                  </a:cubicBezTo>
                  <a:cubicBezTo>
                    <a:pt x="2387" y="2904"/>
                    <a:pt x="2387" y="2881"/>
                    <a:pt x="2369" y="2846"/>
                  </a:cubicBezTo>
                  <a:cubicBezTo>
                    <a:pt x="2358" y="2835"/>
                    <a:pt x="2340" y="2829"/>
                    <a:pt x="2340" y="2811"/>
                  </a:cubicBezTo>
                  <a:cubicBezTo>
                    <a:pt x="2340" y="2800"/>
                    <a:pt x="2352" y="2800"/>
                    <a:pt x="2358" y="2794"/>
                  </a:cubicBezTo>
                  <a:cubicBezTo>
                    <a:pt x="2352" y="2776"/>
                    <a:pt x="2358" y="2753"/>
                    <a:pt x="2340" y="2753"/>
                  </a:cubicBezTo>
                  <a:cubicBezTo>
                    <a:pt x="2311" y="2753"/>
                    <a:pt x="2299" y="2776"/>
                    <a:pt x="2276" y="2782"/>
                  </a:cubicBezTo>
                  <a:cubicBezTo>
                    <a:pt x="2259" y="2788"/>
                    <a:pt x="2253" y="2788"/>
                    <a:pt x="2235" y="2788"/>
                  </a:cubicBezTo>
                  <a:cubicBezTo>
                    <a:pt x="2206" y="2788"/>
                    <a:pt x="2206" y="2759"/>
                    <a:pt x="2189" y="2730"/>
                  </a:cubicBezTo>
                  <a:cubicBezTo>
                    <a:pt x="2165" y="2707"/>
                    <a:pt x="2136" y="2695"/>
                    <a:pt x="2136" y="2660"/>
                  </a:cubicBezTo>
                  <a:cubicBezTo>
                    <a:pt x="2136" y="2648"/>
                    <a:pt x="2148" y="2637"/>
                    <a:pt x="2148" y="2625"/>
                  </a:cubicBezTo>
                  <a:cubicBezTo>
                    <a:pt x="2148" y="2619"/>
                    <a:pt x="2142" y="2619"/>
                    <a:pt x="2142" y="2613"/>
                  </a:cubicBezTo>
                  <a:cubicBezTo>
                    <a:pt x="2136" y="2613"/>
                    <a:pt x="2136" y="2613"/>
                    <a:pt x="2136" y="2613"/>
                  </a:cubicBezTo>
                  <a:cubicBezTo>
                    <a:pt x="2119" y="2613"/>
                    <a:pt x="2113" y="2619"/>
                    <a:pt x="2096" y="2619"/>
                  </a:cubicBezTo>
                  <a:cubicBezTo>
                    <a:pt x="2043" y="2613"/>
                    <a:pt x="2043" y="2613"/>
                    <a:pt x="2043" y="2613"/>
                  </a:cubicBezTo>
                  <a:cubicBezTo>
                    <a:pt x="2008" y="2613"/>
                    <a:pt x="1985" y="2613"/>
                    <a:pt x="1956" y="2637"/>
                  </a:cubicBezTo>
                  <a:cubicBezTo>
                    <a:pt x="1933" y="2648"/>
                    <a:pt x="1927" y="2672"/>
                    <a:pt x="1904" y="2672"/>
                  </a:cubicBezTo>
                  <a:cubicBezTo>
                    <a:pt x="1868" y="2672"/>
                    <a:pt x="1851" y="2642"/>
                    <a:pt x="1851" y="2613"/>
                  </a:cubicBezTo>
                  <a:cubicBezTo>
                    <a:pt x="1851" y="2578"/>
                    <a:pt x="1898" y="2590"/>
                    <a:pt x="1921" y="2567"/>
                  </a:cubicBezTo>
                  <a:cubicBezTo>
                    <a:pt x="1962" y="2526"/>
                    <a:pt x="1991" y="2497"/>
                    <a:pt x="1991" y="2439"/>
                  </a:cubicBezTo>
                  <a:cubicBezTo>
                    <a:pt x="1991" y="2392"/>
                    <a:pt x="1973" y="2369"/>
                    <a:pt x="1944" y="2334"/>
                  </a:cubicBezTo>
                  <a:cubicBezTo>
                    <a:pt x="1927" y="2311"/>
                    <a:pt x="1927" y="2282"/>
                    <a:pt x="1898" y="2282"/>
                  </a:cubicBezTo>
                  <a:cubicBezTo>
                    <a:pt x="1874" y="2282"/>
                    <a:pt x="1868" y="2305"/>
                    <a:pt x="1851" y="2322"/>
                  </a:cubicBezTo>
                  <a:cubicBezTo>
                    <a:pt x="1816" y="2346"/>
                    <a:pt x="1787" y="2352"/>
                    <a:pt x="1746" y="2381"/>
                  </a:cubicBezTo>
                  <a:cubicBezTo>
                    <a:pt x="1723" y="2392"/>
                    <a:pt x="1705" y="2404"/>
                    <a:pt x="1688" y="2421"/>
                  </a:cubicBezTo>
                  <a:cubicBezTo>
                    <a:pt x="1676" y="2439"/>
                    <a:pt x="1653" y="2439"/>
                    <a:pt x="1653" y="2456"/>
                  </a:cubicBezTo>
                  <a:cubicBezTo>
                    <a:pt x="1653" y="2479"/>
                    <a:pt x="1682" y="2491"/>
                    <a:pt x="1705" y="2491"/>
                  </a:cubicBezTo>
                  <a:cubicBezTo>
                    <a:pt x="1741" y="2491"/>
                    <a:pt x="1758" y="2468"/>
                    <a:pt x="1787" y="2450"/>
                  </a:cubicBezTo>
                  <a:cubicBezTo>
                    <a:pt x="1793" y="2456"/>
                    <a:pt x="1799" y="2462"/>
                    <a:pt x="1799" y="2468"/>
                  </a:cubicBezTo>
                  <a:cubicBezTo>
                    <a:pt x="1799" y="2515"/>
                    <a:pt x="1752" y="2520"/>
                    <a:pt x="1711" y="2538"/>
                  </a:cubicBezTo>
                  <a:cubicBezTo>
                    <a:pt x="1642" y="2578"/>
                    <a:pt x="1601" y="2608"/>
                    <a:pt x="1525" y="2642"/>
                  </a:cubicBezTo>
                  <a:cubicBezTo>
                    <a:pt x="1444" y="2683"/>
                    <a:pt x="1426" y="2741"/>
                    <a:pt x="1356" y="2794"/>
                  </a:cubicBezTo>
                  <a:cubicBezTo>
                    <a:pt x="1339" y="2805"/>
                    <a:pt x="1321" y="2805"/>
                    <a:pt x="1304" y="2817"/>
                  </a:cubicBezTo>
                  <a:cubicBezTo>
                    <a:pt x="1281" y="2841"/>
                    <a:pt x="1286" y="2893"/>
                    <a:pt x="1251" y="2893"/>
                  </a:cubicBezTo>
                  <a:cubicBezTo>
                    <a:pt x="1193" y="2893"/>
                    <a:pt x="1176" y="2829"/>
                    <a:pt x="1123" y="2829"/>
                  </a:cubicBezTo>
                  <a:cubicBezTo>
                    <a:pt x="1118" y="2829"/>
                    <a:pt x="1112" y="2841"/>
                    <a:pt x="1106" y="2841"/>
                  </a:cubicBezTo>
                  <a:cubicBezTo>
                    <a:pt x="1059" y="2841"/>
                    <a:pt x="1048" y="2794"/>
                    <a:pt x="1001" y="2771"/>
                  </a:cubicBezTo>
                  <a:cubicBezTo>
                    <a:pt x="960" y="2753"/>
                    <a:pt x="925" y="2759"/>
                    <a:pt x="885" y="2730"/>
                  </a:cubicBezTo>
                  <a:cubicBezTo>
                    <a:pt x="809" y="2672"/>
                    <a:pt x="780" y="2596"/>
                    <a:pt x="681" y="2596"/>
                  </a:cubicBezTo>
                  <a:cubicBezTo>
                    <a:pt x="646" y="2596"/>
                    <a:pt x="629" y="2619"/>
                    <a:pt x="588" y="2619"/>
                  </a:cubicBezTo>
                  <a:cubicBezTo>
                    <a:pt x="570" y="2619"/>
                    <a:pt x="564" y="2602"/>
                    <a:pt x="547" y="2590"/>
                  </a:cubicBezTo>
                  <a:cubicBezTo>
                    <a:pt x="501" y="2555"/>
                    <a:pt x="466" y="2532"/>
                    <a:pt x="401" y="2532"/>
                  </a:cubicBezTo>
                  <a:cubicBezTo>
                    <a:pt x="384" y="2532"/>
                    <a:pt x="378" y="2544"/>
                    <a:pt x="361" y="2549"/>
                  </a:cubicBezTo>
                  <a:cubicBezTo>
                    <a:pt x="338" y="2555"/>
                    <a:pt x="303" y="2549"/>
                    <a:pt x="303" y="2573"/>
                  </a:cubicBezTo>
                  <a:cubicBezTo>
                    <a:pt x="303" y="2584"/>
                    <a:pt x="308" y="2590"/>
                    <a:pt x="308" y="2602"/>
                  </a:cubicBezTo>
                  <a:cubicBezTo>
                    <a:pt x="308" y="2619"/>
                    <a:pt x="308" y="2619"/>
                    <a:pt x="308" y="2619"/>
                  </a:cubicBezTo>
                  <a:cubicBezTo>
                    <a:pt x="291" y="2619"/>
                    <a:pt x="291" y="2619"/>
                    <a:pt x="291" y="2619"/>
                  </a:cubicBezTo>
                  <a:cubicBezTo>
                    <a:pt x="233" y="2596"/>
                    <a:pt x="215" y="2561"/>
                    <a:pt x="169" y="2515"/>
                  </a:cubicBezTo>
                  <a:cubicBezTo>
                    <a:pt x="116" y="2456"/>
                    <a:pt x="70" y="2427"/>
                    <a:pt x="0" y="2415"/>
                  </a:cubicBezTo>
                  <a:close/>
                </a:path>
              </a:pathLst>
            </a:custGeom>
            <a:grpFill/>
            <a:ln w="9525" cap="flat" cmpd="sng">
              <a:solidFill>
                <a:schemeClr val="bg1"/>
              </a:solidFill>
              <a:bevel/>
              <a:headEnd/>
              <a:tailEnd/>
            </a:ln>
            <a:effectLst/>
            <a:extLst>
              <a:ext uri="{AF507438-7753-43e0-B8FC-AC1667EBCBE1}"/>
            </a:extLst>
          </p:spPr>
          <p:txBody>
            <a:bodyPr wrap="none" anchor="ctr"/>
            <a:lstStyle/>
            <a:p>
              <a:pPr defTabSz="342831">
                <a:defRPr/>
              </a:pPr>
              <a:endParaRPr lang="en-US" sz="338">
                <a:latin typeface="Montserrat" charset="0"/>
              </a:endParaRPr>
            </a:p>
          </p:txBody>
        </p:sp>
        <p:sp>
          <p:nvSpPr>
            <p:cNvPr id="98" name="Freeform 97">
              <a:extLst>
                <a:ext uri="{FF2B5EF4-FFF2-40B4-BE49-F238E27FC236}">
                  <a16:creationId xmlns:a16="http://schemas.microsoft.com/office/drawing/2014/main" id="{571DBC40-1CA7-9F4E-B760-F608FD18EC4F}"/>
                </a:ext>
              </a:extLst>
            </p:cNvPr>
            <p:cNvSpPr>
              <a:spLocks noChangeArrowheads="1"/>
            </p:cNvSpPr>
            <p:nvPr/>
          </p:nvSpPr>
          <p:spPr bwMode="auto">
            <a:xfrm>
              <a:off x="7239423" y="3503159"/>
              <a:ext cx="1861954" cy="1650967"/>
            </a:xfrm>
            <a:custGeom>
              <a:avLst/>
              <a:gdLst>
                <a:gd name="T0" fmla="*/ 4331 w 6067"/>
                <a:gd name="T1" fmla="*/ 5314 h 5379"/>
                <a:gd name="T2" fmla="*/ 4290 w 6067"/>
                <a:gd name="T3" fmla="*/ 5145 h 5379"/>
                <a:gd name="T4" fmla="*/ 4343 w 6067"/>
                <a:gd name="T5" fmla="*/ 4912 h 5379"/>
                <a:gd name="T6" fmla="*/ 4412 w 6067"/>
                <a:gd name="T7" fmla="*/ 4615 h 5379"/>
                <a:gd name="T8" fmla="*/ 4453 w 6067"/>
                <a:gd name="T9" fmla="*/ 4307 h 5379"/>
                <a:gd name="T10" fmla="*/ 4605 w 6067"/>
                <a:gd name="T11" fmla="*/ 3992 h 5379"/>
                <a:gd name="T12" fmla="*/ 4651 w 6067"/>
                <a:gd name="T13" fmla="*/ 3969 h 5379"/>
                <a:gd name="T14" fmla="*/ 4674 w 6067"/>
                <a:gd name="T15" fmla="*/ 3894 h 5379"/>
                <a:gd name="T16" fmla="*/ 4762 w 6067"/>
                <a:gd name="T17" fmla="*/ 3666 h 5379"/>
                <a:gd name="T18" fmla="*/ 4866 w 6067"/>
                <a:gd name="T19" fmla="*/ 3387 h 5379"/>
                <a:gd name="T20" fmla="*/ 4901 w 6067"/>
                <a:gd name="T21" fmla="*/ 3038 h 5379"/>
                <a:gd name="T22" fmla="*/ 4948 w 6067"/>
                <a:gd name="T23" fmla="*/ 2974 h 5379"/>
                <a:gd name="T24" fmla="*/ 5082 w 6067"/>
                <a:gd name="T25" fmla="*/ 2828 h 5379"/>
                <a:gd name="T26" fmla="*/ 5123 w 6067"/>
                <a:gd name="T27" fmla="*/ 2799 h 5379"/>
                <a:gd name="T28" fmla="*/ 5414 w 6067"/>
                <a:gd name="T29" fmla="*/ 2496 h 5379"/>
                <a:gd name="T30" fmla="*/ 5501 w 6067"/>
                <a:gd name="T31" fmla="*/ 2310 h 5379"/>
                <a:gd name="T32" fmla="*/ 5670 w 6067"/>
                <a:gd name="T33" fmla="*/ 2031 h 5379"/>
                <a:gd name="T34" fmla="*/ 5821 w 6067"/>
                <a:gd name="T35" fmla="*/ 1583 h 5379"/>
                <a:gd name="T36" fmla="*/ 5862 w 6067"/>
                <a:gd name="T37" fmla="*/ 1140 h 5379"/>
                <a:gd name="T38" fmla="*/ 5914 w 6067"/>
                <a:gd name="T39" fmla="*/ 936 h 5379"/>
                <a:gd name="T40" fmla="*/ 5868 w 6067"/>
                <a:gd name="T41" fmla="*/ 703 h 5379"/>
                <a:gd name="T42" fmla="*/ 6043 w 6067"/>
                <a:gd name="T43" fmla="*/ 174 h 5379"/>
                <a:gd name="T44" fmla="*/ 5955 w 6067"/>
                <a:gd name="T45" fmla="*/ 46 h 5379"/>
                <a:gd name="T46" fmla="*/ 5693 w 6067"/>
                <a:gd name="T47" fmla="*/ 104 h 5379"/>
                <a:gd name="T48" fmla="*/ 5286 w 6067"/>
                <a:gd name="T49" fmla="*/ 214 h 5379"/>
                <a:gd name="T50" fmla="*/ 5227 w 6067"/>
                <a:gd name="T51" fmla="*/ 447 h 5379"/>
                <a:gd name="T52" fmla="*/ 4913 w 6067"/>
                <a:gd name="T53" fmla="*/ 389 h 5379"/>
                <a:gd name="T54" fmla="*/ 4610 w 6067"/>
                <a:gd name="T55" fmla="*/ 273 h 5379"/>
                <a:gd name="T56" fmla="*/ 4261 w 6067"/>
                <a:gd name="T57" fmla="*/ 255 h 5379"/>
                <a:gd name="T58" fmla="*/ 3894 w 6067"/>
                <a:gd name="T59" fmla="*/ 389 h 5379"/>
                <a:gd name="T60" fmla="*/ 0 w 6067"/>
                <a:gd name="T61" fmla="*/ 3311 h 5379"/>
                <a:gd name="T62" fmla="*/ 279 w 6067"/>
                <a:gd name="T63" fmla="*/ 3410 h 5379"/>
                <a:gd name="T64" fmla="*/ 593 w 6067"/>
                <a:gd name="T65" fmla="*/ 3439 h 5379"/>
                <a:gd name="T66" fmla="*/ 710 w 6067"/>
                <a:gd name="T67" fmla="*/ 3637 h 5379"/>
                <a:gd name="T68" fmla="*/ 1030 w 6067"/>
                <a:gd name="T69" fmla="*/ 3696 h 5379"/>
                <a:gd name="T70" fmla="*/ 1251 w 6067"/>
                <a:gd name="T71" fmla="*/ 4033 h 5379"/>
                <a:gd name="T72" fmla="*/ 1554 w 6067"/>
                <a:gd name="T73" fmla="*/ 4289 h 5379"/>
                <a:gd name="T74" fmla="*/ 1862 w 6067"/>
                <a:gd name="T75" fmla="*/ 4528 h 5379"/>
                <a:gd name="T76" fmla="*/ 2107 w 6067"/>
                <a:gd name="T77" fmla="*/ 4400 h 5379"/>
                <a:gd name="T78" fmla="*/ 2421 w 6067"/>
                <a:gd name="T79" fmla="*/ 4476 h 5379"/>
                <a:gd name="T80" fmla="*/ 2614 w 6067"/>
                <a:gd name="T81" fmla="*/ 4499 h 5379"/>
                <a:gd name="T82" fmla="*/ 2689 w 6067"/>
                <a:gd name="T83" fmla="*/ 4470 h 5379"/>
                <a:gd name="T84" fmla="*/ 3178 w 6067"/>
                <a:gd name="T85" fmla="*/ 4441 h 5379"/>
                <a:gd name="T86" fmla="*/ 3463 w 6067"/>
                <a:gd name="T87" fmla="*/ 4883 h 5379"/>
                <a:gd name="T88" fmla="*/ 4325 w 6067"/>
                <a:gd name="T89" fmla="*/ 5378 h 5379"/>
                <a:gd name="T90" fmla="*/ 4046 w 6067"/>
                <a:gd name="T91" fmla="*/ 4068 h 5379"/>
                <a:gd name="T92" fmla="*/ 3912 w 6067"/>
                <a:gd name="T93" fmla="*/ 4348 h 5379"/>
                <a:gd name="T94" fmla="*/ 3731 w 6067"/>
                <a:gd name="T95" fmla="*/ 4220 h 5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067" h="5379">
                  <a:moveTo>
                    <a:pt x="4325" y="5378"/>
                  </a:moveTo>
                  <a:lnTo>
                    <a:pt x="4325" y="5378"/>
                  </a:lnTo>
                  <a:cubicBezTo>
                    <a:pt x="4331" y="5372"/>
                    <a:pt x="4331" y="5366"/>
                    <a:pt x="4331" y="5361"/>
                  </a:cubicBezTo>
                  <a:cubicBezTo>
                    <a:pt x="4331" y="5314"/>
                    <a:pt x="4331" y="5314"/>
                    <a:pt x="4331" y="5314"/>
                  </a:cubicBezTo>
                  <a:cubicBezTo>
                    <a:pt x="4331" y="5273"/>
                    <a:pt x="4343" y="5250"/>
                    <a:pt x="4343" y="5215"/>
                  </a:cubicBezTo>
                  <a:cubicBezTo>
                    <a:pt x="4343" y="5180"/>
                    <a:pt x="4337" y="5163"/>
                    <a:pt x="4337" y="5133"/>
                  </a:cubicBezTo>
                  <a:cubicBezTo>
                    <a:pt x="4314" y="5133"/>
                    <a:pt x="4314" y="5133"/>
                    <a:pt x="4314" y="5133"/>
                  </a:cubicBezTo>
                  <a:cubicBezTo>
                    <a:pt x="4302" y="5133"/>
                    <a:pt x="4302" y="5139"/>
                    <a:pt x="4290" y="5145"/>
                  </a:cubicBezTo>
                  <a:cubicBezTo>
                    <a:pt x="4290" y="5122"/>
                    <a:pt x="4290" y="5122"/>
                    <a:pt x="4290" y="5122"/>
                  </a:cubicBezTo>
                  <a:cubicBezTo>
                    <a:pt x="4308" y="5064"/>
                    <a:pt x="4308" y="5064"/>
                    <a:pt x="4308" y="5064"/>
                  </a:cubicBezTo>
                  <a:cubicBezTo>
                    <a:pt x="4302" y="5052"/>
                    <a:pt x="4296" y="5046"/>
                    <a:pt x="4296" y="5035"/>
                  </a:cubicBezTo>
                  <a:cubicBezTo>
                    <a:pt x="4296" y="4988"/>
                    <a:pt x="4343" y="4965"/>
                    <a:pt x="4343" y="4912"/>
                  </a:cubicBezTo>
                  <a:cubicBezTo>
                    <a:pt x="4343" y="4906"/>
                    <a:pt x="4337" y="4906"/>
                    <a:pt x="4337" y="4906"/>
                  </a:cubicBezTo>
                  <a:cubicBezTo>
                    <a:pt x="4337" y="4854"/>
                    <a:pt x="4377" y="4831"/>
                    <a:pt x="4377" y="4784"/>
                  </a:cubicBezTo>
                  <a:cubicBezTo>
                    <a:pt x="4377" y="4703"/>
                    <a:pt x="4377" y="4703"/>
                    <a:pt x="4377" y="4703"/>
                  </a:cubicBezTo>
                  <a:cubicBezTo>
                    <a:pt x="4377" y="4668"/>
                    <a:pt x="4412" y="4650"/>
                    <a:pt x="4412" y="4615"/>
                  </a:cubicBezTo>
                  <a:cubicBezTo>
                    <a:pt x="4412" y="4569"/>
                    <a:pt x="4389" y="4551"/>
                    <a:pt x="4389" y="4505"/>
                  </a:cubicBezTo>
                  <a:cubicBezTo>
                    <a:pt x="4389" y="4476"/>
                    <a:pt x="4424" y="4470"/>
                    <a:pt x="4424" y="4441"/>
                  </a:cubicBezTo>
                  <a:cubicBezTo>
                    <a:pt x="4424" y="4435"/>
                    <a:pt x="4412" y="4441"/>
                    <a:pt x="4412" y="4435"/>
                  </a:cubicBezTo>
                  <a:cubicBezTo>
                    <a:pt x="4412" y="4383"/>
                    <a:pt x="4453" y="4359"/>
                    <a:pt x="4453" y="4307"/>
                  </a:cubicBezTo>
                  <a:cubicBezTo>
                    <a:pt x="4471" y="4313"/>
                    <a:pt x="4482" y="4295"/>
                    <a:pt x="4488" y="4272"/>
                  </a:cubicBezTo>
                  <a:cubicBezTo>
                    <a:pt x="4500" y="4249"/>
                    <a:pt x="4523" y="4237"/>
                    <a:pt x="4523" y="4208"/>
                  </a:cubicBezTo>
                  <a:cubicBezTo>
                    <a:pt x="4523" y="4150"/>
                    <a:pt x="4558" y="4126"/>
                    <a:pt x="4570" y="4074"/>
                  </a:cubicBezTo>
                  <a:cubicBezTo>
                    <a:pt x="4575" y="4045"/>
                    <a:pt x="4587" y="4016"/>
                    <a:pt x="4605" y="3992"/>
                  </a:cubicBezTo>
                  <a:lnTo>
                    <a:pt x="4605" y="3992"/>
                  </a:lnTo>
                  <a:cubicBezTo>
                    <a:pt x="4599" y="3987"/>
                    <a:pt x="4593" y="3987"/>
                    <a:pt x="4593" y="3975"/>
                  </a:cubicBezTo>
                  <a:cubicBezTo>
                    <a:pt x="4593" y="3958"/>
                    <a:pt x="4634" y="3934"/>
                    <a:pt x="4651" y="3969"/>
                  </a:cubicBezTo>
                  <a:lnTo>
                    <a:pt x="4651" y="3969"/>
                  </a:lnTo>
                  <a:cubicBezTo>
                    <a:pt x="4657" y="3969"/>
                    <a:pt x="4657" y="3969"/>
                    <a:pt x="4663" y="3969"/>
                  </a:cubicBezTo>
                  <a:cubicBezTo>
                    <a:pt x="4669" y="3969"/>
                    <a:pt x="4674" y="3975"/>
                    <a:pt x="4680" y="3975"/>
                  </a:cubicBezTo>
                  <a:cubicBezTo>
                    <a:pt x="4686" y="3975"/>
                    <a:pt x="4692" y="3969"/>
                    <a:pt x="4692" y="3969"/>
                  </a:cubicBezTo>
                  <a:cubicBezTo>
                    <a:pt x="4680" y="3946"/>
                    <a:pt x="4674" y="3928"/>
                    <a:pt x="4674" y="3894"/>
                  </a:cubicBezTo>
                  <a:cubicBezTo>
                    <a:pt x="4674" y="3882"/>
                    <a:pt x="4692" y="3876"/>
                    <a:pt x="4703" y="3876"/>
                  </a:cubicBezTo>
                  <a:cubicBezTo>
                    <a:pt x="4733" y="3894"/>
                    <a:pt x="4738" y="3940"/>
                    <a:pt x="4709" y="3818"/>
                  </a:cubicBezTo>
                  <a:cubicBezTo>
                    <a:pt x="4703" y="3812"/>
                    <a:pt x="4703" y="3800"/>
                    <a:pt x="4698" y="3789"/>
                  </a:cubicBezTo>
                  <a:cubicBezTo>
                    <a:pt x="4738" y="3754"/>
                    <a:pt x="4762" y="3719"/>
                    <a:pt x="4762" y="3666"/>
                  </a:cubicBezTo>
                  <a:cubicBezTo>
                    <a:pt x="4762" y="3608"/>
                    <a:pt x="4762" y="3608"/>
                    <a:pt x="4762" y="3608"/>
                  </a:cubicBezTo>
                  <a:cubicBezTo>
                    <a:pt x="4762" y="3597"/>
                    <a:pt x="4744" y="3591"/>
                    <a:pt x="4744" y="3579"/>
                  </a:cubicBezTo>
                  <a:cubicBezTo>
                    <a:pt x="4744" y="3550"/>
                    <a:pt x="4768" y="3539"/>
                    <a:pt x="4779" y="3515"/>
                  </a:cubicBezTo>
                  <a:cubicBezTo>
                    <a:pt x="4803" y="3463"/>
                    <a:pt x="4832" y="3434"/>
                    <a:pt x="4866" y="3387"/>
                  </a:cubicBezTo>
                  <a:cubicBezTo>
                    <a:pt x="4936" y="3288"/>
                    <a:pt x="4971" y="3213"/>
                    <a:pt x="4971" y="3090"/>
                  </a:cubicBezTo>
                  <a:cubicBezTo>
                    <a:pt x="4971" y="3079"/>
                    <a:pt x="4966" y="3067"/>
                    <a:pt x="4954" y="3067"/>
                  </a:cubicBezTo>
                  <a:cubicBezTo>
                    <a:pt x="4931" y="3067"/>
                    <a:pt x="4925" y="3084"/>
                    <a:pt x="4901" y="3090"/>
                  </a:cubicBezTo>
                  <a:cubicBezTo>
                    <a:pt x="4901" y="3067"/>
                    <a:pt x="4901" y="3055"/>
                    <a:pt x="4901" y="3038"/>
                  </a:cubicBezTo>
                  <a:cubicBezTo>
                    <a:pt x="4901" y="3014"/>
                    <a:pt x="4884" y="3003"/>
                    <a:pt x="4884" y="2985"/>
                  </a:cubicBezTo>
                  <a:cubicBezTo>
                    <a:pt x="4884" y="2980"/>
                    <a:pt x="4890" y="2980"/>
                    <a:pt x="4890" y="2974"/>
                  </a:cubicBezTo>
                  <a:cubicBezTo>
                    <a:pt x="4901" y="2980"/>
                    <a:pt x="4907" y="2991"/>
                    <a:pt x="4919" y="2991"/>
                  </a:cubicBezTo>
                  <a:cubicBezTo>
                    <a:pt x="4931" y="2991"/>
                    <a:pt x="4936" y="2974"/>
                    <a:pt x="4948" y="2974"/>
                  </a:cubicBezTo>
                  <a:cubicBezTo>
                    <a:pt x="4960" y="2974"/>
                    <a:pt x="4966" y="2991"/>
                    <a:pt x="4983" y="2991"/>
                  </a:cubicBezTo>
                  <a:cubicBezTo>
                    <a:pt x="5006" y="2991"/>
                    <a:pt x="5035" y="2980"/>
                    <a:pt x="5035" y="2950"/>
                  </a:cubicBezTo>
                  <a:cubicBezTo>
                    <a:pt x="5035" y="2939"/>
                    <a:pt x="5029" y="2939"/>
                    <a:pt x="5029" y="2927"/>
                  </a:cubicBezTo>
                  <a:cubicBezTo>
                    <a:pt x="5029" y="2881"/>
                    <a:pt x="5082" y="2875"/>
                    <a:pt x="5082" y="2828"/>
                  </a:cubicBezTo>
                  <a:cubicBezTo>
                    <a:pt x="5082" y="2758"/>
                    <a:pt x="5082" y="2758"/>
                    <a:pt x="5082" y="2758"/>
                  </a:cubicBezTo>
                  <a:cubicBezTo>
                    <a:pt x="5082" y="2741"/>
                    <a:pt x="5094" y="2735"/>
                    <a:pt x="5105" y="2735"/>
                  </a:cubicBezTo>
                  <a:cubicBezTo>
                    <a:pt x="5123" y="2735"/>
                    <a:pt x="5123" y="2735"/>
                    <a:pt x="5123" y="2735"/>
                  </a:cubicBezTo>
                  <a:cubicBezTo>
                    <a:pt x="5123" y="2758"/>
                    <a:pt x="5117" y="2776"/>
                    <a:pt x="5123" y="2799"/>
                  </a:cubicBezTo>
                  <a:cubicBezTo>
                    <a:pt x="5140" y="2764"/>
                    <a:pt x="5140" y="2741"/>
                    <a:pt x="5163" y="2706"/>
                  </a:cubicBezTo>
                  <a:cubicBezTo>
                    <a:pt x="5198" y="2648"/>
                    <a:pt x="5251" y="2642"/>
                    <a:pt x="5286" y="2584"/>
                  </a:cubicBezTo>
                  <a:cubicBezTo>
                    <a:pt x="5292" y="2566"/>
                    <a:pt x="5286" y="2555"/>
                    <a:pt x="5297" y="2537"/>
                  </a:cubicBezTo>
                  <a:cubicBezTo>
                    <a:pt x="5321" y="2496"/>
                    <a:pt x="5367" y="2514"/>
                    <a:pt x="5414" y="2496"/>
                  </a:cubicBezTo>
                  <a:cubicBezTo>
                    <a:pt x="5455" y="2479"/>
                    <a:pt x="5466" y="2444"/>
                    <a:pt x="5507" y="2421"/>
                  </a:cubicBezTo>
                  <a:cubicBezTo>
                    <a:pt x="5524" y="2409"/>
                    <a:pt x="5548" y="2398"/>
                    <a:pt x="5548" y="2374"/>
                  </a:cubicBezTo>
                  <a:cubicBezTo>
                    <a:pt x="5548" y="2345"/>
                    <a:pt x="5542" y="2304"/>
                    <a:pt x="5513" y="2304"/>
                  </a:cubicBezTo>
                  <a:cubicBezTo>
                    <a:pt x="5507" y="2304"/>
                    <a:pt x="5507" y="2310"/>
                    <a:pt x="5501" y="2310"/>
                  </a:cubicBezTo>
                  <a:cubicBezTo>
                    <a:pt x="5501" y="2287"/>
                    <a:pt x="5489" y="2275"/>
                    <a:pt x="5489" y="2246"/>
                  </a:cubicBezTo>
                  <a:cubicBezTo>
                    <a:pt x="5489" y="2217"/>
                    <a:pt x="5542" y="2229"/>
                    <a:pt x="5554" y="2205"/>
                  </a:cubicBezTo>
                  <a:cubicBezTo>
                    <a:pt x="5565" y="2182"/>
                    <a:pt x="5559" y="2170"/>
                    <a:pt x="5571" y="2153"/>
                  </a:cubicBezTo>
                  <a:cubicBezTo>
                    <a:pt x="5600" y="2101"/>
                    <a:pt x="5647" y="2089"/>
                    <a:pt x="5670" y="2031"/>
                  </a:cubicBezTo>
                  <a:cubicBezTo>
                    <a:pt x="5687" y="1978"/>
                    <a:pt x="5699" y="1949"/>
                    <a:pt x="5705" y="1891"/>
                  </a:cubicBezTo>
                  <a:cubicBezTo>
                    <a:pt x="5711" y="1879"/>
                    <a:pt x="5722" y="1874"/>
                    <a:pt x="5734" y="1862"/>
                  </a:cubicBezTo>
                  <a:cubicBezTo>
                    <a:pt x="5757" y="1827"/>
                    <a:pt x="5763" y="1804"/>
                    <a:pt x="5769" y="1763"/>
                  </a:cubicBezTo>
                  <a:cubicBezTo>
                    <a:pt x="5781" y="1693"/>
                    <a:pt x="5821" y="1652"/>
                    <a:pt x="5821" y="1583"/>
                  </a:cubicBezTo>
                  <a:cubicBezTo>
                    <a:pt x="5821" y="1559"/>
                    <a:pt x="5821" y="1548"/>
                    <a:pt x="5821" y="1530"/>
                  </a:cubicBezTo>
                  <a:cubicBezTo>
                    <a:pt x="5781" y="1524"/>
                    <a:pt x="5792" y="1478"/>
                    <a:pt x="5792" y="1437"/>
                  </a:cubicBezTo>
                  <a:cubicBezTo>
                    <a:pt x="5792" y="1396"/>
                    <a:pt x="5810" y="1373"/>
                    <a:pt x="5815" y="1332"/>
                  </a:cubicBezTo>
                  <a:cubicBezTo>
                    <a:pt x="5839" y="1257"/>
                    <a:pt x="5839" y="1216"/>
                    <a:pt x="5862" y="1140"/>
                  </a:cubicBezTo>
                  <a:cubicBezTo>
                    <a:pt x="5868" y="1111"/>
                    <a:pt x="5897" y="1099"/>
                    <a:pt x="5897" y="1059"/>
                  </a:cubicBezTo>
                  <a:cubicBezTo>
                    <a:pt x="5897" y="1047"/>
                    <a:pt x="5897" y="1041"/>
                    <a:pt x="5897" y="1029"/>
                  </a:cubicBezTo>
                  <a:cubicBezTo>
                    <a:pt x="5897" y="1000"/>
                    <a:pt x="5926" y="989"/>
                    <a:pt x="5926" y="960"/>
                  </a:cubicBezTo>
                  <a:cubicBezTo>
                    <a:pt x="5926" y="948"/>
                    <a:pt x="5914" y="942"/>
                    <a:pt x="5914" y="936"/>
                  </a:cubicBezTo>
                  <a:cubicBezTo>
                    <a:pt x="5914" y="860"/>
                    <a:pt x="5961" y="826"/>
                    <a:pt x="5961" y="756"/>
                  </a:cubicBezTo>
                  <a:cubicBezTo>
                    <a:pt x="5961" y="721"/>
                    <a:pt x="5932" y="703"/>
                    <a:pt x="5897" y="703"/>
                  </a:cubicBezTo>
                  <a:cubicBezTo>
                    <a:pt x="5885" y="703"/>
                    <a:pt x="5874" y="709"/>
                    <a:pt x="5862" y="715"/>
                  </a:cubicBezTo>
                  <a:cubicBezTo>
                    <a:pt x="5868" y="703"/>
                    <a:pt x="5868" y="703"/>
                    <a:pt x="5868" y="703"/>
                  </a:cubicBezTo>
                  <a:cubicBezTo>
                    <a:pt x="5885" y="663"/>
                    <a:pt x="5938" y="668"/>
                    <a:pt x="5967" y="634"/>
                  </a:cubicBezTo>
                  <a:cubicBezTo>
                    <a:pt x="6008" y="581"/>
                    <a:pt x="5984" y="529"/>
                    <a:pt x="6008" y="465"/>
                  </a:cubicBezTo>
                  <a:cubicBezTo>
                    <a:pt x="6025" y="418"/>
                    <a:pt x="6066" y="395"/>
                    <a:pt x="6066" y="348"/>
                  </a:cubicBezTo>
                  <a:cubicBezTo>
                    <a:pt x="6066" y="279"/>
                    <a:pt x="6043" y="238"/>
                    <a:pt x="6043" y="174"/>
                  </a:cubicBezTo>
                  <a:cubicBezTo>
                    <a:pt x="6043" y="133"/>
                    <a:pt x="6054" y="110"/>
                    <a:pt x="6054" y="69"/>
                  </a:cubicBezTo>
                  <a:cubicBezTo>
                    <a:pt x="6054" y="46"/>
                    <a:pt x="6048" y="22"/>
                    <a:pt x="6043" y="0"/>
                  </a:cubicBezTo>
                  <a:lnTo>
                    <a:pt x="6043" y="0"/>
                  </a:lnTo>
                  <a:cubicBezTo>
                    <a:pt x="6008" y="22"/>
                    <a:pt x="5990" y="34"/>
                    <a:pt x="5955" y="46"/>
                  </a:cubicBezTo>
                  <a:cubicBezTo>
                    <a:pt x="5932" y="51"/>
                    <a:pt x="5909" y="40"/>
                    <a:pt x="5891" y="51"/>
                  </a:cubicBezTo>
                  <a:cubicBezTo>
                    <a:pt x="5862" y="63"/>
                    <a:pt x="5862" y="110"/>
                    <a:pt x="5833" y="110"/>
                  </a:cubicBezTo>
                  <a:cubicBezTo>
                    <a:pt x="5815" y="110"/>
                    <a:pt x="5810" y="98"/>
                    <a:pt x="5792" y="98"/>
                  </a:cubicBezTo>
                  <a:cubicBezTo>
                    <a:pt x="5757" y="92"/>
                    <a:pt x="5728" y="104"/>
                    <a:pt x="5693" y="104"/>
                  </a:cubicBezTo>
                  <a:cubicBezTo>
                    <a:pt x="5635" y="104"/>
                    <a:pt x="5612" y="57"/>
                    <a:pt x="5554" y="57"/>
                  </a:cubicBezTo>
                  <a:cubicBezTo>
                    <a:pt x="5507" y="57"/>
                    <a:pt x="5501" y="104"/>
                    <a:pt x="5466" y="133"/>
                  </a:cubicBezTo>
                  <a:cubicBezTo>
                    <a:pt x="5449" y="145"/>
                    <a:pt x="5431" y="133"/>
                    <a:pt x="5408" y="145"/>
                  </a:cubicBezTo>
                  <a:cubicBezTo>
                    <a:pt x="5355" y="162"/>
                    <a:pt x="5338" y="197"/>
                    <a:pt x="5286" y="214"/>
                  </a:cubicBezTo>
                  <a:cubicBezTo>
                    <a:pt x="5297" y="244"/>
                    <a:pt x="5303" y="261"/>
                    <a:pt x="5321" y="279"/>
                  </a:cubicBezTo>
                  <a:cubicBezTo>
                    <a:pt x="5326" y="284"/>
                    <a:pt x="5344" y="284"/>
                    <a:pt x="5344" y="296"/>
                  </a:cubicBezTo>
                  <a:cubicBezTo>
                    <a:pt x="5344" y="360"/>
                    <a:pt x="5297" y="418"/>
                    <a:pt x="5233" y="418"/>
                  </a:cubicBezTo>
                  <a:cubicBezTo>
                    <a:pt x="5233" y="430"/>
                    <a:pt x="5233" y="436"/>
                    <a:pt x="5227" y="447"/>
                  </a:cubicBezTo>
                  <a:cubicBezTo>
                    <a:pt x="5198" y="447"/>
                    <a:pt x="5187" y="407"/>
                    <a:pt x="5158" y="407"/>
                  </a:cubicBezTo>
                  <a:cubicBezTo>
                    <a:pt x="5094" y="407"/>
                    <a:pt x="5070" y="465"/>
                    <a:pt x="5041" y="523"/>
                  </a:cubicBezTo>
                  <a:cubicBezTo>
                    <a:pt x="5029" y="540"/>
                    <a:pt x="5035" y="564"/>
                    <a:pt x="5018" y="564"/>
                  </a:cubicBezTo>
                  <a:cubicBezTo>
                    <a:pt x="4936" y="564"/>
                    <a:pt x="4983" y="424"/>
                    <a:pt x="4913" y="389"/>
                  </a:cubicBezTo>
                  <a:cubicBezTo>
                    <a:pt x="4849" y="360"/>
                    <a:pt x="4826" y="325"/>
                    <a:pt x="4768" y="290"/>
                  </a:cubicBezTo>
                  <a:cubicBezTo>
                    <a:pt x="4750" y="279"/>
                    <a:pt x="4750" y="255"/>
                    <a:pt x="4727" y="255"/>
                  </a:cubicBezTo>
                  <a:cubicBezTo>
                    <a:pt x="4703" y="255"/>
                    <a:pt x="4692" y="273"/>
                    <a:pt x="4663" y="273"/>
                  </a:cubicBezTo>
                  <a:cubicBezTo>
                    <a:pt x="4610" y="273"/>
                    <a:pt x="4610" y="273"/>
                    <a:pt x="4610" y="273"/>
                  </a:cubicBezTo>
                  <a:cubicBezTo>
                    <a:pt x="4605" y="273"/>
                    <a:pt x="4599" y="279"/>
                    <a:pt x="4587" y="279"/>
                  </a:cubicBezTo>
                  <a:cubicBezTo>
                    <a:pt x="4540" y="279"/>
                    <a:pt x="4535" y="214"/>
                    <a:pt x="4488" y="214"/>
                  </a:cubicBezTo>
                  <a:cubicBezTo>
                    <a:pt x="4412" y="214"/>
                    <a:pt x="4377" y="261"/>
                    <a:pt x="4302" y="261"/>
                  </a:cubicBezTo>
                  <a:cubicBezTo>
                    <a:pt x="4284" y="261"/>
                    <a:pt x="4279" y="255"/>
                    <a:pt x="4261" y="255"/>
                  </a:cubicBezTo>
                  <a:cubicBezTo>
                    <a:pt x="4209" y="255"/>
                    <a:pt x="4209" y="255"/>
                    <a:pt x="4209" y="255"/>
                  </a:cubicBezTo>
                  <a:cubicBezTo>
                    <a:pt x="4174" y="255"/>
                    <a:pt x="4156" y="232"/>
                    <a:pt x="4121" y="232"/>
                  </a:cubicBezTo>
                  <a:cubicBezTo>
                    <a:pt x="4075" y="232"/>
                    <a:pt x="4057" y="279"/>
                    <a:pt x="4017" y="308"/>
                  </a:cubicBezTo>
                  <a:cubicBezTo>
                    <a:pt x="3970" y="342"/>
                    <a:pt x="3929" y="342"/>
                    <a:pt x="3894" y="389"/>
                  </a:cubicBezTo>
                  <a:cubicBezTo>
                    <a:pt x="3877" y="407"/>
                    <a:pt x="3888" y="442"/>
                    <a:pt x="3865" y="447"/>
                  </a:cubicBezTo>
                  <a:cubicBezTo>
                    <a:pt x="11" y="459"/>
                    <a:pt x="11" y="459"/>
                    <a:pt x="11" y="459"/>
                  </a:cubicBezTo>
                  <a:lnTo>
                    <a:pt x="11" y="459"/>
                  </a:lnTo>
                  <a:cubicBezTo>
                    <a:pt x="0" y="3311"/>
                    <a:pt x="0" y="3311"/>
                    <a:pt x="0" y="3311"/>
                  </a:cubicBezTo>
                  <a:lnTo>
                    <a:pt x="0" y="3311"/>
                  </a:lnTo>
                  <a:cubicBezTo>
                    <a:pt x="23" y="3306"/>
                    <a:pt x="23" y="3306"/>
                    <a:pt x="23" y="3306"/>
                  </a:cubicBezTo>
                  <a:cubicBezTo>
                    <a:pt x="64" y="3329"/>
                    <a:pt x="93" y="3323"/>
                    <a:pt x="139" y="3340"/>
                  </a:cubicBezTo>
                  <a:cubicBezTo>
                    <a:pt x="198" y="3364"/>
                    <a:pt x="215" y="3410"/>
                    <a:pt x="279" y="3410"/>
                  </a:cubicBezTo>
                  <a:cubicBezTo>
                    <a:pt x="314" y="3410"/>
                    <a:pt x="308" y="3346"/>
                    <a:pt x="343" y="3346"/>
                  </a:cubicBezTo>
                  <a:cubicBezTo>
                    <a:pt x="378" y="3346"/>
                    <a:pt x="401" y="3364"/>
                    <a:pt x="436" y="3364"/>
                  </a:cubicBezTo>
                  <a:cubicBezTo>
                    <a:pt x="460" y="3364"/>
                    <a:pt x="471" y="3358"/>
                    <a:pt x="495" y="3358"/>
                  </a:cubicBezTo>
                  <a:cubicBezTo>
                    <a:pt x="541" y="3358"/>
                    <a:pt x="564" y="3399"/>
                    <a:pt x="593" y="3439"/>
                  </a:cubicBezTo>
                  <a:cubicBezTo>
                    <a:pt x="599" y="3451"/>
                    <a:pt x="605" y="3463"/>
                    <a:pt x="617" y="3474"/>
                  </a:cubicBezTo>
                  <a:cubicBezTo>
                    <a:pt x="640" y="3492"/>
                    <a:pt x="687" y="3474"/>
                    <a:pt x="687" y="3503"/>
                  </a:cubicBezTo>
                  <a:cubicBezTo>
                    <a:pt x="687" y="3527"/>
                    <a:pt x="675" y="3544"/>
                    <a:pt x="675" y="3573"/>
                  </a:cubicBezTo>
                  <a:cubicBezTo>
                    <a:pt x="675" y="3602"/>
                    <a:pt x="698" y="3614"/>
                    <a:pt x="710" y="3637"/>
                  </a:cubicBezTo>
                  <a:cubicBezTo>
                    <a:pt x="733" y="3690"/>
                    <a:pt x="739" y="3748"/>
                    <a:pt x="791" y="3748"/>
                  </a:cubicBezTo>
                  <a:cubicBezTo>
                    <a:pt x="826" y="3748"/>
                    <a:pt x="832" y="3702"/>
                    <a:pt x="832" y="3666"/>
                  </a:cubicBezTo>
                  <a:cubicBezTo>
                    <a:pt x="838" y="3637"/>
                    <a:pt x="867" y="3632"/>
                    <a:pt x="873" y="3602"/>
                  </a:cubicBezTo>
                  <a:cubicBezTo>
                    <a:pt x="896" y="3672"/>
                    <a:pt x="966" y="3678"/>
                    <a:pt x="1030" y="3696"/>
                  </a:cubicBezTo>
                  <a:cubicBezTo>
                    <a:pt x="1082" y="3707"/>
                    <a:pt x="1100" y="3736"/>
                    <a:pt x="1147" y="3754"/>
                  </a:cubicBezTo>
                  <a:cubicBezTo>
                    <a:pt x="1141" y="3783"/>
                    <a:pt x="1123" y="3795"/>
                    <a:pt x="1123" y="3824"/>
                  </a:cubicBezTo>
                  <a:cubicBezTo>
                    <a:pt x="1123" y="3882"/>
                    <a:pt x="1123" y="3928"/>
                    <a:pt x="1164" y="3969"/>
                  </a:cubicBezTo>
                  <a:cubicBezTo>
                    <a:pt x="1193" y="3998"/>
                    <a:pt x="1251" y="3992"/>
                    <a:pt x="1251" y="4033"/>
                  </a:cubicBezTo>
                  <a:cubicBezTo>
                    <a:pt x="1251" y="4074"/>
                    <a:pt x="1251" y="4074"/>
                    <a:pt x="1251" y="4074"/>
                  </a:cubicBezTo>
                  <a:cubicBezTo>
                    <a:pt x="1251" y="4103"/>
                    <a:pt x="1292" y="4097"/>
                    <a:pt x="1315" y="4103"/>
                  </a:cubicBezTo>
                  <a:cubicBezTo>
                    <a:pt x="1356" y="4115"/>
                    <a:pt x="1373" y="4144"/>
                    <a:pt x="1408" y="4167"/>
                  </a:cubicBezTo>
                  <a:cubicBezTo>
                    <a:pt x="1473" y="4208"/>
                    <a:pt x="1519" y="4225"/>
                    <a:pt x="1554" y="4289"/>
                  </a:cubicBezTo>
                  <a:cubicBezTo>
                    <a:pt x="1566" y="4313"/>
                    <a:pt x="1589" y="4313"/>
                    <a:pt x="1606" y="4330"/>
                  </a:cubicBezTo>
                  <a:cubicBezTo>
                    <a:pt x="1641" y="4388"/>
                    <a:pt x="1659" y="4429"/>
                    <a:pt x="1717" y="4470"/>
                  </a:cubicBezTo>
                  <a:cubicBezTo>
                    <a:pt x="1758" y="4505"/>
                    <a:pt x="1781" y="4546"/>
                    <a:pt x="1839" y="4546"/>
                  </a:cubicBezTo>
                  <a:cubicBezTo>
                    <a:pt x="1851" y="4546"/>
                    <a:pt x="1851" y="4534"/>
                    <a:pt x="1862" y="4528"/>
                  </a:cubicBezTo>
                  <a:cubicBezTo>
                    <a:pt x="1886" y="4522"/>
                    <a:pt x="1903" y="4528"/>
                    <a:pt x="1927" y="4522"/>
                  </a:cubicBezTo>
                  <a:cubicBezTo>
                    <a:pt x="1921" y="4499"/>
                    <a:pt x="1909" y="4493"/>
                    <a:pt x="1909" y="4470"/>
                  </a:cubicBezTo>
                  <a:cubicBezTo>
                    <a:pt x="1909" y="4423"/>
                    <a:pt x="1956" y="4388"/>
                    <a:pt x="2002" y="4388"/>
                  </a:cubicBezTo>
                  <a:cubicBezTo>
                    <a:pt x="2043" y="4388"/>
                    <a:pt x="2066" y="4400"/>
                    <a:pt x="2107" y="4400"/>
                  </a:cubicBezTo>
                  <a:cubicBezTo>
                    <a:pt x="2136" y="4400"/>
                    <a:pt x="2142" y="4377"/>
                    <a:pt x="2165" y="4377"/>
                  </a:cubicBezTo>
                  <a:cubicBezTo>
                    <a:pt x="2247" y="4377"/>
                    <a:pt x="2264" y="4470"/>
                    <a:pt x="2340" y="4470"/>
                  </a:cubicBezTo>
                  <a:cubicBezTo>
                    <a:pt x="2352" y="4470"/>
                    <a:pt x="2352" y="4458"/>
                    <a:pt x="2363" y="4458"/>
                  </a:cubicBezTo>
                  <a:cubicBezTo>
                    <a:pt x="2387" y="4458"/>
                    <a:pt x="2392" y="4476"/>
                    <a:pt x="2421" y="4476"/>
                  </a:cubicBezTo>
                  <a:cubicBezTo>
                    <a:pt x="2433" y="4476"/>
                    <a:pt x="2439" y="4470"/>
                    <a:pt x="2456" y="4470"/>
                  </a:cubicBezTo>
                  <a:cubicBezTo>
                    <a:pt x="2474" y="4470"/>
                    <a:pt x="2480" y="4487"/>
                    <a:pt x="2491" y="4493"/>
                  </a:cubicBezTo>
                  <a:cubicBezTo>
                    <a:pt x="2526" y="4505"/>
                    <a:pt x="2555" y="4499"/>
                    <a:pt x="2590" y="4499"/>
                  </a:cubicBezTo>
                  <a:cubicBezTo>
                    <a:pt x="2614" y="4499"/>
                    <a:pt x="2614" y="4499"/>
                    <a:pt x="2614" y="4499"/>
                  </a:cubicBezTo>
                  <a:cubicBezTo>
                    <a:pt x="2614" y="4476"/>
                    <a:pt x="2614" y="4476"/>
                    <a:pt x="2614" y="4476"/>
                  </a:cubicBezTo>
                  <a:cubicBezTo>
                    <a:pt x="2619" y="4470"/>
                    <a:pt x="2625" y="4464"/>
                    <a:pt x="2631" y="4464"/>
                  </a:cubicBezTo>
                  <a:cubicBezTo>
                    <a:pt x="2643" y="4464"/>
                    <a:pt x="2648" y="4470"/>
                    <a:pt x="2660" y="4470"/>
                  </a:cubicBezTo>
                  <a:cubicBezTo>
                    <a:pt x="2672" y="4470"/>
                    <a:pt x="2678" y="4470"/>
                    <a:pt x="2689" y="4470"/>
                  </a:cubicBezTo>
                  <a:cubicBezTo>
                    <a:pt x="2713" y="4470"/>
                    <a:pt x="2724" y="4493"/>
                    <a:pt x="2747" y="4499"/>
                  </a:cubicBezTo>
                  <a:cubicBezTo>
                    <a:pt x="2806" y="4522"/>
                    <a:pt x="2841" y="4546"/>
                    <a:pt x="2905" y="4546"/>
                  </a:cubicBezTo>
                  <a:cubicBezTo>
                    <a:pt x="2934" y="4546"/>
                    <a:pt x="2928" y="4493"/>
                    <a:pt x="2957" y="4487"/>
                  </a:cubicBezTo>
                  <a:cubicBezTo>
                    <a:pt x="3044" y="4464"/>
                    <a:pt x="3091" y="4441"/>
                    <a:pt x="3178" y="4441"/>
                  </a:cubicBezTo>
                  <a:cubicBezTo>
                    <a:pt x="3254" y="4441"/>
                    <a:pt x="3300" y="4452"/>
                    <a:pt x="3359" y="4499"/>
                  </a:cubicBezTo>
                  <a:cubicBezTo>
                    <a:pt x="3405" y="4528"/>
                    <a:pt x="3399" y="4580"/>
                    <a:pt x="3399" y="4639"/>
                  </a:cubicBezTo>
                  <a:cubicBezTo>
                    <a:pt x="3399" y="4691"/>
                    <a:pt x="3399" y="4691"/>
                    <a:pt x="3399" y="4691"/>
                  </a:cubicBezTo>
                  <a:cubicBezTo>
                    <a:pt x="3399" y="4773"/>
                    <a:pt x="3463" y="4802"/>
                    <a:pt x="3463" y="4883"/>
                  </a:cubicBezTo>
                  <a:cubicBezTo>
                    <a:pt x="3463" y="4901"/>
                    <a:pt x="3458" y="4906"/>
                    <a:pt x="3458" y="4924"/>
                  </a:cubicBezTo>
                  <a:cubicBezTo>
                    <a:pt x="3458" y="4953"/>
                    <a:pt x="3487" y="4959"/>
                    <a:pt x="3516" y="4970"/>
                  </a:cubicBezTo>
                  <a:cubicBezTo>
                    <a:pt x="3562" y="4988"/>
                    <a:pt x="3586" y="5011"/>
                    <a:pt x="3632" y="5029"/>
                  </a:cubicBezTo>
                  <a:cubicBezTo>
                    <a:pt x="4325" y="5378"/>
                    <a:pt x="4325" y="5378"/>
                    <a:pt x="4325" y="5378"/>
                  </a:cubicBezTo>
                  <a:close/>
                  <a:moveTo>
                    <a:pt x="3859" y="3987"/>
                  </a:moveTo>
                  <a:lnTo>
                    <a:pt x="3859" y="3987"/>
                  </a:lnTo>
                  <a:cubicBezTo>
                    <a:pt x="3883" y="3969"/>
                    <a:pt x="3900" y="3952"/>
                    <a:pt x="3929" y="3952"/>
                  </a:cubicBezTo>
                  <a:cubicBezTo>
                    <a:pt x="3993" y="3952"/>
                    <a:pt x="3988" y="4039"/>
                    <a:pt x="4046" y="4068"/>
                  </a:cubicBezTo>
                  <a:cubicBezTo>
                    <a:pt x="4011" y="4097"/>
                    <a:pt x="3970" y="4074"/>
                    <a:pt x="3935" y="4103"/>
                  </a:cubicBezTo>
                  <a:cubicBezTo>
                    <a:pt x="3918" y="4115"/>
                    <a:pt x="3923" y="4144"/>
                    <a:pt x="3918" y="4167"/>
                  </a:cubicBezTo>
                  <a:cubicBezTo>
                    <a:pt x="3912" y="4196"/>
                    <a:pt x="3900" y="4220"/>
                    <a:pt x="3900" y="4249"/>
                  </a:cubicBezTo>
                  <a:cubicBezTo>
                    <a:pt x="3900" y="4289"/>
                    <a:pt x="3912" y="4307"/>
                    <a:pt x="3912" y="4348"/>
                  </a:cubicBezTo>
                  <a:cubicBezTo>
                    <a:pt x="3912" y="4365"/>
                    <a:pt x="3906" y="4377"/>
                    <a:pt x="3906" y="4394"/>
                  </a:cubicBezTo>
                  <a:cubicBezTo>
                    <a:pt x="3906" y="4412"/>
                    <a:pt x="3918" y="4435"/>
                    <a:pt x="3900" y="4435"/>
                  </a:cubicBezTo>
                  <a:cubicBezTo>
                    <a:pt x="3848" y="4435"/>
                    <a:pt x="3830" y="4388"/>
                    <a:pt x="3801" y="4348"/>
                  </a:cubicBezTo>
                  <a:cubicBezTo>
                    <a:pt x="3766" y="4301"/>
                    <a:pt x="3731" y="4278"/>
                    <a:pt x="3731" y="4220"/>
                  </a:cubicBezTo>
                  <a:cubicBezTo>
                    <a:pt x="3731" y="4173"/>
                    <a:pt x="3766" y="4155"/>
                    <a:pt x="3766" y="4109"/>
                  </a:cubicBezTo>
                  <a:cubicBezTo>
                    <a:pt x="3766" y="4068"/>
                    <a:pt x="3766" y="4068"/>
                    <a:pt x="3766" y="4068"/>
                  </a:cubicBezTo>
                  <a:cubicBezTo>
                    <a:pt x="3766" y="4022"/>
                    <a:pt x="3848" y="4039"/>
                    <a:pt x="3859" y="3987"/>
                  </a:cubicBezTo>
                  <a:close/>
                </a:path>
              </a:pathLst>
            </a:custGeom>
            <a:solidFill>
              <a:schemeClr val="accent3"/>
            </a:solidFill>
            <a:ln w="9525" cap="flat" cmpd="sng">
              <a:solidFill>
                <a:schemeClr val="bg1"/>
              </a:solidFill>
              <a:bevel/>
              <a:headEnd/>
              <a:tailEnd/>
            </a:ln>
            <a:effectLst/>
          </p:spPr>
          <p:txBody>
            <a:bodyPr wrap="none" anchor="ctr"/>
            <a:lstStyle/>
            <a:p>
              <a:pPr defTabSz="342831">
                <a:defRPr/>
              </a:pPr>
              <a:endParaRPr lang="en-US" sz="338">
                <a:latin typeface="Montserrat" charset="0"/>
              </a:endParaRPr>
            </a:p>
          </p:txBody>
        </p:sp>
        <p:sp>
          <p:nvSpPr>
            <p:cNvPr id="99" name="Freeform 98">
              <a:extLst>
                <a:ext uri="{FF2B5EF4-FFF2-40B4-BE49-F238E27FC236}">
                  <a16:creationId xmlns:a16="http://schemas.microsoft.com/office/drawing/2014/main" id="{FD7A1CDE-1DF0-0641-AABB-A4DAD8F277EF}"/>
                </a:ext>
              </a:extLst>
            </p:cNvPr>
            <p:cNvSpPr>
              <a:spLocks noChangeArrowheads="1"/>
            </p:cNvSpPr>
            <p:nvPr/>
          </p:nvSpPr>
          <p:spPr bwMode="auto">
            <a:xfrm>
              <a:off x="7661611" y="5546570"/>
              <a:ext cx="679288" cy="797065"/>
            </a:xfrm>
            <a:custGeom>
              <a:avLst/>
              <a:gdLst>
                <a:gd name="T0" fmla="*/ 1945 w 2214"/>
                <a:gd name="T1" fmla="*/ 1915 h 2597"/>
                <a:gd name="T2" fmla="*/ 1997 w 2214"/>
                <a:gd name="T3" fmla="*/ 2154 h 2597"/>
                <a:gd name="T4" fmla="*/ 1968 w 2214"/>
                <a:gd name="T5" fmla="*/ 2305 h 2597"/>
                <a:gd name="T6" fmla="*/ 1869 w 2214"/>
                <a:gd name="T7" fmla="*/ 2288 h 2597"/>
                <a:gd name="T8" fmla="*/ 1834 w 2214"/>
                <a:gd name="T9" fmla="*/ 2183 h 2597"/>
                <a:gd name="T10" fmla="*/ 1939 w 2214"/>
                <a:gd name="T11" fmla="*/ 2206 h 2597"/>
                <a:gd name="T12" fmla="*/ 1724 w 2214"/>
                <a:gd name="T13" fmla="*/ 2136 h 2597"/>
                <a:gd name="T14" fmla="*/ 1636 w 2214"/>
                <a:gd name="T15" fmla="*/ 2212 h 2597"/>
                <a:gd name="T16" fmla="*/ 1561 w 2214"/>
                <a:gd name="T17" fmla="*/ 2328 h 2597"/>
                <a:gd name="T18" fmla="*/ 1537 w 2214"/>
                <a:gd name="T19" fmla="*/ 2386 h 2597"/>
                <a:gd name="T20" fmla="*/ 1479 w 2214"/>
                <a:gd name="T21" fmla="*/ 2491 h 2597"/>
                <a:gd name="T22" fmla="*/ 1194 w 2214"/>
                <a:gd name="T23" fmla="*/ 2538 h 2597"/>
                <a:gd name="T24" fmla="*/ 1031 w 2214"/>
                <a:gd name="T25" fmla="*/ 2456 h 2597"/>
                <a:gd name="T26" fmla="*/ 751 w 2214"/>
                <a:gd name="T27" fmla="*/ 1996 h 2597"/>
                <a:gd name="T28" fmla="*/ 664 w 2214"/>
                <a:gd name="T29" fmla="*/ 1700 h 2597"/>
                <a:gd name="T30" fmla="*/ 780 w 2214"/>
                <a:gd name="T31" fmla="*/ 1828 h 2597"/>
                <a:gd name="T32" fmla="*/ 746 w 2214"/>
                <a:gd name="T33" fmla="*/ 1694 h 2597"/>
                <a:gd name="T34" fmla="*/ 449 w 2214"/>
                <a:gd name="T35" fmla="*/ 1158 h 2597"/>
                <a:gd name="T36" fmla="*/ 379 w 2214"/>
                <a:gd name="T37" fmla="*/ 890 h 2597"/>
                <a:gd name="T38" fmla="*/ 425 w 2214"/>
                <a:gd name="T39" fmla="*/ 698 h 2597"/>
                <a:gd name="T40" fmla="*/ 600 w 2214"/>
                <a:gd name="T41" fmla="*/ 774 h 2597"/>
                <a:gd name="T42" fmla="*/ 1042 w 2214"/>
                <a:gd name="T43" fmla="*/ 937 h 2597"/>
                <a:gd name="T44" fmla="*/ 1322 w 2214"/>
                <a:gd name="T45" fmla="*/ 1030 h 2597"/>
                <a:gd name="T46" fmla="*/ 1514 w 2214"/>
                <a:gd name="T47" fmla="*/ 1065 h 2597"/>
                <a:gd name="T48" fmla="*/ 1473 w 2214"/>
                <a:gd name="T49" fmla="*/ 890 h 2597"/>
                <a:gd name="T50" fmla="*/ 1694 w 2214"/>
                <a:gd name="T51" fmla="*/ 908 h 2597"/>
                <a:gd name="T52" fmla="*/ 1986 w 2214"/>
                <a:gd name="T53" fmla="*/ 751 h 2597"/>
                <a:gd name="T54" fmla="*/ 2125 w 2214"/>
                <a:gd name="T55" fmla="*/ 943 h 2597"/>
                <a:gd name="T56" fmla="*/ 2131 w 2214"/>
                <a:gd name="T57" fmla="*/ 1141 h 2597"/>
                <a:gd name="T58" fmla="*/ 2137 w 2214"/>
                <a:gd name="T59" fmla="*/ 1385 h 2597"/>
                <a:gd name="T60" fmla="*/ 2149 w 2214"/>
                <a:gd name="T61" fmla="*/ 1595 h 2597"/>
                <a:gd name="T62" fmla="*/ 2108 w 2214"/>
                <a:gd name="T63" fmla="*/ 1531 h 2597"/>
                <a:gd name="T64" fmla="*/ 2009 w 2214"/>
                <a:gd name="T65" fmla="*/ 1769 h 2597"/>
                <a:gd name="T66" fmla="*/ 1665 w 2214"/>
                <a:gd name="T67" fmla="*/ 2381 h 2597"/>
                <a:gd name="T68" fmla="*/ 1683 w 2214"/>
                <a:gd name="T69" fmla="*/ 2451 h 2597"/>
                <a:gd name="T70" fmla="*/ 2055 w 2214"/>
                <a:gd name="T71" fmla="*/ 1932 h 2597"/>
                <a:gd name="T72" fmla="*/ 2044 w 2214"/>
                <a:gd name="T73" fmla="*/ 1921 h 2597"/>
                <a:gd name="T74" fmla="*/ 2061 w 2214"/>
                <a:gd name="T75" fmla="*/ 1973 h 2597"/>
                <a:gd name="T76" fmla="*/ 513 w 2214"/>
                <a:gd name="T77" fmla="*/ 669 h 2597"/>
                <a:gd name="T78" fmla="*/ 559 w 2214"/>
                <a:gd name="T79" fmla="*/ 687 h 2597"/>
                <a:gd name="T80" fmla="*/ 1916 w 2214"/>
                <a:gd name="T81" fmla="*/ 169 h 2597"/>
                <a:gd name="T82" fmla="*/ 1951 w 2214"/>
                <a:gd name="T83" fmla="*/ 273 h 2597"/>
                <a:gd name="T84" fmla="*/ 2096 w 2214"/>
                <a:gd name="T85" fmla="*/ 390 h 2597"/>
                <a:gd name="T86" fmla="*/ 2143 w 2214"/>
                <a:gd name="T87" fmla="*/ 343 h 2597"/>
                <a:gd name="T88" fmla="*/ 2131 w 2214"/>
                <a:gd name="T89" fmla="*/ 297 h 2597"/>
                <a:gd name="T90" fmla="*/ 1916 w 2214"/>
                <a:gd name="T91" fmla="*/ 169 h 2597"/>
                <a:gd name="T92" fmla="*/ 2050 w 2214"/>
                <a:gd name="T93" fmla="*/ 477 h 2597"/>
                <a:gd name="T94" fmla="*/ 2137 w 2214"/>
                <a:gd name="T95" fmla="*/ 518 h 2597"/>
                <a:gd name="T96" fmla="*/ 2172 w 2214"/>
                <a:gd name="T97" fmla="*/ 454 h 2597"/>
                <a:gd name="T98" fmla="*/ 2067 w 2214"/>
                <a:gd name="T99" fmla="*/ 599 h 2597"/>
                <a:gd name="T100" fmla="*/ 2114 w 2214"/>
                <a:gd name="T101" fmla="*/ 582 h 2597"/>
                <a:gd name="T102" fmla="*/ 483 w 2214"/>
                <a:gd name="T103" fmla="*/ 541 h 2597"/>
                <a:gd name="T104" fmla="*/ 483 w 2214"/>
                <a:gd name="T105" fmla="*/ 541 h 2597"/>
                <a:gd name="T106" fmla="*/ 59 w 2214"/>
                <a:gd name="T107" fmla="*/ 6 h 2597"/>
                <a:gd name="T108" fmla="*/ 12 w 2214"/>
                <a:gd name="T109" fmla="*/ 75 h 2597"/>
                <a:gd name="T110" fmla="*/ 0 w 2214"/>
                <a:gd name="T111" fmla="*/ 209 h 2597"/>
                <a:gd name="T112" fmla="*/ 41 w 2214"/>
                <a:gd name="T113" fmla="*/ 332 h 2597"/>
                <a:gd name="T114" fmla="*/ 117 w 2214"/>
                <a:gd name="T115" fmla="*/ 128 h 2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14" h="2597">
                  <a:moveTo>
                    <a:pt x="2009" y="1769"/>
                  </a:moveTo>
                  <a:lnTo>
                    <a:pt x="2009" y="1769"/>
                  </a:lnTo>
                  <a:cubicBezTo>
                    <a:pt x="2009" y="1828"/>
                    <a:pt x="1991" y="1868"/>
                    <a:pt x="1945" y="1915"/>
                  </a:cubicBezTo>
                  <a:cubicBezTo>
                    <a:pt x="1974" y="1985"/>
                    <a:pt x="1974" y="1985"/>
                    <a:pt x="1974" y="1985"/>
                  </a:cubicBezTo>
                  <a:cubicBezTo>
                    <a:pt x="1968" y="2031"/>
                    <a:pt x="1927" y="2055"/>
                    <a:pt x="1927" y="2101"/>
                  </a:cubicBezTo>
                  <a:cubicBezTo>
                    <a:pt x="1927" y="2136"/>
                    <a:pt x="1997" y="2119"/>
                    <a:pt x="1997" y="2154"/>
                  </a:cubicBezTo>
                  <a:cubicBezTo>
                    <a:pt x="1997" y="2177"/>
                    <a:pt x="1980" y="2183"/>
                    <a:pt x="1968" y="2200"/>
                  </a:cubicBezTo>
                  <a:cubicBezTo>
                    <a:pt x="1980" y="2282"/>
                    <a:pt x="1980" y="2282"/>
                    <a:pt x="1980" y="2282"/>
                  </a:cubicBezTo>
                  <a:cubicBezTo>
                    <a:pt x="1980" y="2293"/>
                    <a:pt x="1974" y="2299"/>
                    <a:pt x="1968" y="2305"/>
                  </a:cubicBezTo>
                  <a:cubicBezTo>
                    <a:pt x="1951" y="2293"/>
                    <a:pt x="1945" y="2276"/>
                    <a:pt x="1939" y="2258"/>
                  </a:cubicBezTo>
                  <a:cubicBezTo>
                    <a:pt x="1927" y="2282"/>
                    <a:pt x="1921" y="2311"/>
                    <a:pt x="1898" y="2311"/>
                  </a:cubicBezTo>
                  <a:cubicBezTo>
                    <a:pt x="1887" y="2311"/>
                    <a:pt x="1869" y="2299"/>
                    <a:pt x="1869" y="2288"/>
                  </a:cubicBezTo>
                  <a:cubicBezTo>
                    <a:pt x="1869" y="2264"/>
                    <a:pt x="1869" y="2258"/>
                    <a:pt x="1869" y="2235"/>
                  </a:cubicBezTo>
                  <a:cubicBezTo>
                    <a:pt x="1852" y="2235"/>
                    <a:pt x="1840" y="2235"/>
                    <a:pt x="1823" y="2223"/>
                  </a:cubicBezTo>
                  <a:cubicBezTo>
                    <a:pt x="1834" y="2212"/>
                    <a:pt x="1834" y="2200"/>
                    <a:pt x="1834" y="2183"/>
                  </a:cubicBezTo>
                  <a:cubicBezTo>
                    <a:pt x="1846" y="2183"/>
                    <a:pt x="1846" y="2183"/>
                    <a:pt x="1846" y="2183"/>
                  </a:cubicBezTo>
                  <a:cubicBezTo>
                    <a:pt x="1863" y="2200"/>
                    <a:pt x="1869" y="2229"/>
                    <a:pt x="1898" y="2229"/>
                  </a:cubicBezTo>
                  <a:cubicBezTo>
                    <a:pt x="1916" y="2229"/>
                    <a:pt x="1939" y="2223"/>
                    <a:pt x="1939" y="2206"/>
                  </a:cubicBezTo>
                  <a:cubicBezTo>
                    <a:pt x="1939" y="2130"/>
                    <a:pt x="1863" y="2078"/>
                    <a:pt x="1788" y="2078"/>
                  </a:cubicBezTo>
                  <a:cubicBezTo>
                    <a:pt x="1747" y="2078"/>
                    <a:pt x="1747" y="2276"/>
                    <a:pt x="1747" y="2171"/>
                  </a:cubicBezTo>
                  <a:cubicBezTo>
                    <a:pt x="1747" y="2159"/>
                    <a:pt x="1741" y="2136"/>
                    <a:pt x="1724" y="2136"/>
                  </a:cubicBezTo>
                  <a:cubicBezTo>
                    <a:pt x="1689" y="2136"/>
                    <a:pt x="1665" y="2165"/>
                    <a:pt x="1665" y="2200"/>
                  </a:cubicBezTo>
                  <a:cubicBezTo>
                    <a:pt x="1665" y="2223"/>
                    <a:pt x="1665" y="2223"/>
                    <a:pt x="1665" y="2223"/>
                  </a:cubicBezTo>
                  <a:cubicBezTo>
                    <a:pt x="1654" y="2218"/>
                    <a:pt x="1648" y="2218"/>
                    <a:pt x="1636" y="2212"/>
                  </a:cubicBezTo>
                  <a:cubicBezTo>
                    <a:pt x="1642" y="2241"/>
                    <a:pt x="1654" y="2258"/>
                    <a:pt x="1654" y="2288"/>
                  </a:cubicBezTo>
                  <a:cubicBezTo>
                    <a:pt x="1654" y="2322"/>
                    <a:pt x="1660" y="2369"/>
                    <a:pt x="1625" y="2369"/>
                  </a:cubicBezTo>
                  <a:cubicBezTo>
                    <a:pt x="1595" y="2369"/>
                    <a:pt x="1572" y="2357"/>
                    <a:pt x="1561" y="2328"/>
                  </a:cubicBezTo>
                  <a:cubicBezTo>
                    <a:pt x="1561" y="2317"/>
                    <a:pt x="1561" y="2317"/>
                    <a:pt x="1561" y="2317"/>
                  </a:cubicBezTo>
                  <a:cubicBezTo>
                    <a:pt x="1537" y="2322"/>
                    <a:pt x="1520" y="2311"/>
                    <a:pt x="1497" y="2305"/>
                  </a:cubicBezTo>
                  <a:cubicBezTo>
                    <a:pt x="1520" y="2334"/>
                    <a:pt x="1537" y="2352"/>
                    <a:pt x="1537" y="2386"/>
                  </a:cubicBezTo>
                  <a:cubicBezTo>
                    <a:pt x="1537" y="2398"/>
                    <a:pt x="1531" y="2404"/>
                    <a:pt x="1520" y="2410"/>
                  </a:cubicBezTo>
                  <a:cubicBezTo>
                    <a:pt x="1520" y="2416"/>
                    <a:pt x="1531" y="2421"/>
                    <a:pt x="1531" y="2427"/>
                  </a:cubicBezTo>
                  <a:cubicBezTo>
                    <a:pt x="1531" y="2456"/>
                    <a:pt x="1502" y="2468"/>
                    <a:pt x="1479" y="2491"/>
                  </a:cubicBezTo>
                  <a:cubicBezTo>
                    <a:pt x="1456" y="2526"/>
                    <a:pt x="1473" y="2596"/>
                    <a:pt x="1427" y="2596"/>
                  </a:cubicBezTo>
                  <a:cubicBezTo>
                    <a:pt x="1368" y="2596"/>
                    <a:pt x="1351" y="2538"/>
                    <a:pt x="1293" y="2538"/>
                  </a:cubicBezTo>
                  <a:cubicBezTo>
                    <a:pt x="1252" y="2538"/>
                    <a:pt x="1235" y="2538"/>
                    <a:pt x="1194" y="2538"/>
                  </a:cubicBezTo>
                  <a:cubicBezTo>
                    <a:pt x="1176" y="2538"/>
                    <a:pt x="1171" y="2526"/>
                    <a:pt x="1153" y="2526"/>
                  </a:cubicBezTo>
                  <a:cubicBezTo>
                    <a:pt x="1124" y="2526"/>
                    <a:pt x="1118" y="2567"/>
                    <a:pt x="1083" y="2567"/>
                  </a:cubicBezTo>
                  <a:cubicBezTo>
                    <a:pt x="1037" y="2567"/>
                    <a:pt x="1060" y="2497"/>
                    <a:pt x="1031" y="2456"/>
                  </a:cubicBezTo>
                  <a:cubicBezTo>
                    <a:pt x="1002" y="2416"/>
                    <a:pt x="978" y="2386"/>
                    <a:pt x="943" y="2346"/>
                  </a:cubicBezTo>
                  <a:cubicBezTo>
                    <a:pt x="909" y="2264"/>
                    <a:pt x="845" y="2247"/>
                    <a:pt x="804" y="2165"/>
                  </a:cubicBezTo>
                  <a:cubicBezTo>
                    <a:pt x="769" y="2101"/>
                    <a:pt x="769" y="2060"/>
                    <a:pt x="751" y="1996"/>
                  </a:cubicBezTo>
                  <a:cubicBezTo>
                    <a:pt x="740" y="1967"/>
                    <a:pt x="722" y="1956"/>
                    <a:pt x="711" y="1927"/>
                  </a:cubicBezTo>
                  <a:cubicBezTo>
                    <a:pt x="699" y="1897"/>
                    <a:pt x="711" y="1880"/>
                    <a:pt x="705" y="1845"/>
                  </a:cubicBezTo>
                  <a:cubicBezTo>
                    <a:pt x="699" y="1787"/>
                    <a:pt x="670" y="1758"/>
                    <a:pt x="664" y="1700"/>
                  </a:cubicBezTo>
                  <a:cubicBezTo>
                    <a:pt x="670" y="1705"/>
                    <a:pt x="670" y="1705"/>
                    <a:pt x="670" y="1705"/>
                  </a:cubicBezTo>
                  <a:cubicBezTo>
                    <a:pt x="693" y="1746"/>
                    <a:pt x="722" y="1758"/>
                    <a:pt x="757" y="1787"/>
                  </a:cubicBezTo>
                  <a:cubicBezTo>
                    <a:pt x="786" y="1810"/>
                    <a:pt x="763" y="1880"/>
                    <a:pt x="780" y="1828"/>
                  </a:cubicBezTo>
                  <a:cubicBezTo>
                    <a:pt x="798" y="1833"/>
                    <a:pt x="804" y="1839"/>
                    <a:pt x="821" y="1851"/>
                  </a:cubicBezTo>
                  <a:cubicBezTo>
                    <a:pt x="821" y="1828"/>
                    <a:pt x="821" y="1828"/>
                    <a:pt x="821" y="1828"/>
                  </a:cubicBezTo>
                  <a:cubicBezTo>
                    <a:pt x="821" y="1769"/>
                    <a:pt x="769" y="1746"/>
                    <a:pt x="746" y="1694"/>
                  </a:cubicBezTo>
                  <a:cubicBezTo>
                    <a:pt x="734" y="1659"/>
                    <a:pt x="722" y="1624"/>
                    <a:pt x="687" y="1624"/>
                  </a:cubicBezTo>
                  <a:cubicBezTo>
                    <a:pt x="687" y="1478"/>
                    <a:pt x="583" y="1420"/>
                    <a:pt x="519" y="1286"/>
                  </a:cubicBezTo>
                  <a:cubicBezTo>
                    <a:pt x="489" y="1234"/>
                    <a:pt x="449" y="1216"/>
                    <a:pt x="449" y="1158"/>
                  </a:cubicBezTo>
                  <a:cubicBezTo>
                    <a:pt x="449" y="1152"/>
                    <a:pt x="460" y="1152"/>
                    <a:pt x="460" y="1147"/>
                  </a:cubicBezTo>
                  <a:cubicBezTo>
                    <a:pt x="460" y="1059"/>
                    <a:pt x="420" y="1007"/>
                    <a:pt x="396" y="919"/>
                  </a:cubicBezTo>
                  <a:cubicBezTo>
                    <a:pt x="396" y="908"/>
                    <a:pt x="379" y="908"/>
                    <a:pt x="379" y="890"/>
                  </a:cubicBezTo>
                  <a:cubicBezTo>
                    <a:pt x="379" y="838"/>
                    <a:pt x="420" y="821"/>
                    <a:pt x="425" y="768"/>
                  </a:cubicBezTo>
                  <a:cubicBezTo>
                    <a:pt x="414" y="698"/>
                    <a:pt x="414" y="698"/>
                    <a:pt x="414" y="698"/>
                  </a:cubicBezTo>
                  <a:cubicBezTo>
                    <a:pt x="425" y="698"/>
                    <a:pt x="425" y="698"/>
                    <a:pt x="425" y="698"/>
                  </a:cubicBezTo>
                  <a:cubicBezTo>
                    <a:pt x="431" y="704"/>
                    <a:pt x="437" y="710"/>
                    <a:pt x="443" y="716"/>
                  </a:cubicBezTo>
                  <a:cubicBezTo>
                    <a:pt x="478" y="733"/>
                    <a:pt x="501" y="733"/>
                    <a:pt x="536" y="739"/>
                  </a:cubicBezTo>
                  <a:cubicBezTo>
                    <a:pt x="565" y="751"/>
                    <a:pt x="571" y="774"/>
                    <a:pt x="600" y="774"/>
                  </a:cubicBezTo>
                  <a:cubicBezTo>
                    <a:pt x="617" y="774"/>
                    <a:pt x="623" y="762"/>
                    <a:pt x="641" y="762"/>
                  </a:cubicBezTo>
                  <a:cubicBezTo>
                    <a:pt x="699" y="762"/>
                    <a:pt x="722" y="797"/>
                    <a:pt x="775" y="815"/>
                  </a:cubicBezTo>
                  <a:cubicBezTo>
                    <a:pt x="879" y="861"/>
                    <a:pt x="938" y="890"/>
                    <a:pt x="1042" y="937"/>
                  </a:cubicBezTo>
                  <a:cubicBezTo>
                    <a:pt x="1095" y="954"/>
                    <a:pt x="1130" y="984"/>
                    <a:pt x="1188" y="984"/>
                  </a:cubicBezTo>
                  <a:cubicBezTo>
                    <a:pt x="1240" y="984"/>
                    <a:pt x="1240" y="984"/>
                    <a:pt x="1240" y="984"/>
                  </a:cubicBezTo>
                  <a:cubicBezTo>
                    <a:pt x="1275" y="984"/>
                    <a:pt x="1287" y="1013"/>
                    <a:pt x="1322" y="1030"/>
                  </a:cubicBezTo>
                  <a:cubicBezTo>
                    <a:pt x="1328" y="989"/>
                    <a:pt x="1328" y="937"/>
                    <a:pt x="1368" y="937"/>
                  </a:cubicBezTo>
                  <a:cubicBezTo>
                    <a:pt x="1398" y="937"/>
                    <a:pt x="1415" y="960"/>
                    <a:pt x="1438" y="978"/>
                  </a:cubicBezTo>
                  <a:cubicBezTo>
                    <a:pt x="1473" y="1007"/>
                    <a:pt x="1485" y="1030"/>
                    <a:pt x="1514" y="1065"/>
                  </a:cubicBezTo>
                  <a:cubicBezTo>
                    <a:pt x="1526" y="1094"/>
                    <a:pt x="1462" y="937"/>
                    <a:pt x="1462" y="914"/>
                  </a:cubicBezTo>
                  <a:cubicBezTo>
                    <a:pt x="1462" y="890"/>
                    <a:pt x="1462" y="890"/>
                    <a:pt x="1462" y="890"/>
                  </a:cubicBezTo>
                  <a:cubicBezTo>
                    <a:pt x="1467" y="890"/>
                    <a:pt x="1473" y="890"/>
                    <a:pt x="1473" y="890"/>
                  </a:cubicBezTo>
                  <a:cubicBezTo>
                    <a:pt x="1508" y="890"/>
                    <a:pt x="1526" y="914"/>
                    <a:pt x="1561" y="914"/>
                  </a:cubicBezTo>
                  <a:cubicBezTo>
                    <a:pt x="1595" y="914"/>
                    <a:pt x="1607" y="873"/>
                    <a:pt x="1636" y="873"/>
                  </a:cubicBezTo>
                  <a:cubicBezTo>
                    <a:pt x="1660" y="873"/>
                    <a:pt x="1671" y="908"/>
                    <a:pt x="1694" y="908"/>
                  </a:cubicBezTo>
                  <a:cubicBezTo>
                    <a:pt x="1758" y="908"/>
                    <a:pt x="1788" y="850"/>
                    <a:pt x="1817" y="791"/>
                  </a:cubicBezTo>
                  <a:cubicBezTo>
                    <a:pt x="1852" y="809"/>
                    <a:pt x="1863" y="832"/>
                    <a:pt x="1904" y="832"/>
                  </a:cubicBezTo>
                  <a:cubicBezTo>
                    <a:pt x="1951" y="832"/>
                    <a:pt x="1986" y="797"/>
                    <a:pt x="1986" y="751"/>
                  </a:cubicBezTo>
                  <a:cubicBezTo>
                    <a:pt x="1986" y="704"/>
                    <a:pt x="2160" y="844"/>
                    <a:pt x="2160" y="885"/>
                  </a:cubicBezTo>
                  <a:cubicBezTo>
                    <a:pt x="2160" y="908"/>
                    <a:pt x="2120" y="908"/>
                    <a:pt x="2120" y="931"/>
                  </a:cubicBezTo>
                  <a:cubicBezTo>
                    <a:pt x="2120" y="937"/>
                    <a:pt x="2125" y="937"/>
                    <a:pt x="2125" y="943"/>
                  </a:cubicBezTo>
                  <a:cubicBezTo>
                    <a:pt x="2125" y="1018"/>
                    <a:pt x="2125" y="1018"/>
                    <a:pt x="2125" y="1018"/>
                  </a:cubicBezTo>
                  <a:cubicBezTo>
                    <a:pt x="2125" y="1042"/>
                    <a:pt x="2143" y="1053"/>
                    <a:pt x="2143" y="1077"/>
                  </a:cubicBezTo>
                  <a:cubicBezTo>
                    <a:pt x="2143" y="1100"/>
                    <a:pt x="2131" y="1117"/>
                    <a:pt x="2131" y="1141"/>
                  </a:cubicBezTo>
                  <a:cubicBezTo>
                    <a:pt x="2131" y="1199"/>
                    <a:pt x="2131" y="1199"/>
                    <a:pt x="2131" y="1199"/>
                  </a:cubicBezTo>
                  <a:cubicBezTo>
                    <a:pt x="2131" y="1234"/>
                    <a:pt x="2160" y="1251"/>
                    <a:pt x="2160" y="1292"/>
                  </a:cubicBezTo>
                  <a:cubicBezTo>
                    <a:pt x="2160" y="1327"/>
                    <a:pt x="2137" y="1350"/>
                    <a:pt x="2137" y="1385"/>
                  </a:cubicBezTo>
                  <a:cubicBezTo>
                    <a:pt x="2137" y="1420"/>
                    <a:pt x="2143" y="1438"/>
                    <a:pt x="2143" y="1473"/>
                  </a:cubicBezTo>
                  <a:cubicBezTo>
                    <a:pt x="2143" y="1502"/>
                    <a:pt x="2125" y="1519"/>
                    <a:pt x="2125" y="1548"/>
                  </a:cubicBezTo>
                  <a:cubicBezTo>
                    <a:pt x="2125" y="1566"/>
                    <a:pt x="2143" y="1577"/>
                    <a:pt x="2149" y="1595"/>
                  </a:cubicBezTo>
                  <a:cubicBezTo>
                    <a:pt x="2131" y="1595"/>
                    <a:pt x="2125" y="1577"/>
                    <a:pt x="2102" y="1577"/>
                  </a:cubicBezTo>
                  <a:cubicBezTo>
                    <a:pt x="2102" y="1571"/>
                    <a:pt x="2102" y="1571"/>
                    <a:pt x="2102" y="1566"/>
                  </a:cubicBezTo>
                  <a:cubicBezTo>
                    <a:pt x="2102" y="1554"/>
                    <a:pt x="2108" y="1548"/>
                    <a:pt x="2108" y="1531"/>
                  </a:cubicBezTo>
                  <a:cubicBezTo>
                    <a:pt x="2061" y="1554"/>
                    <a:pt x="2050" y="1601"/>
                    <a:pt x="2038" y="1653"/>
                  </a:cubicBezTo>
                  <a:cubicBezTo>
                    <a:pt x="2026" y="1694"/>
                    <a:pt x="2003" y="1711"/>
                    <a:pt x="2003" y="1758"/>
                  </a:cubicBezTo>
                  <a:cubicBezTo>
                    <a:pt x="2003" y="1764"/>
                    <a:pt x="2009" y="1764"/>
                    <a:pt x="2009" y="1769"/>
                  </a:cubicBezTo>
                  <a:close/>
                  <a:moveTo>
                    <a:pt x="1677" y="2386"/>
                  </a:moveTo>
                  <a:lnTo>
                    <a:pt x="1677" y="2386"/>
                  </a:lnTo>
                  <a:cubicBezTo>
                    <a:pt x="1671" y="2381"/>
                    <a:pt x="1671" y="2381"/>
                    <a:pt x="1665" y="2381"/>
                  </a:cubicBezTo>
                  <a:cubicBezTo>
                    <a:pt x="1630" y="2381"/>
                    <a:pt x="1636" y="2427"/>
                    <a:pt x="1619" y="2456"/>
                  </a:cubicBezTo>
                  <a:cubicBezTo>
                    <a:pt x="1636" y="2474"/>
                    <a:pt x="1636" y="2497"/>
                    <a:pt x="1654" y="2515"/>
                  </a:cubicBezTo>
                  <a:cubicBezTo>
                    <a:pt x="1677" y="2491"/>
                    <a:pt x="1671" y="2468"/>
                    <a:pt x="1683" y="2451"/>
                  </a:cubicBezTo>
                  <a:cubicBezTo>
                    <a:pt x="1677" y="2427"/>
                    <a:pt x="1677" y="2427"/>
                    <a:pt x="1677" y="2427"/>
                  </a:cubicBezTo>
                  <a:cubicBezTo>
                    <a:pt x="1677" y="2386"/>
                    <a:pt x="1677" y="2386"/>
                    <a:pt x="1677" y="2386"/>
                  </a:cubicBezTo>
                  <a:close/>
                  <a:moveTo>
                    <a:pt x="2055" y="1932"/>
                  </a:moveTo>
                  <a:lnTo>
                    <a:pt x="2055" y="1932"/>
                  </a:lnTo>
                  <a:cubicBezTo>
                    <a:pt x="2055" y="1927"/>
                    <a:pt x="2055" y="1927"/>
                    <a:pt x="2055" y="1927"/>
                  </a:cubicBezTo>
                  <a:cubicBezTo>
                    <a:pt x="2044" y="1921"/>
                    <a:pt x="2044" y="1921"/>
                    <a:pt x="2044" y="1921"/>
                  </a:cubicBezTo>
                  <a:cubicBezTo>
                    <a:pt x="2032" y="1944"/>
                    <a:pt x="2032" y="1956"/>
                    <a:pt x="2026" y="1973"/>
                  </a:cubicBezTo>
                  <a:cubicBezTo>
                    <a:pt x="2032" y="1973"/>
                    <a:pt x="2038" y="1979"/>
                    <a:pt x="2044" y="1979"/>
                  </a:cubicBezTo>
                  <a:cubicBezTo>
                    <a:pt x="2050" y="1979"/>
                    <a:pt x="2055" y="1973"/>
                    <a:pt x="2061" y="1973"/>
                  </a:cubicBezTo>
                  <a:cubicBezTo>
                    <a:pt x="2055" y="1932"/>
                    <a:pt x="2055" y="1932"/>
                    <a:pt x="2055" y="1932"/>
                  </a:cubicBezTo>
                  <a:close/>
                  <a:moveTo>
                    <a:pt x="513" y="669"/>
                  </a:moveTo>
                  <a:lnTo>
                    <a:pt x="513" y="669"/>
                  </a:lnTo>
                  <a:cubicBezTo>
                    <a:pt x="507" y="687"/>
                    <a:pt x="507" y="698"/>
                    <a:pt x="501" y="710"/>
                  </a:cubicBezTo>
                  <a:cubicBezTo>
                    <a:pt x="513" y="716"/>
                    <a:pt x="513" y="716"/>
                    <a:pt x="513" y="716"/>
                  </a:cubicBezTo>
                  <a:cubicBezTo>
                    <a:pt x="536" y="710"/>
                    <a:pt x="548" y="704"/>
                    <a:pt x="559" y="687"/>
                  </a:cubicBezTo>
                  <a:cubicBezTo>
                    <a:pt x="542" y="681"/>
                    <a:pt x="530" y="675"/>
                    <a:pt x="513" y="669"/>
                  </a:cubicBezTo>
                  <a:close/>
                  <a:moveTo>
                    <a:pt x="1916" y="169"/>
                  </a:moveTo>
                  <a:lnTo>
                    <a:pt x="1916" y="169"/>
                  </a:lnTo>
                  <a:cubicBezTo>
                    <a:pt x="1945" y="186"/>
                    <a:pt x="1957" y="215"/>
                    <a:pt x="1957" y="250"/>
                  </a:cubicBezTo>
                  <a:cubicBezTo>
                    <a:pt x="1957" y="256"/>
                    <a:pt x="1951" y="256"/>
                    <a:pt x="1945" y="262"/>
                  </a:cubicBezTo>
                  <a:cubicBezTo>
                    <a:pt x="1951" y="273"/>
                    <a:pt x="1951" y="273"/>
                    <a:pt x="1951" y="273"/>
                  </a:cubicBezTo>
                  <a:cubicBezTo>
                    <a:pt x="1991" y="273"/>
                    <a:pt x="1997" y="314"/>
                    <a:pt x="2015" y="355"/>
                  </a:cubicBezTo>
                  <a:cubicBezTo>
                    <a:pt x="2026" y="384"/>
                    <a:pt x="2038" y="396"/>
                    <a:pt x="2050" y="425"/>
                  </a:cubicBezTo>
                  <a:cubicBezTo>
                    <a:pt x="2073" y="419"/>
                    <a:pt x="2073" y="390"/>
                    <a:pt x="2096" y="390"/>
                  </a:cubicBezTo>
                  <a:cubicBezTo>
                    <a:pt x="2114" y="390"/>
                    <a:pt x="2125" y="396"/>
                    <a:pt x="2143" y="401"/>
                  </a:cubicBezTo>
                  <a:cubicBezTo>
                    <a:pt x="2143" y="396"/>
                    <a:pt x="2143" y="396"/>
                    <a:pt x="2143" y="384"/>
                  </a:cubicBezTo>
                  <a:cubicBezTo>
                    <a:pt x="2143" y="372"/>
                    <a:pt x="2143" y="361"/>
                    <a:pt x="2143" y="343"/>
                  </a:cubicBezTo>
                  <a:cubicBezTo>
                    <a:pt x="2137" y="343"/>
                    <a:pt x="2131" y="343"/>
                    <a:pt x="2120" y="343"/>
                  </a:cubicBezTo>
                  <a:cubicBezTo>
                    <a:pt x="2114" y="343"/>
                    <a:pt x="2114" y="337"/>
                    <a:pt x="2108" y="337"/>
                  </a:cubicBezTo>
                  <a:cubicBezTo>
                    <a:pt x="2120" y="320"/>
                    <a:pt x="2131" y="314"/>
                    <a:pt x="2131" y="297"/>
                  </a:cubicBezTo>
                  <a:cubicBezTo>
                    <a:pt x="2131" y="238"/>
                    <a:pt x="2131" y="238"/>
                    <a:pt x="2131" y="238"/>
                  </a:cubicBezTo>
                  <a:cubicBezTo>
                    <a:pt x="2044" y="238"/>
                    <a:pt x="2032" y="151"/>
                    <a:pt x="1968" y="93"/>
                  </a:cubicBezTo>
                  <a:cubicBezTo>
                    <a:pt x="1957" y="128"/>
                    <a:pt x="1945" y="151"/>
                    <a:pt x="1916" y="169"/>
                  </a:cubicBezTo>
                  <a:close/>
                  <a:moveTo>
                    <a:pt x="2084" y="483"/>
                  </a:moveTo>
                  <a:lnTo>
                    <a:pt x="2084" y="483"/>
                  </a:lnTo>
                  <a:cubicBezTo>
                    <a:pt x="2073" y="483"/>
                    <a:pt x="2061" y="477"/>
                    <a:pt x="2050" y="477"/>
                  </a:cubicBezTo>
                  <a:cubicBezTo>
                    <a:pt x="2026" y="477"/>
                    <a:pt x="2003" y="495"/>
                    <a:pt x="2003" y="512"/>
                  </a:cubicBezTo>
                  <a:cubicBezTo>
                    <a:pt x="2026" y="529"/>
                    <a:pt x="2044" y="535"/>
                    <a:pt x="2073" y="535"/>
                  </a:cubicBezTo>
                  <a:cubicBezTo>
                    <a:pt x="2096" y="535"/>
                    <a:pt x="2114" y="529"/>
                    <a:pt x="2137" y="518"/>
                  </a:cubicBezTo>
                  <a:cubicBezTo>
                    <a:pt x="2149" y="529"/>
                    <a:pt x="2154" y="541"/>
                    <a:pt x="2166" y="559"/>
                  </a:cubicBezTo>
                  <a:cubicBezTo>
                    <a:pt x="2183" y="547"/>
                    <a:pt x="2195" y="541"/>
                    <a:pt x="2213" y="524"/>
                  </a:cubicBezTo>
                  <a:cubicBezTo>
                    <a:pt x="2195" y="500"/>
                    <a:pt x="2183" y="483"/>
                    <a:pt x="2172" y="454"/>
                  </a:cubicBezTo>
                  <a:cubicBezTo>
                    <a:pt x="2160" y="448"/>
                    <a:pt x="2160" y="448"/>
                    <a:pt x="2160" y="448"/>
                  </a:cubicBezTo>
                  <a:cubicBezTo>
                    <a:pt x="2143" y="477"/>
                    <a:pt x="2114" y="483"/>
                    <a:pt x="2084" y="483"/>
                  </a:cubicBezTo>
                  <a:close/>
                  <a:moveTo>
                    <a:pt x="2067" y="599"/>
                  </a:moveTo>
                  <a:lnTo>
                    <a:pt x="2067" y="599"/>
                  </a:lnTo>
                  <a:cubicBezTo>
                    <a:pt x="2067" y="605"/>
                    <a:pt x="2067" y="611"/>
                    <a:pt x="2067" y="617"/>
                  </a:cubicBezTo>
                  <a:cubicBezTo>
                    <a:pt x="2090" y="611"/>
                    <a:pt x="2102" y="599"/>
                    <a:pt x="2114" y="582"/>
                  </a:cubicBezTo>
                  <a:cubicBezTo>
                    <a:pt x="2096" y="576"/>
                    <a:pt x="2067" y="582"/>
                    <a:pt x="2067" y="599"/>
                  </a:cubicBezTo>
                  <a:close/>
                  <a:moveTo>
                    <a:pt x="483" y="541"/>
                  </a:moveTo>
                  <a:lnTo>
                    <a:pt x="483" y="541"/>
                  </a:lnTo>
                  <a:cubicBezTo>
                    <a:pt x="536" y="541"/>
                    <a:pt x="536" y="541"/>
                    <a:pt x="536" y="541"/>
                  </a:cubicBezTo>
                  <a:cubicBezTo>
                    <a:pt x="536" y="529"/>
                    <a:pt x="536" y="524"/>
                    <a:pt x="536" y="506"/>
                  </a:cubicBezTo>
                  <a:cubicBezTo>
                    <a:pt x="513" y="512"/>
                    <a:pt x="501" y="529"/>
                    <a:pt x="483" y="541"/>
                  </a:cubicBezTo>
                  <a:close/>
                  <a:moveTo>
                    <a:pt x="82" y="23"/>
                  </a:moveTo>
                  <a:lnTo>
                    <a:pt x="82" y="23"/>
                  </a:lnTo>
                  <a:cubicBezTo>
                    <a:pt x="76" y="17"/>
                    <a:pt x="70" y="11"/>
                    <a:pt x="59" y="6"/>
                  </a:cubicBezTo>
                  <a:cubicBezTo>
                    <a:pt x="53" y="0"/>
                    <a:pt x="53" y="0"/>
                    <a:pt x="53" y="0"/>
                  </a:cubicBezTo>
                  <a:cubicBezTo>
                    <a:pt x="53" y="17"/>
                    <a:pt x="59" y="29"/>
                    <a:pt x="53" y="46"/>
                  </a:cubicBezTo>
                  <a:cubicBezTo>
                    <a:pt x="41" y="64"/>
                    <a:pt x="12" y="58"/>
                    <a:pt x="12" y="75"/>
                  </a:cubicBezTo>
                  <a:cubicBezTo>
                    <a:pt x="12" y="93"/>
                    <a:pt x="24" y="99"/>
                    <a:pt x="24" y="116"/>
                  </a:cubicBezTo>
                  <a:cubicBezTo>
                    <a:pt x="24" y="145"/>
                    <a:pt x="0" y="157"/>
                    <a:pt x="0" y="186"/>
                  </a:cubicBezTo>
                  <a:cubicBezTo>
                    <a:pt x="0" y="209"/>
                    <a:pt x="0" y="209"/>
                    <a:pt x="0" y="209"/>
                  </a:cubicBezTo>
                  <a:cubicBezTo>
                    <a:pt x="12" y="209"/>
                    <a:pt x="18" y="209"/>
                    <a:pt x="29" y="209"/>
                  </a:cubicBezTo>
                  <a:cubicBezTo>
                    <a:pt x="29" y="326"/>
                    <a:pt x="29" y="326"/>
                    <a:pt x="29" y="326"/>
                  </a:cubicBezTo>
                  <a:cubicBezTo>
                    <a:pt x="29" y="326"/>
                    <a:pt x="35" y="332"/>
                    <a:pt x="41" y="332"/>
                  </a:cubicBezTo>
                  <a:cubicBezTo>
                    <a:pt x="59" y="332"/>
                    <a:pt x="59" y="314"/>
                    <a:pt x="70" y="302"/>
                  </a:cubicBezTo>
                  <a:cubicBezTo>
                    <a:pt x="105" y="285"/>
                    <a:pt x="134" y="262"/>
                    <a:pt x="134" y="221"/>
                  </a:cubicBezTo>
                  <a:cubicBezTo>
                    <a:pt x="134" y="180"/>
                    <a:pt x="117" y="163"/>
                    <a:pt x="117" y="128"/>
                  </a:cubicBezTo>
                  <a:cubicBezTo>
                    <a:pt x="117" y="99"/>
                    <a:pt x="128" y="81"/>
                    <a:pt x="128" y="46"/>
                  </a:cubicBezTo>
                  <a:cubicBezTo>
                    <a:pt x="128" y="29"/>
                    <a:pt x="99" y="29"/>
                    <a:pt x="82" y="23"/>
                  </a:cubicBezTo>
                  <a:close/>
                </a:path>
              </a:pathLst>
            </a:custGeom>
            <a:grpFill/>
            <a:ln w="9525" cap="flat" cmpd="sng">
              <a:solidFill>
                <a:schemeClr val="bg1"/>
              </a:solidFill>
              <a:bevel/>
              <a:headEnd/>
              <a:tailEnd/>
            </a:ln>
            <a:effectLst/>
          </p:spPr>
          <p:txBody>
            <a:bodyPr wrap="none" anchor="ctr"/>
            <a:lstStyle/>
            <a:p>
              <a:pPr defTabSz="342831">
                <a:defRPr/>
              </a:pPr>
              <a:endParaRPr lang="en-US" sz="338">
                <a:latin typeface="Montserrat" charset="0"/>
              </a:endParaRPr>
            </a:p>
          </p:txBody>
        </p:sp>
      </p:grpSp>
      <p:grpSp>
        <p:nvGrpSpPr>
          <p:cNvPr id="82" name="Group 81">
            <a:extLst>
              <a:ext uri="{FF2B5EF4-FFF2-40B4-BE49-F238E27FC236}">
                <a16:creationId xmlns:a16="http://schemas.microsoft.com/office/drawing/2014/main" id="{AB11D884-F973-A648-B416-43A1B35808F2}"/>
              </a:ext>
            </a:extLst>
          </p:cNvPr>
          <p:cNvGrpSpPr/>
          <p:nvPr/>
        </p:nvGrpSpPr>
        <p:grpSpPr>
          <a:xfrm>
            <a:off x="863454" y="1791211"/>
            <a:ext cx="883445" cy="883445"/>
            <a:chOff x="1816382" y="5070342"/>
            <a:chExt cx="2608000" cy="2608000"/>
          </a:xfrm>
        </p:grpSpPr>
        <p:sp>
          <p:nvSpPr>
            <p:cNvPr id="83" name="Oval 82">
              <a:extLst>
                <a:ext uri="{FF2B5EF4-FFF2-40B4-BE49-F238E27FC236}">
                  <a16:creationId xmlns:a16="http://schemas.microsoft.com/office/drawing/2014/main" id="{DAB1F4C9-3183-0543-BB25-F60FBEAB2169}"/>
                </a:ext>
              </a:extLst>
            </p:cNvPr>
            <p:cNvSpPr/>
            <p:nvPr/>
          </p:nvSpPr>
          <p:spPr>
            <a:xfrm>
              <a:off x="1816382" y="5070342"/>
              <a:ext cx="2608000" cy="2608000"/>
            </a:xfrm>
            <a:prstGeom prst="ellipse">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84" name="Group 83">
              <a:extLst>
                <a:ext uri="{FF2B5EF4-FFF2-40B4-BE49-F238E27FC236}">
                  <a16:creationId xmlns:a16="http://schemas.microsoft.com/office/drawing/2014/main" id="{0E147395-32DE-964A-A0A2-ECEFB013F0FB}"/>
                </a:ext>
              </a:extLst>
            </p:cNvPr>
            <p:cNvGrpSpPr/>
            <p:nvPr/>
          </p:nvGrpSpPr>
          <p:grpSpPr>
            <a:xfrm>
              <a:off x="1937854" y="5755648"/>
              <a:ext cx="2347832" cy="1296214"/>
              <a:chOff x="1937854" y="5755648"/>
              <a:chExt cx="2347832" cy="1296214"/>
            </a:xfrm>
          </p:grpSpPr>
          <p:sp>
            <p:nvSpPr>
              <p:cNvPr id="85" name="Subtitle 2">
                <a:extLst>
                  <a:ext uri="{FF2B5EF4-FFF2-40B4-BE49-F238E27FC236}">
                    <a16:creationId xmlns:a16="http://schemas.microsoft.com/office/drawing/2014/main" id="{D187C628-B20E-8648-9541-FD706B93E5CC}"/>
                  </a:ext>
                </a:extLst>
              </p:cNvPr>
              <p:cNvSpPr txBox="1">
                <a:spLocks/>
              </p:cNvSpPr>
              <p:nvPr/>
            </p:nvSpPr>
            <p:spPr>
              <a:xfrm>
                <a:off x="1937854" y="6283530"/>
                <a:ext cx="2347832" cy="768332"/>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750" dirty="0">
                    <a:solidFill>
                      <a:schemeClr val="bg1"/>
                    </a:solidFill>
                    <a:latin typeface="Roboto Light" panose="02000000000000000000" pitchFamily="2" charset="0"/>
                    <a:ea typeface="Roboto Light" panose="02000000000000000000" pitchFamily="2" charset="0"/>
                    <a:cs typeface="Poppins Light" pitchFamily="2" charset="77"/>
                  </a:rPr>
                  <a:t>Write your title.</a:t>
                </a:r>
                <a:endParaRPr lang="en-US" sz="750" dirty="0">
                  <a:solidFill>
                    <a:schemeClr val="bg1"/>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86" name="Rectangle 85">
                <a:extLst>
                  <a:ext uri="{FF2B5EF4-FFF2-40B4-BE49-F238E27FC236}">
                    <a16:creationId xmlns:a16="http://schemas.microsoft.com/office/drawing/2014/main" id="{5A7DD9A3-19BB-9441-8E3B-316B9CA72FEE}"/>
                  </a:ext>
                </a:extLst>
              </p:cNvPr>
              <p:cNvSpPr/>
              <p:nvPr/>
            </p:nvSpPr>
            <p:spPr>
              <a:xfrm>
                <a:off x="2029038" y="5755648"/>
                <a:ext cx="2165461" cy="579222"/>
              </a:xfrm>
              <a:prstGeom prst="rect">
                <a:avLst/>
              </a:prstGeom>
            </p:spPr>
            <p:txBody>
              <a:bodyPr wrap="square">
                <a:spAutoFit/>
              </a:bodyPr>
              <a:lstStyle/>
              <a:p>
                <a:pPr algn="ctr"/>
                <a:r>
                  <a:rPr lang="en-US" sz="675" dirty="0">
                    <a:solidFill>
                      <a:schemeClr val="bg1"/>
                    </a:solidFill>
                    <a:latin typeface="Roboto" panose="02000000000000000000" pitchFamily="2" charset="0"/>
                    <a:ea typeface="Roboto" panose="02000000000000000000" pitchFamily="2" charset="0"/>
                    <a:cs typeface="Lato Light" panose="020F0502020204030203" pitchFamily="34" charset="0"/>
                  </a:rPr>
                  <a:t>+230</a:t>
                </a:r>
              </a:p>
            </p:txBody>
          </p:sp>
        </p:grpSp>
      </p:grpSp>
      <p:grpSp>
        <p:nvGrpSpPr>
          <p:cNvPr id="87" name="Group 86">
            <a:extLst>
              <a:ext uri="{FF2B5EF4-FFF2-40B4-BE49-F238E27FC236}">
                <a16:creationId xmlns:a16="http://schemas.microsoft.com/office/drawing/2014/main" id="{2C13B038-8F08-9D42-AF25-7BDCAC317845}"/>
              </a:ext>
            </a:extLst>
          </p:cNvPr>
          <p:cNvGrpSpPr/>
          <p:nvPr/>
        </p:nvGrpSpPr>
        <p:grpSpPr>
          <a:xfrm>
            <a:off x="2758532" y="3408794"/>
            <a:ext cx="883445" cy="883445"/>
            <a:chOff x="1816382" y="9828477"/>
            <a:chExt cx="2608000" cy="2608000"/>
          </a:xfrm>
        </p:grpSpPr>
        <p:sp>
          <p:nvSpPr>
            <p:cNvPr id="88" name="Oval 87">
              <a:extLst>
                <a:ext uri="{FF2B5EF4-FFF2-40B4-BE49-F238E27FC236}">
                  <a16:creationId xmlns:a16="http://schemas.microsoft.com/office/drawing/2014/main" id="{2C2D9B82-D269-2A43-B5C1-BCFA91354AB5}"/>
                </a:ext>
              </a:extLst>
            </p:cNvPr>
            <p:cNvSpPr/>
            <p:nvPr/>
          </p:nvSpPr>
          <p:spPr>
            <a:xfrm>
              <a:off x="1816382" y="9828477"/>
              <a:ext cx="2608000" cy="2608000"/>
            </a:xfrm>
            <a:prstGeom prst="ellipse">
              <a:avLst/>
            </a:prstGeom>
            <a:solidFill>
              <a:schemeClr val="tx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89" name="Group 88">
              <a:extLst>
                <a:ext uri="{FF2B5EF4-FFF2-40B4-BE49-F238E27FC236}">
                  <a16:creationId xmlns:a16="http://schemas.microsoft.com/office/drawing/2014/main" id="{A939E46A-3877-9849-B2C7-73620BC29439}"/>
                </a:ext>
              </a:extLst>
            </p:cNvPr>
            <p:cNvGrpSpPr/>
            <p:nvPr/>
          </p:nvGrpSpPr>
          <p:grpSpPr>
            <a:xfrm>
              <a:off x="1937854" y="10513783"/>
              <a:ext cx="2347832" cy="1296214"/>
              <a:chOff x="1937854" y="10513783"/>
              <a:chExt cx="2347832" cy="1296214"/>
            </a:xfrm>
          </p:grpSpPr>
          <p:sp>
            <p:nvSpPr>
              <p:cNvPr id="90" name="Subtitle 2">
                <a:extLst>
                  <a:ext uri="{FF2B5EF4-FFF2-40B4-BE49-F238E27FC236}">
                    <a16:creationId xmlns:a16="http://schemas.microsoft.com/office/drawing/2014/main" id="{D2721E47-D1A1-3E47-A661-4BB0F555A773}"/>
                  </a:ext>
                </a:extLst>
              </p:cNvPr>
              <p:cNvSpPr txBox="1">
                <a:spLocks/>
              </p:cNvSpPr>
              <p:nvPr/>
            </p:nvSpPr>
            <p:spPr>
              <a:xfrm>
                <a:off x="1937854" y="11041665"/>
                <a:ext cx="2347832" cy="768332"/>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750" dirty="0">
                    <a:solidFill>
                      <a:schemeClr val="bg1"/>
                    </a:solidFill>
                    <a:latin typeface="Roboto Light" panose="02000000000000000000" pitchFamily="2" charset="0"/>
                    <a:ea typeface="Roboto Light" panose="02000000000000000000" pitchFamily="2" charset="0"/>
                    <a:cs typeface="Poppins Light" pitchFamily="2" charset="77"/>
                  </a:rPr>
                  <a:t>Write your title.</a:t>
                </a:r>
                <a:endParaRPr lang="en-US" sz="750" dirty="0">
                  <a:solidFill>
                    <a:schemeClr val="bg1"/>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91" name="Rectangle 90">
                <a:extLst>
                  <a:ext uri="{FF2B5EF4-FFF2-40B4-BE49-F238E27FC236}">
                    <a16:creationId xmlns:a16="http://schemas.microsoft.com/office/drawing/2014/main" id="{91AFB734-4DC7-F746-886F-37DF9D2C441B}"/>
                  </a:ext>
                </a:extLst>
              </p:cNvPr>
              <p:cNvSpPr/>
              <p:nvPr/>
            </p:nvSpPr>
            <p:spPr>
              <a:xfrm>
                <a:off x="2029038" y="10513783"/>
                <a:ext cx="2165461" cy="579222"/>
              </a:xfrm>
              <a:prstGeom prst="rect">
                <a:avLst/>
              </a:prstGeom>
            </p:spPr>
            <p:txBody>
              <a:bodyPr wrap="square">
                <a:spAutoFit/>
              </a:bodyPr>
              <a:lstStyle/>
              <a:p>
                <a:pPr algn="ctr"/>
                <a:r>
                  <a:rPr lang="en-US" sz="675" dirty="0">
                    <a:solidFill>
                      <a:schemeClr val="bg1"/>
                    </a:solidFill>
                    <a:latin typeface="Roboto" panose="02000000000000000000" pitchFamily="2" charset="0"/>
                    <a:ea typeface="Roboto" panose="02000000000000000000" pitchFamily="2" charset="0"/>
                    <a:cs typeface="Lato Light" panose="020F0502020204030203" pitchFamily="34" charset="0"/>
                  </a:rPr>
                  <a:t>+80</a:t>
                </a:r>
              </a:p>
            </p:txBody>
          </p:sp>
        </p:grpSp>
      </p:grpSp>
      <p:sp>
        <p:nvSpPr>
          <p:cNvPr id="2" name="Text Placeholder 5">
            <a:extLst>
              <a:ext uri="{FF2B5EF4-FFF2-40B4-BE49-F238E27FC236}">
                <a16:creationId xmlns:a16="http://schemas.microsoft.com/office/drawing/2014/main" id="{D9ECA077-B5D7-D058-D133-314F4A18C5C7}"/>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accent1"/>
                </a:solidFill>
              </a:rPr>
              <a:t>Australia Editable Map</a:t>
            </a:r>
          </a:p>
        </p:txBody>
      </p:sp>
      <p:grpSp>
        <p:nvGrpSpPr>
          <p:cNvPr id="3" name="Group 2">
            <a:extLst>
              <a:ext uri="{FF2B5EF4-FFF2-40B4-BE49-F238E27FC236}">
                <a16:creationId xmlns:a16="http://schemas.microsoft.com/office/drawing/2014/main" id="{B12F675C-0A93-C2D0-0608-91214D9174C8}"/>
              </a:ext>
            </a:extLst>
          </p:cNvPr>
          <p:cNvGrpSpPr/>
          <p:nvPr/>
        </p:nvGrpSpPr>
        <p:grpSpPr>
          <a:xfrm>
            <a:off x="5901590" y="2111744"/>
            <a:ext cx="3242410" cy="1826659"/>
            <a:chOff x="5363008" y="2111744"/>
            <a:chExt cx="3242410" cy="1826659"/>
          </a:xfrm>
        </p:grpSpPr>
        <p:sp>
          <p:nvSpPr>
            <p:cNvPr id="4" name="Oval 3">
              <a:extLst>
                <a:ext uri="{FF2B5EF4-FFF2-40B4-BE49-F238E27FC236}">
                  <a16:creationId xmlns:a16="http://schemas.microsoft.com/office/drawing/2014/main" id="{311A9F79-1020-44B4-A8C8-0C0998FD8728}"/>
                </a:ext>
              </a:extLst>
            </p:cNvPr>
            <p:cNvSpPr/>
            <p:nvPr/>
          </p:nvSpPr>
          <p:spPr>
            <a:xfrm>
              <a:off x="5363008" y="2129877"/>
              <a:ext cx="611272" cy="6112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5" name="Group 4">
              <a:extLst>
                <a:ext uri="{FF2B5EF4-FFF2-40B4-BE49-F238E27FC236}">
                  <a16:creationId xmlns:a16="http://schemas.microsoft.com/office/drawing/2014/main" id="{FAD88121-BA99-5F09-EE21-6516B3D454B4}"/>
                </a:ext>
              </a:extLst>
            </p:cNvPr>
            <p:cNvGrpSpPr/>
            <p:nvPr/>
          </p:nvGrpSpPr>
          <p:grpSpPr>
            <a:xfrm>
              <a:off x="6059773" y="2111744"/>
              <a:ext cx="2545645" cy="657077"/>
              <a:chOff x="1739385" y="6662633"/>
              <a:chExt cx="6788387" cy="1752204"/>
            </a:xfrm>
          </p:grpSpPr>
          <p:sp>
            <p:nvSpPr>
              <p:cNvPr id="12" name="Subtitle 2">
                <a:extLst>
                  <a:ext uri="{FF2B5EF4-FFF2-40B4-BE49-F238E27FC236}">
                    <a16:creationId xmlns:a16="http://schemas.microsoft.com/office/drawing/2014/main" id="{9A774FD2-0564-120A-8D90-6D597BDBE07A}"/>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3" name="Rectangle 12">
                <a:extLst>
                  <a:ext uri="{FF2B5EF4-FFF2-40B4-BE49-F238E27FC236}">
                    <a16:creationId xmlns:a16="http://schemas.microsoft.com/office/drawing/2014/main" id="{6AA37F63-5A84-209E-B5B2-F02BF8AC29E4}"/>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sp>
          <p:nvSpPr>
            <p:cNvPr id="6" name="Oval 5">
              <a:extLst>
                <a:ext uri="{FF2B5EF4-FFF2-40B4-BE49-F238E27FC236}">
                  <a16:creationId xmlns:a16="http://schemas.microsoft.com/office/drawing/2014/main" id="{F877DB05-A948-A13D-F0B5-28EB4765FF31}"/>
                </a:ext>
              </a:extLst>
            </p:cNvPr>
            <p:cNvSpPr/>
            <p:nvPr/>
          </p:nvSpPr>
          <p:spPr>
            <a:xfrm>
              <a:off x="5363008" y="3291171"/>
              <a:ext cx="611272" cy="6112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7" name="Shape 2808">
              <a:extLst>
                <a:ext uri="{FF2B5EF4-FFF2-40B4-BE49-F238E27FC236}">
                  <a16:creationId xmlns:a16="http://schemas.microsoft.com/office/drawing/2014/main" id="{AB4029D4-050D-4CA4-2294-928BD0274B03}"/>
                </a:ext>
              </a:extLst>
            </p:cNvPr>
            <p:cNvSpPr/>
            <p:nvPr/>
          </p:nvSpPr>
          <p:spPr>
            <a:xfrm>
              <a:off x="5506546" y="2269207"/>
              <a:ext cx="330923" cy="330923"/>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chemeClr val="tx2"/>
                </a:solidFill>
              </a:endParaRPr>
            </a:p>
          </p:txBody>
        </p:sp>
        <p:sp>
          <p:nvSpPr>
            <p:cNvPr id="8" name="Shape 2944">
              <a:extLst>
                <a:ext uri="{FF2B5EF4-FFF2-40B4-BE49-F238E27FC236}">
                  <a16:creationId xmlns:a16="http://schemas.microsoft.com/office/drawing/2014/main" id="{9F6C141A-7342-720A-DBF3-AB0D5AD809D5}"/>
                </a:ext>
              </a:extLst>
            </p:cNvPr>
            <p:cNvSpPr/>
            <p:nvPr/>
          </p:nvSpPr>
          <p:spPr>
            <a:xfrm>
              <a:off x="5503183" y="3431345"/>
              <a:ext cx="330923" cy="33092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4284" tIns="14284" rIns="14284" bIns="14284" anchor="ctr"/>
            <a:lstStyle/>
            <a:p>
              <a:pPr algn="ct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latin typeface="Montserrat" pitchFamily="2" charset="77"/>
              </a:endParaRPr>
            </a:p>
          </p:txBody>
        </p:sp>
        <p:grpSp>
          <p:nvGrpSpPr>
            <p:cNvPr id="9" name="Group 8">
              <a:extLst>
                <a:ext uri="{FF2B5EF4-FFF2-40B4-BE49-F238E27FC236}">
                  <a16:creationId xmlns:a16="http://schemas.microsoft.com/office/drawing/2014/main" id="{9BC5D296-2367-B39E-EDC8-A2E940B36021}"/>
                </a:ext>
              </a:extLst>
            </p:cNvPr>
            <p:cNvGrpSpPr/>
            <p:nvPr/>
          </p:nvGrpSpPr>
          <p:grpSpPr>
            <a:xfrm>
              <a:off x="6059773" y="3281326"/>
              <a:ext cx="2545645" cy="657077"/>
              <a:chOff x="1739385" y="6662633"/>
              <a:chExt cx="6788387" cy="1752204"/>
            </a:xfrm>
          </p:grpSpPr>
          <p:sp>
            <p:nvSpPr>
              <p:cNvPr id="10" name="Subtitle 2">
                <a:extLst>
                  <a:ext uri="{FF2B5EF4-FFF2-40B4-BE49-F238E27FC236}">
                    <a16:creationId xmlns:a16="http://schemas.microsoft.com/office/drawing/2014/main" id="{C7B385ED-2C79-6618-33E9-8BF1265F49C5}"/>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1" name="Rectangle 10">
                <a:extLst>
                  <a:ext uri="{FF2B5EF4-FFF2-40B4-BE49-F238E27FC236}">
                    <a16:creationId xmlns:a16="http://schemas.microsoft.com/office/drawing/2014/main" id="{2BEAC1A1-E8C3-E502-FDFA-FAFF8C0DBE50}"/>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grpSp>
    </p:spTree>
    <p:extLst>
      <p:ext uri="{BB962C8B-B14F-4D97-AF65-F5344CB8AC3E}">
        <p14:creationId xmlns:p14="http://schemas.microsoft.com/office/powerpoint/2010/main" val="3864200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2" name="Group 71">
            <a:extLst>
              <a:ext uri="{FF2B5EF4-FFF2-40B4-BE49-F238E27FC236}">
                <a16:creationId xmlns:a16="http://schemas.microsoft.com/office/drawing/2014/main" id="{2E6CEA5D-CB41-7943-A9AC-D7DDB64C878E}"/>
              </a:ext>
            </a:extLst>
          </p:cNvPr>
          <p:cNvGrpSpPr/>
          <p:nvPr/>
        </p:nvGrpSpPr>
        <p:grpSpPr>
          <a:xfrm>
            <a:off x="4572000" y="1516054"/>
            <a:ext cx="3698130" cy="2498432"/>
            <a:chOff x="13017546" y="3273350"/>
            <a:chExt cx="10283367" cy="6947373"/>
          </a:xfrm>
          <a:solidFill>
            <a:srgbClr val="EFF1F8"/>
          </a:solidFill>
        </p:grpSpPr>
        <p:sp>
          <p:nvSpPr>
            <p:cNvPr id="73" name="Freeform 6">
              <a:extLst>
                <a:ext uri="{FF2B5EF4-FFF2-40B4-BE49-F238E27FC236}">
                  <a16:creationId xmlns:a16="http://schemas.microsoft.com/office/drawing/2014/main" id="{7E833630-E959-4A43-BC25-1B73B2E661CD}"/>
                </a:ext>
              </a:extLst>
            </p:cNvPr>
            <p:cNvSpPr>
              <a:spLocks/>
            </p:cNvSpPr>
            <p:nvPr/>
          </p:nvSpPr>
          <p:spPr bwMode="auto">
            <a:xfrm>
              <a:off x="17272874" y="3991979"/>
              <a:ext cx="426764" cy="559971"/>
            </a:xfrm>
            <a:custGeom>
              <a:avLst/>
              <a:gdLst>
                <a:gd name="T0" fmla="*/ 72 w 78"/>
                <a:gd name="T1" fmla="*/ 39 h 113"/>
                <a:gd name="T2" fmla="*/ 66 w 78"/>
                <a:gd name="T3" fmla="*/ 44 h 113"/>
                <a:gd name="T4" fmla="*/ 61 w 78"/>
                <a:gd name="T5" fmla="*/ 44 h 113"/>
                <a:gd name="T6" fmla="*/ 65 w 78"/>
                <a:gd name="T7" fmla="*/ 38 h 113"/>
                <a:gd name="T8" fmla="*/ 72 w 78"/>
                <a:gd name="T9" fmla="*/ 14 h 113"/>
                <a:gd name="T10" fmla="*/ 66 w 78"/>
                <a:gd name="T11" fmla="*/ 12 h 113"/>
                <a:gd name="T12" fmla="*/ 65 w 78"/>
                <a:gd name="T13" fmla="*/ 1 h 113"/>
                <a:gd name="T14" fmla="*/ 51 w 78"/>
                <a:gd name="T15" fmla="*/ 4 h 113"/>
                <a:gd name="T16" fmla="*/ 46 w 78"/>
                <a:gd name="T17" fmla="*/ 9 h 113"/>
                <a:gd name="T18" fmla="*/ 40 w 78"/>
                <a:gd name="T19" fmla="*/ 6 h 113"/>
                <a:gd name="T20" fmla="*/ 36 w 78"/>
                <a:gd name="T21" fmla="*/ 7 h 113"/>
                <a:gd name="T22" fmla="*/ 25 w 78"/>
                <a:gd name="T23" fmla="*/ 16 h 113"/>
                <a:gd name="T24" fmla="*/ 24 w 78"/>
                <a:gd name="T25" fmla="*/ 17 h 113"/>
                <a:gd name="T26" fmla="*/ 19 w 78"/>
                <a:gd name="T27" fmla="*/ 26 h 113"/>
                <a:gd name="T28" fmla="*/ 31 w 78"/>
                <a:gd name="T29" fmla="*/ 33 h 113"/>
                <a:gd name="T30" fmla="*/ 30 w 78"/>
                <a:gd name="T31" fmla="*/ 35 h 113"/>
                <a:gd name="T32" fmla="*/ 30 w 78"/>
                <a:gd name="T33" fmla="*/ 49 h 113"/>
                <a:gd name="T34" fmla="*/ 27 w 78"/>
                <a:gd name="T35" fmla="*/ 51 h 113"/>
                <a:gd name="T36" fmla="*/ 20 w 78"/>
                <a:gd name="T37" fmla="*/ 44 h 113"/>
                <a:gd name="T38" fmla="*/ 11 w 78"/>
                <a:gd name="T39" fmla="*/ 33 h 113"/>
                <a:gd name="T40" fmla="*/ 0 w 78"/>
                <a:gd name="T41" fmla="*/ 47 h 113"/>
                <a:gd name="T42" fmla="*/ 6 w 78"/>
                <a:gd name="T43" fmla="*/ 63 h 113"/>
                <a:gd name="T44" fmla="*/ 15 w 78"/>
                <a:gd name="T45" fmla="*/ 71 h 113"/>
                <a:gd name="T46" fmla="*/ 22 w 78"/>
                <a:gd name="T47" fmla="*/ 82 h 113"/>
                <a:gd name="T48" fmla="*/ 33 w 78"/>
                <a:gd name="T49" fmla="*/ 107 h 113"/>
                <a:gd name="T50" fmla="*/ 48 w 78"/>
                <a:gd name="T51" fmla="*/ 111 h 113"/>
                <a:gd name="T52" fmla="*/ 56 w 78"/>
                <a:gd name="T53" fmla="*/ 103 h 113"/>
                <a:gd name="T54" fmla="*/ 70 w 78"/>
                <a:gd name="T55" fmla="*/ 89 h 113"/>
                <a:gd name="T56" fmla="*/ 72 w 78"/>
                <a:gd name="T57" fmla="*/ 79 h 113"/>
                <a:gd name="T58" fmla="*/ 71 w 78"/>
                <a:gd name="T59" fmla="*/ 58 h 113"/>
                <a:gd name="T60" fmla="*/ 69 w 78"/>
                <a:gd name="T61" fmla="*/ 54 h 113"/>
                <a:gd name="T62" fmla="*/ 77 w 78"/>
                <a:gd name="T63" fmla="*/ 5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8" h="113">
                  <a:moveTo>
                    <a:pt x="77" y="42"/>
                  </a:moveTo>
                  <a:cubicBezTo>
                    <a:pt x="76" y="40"/>
                    <a:pt x="74" y="39"/>
                    <a:pt x="72" y="39"/>
                  </a:cubicBezTo>
                  <a:cubicBezTo>
                    <a:pt x="71" y="39"/>
                    <a:pt x="71" y="39"/>
                    <a:pt x="71" y="39"/>
                  </a:cubicBezTo>
                  <a:cubicBezTo>
                    <a:pt x="69" y="39"/>
                    <a:pt x="67" y="41"/>
                    <a:pt x="66" y="44"/>
                  </a:cubicBezTo>
                  <a:cubicBezTo>
                    <a:pt x="65" y="44"/>
                    <a:pt x="65" y="45"/>
                    <a:pt x="65" y="45"/>
                  </a:cubicBezTo>
                  <a:cubicBezTo>
                    <a:pt x="64" y="44"/>
                    <a:pt x="62" y="44"/>
                    <a:pt x="61" y="44"/>
                  </a:cubicBezTo>
                  <a:cubicBezTo>
                    <a:pt x="60" y="44"/>
                    <a:pt x="59" y="44"/>
                    <a:pt x="59" y="43"/>
                  </a:cubicBezTo>
                  <a:cubicBezTo>
                    <a:pt x="60" y="42"/>
                    <a:pt x="63" y="39"/>
                    <a:pt x="65" y="38"/>
                  </a:cubicBezTo>
                  <a:cubicBezTo>
                    <a:pt x="69" y="36"/>
                    <a:pt x="71" y="34"/>
                    <a:pt x="72" y="33"/>
                  </a:cubicBezTo>
                  <a:cubicBezTo>
                    <a:pt x="74" y="28"/>
                    <a:pt x="78" y="18"/>
                    <a:pt x="72" y="14"/>
                  </a:cubicBezTo>
                  <a:cubicBezTo>
                    <a:pt x="71" y="13"/>
                    <a:pt x="69" y="13"/>
                    <a:pt x="68" y="12"/>
                  </a:cubicBezTo>
                  <a:cubicBezTo>
                    <a:pt x="67" y="12"/>
                    <a:pt x="67" y="12"/>
                    <a:pt x="66" y="12"/>
                  </a:cubicBezTo>
                  <a:cubicBezTo>
                    <a:pt x="66" y="11"/>
                    <a:pt x="67" y="10"/>
                    <a:pt x="67" y="9"/>
                  </a:cubicBezTo>
                  <a:cubicBezTo>
                    <a:pt x="68" y="8"/>
                    <a:pt x="69" y="4"/>
                    <a:pt x="65" y="1"/>
                  </a:cubicBezTo>
                  <a:cubicBezTo>
                    <a:pt x="65" y="0"/>
                    <a:pt x="63" y="0"/>
                    <a:pt x="62" y="0"/>
                  </a:cubicBezTo>
                  <a:cubicBezTo>
                    <a:pt x="58" y="0"/>
                    <a:pt x="53" y="3"/>
                    <a:pt x="51" y="4"/>
                  </a:cubicBezTo>
                  <a:cubicBezTo>
                    <a:pt x="51" y="5"/>
                    <a:pt x="50" y="6"/>
                    <a:pt x="49" y="6"/>
                  </a:cubicBezTo>
                  <a:cubicBezTo>
                    <a:pt x="48" y="7"/>
                    <a:pt x="47" y="9"/>
                    <a:pt x="46" y="9"/>
                  </a:cubicBezTo>
                  <a:cubicBezTo>
                    <a:pt x="45" y="9"/>
                    <a:pt x="45" y="8"/>
                    <a:pt x="44" y="8"/>
                  </a:cubicBezTo>
                  <a:cubicBezTo>
                    <a:pt x="43" y="7"/>
                    <a:pt x="42" y="6"/>
                    <a:pt x="40" y="6"/>
                  </a:cubicBezTo>
                  <a:cubicBezTo>
                    <a:pt x="39" y="6"/>
                    <a:pt x="39" y="7"/>
                    <a:pt x="38" y="7"/>
                  </a:cubicBezTo>
                  <a:cubicBezTo>
                    <a:pt x="37" y="7"/>
                    <a:pt x="36" y="7"/>
                    <a:pt x="36" y="7"/>
                  </a:cubicBezTo>
                  <a:cubicBezTo>
                    <a:pt x="29" y="9"/>
                    <a:pt x="27" y="9"/>
                    <a:pt x="26" y="11"/>
                  </a:cubicBezTo>
                  <a:cubicBezTo>
                    <a:pt x="24" y="13"/>
                    <a:pt x="25" y="15"/>
                    <a:pt x="25" y="16"/>
                  </a:cubicBezTo>
                  <a:cubicBezTo>
                    <a:pt x="25" y="16"/>
                    <a:pt x="25" y="16"/>
                    <a:pt x="25" y="16"/>
                  </a:cubicBezTo>
                  <a:cubicBezTo>
                    <a:pt x="25" y="16"/>
                    <a:pt x="25" y="16"/>
                    <a:pt x="24" y="17"/>
                  </a:cubicBezTo>
                  <a:cubicBezTo>
                    <a:pt x="23" y="17"/>
                    <a:pt x="22" y="18"/>
                    <a:pt x="21" y="19"/>
                  </a:cubicBezTo>
                  <a:cubicBezTo>
                    <a:pt x="20" y="20"/>
                    <a:pt x="17" y="23"/>
                    <a:pt x="19" y="26"/>
                  </a:cubicBezTo>
                  <a:cubicBezTo>
                    <a:pt x="20" y="30"/>
                    <a:pt x="24" y="31"/>
                    <a:pt x="28" y="32"/>
                  </a:cubicBezTo>
                  <a:cubicBezTo>
                    <a:pt x="29" y="32"/>
                    <a:pt x="30" y="32"/>
                    <a:pt x="31" y="33"/>
                  </a:cubicBezTo>
                  <a:cubicBezTo>
                    <a:pt x="31" y="33"/>
                    <a:pt x="31" y="33"/>
                    <a:pt x="31" y="33"/>
                  </a:cubicBezTo>
                  <a:cubicBezTo>
                    <a:pt x="31" y="33"/>
                    <a:pt x="30" y="34"/>
                    <a:pt x="30" y="35"/>
                  </a:cubicBezTo>
                  <a:cubicBezTo>
                    <a:pt x="29" y="37"/>
                    <a:pt x="27" y="40"/>
                    <a:pt x="29" y="43"/>
                  </a:cubicBezTo>
                  <a:cubicBezTo>
                    <a:pt x="30" y="45"/>
                    <a:pt x="30" y="47"/>
                    <a:pt x="30" y="49"/>
                  </a:cubicBezTo>
                  <a:cubicBezTo>
                    <a:pt x="30" y="49"/>
                    <a:pt x="30" y="50"/>
                    <a:pt x="29" y="50"/>
                  </a:cubicBezTo>
                  <a:cubicBezTo>
                    <a:pt x="28" y="51"/>
                    <a:pt x="28" y="51"/>
                    <a:pt x="27" y="51"/>
                  </a:cubicBezTo>
                  <a:cubicBezTo>
                    <a:pt x="25" y="51"/>
                    <a:pt x="22" y="49"/>
                    <a:pt x="21" y="47"/>
                  </a:cubicBezTo>
                  <a:cubicBezTo>
                    <a:pt x="21" y="46"/>
                    <a:pt x="20" y="45"/>
                    <a:pt x="20" y="44"/>
                  </a:cubicBezTo>
                  <a:cubicBezTo>
                    <a:pt x="19" y="40"/>
                    <a:pt x="17" y="35"/>
                    <a:pt x="13" y="33"/>
                  </a:cubicBezTo>
                  <a:cubicBezTo>
                    <a:pt x="12" y="33"/>
                    <a:pt x="11" y="33"/>
                    <a:pt x="11" y="33"/>
                  </a:cubicBezTo>
                  <a:cubicBezTo>
                    <a:pt x="9" y="33"/>
                    <a:pt x="7" y="34"/>
                    <a:pt x="5" y="36"/>
                  </a:cubicBezTo>
                  <a:cubicBezTo>
                    <a:pt x="2" y="39"/>
                    <a:pt x="0" y="44"/>
                    <a:pt x="0" y="47"/>
                  </a:cubicBezTo>
                  <a:cubicBezTo>
                    <a:pt x="1" y="51"/>
                    <a:pt x="2" y="54"/>
                    <a:pt x="4" y="57"/>
                  </a:cubicBezTo>
                  <a:cubicBezTo>
                    <a:pt x="5" y="59"/>
                    <a:pt x="6" y="61"/>
                    <a:pt x="6" y="63"/>
                  </a:cubicBezTo>
                  <a:cubicBezTo>
                    <a:pt x="8" y="67"/>
                    <a:pt x="10" y="69"/>
                    <a:pt x="12" y="70"/>
                  </a:cubicBezTo>
                  <a:cubicBezTo>
                    <a:pt x="13" y="70"/>
                    <a:pt x="14" y="71"/>
                    <a:pt x="15" y="71"/>
                  </a:cubicBezTo>
                  <a:cubicBezTo>
                    <a:pt x="16" y="73"/>
                    <a:pt x="17" y="75"/>
                    <a:pt x="19" y="77"/>
                  </a:cubicBezTo>
                  <a:cubicBezTo>
                    <a:pt x="20" y="79"/>
                    <a:pt x="21" y="80"/>
                    <a:pt x="22" y="82"/>
                  </a:cubicBezTo>
                  <a:cubicBezTo>
                    <a:pt x="25" y="86"/>
                    <a:pt x="26" y="90"/>
                    <a:pt x="28" y="94"/>
                  </a:cubicBezTo>
                  <a:cubicBezTo>
                    <a:pt x="29" y="99"/>
                    <a:pt x="30" y="103"/>
                    <a:pt x="33" y="107"/>
                  </a:cubicBezTo>
                  <a:cubicBezTo>
                    <a:pt x="35" y="109"/>
                    <a:pt x="38" y="113"/>
                    <a:pt x="42" y="113"/>
                  </a:cubicBezTo>
                  <a:cubicBezTo>
                    <a:pt x="45" y="113"/>
                    <a:pt x="47" y="112"/>
                    <a:pt x="48" y="111"/>
                  </a:cubicBezTo>
                  <a:cubicBezTo>
                    <a:pt x="51" y="108"/>
                    <a:pt x="51" y="105"/>
                    <a:pt x="51" y="102"/>
                  </a:cubicBezTo>
                  <a:cubicBezTo>
                    <a:pt x="53" y="102"/>
                    <a:pt x="54" y="103"/>
                    <a:pt x="56" y="103"/>
                  </a:cubicBezTo>
                  <a:cubicBezTo>
                    <a:pt x="59" y="103"/>
                    <a:pt x="61" y="102"/>
                    <a:pt x="63" y="101"/>
                  </a:cubicBezTo>
                  <a:cubicBezTo>
                    <a:pt x="68" y="97"/>
                    <a:pt x="69" y="93"/>
                    <a:pt x="70" y="89"/>
                  </a:cubicBezTo>
                  <a:cubicBezTo>
                    <a:pt x="70" y="87"/>
                    <a:pt x="70" y="86"/>
                    <a:pt x="70" y="85"/>
                  </a:cubicBezTo>
                  <a:cubicBezTo>
                    <a:pt x="71" y="83"/>
                    <a:pt x="72" y="81"/>
                    <a:pt x="72" y="79"/>
                  </a:cubicBezTo>
                  <a:cubicBezTo>
                    <a:pt x="74" y="76"/>
                    <a:pt x="75" y="73"/>
                    <a:pt x="75" y="69"/>
                  </a:cubicBezTo>
                  <a:cubicBezTo>
                    <a:pt x="76" y="64"/>
                    <a:pt x="74" y="61"/>
                    <a:pt x="71" y="58"/>
                  </a:cubicBezTo>
                  <a:cubicBezTo>
                    <a:pt x="71" y="58"/>
                    <a:pt x="70" y="57"/>
                    <a:pt x="69" y="56"/>
                  </a:cubicBezTo>
                  <a:cubicBezTo>
                    <a:pt x="69" y="55"/>
                    <a:pt x="69" y="55"/>
                    <a:pt x="69" y="54"/>
                  </a:cubicBezTo>
                  <a:cubicBezTo>
                    <a:pt x="69" y="54"/>
                    <a:pt x="70" y="54"/>
                    <a:pt x="70" y="54"/>
                  </a:cubicBezTo>
                  <a:cubicBezTo>
                    <a:pt x="73" y="54"/>
                    <a:pt x="76" y="52"/>
                    <a:pt x="77" y="50"/>
                  </a:cubicBezTo>
                  <a:cubicBezTo>
                    <a:pt x="78" y="48"/>
                    <a:pt x="78" y="45"/>
                    <a:pt x="77" y="4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74" name="Freeform 7">
              <a:extLst>
                <a:ext uri="{FF2B5EF4-FFF2-40B4-BE49-F238E27FC236}">
                  <a16:creationId xmlns:a16="http://schemas.microsoft.com/office/drawing/2014/main" id="{B872BE05-972A-A64A-8BBE-0829C8A5E20F}"/>
                </a:ext>
              </a:extLst>
            </p:cNvPr>
            <p:cNvSpPr>
              <a:spLocks/>
            </p:cNvSpPr>
            <p:nvPr/>
          </p:nvSpPr>
          <p:spPr bwMode="auto">
            <a:xfrm>
              <a:off x="17344685" y="4809537"/>
              <a:ext cx="342642" cy="304251"/>
            </a:xfrm>
            <a:custGeom>
              <a:avLst/>
              <a:gdLst>
                <a:gd name="T0" fmla="*/ 63 w 63"/>
                <a:gd name="T1" fmla="*/ 46 h 61"/>
                <a:gd name="T2" fmla="*/ 58 w 63"/>
                <a:gd name="T3" fmla="*/ 40 h 61"/>
                <a:gd name="T4" fmla="*/ 55 w 63"/>
                <a:gd name="T5" fmla="*/ 37 h 61"/>
                <a:gd name="T6" fmla="*/ 53 w 63"/>
                <a:gd name="T7" fmla="*/ 30 h 61"/>
                <a:gd name="T8" fmla="*/ 50 w 63"/>
                <a:gd name="T9" fmla="*/ 19 h 61"/>
                <a:gd name="T10" fmla="*/ 44 w 63"/>
                <a:gd name="T11" fmla="*/ 13 h 61"/>
                <a:gd name="T12" fmla="*/ 37 w 63"/>
                <a:gd name="T13" fmla="*/ 6 h 61"/>
                <a:gd name="T14" fmla="*/ 29 w 63"/>
                <a:gd name="T15" fmla="*/ 0 h 61"/>
                <a:gd name="T16" fmla="*/ 20 w 63"/>
                <a:gd name="T17" fmla="*/ 6 h 61"/>
                <a:gd name="T18" fmla="*/ 17 w 63"/>
                <a:gd name="T19" fmla="*/ 16 h 61"/>
                <a:gd name="T20" fmla="*/ 14 w 63"/>
                <a:gd name="T21" fmla="*/ 24 h 61"/>
                <a:gd name="T22" fmla="*/ 10 w 63"/>
                <a:gd name="T23" fmla="*/ 25 h 61"/>
                <a:gd name="T24" fmla="*/ 1 w 63"/>
                <a:gd name="T25" fmla="*/ 31 h 61"/>
                <a:gd name="T26" fmla="*/ 1 w 63"/>
                <a:gd name="T27" fmla="*/ 37 h 61"/>
                <a:gd name="T28" fmla="*/ 12 w 63"/>
                <a:gd name="T29" fmla="*/ 42 h 61"/>
                <a:gd name="T30" fmla="*/ 15 w 63"/>
                <a:gd name="T31" fmla="*/ 43 h 61"/>
                <a:gd name="T32" fmla="*/ 21 w 63"/>
                <a:gd name="T33" fmla="*/ 48 h 61"/>
                <a:gd name="T34" fmla="*/ 26 w 63"/>
                <a:gd name="T35" fmla="*/ 54 h 61"/>
                <a:gd name="T36" fmla="*/ 43 w 63"/>
                <a:gd name="T37" fmla="*/ 61 h 61"/>
                <a:gd name="T38" fmla="*/ 43 w 63"/>
                <a:gd name="T39" fmla="*/ 61 h 61"/>
                <a:gd name="T40" fmla="*/ 61 w 63"/>
                <a:gd name="T41" fmla="*/ 51 h 61"/>
                <a:gd name="T42" fmla="*/ 63 w 63"/>
                <a:gd name="T43" fmla="*/ 4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3" h="61">
                  <a:moveTo>
                    <a:pt x="63" y="46"/>
                  </a:moveTo>
                  <a:cubicBezTo>
                    <a:pt x="63" y="43"/>
                    <a:pt x="60" y="41"/>
                    <a:pt x="58" y="40"/>
                  </a:cubicBezTo>
                  <a:cubicBezTo>
                    <a:pt x="57" y="39"/>
                    <a:pt x="56" y="38"/>
                    <a:pt x="55" y="37"/>
                  </a:cubicBezTo>
                  <a:cubicBezTo>
                    <a:pt x="54" y="35"/>
                    <a:pt x="53" y="33"/>
                    <a:pt x="53" y="30"/>
                  </a:cubicBezTo>
                  <a:cubicBezTo>
                    <a:pt x="53" y="26"/>
                    <a:pt x="53" y="22"/>
                    <a:pt x="50" y="19"/>
                  </a:cubicBezTo>
                  <a:cubicBezTo>
                    <a:pt x="48" y="16"/>
                    <a:pt x="46" y="14"/>
                    <a:pt x="44" y="13"/>
                  </a:cubicBezTo>
                  <a:cubicBezTo>
                    <a:pt x="41" y="11"/>
                    <a:pt x="39" y="9"/>
                    <a:pt x="37" y="6"/>
                  </a:cubicBezTo>
                  <a:cubicBezTo>
                    <a:pt x="35" y="2"/>
                    <a:pt x="32" y="0"/>
                    <a:pt x="29" y="0"/>
                  </a:cubicBezTo>
                  <a:cubicBezTo>
                    <a:pt x="26" y="0"/>
                    <a:pt x="23" y="2"/>
                    <a:pt x="20" y="6"/>
                  </a:cubicBezTo>
                  <a:cubicBezTo>
                    <a:pt x="18" y="9"/>
                    <a:pt x="18" y="13"/>
                    <a:pt x="17" y="16"/>
                  </a:cubicBezTo>
                  <a:cubicBezTo>
                    <a:pt x="17" y="19"/>
                    <a:pt x="16" y="23"/>
                    <a:pt x="14" y="24"/>
                  </a:cubicBezTo>
                  <a:cubicBezTo>
                    <a:pt x="13" y="25"/>
                    <a:pt x="12" y="25"/>
                    <a:pt x="10" y="25"/>
                  </a:cubicBezTo>
                  <a:cubicBezTo>
                    <a:pt x="7" y="26"/>
                    <a:pt x="3" y="27"/>
                    <a:pt x="1" y="31"/>
                  </a:cubicBezTo>
                  <a:cubicBezTo>
                    <a:pt x="0" y="34"/>
                    <a:pt x="1" y="36"/>
                    <a:pt x="1" y="37"/>
                  </a:cubicBezTo>
                  <a:cubicBezTo>
                    <a:pt x="3" y="41"/>
                    <a:pt x="8" y="41"/>
                    <a:pt x="12" y="42"/>
                  </a:cubicBezTo>
                  <a:cubicBezTo>
                    <a:pt x="13" y="42"/>
                    <a:pt x="14" y="42"/>
                    <a:pt x="15" y="43"/>
                  </a:cubicBezTo>
                  <a:cubicBezTo>
                    <a:pt x="18" y="43"/>
                    <a:pt x="19" y="46"/>
                    <a:pt x="21" y="48"/>
                  </a:cubicBezTo>
                  <a:cubicBezTo>
                    <a:pt x="22" y="50"/>
                    <a:pt x="24" y="52"/>
                    <a:pt x="26" y="54"/>
                  </a:cubicBezTo>
                  <a:cubicBezTo>
                    <a:pt x="27" y="54"/>
                    <a:pt x="37" y="61"/>
                    <a:pt x="43" y="61"/>
                  </a:cubicBezTo>
                  <a:cubicBezTo>
                    <a:pt x="43" y="61"/>
                    <a:pt x="43" y="61"/>
                    <a:pt x="43" y="61"/>
                  </a:cubicBezTo>
                  <a:cubicBezTo>
                    <a:pt x="48" y="61"/>
                    <a:pt x="59" y="53"/>
                    <a:pt x="61" y="51"/>
                  </a:cubicBezTo>
                  <a:cubicBezTo>
                    <a:pt x="63" y="49"/>
                    <a:pt x="63" y="47"/>
                    <a:pt x="63" y="4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75" name="Freeform 9">
              <a:extLst>
                <a:ext uri="{FF2B5EF4-FFF2-40B4-BE49-F238E27FC236}">
                  <a16:creationId xmlns:a16="http://schemas.microsoft.com/office/drawing/2014/main" id="{465E4561-3412-E64A-BA62-A0038EEF2360}"/>
                </a:ext>
              </a:extLst>
            </p:cNvPr>
            <p:cNvSpPr>
              <a:spLocks/>
            </p:cNvSpPr>
            <p:nvPr/>
          </p:nvSpPr>
          <p:spPr bwMode="auto">
            <a:xfrm>
              <a:off x="16162878" y="3907984"/>
              <a:ext cx="681181" cy="713030"/>
            </a:xfrm>
            <a:custGeom>
              <a:avLst/>
              <a:gdLst>
                <a:gd name="T0" fmla="*/ 110 w 125"/>
                <a:gd name="T1" fmla="*/ 51 h 144"/>
                <a:gd name="T2" fmla="*/ 108 w 125"/>
                <a:gd name="T3" fmla="*/ 50 h 144"/>
                <a:gd name="T4" fmla="*/ 111 w 125"/>
                <a:gd name="T5" fmla="*/ 35 h 144"/>
                <a:gd name="T6" fmla="*/ 96 w 125"/>
                <a:gd name="T7" fmla="*/ 19 h 144"/>
                <a:gd name="T8" fmla="*/ 85 w 125"/>
                <a:gd name="T9" fmla="*/ 26 h 144"/>
                <a:gd name="T10" fmla="*/ 80 w 125"/>
                <a:gd name="T11" fmla="*/ 30 h 144"/>
                <a:gd name="T12" fmla="*/ 81 w 125"/>
                <a:gd name="T13" fmla="*/ 27 h 144"/>
                <a:gd name="T14" fmla="*/ 89 w 125"/>
                <a:gd name="T15" fmla="*/ 18 h 144"/>
                <a:gd name="T16" fmla="*/ 92 w 125"/>
                <a:gd name="T17" fmla="*/ 4 h 144"/>
                <a:gd name="T18" fmla="*/ 85 w 125"/>
                <a:gd name="T19" fmla="*/ 0 h 144"/>
                <a:gd name="T20" fmla="*/ 75 w 125"/>
                <a:gd name="T21" fmla="*/ 1 h 144"/>
                <a:gd name="T22" fmla="*/ 61 w 125"/>
                <a:gd name="T23" fmla="*/ 2 h 144"/>
                <a:gd name="T24" fmla="*/ 54 w 125"/>
                <a:gd name="T25" fmla="*/ 3 h 144"/>
                <a:gd name="T26" fmla="*/ 36 w 125"/>
                <a:gd name="T27" fmla="*/ 9 h 144"/>
                <a:gd name="T28" fmla="*/ 26 w 125"/>
                <a:gd name="T29" fmla="*/ 18 h 144"/>
                <a:gd name="T30" fmla="*/ 27 w 125"/>
                <a:gd name="T31" fmla="*/ 23 h 144"/>
                <a:gd name="T32" fmla="*/ 14 w 125"/>
                <a:gd name="T33" fmla="*/ 29 h 144"/>
                <a:gd name="T34" fmla="*/ 8 w 125"/>
                <a:gd name="T35" fmla="*/ 38 h 144"/>
                <a:gd name="T36" fmla="*/ 19 w 125"/>
                <a:gd name="T37" fmla="*/ 47 h 144"/>
                <a:gd name="T38" fmla="*/ 21 w 125"/>
                <a:gd name="T39" fmla="*/ 48 h 144"/>
                <a:gd name="T40" fmla="*/ 12 w 125"/>
                <a:gd name="T41" fmla="*/ 52 h 144"/>
                <a:gd name="T42" fmla="*/ 17 w 125"/>
                <a:gd name="T43" fmla="*/ 61 h 144"/>
                <a:gd name="T44" fmla="*/ 24 w 125"/>
                <a:gd name="T45" fmla="*/ 61 h 144"/>
                <a:gd name="T46" fmla="*/ 28 w 125"/>
                <a:gd name="T47" fmla="*/ 61 h 144"/>
                <a:gd name="T48" fmla="*/ 37 w 125"/>
                <a:gd name="T49" fmla="*/ 63 h 144"/>
                <a:gd name="T50" fmla="*/ 39 w 125"/>
                <a:gd name="T51" fmla="*/ 63 h 144"/>
                <a:gd name="T52" fmla="*/ 43 w 125"/>
                <a:gd name="T53" fmla="*/ 63 h 144"/>
                <a:gd name="T54" fmla="*/ 34 w 125"/>
                <a:gd name="T55" fmla="*/ 64 h 144"/>
                <a:gd name="T56" fmla="*/ 17 w 125"/>
                <a:gd name="T57" fmla="*/ 63 h 144"/>
                <a:gd name="T58" fmla="*/ 3 w 125"/>
                <a:gd name="T59" fmla="*/ 72 h 144"/>
                <a:gd name="T60" fmla="*/ 18 w 125"/>
                <a:gd name="T61" fmla="*/ 93 h 144"/>
                <a:gd name="T62" fmla="*/ 38 w 125"/>
                <a:gd name="T63" fmla="*/ 102 h 144"/>
                <a:gd name="T64" fmla="*/ 50 w 125"/>
                <a:gd name="T65" fmla="*/ 105 h 144"/>
                <a:gd name="T66" fmla="*/ 60 w 125"/>
                <a:gd name="T67" fmla="*/ 110 h 144"/>
                <a:gd name="T68" fmla="*/ 66 w 125"/>
                <a:gd name="T69" fmla="*/ 115 h 144"/>
                <a:gd name="T70" fmla="*/ 67 w 125"/>
                <a:gd name="T71" fmla="*/ 123 h 144"/>
                <a:gd name="T72" fmla="*/ 54 w 125"/>
                <a:gd name="T73" fmla="*/ 116 h 144"/>
                <a:gd name="T74" fmla="*/ 19 w 125"/>
                <a:gd name="T75" fmla="*/ 105 h 144"/>
                <a:gd name="T76" fmla="*/ 14 w 125"/>
                <a:gd name="T77" fmla="*/ 104 h 144"/>
                <a:gd name="T78" fmla="*/ 0 w 125"/>
                <a:gd name="T79" fmla="*/ 107 h 144"/>
                <a:gd name="T80" fmla="*/ 125 w 125"/>
                <a:gd name="T81" fmla="*/ 4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5" h="144">
                  <a:moveTo>
                    <a:pt x="117" y="48"/>
                  </a:moveTo>
                  <a:cubicBezTo>
                    <a:pt x="115" y="50"/>
                    <a:pt x="112" y="51"/>
                    <a:pt x="110" y="51"/>
                  </a:cubicBezTo>
                  <a:cubicBezTo>
                    <a:pt x="109" y="51"/>
                    <a:pt x="109" y="51"/>
                    <a:pt x="108" y="51"/>
                  </a:cubicBezTo>
                  <a:cubicBezTo>
                    <a:pt x="108" y="50"/>
                    <a:pt x="108" y="50"/>
                    <a:pt x="108" y="50"/>
                  </a:cubicBezTo>
                  <a:cubicBezTo>
                    <a:pt x="108" y="50"/>
                    <a:pt x="109" y="48"/>
                    <a:pt x="109" y="47"/>
                  </a:cubicBezTo>
                  <a:cubicBezTo>
                    <a:pt x="111" y="44"/>
                    <a:pt x="114" y="40"/>
                    <a:pt x="111" y="35"/>
                  </a:cubicBezTo>
                  <a:cubicBezTo>
                    <a:pt x="110" y="34"/>
                    <a:pt x="110" y="33"/>
                    <a:pt x="109" y="31"/>
                  </a:cubicBezTo>
                  <a:cubicBezTo>
                    <a:pt x="106" y="26"/>
                    <a:pt x="103" y="19"/>
                    <a:pt x="96" y="19"/>
                  </a:cubicBezTo>
                  <a:cubicBezTo>
                    <a:pt x="95" y="19"/>
                    <a:pt x="95" y="19"/>
                    <a:pt x="95" y="19"/>
                  </a:cubicBezTo>
                  <a:cubicBezTo>
                    <a:pt x="90" y="20"/>
                    <a:pt x="87" y="23"/>
                    <a:pt x="85" y="26"/>
                  </a:cubicBezTo>
                  <a:cubicBezTo>
                    <a:pt x="83" y="30"/>
                    <a:pt x="83" y="30"/>
                    <a:pt x="80" y="30"/>
                  </a:cubicBezTo>
                  <a:cubicBezTo>
                    <a:pt x="80" y="30"/>
                    <a:pt x="80" y="30"/>
                    <a:pt x="80" y="30"/>
                  </a:cubicBezTo>
                  <a:cubicBezTo>
                    <a:pt x="79" y="30"/>
                    <a:pt x="79" y="30"/>
                    <a:pt x="78" y="30"/>
                  </a:cubicBezTo>
                  <a:cubicBezTo>
                    <a:pt x="79" y="29"/>
                    <a:pt x="80" y="28"/>
                    <a:pt x="81" y="27"/>
                  </a:cubicBezTo>
                  <a:cubicBezTo>
                    <a:pt x="82" y="27"/>
                    <a:pt x="82" y="27"/>
                    <a:pt x="83" y="26"/>
                  </a:cubicBezTo>
                  <a:cubicBezTo>
                    <a:pt x="86" y="24"/>
                    <a:pt x="88" y="21"/>
                    <a:pt x="89" y="18"/>
                  </a:cubicBezTo>
                  <a:cubicBezTo>
                    <a:pt x="90" y="17"/>
                    <a:pt x="91" y="16"/>
                    <a:pt x="92" y="14"/>
                  </a:cubicBezTo>
                  <a:cubicBezTo>
                    <a:pt x="94" y="12"/>
                    <a:pt x="94" y="8"/>
                    <a:pt x="92" y="4"/>
                  </a:cubicBezTo>
                  <a:cubicBezTo>
                    <a:pt x="91" y="2"/>
                    <a:pt x="89" y="0"/>
                    <a:pt x="87" y="0"/>
                  </a:cubicBezTo>
                  <a:cubicBezTo>
                    <a:pt x="86" y="0"/>
                    <a:pt x="85" y="0"/>
                    <a:pt x="85" y="0"/>
                  </a:cubicBezTo>
                  <a:cubicBezTo>
                    <a:pt x="83" y="0"/>
                    <a:pt x="81" y="0"/>
                    <a:pt x="79" y="0"/>
                  </a:cubicBezTo>
                  <a:cubicBezTo>
                    <a:pt x="77" y="1"/>
                    <a:pt x="76" y="1"/>
                    <a:pt x="75" y="1"/>
                  </a:cubicBezTo>
                  <a:cubicBezTo>
                    <a:pt x="71" y="1"/>
                    <a:pt x="67" y="2"/>
                    <a:pt x="63" y="2"/>
                  </a:cubicBezTo>
                  <a:cubicBezTo>
                    <a:pt x="61" y="2"/>
                    <a:pt x="61" y="2"/>
                    <a:pt x="61" y="2"/>
                  </a:cubicBezTo>
                  <a:cubicBezTo>
                    <a:pt x="60" y="2"/>
                    <a:pt x="60" y="2"/>
                    <a:pt x="59" y="2"/>
                  </a:cubicBezTo>
                  <a:cubicBezTo>
                    <a:pt x="57" y="3"/>
                    <a:pt x="56" y="3"/>
                    <a:pt x="54" y="3"/>
                  </a:cubicBezTo>
                  <a:cubicBezTo>
                    <a:pt x="49" y="4"/>
                    <a:pt x="44" y="6"/>
                    <a:pt x="40" y="8"/>
                  </a:cubicBezTo>
                  <a:cubicBezTo>
                    <a:pt x="39" y="8"/>
                    <a:pt x="37" y="9"/>
                    <a:pt x="36" y="9"/>
                  </a:cubicBezTo>
                  <a:cubicBezTo>
                    <a:pt x="35" y="9"/>
                    <a:pt x="35" y="9"/>
                    <a:pt x="35" y="9"/>
                  </a:cubicBezTo>
                  <a:cubicBezTo>
                    <a:pt x="32" y="11"/>
                    <a:pt x="26" y="13"/>
                    <a:pt x="26" y="18"/>
                  </a:cubicBezTo>
                  <a:cubicBezTo>
                    <a:pt x="26" y="20"/>
                    <a:pt x="26" y="21"/>
                    <a:pt x="27" y="22"/>
                  </a:cubicBezTo>
                  <a:cubicBezTo>
                    <a:pt x="27" y="22"/>
                    <a:pt x="27" y="22"/>
                    <a:pt x="27" y="23"/>
                  </a:cubicBezTo>
                  <a:cubicBezTo>
                    <a:pt x="26" y="24"/>
                    <a:pt x="26" y="24"/>
                    <a:pt x="24" y="24"/>
                  </a:cubicBezTo>
                  <a:cubicBezTo>
                    <a:pt x="19" y="25"/>
                    <a:pt x="17" y="27"/>
                    <a:pt x="14" y="29"/>
                  </a:cubicBezTo>
                  <a:cubicBezTo>
                    <a:pt x="14" y="29"/>
                    <a:pt x="14" y="29"/>
                    <a:pt x="14" y="29"/>
                  </a:cubicBezTo>
                  <a:cubicBezTo>
                    <a:pt x="11" y="31"/>
                    <a:pt x="9" y="34"/>
                    <a:pt x="8" y="38"/>
                  </a:cubicBezTo>
                  <a:cubicBezTo>
                    <a:pt x="7" y="45"/>
                    <a:pt x="14" y="46"/>
                    <a:pt x="17" y="47"/>
                  </a:cubicBezTo>
                  <a:cubicBezTo>
                    <a:pt x="18" y="47"/>
                    <a:pt x="18" y="47"/>
                    <a:pt x="19" y="47"/>
                  </a:cubicBezTo>
                  <a:cubicBezTo>
                    <a:pt x="20" y="47"/>
                    <a:pt x="21" y="48"/>
                    <a:pt x="21" y="48"/>
                  </a:cubicBezTo>
                  <a:cubicBezTo>
                    <a:pt x="21" y="48"/>
                    <a:pt x="21" y="48"/>
                    <a:pt x="21" y="48"/>
                  </a:cubicBezTo>
                  <a:cubicBezTo>
                    <a:pt x="20" y="48"/>
                    <a:pt x="19" y="48"/>
                    <a:pt x="18" y="48"/>
                  </a:cubicBezTo>
                  <a:cubicBezTo>
                    <a:pt x="17" y="48"/>
                    <a:pt x="13" y="48"/>
                    <a:pt x="12" y="52"/>
                  </a:cubicBezTo>
                  <a:cubicBezTo>
                    <a:pt x="11" y="53"/>
                    <a:pt x="11" y="55"/>
                    <a:pt x="12" y="57"/>
                  </a:cubicBezTo>
                  <a:cubicBezTo>
                    <a:pt x="13" y="59"/>
                    <a:pt x="15" y="61"/>
                    <a:pt x="17" y="61"/>
                  </a:cubicBezTo>
                  <a:cubicBezTo>
                    <a:pt x="18" y="61"/>
                    <a:pt x="19" y="62"/>
                    <a:pt x="21" y="62"/>
                  </a:cubicBezTo>
                  <a:cubicBezTo>
                    <a:pt x="22" y="62"/>
                    <a:pt x="23" y="61"/>
                    <a:pt x="24" y="61"/>
                  </a:cubicBezTo>
                  <a:cubicBezTo>
                    <a:pt x="26" y="61"/>
                    <a:pt x="27" y="61"/>
                    <a:pt x="28" y="61"/>
                  </a:cubicBezTo>
                  <a:cubicBezTo>
                    <a:pt x="28" y="61"/>
                    <a:pt x="28" y="61"/>
                    <a:pt x="28" y="61"/>
                  </a:cubicBezTo>
                  <a:cubicBezTo>
                    <a:pt x="29" y="61"/>
                    <a:pt x="30" y="61"/>
                    <a:pt x="31" y="62"/>
                  </a:cubicBezTo>
                  <a:cubicBezTo>
                    <a:pt x="33" y="62"/>
                    <a:pt x="35" y="63"/>
                    <a:pt x="37" y="63"/>
                  </a:cubicBezTo>
                  <a:cubicBezTo>
                    <a:pt x="37" y="63"/>
                    <a:pt x="37" y="63"/>
                    <a:pt x="37" y="63"/>
                  </a:cubicBezTo>
                  <a:cubicBezTo>
                    <a:pt x="38" y="63"/>
                    <a:pt x="38" y="63"/>
                    <a:pt x="39" y="63"/>
                  </a:cubicBezTo>
                  <a:cubicBezTo>
                    <a:pt x="40" y="63"/>
                    <a:pt x="40" y="63"/>
                    <a:pt x="41" y="63"/>
                  </a:cubicBezTo>
                  <a:cubicBezTo>
                    <a:pt x="42" y="63"/>
                    <a:pt x="42" y="63"/>
                    <a:pt x="43" y="63"/>
                  </a:cubicBezTo>
                  <a:cubicBezTo>
                    <a:pt x="41" y="63"/>
                    <a:pt x="38" y="64"/>
                    <a:pt x="35" y="64"/>
                  </a:cubicBezTo>
                  <a:cubicBezTo>
                    <a:pt x="34" y="64"/>
                    <a:pt x="34" y="64"/>
                    <a:pt x="34" y="64"/>
                  </a:cubicBezTo>
                  <a:cubicBezTo>
                    <a:pt x="32" y="64"/>
                    <a:pt x="29" y="64"/>
                    <a:pt x="26" y="63"/>
                  </a:cubicBezTo>
                  <a:cubicBezTo>
                    <a:pt x="23" y="63"/>
                    <a:pt x="20" y="63"/>
                    <a:pt x="17" y="63"/>
                  </a:cubicBezTo>
                  <a:cubicBezTo>
                    <a:pt x="15" y="63"/>
                    <a:pt x="13" y="63"/>
                    <a:pt x="11" y="63"/>
                  </a:cubicBezTo>
                  <a:cubicBezTo>
                    <a:pt x="7" y="64"/>
                    <a:pt x="4" y="68"/>
                    <a:pt x="3" y="72"/>
                  </a:cubicBezTo>
                  <a:cubicBezTo>
                    <a:pt x="1" y="77"/>
                    <a:pt x="4" y="81"/>
                    <a:pt x="6" y="84"/>
                  </a:cubicBezTo>
                  <a:cubicBezTo>
                    <a:pt x="10" y="89"/>
                    <a:pt x="12" y="91"/>
                    <a:pt x="18" y="93"/>
                  </a:cubicBezTo>
                  <a:cubicBezTo>
                    <a:pt x="22" y="94"/>
                    <a:pt x="25" y="96"/>
                    <a:pt x="30" y="99"/>
                  </a:cubicBezTo>
                  <a:cubicBezTo>
                    <a:pt x="32" y="101"/>
                    <a:pt x="35" y="101"/>
                    <a:pt x="38" y="102"/>
                  </a:cubicBezTo>
                  <a:cubicBezTo>
                    <a:pt x="40" y="102"/>
                    <a:pt x="41" y="103"/>
                    <a:pt x="43" y="103"/>
                  </a:cubicBezTo>
                  <a:cubicBezTo>
                    <a:pt x="45" y="104"/>
                    <a:pt x="48" y="104"/>
                    <a:pt x="50" y="105"/>
                  </a:cubicBezTo>
                  <a:cubicBezTo>
                    <a:pt x="52" y="105"/>
                    <a:pt x="54" y="105"/>
                    <a:pt x="56" y="106"/>
                  </a:cubicBezTo>
                  <a:cubicBezTo>
                    <a:pt x="57" y="106"/>
                    <a:pt x="59" y="108"/>
                    <a:pt x="60" y="110"/>
                  </a:cubicBezTo>
                  <a:cubicBezTo>
                    <a:pt x="61" y="111"/>
                    <a:pt x="62" y="112"/>
                    <a:pt x="63" y="112"/>
                  </a:cubicBezTo>
                  <a:cubicBezTo>
                    <a:pt x="64" y="113"/>
                    <a:pt x="65" y="114"/>
                    <a:pt x="66" y="115"/>
                  </a:cubicBezTo>
                  <a:cubicBezTo>
                    <a:pt x="69" y="117"/>
                    <a:pt x="71" y="119"/>
                    <a:pt x="71" y="120"/>
                  </a:cubicBezTo>
                  <a:cubicBezTo>
                    <a:pt x="70" y="122"/>
                    <a:pt x="70" y="123"/>
                    <a:pt x="67" y="123"/>
                  </a:cubicBezTo>
                  <a:cubicBezTo>
                    <a:pt x="66" y="123"/>
                    <a:pt x="66" y="123"/>
                    <a:pt x="65" y="123"/>
                  </a:cubicBezTo>
                  <a:cubicBezTo>
                    <a:pt x="61" y="122"/>
                    <a:pt x="57" y="119"/>
                    <a:pt x="54" y="116"/>
                  </a:cubicBezTo>
                  <a:cubicBezTo>
                    <a:pt x="51" y="115"/>
                    <a:pt x="49" y="113"/>
                    <a:pt x="46" y="111"/>
                  </a:cubicBezTo>
                  <a:cubicBezTo>
                    <a:pt x="38" y="107"/>
                    <a:pt x="28" y="106"/>
                    <a:pt x="19" y="105"/>
                  </a:cubicBezTo>
                  <a:cubicBezTo>
                    <a:pt x="16" y="104"/>
                    <a:pt x="16" y="104"/>
                    <a:pt x="16" y="104"/>
                  </a:cubicBezTo>
                  <a:cubicBezTo>
                    <a:pt x="15" y="104"/>
                    <a:pt x="15" y="104"/>
                    <a:pt x="14" y="104"/>
                  </a:cubicBezTo>
                  <a:cubicBezTo>
                    <a:pt x="12" y="104"/>
                    <a:pt x="11" y="104"/>
                    <a:pt x="9" y="105"/>
                  </a:cubicBezTo>
                  <a:cubicBezTo>
                    <a:pt x="0" y="107"/>
                    <a:pt x="0" y="107"/>
                    <a:pt x="0" y="107"/>
                  </a:cubicBezTo>
                  <a:cubicBezTo>
                    <a:pt x="91" y="144"/>
                    <a:pt x="91" y="144"/>
                    <a:pt x="91" y="144"/>
                  </a:cubicBezTo>
                  <a:cubicBezTo>
                    <a:pt x="125" y="42"/>
                    <a:pt x="125" y="42"/>
                    <a:pt x="125" y="42"/>
                  </a:cubicBezTo>
                  <a:lnTo>
                    <a:pt x="117" y="48"/>
                  </a:ln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76" name="Freeform 10">
              <a:extLst>
                <a:ext uri="{FF2B5EF4-FFF2-40B4-BE49-F238E27FC236}">
                  <a16:creationId xmlns:a16="http://schemas.microsoft.com/office/drawing/2014/main" id="{F422CDF2-D56F-BA42-9FE1-9042634C8A82}"/>
                </a:ext>
              </a:extLst>
            </p:cNvPr>
            <p:cNvSpPr>
              <a:spLocks/>
            </p:cNvSpPr>
            <p:nvPr/>
          </p:nvSpPr>
          <p:spPr bwMode="auto">
            <a:xfrm>
              <a:off x="16979474" y="3372278"/>
              <a:ext cx="322125" cy="395713"/>
            </a:xfrm>
            <a:custGeom>
              <a:avLst/>
              <a:gdLst>
                <a:gd name="T0" fmla="*/ 57 w 59"/>
                <a:gd name="T1" fmla="*/ 41 h 80"/>
                <a:gd name="T2" fmla="*/ 46 w 59"/>
                <a:gd name="T3" fmla="*/ 34 h 80"/>
                <a:gd name="T4" fmla="*/ 40 w 59"/>
                <a:gd name="T5" fmla="*/ 38 h 80"/>
                <a:gd name="T6" fmla="*/ 40 w 59"/>
                <a:gd name="T7" fmla="*/ 39 h 80"/>
                <a:gd name="T8" fmla="*/ 40 w 59"/>
                <a:gd name="T9" fmla="*/ 38 h 80"/>
                <a:gd name="T10" fmla="*/ 39 w 59"/>
                <a:gd name="T11" fmla="*/ 37 h 80"/>
                <a:gd name="T12" fmla="*/ 39 w 59"/>
                <a:gd name="T13" fmla="*/ 34 h 80"/>
                <a:gd name="T14" fmla="*/ 38 w 59"/>
                <a:gd name="T15" fmla="*/ 32 h 80"/>
                <a:gd name="T16" fmla="*/ 36 w 59"/>
                <a:gd name="T17" fmla="*/ 32 h 80"/>
                <a:gd name="T18" fmla="*/ 35 w 59"/>
                <a:gd name="T19" fmla="*/ 32 h 80"/>
                <a:gd name="T20" fmla="*/ 36 w 59"/>
                <a:gd name="T21" fmla="*/ 31 h 80"/>
                <a:gd name="T22" fmla="*/ 38 w 59"/>
                <a:gd name="T23" fmla="*/ 26 h 80"/>
                <a:gd name="T24" fmla="*/ 36 w 59"/>
                <a:gd name="T25" fmla="*/ 20 h 80"/>
                <a:gd name="T26" fmla="*/ 36 w 59"/>
                <a:gd name="T27" fmla="*/ 19 h 80"/>
                <a:gd name="T28" fmla="*/ 35 w 59"/>
                <a:gd name="T29" fmla="*/ 13 h 80"/>
                <a:gd name="T30" fmla="*/ 37 w 59"/>
                <a:gd name="T31" fmla="*/ 12 h 80"/>
                <a:gd name="T32" fmla="*/ 40 w 59"/>
                <a:gd name="T33" fmla="*/ 8 h 80"/>
                <a:gd name="T34" fmla="*/ 39 w 59"/>
                <a:gd name="T35" fmla="*/ 2 h 80"/>
                <a:gd name="T36" fmla="*/ 34 w 59"/>
                <a:gd name="T37" fmla="*/ 0 h 80"/>
                <a:gd name="T38" fmla="*/ 27 w 59"/>
                <a:gd name="T39" fmla="*/ 2 h 80"/>
                <a:gd name="T40" fmla="*/ 22 w 59"/>
                <a:gd name="T41" fmla="*/ 6 h 80"/>
                <a:gd name="T42" fmla="*/ 18 w 59"/>
                <a:gd name="T43" fmla="*/ 10 h 80"/>
                <a:gd name="T44" fmla="*/ 13 w 59"/>
                <a:gd name="T45" fmla="*/ 17 h 80"/>
                <a:gd name="T46" fmla="*/ 17 w 59"/>
                <a:gd name="T47" fmla="*/ 26 h 80"/>
                <a:gd name="T48" fmla="*/ 18 w 59"/>
                <a:gd name="T49" fmla="*/ 27 h 80"/>
                <a:gd name="T50" fmla="*/ 17 w 59"/>
                <a:gd name="T51" fmla="*/ 28 h 80"/>
                <a:gd name="T52" fmla="*/ 15 w 59"/>
                <a:gd name="T53" fmla="*/ 33 h 80"/>
                <a:gd name="T54" fmla="*/ 18 w 59"/>
                <a:gd name="T55" fmla="*/ 42 h 80"/>
                <a:gd name="T56" fmla="*/ 20 w 59"/>
                <a:gd name="T57" fmla="*/ 46 h 80"/>
                <a:gd name="T58" fmla="*/ 16 w 59"/>
                <a:gd name="T59" fmla="*/ 48 h 80"/>
                <a:gd name="T60" fmla="*/ 12 w 59"/>
                <a:gd name="T61" fmla="*/ 47 h 80"/>
                <a:gd name="T62" fmla="*/ 9 w 59"/>
                <a:gd name="T63" fmla="*/ 46 h 80"/>
                <a:gd name="T64" fmla="*/ 0 w 59"/>
                <a:gd name="T65" fmla="*/ 76 h 80"/>
                <a:gd name="T66" fmla="*/ 5 w 59"/>
                <a:gd name="T67" fmla="*/ 75 h 80"/>
                <a:gd name="T68" fmla="*/ 10 w 59"/>
                <a:gd name="T69" fmla="*/ 74 h 80"/>
                <a:gd name="T70" fmla="*/ 14 w 59"/>
                <a:gd name="T71" fmla="*/ 74 h 80"/>
                <a:gd name="T72" fmla="*/ 15 w 59"/>
                <a:gd name="T73" fmla="*/ 74 h 80"/>
                <a:gd name="T74" fmla="*/ 17 w 59"/>
                <a:gd name="T75" fmla="*/ 75 h 80"/>
                <a:gd name="T76" fmla="*/ 20 w 59"/>
                <a:gd name="T77" fmla="*/ 77 h 80"/>
                <a:gd name="T78" fmla="*/ 26 w 59"/>
                <a:gd name="T79" fmla="*/ 78 h 80"/>
                <a:gd name="T80" fmla="*/ 28 w 59"/>
                <a:gd name="T81" fmla="*/ 78 h 80"/>
                <a:gd name="T82" fmla="*/ 36 w 59"/>
                <a:gd name="T83" fmla="*/ 80 h 80"/>
                <a:gd name="T84" fmla="*/ 36 w 59"/>
                <a:gd name="T85" fmla="*/ 80 h 80"/>
                <a:gd name="T86" fmla="*/ 48 w 59"/>
                <a:gd name="T87" fmla="*/ 74 h 80"/>
                <a:gd name="T88" fmla="*/ 56 w 59"/>
                <a:gd name="T89" fmla="*/ 57 h 80"/>
                <a:gd name="T90" fmla="*/ 57 w 59"/>
                <a:gd name="T91" fmla="*/ 4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9" h="80">
                  <a:moveTo>
                    <a:pt x="57" y="41"/>
                  </a:moveTo>
                  <a:cubicBezTo>
                    <a:pt x="55" y="37"/>
                    <a:pt x="50" y="34"/>
                    <a:pt x="46" y="34"/>
                  </a:cubicBezTo>
                  <a:cubicBezTo>
                    <a:pt x="43" y="34"/>
                    <a:pt x="41" y="36"/>
                    <a:pt x="40" y="38"/>
                  </a:cubicBezTo>
                  <a:cubicBezTo>
                    <a:pt x="40" y="38"/>
                    <a:pt x="40" y="39"/>
                    <a:pt x="40" y="39"/>
                  </a:cubicBezTo>
                  <a:cubicBezTo>
                    <a:pt x="40" y="38"/>
                    <a:pt x="40" y="38"/>
                    <a:pt x="40" y="38"/>
                  </a:cubicBezTo>
                  <a:cubicBezTo>
                    <a:pt x="39" y="37"/>
                    <a:pt x="39" y="37"/>
                    <a:pt x="39" y="37"/>
                  </a:cubicBezTo>
                  <a:cubicBezTo>
                    <a:pt x="39" y="36"/>
                    <a:pt x="39" y="35"/>
                    <a:pt x="39" y="34"/>
                  </a:cubicBezTo>
                  <a:cubicBezTo>
                    <a:pt x="38" y="32"/>
                    <a:pt x="38" y="32"/>
                    <a:pt x="38" y="32"/>
                  </a:cubicBezTo>
                  <a:cubicBezTo>
                    <a:pt x="36" y="32"/>
                    <a:pt x="36" y="32"/>
                    <a:pt x="36" y="32"/>
                  </a:cubicBezTo>
                  <a:cubicBezTo>
                    <a:pt x="36" y="32"/>
                    <a:pt x="35" y="32"/>
                    <a:pt x="35" y="32"/>
                  </a:cubicBezTo>
                  <a:cubicBezTo>
                    <a:pt x="35" y="31"/>
                    <a:pt x="35" y="31"/>
                    <a:pt x="36" y="31"/>
                  </a:cubicBezTo>
                  <a:cubicBezTo>
                    <a:pt x="36" y="30"/>
                    <a:pt x="37" y="28"/>
                    <a:pt x="38" y="26"/>
                  </a:cubicBezTo>
                  <a:cubicBezTo>
                    <a:pt x="38" y="24"/>
                    <a:pt x="37" y="22"/>
                    <a:pt x="36" y="20"/>
                  </a:cubicBezTo>
                  <a:cubicBezTo>
                    <a:pt x="36" y="20"/>
                    <a:pt x="36" y="19"/>
                    <a:pt x="36" y="19"/>
                  </a:cubicBezTo>
                  <a:cubicBezTo>
                    <a:pt x="35" y="15"/>
                    <a:pt x="35" y="14"/>
                    <a:pt x="35" y="13"/>
                  </a:cubicBezTo>
                  <a:cubicBezTo>
                    <a:pt x="36" y="13"/>
                    <a:pt x="36" y="12"/>
                    <a:pt x="37" y="12"/>
                  </a:cubicBezTo>
                  <a:cubicBezTo>
                    <a:pt x="38" y="11"/>
                    <a:pt x="39" y="10"/>
                    <a:pt x="40" y="8"/>
                  </a:cubicBezTo>
                  <a:cubicBezTo>
                    <a:pt x="40" y="5"/>
                    <a:pt x="40" y="3"/>
                    <a:pt x="39" y="2"/>
                  </a:cubicBezTo>
                  <a:cubicBezTo>
                    <a:pt x="38" y="0"/>
                    <a:pt x="36" y="0"/>
                    <a:pt x="34" y="0"/>
                  </a:cubicBezTo>
                  <a:cubicBezTo>
                    <a:pt x="32" y="0"/>
                    <a:pt x="29" y="0"/>
                    <a:pt x="27" y="2"/>
                  </a:cubicBezTo>
                  <a:cubicBezTo>
                    <a:pt x="25" y="3"/>
                    <a:pt x="24" y="5"/>
                    <a:pt x="22" y="6"/>
                  </a:cubicBezTo>
                  <a:cubicBezTo>
                    <a:pt x="21" y="7"/>
                    <a:pt x="20" y="9"/>
                    <a:pt x="18" y="10"/>
                  </a:cubicBezTo>
                  <a:cubicBezTo>
                    <a:pt x="15" y="12"/>
                    <a:pt x="14" y="14"/>
                    <a:pt x="13" y="17"/>
                  </a:cubicBezTo>
                  <a:cubicBezTo>
                    <a:pt x="13" y="20"/>
                    <a:pt x="14" y="23"/>
                    <a:pt x="17" y="26"/>
                  </a:cubicBezTo>
                  <a:cubicBezTo>
                    <a:pt x="18" y="27"/>
                    <a:pt x="18" y="27"/>
                    <a:pt x="18" y="27"/>
                  </a:cubicBezTo>
                  <a:cubicBezTo>
                    <a:pt x="18" y="27"/>
                    <a:pt x="18" y="28"/>
                    <a:pt x="17" y="28"/>
                  </a:cubicBezTo>
                  <a:cubicBezTo>
                    <a:pt x="17" y="29"/>
                    <a:pt x="15" y="30"/>
                    <a:pt x="15" y="33"/>
                  </a:cubicBezTo>
                  <a:cubicBezTo>
                    <a:pt x="14" y="37"/>
                    <a:pt x="16" y="40"/>
                    <a:pt x="18" y="42"/>
                  </a:cubicBezTo>
                  <a:cubicBezTo>
                    <a:pt x="19" y="44"/>
                    <a:pt x="20" y="45"/>
                    <a:pt x="20" y="46"/>
                  </a:cubicBezTo>
                  <a:cubicBezTo>
                    <a:pt x="20" y="48"/>
                    <a:pt x="17" y="48"/>
                    <a:pt x="16" y="48"/>
                  </a:cubicBezTo>
                  <a:cubicBezTo>
                    <a:pt x="15" y="48"/>
                    <a:pt x="13" y="48"/>
                    <a:pt x="12" y="47"/>
                  </a:cubicBezTo>
                  <a:cubicBezTo>
                    <a:pt x="9" y="46"/>
                    <a:pt x="9" y="46"/>
                    <a:pt x="9" y="46"/>
                  </a:cubicBezTo>
                  <a:cubicBezTo>
                    <a:pt x="0" y="76"/>
                    <a:pt x="0" y="76"/>
                    <a:pt x="0" y="76"/>
                  </a:cubicBezTo>
                  <a:cubicBezTo>
                    <a:pt x="5" y="75"/>
                    <a:pt x="5" y="75"/>
                    <a:pt x="5" y="75"/>
                  </a:cubicBezTo>
                  <a:cubicBezTo>
                    <a:pt x="6" y="75"/>
                    <a:pt x="8" y="75"/>
                    <a:pt x="10" y="74"/>
                  </a:cubicBezTo>
                  <a:cubicBezTo>
                    <a:pt x="11" y="74"/>
                    <a:pt x="13" y="74"/>
                    <a:pt x="14" y="74"/>
                  </a:cubicBezTo>
                  <a:cubicBezTo>
                    <a:pt x="15" y="74"/>
                    <a:pt x="15" y="74"/>
                    <a:pt x="15" y="74"/>
                  </a:cubicBezTo>
                  <a:cubicBezTo>
                    <a:pt x="16" y="74"/>
                    <a:pt x="16" y="74"/>
                    <a:pt x="17" y="75"/>
                  </a:cubicBezTo>
                  <a:cubicBezTo>
                    <a:pt x="18" y="76"/>
                    <a:pt x="19" y="76"/>
                    <a:pt x="20" y="77"/>
                  </a:cubicBezTo>
                  <a:cubicBezTo>
                    <a:pt x="22" y="78"/>
                    <a:pt x="24" y="78"/>
                    <a:pt x="26" y="78"/>
                  </a:cubicBezTo>
                  <a:cubicBezTo>
                    <a:pt x="27" y="78"/>
                    <a:pt x="28" y="78"/>
                    <a:pt x="28" y="78"/>
                  </a:cubicBezTo>
                  <a:cubicBezTo>
                    <a:pt x="31" y="79"/>
                    <a:pt x="34" y="80"/>
                    <a:pt x="36" y="80"/>
                  </a:cubicBezTo>
                  <a:cubicBezTo>
                    <a:pt x="36" y="80"/>
                    <a:pt x="36" y="80"/>
                    <a:pt x="36" y="80"/>
                  </a:cubicBezTo>
                  <a:cubicBezTo>
                    <a:pt x="40" y="80"/>
                    <a:pt x="44" y="78"/>
                    <a:pt x="48" y="74"/>
                  </a:cubicBezTo>
                  <a:cubicBezTo>
                    <a:pt x="52" y="69"/>
                    <a:pt x="55" y="63"/>
                    <a:pt x="56" y="57"/>
                  </a:cubicBezTo>
                  <a:cubicBezTo>
                    <a:pt x="57" y="52"/>
                    <a:pt x="59" y="47"/>
                    <a:pt x="57" y="41"/>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77" name="Freeform 11">
              <a:extLst>
                <a:ext uri="{FF2B5EF4-FFF2-40B4-BE49-F238E27FC236}">
                  <a16:creationId xmlns:a16="http://schemas.microsoft.com/office/drawing/2014/main" id="{3A21F134-5601-8C45-B172-3A64BFD4E8A6}"/>
                </a:ext>
              </a:extLst>
            </p:cNvPr>
            <p:cNvSpPr>
              <a:spLocks/>
            </p:cNvSpPr>
            <p:nvPr/>
          </p:nvSpPr>
          <p:spPr bwMode="auto">
            <a:xfrm>
              <a:off x="16558865" y="3351746"/>
              <a:ext cx="170295" cy="119460"/>
            </a:xfrm>
            <a:custGeom>
              <a:avLst/>
              <a:gdLst>
                <a:gd name="T0" fmla="*/ 26 w 31"/>
                <a:gd name="T1" fmla="*/ 0 h 24"/>
                <a:gd name="T2" fmla="*/ 9 w 31"/>
                <a:gd name="T3" fmla="*/ 6 h 24"/>
                <a:gd name="T4" fmla="*/ 9 w 31"/>
                <a:gd name="T5" fmla="*/ 6 h 24"/>
                <a:gd name="T6" fmla="*/ 1 w 31"/>
                <a:gd name="T7" fmla="*/ 12 h 24"/>
                <a:gd name="T8" fmla="*/ 2 w 31"/>
                <a:gd name="T9" fmla="*/ 18 h 24"/>
                <a:gd name="T10" fmla="*/ 7 w 31"/>
                <a:gd name="T11" fmla="*/ 24 h 24"/>
                <a:gd name="T12" fmla="*/ 9 w 31"/>
                <a:gd name="T13" fmla="*/ 24 h 24"/>
                <a:gd name="T14" fmla="*/ 9 w 31"/>
                <a:gd name="T15" fmla="*/ 24 h 24"/>
                <a:gd name="T16" fmla="*/ 17 w 31"/>
                <a:gd name="T17" fmla="*/ 20 h 24"/>
                <a:gd name="T18" fmla="*/ 18 w 31"/>
                <a:gd name="T19" fmla="*/ 19 h 24"/>
                <a:gd name="T20" fmla="*/ 29 w 31"/>
                <a:gd name="T21" fmla="*/ 4 h 24"/>
                <a:gd name="T22" fmla="*/ 31 w 31"/>
                <a:gd name="T23" fmla="*/ 0 h 24"/>
                <a:gd name="T24" fmla="*/ 26 w 31"/>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24">
                  <a:moveTo>
                    <a:pt x="26" y="0"/>
                  </a:moveTo>
                  <a:cubicBezTo>
                    <a:pt x="20" y="1"/>
                    <a:pt x="13" y="4"/>
                    <a:pt x="9" y="6"/>
                  </a:cubicBezTo>
                  <a:cubicBezTo>
                    <a:pt x="9" y="6"/>
                    <a:pt x="9" y="6"/>
                    <a:pt x="9" y="6"/>
                  </a:cubicBezTo>
                  <a:cubicBezTo>
                    <a:pt x="6" y="7"/>
                    <a:pt x="3" y="9"/>
                    <a:pt x="1" y="12"/>
                  </a:cubicBezTo>
                  <a:cubicBezTo>
                    <a:pt x="0" y="13"/>
                    <a:pt x="0" y="16"/>
                    <a:pt x="2" y="18"/>
                  </a:cubicBezTo>
                  <a:cubicBezTo>
                    <a:pt x="3" y="20"/>
                    <a:pt x="5" y="23"/>
                    <a:pt x="7" y="24"/>
                  </a:cubicBezTo>
                  <a:cubicBezTo>
                    <a:pt x="8" y="24"/>
                    <a:pt x="8" y="24"/>
                    <a:pt x="9" y="24"/>
                  </a:cubicBezTo>
                  <a:cubicBezTo>
                    <a:pt x="9" y="24"/>
                    <a:pt x="9" y="24"/>
                    <a:pt x="9" y="24"/>
                  </a:cubicBezTo>
                  <a:cubicBezTo>
                    <a:pt x="12" y="24"/>
                    <a:pt x="15" y="21"/>
                    <a:pt x="17" y="20"/>
                  </a:cubicBezTo>
                  <a:cubicBezTo>
                    <a:pt x="18" y="19"/>
                    <a:pt x="18" y="19"/>
                    <a:pt x="18" y="19"/>
                  </a:cubicBezTo>
                  <a:cubicBezTo>
                    <a:pt x="24" y="14"/>
                    <a:pt x="28" y="9"/>
                    <a:pt x="29" y="4"/>
                  </a:cubicBezTo>
                  <a:cubicBezTo>
                    <a:pt x="31" y="0"/>
                    <a:pt x="31" y="0"/>
                    <a:pt x="31" y="0"/>
                  </a:cubicBezTo>
                  <a:lnTo>
                    <a:pt x="26" y="0"/>
                  </a:ln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78" name="Freeform 12">
              <a:extLst>
                <a:ext uri="{FF2B5EF4-FFF2-40B4-BE49-F238E27FC236}">
                  <a16:creationId xmlns:a16="http://schemas.microsoft.com/office/drawing/2014/main" id="{0AA2CA73-CA2D-8441-9DA8-50FE30A0C8BF}"/>
                </a:ext>
              </a:extLst>
            </p:cNvPr>
            <p:cNvSpPr>
              <a:spLocks/>
            </p:cNvSpPr>
            <p:nvPr/>
          </p:nvSpPr>
          <p:spPr bwMode="auto">
            <a:xfrm>
              <a:off x="17769397" y="3282683"/>
              <a:ext cx="190813" cy="110128"/>
            </a:xfrm>
            <a:custGeom>
              <a:avLst/>
              <a:gdLst>
                <a:gd name="T0" fmla="*/ 33 w 35"/>
                <a:gd name="T1" fmla="*/ 7 h 22"/>
                <a:gd name="T2" fmla="*/ 26 w 35"/>
                <a:gd name="T3" fmla="*/ 3 h 22"/>
                <a:gd name="T4" fmla="*/ 25 w 35"/>
                <a:gd name="T5" fmla="*/ 3 h 22"/>
                <a:gd name="T6" fmla="*/ 21 w 35"/>
                <a:gd name="T7" fmla="*/ 2 h 22"/>
                <a:gd name="T8" fmla="*/ 14 w 35"/>
                <a:gd name="T9" fmla="*/ 0 h 22"/>
                <a:gd name="T10" fmla="*/ 10 w 35"/>
                <a:gd name="T11" fmla="*/ 1 h 22"/>
                <a:gd name="T12" fmla="*/ 2 w 35"/>
                <a:gd name="T13" fmla="*/ 14 h 22"/>
                <a:gd name="T14" fmla="*/ 14 w 35"/>
                <a:gd name="T15" fmla="*/ 19 h 22"/>
                <a:gd name="T16" fmla="*/ 17 w 35"/>
                <a:gd name="T17" fmla="*/ 20 h 22"/>
                <a:gd name="T18" fmla="*/ 20 w 35"/>
                <a:gd name="T19" fmla="*/ 21 h 22"/>
                <a:gd name="T20" fmla="*/ 25 w 35"/>
                <a:gd name="T21" fmla="*/ 22 h 22"/>
                <a:gd name="T22" fmla="*/ 32 w 35"/>
                <a:gd name="T23" fmla="*/ 17 h 22"/>
                <a:gd name="T24" fmla="*/ 32 w 35"/>
                <a:gd name="T25" fmla="*/ 16 h 22"/>
                <a:gd name="T26" fmla="*/ 33 w 35"/>
                <a:gd name="T2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22">
                  <a:moveTo>
                    <a:pt x="33" y="7"/>
                  </a:moveTo>
                  <a:cubicBezTo>
                    <a:pt x="32" y="4"/>
                    <a:pt x="28" y="3"/>
                    <a:pt x="26" y="3"/>
                  </a:cubicBezTo>
                  <a:cubicBezTo>
                    <a:pt x="26" y="3"/>
                    <a:pt x="25" y="3"/>
                    <a:pt x="25" y="3"/>
                  </a:cubicBezTo>
                  <a:cubicBezTo>
                    <a:pt x="24" y="3"/>
                    <a:pt x="22" y="2"/>
                    <a:pt x="21" y="2"/>
                  </a:cubicBezTo>
                  <a:cubicBezTo>
                    <a:pt x="19" y="1"/>
                    <a:pt x="17" y="0"/>
                    <a:pt x="14" y="0"/>
                  </a:cubicBezTo>
                  <a:cubicBezTo>
                    <a:pt x="13" y="0"/>
                    <a:pt x="11" y="1"/>
                    <a:pt x="10" y="1"/>
                  </a:cubicBezTo>
                  <a:cubicBezTo>
                    <a:pt x="6" y="3"/>
                    <a:pt x="0" y="8"/>
                    <a:pt x="2" y="14"/>
                  </a:cubicBezTo>
                  <a:cubicBezTo>
                    <a:pt x="3" y="19"/>
                    <a:pt x="10" y="19"/>
                    <a:pt x="14" y="19"/>
                  </a:cubicBezTo>
                  <a:cubicBezTo>
                    <a:pt x="15" y="20"/>
                    <a:pt x="17" y="20"/>
                    <a:pt x="17" y="20"/>
                  </a:cubicBezTo>
                  <a:cubicBezTo>
                    <a:pt x="18" y="20"/>
                    <a:pt x="19" y="20"/>
                    <a:pt x="20" y="21"/>
                  </a:cubicBezTo>
                  <a:cubicBezTo>
                    <a:pt x="22" y="21"/>
                    <a:pt x="24" y="22"/>
                    <a:pt x="25" y="22"/>
                  </a:cubicBezTo>
                  <a:cubicBezTo>
                    <a:pt x="28" y="22"/>
                    <a:pt x="30" y="20"/>
                    <a:pt x="32" y="17"/>
                  </a:cubicBezTo>
                  <a:cubicBezTo>
                    <a:pt x="32" y="16"/>
                    <a:pt x="32" y="16"/>
                    <a:pt x="32" y="16"/>
                  </a:cubicBezTo>
                  <a:cubicBezTo>
                    <a:pt x="33" y="13"/>
                    <a:pt x="35" y="10"/>
                    <a:pt x="33" y="7"/>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79" name="Freeform 13">
              <a:extLst>
                <a:ext uri="{FF2B5EF4-FFF2-40B4-BE49-F238E27FC236}">
                  <a16:creationId xmlns:a16="http://schemas.microsoft.com/office/drawing/2014/main" id="{1E865A9E-EAD6-E444-87BB-D08CDB01868C}"/>
                </a:ext>
              </a:extLst>
            </p:cNvPr>
            <p:cNvSpPr>
              <a:spLocks/>
            </p:cNvSpPr>
            <p:nvPr/>
          </p:nvSpPr>
          <p:spPr bwMode="auto">
            <a:xfrm>
              <a:off x="18608563" y="4051710"/>
              <a:ext cx="354953" cy="212789"/>
            </a:xfrm>
            <a:custGeom>
              <a:avLst/>
              <a:gdLst>
                <a:gd name="T0" fmla="*/ 25 w 65"/>
                <a:gd name="T1" fmla="*/ 43 h 43"/>
                <a:gd name="T2" fmla="*/ 22 w 65"/>
                <a:gd name="T3" fmla="*/ 43 h 43"/>
                <a:gd name="T4" fmla="*/ 15 w 65"/>
                <a:gd name="T5" fmla="*/ 36 h 43"/>
                <a:gd name="T6" fmla="*/ 14 w 65"/>
                <a:gd name="T7" fmla="*/ 30 h 43"/>
                <a:gd name="T8" fmla="*/ 13 w 65"/>
                <a:gd name="T9" fmla="*/ 27 h 43"/>
                <a:gd name="T10" fmla="*/ 10 w 65"/>
                <a:gd name="T11" fmla="*/ 26 h 43"/>
                <a:gd name="T12" fmla="*/ 2 w 65"/>
                <a:gd name="T13" fmla="*/ 17 h 43"/>
                <a:gd name="T14" fmla="*/ 3 w 65"/>
                <a:gd name="T15" fmla="*/ 2 h 43"/>
                <a:gd name="T16" fmla="*/ 8 w 65"/>
                <a:gd name="T17" fmla="*/ 0 h 43"/>
                <a:gd name="T18" fmla="*/ 16 w 65"/>
                <a:gd name="T19" fmla="*/ 2 h 43"/>
                <a:gd name="T20" fmla="*/ 20 w 65"/>
                <a:gd name="T21" fmla="*/ 3 h 43"/>
                <a:gd name="T22" fmla="*/ 21 w 65"/>
                <a:gd name="T23" fmla="*/ 3 h 43"/>
                <a:gd name="T24" fmla="*/ 27 w 65"/>
                <a:gd name="T25" fmla="*/ 2 h 43"/>
                <a:gd name="T26" fmla="*/ 36 w 65"/>
                <a:gd name="T27" fmla="*/ 0 h 43"/>
                <a:gd name="T28" fmla="*/ 51 w 65"/>
                <a:gd name="T29" fmla="*/ 10 h 43"/>
                <a:gd name="T30" fmla="*/ 51 w 65"/>
                <a:gd name="T31" fmla="*/ 11 h 43"/>
                <a:gd name="T32" fmla="*/ 56 w 65"/>
                <a:gd name="T33" fmla="*/ 15 h 43"/>
                <a:gd name="T34" fmla="*/ 63 w 65"/>
                <a:gd name="T35" fmla="*/ 24 h 43"/>
                <a:gd name="T36" fmla="*/ 64 w 65"/>
                <a:gd name="T37" fmla="*/ 31 h 43"/>
                <a:gd name="T38" fmla="*/ 54 w 65"/>
                <a:gd name="T39" fmla="*/ 35 h 43"/>
                <a:gd name="T40" fmla="*/ 49 w 65"/>
                <a:gd name="T41" fmla="*/ 35 h 43"/>
                <a:gd name="T42" fmla="*/ 45 w 65"/>
                <a:gd name="T43" fmla="*/ 35 h 43"/>
                <a:gd name="T44" fmla="*/ 39 w 65"/>
                <a:gd name="T45" fmla="*/ 36 h 43"/>
                <a:gd name="T46" fmla="*/ 36 w 65"/>
                <a:gd name="T47" fmla="*/ 38 h 43"/>
                <a:gd name="T48" fmla="*/ 25 w 65"/>
                <a:gd name="T4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43">
                  <a:moveTo>
                    <a:pt x="25" y="43"/>
                  </a:moveTo>
                  <a:cubicBezTo>
                    <a:pt x="24" y="43"/>
                    <a:pt x="23" y="43"/>
                    <a:pt x="22" y="43"/>
                  </a:cubicBezTo>
                  <a:cubicBezTo>
                    <a:pt x="18" y="42"/>
                    <a:pt x="16" y="39"/>
                    <a:pt x="15" y="36"/>
                  </a:cubicBezTo>
                  <a:cubicBezTo>
                    <a:pt x="14" y="34"/>
                    <a:pt x="14" y="32"/>
                    <a:pt x="14" y="30"/>
                  </a:cubicBezTo>
                  <a:cubicBezTo>
                    <a:pt x="14" y="29"/>
                    <a:pt x="14" y="28"/>
                    <a:pt x="13" y="27"/>
                  </a:cubicBezTo>
                  <a:cubicBezTo>
                    <a:pt x="13" y="26"/>
                    <a:pt x="12" y="26"/>
                    <a:pt x="10" y="26"/>
                  </a:cubicBezTo>
                  <a:cubicBezTo>
                    <a:pt x="4" y="25"/>
                    <a:pt x="3" y="20"/>
                    <a:pt x="2" y="17"/>
                  </a:cubicBezTo>
                  <a:cubicBezTo>
                    <a:pt x="1" y="12"/>
                    <a:pt x="0" y="6"/>
                    <a:pt x="3" y="2"/>
                  </a:cubicBezTo>
                  <a:cubicBezTo>
                    <a:pt x="4" y="1"/>
                    <a:pt x="6" y="0"/>
                    <a:pt x="8" y="0"/>
                  </a:cubicBezTo>
                  <a:cubicBezTo>
                    <a:pt x="11" y="0"/>
                    <a:pt x="14" y="1"/>
                    <a:pt x="16" y="2"/>
                  </a:cubicBezTo>
                  <a:cubicBezTo>
                    <a:pt x="18" y="2"/>
                    <a:pt x="19" y="3"/>
                    <a:pt x="20" y="3"/>
                  </a:cubicBezTo>
                  <a:cubicBezTo>
                    <a:pt x="20" y="3"/>
                    <a:pt x="21" y="3"/>
                    <a:pt x="21" y="3"/>
                  </a:cubicBezTo>
                  <a:cubicBezTo>
                    <a:pt x="23" y="3"/>
                    <a:pt x="25" y="2"/>
                    <a:pt x="27" y="2"/>
                  </a:cubicBezTo>
                  <a:cubicBezTo>
                    <a:pt x="30" y="1"/>
                    <a:pt x="33" y="0"/>
                    <a:pt x="36" y="0"/>
                  </a:cubicBezTo>
                  <a:cubicBezTo>
                    <a:pt x="43" y="1"/>
                    <a:pt x="47" y="5"/>
                    <a:pt x="51" y="10"/>
                  </a:cubicBezTo>
                  <a:cubicBezTo>
                    <a:pt x="51" y="11"/>
                    <a:pt x="51" y="11"/>
                    <a:pt x="51" y="11"/>
                  </a:cubicBezTo>
                  <a:cubicBezTo>
                    <a:pt x="52" y="12"/>
                    <a:pt x="54" y="14"/>
                    <a:pt x="56" y="15"/>
                  </a:cubicBezTo>
                  <a:cubicBezTo>
                    <a:pt x="58" y="18"/>
                    <a:pt x="61" y="21"/>
                    <a:pt x="63" y="24"/>
                  </a:cubicBezTo>
                  <a:cubicBezTo>
                    <a:pt x="65" y="27"/>
                    <a:pt x="65" y="30"/>
                    <a:pt x="64" y="31"/>
                  </a:cubicBezTo>
                  <a:cubicBezTo>
                    <a:pt x="62" y="34"/>
                    <a:pt x="59" y="35"/>
                    <a:pt x="54" y="35"/>
                  </a:cubicBezTo>
                  <a:cubicBezTo>
                    <a:pt x="52" y="35"/>
                    <a:pt x="51" y="35"/>
                    <a:pt x="49" y="35"/>
                  </a:cubicBezTo>
                  <a:cubicBezTo>
                    <a:pt x="48" y="35"/>
                    <a:pt x="46" y="35"/>
                    <a:pt x="45" y="35"/>
                  </a:cubicBezTo>
                  <a:cubicBezTo>
                    <a:pt x="42" y="35"/>
                    <a:pt x="40" y="35"/>
                    <a:pt x="39" y="36"/>
                  </a:cubicBezTo>
                  <a:cubicBezTo>
                    <a:pt x="38" y="37"/>
                    <a:pt x="37" y="37"/>
                    <a:pt x="36" y="38"/>
                  </a:cubicBezTo>
                  <a:cubicBezTo>
                    <a:pt x="33" y="41"/>
                    <a:pt x="29" y="43"/>
                    <a:pt x="25" y="43"/>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80" name="Freeform 79">
              <a:extLst>
                <a:ext uri="{FF2B5EF4-FFF2-40B4-BE49-F238E27FC236}">
                  <a16:creationId xmlns:a16="http://schemas.microsoft.com/office/drawing/2014/main" id="{7E939866-CC78-C444-AA29-6AEBE81EC631}"/>
                </a:ext>
              </a:extLst>
            </p:cNvPr>
            <p:cNvSpPr>
              <a:spLocks/>
            </p:cNvSpPr>
            <p:nvPr/>
          </p:nvSpPr>
          <p:spPr bwMode="auto">
            <a:xfrm>
              <a:off x="18009452" y="3336813"/>
              <a:ext cx="114898" cy="113861"/>
            </a:xfrm>
            <a:custGeom>
              <a:avLst/>
              <a:gdLst>
                <a:gd name="T0" fmla="*/ 16 w 21"/>
                <a:gd name="T1" fmla="*/ 2 h 23"/>
                <a:gd name="T2" fmla="*/ 10 w 21"/>
                <a:gd name="T3" fmla="*/ 0 h 23"/>
                <a:gd name="T4" fmla="*/ 2 w 21"/>
                <a:gd name="T5" fmla="*/ 4 h 23"/>
                <a:gd name="T6" fmla="*/ 1 w 21"/>
                <a:gd name="T7" fmla="*/ 14 h 23"/>
                <a:gd name="T8" fmla="*/ 12 w 21"/>
                <a:gd name="T9" fmla="*/ 23 h 23"/>
                <a:gd name="T10" fmla="*/ 13 w 21"/>
                <a:gd name="T11" fmla="*/ 23 h 23"/>
                <a:gd name="T12" fmla="*/ 20 w 21"/>
                <a:gd name="T13" fmla="*/ 18 h 23"/>
                <a:gd name="T14" fmla="*/ 16 w 21"/>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3">
                  <a:moveTo>
                    <a:pt x="16" y="2"/>
                  </a:moveTo>
                  <a:cubicBezTo>
                    <a:pt x="14" y="1"/>
                    <a:pt x="12" y="0"/>
                    <a:pt x="10" y="0"/>
                  </a:cubicBezTo>
                  <a:cubicBezTo>
                    <a:pt x="7" y="0"/>
                    <a:pt x="4" y="1"/>
                    <a:pt x="2" y="4"/>
                  </a:cubicBezTo>
                  <a:cubicBezTo>
                    <a:pt x="0" y="7"/>
                    <a:pt x="0" y="10"/>
                    <a:pt x="1" y="14"/>
                  </a:cubicBezTo>
                  <a:cubicBezTo>
                    <a:pt x="3" y="17"/>
                    <a:pt x="7" y="23"/>
                    <a:pt x="12" y="23"/>
                  </a:cubicBezTo>
                  <a:cubicBezTo>
                    <a:pt x="13" y="23"/>
                    <a:pt x="13" y="23"/>
                    <a:pt x="13" y="23"/>
                  </a:cubicBezTo>
                  <a:cubicBezTo>
                    <a:pt x="16" y="23"/>
                    <a:pt x="18" y="21"/>
                    <a:pt x="20" y="18"/>
                  </a:cubicBezTo>
                  <a:cubicBezTo>
                    <a:pt x="21" y="12"/>
                    <a:pt x="19" y="5"/>
                    <a:pt x="16"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81" name="Freeform 80">
              <a:extLst>
                <a:ext uri="{FF2B5EF4-FFF2-40B4-BE49-F238E27FC236}">
                  <a16:creationId xmlns:a16="http://schemas.microsoft.com/office/drawing/2014/main" id="{98B88397-C3BB-D149-911E-A7DF9F0E4C3A}"/>
                </a:ext>
              </a:extLst>
            </p:cNvPr>
            <p:cNvSpPr>
              <a:spLocks/>
            </p:cNvSpPr>
            <p:nvPr/>
          </p:nvSpPr>
          <p:spPr bwMode="auto">
            <a:xfrm>
              <a:off x="17732466" y="3432008"/>
              <a:ext cx="974581" cy="550638"/>
            </a:xfrm>
            <a:custGeom>
              <a:avLst/>
              <a:gdLst>
                <a:gd name="T0" fmla="*/ 173 w 179"/>
                <a:gd name="T1" fmla="*/ 74 h 111"/>
                <a:gd name="T2" fmla="*/ 171 w 179"/>
                <a:gd name="T3" fmla="*/ 67 h 111"/>
                <a:gd name="T4" fmla="*/ 163 w 179"/>
                <a:gd name="T5" fmla="*/ 54 h 111"/>
                <a:gd name="T6" fmla="*/ 150 w 179"/>
                <a:gd name="T7" fmla="*/ 50 h 111"/>
                <a:gd name="T8" fmla="*/ 134 w 179"/>
                <a:gd name="T9" fmla="*/ 50 h 111"/>
                <a:gd name="T10" fmla="*/ 130 w 179"/>
                <a:gd name="T11" fmla="*/ 51 h 111"/>
                <a:gd name="T12" fmla="*/ 124 w 179"/>
                <a:gd name="T13" fmla="*/ 50 h 111"/>
                <a:gd name="T14" fmla="*/ 104 w 179"/>
                <a:gd name="T15" fmla="*/ 64 h 111"/>
                <a:gd name="T16" fmla="*/ 99 w 179"/>
                <a:gd name="T17" fmla="*/ 67 h 111"/>
                <a:gd name="T18" fmla="*/ 94 w 179"/>
                <a:gd name="T19" fmla="*/ 63 h 111"/>
                <a:gd name="T20" fmla="*/ 87 w 179"/>
                <a:gd name="T21" fmla="*/ 65 h 111"/>
                <a:gd name="T22" fmla="*/ 83 w 179"/>
                <a:gd name="T23" fmla="*/ 64 h 111"/>
                <a:gd name="T24" fmla="*/ 77 w 179"/>
                <a:gd name="T25" fmla="*/ 62 h 111"/>
                <a:gd name="T26" fmla="*/ 75 w 179"/>
                <a:gd name="T27" fmla="*/ 56 h 111"/>
                <a:gd name="T28" fmla="*/ 65 w 179"/>
                <a:gd name="T29" fmla="*/ 31 h 111"/>
                <a:gd name="T30" fmla="*/ 62 w 179"/>
                <a:gd name="T31" fmla="*/ 31 h 111"/>
                <a:gd name="T32" fmla="*/ 60 w 179"/>
                <a:gd name="T33" fmla="*/ 27 h 111"/>
                <a:gd name="T34" fmla="*/ 51 w 179"/>
                <a:gd name="T35" fmla="*/ 17 h 111"/>
                <a:gd name="T36" fmla="*/ 44 w 179"/>
                <a:gd name="T37" fmla="*/ 20 h 111"/>
                <a:gd name="T38" fmla="*/ 41 w 179"/>
                <a:gd name="T39" fmla="*/ 22 h 111"/>
                <a:gd name="T40" fmla="*/ 38 w 179"/>
                <a:gd name="T41" fmla="*/ 21 h 111"/>
                <a:gd name="T42" fmla="*/ 38 w 179"/>
                <a:gd name="T43" fmla="*/ 17 h 111"/>
                <a:gd name="T44" fmla="*/ 27 w 179"/>
                <a:gd name="T45" fmla="*/ 9 h 111"/>
                <a:gd name="T46" fmla="*/ 22 w 179"/>
                <a:gd name="T47" fmla="*/ 5 h 111"/>
                <a:gd name="T48" fmla="*/ 13 w 179"/>
                <a:gd name="T49" fmla="*/ 0 h 111"/>
                <a:gd name="T50" fmla="*/ 3 w 179"/>
                <a:gd name="T51" fmla="*/ 16 h 111"/>
                <a:gd name="T52" fmla="*/ 7 w 179"/>
                <a:gd name="T53" fmla="*/ 24 h 111"/>
                <a:gd name="T54" fmla="*/ 11 w 179"/>
                <a:gd name="T55" fmla="*/ 33 h 111"/>
                <a:gd name="T56" fmla="*/ 22 w 179"/>
                <a:gd name="T57" fmla="*/ 39 h 111"/>
                <a:gd name="T58" fmla="*/ 32 w 179"/>
                <a:gd name="T59" fmla="*/ 37 h 111"/>
                <a:gd name="T60" fmla="*/ 36 w 179"/>
                <a:gd name="T61" fmla="*/ 43 h 111"/>
                <a:gd name="T62" fmla="*/ 39 w 179"/>
                <a:gd name="T63" fmla="*/ 50 h 111"/>
                <a:gd name="T64" fmla="*/ 41 w 179"/>
                <a:gd name="T65" fmla="*/ 65 h 111"/>
                <a:gd name="T66" fmla="*/ 40 w 179"/>
                <a:gd name="T67" fmla="*/ 76 h 111"/>
                <a:gd name="T68" fmla="*/ 41 w 179"/>
                <a:gd name="T69" fmla="*/ 87 h 111"/>
                <a:gd name="T70" fmla="*/ 49 w 179"/>
                <a:gd name="T71" fmla="*/ 104 h 111"/>
                <a:gd name="T72" fmla="*/ 53 w 179"/>
                <a:gd name="T73" fmla="*/ 103 h 111"/>
                <a:gd name="T74" fmla="*/ 55 w 179"/>
                <a:gd name="T75" fmla="*/ 102 h 111"/>
                <a:gd name="T76" fmla="*/ 57 w 179"/>
                <a:gd name="T77" fmla="*/ 103 h 111"/>
                <a:gd name="T78" fmla="*/ 61 w 179"/>
                <a:gd name="T79" fmla="*/ 105 h 111"/>
                <a:gd name="T80" fmla="*/ 67 w 179"/>
                <a:gd name="T81" fmla="*/ 109 h 111"/>
                <a:gd name="T82" fmla="*/ 76 w 179"/>
                <a:gd name="T83" fmla="*/ 103 h 111"/>
                <a:gd name="T84" fmla="*/ 84 w 179"/>
                <a:gd name="T85" fmla="*/ 111 h 111"/>
                <a:gd name="T86" fmla="*/ 87 w 179"/>
                <a:gd name="T87" fmla="*/ 110 h 111"/>
                <a:gd name="T88" fmla="*/ 103 w 179"/>
                <a:gd name="T89" fmla="*/ 107 h 111"/>
                <a:gd name="T90" fmla="*/ 107 w 179"/>
                <a:gd name="T91" fmla="*/ 107 h 111"/>
                <a:gd name="T92" fmla="*/ 114 w 179"/>
                <a:gd name="T93" fmla="*/ 105 h 111"/>
                <a:gd name="T94" fmla="*/ 119 w 179"/>
                <a:gd name="T95" fmla="*/ 106 h 111"/>
                <a:gd name="T96" fmla="*/ 129 w 179"/>
                <a:gd name="T97" fmla="*/ 106 h 111"/>
                <a:gd name="T98" fmla="*/ 135 w 179"/>
                <a:gd name="T99" fmla="*/ 99 h 111"/>
                <a:gd name="T100" fmla="*/ 139 w 179"/>
                <a:gd name="T101" fmla="*/ 102 h 111"/>
                <a:gd name="T102" fmla="*/ 155 w 179"/>
                <a:gd name="T103" fmla="*/ 104 h 111"/>
                <a:gd name="T104" fmla="*/ 161 w 179"/>
                <a:gd name="T105" fmla="*/ 102 h 111"/>
                <a:gd name="T106" fmla="*/ 168 w 179"/>
                <a:gd name="T107" fmla="*/ 98 h 111"/>
                <a:gd name="T108" fmla="*/ 170 w 179"/>
                <a:gd name="T109" fmla="*/ 90 h 111"/>
                <a:gd name="T110" fmla="*/ 176 w 179"/>
                <a:gd name="T111" fmla="*/ 86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9" h="111">
                  <a:moveTo>
                    <a:pt x="178" y="80"/>
                  </a:moveTo>
                  <a:cubicBezTo>
                    <a:pt x="178" y="78"/>
                    <a:pt x="176" y="75"/>
                    <a:pt x="173" y="74"/>
                  </a:cubicBezTo>
                  <a:cubicBezTo>
                    <a:pt x="172" y="73"/>
                    <a:pt x="171" y="72"/>
                    <a:pt x="171" y="70"/>
                  </a:cubicBezTo>
                  <a:cubicBezTo>
                    <a:pt x="171" y="69"/>
                    <a:pt x="171" y="68"/>
                    <a:pt x="171" y="67"/>
                  </a:cubicBezTo>
                  <a:cubicBezTo>
                    <a:pt x="171" y="66"/>
                    <a:pt x="171" y="65"/>
                    <a:pt x="170" y="64"/>
                  </a:cubicBezTo>
                  <a:cubicBezTo>
                    <a:pt x="170" y="61"/>
                    <a:pt x="169" y="56"/>
                    <a:pt x="163" y="54"/>
                  </a:cubicBezTo>
                  <a:cubicBezTo>
                    <a:pt x="162" y="54"/>
                    <a:pt x="161" y="54"/>
                    <a:pt x="160" y="53"/>
                  </a:cubicBezTo>
                  <a:cubicBezTo>
                    <a:pt x="156" y="52"/>
                    <a:pt x="153" y="52"/>
                    <a:pt x="150" y="50"/>
                  </a:cubicBezTo>
                  <a:cubicBezTo>
                    <a:pt x="147" y="49"/>
                    <a:pt x="145" y="48"/>
                    <a:pt x="143" y="48"/>
                  </a:cubicBezTo>
                  <a:cubicBezTo>
                    <a:pt x="140" y="48"/>
                    <a:pt x="137" y="49"/>
                    <a:pt x="134" y="50"/>
                  </a:cubicBezTo>
                  <a:cubicBezTo>
                    <a:pt x="134" y="51"/>
                    <a:pt x="133" y="51"/>
                    <a:pt x="133" y="51"/>
                  </a:cubicBezTo>
                  <a:cubicBezTo>
                    <a:pt x="132" y="51"/>
                    <a:pt x="131" y="51"/>
                    <a:pt x="130" y="51"/>
                  </a:cubicBezTo>
                  <a:cubicBezTo>
                    <a:pt x="129" y="50"/>
                    <a:pt x="127" y="50"/>
                    <a:pt x="126" y="50"/>
                  </a:cubicBezTo>
                  <a:cubicBezTo>
                    <a:pt x="125" y="50"/>
                    <a:pt x="125" y="50"/>
                    <a:pt x="124" y="50"/>
                  </a:cubicBezTo>
                  <a:cubicBezTo>
                    <a:pt x="118" y="51"/>
                    <a:pt x="112" y="56"/>
                    <a:pt x="107" y="60"/>
                  </a:cubicBezTo>
                  <a:cubicBezTo>
                    <a:pt x="106" y="62"/>
                    <a:pt x="105" y="63"/>
                    <a:pt x="104" y="64"/>
                  </a:cubicBezTo>
                  <a:cubicBezTo>
                    <a:pt x="103" y="64"/>
                    <a:pt x="103" y="64"/>
                    <a:pt x="103" y="64"/>
                  </a:cubicBezTo>
                  <a:cubicBezTo>
                    <a:pt x="102" y="65"/>
                    <a:pt x="100" y="67"/>
                    <a:pt x="99" y="67"/>
                  </a:cubicBezTo>
                  <a:cubicBezTo>
                    <a:pt x="98" y="67"/>
                    <a:pt x="98" y="67"/>
                    <a:pt x="98" y="66"/>
                  </a:cubicBezTo>
                  <a:cubicBezTo>
                    <a:pt x="97" y="65"/>
                    <a:pt x="96" y="63"/>
                    <a:pt x="94" y="63"/>
                  </a:cubicBezTo>
                  <a:cubicBezTo>
                    <a:pt x="93" y="63"/>
                    <a:pt x="93" y="63"/>
                    <a:pt x="92" y="63"/>
                  </a:cubicBezTo>
                  <a:cubicBezTo>
                    <a:pt x="90" y="63"/>
                    <a:pt x="89" y="64"/>
                    <a:pt x="87" y="65"/>
                  </a:cubicBezTo>
                  <a:cubicBezTo>
                    <a:pt x="87" y="65"/>
                    <a:pt x="86" y="65"/>
                    <a:pt x="85" y="65"/>
                  </a:cubicBezTo>
                  <a:cubicBezTo>
                    <a:pt x="85" y="65"/>
                    <a:pt x="84" y="65"/>
                    <a:pt x="83" y="64"/>
                  </a:cubicBezTo>
                  <a:cubicBezTo>
                    <a:pt x="82" y="63"/>
                    <a:pt x="81" y="62"/>
                    <a:pt x="78" y="62"/>
                  </a:cubicBezTo>
                  <a:cubicBezTo>
                    <a:pt x="78" y="62"/>
                    <a:pt x="78" y="62"/>
                    <a:pt x="77" y="62"/>
                  </a:cubicBezTo>
                  <a:cubicBezTo>
                    <a:pt x="76" y="62"/>
                    <a:pt x="75" y="62"/>
                    <a:pt x="74" y="62"/>
                  </a:cubicBezTo>
                  <a:cubicBezTo>
                    <a:pt x="74" y="60"/>
                    <a:pt x="75" y="58"/>
                    <a:pt x="75" y="56"/>
                  </a:cubicBezTo>
                  <a:cubicBezTo>
                    <a:pt x="77" y="49"/>
                    <a:pt x="79" y="42"/>
                    <a:pt x="72" y="34"/>
                  </a:cubicBezTo>
                  <a:cubicBezTo>
                    <a:pt x="70" y="31"/>
                    <a:pt x="67" y="31"/>
                    <a:pt x="65" y="31"/>
                  </a:cubicBezTo>
                  <a:cubicBezTo>
                    <a:pt x="64" y="31"/>
                    <a:pt x="64" y="31"/>
                    <a:pt x="63" y="31"/>
                  </a:cubicBezTo>
                  <a:cubicBezTo>
                    <a:pt x="63" y="31"/>
                    <a:pt x="62" y="31"/>
                    <a:pt x="62" y="31"/>
                  </a:cubicBezTo>
                  <a:cubicBezTo>
                    <a:pt x="61" y="31"/>
                    <a:pt x="61" y="31"/>
                    <a:pt x="60" y="31"/>
                  </a:cubicBezTo>
                  <a:cubicBezTo>
                    <a:pt x="60" y="30"/>
                    <a:pt x="60" y="30"/>
                    <a:pt x="60" y="27"/>
                  </a:cubicBezTo>
                  <a:cubicBezTo>
                    <a:pt x="60" y="26"/>
                    <a:pt x="60" y="24"/>
                    <a:pt x="59" y="23"/>
                  </a:cubicBezTo>
                  <a:cubicBezTo>
                    <a:pt x="58" y="19"/>
                    <a:pt x="55" y="17"/>
                    <a:pt x="51" y="17"/>
                  </a:cubicBezTo>
                  <a:cubicBezTo>
                    <a:pt x="51" y="17"/>
                    <a:pt x="50" y="17"/>
                    <a:pt x="50" y="17"/>
                  </a:cubicBezTo>
                  <a:cubicBezTo>
                    <a:pt x="47" y="18"/>
                    <a:pt x="46" y="19"/>
                    <a:pt x="44" y="20"/>
                  </a:cubicBezTo>
                  <a:cubicBezTo>
                    <a:pt x="44" y="21"/>
                    <a:pt x="43" y="21"/>
                    <a:pt x="43" y="22"/>
                  </a:cubicBezTo>
                  <a:cubicBezTo>
                    <a:pt x="42" y="22"/>
                    <a:pt x="42" y="22"/>
                    <a:pt x="41" y="22"/>
                  </a:cubicBezTo>
                  <a:cubicBezTo>
                    <a:pt x="40" y="22"/>
                    <a:pt x="39" y="22"/>
                    <a:pt x="39" y="22"/>
                  </a:cubicBezTo>
                  <a:cubicBezTo>
                    <a:pt x="38" y="21"/>
                    <a:pt x="38" y="21"/>
                    <a:pt x="38" y="21"/>
                  </a:cubicBezTo>
                  <a:cubicBezTo>
                    <a:pt x="38" y="21"/>
                    <a:pt x="38" y="21"/>
                    <a:pt x="38" y="20"/>
                  </a:cubicBezTo>
                  <a:cubicBezTo>
                    <a:pt x="38" y="19"/>
                    <a:pt x="38" y="18"/>
                    <a:pt x="38" y="17"/>
                  </a:cubicBezTo>
                  <a:cubicBezTo>
                    <a:pt x="37" y="14"/>
                    <a:pt x="35" y="12"/>
                    <a:pt x="31" y="10"/>
                  </a:cubicBezTo>
                  <a:cubicBezTo>
                    <a:pt x="30" y="9"/>
                    <a:pt x="29" y="9"/>
                    <a:pt x="27" y="9"/>
                  </a:cubicBezTo>
                  <a:cubicBezTo>
                    <a:pt x="26" y="8"/>
                    <a:pt x="25" y="8"/>
                    <a:pt x="25" y="8"/>
                  </a:cubicBezTo>
                  <a:cubicBezTo>
                    <a:pt x="23" y="7"/>
                    <a:pt x="23" y="6"/>
                    <a:pt x="22" y="5"/>
                  </a:cubicBezTo>
                  <a:cubicBezTo>
                    <a:pt x="22" y="5"/>
                    <a:pt x="21" y="4"/>
                    <a:pt x="21" y="3"/>
                  </a:cubicBezTo>
                  <a:cubicBezTo>
                    <a:pt x="19" y="1"/>
                    <a:pt x="16" y="0"/>
                    <a:pt x="13" y="0"/>
                  </a:cubicBezTo>
                  <a:cubicBezTo>
                    <a:pt x="9" y="0"/>
                    <a:pt x="4" y="3"/>
                    <a:pt x="2" y="7"/>
                  </a:cubicBezTo>
                  <a:cubicBezTo>
                    <a:pt x="0" y="10"/>
                    <a:pt x="1" y="13"/>
                    <a:pt x="3" y="16"/>
                  </a:cubicBezTo>
                  <a:cubicBezTo>
                    <a:pt x="4" y="18"/>
                    <a:pt x="5" y="20"/>
                    <a:pt x="6" y="22"/>
                  </a:cubicBezTo>
                  <a:cubicBezTo>
                    <a:pt x="7" y="24"/>
                    <a:pt x="7" y="24"/>
                    <a:pt x="7" y="24"/>
                  </a:cubicBezTo>
                  <a:cubicBezTo>
                    <a:pt x="8" y="25"/>
                    <a:pt x="8" y="26"/>
                    <a:pt x="8" y="27"/>
                  </a:cubicBezTo>
                  <a:cubicBezTo>
                    <a:pt x="8" y="29"/>
                    <a:pt x="9" y="31"/>
                    <a:pt x="11" y="33"/>
                  </a:cubicBezTo>
                  <a:cubicBezTo>
                    <a:pt x="13" y="35"/>
                    <a:pt x="16" y="39"/>
                    <a:pt x="21" y="39"/>
                  </a:cubicBezTo>
                  <a:cubicBezTo>
                    <a:pt x="22" y="39"/>
                    <a:pt x="22" y="39"/>
                    <a:pt x="22" y="39"/>
                  </a:cubicBezTo>
                  <a:cubicBezTo>
                    <a:pt x="23" y="39"/>
                    <a:pt x="25" y="38"/>
                    <a:pt x="27" y="38"/>
                  </a:cubicBezTo>
                  <a:cubicBezTo>
                    <a:pt x="28" y="37"/>
                    <a:pt x="31" y="37"/>
                    <a:pt x="32" y="37"/>
                  </a:cubicBezTo>
                  <a:cubicBezTo>
                    <a:pt x="33" y="37"/>
                    <a:pt x="34" y="37"/>
                    <a:pt x="35" y="38"/>
                  </a:cubicBezTo>
                  <a:cubicBezTo>
                    <a:pt x="35" y="38"/>
                    <a:pt x="36" y="41"/>
                    <a:pt x="36" y="43"/>
                  </a:cubicBezTo>
                  <a:cubicBezTo>
                    <a:pt x="37" y="44"/>
                    <a:pt x="37" y="46"/>
                    <a:pt x="37" y="47"/>
                  </a:cubicBezTo>
                  <a:cubicBezTo>
                    <a:pt x="38" y="48"/>
                    <a:pt x="38" y="49"/>
                    <a:pt x="39" y="50"/>
                  </a:cubicBezTo>
                  <a:cubicBezTo>
                    <a:pt x="41" y="54"/>
                    <a:pt x="43" y="58"/>
                    <a:pt x="42" y="62"/>
                  </a:cubicBezTo>
                  <a:cubicBezTo>
                    <a:pt x="42" y="63"/>
                    <a:pt x="42" y="64"/>
                    <a:pt x="41" y="65"/>
                  </a:cubicBezTo>
                  <a:cubicBezTo>
                    <a:pt x="41" y="67"/>
                    <a:pt x="40" y="68"/>
                    <a:pt x="40" y="69"/>
                  </a:cubicBezTo>
                  <a:cubicBezTo>
                    <a:pt x="40" y="72"/>
                    <a:pt x="40" y="74"/>
                    <a:pt x="40" y="76"/>
                  </a:cubicBezTo>
                  <a:cubicBezTo>
                    <a:pt x="40" y="77"/>
                    <a:pt x="40" y="78"/>
                    <a:pt x="40" y="78"/>
                  </a:cubicBezTo>
                  <a:cubicBezTo>
                    <a:pt x="40" y="81"/>
                    <a:pt x="41" y="84"/>
                    <a:pt x="41" y="87"/>
                  </a:cubicBezTo>
                  <a:cubicBezTo>
                    <a:pt x="42" y="89"/>
                    <a:pt x="42" y="92"/>
                    <a:pt x="42" y="94"/>
                  </a:cubicBezTo>
                  <a:cubicBezTo>
                    <a:pt x="42" y="97"/>
                    <a:pt x="42" y="103"/>
                    <a:pt x="49" y="104"/>
                  </a:cubicBezTo>
                  <a:cubicBezTo>
                    <a:pt x="49" y="104"/>
                    <a:pt x="49" y="104"/>
                    <a:pt x="49" y="104"/>
                  </a:cubicBezTo>
                  <a:cubicBezTo>
                    <a:pt x="51" y="104"/>
                    <a:pt x="53" y="103"/>
                    <a:pt x="53" y="103"/>
                  </a:cubicBezTo>
                  <a:cubicBezTo>
                    <a:pt x="54" y="103"/>
                    <a:pt x="54" y="102"/>
                    <a:pt x="54" y="102"/>
                  </a:cubicBezTo>
                  <a:cubicBezTo>
                    <a:pt x="54" y="102"/>
                    <a:pt x="54" y="102"/>
                    <a:pt x="55" y="102"/>
                  </a:cubicBezTo>
                  <a:cubicBezTo>
                    <a:pt x="55" y="102"/>
                    <a:pt x="55" y="102"/>
                    <a:pt x="56" y="103"/>
                  </a:cubicBezTo>
                  <a:cubicBezTo>
                    <a:pt x="57" y="103"/>
                    <a:pt x="57" y="103"/>
                    <a:pt x="57" y="103"/>
                  </a:cubicBezTo>
                  <a:cubicBezTo>
                    <a:pt x="58" y="103"/>
                    <a:pt x="59" y="104"/>
                    <a:pt x="60" y="104"/>
                  </a:cubicBezTo>
                  <a:cubicBezTo>
                    <a:pt x="60" y="104"/>
                    <a:pt x="60" y="105"/>
                    <a:pt x="61" y="105"/>
                  </a:cubicBezTo>
                  <a:cubicBezTo>
                    <a:pt x="61" y="106"/>
                    <a:pt x="62" y="107"/>
                    <a:pt x="63" y="107"/>
                  </a:cubicBezTo>
                  <a:cubicBezTo>
                    <a:pt x="64" y="108"/>
                    <a:pt x="66" y="109"/>
                    <a:pt x="67" y="109"/>
                  </a:cubicBezTo>
                  <a:cubicBezTo>
                    <a:pt x="70" y="109"/>
                    <a:pt x="73" y="107"/>
                    <a:pt x="75" y="105"/>
                  </a:cubicBezTo>
                  <a:cubicBezTo>
                    <a:pt x="76" y="104"/>
                    <a:pt x="76" y="104"/>
                    <a:pt x="76" y="103"/>
                  </a:cubicBezTo>
                  <a:cubicBezTo>
                    <a:pt x="76" y="104"/>
                    <a:pt x="76" y="105"/>
                    <a:pt x="77" y="106"/>
                  </a:cubicBezTo>
                  <a:cubicBezTo>
                    <a:pt x="77" y="108"/>
                    <a:pt x="79" y="111"/>
                    <a:pt x="84" y="111"/>
                  </a:cubicBezTo>
                  <a:cubicBezTo>
                    <a:pt x="85" y="111"/>
                    <a:pt x="86" y="110"/>
                    <a:pt x="87" y="110"/>
                  </a:cubicBezTo>
                  <a:cubicBezTo>
                    <a:pt x="87" y="110"/>
                    <a:pt x="87" y="110"/>
                    <a:pt x="87" y="110"/>
                  </a:cubicBezTo>
                  <a:cubicBezTo>
                    <a:pt x="90" y="110"/>
                    <a:pt x="92" y="109"/>
                    <a:pt x="95" y="108"/>
                  </a:cubicBezTo>
                  <a:cubicBezTo>
                    <a:pt x="98" y="108"/>
                    <a:pt x="100" y="107"/>
                    <a:pt x="103" y="107"/>
                  </a:cubicBezTo>
                  <a:cubicBezTo>
                    <a:pt x="103" y="107"/>
                    <a:pt x="103" y="107"/>
                    <a:pt x="104" y="107"/>
                  </a:cubicBezTo>
                  <a:cubicBezTo>
                    <a:pt x="105" y="107"/>
                    <a:pt x="106" y="107"/>
                    <a:pt x="107" y="107"/>
                  </a:cubicBezTo>
                  <a:cubicBezTo>
                    <a:pt x="109" y="107"/>
                    <a:pt x="111" y="107"/>
                    <a:pt x="113" y="106"/>
                  </a:cubicBezTo>
                  <a:cubicBezTo>
                    <a:pt x="114" y="105"/>
                    <a:pt x="114" y="105"/>
                    <a:pt x="114" y="105"/>
                  </a:cubicBezTo>
                  <a:cubicBezTo>
                    <a:pt x="115" y="105"/>
                    <a:pt x="115" y="105"/>
                    <a:pt x="115" y="106"/>
                  </a:cubicBezTo>
                  <a:cubicBezTo>
                    <a:pt x="116" y="106"/>
                    <a:pt x="117" y="106"/>
                    <a:pt x="119" y="106"/>
                  </a:cubicBezTo>
                  <a:cubicBezTo>
                    <a:pt x="119" y="107"/>
                    <a:pt x="120" y="107"/>
                    <a:pt x="121" y="107"/>
                  </a:cubicBezTo>
                  <a:cubicBezTo>
                    <a:pt x="124" y="107"/>
                    <a:pt x="127" y="106"/>
                    <a:pt x="129" y="106"/>
                  </a:cubicBezTo>
                  <a:cubicBezTo>
                    <a:pt x="132" y="105"/>
                    <a:pt x="133" y="103"/>
                    <a:pt x="134" y="101"/>
                  </a:cubicBezTo>
                  <a:cubicBezTo>
                    <a:pt x="134" y="100"/>
                    <a:pt x="135" y="100"/>
                    <a:pt x="135" y="99"/>
                  </a:cubicBezTo>
                  <a:cubicBezTo>
                    <a:pt x="135" y="100"/>
                    <a:pt x="136" y="100"/>
                    <a:pt x="136" y="100"/>
                  </a:cubicBezTo>
                  <a:cubicBezTo>
                    <a:pt x="137" y="101"/>
                    <a:pt x="138" y="102"/>
                    <a:pt x="139" y="102"/>
                  </a:cubicBezTo>
                  <a:cubicBezTo>
                    <a:pt x="143" y="104"/>
                    <a:pt x="147" y="105"/>
                    <a:pt x="151" y="105"/>
                  </a:cubicBezTo>
                  <a:cubicBezTo>
                    <a:pt x="152" y="105"/>
                    <a:pt x="154" y="104"/>
                    <a:pt x="155" y="104"/>
                  </a:cubicBezTo>
                  <a:cubicBezTo>
                    <a:pt x="157" y="104"/>
                    <a:pt x="159" y="103"/>
                    <a:pt x="160" y="102"/>
                  </a:cubicBezTo>
                  <a:cubicBezTo>
                    <a:pt x="160" y="102"/>
                    <a:pt x="161" y="102"/>
                    <a:pt x="161" y="102"/>
                  </a:cubicBezTo>
                  <a:cubicBezTo>
                    <a:pt x="161" y="101"/>
                    <a:pt x="162" y="101"/>
                    <a:pt x="163" y="101"/>
                  </a:cubicBezTo>
                  <a:cubicBezTo>
                    <a:pt x="164" y="101"/>
                    <a:pt x="166" y="100"/>
                    <a:pt x="168" y="98"/>
                  </a:cubicBezTo>
                  <a:cubicBezTo>
                    <a:pt x="169" y="96"/>
                    <a:pt x="170" y="94"/>
                    <a:pt x="170" y="93"/>
                  </a:cubicBezTo>
                  <a:cubicBezTo>
                    <a:pt x="170" y="92"/>
                    <a:pt x="170" y="91"/>
                    <a:pt x="170" y="90"/>
                  </a:cubicBezTo>
                  <a:cubicBezTo>
                    <a:pt x="170" y="90"/>
                    <a:pt x="171" y="89"/>
                    <a:pt x="172" y="89"/>
                  </a:cubicBezTo>
                  <a:cubicBezTo>
                    <a:pt x="174" y="88"/>
                    <a:pt x="175" y="87"/>
                    <a:pt x="176" y="86"/>
                  </a:cubicBezTo>
                  <a:cubicBezTo>
                    <a:pt x="178" y="84"/>
                    <a:pt x="179" y="82"/>
                    <a:pt x="178" y="8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37" name="Freeform 136">
              <a:extLst>
                <a:ext uri="{FF2B5EF4-FFF2-40B4-BE49-F238E27FC236}">
                  <a16:creationId xmlns:a16="http://schemas.microsoft.com/office/drawing/2014/main" id="{3CCEF6F4-0877-4744-A608-347649367603}"/>
                </a:ext>
              </a:extLst>
            </p:cNvPr>
            <p:cNvSpPr>
              <a:spLocks/>
            </p:cNvSpPr>
            <p:nvPr/>
          </p:nvSpPr>
          <p:spPr bwMode="auto">
            <a:xfrm>
              <a:off x="17703741" y="3725060"/>
              <a:ext cx="213382" cy="216522"/>
            </a:xfrm>
            <a:custGeom>
              <a:avLst/>
              <a:gdLst>
                <a:gd name="T0" fmla="*/ 38 w 39"/>
                <a:gd name="T1" fmla="*/ 22 h 44"/>
                <a:gd name="T2" fmla="*/ 37 w 39"/>
                <a:gd name="T3" fmla="*/ 19 h 44"/>
                <a:gd name="T4" fmla="*/ 37 w 39"/>
                <a:gd name="T5" fmla="*/ 18 h 44"/>
                <a:gd name="T6" fmla="*/ 34 w 39"/>
                <a:gd name="T7" fmla="*/ 8 h 44"/>
                <a:gd name="T8" fmla="*/ 27 w 39"/>
                <a:gd name="T9" fmla="*/ 1 h 44"/>
                <a:gd name="T10" fmla="*/ 22 w 39"/>
                <a:gd name="T11" fmla="*/ 0 h 44"/>
                <a:gd name="T12" fmla="*/ 12 w 39"/>
                <a:gd name="T13" fmla="*/ 3 h 44"/>
                <a:gd name="T14" fmla="*/ 8 w 39"/>
                <a:gd name="T15" fmla="*/ 10 h 44"/>
                <a:gd name="T16" fmla="*/ 6 w 39"/>
                <a:gd name="T17" fmla="*/ 14 h 44"/>
                <a:gd name="T18" fmla="*/ 5 w 39"/>
                <a:gd name="T19" fmla="*/ 15 h 44"/>
                <a:gd name="T20" fmla="*/ 2 w 39"/>
                <a:gd name="T21" fmla="*/ 26 h 44"/>
                <a:gd name="T22" fmla="*/ 6 w 39"/>
                <a:gd name="T23" fmla="*/ 31 h 44"/>
                <a:gd name="T24" fmla="*/ 8 w 39"/>
                <a:gd name="T25" fmla="*/ 33 h 44"/>
                <a:gd name="T26" fmla="*/ 14 w 39"/>
                <a:gd name="T27" fmla="*/ 38 h 44"/>
                <a:gd name="T28" fmla="*/ 19 w 39"/>
                <a:gd name="T29" fmla="*/ 41 h 44"/>
                <a:gd name="T30" fmla="*/ 22 w 39"/>
                <a:gd name="T31" fmla="*/ 43 h 44"/>
                <a:gd name="T32" fmla="*/ 27 w 39"/>
                <a:gd name="T33" fmla="*/ 44 h 44"/>
                <a:gd name="T34" fmla="*/ 33 w 39"/>
                <a:gd name="T35" fmla="*/ 43 h 44"/>
                <a:gd name="T36" fmla="*/ 38 w 39"/>
                <a:gd name="T37" fmla="*/ 36 h 44"/>
                <a:gd name="T38" fmla="*/ 38 w 39"/>
                <a:gd name="T3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9" h="44">
                  <a:moveTo>
                    <a:pt x="38" y="22"/>
                  </a:moveTo>
                  <a:cubicBezTo>
                    <a:pt x="38" y="21"/>
                    <a:pt x="37" y="20"/>
                    <a:pt x="37" y="19"/>
                  </a:cubicBezTo>
                  <a:cubicBezTo>
                    <a:pt x="37" y="18"/>
                    <a:pt x="37" y="18"/>
                    <a:pt x="37" y="18"/>
                  </a:cubicBezTo>
                  <a:cubicBezTo>
                    <a:pt x="36" y="15"/>
                    <a:pt x="36" y="11"/>
                    <a:pt x="34" y="8"/>
                  </a:cubicBezTo>
                  <a:cubicBezTo>
                    <a:pt x="33" y="5"/>
                    <a:pt x="30" y="2"/>
                    <a:pt x="27" y="1"/>
                  </a:cubicBezTo>
                  <a:cubicBezTo>
                    <a:pt x="26" y="0"/>
                    <a:pt x="24" y="0"/>
                    <a:pt x="22" y="0"/>
                  </a:cubicBezTo>
                  <a:cubicBezTo>
                    <a:pt x="19" y="0"/>
                    <a:pt x="14" y="1"/>
                    <a:pt x="12" y="3"/>
                  </a:cubicBezTo>
                  <a:cubicBezTo>
                    <a:pt x="10" y="5"/>
                    <a:pt x="9" y="8"/>
                    <a:pt x="8" y="10"/>
                  </a:cubicBezTo>
                  <a:cubicBezTo>
                    <a:pt x="8" y="11"/>
                    <a:pt x="7" y="13"/>
                    <a:pt x="6" y="14"/>
                  </a:cubicBezTo>
                  <a:cubicBezTo>
                    <a:pt x="5" y="15"/>
                    <a:pt x="5" y="15"/>
                    <a:pt x="5" y="15"/>
                  </a:cubicBezTo>
                  <a:cubicBezTo>
                    <a:pt x="3" y="17"/>
                    <a:pt x="0" y="21"/>
                    <a:pt x="2" y="26"/>
                  </a:cubicBezTo>
                  <a:cubicBezTo>
                    <a:pt x="3" y="29"/>
                    <a:pt x="5" y="30"/>
                    <a:pt x="6" y="31"/>
                  </a:cubicBezTo>
                  <a:cubicBezTo>
                    <a:pt x="7" y="32"/>
                    <a:pt x="8" y="32"/>
                    <a:pt x="8" y="33"/>
                  </a:cubicBezTo>
                  <a:cubicBezTo>
                    <a:pt x="10" y="35"/>
                    <a:pt x="12" y="37"/>
                    <a:pt x="14" y="38"/>
                  </a:cubicBezTo>
                  <a:cubicBezTo>
                    <a:pt x="16" y="40"/>
                    <a:pt x="18" y="41"/>
                    <a:pt x="19" y="41"/>
                  </a:cubicBezTo>
                  <a:cubicBezTo>
                    <a:pt x="20" y="42"/>
                    <a:pt x="21" y="42"/>
                    <a:pt x="22" y="43"/>
                  </a:cubicBezTo>
                  <a:cubicBezTo>
                    <a:pt x="24" y="44"/>
                    <a:pt x="26" y="44"/>
                    <a:pt x="27" y="44"/>
                  </a:cubicBezTo>
                  <a:cubicBezTo>
                    <a:pt x="29" y="44"/>
                    <a:pt x="31" y="44"/>
                    <a:pt x="33" y="43"/>
                  </a:cubicBezTo>
                  <a:cubicBezTo>
                    <a:pt x="35" y="41"/>
                    <a:pt x="37" y="39"/>
                    <a:pt x="38" y="36"/>
                  </a:cubicBezTo>
                  <a:cubicBezTo>
                    <a:pt x="39" y="31"/>
                    <a:pt x="38" y="26"/>
                    <a:pt x="38" y="2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38" name="Freeform 137">
              <a:extLst>
                <a:ext uri="{FF2B5EF4-FFF2-40B4-BE49-F238E27FC236}">
                  <a16:creationId xmlns:a16="http://schemas.microsoft.com/office/drawing/2014/main" id="{DE3C32D7-9A1A-A440-A6AB-802A5A1B203D}"/>
                </a:ext>
              </a:extLst>
            </p:cNvPr>
            <p:cNvSpPr>
              <a:spLocks/>
            </p:cNvSpPr>
            <p:nvPr/>
          </p:nvSpPr>
          <p:spPr bwMode="auto">
            <a:xfrm>
              <a:off x="17621671" y="4874867"/>
              <a:ext cx="82070" cy="78396"/>
            </a:xfrm>
            <a:custGeom>
              <a:avLst/>
              <a:gdLst>
                <a:gd name="T0" fmla="*/ 10 w 15"/>
                <a:gd name="T1" fmla="*/ 1 h 16"/>
                <a:gd name="T2" fmla="*/ 6 w 15"/>
                <a:gd name="T3" fmla="*/ 0 h 16"/>
                <a:gd name="T4" fmla="*/ 1 w 15"/>
                <a:gd name="T5" fmla="*/ 2 h 16"/>
                <a:gd name="T6" fmla="*/ 0 w 15"/>
                <a:gd name="T7" fmla="*/ 7 h 16"/>
                <a:gd name="T8" fmla="*/ 10 w 15"/>
                <a:gd name="T9" fmla="*/ 16 h 16"/>
                <a:gd name="T10" fmla="*/ 10 w 15"/>
                <a:gd name="T11" fmla="*/ 16 h 16"/>
                <a:gd name="T12" fmla="*/ 12 w 15"/>
                <a:gd name="T13" fmla="*/ 16 h 16"/>
                <a:gd name="T14" fmla="*/ 15 w 15"/>
                <a:gd name="T15" fmla="*/ 10 h 16"/>
                <a:gd name="T16" fmla="*/ 10 w 15"/>
                <a:gd name="T1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6">
                  <a:moveTo>
                    <a:pt x="10" y="1"/>
                  </a:moveTo>
                  <a:cubicBezTo>
                    <a:pt x="9" y="1"/>
                    <a:pt x="7" y="0"/>
                    <a:pt x="6" y="0"/>
                  </a:cubicBezTo>
                  <a:cubicBezTo>
                    <a:pt x="4" y="0"/>
                    <a:pt x="3" y="1"/>
                    <a:pt x="1" y="2"/>
                  </a:cubicBezTo>
                  <a:cubicBezTo>
                    <a:pt x="0" y="4"/>
                    <a:pt x="0" y="5"/>
                    <a:pt x="0" y="7"/>
                  </a:cubicBezTo>
                  <a:cubicBezTo>
                    <a:pt x="1" y="11"/>
                    <a:pt x="6" y="16"/>
                    <a:pt x="10" y="16"/>
                  </a:cubicBezTo>
                  <a:cubicBezTo>
                    <a:pt x="10" y="16"/>
                    <a:pt x="10" y="16"/>
                    <a:pt x="10" y="16"/>
                  </a:cubicBezTo>
                  <a:cubicBezTo>
                    <a:pt x="11" y="16"/>
                    <a:pt x="11" y="16"/>
                    <a:pt x="12" y="16"/>
                  </a:cubicBezTo>
                  <a:cubicBezTo>
                    <a:pt x="14" y="15"/>
                    <a:pt x="15" y="13"/>
                    <a:pt x="15" y="10"/>
                  </a:cubicBezTo>
                  <a:cubicBezTo>
                    <a:pt x="15" y="7"/>
                    <a:pt x="12" y="3"/>
                    <a:pt x="10" y="1"/>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39" name="Freeform 138">
              <a:extLst>
                <a:ext uri="{FF2B5EF4-FFF2-40B4-BE49-F238E27FC236}">
                  <a16:creationId xmlns:a16="http://schemas.microsoft.com/office/drawing/2014/main" id="{82B34301-3666-7D44-AA64-2764F67DAFDC}"/>
                </a:ext>
              </a:extLst>
            </p:cNvPr>
            <p:cNvSpPr>
              <a:spLocks/>
            </p:cNvSpPr>
            <p:nvPr/>
          </p:nvSpPr>
          <p:spPr bwMode="auto">
            <a:xfrm>
              <a:off x="17933537" y="4835669"/>
              <a:ext cx="65656" cy="54131"/>
            </a:xfrm>
            <a:custGeom>
              <a:avLst/>
              <a:gdLst>
                <a:gd name="T0" fmla="*/ 11 w 12"/>
                <a:gd name="T1" fmla="*/ 4 h 11"/>
                <a:gd name="T2" fmla="*/ 7 w 12"/>
                <a:gd name="T3" fmla="*/ 0 h 11"/>
                <a:gd name="T4" fmla="*/ 1 w 12"/>
                <a:gd name="T5" fmla="*/ 6 h 11"/>
                <a:gd name="T6" fmla="*/ 3 w 12"/>
                <a:gd name="T7" fmla="*/ 10 h 11"/>
                <a:gd name="T8" fmla="*/ 5 w 12"/>
                <a:gd name="T9" fmla="*/ 11 h 11"/>
                <a:gd name="T10" fmla="*/ 5 w 12"/>
                <a:gd name="T11" fmla="*/ 11 h 11"/>
                <a:gd name="T12" fmla="*/ 10 w 12"/>
                <a:gd name="T13" fmla="*/ 8 h 11"/>
                <a:gd name="T14" fmla="*/ 11 w 12"/>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11" y="4"/>
                  </a:moveTo>
                  <a:cubicBezTo>
                    <a:pt x="11" y="0"/>
                    <a:pt x="8" y="0"/>
                    <a:pt x="7" y="0"/>
                  </a:cubicBezTo>
                  <a:cubicBezTo>
                    <a:pt x="3" y="0"/>
                    <a:pt x="1" y="4"/>
                    <a:pt x="1" y="6"/>
                  </a:cubicBezTo>
                  <a:cubicBezTo>
                    <a:pt x="0" y="8"/>
                    <a:pt x="2" y="10"/>
                    <a:pt x="3" y="10"/>
                  </a:cubicBezTo>
                  <a:cubicBezTo>
                    <a:pt x="4" y="10"/>
                    <a:pt x="4" y="11"/>
                    <a:pt x="5" y="11"/>
                  </a:cubicBezTo>
                  <a:cubicBezTo>
                    <a:pt x="5" y="11"/>
                    <a:pt x="5" y="11"/>
                    <a:pt x="5" y="11"/>
                  </a:cubicBezTo>
                  <a:cubicBezTo>
                    <a:pt x="7" y="11"/>
                    <a:pt x="9" y="10"/>
                    <a:pt x="10" y="8"/>
                  </a:cubicBezTo>
                  <a:cubicBezTo>
                    <a:pt x="11" y="7"/>
                    <a:pt x="12" y="6"/>
                    <a:pt x="11" y="4"/>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0" name="Freeform 139">
              <a:extLst>
                <a:ext uri="{FF2B5EF4-FFF2-40B4-BE49-F238E27FC236}">
                  <a16:creationId xmlns:a16="http://schemas.microsoft.com/office/drawing/2014/main" id="{757BEA09-2518-7F4B-AAE7-244CF63431D2}"/>
                </a:ext>
              </a:extLst>
            </p:cNvPr>
            <p:cNvSpPr>
              <a:spLocks/>
            </p:cNvSpPr>
            <p:nvPr/>
          </p:nvSpPr>
          <p:spPr bwMode="auto">
            <a:xfrm>
              <a:off x="16146464" y="4036777"/>
              <a:ext cx="1171549" cy="946351"/>
            </a:xfrm>
            <a:custGeom>
              <a:avLst/>
              <a:gdLst>
                <a:gd name="T0" fmla="*/ 209 w 215"/>
                <a:gd name="T1" fmla="*/ 139 h 191"/>
                <a:gd name="T2" fmla="*/ 205 w 215"/>
                <a:gd name="T3" fmla="*/ 135 h 191"/>
                <a:gd name="T4" fmla="*/ 197 w 215"/>
                <a:gd name="T5" fmla="*/ 125 h 191"/>
                <a:gd name="T6" fmla="*/ 189 w 215"/>
                <a:gd name="T7" fmla="*/ 119 h 191"/>
                <a:gd name="T8" fmla="*/ 181 w 215"/>
                <a:gd name="T9" fmla="*/ 110 h 191"/>
                <a:gd name="T10" fmla="*/ 178 w 215"/>
                <a:gd name="T11" fmla="*/ 104 h 191"/>
                <a:gd name="T12" fmla="*/ 179 w 215"/>
                <a:gd name="T13" fmla="*/ 90 h 191"/>
                <a:gd name="T14" fmla="*/ 181 w 215"/>
                <a:gd name="T15" fmla="*/ 69 h 191"/>
                <a:gd name="T16" fmla="*/ 180 w 215"/>
                <a:gd name="T17" fmla="*/ 57 h 191"/>
                <a:gd name="T18" fmla="*/ 182 w 215"/>
                <a:gd name="T19" fmla="*/ 50 h 191"/>
                <a:gd name="T20" fmla="*/ 184 w 215"/>
                <a:gd name="T21" fmla="*/ 44 h 191"/>
                <a:gd name="T22" fmla="*/ 185 w 215"/>
                <a:gd name="T23" fmla="*/ 35 h 191"/>
                <a:gd name="T24" fmla="*/ 181 w 215"/>
                <a:gd name="T25" fmla="*/ 21 h 191"/>
                <a:gd name="T26" fmla="*/ 177 w 215"/>
                <a:gd name="T27" fmla="*/ 16 h 191"/>
                <a:gd name="T28" fmla="*/ 165 w 215"/>
                <a:gd name="T29" fmla="*/ 3 h 191"/>
                <a:gd name="T30" fmla="*/ 149 w 215"/>
                <a:gd name="T31" fmla="*/ 9 h 191"/>
                <a:gd name="T32" fmla="*/ 148 w 215"/>
                <a:gd name="T33" fmla="*/ 15 h 191"/>
                <a:gd name="T34" fmla="*/ 146 w 215"/>
                <a:gd name="T35" fmla="*/ 30 h 191"/>
                <a:gd name="T36" fmla="*/ 145 w 215"/>
                <a:gd name="T37" fmla="*/ 38 h 191"/>
                <a:gd name="T38" fmla="*/ 146 w 215"/>
                <a:gd name="T39" fmla="*/ 50 h 191"/>
                <a:gd name="T40" fmla="*/ 143 w 215"/>
                <a:gd name="T41" fmla="*/ 62 h 191"/>
                <a:gd name="T42" fmla="*/ 141 w 215"/>
                <a:gd name="T43" fmla="*/ 44 h 191"/>
                <a:gd name="T44" fmla="*/ 138 w 215"/>
                <a:gd name="T45" fmla="*/ 16 h 191"/>
                <a:gd name="T46" fmla="*/ 131 w 215"/>
                <a:gd name="T47" fmla="*/ 10 h 191"/>
                <a:gd name="T48" fmla="*/ 5 w 215"/>
                <a:gd name="T49" fmla="*/ 82 h 191"/>
                <a:gd name="T50" fmla="*/ 2 w 215"/>
                <a:gd name="T51" fmla="*/ 98 h 191"/>
                <a:gd name="T52" fmla="*/ 3 w 215"/>
                <a:gd name="T53" fmla="*/ 104 h 191"/>
                <a:gd name="T54" fmla="*/ 15 w 215"/>
                <a:gd name="T55" fmla="*/ 121 h 191"/>
                <a:gd name="T56" fmla="*/ 30 w 215"/>
                <a:gd name="T57" fmla="*/ 128 h 191"/>
                <a:gd name="T58" fmla="*/ 32 w 215"/>
                <a:gd name="T59" fmla="*/ 127 h 191"/>
                <a:gd name="T60" fmla="*/ 35 w 215"/>
                <a:gd name="T61" fmla="*/ 128 h 191"/>
                <a:gd name="T62" fmla="*/ 34 w 215"/>
                <a:gd name="T63" fmla="*/ 140 h 191"/>
                <a:gd name="T64" fmla="*/ 36 w 215"/>
                <a:gd name="T65" fmla="*/ 163 h 191"/>
                <a:gd name="T66" fmla="*/ 49 w 215"/>
                <a:gd name="T67" fmla="*/ 165 h 191"/>
                <a:gd name="T68" fmla="*/ 59 w 215"/>
                <a:gd name="T69" fmla="*/ 167 h 191"/>
                <a:gd name="T70" fmla="*/ 74 w 215"/>
                <a:gd name="T71" fmla="*/ 170 h 191"/>
                <a:gd name="T72" fmla="*/ 82 w 215"/>
                <a:gd name="T73" fmla="*/ 172 h 191"/>
                <a:gd name="T74" fmla="*/ 101 w 215"/>
                <a:gd name="T75" fmla="*/ 167 h 191"/>
                <a:gd name="T76" fmla="*/ 108 w 215"/>
                <a:gd name="T77" fmla="*/ 168 h 191"/>
                <a:gd name="T78" fmla="*/ 120 w 215"/>
                <a:gd name="T79" fmla="*/ 169 h 191"/>
                <a:gd name="T80" fmla="*/ 131 w 215"/>
                <a:gd name="T81" fmla="*/ 158 h 191"/>
                <a:gd name="T82" fmla="*/ 134 w 215"/>
                <a:gd name="T83" fmla="*/ 153 h 191"/>
                <a:gd name="T84" fmla="*/ 134 w 215"/>
                <a:gd name="T85" fmla="*/ 158 h 191"/>
                <a:gd name="T86" fmla="*/ 133 w 215"/>
                <a:gd name="T87" fmla="*/ 167 h 191"/>
                <a:gd name="T88" fmla="*/ 144 w 215"/>
                <a:gd name="T89" fmla="*/ 169 h 191"/>
                <a:gd name="T90" fmla="*/ 145 w 215"/>
                <a:gd name="T91" fmla="*/ 174 h 191"/>
                <a:gd name="T92" fmla="*/ 157 w 215"/>
                <a:gd name="T93" fmla="*/ 184 h 191"/>
                <a:gd name="T94" fmla="*/ 167 w 215"/>
                <a:gd name="T95" fmla="*/ 188 h 191"/>
                <a:gd name="T96" fmla="*/ 184 w 215"/>
                <a:gd name="T97" fmla="*/ 189 h 191"/>
                <a:gd name="T98" fmla="*/ 195 w 215"/>
                <a:gd name="T99" fmla="*/ 179 h 191"/>
                <a:gd name="T100" fmla="*/ 195 w 215"/>
                <a:gd name="T101" fmla="*/ 173 h 191"/>
                <a:gd name="T102" fmla="*/ 195 w 215"/>
                <a:gd name="T103" fmla="*/ 165 h 191"/>
                <a:gd name="T104" fmla="*/ 191 w 215"/>
                <a:gd name="T105" fmla="*/ 156 h 191"/>
                <a:gd name="T106" fmla="*/ 192 w 215"/>
                <a:gd name="T107" fmla="*/ 155 h 191"/>
                <a:gd name="T108" fmla="*/ 198 w 215"/>
                <a:gd name="T109" fmla="*/ 158 h 191"/>
                <a:gd name="T110" fmla="*/ 202 w 215"/>
                <a:gd name="T111" fmla="*/ 157 h 191"/>
                <a:gd name="T112" fmla="*/ 207 w 215"/>
                <a:gd name="T113" fmla="*/ 161 h 191"/>
                <a:gd name="T114" fmla="*/ 214 w 215"/>
                <a:gd name="T115" fmla="*/ 154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191">
                  <a:moveTo>
                    <a:pt x="212" y="142"/>
                  </a:moveTo>
                  <a:cubicBezTo>
                    <a:pt x="211" y="141"/>
                    <a:pt x="210" y="140"/>
                    <a:pt x="209" y="139"/>
                  </a:cubicBezTo>
                  <a:cubicBezTo>
                    <a:pt x="209" y="139"/>
                    <a:pt x="208" y="138"/>
                    <a:pt x="207" y="138"/>
                  </a:cubicBezTo>
                  <a:cubicBezTo>
                    <a:pt x="207" y="137"/>
                    <a:pt x="206" y="136"/>
                    <a:pt x="205" y="135"/>
                  </a:cubicBezTo>
                  <a:cubicBezTo>
                    <a:pt x="205" y="134"/>
                    <a:pt x="205" y="134"/>
                    <a:pt x="204" y="133"/>
                  </a:cubicBezTo>
                  <a:cubicBezTo>
                    <a:pt x="202" y="130"/>
                    <a:pt x="199" y="127"/>
                    <a:pt x="197" y="125"/>
                  </a:cubicBezTo>
                  <a:cubicBezTo>
                    <a:pt x="196" y="124"/>
                    <a:pt x="195" y="124"/>
                    <a:pt x="194" y="123"/>
                  </a:cubicBezTo>
                  <a:cubicBezTo>
                    <a:pt x="193" y="121"/>
                    <a:pt x="191" y="120"/>
                    <a:pt x="189" y="119"/>
                  </a:cubicBezTo>
                  <a:cubicBezTo>
                    <a:pt x="187" y="118"/>
                    <a:pt x="185" y="117"/>
                    <a:pt x="184" y="115"/>
                  </a:cubicBezTo>
                  <a:cubicBezTo>
                    <a:pt x="183" y="114"/>
                    <a:pt x="182" y="112"/>
                    <a:pt x="181" y="110"/>
                  </a:cubicBezTo>
                  <a:cubicBezTo>
                    <a:pt x="181" y="109"/>
                    <a:pt x="181" y="109"/>
                    <a:pt x="181" y="108"/>
                  </a:cubicBezTo>
                  <a:cubicBezTo>
                    <a:pt x="180" y="107"/>
                    <a:pt x="179" y="105"/>
                    <a:pt x="178" y="104"/>
                  </a:cubicBezTo>
                  <a:cubicBezTo>
                    <a:pt x="178" y="103"/>
                    <a:pt x="177" y="102"/>
                    <a:pt x="177" y="101"/>
                  </a:cubicBezTo>
                  <a:cubicBezTo>
                    <a:pt x="175" y="98"/>
                    <a:pt x="177" y="95"/>
                    <a:pt x="179" y="90"/>
                  </a:cubicBezTo>
                  <a:cubicBezTo>
                    <a:pt x="182" y="86"/>
                    <a:pt x="184" y="80"/>
                    <a:pt x="183" y="75"/>
                  </a:cubicBezTo>
                  <a:cubicBezTo>
                    <a:pt x="183" y="73"/>
                    <a:pt x="182" y="71"/>
                    <a:pt x="181" y="69"/>
                  </a:cubicBezTo>
                  <a:cubicBezTo>
                    <a:pt x="180" y="66"/>
                    <a:pt x="179" y="64"/>
                    <a:pt x="179" y="61"/>
                  </a:cubicBezTo>
                  <a:cubicBezTo>
                    <a:pt x="179" y="60"/>
                    <a:pt x="179" y="59"/>
                    <a:pt x="180" y="57"/>
                  </a:cubicBezTo>
                  <a:cubicBezTo>
                    <a:pt x="181" y="56"/>
                    <a:pt x="181" y="56"/>
                    <a:pt x="181" y="56"/>
                  </a:cubicBezTo>
                  <a:cubicBezTo>
                    <a:pt x="181" y="54"/>
                    <a:pt x="182" y="52"/>
                    <a:pt x="182" y="50"/>
                  </a:cubicBezTo>
                  <a:cubicBezTo>
                    <a:pt x="182" y="49"/>
                    <a:pt x="182" y="49"/>
                    <a:pt x="182" y="49"/>
                  </a:cubicBezTo>
                  <a:cubicBezTo>
                    <a:pt x="183" y="47"/>
                    <a:pt x="183" y="46"/>
                    <a:pt x="184" y="44"/>
                  </a:cubicBezTo>
                  <a:cubicBezTo>
                    <a:pt x="185" y="42"/>
                    <a:pt x="185" y="39"/>
                    <a:pt x="185" y="35"/>
                  </a:cubicBezTo>
                  <a:cubicBezTo>
                    <a:pt x="185" y="35"/>
                    <a:pt x="185" y="35"/>
                    <a:pt x="185" y="35"/>
                  </a:cubicBezTo>
                  <a:cubicBezTo>
                    <a:pt x="185" y="32"/>
                    <a:pt x="185" y="29"/>
                    <a:pt x="184" y="25"/>
                  </a:cubicBezTo>
                  <a:cubicBezTo>
                    <a:pt x="183" y="23"/>
                    <a:pt x="182" y="22"/>
                    <a:pt x="181" y="21"/>
                  </a:cubicBezTo>
                  <a:cubicBezTo>
                    <a:pt x="180" y="20"/>
                    <a:pt x="180" y="19"/>
                    <a:pt x="179" y="19"/>
                  </a:cubicBezTo>
                  <a:cubicBezTo>
                    <a:pt x="179" y="18"/>
                    <a:pt x="178" y="17"/>
                    <a:pt x="177" y="16"/>
                  </a:cubicBezTo>
                  <a:cubicBezTo>
                    <a:pt x="175" y="12"/>
                    <a:pt x="173" y="7"/>
                    <a:pt x="168" y="5"/>
                  </a:cubicBezTo>
                  <a:cubicBezTo>
                    <a:pt x="167" y="4"/>
                    <a:pt x="166" y="4"/>
                    <a:pt x="165" y="3"/>
                  </a:cubicBezTo>
                  <a:cubicBezTo>
                    <a:pt x="163" y="2"/>
                    <a:pt x="160" y="0"/>
                    <a:pt x="157" y="0"/>
                  </a:cubicBezTo>
                  <a:cubicBezTo>
                    <a:pt x="151" y="0"/>
                    <a:pt x="149" y="6"/>
                    <a:pt x="149" y="9"/>
                  </a:cubicBezTo>
                  <a:cubicBezTo>
                    <a:pt x="149" y="10"/>
                    <a:pt x="149" y="10"/>
                    <a:pt x="149" y="10"/>
                  </a:cubicBezTo>
                  <a:cubicBezTo>
                    <a:pt x="148" y="12"/>
                    <a:pt x="148" y="14"/>
                    <a:pt x="148" y="15"/>
                  </a:cubicBezTo>
                  <a:cubicBezTo>
                    <a:pt x="147" y="17"/>
                    <a:pt x="147" y="20"/>
                    <a:pt x="146" y="22"/>
                  </a:cubicBezTo>
                  <a:cubicBezTo>
                    <a:pt x="146" y="24"/>
                    <a:pt x="146" y="27"/>
                    <a:pt x="146" y="30"/>
                  </a:cubicBezTo>
                  <a:cubicBezTo>
                    <a:pt x="146" y="31"/>
                    <a:pt x="146" y="33"/>
                    <a:pt x="146" y="34"/>
                  </a:cubicBezTo>
                  <a:cubicBezTo>
                    <a:pt x="146" y="36"/>
                    <a:pt x="145" y="37"/>
                    <a:pt x="145" y="38"/>
                  </a:cubicBezTo>
                  <a:cubicBezTo>
                    <a:pt x="145" y="40"/>
                    <a:pt x="145" y="43"/>
                    <a:pt x="145" y="46"/>
                  </a:cubicBezTo>
                  <a:cubicBezTo>
                    <a:pt x="145" y="47"/>
                    <a:pt x="146" y="49"/>
                    <a:pt x="146" y="50"/>
                  </a:cubicBezTo>
                  <a:cubicBezTo>
                    <a:pt x="146" y="52"/>
                    <a:pt x="147" y="54"/>
                    <a:pt x="147" y="55"/>
                  </a:cubicBezTo>
                  <a:cubicBezTo>
                    <a:pt x="146" y="58"/>
                    <a:pt x="144" y="62"/>
                    <a:pt x="143" y="62"/>
                  </a:cubicBezTo>
                  <a:cubicBezTo>
                    <a:pt x="143" y="62"/>
                    <a:pt x="142" y="62"/>
                    <a:pt x="141" y="59"/>
                  </a:cubicBezTo>
                  <a:cubicBezTo>
                    <a:pt x="140" y="54"/>
                    <a:pt x="140" y="49"/>
                    <a:pt x="141" y="44"/>
                  </a:cubicBezTo>
                  <a:cubicBezTo>
                    <a:pt x="142" y="41"/>
                    <a:pt x="142" y="39"/>
                    <a:pt x="142" y="37"/>
                  </a:cubicBezTo>
                  <a:cubicBezTo>
                    <a:pt x="143" y="29"/>
                    <a:pt x="140" y="22"/>
                    <a:pt x="138" y="16"/>
                  </a:cubicBezTo>
                  <a:cubicBezTo>
                    <a:pt x="136" y="14"/>
                    <a:pt x="135" y="13"/>
                    <a:pt x="134" y="12"/>
                  </a:cubicBezTo>
                  <a:cubicBezTo>
                    <a:pt x="131" y="10"/>
                    <a:pt x="131" y="10"/>
                    <a:pt x="131" y="10"/>
                  </a:cubicBezTo>
                  <a:cubicBezTo>
                    <a:pt x="94" y="118"/>
                    <a:pt x="94" y="118"/>
                    <a:pt x="94" y="118"/>
                  </a:cubicBezTo>
                  <a:cubicBezTo>
                    <a:pt x="5" y="82"/>
                    <a:pt x="5" y="82"/>
                    <a:pt x="5" y="82"/>
                  </a:cubicBezTo>
                  <a:cubicBezTo>
                    <a:pt x="4" y="84"/>
                    <a:pt x="4" y="84"/>
                    <a:pt x="4" y="84"/>
                  </a:cubicBezTo>
                  <a:cubicBezTo>
                    <a:pt x="0" y="88"/>
                    <a:pt x="1" y="93"/>
                    <a:pt x="2" y="98"/>
                  </a:cubicBezTo>
                  <a:cubicBezTo>
                    <a:pt x="2" y="98"/>
                    <a:pt x="2" y="99"/>
                    <a:pt x="2" y="100"/>
                  </a:cubicBezTo>
                  <a:cubicBezTo>
                    <a:pt x="3" y="101"/>
                    <a:pt x="3" y="102"/>
                    <a:pt x="3" y="104"/>
                  </a:cubicBezTo>
                  <a:cubicBezTo>
                    <a:pt x="3" y="105"/>
                    <a:pt x="3" y="107"/>
                    <a:pt x="4" y="109"/>
                  </a:cubicBezTo>
                  <a:cubicBezTo>
                    <a:pt x="5" y="116"/>
                    <a:pt x="11" y="118"/>
                    <a:pt x="15" y="121"/>
                  </a:cubicBezTo>
                  <a:cubicBezTo>
                    <a:pt x="18" y="122"/>
                    <a:pt x="20" y="123"/>
                    <a:pt x="21" y="124"/>
                  </a:cubicBezTo>
                  <a:cubicBezTo>
                    <a:pt x="24" y="126"/>
                    <a:pt x="26" y="127"/>
                    <a:pt x="30" y="128"/>
                  </a:cubicBezTo>
                  <a:cubicBezTo>
                    <a:pt x="30" y="128"/>
                    <a:pt x="30" y="128"/>
                    <a:pt x="30" y="128"/>
                  </a:cubicBezTo>
                  <a:cubicBezTo>
                    <a:pt x="31" y="128"/>
                    <a:pt x="32" y="127"/>
                    <a:pt x="32" y="127"/>
                  </a:cubicBezTo>
                  <a:cubicBezTo>
                    <a:pt x="33" y="127"/>
                    <a:pt x="33" y="127"/>
                    <a:pt x="34" y="127"/>
                  </a:cubicBezTo>
                  <a:cubicBezTo>
                    <a:pt x="35" y="127"/>
                    <a:pt x="35" y="128"/>
                    <a:pt x="35" y="128"/>
                  </a:cubicBezTo>
                  <a:cubicBezTo>
                    <a:pt x="36" y="130"/>
                    <a:pt x="37" y="134"/>
                    <a:pt x="35" y="137"/>
                  </a:cubicBezTo>
                  <a:cubicBezTo>
                    <a:pt x="35" y="138"/>
                    <a:pt x="34" y="139"/>
                    <a:pt x="34" y="140"/>
                  </a:cubicBezTo>
                  <a:cubicBezTo>
                    <a:pt x="33" y="141"/>
                    <a:pt x="31" y="143"/>
                    <a:pt x="31" y="146"/>
                  </a:cubicBezTo>
                  <a:cubicBezTo>
                    <a:pt x="29" y="152"/>
                    <a:pt x="32" y="159"/>
                    <a:pt x="36" y="163"/>
                  </a:cubicBezTo>
                  <a:cubicBezTo>
                    <a:pt x="39" y="165"/>
                    <a:pt x="43" y="165"/>
                    <a:pt x="46" y="165"/>
                  </a:cubicBezTo>
                  <a:cubicBezTo>
                    <a:pt x="46" y="165"/>
                    <a:pt x="49" y="165"/>
                    <a:pt x="49" y="165"/>
                  </a:cubicBezTo>
                  <a:cubicBezTo>
                    <a:pt x="51" y="165"/>
                    <a:pt x="52" y="166"/>
                    <a:pt x="54" y="166"/>
                  </a:cubicBezTo>
                  <a:cubicBezTo>
                    <a:pt x="55" y="166"/>
                    <a:pt x="57" y="167"/>
                    <a:pt x="59" y="167"/>
                  </a:cubicBezTo>
                  <a:cubicBezTo>
                    <a:pt x="63" y="167"/>
                    <a:pt x="68" y="168"/>
                    <a:pt x="72" y="169"/>
                  </a:cubicBezTo>
                  <a:cubicBezTo>
                    <a:pt x="73" y="169"/>
                    <a:pt x="74" y="170"/>
                    <a:pt x="74" y="170"/>
                  </a:cubicBezTo>
                  <a:cubicBezTo>
                    <a:pt x="76" y="171"/>
                    <a:pt x="78" y="172"/>
                    <a:pt x="81" y="172"/>
                  </a:cubicBezTo>
                  <a:cubicBezTo>
                    <a:pt x="81" y="172"/>
                    <a:pt x="82" y="172"/>
                    <a:pt x="82" y="172"/>
                  </a:cubicBezTo>
                  <a:cubicBezTo>
                    <a:pt x="86" y="172"/>
                    <a:pt x="90" y="171"/>
                    <a:pt x="93" y="170"/>
                  </a:cubicBezTo>
                  <a:cubicBezTo>
                    <a:pt x="96" y="169"/>
                    <a:pt x="98" y="168"/>
                    <a:pt x="101" y="167"/>
                  </a:cubicBezTo>
                  <a:cubicBezTo>
                    <a:pt x="101" y="167"/>
                    <a:pt x="102" y="167"/>
                    <a:pt x="102" y="167"/>
                  </a:cubicBezTo>
                  <a:cubicBezTo>
                    <a:pt x="104" y="167"/>
                    <a:pt x="106" y="168"/>
                    <a:pt x="108" y="168"/>
                  </a:cubicBezTo>
                  <a:cubicBezTo>
                    <a:pt x="110" y="169"/>
                    <a:pt x="113" y="169"/>
                    <a:pt x="115" y="169"/>
                  </a:cubicBezTo>
                  <a:cubicBezTo>
                    <a:pt x="117" y="169"/>
                    <a:pt x="118" y="169"/>
                    <a:pt x="120" y="169"/>
                  </a:cubicBezTo>
                  <a:cubicBezTo>
                    <a:pt x="123" y="168"/>
                    <a:pt x="126" y="165"/>
                    <a:pt x="129" y="161"/>
                  </a:cubicBezTo>
                  <a:cubicBezTo>
                    <a:pt x="130" y="160"/>
                    <a:pt x="131" y="159"/>
                    <a:pt x="131" y="158"/>
                  </a:cubicBezTo>
                  <a:cubicBezTo>
                    <a:pt x="132" y="156"/>
                    <a:pt x="133" y="154"/>
                    <a:pt x="134" y="154"/>
                  </a:cubicBezTo>
                  <a:cubicBezTo>
                    <a:pt x="134" y="153"/>
                    <a:pt x="134" y="153"/>
                    <a:pt x="134" y="153"/>
                  </a:cubicBezTo>
                  <a:cubicBezTo>
                    <a:pt x="134" y="153"/>
                    <a:pt x="135" y="154"/>
                    <a:pt x="135" y="154"/>
                  </a:cubicBezTo>
                  <a:cubicBezTo>
                    <a:pt x="135" y="155"/>
                    <a:pt x="135" y="156"/>
                    <a:pt x="134" y="158"/>
                  </a:cubicBezTo>
                  <a:cubicBezTo>
                    <a:pt x="133" y="159"/>
                    <a:pt x="133" y="160"/>
                    <a:pt x="132" y="162"/>
                  </a:cubicBezTo>
                  <a:cubicBezTo>
                    <a:pt x="132" y="164"/>
                    <a:pt x="132" y="165"/>
                    <a:pt x="133" y="167"/>
                  </a:cubicBezTo>
                  <a:cubicBezTo>
                    <a:pt x="135" y="169"/>
                    <a:pt x="138" y="169"/>
                    <a:pt x="140" y="169"/>
                  </a:cubicBezTo>
                  <a:cubicBezTo>
                    <a:pt x="141" y="169"/>
                    <a:pt x="143" y="169"/>
                    <a:pt x="144" y="169"/>
                  </a:cubicBezTo>
                  <a:cubicBezTo>
                    <a:pt x="144" y="170"/>
                    <a:pt x="145" y="171"/>
                    <a:pt x="145" y="173"/>
                  </a:cubicBezTo>
                  <a:cubicBezTo>
                    <a:pt x="145" y="173"/>
                    <a:pt x="145" y="174"/>
                    <a:pt x="145" y="174"/>
                  </a:cubicBezTo>
                  <a:cubicBezTo>
                    <a:pt x="146" y="177"/>
                    <a:pt x="146" y="180"/>
                    <a:pt x="148" y="182"/>
                  </a:cubicBezTo>
                  <a:cubicBezTo>
                    <a:pt x="151" y="184"/>
                    <a:pt x="154" y="184"/>
                    <a:pt x="157" y="184"/>
                  </a:cubicBezTo>
                  <a:cubicBezTo>
                    <a:pt x="157" y="184"/>
                    <a:pt x="158" y="184"/>
                    <a:pt x="159" y="184"/>
                  </a:cubicBezTo>
                  <a:cubicBezTo>
                    <a:pt x="162" y="185"/>
                    <a:pt x="164" y="186"/>
                    <a:pt x="167" y="188"/>
                  </a:cubicBezTo>
                  <a:cubicBezTo>
                    <a:pt x="171" y="190"/>
                    <a:pt x="174" y="191"/>
                    <a:pt x="177" y="191"/>
                  </a:cubicBezTo>
                  <a:cubicBezTo>
                    <a:pt x="179" y="191"/>
                    <a:pt x="182" y="191"/>
                    <a:pt x="184" y="189"/>
                  </a:cubicBezTo>
                  <a:cubicBezTo>
                    <a:pt x="185" y="189"/>
                    <a:pt x="185" y="189"/>
                    <a:pt x="185" y="189"/>
                  </a:cubicBezTo>
                  <a:cubicBezTo>
                    <a:pt x="189" y="187"/>
                    <a:pt x="194" y="185"/>
                    <a:pt x="195" y="179"/>
                  </a:cubicBezTo>
                  <a:cubicBezTo>
                    <a:pt x="195" y="178"/>
                    <a:pt x="195" y="177"/>
                    <a:pt x="195" y="176"/>
                  </a:cubicBezTo>
                  <a:cubicBezTo>
                    <a:pt x="195" y="175"/>
                    <a:pt x="195" y="174"/>
                    <a:pt x="195" y="173"/>
                  </a:cubicBezTo>
                  <a:cubicBezTo>
                    <a:pt x="195" y="173"/>
                    <a:pt x="195" y="172"/>
                    <a:pt x="195" y="172"/>
                  </a:cubicBezTo>
                  <a:cubicBezTo>
                    <a:pt x="196" y="170"/>
                    <a:pt x="196" y="167"/>
                    <a:pt x="195" y="165"/>
                  </a:cubicBezTo>
                  <a:cubicBezTo>
                    <a:pt x="194" y="163"/>
                    <a:pt x="192" y="162"/>
                    <a:pt x="189" y="161"/>
                  </a:cubicBezTo>
                  <a:cubicBezTo>
                    <a:pt x="190" y="160"/>
                    <a:pt x="191" y="158"/>
                    <a:pt x="191" y="156"/>
                  </a:cubicBezTo>
                  <a:cubicBezTo>
                    <a:pt x="191" y="156"/>
                    <a:pt x="191" y="155"/>
                    <a:pt x="191" y="154"/>
                  </a:cubicBezTo>
                  <a:cubicBezTo>
                    <a:pt x="192" y="154"/>
                    <a:pt x="192" y="155"/>
                    <a:pt x="192" y="155"/>
                  </a:cubicBezTo>
                  <a:cubicBezTo>
                    <a:pt x="193" y="156"/>
                    <a:pt x="194" y="157"/>
                    <a:pt x="196" y="158"/>
                  </a:cubicBezTo>
                  <a:cubicBezTo>
                    <a:pt x="197" y="158"/>
                    <a:pt x="197" y="158"/>
                    <a:pt x="198" y="158"/>
                  </a:cubicBezTo>
                  <a:cubicBezTo>
                    <a:pt x="200" y="158"/>
                    <a:pt x="201" y="158"/>
                    <a:pt x="201" y="157"/>
                  </a:cubicBezTo>
                  <a:cubicBezTo>
                    <a:pt x="201" y="157"/>
                    <a:pt x="202" y="157"/>
                    <a:pt x="202" y="157"/>
                  </a:cubicBezTo>
                  <a:cubicBezTo>
                    <a:pt x="202" y="157"/>
                    <a:pt x="202" y="158"/>
                    <a:pt x="202" y="158"/>
                  </a:cubicBezTo>
                  <a:cubicBezTo>
                    <a:pt x="203" y="159"/>
                    <a:pt x="204" y="161"/>
                    <a:pt x="207" y="161"/>
                  </a:cubicBezTo>
                  <a:cubicBezTo>
                    <a:pt x="207" y="161"/>
                    <a:pt x="208" y="161"/>
                    <a:pt x="208" y="161"/>
                  </a:cubicBezTo>
                  <a:cubicBezTo>
                    <a:pt x="211" y="160"/>
                    <a:pt x="213" y="158"/>
                    <a:pt x="214" y="154"/>
                  </a:cubicBezTo>
                  <a:cubicBezTo>
                    <a:pt x="215" y="150"/>
                    <a:pt x="215" y="145"/>
                    <a:pt x="212" y="14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1" name="Freeform 140">
              <a:extLst>
                <a:ext uri="{FF2B5EF4-FFF2-40B4-BE49-F238E27FC236}">
                  <a16:creationId xmlns:a16="http://schemas.microsoft.com/office/drawing/2014/main" id="{5488EF01-5C49-0840-9E9B-A84773B1F628}"/>
                </a:ext>
              </a:extLst>
            </p:cNvPr>
            <p:cNvSpPr>
              <a:spLocks/>
            </p:cNvSpPr>
            <p:nvPr/>
          </p:nvSpPr>
          <p:spPr bwMode="auto">
            <a:xfrm>
              <a:off x="17055388" y="3977047"/>
              <a:ext cx="180554" cy="188524"/>
            </a:xfrm>
            <a:custGeom>
              <a:avLst/>
              <a:gdLst>
                <a:gd name="T0" fmla="*/ 18 w 33"/>
                <a:gd name="T1" fmla="*/ 1 h 38"/>
                <a:gd name="T2" fmla="*/ 11 w 33"/>
                <a:gd name="T3" fmla="*/ 0 h 38"/>
                <a:gd name="T4" fmla="*/ 5 w 33"/>
                <a:gd name="T5" fmla="*/ 1 h 38"/>
                <a:gd name="T6" fmla="*/ 1 w 33"/>
                <a:gd name="T7" fmla="*/ 12 h 38"/>
                <a:gd name="T8" fmla="*/ 3 w 33"/>
                <a:gd name="T9" fmla="*/ 16 h 38"/>
                <a:gd name="T10" fmla="*/ 4 w 33"/>
                <a:gd name="T11" fmla="*/ 17 h 38"/>
                <a:gd name="T12" fmla="*/ 5 w 33"/>
                <a:gd name="T13" fmla="*/ 18 h 38"/>
                <a:gd name="T14" fmla="*/ 9 w 33"/>
                <a:gd name="T15" fmla="*/ 26 h 38"/>
                <a:gd name="T16" fmla="*/ 18 w 33"/>
                <a:gd name="T17" fmla="*/ 38 h 38"/>
                <a:gd name="T18" fmla="*/ 24 w 33"/>
                <a:gd name="T19" fmla="*/ 35 h 38"/>
                <a:gd name="T20" fmla="*/ 32 w 33"/>
                <a:gd name="T21" fmla="*/ 15 h 38"/>
                <a:gd name="T22" fmla="*/ 18 w 33"/>
                <a:gd name="T23"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8">
                  <a:moveTo>
                    <a:pt x="18" y="1"/>
                  </a:moveTo>
                  <a:cubicBezTo>
                    <a:pt x="15" y="1"/>
                    <a:pt x="13" y="0"/>
                    <a:pt x="11" y="0"/>
                  </a:cubicBezTo>
                  <a:cubicBezTo>
                    <a:pt x="9" y="0"/>
                    <a:pt x="7" y="1"/>
                    <a:pt x="5" y="1"/>
                  </a:cubicBezTo>
                  <a:cubicBezTo>
                    <a:pt x="2" y="3"/>
                    <a:pt x="0" y="7"/>
                    <a:pt x="1" y="12"/>
                  </a:cubicBezTo>
                  <a:cubicBezTo>
                    <a:pt x="2" y="13"/>
                    <a:pt x="3" y="15"/>
                    <a:pt x="3" y="16"/>
                  </a:cubicBezTo>
                  <a:cubicBezTo>
                    <a:pt x="3" y="16"/>
                    <a:pt x="4" y="16"/>
                    <a:pt x="4" y="17"/>
                  </a:cubicBezTo>
                  <a:cubicBezTo>
                    <a:pt x="5" y="18"/>
                    <a:pt x="5" y="18"/>
                    <a:pt x="5" y="18"/>
                  </a:cubicBezTo>
                  <a:cubicBezTo>
                    <a:pt x="6" y="21"/>
                    <a:pt x="8" y="23"/>
                    <a:pt x="9" y="26"/>
                  </a:cubicBezTo>
                  <a:cubicBezTo>
                    <a:pt x="10" y="30"/>
                    <a:pt x="12" y="38"/>
                    <a:pt x="18" y="38"/>
                  </a:cubicBezTo>
                  <a:cubicBezTo>
                    <a:pt x="20" y="38"/>
                    <a:pt x="22" y="37"/>
                    <a:pt x="24" y="35"/>
                  </a:cubicBezTo>
                  <a:cubicBezTo>
                    <a:pt x="27" y="31"/>
                    <a:pt x="33" y="22"/>
                    <a:pt x="32" y="15"/>
                  </a:cubicBezTo>
                  <a:cubicBezTo>
                    <a:pt x="31" y="8"/>
                    <a:pt x="24" y="3"/>
                    <a:pt x="18" y="1"/>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2" name="Freeform 141">
              <a:extLst>
                <a:ext uri="{FF2B5EF4-FFF2-40B4-BE49-F238E27FC236}">
                  <a16:creationId xmlns:a16="http://schemas.microsoft.com/office/drawing/2014/main" id="{1B2D5009-37F9-BF44-8EC1-B2213E65937F}"/>
                </a:ext>
              </a:extLst>
            </p:cNvPr>
            <p:cNvSpPr>
              <a:spLocks/>
            </p:cNvSpPr>
            <p:nvPr/>
          </p:nvSpPr>
          <p:spPr bwMode="auto">
            <a:xfrm>
              <a:off x="16995888" y="3967714"/>
              <a:ext cx="43087" cy="59730"/>
            </a:xfrm>
            <a:custGeom>
              <a:avLst/>
              <a:gdLst>
                <a:gd name="T0" fmla="*/ 5 w 8"/>
                <a:gd name="T1" fmla="*/ 3 h 12"/>
                <a:gd name="T2" fmla="*/ 5 w 8"/>
                <a:gd name="T3" fmla="*/ 3 h 12"/>
                <a:gd name="T4" fmla="*/ 5 w 8"/>
                <a:gd name="T5" fmla="*/ 0 h 12"/>
                <a:gd name="T6" fmla="*/ 0 w 8"/>
                <a:gd name="T7" fmla="*/ 6 h 12"/>
                <a:gd name="T8" fmla="*/ 3 w 8"/>
                <a:gd name="T9" fmla="*/ 6 h 12"/>
                <a:gd name="T10" fmla="*/ 3 w 8"/>
                <a:gd name="T11" fmla="*/ 6 h 12"/>
                <a:gd name="T12" fmla="*/ 0 w 8"/>
                <a:gd name="T13" fmla="*/ 6 h 12"/>
                <a:gd name="T14" fmla="*/ 1 w 8"/>
                <a:gd name="T15" fmla="*/ 10 h 12"/>
                <a:gd name="T16" fmla="*/ 5 w 8"/>
                <a:gd name="T17" fmla="*/ 12 h 12"/>
                <a:gd name="T18" fmla="*/ 5 w 8"/>
                <a:gd name="T19" fmla="*/ 9 h 12"/>
                <a:gd name="T20" fmla="*/ 7 w 8"/>
                <a:gd name="T21" fmla="*/ 8 h 12"/>
                <a:gd name="T22" fmla="*/ 5 w 8"/>
                <a:gd name="T23"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2">
                  <a:moveTo>
                    <a:pt x="5" y="3"/>
                  </a:moveTo>
                  <a:cubicBezTo>
                    <a:pt x="5" y="3"/>
                    <a:pt x="5" y="3"/>
                    <a:pt x="5" y="3"/>
                  </a:cubicBezTo>
                  <a:cubicBezTo>
                    <a:pt x="5" y="0"/>
                    <a:pt x="5" y="0"/>
                    <a:pt x="5" y="0"/>
                  </a:cubicBezTo>
                  <a:cubicBezTo>
                    <a:pt x="2" y="0"/>
                    <a:pt x="0" y="3"/>
                    <a:pt x="0" y="6"/>
                  </a:cubicBezTo>
                  <a:cubicBezTo>
                    <a:pt x="3" y="6"/>
                    <a:pt x="3" y="6"/>
                    <a:pt x="3" y="6"/>
                  </a:cubicBezTo>
                  <a:cubicBezTo>
                    <a:pt x="3" y="6"/>
                    <a:pt x="3" y="6"/>
                    <a:pt x="3" y="6"/>
                  </a:cubicBezTo>
                  <a:cubicBezTo>
                    <a:pt x="0" y="6"/>
                    <a:pt x="0" y="6"/>
                    <a:pt x="0" y="6"/>
                  </a:cubicBezTo>
                  <a:cubicBezTo>
                    <a:pt x="0" y="7"/>
                    <a:pt x="0" y="8"/>
                    <a:pt x="1" y="10"/>
                  </a:cubicBezTo>
                  <a:cubicBezTo>
                    <a:pt x="2" y="11"/>
                    <a:pt x="3" y="12"/>
                    <a:pt x="5" y="12"/>
                  </a:cubicBezTo>
                  <a:cubicBezTo>
                    <a:pt x="5" y="9"/>
                    <a:pt x="5" y="9"/>
                    <a:pt x="5" y="9"/>
                  </a:cubicBezTo>
                  <a:cubicBezTo>
                    <a:pt x="6" y="9"/>
                    <a:pt x="6" y="9"/>
                    <a:pt x="7" y="8"/>
                  </a:cubicBezTo>
                  <a:cubicBezTo>
                    <a:pt x="8" y="6"/>
                    <a:pt x="8" y="4"/>
                    <a:pt x="5" y="3"/>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3" name="Freeform 142">
              <a:extLst>
                <a:ext uri="{FF2B5EF4-FFF2-40B4-BE49-F238E27FC236}">
                  <a16:creationId xmlns:a16="http://schemas.microsoft.com/office/drawing/2014/main" id="{E08D5CC6-1F25-E040-9EEE-FFF4D1502335}"/>
                </a:ext>
              </a:extLst>
            </p:cNvPr>
            <p:cNvSpPr>
              <a:spLocks/>
            </p:cNvSpPr>
            <p:nvPr/>
          </p:nvSpPr>
          <p:spPr bwMode="auto">
            <a:xfrm>
              <a:off x="17256460" y="4940197"/>
              <a:ext cx="82070" cy="87729"/>
            </a:xfrm>
            <a:custGeom>
              <a:avLst/>
              <a:gdLst>
                <a:gd name="T0" fmla="*/ 9 w 15"/>
                <a:gd name="T1" fmla="*/ 0 h 18"/>
                <a:gd name="T2" fmla="*/ 5 w 15"/>
                <a:gd name="T3" fmla="*/ 1 h 18"/>
                <a:gd name="T4" fmla="*/ 0 w 15"/>
                <a:gd name="T5" fmla="*/ 11 h 18"/>
                <a:gd name="T6" fmla="*/ 3 w 15"/>
                <a:gd name="T7" fmla="*/ 17 h 18"/>
                <a:gd name="T8" fmla="*/ 6 w 15"/>
                <a:gd name="T9" fmla="*/ 18 h 18"/>
                <a:gd name="T10" fmla="*/ 12 w 15"/>
                <a:gd name="T11" fmla="*/ 13 h 18"/>
                <a:gd name="T12" fmla="*/ 12 w 15"/>
                <a:gd name="T13" fmla="*/ 12 h 18"/>
                <a:gd name="T14" fmla="*/ 13 w 15"/>
                <a:gd name="T15" fmla="*/ 3 h 18"/>
                <a:gd name="T16" fmla="*/ 9 w 15"/>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8">
                  <a:moveTo>
                    <a:pt x="9" y="0"/>
                  </a:moveTo>
                  <a:cubicBezTo>
                    <a:pt x="8" y="0"/>
                    <a:pt x="7" y="1"/>
                    <a:pt x="5" y="1"/>
                  </a:cubicBezTo>
                  <a:cubicBezTo>
                    <a:pt x="2" y="3"/>
                    <a:pt x="0" y="8"/>
                    <a:pt x="0" y="11"/>
                  </a:cubicBezTo>
                  <a:cubicBezTo>
                    <a:pt x="0" y="15"/>
                    <a:pt x="2" y="16"/>
                    <a:pt x="3" y="17"/>
                  </a:cubicBezTo>
                  <a:cubicBezTo>
                    <a:pt x="4" y="17"/>
                    <a:pt x="5" y="18"/>
                    <a:pt x="6" y="18"/>
                  </a:cubicBezTo>
                  <a:cubicBezTo>
                    <a:pt x="9" y="18"/>
                    <a:pt x="11" y="14"/>
                    <a:pt x="12" y="13"/>
                  </a:cubicBezTo>
                  <a:cubicBezTo>
                    <a:pt x="12" y="12"/>
                    <a:pt x="12" y="12"/>
                    <a:pt x="12" y="12"/>
                  </a:cubicBezTo>
                  <a:cubicBezTo>
                    <a:pt x="14" y="9"/>
                    <a:pt x="15" y="6"/>
                    <a:pt x="13" y="3"/>
                  </a:cubicBezTo>
                  <a:cubicBezTo>
                    <a:pt x="12" y="1"/>
                    <a:pt x="11" y="0"/>
                    <a:pt x="9"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4" name="Freeform 143">
              <a:extLst>
                <a:ext uri="{FF2B5EF4-FFF2-40B4-BE49-F238E27FC236}">
                  <a16:creationId xmlns:a16="http://schemas.microsoft.com/office/drawing/2014/main" id="{E7E0E241-065E-984C-8410-997C4FBCE3C4}"/>
                </a:ext>
              </a:extLst>
            </p:cNvPr>
            <p:cNvSpPr>
              <a:spLocks/>
            </p:cNvSpPr>
            <p:nvPr/>
          </p:nvSpPr>
          <p:spPr bwMode="auto">
            <a:xfrm>
              <a:off x="17301598" y="4617280"/>
              <a:ext cx="98484" cy="83996"/>
            </a:xfrm>
            <a:custGeom>
              <a:avLst/>
              <a:gdLst>
                <a:gd name="T0" fmla="*/ 10 w 18"/>
                <a:gd name="T1" fmla="*/ 1 h 17"/>
                <a:gd name="T2" fmla="*/ 7 w 18"/>
                <a:gd name="T3" fmla="*/ 0 h 17"/>
                <a:gd name="T4" fmla="*/ 3 w 18"/>
                <a:gd name="T5" fmla="*/ 2 h 17"/>
                <a:gd name="T6" fmla="*/ 5 w 18"/>
                <a:gd name="T7" fmla="*/ 12 h 17"/>
                <a:gd name="T8" fmla="*/ 5 w 18"/>
                <a:gd name="T9" fmla="*/ 13 h 17"/>
                <a:gd name="T10" fmla="*/ 11 w 18"/>
                <a:gd name="T11" fmla="*/ 17 h 17"/>
                <a:gd name="T12" fmla="*/ 11 w 18"/>
                <a:gd name="T13" fmla="*/ 17 h 17"/>
                <a:gd name="T14" fmla="*/ 16 w 18"/>
                <a:gd name="T15" fmla="*/ 13 h 17"/>
                <a:gd name="T16" fmla="*/ 10 w 18"/>
                <a:gd name="T1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7">
                  <a:moveTo>
                    <a:pt x="10" y="1"/>
                  </a:moveTo>
                  <a:cubicBezTo>
                    <a:pt x="9" y="0"/>
                    <a:pt x="8" y="0"/>
                    <a:pt x="7" y="0"/>
                  </a:cubicBezTo>
                  <a:cubicBezTo>
                    <a:pt x="5" y="0"/>
                    <a:pt x="4" y="1"/>
                    <a:pt x="3" y="2"/>
                  </a:cubicBezTo>
                  <a:cubicBezTo>
                    <a:pt x="0" y="6"/>
                    <a:pt x="3" y="10"/>
                    <a:pt x="5" y="12"/>
                  </a:cubicBezTo>
                  <a:cubicBezTo>
                    <a:pt x="5" y="13"/>
                    <a:pt x="5" y="13"/>
                    <a:pt x="5" y="13"/>
                  </a:cubicBezTo>
                  <a:cubicBezTo>
                    <a:pt x="6" y="14"/>
                    <a:pt x="8" y="17"/>
                    <a:pt x="11" y="17"/>
                  </a:cubicBezTo>
                  <a:cubicBezTo>
                    <a:pt x="11" y="17"/>
                    <a:pt x="11" y="17"/>
                    <a:pt x="11" y="17"/>
                  </a:cubicBezTo>
                  <a:cubicBezTo>
                    <a:pt x="12" y="17"/>
                    <a:pt x="15" y="16"/>
                    <a:pt x="16" y="13"/>
                  </a:cubicBezTo>
                  <a:cubicBezTo>
                    <a:pt x="18" y="8"/>
                    <a:pt x="15" y="2"/>
                    <a:pt x="10" y="1"/>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5" name="Freeform 144">
              <a:extLst>
                <a:ext uri="{FF2B5EF4-FFF2-40B4-BE49-F238E27FC236}">
                  <a16:creationId xmlns:a16="http://schemas.microsoft.com/office/drawing/2014/main" id="{E476ACF1-A192-9943-BAEB-AC43B2D74965}"/>
                </a:ext>
              </a:extLst>
            </p:cNvPr>
            <p:cNvSpPr>
              <a:spLocks/>
            </p:cNvSpPr>
            <p:nvPr/>
          </p:nvSpPr>
          <p:spPr bwMode="auto">
            <a:xfrm>
              <a:off x="16919973" y="4958863"/>
              <a:ext cx="75915" cy="74663"/>
            </a:xfrm>
            <a:custGeom>
              <a:avLst/>
              <a:gdLst>
                <a:gd name="T0" fmla="*/ 6 w 14"/>
                <a:gd name="T1" fmla="*/ 0 h 15"/>
                <a:gd name="T2" fmla="*/ 0 w 14"/>
                <a:gd name="T3" fmla="*/ 5 h 15"/>
                <a:gd name="T4" fmla="*/ 3 w 14"/>
                <a:gd name="T5" fmla="*/ 11 h 15"/>
                <a:gd name="T6" fmla="*/ 3 w 14"/>
                <a:gd name="T7" fmla="*/ 11 h 15"/>
                <a:gd name="T8" fmla="*/ 8 w 14"/>
                <a:gd name="T9" fmla="*/ 15 h 15"/>
                <a:gd name="T10" fmla="*/ 8 w 14"/>
                <a:gd name="T11" fmla="*/ 15 h 15"/>
                <a:gd name="T12" fmla="*/ 13 w 14"/>
                <a:gd name="T13" fmla="*/ 13 h 15"/>
                <a:gd name="T14" fmla="*/ 13 w 14"/>
                <a:gd name="T15" fmla="*/ 5 h 15"/>
                <a:gd name="T16" fmla="*/ 6 w 14"/>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5">
                  <a:moveTo>
                    <a:pt x="6" y="0"/>
                  </a:moveTo>
                  <a:cubicBezTo>
                    <a:pt x="3" y="0"/>
                    <a:pt x="1" y="2"/>
                    <a:pt x="0" y="5"/>
                  </a:cubicBezTo>
                  <a:cubicBezTo>
                    <a:pt x="0" y="7"/>
                    <a:pt x="0" y="9"/>
                    <a:pt x="3" y="11"/>
                  </a:cubicBezTo>
                  <a:cubicBezTo>
                    <a:pt x="3" y="11"/>
                    <a:pt x="3" y="11"/>
                    <a:pt x="3" y="11"/>
                  </a:cubicBezTo>
                  <a:cubicBezTo>
                    <a:pt x="4" y="15"/>
                    <a:pt x="7" y="15"/>
                    <a:pt x="8" y="15"/>
                  </a:cubicBezTo>
                  <a:cubicBezTo>
                    <a:pt x="8" y="15"/>
                    <a:pt x="8" y="15"/>
                    <a:pt x="8" y="15"/>
                  </a:cubicBezTo>
                  <a:cubicBezTo>
                    <a:pt x="10" y="15"/>
                    <a:pt x="11" y="14"/>
                    <a:pt x="13" y="13"/>
                  </a:cubicBezTo>
                  <a:cubicBezTo>
                    <a:pt x="14" y="10"/>
                    <a:pt x="14" y="7"/>
                    <a:pt x="13" y="5"/>
                  </a:cubicBezTo>
                  <a:cubicBezTo>
                    <a:pt x="12" y="2"/>
                    <a:pt x="9" y="0"/>
                    <a:pt x="6"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6" name="Freeform 145">
              <a:extLst>
                <a:ext uri="{FF2B5EF4-FFF2-40B4-BE49-F238E27FC236}">
                  <a16:creationId xmlns:a16="http://schemas.microsoft.com/office/drawing/2014/main" id="{AD8C8B82-2A7A-B74C-B6B4-C4FA7D09652D}"/>
                </a:ext>
              </a:extLst>
            </p:cNvPr>
            <p:cNvSpPr>
              <a:spLocks/>
            </p:cNvSpPr>
            <p:nvPr/>
          </p:nvSpPr>
          <p:spPr bwMode="auto">
            <a:xfrm>
              <a:off x="17131303" y="4973795"/>
              <a:ext cx="77966" cy="65330"/>
            </a:xfrm>
            <a:custGeom>
              <a:avLst/>
              <a:gdLst>
                <a:gd name="T0" fmla="*/ 8 w 14"/>
                <a:gd name="T1" fmla="*/ 0 h 13"/>
                <a:gd name="T2" fmla="*/ 1 w 14"/>
                <a:gd name="T3" fmla="*/ 4 h 13"/>
                <a:gd name="T4" fmla="*/ 0 w 14"/>
                <a:gd name="T5" fmla="*/ 9 h 13"/>
                <a:gd name="T6" fmla="*/ 3 w 14"/>
                <a:gd name="T7" fmla="*/ 13 h 13"/>
                <a:gd name="T8" fmla="*/ 6 w 14"/>
                <a:gd name="T9" fmla="*/ 13 h 13"/>
                <a:gd name="T10" fmla="*/ 13 w 14"/>
                <a:gd name="T11" fmla="*/ 10 h 13"/>
                <a:gd name="T12" fmla="*/ 13 w 14"/>
                <a:gd name="T13" fmla="*/ 3 h 13"/>
                <a:gd name="T14" fmla="*/ 8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8" y="0"/>
                  </a:moveTo>
                  <a:cubicBezTo>
                    <a:pt x="5" y="0"/>
                    <a:pt x="2" y="1"/>
                    <a:pt x="1" y="4"/>
                  </a:cubicBezTo>
                  <a:cubicBezTo>
                    <a:pt x="0" y="6"/>
                    <a:pt x="0" y="8"/>
                    <a:pt x="0" y="9"/>
                  </a:cubicBezTo>
                  <a:cubicBezTo>
                    <a:pt x="1" y="10"/>
                    <a:pt x="1" y="12"/>
                    <a:pt x="3" y="13"/>
                  </a:cubicBezTo>
                  <a:cubicBezTo>
                    <a:pt x="4" y="13"/>
                    <a:pt x="5" y="13"/>
                    <a:pt x="6" y="13"/>
                  </a:cubicBezTo>
                  <a:cubicBezTo>
                    <a:pt x="8" y="13"/>
                    <a:pt x="11" y="12"/>
                    <a:pt x="13" y="10"/>
                  </a:cubicBezTo>
                  <a:cubicBezTo>
                    <a:pt x="14" y="8"/>
                    <a:pt x="14" y="5"/>
                    <a:pt x="13" y="3"/>
                  </a:cubicBezTo>
                  <a:cubicBezTo>
                    <a:pt x="13" y="1"/>
                    <a:pt x="10" y="0"/>
                    <a:pt x="8"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7" name="Freeform 146">
              <a:extLst>
                <a:ext uri="{FF2B5EF4-FFF2-40B4-BE49-F238E27FC236}">
                  <a16:creationId xmlns:a16="http://schemas.microsoft.com/office/drawing/2014/main" id="{769B8C3B-CD80-B941-8226-98B326AE2D54}"/>
                </a:ext>
              </a:extLst>
            </p:cNvPr>
            <p:cNvSpPr>
              <a:spLocks noEditPoints="1"/>
            </p:cNvSpPr>
            <p:nvPr/>
          </p:nvSpPr>
          <p:spPr bwMode="auto">
            <a:xfrm>
              <a:off x="15736114" y="4001312"/>
              <a:ext cx="4704661" cy="2713993"/>
            </a:xfrm>
            <a:custGeom>
              <a:avLst/>
              <a:gdLst>
                <a:gd name="T0" fmla="*/ 834 w 863"/>
                <a:gd name="T1" fmla="*/ 311 h 547"/>
                <a:gd name="T2" fmla="*/ 792 w 863"/>
                <a:gd name="T3" fmla="*/ 284 h 547"/>
                <a:gd name="T4" fmla="*/ 774 w 863"/>
                <a:gd name="T5" fmla="*/ 241 h 547"/>
                <a:gd name="T6" fmla="*/ 848 w 863"/>
                <a:gd name="T7" fmla="*/ 263 h 547"/>
                <a:gd name="T8" fmla="*/ 847 w 863"/>
                <a:gd name="T9" fmla="*/ 195 h 547"/>
                <a:gd name="T10" fmla="*/ 790 w 863"/>
                <a:gd name="T11" fmla="*/ 178 h 547"/>
                <a:gd name="T12" fmla="*/ 735 w 863"/>
                <a:gd name="T13" fmla="*/ 169 h 547"/>
                <a:gd name="T14" fmla="*/ 725 w 863"/>
                <a:gd name="T15" fmla="*/ 129 h 547"/>
                <a:gd name="T16" fmla="*/ 689 w 863"/>
                <a:gd name="T17" fmla="*/ 93 h 547"/>
                <a:gd name="T18" fmla="*/ 665 w 863"/>
                <a:gd name="T19" fmla="*/ 87 h 547"/>
                <a:gd name="T20" fmla="*/ 614 w 863"/>
                <a:gd name="T21" fmla="*/ 63 h 547"/>
                <a:gd name="T22" fmla="*/ 550 w 863"/>
                <a:gd name="T23" fmla="*/ 63 h 547"/>
                <a:gd name="T24" fmla="*/ 523 w 863"/>
                <a:gd name="T25" fmla="*/ 14 h 547"/>
                <a:gd name="T26" fmla="*/ 480 w 863"/>
                <a:gd name="T27" fmla="*/ 95 h 547"/>
                <a:gd name="T28" fmla="*/ 467 w 863"/>
                <a:gd name="T29" fmla="*/ 13 h 547"/>
                <a:gd name="T30" fmla="*/ 446 w 863"/>
                <a:gd name="T31" fmla="*/ 151 h 547"/>
                <a:gd name="T32" fmla="*/ 494 w 863"/>
                <a:gd name="T33" fmla="*/ 169 h 547"/>
                <a:gd name="T34" fmla="*/ 483 w 863"/>
                <a:gd name="T35" fmla="*/ 244 h 547"/>
                <a:gd name="T36" fmla="*/ 462 w 863"/>
                <a:gd name="T37" fmla="*/ 226 h 547"/>
                <a:gd name="T38" fmla="*/ 428 w 863"/>
                <a:gd name="T39" fmla="*/ 227 h 547"/>
                <a:gd name="T40" fmla="*/ 397 w 863"/>
                <a:gd name="T41" fmla="*/ 176 h 547"/>
                <a:gd name="T42" fmla="*/ 394 w 863"/>
                <a:gd name="T43" fmla="*/ 112 h 547"/>
                <a:gd name="T44" fmla="*/ 424 w 863"/>
                <a:gd name="T45" fmla="*/ 35 h 547"/>
                <a:gd name="T46" fmla="*/ 364 w 863"/>
                <a:gd name="T47" fmla="*/ 58 h 547"/>
                <a:gd name="T48" fmla="*/ 346 w 863"/>
                <a:gd name="T49" fmla="*/ 121 h 547"/>
                <a:gd name="T50" fmla="*/ 368 w 863"/>
                <a:gd name="T51" fmla="*/ 186 h 547"/>
                <a:gd name="T52" fmla="*/ 376 w 863"/>
                <a:gd name="T53" fmla="*/ 219 h 547"/>
                <a:gd name="T54" fmla="*/ 348 w 863"/>
                <a:gd name="T55" fmla="*/ 269 h 547"/>
                <a:gd name="T56" fmla="*/ 338 w 863"/>
                <a:gd name="T57" fmla="*/ 226 h 547"/>
                <a:gd name="T58" fmla="*/ 315 w 863"/>
                <a:gd name="T59" fmla="*/ 242 h 547"/>
                <a:gd name="T60" fmla="*/ 293 w 863"/>
                <a:gd name="T61" fmla="*/ 239 h 547"/>
                <a:gd name="T62" fmla="*/ 246 w 863"/>
                <a:gd name="T63" fmla="*/ 229 h 547"/>
                <a:gd name="T64" fmla="*/ 205 w 863"/>
                <a:gd name="T65" fmla="*/ 179 h 547"/>
                <a:gd name="T66" fmla="*/ 188 w 863"/>
                <a:gd name="T67" fmla="*/ 204 h 547"/>
                <a:gd name="T68" fmla="*/ 162 w 863"/>
                <a:gd name="T69" fmla="*/ 247 h 547"/>
                <a:gd name="T70" fmla="*/ 132 w 863"/>
                <a:gd name="T71" fmla="*/ 198 h 547"/>
                <a:gd name="T72" fmla="*/ 81 w 863"/>
                <a:gd name="T73" fmla="*/ 180 h 547"/>
                <a:gd name="T74" fmla="*/ 71 w 863"/>
                <a:gd name="T75" fmla="*/ 129 h 547"/>
                <a:gd name="T76" fmla="*/ 339 w 863"/>
                <a:gd name="T77" fmla="*/ 547 h 547"/>
                <a:gd name="T78" fmla="*/ 370 w 863"/>
                <a:gd name="T79" fmla="*/ 480 h 547"/>
                <a:gd name="T80" fmla="*/ 403 w 863"/>
                <a:gd name="T81" fmla="*/ 448 h 547"/>
                <a:gd name="T82" fmla="*/ 466 w 863"/>
                <a:gd name="T83" fmla="*/ 385 h 547"/>
                <a:gd name="T84" fmla="*/ 489 w 863"/>
                <a:gd name="T85" fmla="*/ 308 h 547"/>
                <a:gd name="T86" fmla="*/ 526 w 863"/>
                <a:gd name="T87" fmla="*/ 303 h 547"/>
                <a:gd name="T88" fmla="*/ 552 w 863"/>
                <a:gd name="T89" fmla="*/ 244 h 547"/>
                <a:gd name="T90" fmla="*/ 538 w 863"/>
                <a:gd name="T91" fmla="*/ 185 h 547"/>
                <a:gd name="T92" fmla="*/ 531 w 863"/>
                <a:gd name="T93" fmla="*/ 170 h 547"/>
                <a:gd name="T94" fmla="*/ 595 w 863"/>
                <a:gd name="T95" fmla="*/ 161 h 547"/>
                <a:gd name="T96" fmla="*/ 613 w 863"/>
                <a:gd name="T97" fmla="*/ 200 h 547"/>
                <a:gd name="T98" fmla="*/ 671 w 863"/>
                <a:gd name="T99" fmla="*/ 215 h 547"/>
                <a:gd name="T100" fmla="*/ 675 w 863"/>
                <a:gd name="T101" fmla="*/ 310 h 547"/>
                <a:gd name="T102" fmla="*/ 621 w 863"/>
                <a:gd name="T103" fmla="*/ 342 h 547"/>
                <a:gd name="T104" fmla="*/ 685 w 863"/>
                <a:gd name="T105" fmla="*/ 353 h 547"/>
                <a:gd name="T106" fmla="*/ 728 w 863"/>
                <a:gd name="T107" fmla="*/ 369 h 547"/>
                <a:gd name="T108" fmla="*/ 776 w 863"/>
                <a:gd name="T109" fmla="*/ 396 h 547"/>
                <a:gd name="T110" fmla="*/ 837 w 863"/>
                <a:gd name="T111" fmla="*/ 378 h 547"/>
                <a:gd name="T112" fmla="*/ 825 w 863"/>
                <a:gd name="T113" fmla="*/ 361 h 547"/>
                <a:gd name="T114" fmla="*/ 493 w 863"/>
                <a:gd name="T115" fmla="*/ 121 h 547"/>
                <a:gd name="T116" fmla="*/ 457 w 863"/>
                <a:gd name="T117" fmla="*/ 345 h 547"/>
                <a:gd name="T118" fmla="*/ 573 w 863"/>
                <a:gd name="T119" fmla="*/ 14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3" h="547">
                  <a:moveTo>
                    <a:pt x="862" y="359"/>
                  </a:moveTo>
                  <a:cubicBezTo>
                    <a:pt x="863" y="356"/>
                    <a:pt x="863" y="352"/>
                    <a:pt x="862" y="349"/>
                  </a:cubicBezTo>
                  <a:cubicBezTo>
                    <a:pt x="860" y="347"/>
                    <a:pt x="859" y="344"/>
                    <a:pt x="856" y="342"/>
                  </a:cubicBezTo>
                  <a:cubicBezTo>
                    <a:pt x="856" y="342"/>
                    <a:pt x="855" y="342"/>
                    <a:pt x="855" y="341"/>
                  </a:cubicBezTo>
                  <a:cubicBezTo>
                    <a:pt x="855" y="341"/>
                    <a:pt x="854" y="341"/>
                    <a:pt x="854" y="340"/>
                  </a:cubicBezTo>
                  <a:cubicBezTo>
                    <a:pt x="854" y="340"/>
                    <a:pt x="855" y="339"/>
                    <a:pt x="856" y="339"/>
                  </a:cubicBezTo>
                  <a:cubicBezTo>
                    <a:pt x="858" y="335"/>
                    <a:pt x="858" y="330"/>
                    <a:pt x="854" y="326"/>
                  </a:cubicBezTo>
                  <a:cubicBezTo>
                    <a:pt x="853" y="324"/>
                    <a:pt x="851" y="324"/>
                    <a:pt x="849" y="323"/>
                  </a:cubicBezTo>
                  <a:cubicBezTo>
                    <a:pt x="848" y="323"/>
                    <a:pt x="847" y="323"/>
                    <a:pt x="847" y="323"/>
                  </a:cubicBezTo>
                  <a:cubicBezTo>
                    <a:pt x="847" y="322"/>
                    <a:pt x="847" y="322"/>
                    <a:pt x="847" y="321"/>
                  </a:cubicBezTo>
                  <a:cubicBezTo>
                    <a:pt x="847" y="320"/>
                    <a:pt x="847" y="318"/>
                    <a:pt x="846" y="316"/>
                  </a:cubicBezTo>
                  <a:cubicBezTo>
                    <a:pt x="845" y="315"/>
                    <a:pt x="842" y="315"/>
                    <a:pt x="841" y="315"/>
                  </a:cubicBezTo>
                  <a:cubicBezTo>
                    <a:pt x="841" y="315"/>
                    <a:pt x="841" y="315"/>
                    <a:pt x="841" y="315"/>
                  </a:cubicBezTo>
                  <a:cubicBezTo>
                    <a:pt x="840" y="315"/>
                    <a:pt x="839" y="315"/>
                    <a:pt x="839" y="315"/>
                  </a:cubicBezTo>
                  <a:cubicBezTo>
                    <a:pt x="838" y="315"/>
                    <a:pt x="838" y="315"/>
                    <a:pt x="838" y="315"/>
                  </a:cubicBezTo>
                  <a:cubicBezTo>
                    <a:pt x="838" y="315"/>
                    <a:pt x="838" y="315"/>
                    <a:pt x="838" y="315"/>
                  </a:cubicBezTo>
                  <a:cubicBezTo>
                    <a:pt x="837" y="315"/>
                    <a:pt x="837" y="314"/>
                    <a:pt x="837" y="313"/>
                  </a:cubicBezTo>
                  <a:cubicBezTo>
                    <a:pt x="836" y="313"/>
                    <a:pt x="835" y="312"/>
                    <a:pt x="834" y="311"/>
                  </a:cubicBezTo>
                  <a:cubicBezTo>
                    <a:pt x="834" y="310"/>
                    <a:pt x="833" y="310"/>
                    <a:pt x="833" y="310"/>
                  </a:cubicBezTo>
                  <a:cubicBezTo>
                    <a:pt x="833" y="310"/>
                    <a:pt x="833" y="310"/>
                    <a:pt x="833" y="310"/>
                  </a:cubicBezTo>
                  <a:cubicBezTo>
                    <a:pt x="833" y="309"/>
                    <a:pt x="834" y="307"/>
                    <a:pt x="834" y="306"/>
                  </a:cubicBezTo>
                  <a:cubicBezTo>
                    <a:pt x="836" y="303"/>
                    <a:pt x="836" y="303"/>
                    <a:pt x="836" y="303"/>
                  </a:cubicBezTo>
                  <a:cubicBezTo>
                    <a:pt x="833" y="302"/>
                    <a:pt x="833" y="302"/>
                    <a:pt x="833" y="302"/>
                  </a:cubicBezTo>
                  <a:cubicBezTo>
                    <a:pt x="831" y="301"/>
                    <a:pt x="830" y="301"/>
                    <a:pt x="829" y="301"/>
                  </a:cubicBezTo>
                  <a:cubicBezTo>
                    <a:pt x="828" y="301"/>
                    <a:pt x="826" y="301"/>
                    <a:pt x="826" y="301"/>
                  </a:cubicBezTo>
                  <a:cubicBezTo>
                    <a:pt x="825" y="301"/>
                    <a:pt x="824" y="301"/>
                    <a:pt x="824" y="301"/>
                  </a:cubicBezTo>
                  <a:cubicBezTo>
                    <a:pt x="824" y="300"/>
                    <a:pt x="824" y="299"/>
                    <a:pt x="824" y="299"/>
                  </a:cubicBezTo>
                  <a:cubicBezTo>
                    <a:pt x="824" y="297"/>
                    <a:pt x="823" y="292"/>
                    <a:pt x="817" y="292"/>
                  </a:cubicBezTo>
                  <a:cubicBezTo>
                    <a:pt x="815" y="292"/>
                    <a:pt x="813" y="293"/>
                    <a:pt x="812" y="294"/>
                  </a:cubicBezTo>
                  <a:cubicBezTo>
                    <a:pt x="811" y="294"/>
                    <a:pt x="810" y="295"/>
                    <a:pt x="810" y="295"/>
                  </a:cubicBezTo>
                  <a:cubicBezTo>
                    <a:pt x="810" y="295"/>
                    <a:pt x="809" y="294"/>
                    <a:pt x="808" y="293"/>
                  </a:cubicBezTo>
                  <a:cubicBezTo>
                    <a:pt x="807" y="292"/>
                    <a:pt x="807" y="291"/>
                    <a:pt x="806" y="290"/>
                  </a:cubicBezTo>
                  <a:cubicBezTo>
                    <a:pt x="804" y="289"/>
                    <a:pt x="801" y="289"/>
                    <a:pt x="800" y="289"/>
                  </a:cubicBezTo>
                  <a:cubicBezTo>
                    <a:pt x="798" y="289"/>
                    <a:pt x="798" y="289"/>
                    <a:pt x="798" y="289"/>
                  </a:cubicBezTo>
                  <a:cubicBezTo>
                    <a:pt x="797" y="289"/>
                    <a:pt x="796" y="289"/>
                    <a:pt x="796" y="289"/>
                  </a:cubicBezTo>
                  <a:cubicBezTo>
                    <a:pt x="794" y="288"/>
                    <a:pt x="793" y="287"/>
                    <a:pt x="792" y="284"/>
                  </a:cubicBezTo>
                  <a:cubicBezTo>
                    <a:pt x="791" y="281"/>
                    <a:pt x="790" y="278"/>
                    <a:pt x="787" y="276"/>
                  </a:cubicBezTo>
                  <a:cubicBezTo>
                    <a:pt x="786" y="276"/>
                    <a:pt x="786" y="276"/>
                    <a:pt x="785" y="276"/>
                  </a:cubicBezTo>
                  <a:cubicBezTo>
                    <a:pt x="785" y="275"/>
                    <a:pt x="785" y="274"/>
                    <a:pt x="785" y="274"/>
                  </a:cubicBezTo>
                  <a:cubicBezTo>
                    <a:pt x="784" y="273"/>
                    <a:pt x="783" y="270"/>
                    <a:pt x="779" y="270"/>
                  </a:cubicBezTo>
                  <a:cubicBezTo>
                    <a:pt x="779" y="270"/>
                    <a:pt x="778" y="270"/>
                    <a:pt x="777" y="270"/>
                  </a:cubicBezTo>
                  <a:cubicBezTo>
                    <a:pt x="776" y="271"/>
                    <a:pt x="775" y="271"/>
                    <a:pt x="775" y="272"/>
                  </a:cubicBezTo>
                  <a:cubicBezTo>
                    <a:pt x="775" y="272"/>
                    <a:pt x="775" y="272"/>
                    <a:pt x="775" y="271"/>
                  </a:cubicBezTo>
                  <a:cubicBezTo>
                    <a:pt x="774" y="270"/>
                    <a:pt x="772" y="270"/>
                    <a:pt x="771" y="268"/>
                  </a:cubicBezTo>
                  <a:cubicBezTo>
                    <a:pt x="771" y="268"/>
                    <a:pt x="771" y="268"/>
                    <a:pt x="770" y="268"/>
                  </a:cubicBezTo>
                  <a:cubicBezTo>
                    <a:pt x="771" y="268"/>
                    <a:pt x="772" y="268"/>
                    <a:pt x="772" y="268"/>
                  </a:cubicBezTo>
                  <a:cubicBezTo>
                    <a:pt x="773" y="268"/>
                    <a:pt x="774" y="268"/>
                    <a:pt x="775" y="268"/>
                  </a:cubicBezTo>
                  <a:cubicBezTo>
                    <a:pt x="777" y="267"/>
                    <a:pt x="779" y="266"/>
                    <a:pt x="780" y="263"/>
                  </a:cubicBezTo>
                  <a:cubicBezTo>
                    <a:pt x="781" y="261"/>
                    <a:pt x="780" y="258"/>
                    <a:pt x="779" y="256"/>
                  </a:cubicBezTo>
                  <a:cubicBezTo>
                    <a:pt x="777" y="253"/>
                    <a:pt x="774" y="252"/>
                    <a:pt x="771" y="251"/>
                  </a:cubicBezTo>
                  <a:cubicBezTo>
                    <a:pt x="768" y="250"/>
                    <a:pt x="766" y="249"/>
                    <a:pt x="765" y="247"/>
                  </a:cubicBezTo>
                  <a:cubicBezTo>
                    <a:pt x="765" y="246"/>
                    <a:pt x="765" y="246"/>
                    <a:pt x="765" y="246"/>
                  </a:cubicBezTo>
                  <a:cubicBezTo>
                    <a:pt x="765" y="244"/>
                    <a:pt x="768" y="243"/>
                    <a:pt x="770" y="243"/>
                  </a:cubicBezTo>
                  <a:cubicBezTo>
                    <a:pt x="772" y="242"/>
                    <a:pt x="773" y="242"/>
                    <a:pt x="774" y="241"/>
                  </a:cubicBezTo>
                  <a:cubicBezTo>
                    <a:pt x="776" y="240"/>
                    <a:pt x="776" y="240"/>
                    <a:pt x="776" y="240"/>
                  </a:cubicBezTo>
                  <a:cubicBezTo>
                    <a:pt x="776" y="240"/>
                    <a:pt x="777" y="240"/>
                    <a:pt x="777" y="239"/>
                  </a:cubicBezTo>
                  <a:cubicBezTo>
                    <a:pt x="777" y="239"/>
                    <a:pt x="777" y="240"/>
                    <a:pt x="779" y="240"/>
                  </a:cubicBezTo>
                  <a:cubicBezTo>
                    <a:pt x="779" y="241"/>
                    <a:pt x="779" y="241"/>
                    <a:pt x="779" y="241"/>
                  </a:cubicBezTo>
                  <a:cubicBezTo>
                    <a:pt x="782" y="243"/>
                    <a:pt x="784" y="245"/>
                    <a:pt x="788" y="247"/>
                  </a:cubicBezTo>
                  <a:cubicBezTo>
                    <a:pt x="789" y="248"/>
                    <a:pt x="789" y="248"/>
                    <a:pt x="790" y="248"/>
                  </a:cubicBezTo>
                  <a:cubicBezTo>
                    <a:pt x="792" y="249"/>
                    <a:pt x="793" y="249"/>
                    <a:pt x="794" y="251"/>
                  </a:cubicBezTo>
                  <a:cubicBezTo>
                    <a:pt x="795" y="251"/>
                    <a:pt x="795" y="251"/>
                    <a:pt x="795" y="251"/>
                  </a:cubicBezTo>
                  <a:cubicBezTo>
                    <a:pt x="797" y="253"/>
                    <a:pt x="799" y="256"/>
                    <a:pt x="802" y="256"/>
                  </a:cubicBezTo>
                  <a:cubicBezTo>
                    <a:pt x="803" y="256"/>
                    <a:pt x="804" y="256"/>
                    <a:pt x="805" y="255"/>
                  </a:cubicBezTo>
                  <a:cubicBezTo>
                    <a:pt x="805" y="258"/>
                    <a:pt x="805" y="261"/>
                    <a:pt x="807" y="262"/>
                  </a:cubicBezTo>
                  <a:cubicBezTo>
                    <a:pt x="809" y="264"/>
                    <a:pt x="812" y="265"/>
                    <a:pt x="814" y="266"/>
                  </a:cubicBezTo>
                  <a:cubicBezTo>
                    <a:pt x="815" y="266"/>
                    <a:pt x="816" y="266"/>
                    <a:pt x="816" y="266"/>
                  </a:cubicBezTo>
                  <a:cubicBezTo>
                    <a:pt x="818" y="267"/>
                    <a:pt x="820" y="268"/>
                    <a:pt x="822" y="270"/>
                  </a:cubicBezTo>
                  <a:cubicBezTo>
                    <a:pt x="826" y="275"/>
                    <a:pt x="830" y="278"/>
                    <a:pt x="838" y="278"/>
                  </a:cubicBezTo>
                  <a:cubicBezTo>
                    <a:pt x="843" y="278"/>
                    <a:pt x="847" y="277"/>
                    <a:pt x="849" y="274"/>
                  </a:cubicBezTo>
                  <a:cubicBezTo>
                    <a:pt x="850" y="272"/>
                    <a:pt x="851" y="270"/>
                    <a:pt x="849" y="266"/>
                  </a:cubicBezTo>
                  <a:cubicBezTo>
                    <a:pt x="848" y="263"/>
                    <a:pt x="848" y="263"/>
                    <a:pt x="848" y="263"/>
                  </a:cubicBezTo>
                  <a:cubicBezTo>
                    <a:pt x="847" y="260"/>
                    <a:pt x="845" y="255"/>
                    <a:pt x="843" y="252"/>
                  </a:cubicBezTo>
                  <a:cubicBezTo>
                    <a:pt x="844" y="252"/>
                    <a:pt x="844" y="252"/>
                    <a:pt x="845" y="252"/>
                  </a:cubicBezTo>
                  <a:cubicBezTo>
                    <a:pt x="846" y="252"/>
                    <a:pt x="846" y="252"/>
                    <a:pt x="847" y="251"/>
                  </a:cubicBezTo>
                  <a:cubicBezTo>
                    <a:pt x="850" y="250"/>
                    <a:pt x="851" y="247"/>
                    <a:pt x="852" y="245"/>
                  </a:cubicBezTo>
                  <a:cubicBezTo>
                    <a:pt x="852" y="244"/>
                    <a:pt x="852" y="243"/>
                    <a:pt x="853" y="242"/>
                  </a:cubicBezTo>
                  <a:cubicBezTo>
                    <a:pt x="855" y="239"/>
                    <a:pt x="855" y="237"/>
                    <a:pt x="853" y="234"/>
                  </a:cubicBezTo>
                  <a:cubicBezTo>
                    <a:pt x="853" y="234"/>
                    <a:pt x="852" y="234"/>
                    <a:pt x="852" y="233"/>
                  </a:cubicBezTo>
                  <a:cubicBezTo>
                    <a:pt x="852" y="233"/>
                    <a:pt x="853" y="232"/>
                    <a:pt x="853" y="231"/>
                  </a:cubicBezTo>
                  <a:cubicBezTo>
                    <a:pt x="854" y="230"/>
                    <a:pt x="855" y="229"/>
                    <a:pt x="854" y="227"/>
                  </a:cubicBezTo>
                  <a:cubicBezTo>
                    <a:pt x="853" y="225"/>
                    <a:pt x="851" y="224"/>
                    <a:pt x="850" y="223"/>
                  </a:cubicBezTo>
                  <a:cubicBezTo>
                    <a:pt x="849" y="223"/>
                    <a:pt x="849" y="223"/>
                    <a:pt x="849" y="223"/>
                  </a:cubicBezTo>
                  <a:cubicBezTo>
                    <a:pt x="848" y="222"/>
                    <a:pt x="848" y="222"/>
                    <a:pt x="847" y="221"/>
                  </a:cubicBezTo>
                  <a:cubicBezTo>
                    <a:pt x="851" y="221"/>
                    <a:pt x="853" y="219"/>
                    <a:pt x="854" y="218"/>
                  </a:cubicBezTo>
                  <a:cubicBezTo>
                    <a:pt x="855" y="215"/>
                    <a:pt x="855" y="213"/>
                    <a:pt x="854" y="211"/>
                  </a:cubicBezTo>
                  <a:cubicBezTo>
                    <a:pt x="854" y="210"/>
                    <a:pt x="854" y="209"/>
                    <a:pt x="854" y="209"/>
                  </a:cubicBezTo>
                  <a:cubicBezTo>
                    <a:pt x="854" y="208"/>
                    <a:pt x="855" y="208"/>
                    <a:pt x="855" y="207"/>
                  </a:cubicBezTo>
                  <a:cubicBezTo>
                    <a:pt x="856" y="205"/>
                    <a:pt x="858" y="200"/>
                    <a:pt x="852" y="197"/>
                  </a:cubicBezTo>
                  <a:cubicBezTo>
                    <a:pt x="850" y="196"/>
                    <a:pt x="848" y="196"/>
                    <a:pt x="847" y="195"/>
                  </a:cubicBezTo>
                  <a:cubicBezTo>
                    <a:pt x="845" y="195"/>
                    <a:pt x="844" y="195"/>
                    <a:pt x="843" y="194"/>
                  </a:cubicBezTo>
                  <a:cubicBezTo>
                    <a:pt x="842" y="194"/>
                    <a:pt x="842" y="194"/>
                    <a:pt x="842" y="194"/>
                  </a:cubicBezTo>
                  <a:cubicBezTo>
                    <a:pt x="840" y="193"/>
                    <a:pt x="839" y="192"/>
                    <a:pt x="837" y="192"/>
                  </a:cubicBezTo>
                  <a:cubicBezTo>
                    <a:pt x="835" y="192"/>
                    <a:pt x="833" y="193"/>
                    <a:pt x="831" y="195"/>
                  </a:cubicBezTo>
                  <a:cubicBezTo>
                    <a:pt x="830" y="196"/>
                    <a:pt x="829" y="197"/>
                    <a:pt x="829" y="198"/>
                  </a:cubicBezTo>
                  <a:cubicBezTo>
                    <a:pt x="827" y="199"/>
                    <a:pt x="826" y="201"/>
                    <a:pt x="825" y="201"/>
                  </a:cubicBezTo>
                  <a:cubicBezTo>
                    <a:pt x="825" y="200"/>
                    <a:pt x="825" y="200"/>
                    <a:pt x="825" y="199"/>
                  </a:cubicBezTo>
                  <a:cubicBezTo>
                    <a:pt x="825" y="196"/>
                    <a:pt x="825" y="193"/>
                    <a:pt x="823" y="191"/>
                  </a:cubicBezTo>
                  <a:cubicBezTo>
                    <a:pt x="822" y="190"/>
                    <a:pt x="821" y="189"/>
                    <a:pt x="819" y="189"/>
                  </a:cubicBezTo>
                  <a:cubicBezTo>
                    <a:pt x="819" y="189"/>
                    <a:pt x="818" y="189"/>
                    <a:pt x="818" y="190"/>
                  </a:cubicBezTo>
                  <a:cubicBezTo>
                    <a:pt x="816" y="190"/>
                    <a:pt x="814" y="191"/>
                    <a:pt x="812" y="193"/>
                  </a:cubicBezTo>
                  <a:cubicBezTo>
                    <a:pt x="811" y="193"/>
                    <a:pt x="810" y="194"/>
                    <a:pt x="810" y="194"/>
                  </a:cubicBezTo>
                  <a:cubicBezTo>
                    <a:pt x="810" y="194"/>
                    <a:pt x="810" y="194"/>
                    <a:pt x="810" y="194"/>
                  </a:cubicBezTo>
                  <a:cubicBezTo>
                    <a:pt x="809" y="194"/>
                    <a:pt x="808" y="193"/>
                    <a:pt x="807" y="191"/>
                  </a:cubicBezTo>
                  <a:cubicBezTo>
                    <a:pt x="806" y="191"/>
                    <a:pt x="806" y="190"/>
                    <a:pt x="805" y="189"/>
                  </a:cubicBezTo>
                  <a:cubicBezTo>
                    <a:pt x="802" y="186"/>
                    <a:pt x="799" y="183"/>
                    <a:pt x="796" y="181"/>
                  </a:cubicBezTo>
                  <a:cubicBezTo>
                    <a:pt x="796" y="181"/>
                    <a:pt x="796" y="181"/>
                    <a:pt x="796" y="181"/>
                  </a:cubicBezTo>
                  <a:cubicBezTo>
                    <a:pt x="795" y="180"/>
                    <a:pt x="793" y="178"/>
                    <a:pt x="790" y="178"/>
                  </a:cubicBezTo>
                  <a:cubicBezTo>
                    <a:pt x="790" y="178"/>
                    <a:pt x="789" y="178"/>
                    <a:pt x="789" y="178"/>
                  </a:cubicBezTo>
                  <a:cubicBezTo>
                    <a:pt x="788" y="179"/>
                    <a:pt x="787" y="179"/>
                    <a:pt x="786" y="180"/>
                  </a:cubicBezTo>
                  <a:cubicBezTo>
                    <a:pt x="785" y="177"/>
                    <a:pt x="785" y="175"/>
                    <a:pt x="783" y="174"/>
                  </a:cubicBezTo>
                  <a:cubicBezTo>
                    <a:pt x="782" y="174"/>
                    <a:pt x="782" y="174"/>
                    <a:pt x="782" y="174"/>
                  </a:cubicBezTo>
                  <a:cubicBezTo>
                    <a:pt x="782" y="174"/>
                    <a:pt x="782" y="174"/>
                    <a:pt x="782" y="174"/>
                  </a:cubicBezTo>
                  <a:cubicBezTo>
                    <a:pt x="780" y="174"/>
                    <a:pt x="778" y="176"/>
                    <a:pt x="776" y="177"/>
                  </a:cubicBezTo>
                  <a:cubicBezTo>
                    <a:pt x="776" y="178"/>
                    <a:pt x="775" y="179"/>
                    <a:pt x="774" y="179"/>
                  </a:cubicBezTo>
                  <a:cubicBezTo>
                    <a:pt x="774" y="179"/>
                    <a:pt x="774" y="179"/>
                    <a:pt x="774" y="179"/>
                  </a:cubicBezTo>
                  <a:cubicBezTo>
                    <a:pt x="773" y="179"/>
                    <a:pt x="773" y="179"/>
                    <a:pt x="772" y="179"/>
                  </a:cubicBezTo>
                  <a:cubicBezTo>
                    <a:pt x="772" y="179"/>
                    <a:pt x="771" y="179"/>
                    <a:pt x="771" y="179"/>
                  </a:cubicBezTo>
                  <a:cubicBezTo>
                    <a:pt x="770" y="179"/>
                    <a:pt x="769" y="180"/>
                    <a:pt x="768" y="180"/>
                  </a:cubicBezTo>
                  <a:cubicBezTo>
                    <a:pt x="767" y="180"/>
                    <a:pt x="767" y="180"/>
                    <a:pt x="766" y="181"/>
                  </a:cubicBezTo>
                  <a:cubicBezTo>
                    <a:pt x="766" y="181"/>
                    <a:pt x="765" y="181"/>
                    <a:pt x="765" y="181"/>
                  </a:cubicBezTo>
                  <a:cubicBezTo>
                    <a:pt x="764" y="181"/>
                    <a:pt x="763" y="181"/>
                    <a:pt x="762" y="180"/>
                  </a:cubicBezTo>
                  <a:cubicBezTo>
                    <a:pt x="762" y="180"/>
                    <a:pt x="761" y="180"/>
                    <a:pt x="760" y="179"/>
                  </a:cubicBezTo>
                  <a:cubicBezTo>
                    <a:pt x="755" y="178"/>
                    <a:pt x="751" y="176"/>
                    <a:pt x="747" y="173"/>
                  </a:cubicBezTo>
                  <a:cubicBezTo>
                    <a:pt x="746" y="173"/>
                    <a:pt x="746" y="173"/>
                    <a:pt x="746" y="173"/>
                  </a:cubicBezTo>
                  <a:cubicBezTo>
                    <a:pt x="742" y="171"/>
                    <a:pt x="738" y="170"/>
                    <a:pt x="735" y="169"/>
                  </a:cubicBezTo>
                  <a:cubicBezTo>
                    <a:pt x="733" y="169"/>
                    <a:pt x="731" y="168"/>
                    <a:pt x="729" y="168"/>
                  </a:cubicBezTo>
                  <a:cubicBezTo>
                    <a:pt x="727" y="167"/>
                    <a:pt x="726" y="165"/>
                    <a:pt x="727" y="163"/>
                  </a:cubicBezTo>
                  <a:cubicBezTo>
                    <a:pt x="727" y="163"/>
                    <a:pt x="728" y="161"/>
                    <a:pt x="728" y="161"/>
                  </a:cubicBezTo>
                  <a:cubicBezTo>
                    <a:pt x="730" y="159"/>
                    <a:pt x="733" y="156"/>
                    <a:pt x="731" y="152"/>
                  </a:cubicBezTo>
                  <a:cubicBezTo>
                    <a:pt x="731" y="151"/>
                    <a:pt x="730" y="151"/>
                    <a:pt x="730" y="150"/>
                  </a:cubicBezTo>
                  <a:cubicBezTo>
                    <a:pt x="731" y="150"/>
                    <a:pt x="733" y="149"/>
                    <a:pt x="734" y="149"/>
                  </a:cubicBezTo>
                  <a:cubicBezTo>
                    <a:pt x="736" y="149"/>
                    <a:pt x="737" y="149"/>
                    <a:pt x="738" y="148"/>
                  </a:cubicBezTo>
                  <a:cubicBezTo>
                    <a:pt x="742" y="147"/>
                    <a:pt x="745" y="143"/>
                    <a:pt x="745" y="140"/>
                  </a:cubicBezTo>
                  <a:cubicBezTo>
                    <a:pt x="745" y="137"/>
                    <a:pt x="743" y="134"/>
                    <a:pt x="740" y="132"/>
                  </a:cubicBezTo>
                  <a:cubicBezTo>
                    <a:pt x="738" y="131"/>
                    <a:pt x="737" y="131"/>
                    <a:pt x="735" y="131"/>
                  </a:cubicBezTo>
                  <a:cubicBezTo>
                    <a:pt x="732" y="131"/>
                    <a:pt x="730" y="132"/>
                    <a:pt x="727" y="133"/>
                  </a:cubicBezTo>
                  <a:cubicBezTo>
                    <a:pt x="725" y="134"/>
                    <a:pt x="724" y="135"/>
                    <a:pt x="722" y="135"/>
                  </a:cubicBezTo>
                  <a:cubicBezTo>
                    <a:pt x="721" y="135"/>
                    <a:pt x="720" y="135"/>
                    <a:pt x="719" y="135"/>
                  </a:cubicBezTo>
                  <a:cubicBezTo>
                    <a:pt x="718" y="135"/>
                    <a:pt x="718" y="135"/>
                    <a:pt x="717" y="135"/>
                  </a:cubicBezTo>
                  <a:cubicBezTo>
                    <a:pt x="717" y="135"/>
                    <a:pt x="717" y="135"/>
                    <a:pt x="717" y="135"/>
                  </a:cubicBezTo>
                  <a:cubicBezTo>
                    <a:pt x="717" y="135"/>
                    <a:pt x="717" y="135"/>
                    <a:pt x="718" y="134"/>
                  </a:cubicBezTo>
                  <a:cubicBezTo>
                    <a:pt x="718" y="132"/>
                    <a:pt x="721" y="129"/>
                    <a:pt x="724" y="129"/>
                  </a:cubicBezTo>
                  <a:cubicBezTo>
                    <a:pt x="724" y="129"/>
                    <a:pt x="725" y="129"/>
                    <a:pt x="725" y="129"/>
                  </a:cubicBezTo>
                  <a:cubicBezTo>
                    <a:pt x="727" y="129"/>
                    <a:pt x="732" y="129"/>
                    <a:pt x="733" y="125"/>
                  </a:cubicBezTo>
                  <a:cubicBezTo>
                    <a:pt x="734" y="121"/>
                    <a:pt x="732" y="117"/>
                    <a:pt x="727" y="112"/>
                  </a:cubicBezTo>
                  <a:cubicBezTo>
                    <a:pt x="725" y="111"/>
                    <a:pt x="717" y="106"/>
                    <a:pt x="712" y="106"/>
                  </a:cubicBezTo>
                  <a:cubicBezTo>
                    <a:pt x="708" y="106"/>
                    <a:pt x="706" y="108"/>
                    <a:pt x="706" y="113"/>
                  </a:cubicBezTo>
                  <a:cubicBezTo>
                    <a:pt x="706" y="113"/>
                    <a:pt x="706" y="114"/>
                    <a:pt x="706" y="115"/>
                  </a:cubicBezTo>
                  <a:cubicBezTo>
                    <a:pt x="706" y="115"/>
                    <a:pt x="705" y="114"/>
                    <a:pt x="705" y="114"/>
                  </a:cubicBezTo>
                  <a:cubicBezTo>
                    <a:pt x="704" y="113"/>
                    <a:pt x="704" y="112"/>
                    <a:pt x="703" y="112"/>
                  </a:cubicBezTo>
                  <a:cubicBezTo>
                    <a:pt x="703" y="111"/>
                    <a:pt x="704" y="109"/>
                    <a:pt x="705" y="109"/>
                  </a:cubicBezTo>
                  <a:cubicBezTo>
                    <a:pt x="705" y="108"/>
                    <a:pt x="706" y="108"/>
                    <a:pt x="706" y="107"/>
                  </a:cubicBezTo>
                  <a:cubicBezTo>
                    <a:pt x="706" y="107"/>
                    <a:pt x="706" y="107"/>
                    <a:pt x="706" y="107"/>
                  </a:cubicBezTo>
                  <a:cubicBezTo>
                    <a:pt x="707" y="105"/>
                    <a:pt x="710" y="101"/>
                    <a:pt x="707" y="97"/>
                  </a:cubicBezTo>
                  <a:cubicBezTo>
                    <a:pt x="705" y="95"/>
                    <a:pt x="702" y="95"/>
                    <a:pt x="701" y="95"/>
                  </a:cubicBezTo>
                  <a:cubicBezTo>
                    <a:pt x="701" y="95"/>
                    <a:pt x="700" y="95"/>
                    <a:pt x="699" y="95"/>
                  </a:cubicBezTo>
                  <a:cubicBezTo>
                    <a:pt x="699" y="95"/>
                    <a:pt x="698" y="95"/>
                    <a:pt x="698" y="95"/>
                  </a:cubicBezTo>
                  <a:cubicBezTo>
                    <a:pt x="697" y="95"/>
                    <a:pt x="697" y="95"/>
                    <a:pt x="697" y="95"/>
                  </a:cubicBezTo>
                  <a:cubicBezTo>
                    <a:pt x="697" y="95"/>
                    <a:pt x="696" y="94"/>
                    <a:pt x="695" y="94"/>
                  </a:cubicBezTo>
                  <a:cubicBezTo>
                    <a:pt x="694" y="93"/>
                    <a:pt x="693" y="92"/>
                    <a:pt x="691" y="92"/>
                  </a:cubicBezTo>
                  <a:cubicBezTo>
                    <a:pt x="690" y="92"/>
                    <a:pt x="690" y="92"/>
                    <a:pt x="689" y="93"/>
                  </a:cubicBezTo>
                  <a:cubicBezTo>
                    <a:pt x="689" y="93"/>
                    <a:pt x="688" y="93"/>
                    <a:pt x="687" y="94"/>
                  </a:cubicBezTo>
                  <a:cubicBezTo>
                    <a:pt x="687" y="93"/>
                    <a:pt x="687" y="93"/>
                    <a:pt x="687" y="93"/>
                  </a:cubicBezTo>
                  <a:cubicBezTo>
                    <a:pt x="685" y="93"/>
                    <a:pt x="685" y="93"/>
                    <a:pt x="685" y="93"/>
                  </a:cubicBezTo>
                  <a:cubicBezTo>
                    <a:pt x="683" y="93"/>
                    <a:pt x="681" y="94"/>
                    <a:pt x="679" y="95"/>
                  </a:cubicBezTo>
                  <a:cubicBezTo>
                    <a:pt x="679" y="95"/>
                    <a:pt x="679" y="95"/>
                    <a:pt x="679" y="95"/>
                  </a:cubicBezTo>
                  <a:cubicBezTo>
                    <a:pt x="678" y="96"/>
                    <a:pt x="677" y="97"/>
                    <a:pt x="676" y="97"/>
                  </a:cubicBezTo>
                  <a:cubicBezTo>
                    <a:pt x="676" y="98"/>
                    <a:pt x="675" y="98"/>
                    <a:pt x="675" y="99"/>
                  </a:cubicBezTo>
                  <a:cubicBezTo>
                    <a:pt x="675" y="99"/>
                    <a:pt x="675" y="98"/>
                    <a:pt x="675" y="98"/>
                  </a:cubicBezTo>
                  <a:cubicBezTo>
                    <a:pt x="675" y="96"/>
                    <a:pt x="675" y="90"/>
                    <a:pt x="670" y="88"/>
                  </a:cubicBezTo>
                  <a:cubicBezTo>
                    <a:pt x="670" y="88"/>
                    <a:pt x="669" y="88"/>
                    <a:pt x="668" y="88"/>
                  </a:cubicBezTo>
                  <a:cubicBezTo>
                    <a:pt x="664" y="88"/>
                    <a:pt x="663" y="92"/>
                    <a:pt x="661" y="95"/>
                  </a:cubicBezTo>
                  <a:cubicBezTo>
                    <a:pt x="661" y="96"/>
                    <a:pt x="661" y="97"/>
                    <a:pt x="661" y="97"/>
                  </a:cubicBezTo>
                  <a:cubicBezTo>
                    <a:pt x="660" y="98"/>
                    <a:pt x="660" y="99"/>
                    <a:pt x="659" y="99"/>
                  </a:cubicBezTo>
                  <a:cubicBezTo>
                    <a:pt x="658" y="101"/>
                    <a:pt x="656" y="104"/>
                    <a:pt x="655" y="104"/>
                  </a:cubicBezTo>
                  <a:cubicBezTo>
                    <a:pt x="654" y="104"/>
                    <a:pt x="654" y="104"/>
                    <a:pt x="654" y="104"/>
                  </a:cubicBezTo>
                  <a:cubicBezTo>
                    <a:pt x="654" y="104"/>
                    <a:pt x="653" y="103"/>
                    <a:pt x="654" y="101"/>
                  </a:cubicBezTo>
                  <a:cubicBezTo>
                    <a:pt x="655" y="98"/>
                    <a:pt x="656" y="97"/>
                    <a:pt x="656" y="96"/>
                  </a:cubicBezTo>
                  <a:cubicBezTo>
                    <a:pt x="659" y="95"/>
                    <a:pt x="663" y="92"/>
                    <a:pt x="665" y="87"/>
                  </a:cubicBezTo>
                  <a:cubicBezTo>
                    <a:pt x="666" y="85"/>
                    <a:pt x="665" y="83"/>
                    <a:pt x="664" y="82"/>
                  </a:cubicBezTo>
                  <a:cubicBezTo>
                    <a:pt x="663" y="80"/>
                    <a:pt x="661" y="79"/>
                    <a:pt x="659" y="78"/>
                  </a:cubicBezTo>
                  <a:cubicBezTo>
                    <a:pt x="659" y="78"/>
                    <a:pt x="658" y="78"/>
                    <a:pt x="658" y="78"/>
                  </a:cubicBezTo>
                  <a:cubicBezTo>
                    <a:pt x="657" y="78"/>
                    <a:pt x="657" y="77"/>
                    <a:pt x="656" y="77"/>
                  </a:cubicBezTo>
                  <a:cubicBezTo>
                    <a:pt x="654" y="76"/>
                    <a:pt x="651" y="74"/>
                    <a:pt x="648" y="74"/>
                  </a:cubicBezTo>
                  <a:cubicBezTo>
                    <a:pt x="647" y="73"/>
                    <a:pt x="646" y="73"/>
                    <a:pt x="645" y="73"/>
                  </a:cubicBezTo>
                  <a:cubicBezTo>
                    <a:pt x="642" y="73"/>
                    <a:pt x="640" y="74"/>
                    <a:pt x="638" y="76"/>
                  </a:cubicBezTo>
                  <a:cubicBezTo>
                    <a:pt x="637" y="78"/>
                    <a:pt x="637" y="80"/>
                    <a:pt x="637" y="82"/>
                  </a:cubicBezTo>
                  <a:cubicBezTo>
                    <a:pt x="637" y="83"/>
                    <a:pt x="637" y="84"/>
                    <a:pt x="637" y="85"/>
                  </a:cubicBezTo>
                  <a:cubicBezTo>
                    <a:pt x="637" y="86"/>
                    <a:pt x="636" y="87"/>
                    <a:pt x="636" y="87"/>
                  </a:cubicBezTo>
                  <a:cubicBezTo>
                    <a:pt x="636" y="87"/>
                    <a:pt x="636" y="86"/>
                    <a:pt x="635" y="86"/>
                  </a:cubicBezTo>
                  <a:cubicBezTo>
                    <a:pt x="634" y="82"/>
                    <a:pt x="632" y="77"/>
                    <a:pt x="627" y="76"/>
                  </a:cubicBezTo>
                  <a:cubicBezTo>
                    <a:pt x="626" y="76"/>
                    <a:pt x="626" y="76"/>
                    <a:pt x="625" y="76"/>
                  </a:cubicBezTo>
                  <a:cubicBezTo>
                    <a:pt x="623" y="76"/>
                    <a:pt x="621" y="77"/>
                    <a:pt x="619" y="78"/>
                  </a:cubicBezTo>
                  <a:cubicBezTo>
                    <a:pt x="619" y="78"/>
                    <a:pt x="618" y="79"/>
                    <a:pt x="617" y="79"/>
                  </a:cubicBezTo>
                  <a:cubicBezTo>
                    <a:pt x="618" y="79"/>
                    <a:pt x="618" y="78"/>
                    <a:pt x="618" y="77"/>
                  </a:cubicBezTo>
                  <a:cubicBezTo>
                    <a:pt x="620" y="75"/>
                    <a:pt x="622" y="72"/>
                    <a:pt x="621" y="70"/>
                  </a:cubicBezTo>
                  <a:cubicBezTo>
                    <a:pt x="621" y="64"/>
                    <a:pt x="616" y="63"/>
                    <a:pt x="614" y="63"/>
                  </a:cubicBezTo>
                  <a:cubicBezTo>
                    <a:pt x="611" y="63"/>
                    <a:pt x="610" y="62"/>
                    <a:pt x="609" y="61"/>
                  </a:cubicBezTo>
                  <a:cubicBezTo>
                    <a:pt x="609" y="60"/>
                    <a:pt x="608" y="59"/>
                    <a:pt x="608" y="58"/>
                  </a:cubicBezTo>
                  <a:cubicBezTo>
                    <a:pt x="608" y="56"/>
                    <a:pt x="607" y="55"/>
                    <a:pt x="607" y="54"/>
                  </a:cubicBezTo>
                  <a:cubicBezTo>
                    <a:pt x="605" y="50"/>
                    <a:pt x="600" y="47"/>
                    <a:pt x="596" y="46"/>
                  </a:cubicBezTo>
                  <a:cubicBezTo>
                    <a:pt x="596" y="46"/>
                    <a:pt x="595" y="46"/>
                    <a:pt x="595" y="46"/>
                  </a:cubicBezTo>
                  <a:cubicBezTo>
                    <a:pt x="594" y="46"/>
                    <a:pt x="593" y="46"/>
                    <a:pt x="593" y="47"/>
                  </a:cubicBezTo>
                  <a:cubicBezTo>
                    <a:pt x="592" y="47"/>
                    <a:pt x="591" y="47"/>
                    <a:pt x="591" y="47"/>
                  </a:cubicBezTo>
                  <a:cubicBezTo>
                    <a:pt x="590" y="47"/>
                    <a:pt x="590" y="47"/>
                    <a:pt x="589" y="47"/>
                  </a:cubicBezTo>
                  <a:cubicBezTo>
                    <a:pt x="588" y="46"/>
                    <a:pt x="587" y="46"/>
                    <a:pt x="586" y="45"/>
                  </a:cubicBezTo>
                  <a:cubicBezTo>
                    <a:pt x="584" y="44"/>
                    <a:pt x="581" y="43"/>
                    <a:pt x="578" y="43"/>
                  </a:cubicBezTo>
                  <a:cubicBezTo>
                    <a:pt x="578" y="43"/>
                    <a:pt x="577" y="43"/>
                    <a:pt x="576" y="44"/>
                  </a:cubicBezTo>
                  <a:cubicBezTo>
                    <a:pt x="572" y="44"/>
                    <a:pt x="568" y="47"/>
                    <a:pt x="564" y="52"/>
                  </a:cubicBezTo>
                  <a:cubicBezTo>
                    <a:pt x="561" y="57"/>
                    <a:pt x="560" y="60"/>
                    <a:pt x="564" y="65"/>
                  </a:cubicBezTo>
                  <a:cubicBezTo>
                    <a:pt x="564" y="65"/>
                    <a:pt x="564" y="65"/>
                    <a:pt x="564" y="65"/>
                  </a:cubicBezTo>
                  <a:cubicBezTo>
                    <a:pt x="563" y="66"/>
                    <a:pt x="562" y="66"/>
                    <a:pt x="561" y="67"/>
                  </a:cubicBezTo>
                  <a:cubicBezTo>
                    <a:pt x="560" y="65"/>
                    <a:pt x="557" y="64"/>
                    <a:pt x="555" y="64"/>
                  </a:cubicBezTo>
                  <a:cubicBezTo>
                    <a:pt x="555" y="64"/>
                    <a:pt x="554" y="64"/>
                    <a:pt x="554" y="63"/>
                  </a:cubicBezTo>
                  <a:cubicBezTo>
                    <a:pt x="553" y="63"/>
                    <a:pt x="551" y="63"/>
                    <a:pt x="550" y="63"/>
                  </a:cubicBezTo>
                  <a:cubicBezTo>
                    <a:pt x="549" y="63"/>
                    <a:pt x="549" y="63"/>
                    <a:pt x="549" y="63"/>
                  </a:cubicBezTo>
                  <a:cubicBezTo>
                    <a:pt x="549" y="63"/>
                    <a:pt x="549" y="63"/>
                    <a:pt x="549" y="63"/>
                  </a:cubicBezTo>
                  <a:cubicBezTo>
                    <a:pt x="545" y="63"/>
                    <a:pt x="544" y="67"/>
                    <a:pt x="544" y="70"/>
                  </a:cubicBezTo>
                  <a:cubicBezTo>
                    <a:pt x="543" y="70"/>
                    <a:pt x="543" y="71"/>
                    <a:pt x="543" y="71"/>
                  </a:cubicBezTo>
                  <a:cubicBezTo>
                    <a:pt x="542" y="74"/>
                    <a:pt x="541" y="76"/>
                    <a:pt x="541" y="77"/>
                  </a:cubicBezTo>
                  <a:cubicBezTo>
                    <a:pt x="540" y="76"/>
                    <a:pt x="540" y="74"/>
                    <a:pt x="540" y="72"/>
                  </a:cubicBezTo>
                  <a:cubicBezTo>
                    <a:pt x="540" y="72"/>
                    <a:pt x="540" y="71"/>
                    <a:pt x="540" y="71"/>
                  </a:cubicBezTo>
                  <a:cubicBezTo>
                    <a:pt x="540" y="70"/>
                    <a:pt x="540" y="69"/>
                    <a:pt x="540" y="69"/>
                  </a:cubicBezTo>
                  <a:cubicBezTo>
                    <a:pt x="540" y="66"/>
                    <a:pt x="539" y="64"/>
                    <a:pt x="540" y="62"/>
                  </a:cubicBezTo>
                  <a:cubicBezTo>
                    <a:pt x="540" y="62"/>
                    <a:pt x="540" y="62"/>
                    <a:pt x="541" y="61"/>
                  </a:cubicBezTo>
                  <a:cubicBezTo>
                    <a:pt x="542" y="60"/>
                    <a:pt x="543" y="60"/>
                    <a:pt x="543" y="58"/>
                  </a:cubicBezTo>
                  <a:cubicBezTo>
                    <a:pt x="547" y="52"/>
                    <a:pt x="543" y="47"/>
                    <a:pt x="541" y="43"/>
                  </a:cubicBezTo>
                  <a:cubicBezTo>
                    <a:pt x="540" y="42"/>
                    <a:pt x="539" y="41"/>
                    <a:pt x="539" y="40"/>
                  </a:cubicBezTo>
                  <a:cubicBezTo>
                    <a:pt x="538" y="38"/>
                    <a:pt x="537" y="37"/>
                    <a:pt x="536" y="36"/>
                  </a:cubicBezTo>
                  <a:cubicBezTo>
                    <a:pt x="535" y="34"/>
                    <a:pt x="534" y="33"/>
                    <a:pt x="533" y="32"/>
                  </a:cubicBezTo>
                  <a:cubicBezTo>
                    <a:pt x="533" y="31"/>
                    <a:pt x="533" y="30"/>
                    <a:pt x="533" y="29"/>
                  </a:cubicBezTo>
                  <a:cubicBezTo>
                    <a:pt x="532" y="28"/>
                    <a:pt x="532" y="27"/>
                    <a:pt x="532" y="26"/>
                  </a:cubicBezTo>
                  <a:cubicBezTo>
                    <a:pt x="531" y="21"/>
                    <a:pt x="527" y="16"/>
                    <a:pt x="523" y="14"/>
                  </a:cubicBezTo>
                  <a:cubicBezTo>
                    <a:pt x="522" y="13"/>
                    <a:pt x="521" y="13"/>
                    <a:pt x="519" y="13"/>
                  </a:cubicBezTo>
                  <a:cubicBezTo>
                    <a:pt x="517" y="13"/>
                    <a:pt x="515" y="14"/>
                    <a:pt x="513" y="15"/>
                  </a:cubicBezTo>
                  <a:cubicBezTo>
                    <a:pt x="512" y="16"/>
                    <a:pt x="511" y="16"/>
                    <a:pt x="510" y="17"/>
                  </a:cubicBezTo>
                  <a:cubicBezTo>
                    <a:pt x="509" y="17"/>
                    <a:pt x="509" y="17"/>
                    <a:pt x="508" y="17"/>
                  </a:cubicBezTo>
                  <a:cubicBezTo>
                    <a:pt x="506" y="18"/>
                    <a:pt x="504" y="18"/>
                    <a:pt x="501" y="20"/>
                  </a:cubicBezTo>
                  <a:cubicBezTo>
                    <a:pt x="496" y="23"/>
                    <a:pt x="491" y="28"/>
                    <a:pt x="487" y="33"/>
                  </a:cubicBezTo>
                  <a:cubicBezTo>
                    <a:pt x="479" y="43"/>
                    <a:pt x="473" y="57"/>
                    <a:pt x="479" y="67"/>
                  </a:cubicBezTo>
                  <a:cubicBezTo>
                    <a:pt x="480" y="68"/>
                    <a:pt x="482" y="70"/>
                    <a:pt x="484" y="71"/>
                  </a:cubicBezTo>
                  <a:cubicBezTo>
                    <a:pt x="485" y="72"/>
                    <a:pt x="488" y="74"/>
                    <a:pt x="489" y="75"/>
                  </a:cubicBezTo>
                  <a:cubicBezTo>
                    <a:pt x="488" y="76"/>
                    <a:pt x="488" y="76"/>
                    <a:pt x="487" y="76"/>
                  </a:cubicBezTo>
                  <a:cubicBezTo>
                    <a:pt x="487" y="76"/>
                    <a:pt x="486" y="77"/>
                    <a:pt x="486" y="77"/>
                  </a:cubicBezTo>
                  <a:cubicBezTo>
                    <a:pt x="484" y="79"/>
                    <a:pt x="481" y="81"/>
                    <a:pt x="479" y="85"/>
                  </a:cubicBezTo>
                  <a:cubicBezTo>
                    <a:pt x="476" y="94"/>
                    <a:pt x="485" y="100"/>
                    <a:pt x="489" y="102"/>
                  </a:cubicBezTo>
                  <a:cubicBezTo>
                    <a:pt x="493" y="105"/>
                    <a:pt x="495" y="106"/>
                    <a:pt x="494" y="110"/>
                  </a:cubicBezTo>
                  <a:cubicBezTo>
                    <a:pt x="494" y="111"/>
                    <a:pt x="494" y="111"/>
                    <a:pt x="494" y="112"/>
                  </a:cubicBezTo>
                  <a:cubicBezTo>
                    <a:pt x="494" y="108"/>
                    <a:pt x="490" y="106"/>
                    <a:pt x="487" y="104"/>
                  </a:cubicBezTo>
                  <a:cubicBezTo>
                    <a:pt x="486" y="103"/>
                    <a:pt x="484" y="102"/>
                    <a:pt x="483" y="101"/>
                  </a:cubicBezTo>
                  <a:cubicBezTo>
                    <a:pt x="482" y="100"/>
                    <a:pt x="481" y="97"/>
                    <a:pt x="480" y="95"/>
                  </a:cubicBezTo>
                  <a:cubicBezTo>
                    <a:pt x="480" y="94"/>
                    <a:pt x="479" y="93"/>
                    <a:pt x="478" y="91"/>
                  </a:cubicBezTo>
                  <a:cubicBezTo>
                    <a:pt x="478" y="90"/>
                    <a:pt x="478" y="90"/>
                    <a:pt x="478" y="90"/>
                  </a:cubicBezTo>
                  <a:cubicBezTo>
                    <a:pt x="476" y="87"/>
                    <a:pt x="475" y="86"/>
                    <a:pt x="475" y="83"/>
                  </a:cubicBezTo>
                  <a:cubicBezTo>
                    <a:pt x="475" y="81"/>
                    <a:pt x="475" y="80"/>
                    <a:pt x="476" y="78"/>
                  </a:cubicBezTo>
                  <a:cubicBezTo>
                    <a:pt x="476" y="73"/>
                    <a:pt x="477" y="68"/>
                    <a:pt x="473" y="62"/>
                  </a:cubicBezTo>
                  <a:cubicBezTo>
                    <a:pt x="473" y="62"/>
                    <a:pt x="472" y="61"/>
                    <a:pt x="472" y="61"/>
                  </a:cubicBezTo>
                  <a:cubicBezTo>
                    <a:pt x="471" y="60"/>
                    <a:pt x="471" y="59"/>
                    <a:pt x="471" y="58"/>
                  </a:cubicBezTo>
                  <a:cubicBezTo>
                    <a:pt x="471" y="55"/>
                    <a:pt x="472" y="51"/>
                    <a:pt x="473" y="49"/>
                  </a:cubicBezTo>
                  <a:cubicBezTo>
                    <a:pt x="474" y="46"/>
                    <a:pt x="475" y="43"/>
                    <a:pt x="477" y="41"/>
                  </a:cubicBezTo>
                  <a:cubicBezTo>
                    <a:pt x="477" y="40"/>
                    <a:pt x="478" y="39"/>
                    <a:pt x="478" y="38"/>
                  </a:cubicBezTo>
                  <a:cubicBezTo>
                    <a:pt x="479" y="36"/>
                    <a:pt x="481" y="33"/>
                    <a:pt x="483" y="31"/>
                  </a:cubicBezTo>
                  <a:cubicBezTo>
                    <a:pt x="483" y="30"/>
                    <a:pt x="484" y="30"/>
                    <a:pt x="485" y="29"/>
                  </a:cubicBezTo>
                  <a:cubicBezTo>
                    <a:pt x="487" y="25"/>
                    <a:pt x="489" y="22"/>
                    <a:pt x="489" y="17"/>
                  </a:cubicBezTo>
                  <a:cubicBezTo>
                    <a:pt x="488" y="14"/>
                    <a:pt x="488" y="14"/>
                    <a:pt x="488" y="14"/>
                  </a:cubicBezTo>
                  <a:cubicBezTo>
                    <a:pt x="486" y="14"/>
                    <a:pt x="486" y="14"/>
                    <a:pt x="486" y="14"/>
                  </a:cubicBezTo>
                  <a:cubicBezTo>
                    <a:pt x="481" y="14"/>
                    <a:pt x="477" y="14"/>
                    <a:pt x="473" y="13"/>
                  </a:cubicBezTo>
                  <a:cubicBezTo>
                    <a:pt x="470" y="13"/>
                    <a:pt x="470" y="13"/>
                    <a:pt x="470" y="13"/>
                  </a:cubicBezTo>
                  <a:cubicBezTo>
                    <a:pt x="469" y="13"/>
                    <a:pt x="468" y="13"/>
                    <a:pt x="467" y="13"/>
                  </a:cubicBezTo>
                  <a:cubicBezTo>
                    <a:pt x="464" y="13"/>
                    <a:pt x="462" y="13"/>
                    <a:pt x="460" y="15"/>
                  </a:cubicBezTo>
                  <a:cubicBezTo>
                    <a:pt x="459" y="16"/>
                    <a:pt x="459" y="16"/>
                    <a:pt x="458" y="17"/>
                  </a:cubicBezTo>
                  <a:cubicBezTo>
                    <a:pt x="455" y="19"/>
                    <a:pt x="451" y="22"/>
                    <a:pt x="449" y="25"/>
                  </a:cubicBezTo>
                  <a:cubicBezTo>
                    <a:pt x="448" y="27"/>
                    <a:pt x="448" y="27"/>
                    <a:pt x="448" y="27"/>
                  </a:cubicBezTo>
                  <a:cubicBezTo>
                    <a:pt x="443" y="36"/>
                    <a:pt x="437" y="44"/>
                    <a:pt x="434" y="54"/>
                  </a:cubicBezTo>
                  <a:cubicBezTo>
                    <a:pt x="430" y="68"/>
                    <a:pt x="426" y="89"/>
                    <a:pt x="428" y="108"/>
                  </a:cubicBezTo>
                  <a:cubicBezTo>
                    <a:pt x="430" y="115"/>
                    <a:pt x="434" y="119"/>
                    <a:pt x="441" y="121"/>
                  </a:cubicBezTo>
                  <a:cubicBezTo>
                    <a:pt x="444" y="122"/>
                    <a:pt x="446" y="122"/>
                    <a:pt x="449" y="122"/>
                  </a:cubicBezTo>
                  <a:cubicBezTo>
                    <a:pt x="450" y="122"/>
                    <a:pt x="450" y="122"/>
                    <a:pt x="450" y="122"/>
                  </a:cubicBezTo>
                  <a:cubicBezTo>
                    <a:pt x="454" y="122"/>
                    <a:pt x="461" y="126"/>
                    <a:pt x="461" y="129"/>
                  </a:cubicBezTo>
                  <a:cubicBezTo>
                    <a:pt x="461" y="129"/>
                    <a:pt x="461" y="129"/>
                    <a:pt x="460" y="129"/>
                  </a:cubicBezTo>
                  <a:cubicBezTo>
                    <a:pt x="458" y="129"/>
                    <a:pt x="453" y="127"/>
                    <a:pt x="452" y="126"/>
                  </a:cubicBezTo>
                  <a:cubicBezTo>
                    <a:pt x="452" y="126"/>
                    <a:pt x="450" y="126"/>
                    <a:pt x="449" y="125"/>
                  </a:cubicBezTo>
                  <a:cubicBezTo>
                    <a:pt x="447" y="124"/>
                    <a:pt x="443" y="123"/>
                    <a:pt x="440" y="123"/>
                  </a:cubicBezTo>
                  <a:cubicBezTo>
                    <a:pt x="438" y="123"/>
                    <a:pt x="437" y="124"/>
                    <a:pt x="436" y="125"/>
                  </a:cubicBezTo>
                  <a:cubicBezTo>
                    <a:pt x="431" y="129"/>
                    <a:pt x="434" y="134"/>
                    <a:pt x="436" y="137"/>
                  </a:cubicBezTo>
                  <a:cubicBezTo>
                    <a:pt x="437" y="138"/>
                    <a:pt x="437" y="139"/>
                    <a:pt x="437" y="139"/>
                  </a:cubicBezTo>
                  <a:cubicBezTo>
                    <a:pt x="439" y="145"/>
                    <a:pt x="442" y="147"/>
                    <a:pt x="446" y="151"/>
                  </a:cubicBezTo>
                  <a:cubicBezTo>
                    <a:pt x="452" y="156"/>
                    <a:pt x="460" y="157"/>
                    <a:pt x="463" y="157"/>
                  </a:cubicBezTo>
                  <a:cubicBezTo>
                    <a:pt x="463" y="157"/>
                    <a:pt x="464" y="157"/>
                    <a:pt x="464" y="157"/>
                  </a:cubicBezTo>
                  <a:cubicBezTo>
                    <a:pt x="466" y="157"/>
                    <a:pt x="468" y="157"/>
                    <a:pt x="469" y="156"/>
                  </a:cubicBezTo>
                  <a:cubicBezTo>
                    <a:pt x="470" y="156"/>
                    <a:pt x="471" y="156"/>
                    <a:pt x="472" y="156"/>
                  </a:cubicBezTo>
                  <a:cubicBezTo>
                    <a:pt x="472" y="156"/>
                    <a:pt x="473" y="156"/>
                    <a:pt x="474" y="158"/>
                  </a:cubicBezTo>
                  <a:cubicBezTo>
                    <a:pt x="475" y="159"/>
                    <a:pt x="475" y="159"/>
                    <a:pt x="475" y="159"/>
                  </a:cubicBezTo>
                  <a:cubicBezTo>
                    <a:pt x="477" y="162"/>
                    <a:pt x="480" y="166"/>
                    <a:pt x="484" y="167"/>
                  </a:cubicBezTo>
                  <a:cubicBezTo>
                    <a:pt x="485" y="167"/>
                    <a:pt x="485" y="167"/>
                    <a:pt x="486" y="167"/>
                  </a:cubicBezTo>
                  <a:cubicBezTo>
                    <a:pt x="488" y="167"/>
                    <a:pt x="489" y="166"/>
                    <a:pt x="491" y="166"/>
                  </a:cubicBezTo>
                  <a:cubicBezTo>
                    <a:pt x="492" y="165"/>
                    <a:pt x="493" y="165"/>
                    <a:pt x="494" y="165"/>
                  </a:cubicBezTo>
                  <a:cubicBezTo>
                    <a:pt x="494" y="165"/>
                    <a:pt x="495" y="165"/>
                    <a:pt x="495" y="165"/>
                  </a:cubicBezTo>
                  <a:cubicBezTo>
                    <a:pt x="498" y="166"/>
                    <a:pt x="498" y="166"/>
                    <a:pt x="498" y="166"/>
                  </a:cubicBezTo>
                  <a:cubicBezTo>
                    <a:pt x="500" y="166"/>
                    <a:pt x="502" y="167"/>
                    <a:pt x="505" y="167"/>
                  </a:cubicBezTo>
                  <a:cubicBezTo>
                    <a:pt x="503" y="167"/>
                    <a:pt x="501" y="168"/>
                    <a:pt x="500" y="168"/>
                  </a:cubicBezTo>
                  <a:cubicBezTo>
                    <a:pt x="499" y="169"/>
                    <a:pt x="499" y="169"/>
                    <a:pt x="498" y="169"/>
                  </a:cubicBezTo>
                  <a:cubicBezTo>
                    <a:pt x="497" y="169"/>
                    <a:pt x="496" y="169"/>
                    <a:pt x="495" y="169"/>
                  </a:cubicBezTo>
                  <a:cubicBezTo>
                    <a:pt x="495" y="169"/>
                    <a:pt x="495" y="169"/>
                    <a:pt x="495" y="169"/>
                  </a:cubicBezTo>
                  <a:cubicBezTo>
                    <a:pt x="495" y="169"/>
                    <a:pt x="494" y="169"/>
                    <a:pt x="494" y="169"/>
                  </a:cubicBezTo>
                  <a:cubicBezTo>
                    <a:pt x="494" y="169"/>
                    <a:pt x="493" y="169"/>
                    <a:pt x="492" y="169"/>
                  </a:cubicBezTo>
                  <a:cubicBezTo>
                    <a:pt x="492" y="169"/>
                    <a:pt x="491" y="169"/>
                    <a:pt x="491" y="169"/>
                  </a:cubicBezTo>
                  <a:cubicBezTo>
                    <a:pt x="487" y="171"/>
                    <a:pt x="487" y="176"/>
                    <a:pt x="488" y="181"/>
                  </a:cubicBezTo>
                  <a:cubicBezTo>
                    <a:pt x="488" y="181"/>
                    <a:pt x="488" y="182"/>
                    <a:pt x="488" y="182"/>
                  </a:cubicBezTo>
                  <a:cubicBezTo>
                    <a:pt x="488" y="186"/>
                    <a:pt x="488" y="190"/>
                    <a:pt x="489" y="193"/>
                  </a:cubicBezTo>
                  <a:cubicBezTo>
                    <a:pt x="490" y="198"/>
                    <a:pt x="494" y="199"/>
                    <a:pt x="497" y="199"/>
                  </a:cubicBezTo>
                  <a:cubicBezTo>
                    <a:pt x="497" y="200"/>
                    <a:pt x="497" y="200"/>
                    <a:pt x="497" y="201"/>
                  </a:cubicBezTo>
                  <a:cubicBezTo>
                    <a:pt x="497" y="201"/>
                    <a:pt x="497" y="202"/>
                    <a:pt x="497" y="203"/>
                  </a:cubicBezTo>
                  <a:cubicBezTo>
                    <a:pt x="497" y="203"/>
                    <a:pt x="497" y="204"/>
                    <a:pt x="497" y="204"/>
                  </a:cubicBezTo>
                  <a:cubicBezTo>
                    <a:pt x="497" y="206"/>
                    <a:pt x="497" y="209"/>
                    <a:pt x="496" y="210"/>
                  </a:cubicBezTo>
                  <a:cubicBezTo>
                    <a:pt x="495" y="210"/>
                    <a:pt x="494" y="211"/>
                    <a:pt x="494" y="211"/>
                  </a:cubicBezTo>
                  <a:cubicBezTo>
                    <a:pt x="492" y="212"/>
                    <a:pt x="489" y="213"/>
                    <a:pt x="488" y="215"/>
                  </a:cubicBezTo>
                  <a:cubicBezTo>
                    <a:pt x="487" y="217"/>
                    <a:pt x="487" y="220"/>
                    <a:pt x="487" y="223"/>
                  </a:cubicBezTo>
                  <a:cubicBezTo>
                    <a:pt x="487" y="224"/>
                    <a:pt x="487" y="225"/>
                    <a:pt x="486" y="226"/>
                  </a:cubicBezTo>
                  <a:cubicBezTo>
                    <a:pt x="486" y="229"/>
                    <a:pt x="486" y="231"/>
                    <a:pt x="486" y="234"/>
                  </a:cubicBezTo>
                  <a:cubicBezTo>
                    <a:pt x="486" y="237"/>
                    <a:pt x="486" y="240"/>
                    <a:pt x="485" y="243"/>
                  </a:cubicBezTo>
                  <a:cubicBezTo>
                    <a:pt x="485" y="243"/>
                    <a:pt x="485" y="243"/>
                    <a:pt x="484" y="243"/>
                  </a:cubicBezTo>
                  <a:cubicBezTo>
                    <a:pt x="484" y="244"/>
                    <a:pt x="484" y="244"/>
                    <a:pt x="483" y="244"/>
                  </a:cubicBezTo>
                  <a:cubicBezTo>
                    <a:pt x="481" y="246"/>
                    <a:pt x="479" y="250"/>
                    <a:pt x="478" y="254"/>
                  </a:cubicBezTo>
                  <a:cubicBezTo>
                    <a:pt x="478" y="255"/>
                    <a:pt x="478" y="257"/>
                    <a:pt x="478" y="258"/>
                  </a:cubicBezTo>
                  <a:cubicBezTo>
                    <a:pt x="478" y="260"/>
                    <a:pt x="478" y="262"/>
                    <a:pt x="478" y="263"/>
                  </a:cubicBezTo>
                  <a:cubicBezTo>
                    <a:pt x="477" y="263"/>
                    <a:pt x="477" y="264"/>
                    <a:pt x="476" y="264"/>
                  </a:cubicBezTo>
                  <a:cubicBezTo>
                    <a:pt x="475" y="264"/>
                    <a:pt x="474" y="265"/>
                    <a:pt x="473" y="266"/>
                  </a:cubicBezTo>
                  <a:cubicBezTo>
                    <a:pt x="472" y="267"/>
                    <a:pt x="471" y="268"/>
                    <a:pt x="471" y="269"/>
                  </a:cubicBezTo>
                  <a:cubicBezTo>
                    <a:pt x="470" y="268"/>
                    <a:pt x="469" y="266"/>
                    <a:pt x="468" y="264"/>
                  </a:cubicBezTo>
                  <a:cubicBezTo>
                    <a:pt x="467" y="262"/>
                    <a:pt x="465" y="260"/>
                    <a:pt x="463" y="258"/>
                  </a:cubicBezTo>
                  <a:cubicBezTo>
                    <a:pt x="463" y="258"/>
                    <a:pt x="463" y="258"/>
                    <a:pt x="463" y="258"/>
                  </a:cubicBezTo>
                  <a:cubicBezTo>
                    <a:pt x="461" y="257"/>
                    <a:pt x="460" y="255"/>
                    <a:pt x="459" y="253"/>
                  </a:cubicBezTo>
                  <a:cubicBezTo>
                    <a:pt x="458" y="251"/>
                    <a:pt x="457" y="251"/>
                    <a:pt x="457" y="250"/>
                  </a:cubicBezTo>
                  <a:cubicBezTo>
                    <a:pt x="457" y="248"/>
                    <a:pt x="457" y="248"/>
                    <a:pt x="457" y="248"/>
                  </a:cubicBezTo>
                  <a:cubicBezTo>
                    <a:pt x="458" y="246"/>
                    <a:pt x="458" y="243"/>
                    <a:pt x="457" y="241"/>
                  </a:cubicBezTo>
                  <a:cubicBezTo>
                    <a:pt x="457" y="240"/>
                    <a:pt x="457" y="240"/>
                    <a:pt x="457" y="240"/>
                  </a:cubicBezTo>
                  <a:cubicBezTo>
                    <a:pt x="457" y="239"/>
                    <a:pt x="456" y="237"/>
                    <a:pt x="456" y="237"/>
                  </a:cubicBezTo>
                  <a:cubicBezTo>
                    <a:pt x="457" y="236"/>
                    <a:pt x="458" y="235"/>
                    <a:pt x="458" y="234"/>
                  </a:cubicBezTo>
                  <a:cubicBezTo>
                    <a:pt x="459" y="233"/>
                    <a:pt x="459" y="233"/>
                    <a:pt x="459" y="233"/>
                  </a:cubicBezTo>
                  <a:cubicBezTo>
                    <a:pt x="461" y="231"/>
                    <a:pt x="462" y="228"/>
                    <a:pt x="462" y="226"/>
                  </a:cubicBezTo>
                  <a:cubicBezTo>
                    <a:pt x="462" y="225"/>
                    <a:pt x="462" y="224"/>
                    <a:pt x="462" y="223"/>
                  </a:cubicBezTo>
                  <a:cubicBezTo>
                    <a:pt x="462" y="220"/>
                    <a:pt x="463" y="216"/>
                    <a:pt x="461" y="212"/>
                  </a:cubicBezTo>
                  <a:cubicBezTo>
                    <a:pt x="460" y="211"/>
                    <a:pt x="459" y="210"/>
                    <a:pt x="459" y="209"/>
                  </a:cubicBezTo>
                  <a:cubicBezTo>
                    <a:pt x="458" y="208"/>
                    <a:pt x="458" y="208"/>
                    <a:pt x="457" y="207"/>
                  </a:cubicBezTo>
                  <a:cubicBezTo>
                    <a:pt x="456" y="205"/>
                    <a:pt x="454" y="204"/>
                    <a:pt x="452" y="202"/>
                  </a:cubicBezTo>
                  <a:cubicBezTo>
                    <a:pt x="452" y="201"/>
                    <a:pt x="451" y="201"/>
                    <a:pt x="450" y="200"/>
                  </a:cubicBezTo>
                  <a:cubicBezTo>
                    <a:pt x="449" y="200"/>
                    <a:pt x="448" y="199"/>
                    <a:pt x="448" y="199"/>
                  </a:cubicBezTo>
                  <a:cubicBezTo>
                    <a:pt x="448" y="198"/>
                    <a:pt x="448" y="198"/>
                    <a:pt x="447" y="197"/>
                  </a:cubicBezTo>
                  <a:cubicBezTo>
                    <a:pt x="446" y="196"/>
                    <a:pt x="444" y="192"/>
                    <a:pt x="441" y="192"/>
                  </a:cubicBezTo>
                  <a:cubicBezTo>
                    <a:pt x="440" y="192"/>
                    <a:pt x="440" y="192"/>
                    <a:pt x="440" y="192"/>
                  </a:cubicBezTo>
                  <a:cubicBezTo>
                    <a:pt x="435" y="193"/>
                    <a:pt x="435" y="197"/>
                    <a:pt x="435" y="199"/>
                  </a:cubicBezTo>
                  <a:cubicBezTo>
                    <a:pt x="435" y="199"/>
                    <a:pt x="434" y="200"/>
                    <a:pt x="434" y="201"/>
                  </a:cubicBezTo>
                  <a:cubicBezTo>
                    <a:pt x="433" y="202"/>
                    <a:pt x="433" y="203"/>
                    <a:pt x="432" y="205"/>
                  </a:cubicBezTo>
                  <a:cubicBezTo>
                    <a:pt x="432" y="206"/>
                    <a:pt x="432" y="206"/>
                    <a:pt x="432" y="206"/>
                  </a:cubicBezTo>
                  <a:cubicBezTo>
                    <a:pt x="432" y="208"/>
                    <a:pt x="432" y="210"/>
                    <a:pt x="432" y="212"/>
                  </a:cubicBezTo>
                  <a:cubicBezTo>
                    <a:pt x="432" y="215"/>
                    <a:pt x="431" y="217"/>
                    <a:pt x="429" y="220"/>
                  </a:cubicBezTo>
                  <a:cubicBezTo>
                    <a:pt x="429" y="221"/>
                    <a:pt x="429" y="222"/>
                    <a:pt x="428" y="223"/>
                  </a:cubicBezTo>
                  <a:cubicBezTo>
                    <a:pt x="428" y="224"/>
                    <a:pt x="428" y="226"/>
                    <a:pt x="428" y="227"/>
                  </a:cubicBezTo>
                  <a:cubicBezTo>
                    <a:pt x="428" y="230"/>
                    <a:pt x="427" y="230"/>
                    <a:pt x="427" y="231"/>
                  </a:cubicBezTo>
                  <a:cubicBezTo>
                    <a:pt x="427" y="231"/>
                    <a:pt x="426" y="230"/>
                    <a:pt x="425" y="222"/>
                  </a:cubicBezTo>
                  <a:cubicBezTo>
                    <a:pt x="425" y="221"/>
                    <a:pt x="425" y="219"/>
                    <a:pt x="426" y="217"/>
                  </a:cubicBezTo>
                  <a:cubicBezTo>
                    <a:pt x="426" y="213"/>
                    <a:pt x="426" y="208"/>
                    <a:pt x="424" y="203"/>
                  </a:cubicBezTo>
                  <a:cubicBezTo>
                    <a:pt x="423" y="202"/>
                    <a:pt x="422" y="201"/>
                    <a:pt x="422" y="200"/>
                  </a:cubicBezTo>
                  <a:cubicBezTo>
                    <a:pt x="421" y="199"/>
                    <a:pt x="420" y="198"/>
                    <a:pt x="419" y="197"/>
                  </a:cubicBezTo>
                  <a:cubicBezTo>
                    <a:pt x="419" y="196"/>
                    <a:pt x="420" y="196"/>
                    <a:pt x="421" y="194"/>
                  </a:cubicBezTo>
                  <a:cubicBezTo>
                    <a:pt x="423" y="193"/>
                    <a:pt x="425" y="191"/>
                    <a:pt x="425" y="188"/>
                  </a:cubicBezTo>
                  <a:cubicBezTo>
                    <a:pt x="425" y="184"/>
                    <a:pt x="421" y="183"/>
                    <a:pt x="418" y="182"/>
                  </a:cubicBezTo>
                  <a:cubicBezTo>
                    <a:pt x="418" y="182"/>
                    <a:pt x="417" y="182"/>
                    <a:pt x="417" y="182"/>
                  </a:cubicBezTo>
                  <a:cubicBezTo>
                    <a:pt x="416" y="181"/>
                    <a:pt x="415" y="181"/>
                    <a:pt x="415" y="181"/>
                  </a:cubicBezTo>
                  <a:cubicBezTo>
                    <a:pt x="414" y="180"/>
                    <a:pt x="412" y="179"/>
                    <a:pt x="411" y="179"/>
                  </a:cubicBezTo>
                  <a:cubicBezTo>
                    <a:pt x="409" y="179"/>
                    <a:pt x="407" y="181"/>
                    <a:pt x="405" y="182"/>
                  </a:cubicBezTo>
                  <a:cubicBezTo>
                    <a:pt x="405" y="183"/>
                    <a:pt x="404" y="183"/>
                    <a:pt x="404" y="183"/>
                  </a:cubicBezTo>
                  <a:cubicBezTo>
                    <a:pt x="404" y="183"/>
                    <a:pt x="403" y="182"/>
                    <a:pt x="403" y="181"/>
                  </a:cubicBezTo>
                  <a:cubicBezTo>
                    <a:pt x="402" y="180"/>
                    <a:pt x="402" y="180"/>
                    <a:pt x="402" y="180"/>
                  </a:cubicBezTo>
                  <a:cubicBezTo>
                    <a:pt x="401" y="179"/>
                    <a:pt x="399" y="178"/>
                    <a:pt x="398" y="177"/>
                  </a:cubicBezTo>
                  <a:cubicBezTo>
                    <a:pt x="398" y="177"/>
                    <a:pt x="397" y="176"/>
                    <a:pt x="397" y="176"/>
                  </a:cubicBezTo>
                  <a:cubicBezTo>
                    <a:pt x="397" y="176"/>
                    <a:pt x="397" y="176"/>
                    <a:pt x="397" y="176"/>
                  </a:cubicBezTo>
                  <a:cubicBezTo>
                    <a:pt x="397" y="176"/>
                    <a:pt x="397" y="176"/>
                    <a:pt x="400" y="175"/>
                  </a:cubicBezTo>
                  <a:cubicBezTo>
                    <a:pt x="401" y="174"/>
                    <a:pt x="403" y="173"/>
                    <a:pt x="405" y="172"/>
                  </a:cubicBezTo>
                  <a:cubicBezTo>
                    <a:pt x="406" y="170"/>
                    <a:pt x="406" y="168"/>
                    <a:pt x="406" y="167"/>
                  </a:cubicBezTo>
                  <a:cubicBezTo>
                    <a:pt x="406" y="166"/>
                    <a:pt x="406" y="165"/>
                    <a:pt x="406" y="165"/>
                  </a:cubicBezTo>
                  <a:cubicBezTo>
                    <a:pt x="406" y="165"/>
                    <a:pt x="407" y="165"/>
                    <a:pt x="408" y="165"/>
                  </a:cubicBezTo>
                  <a:cubicBezTo>
                    <a:pt x="409" y="165"/>
                    <a:pt x="411" y="165"/>
                    <a:pt x="412" y="161"/>
                  </a:cubicBezTo>
                  <a:cubicBezTo>
                    <a:pt x="414" y="157"/>
                    <a:pt x="410" y="154"/>
                    <a:pt x="409" y="153"/>
                  </a:cubicBezTo>
                  <a:cubicBezTo>
                    <a:pt x="407" y="152"/>
                    <a:pt x="407" y="152"/>
                    <a:pt x="406" y="151"/>
                  </a:cubicBezTo>
                  <a:cubicBezTo>
                    <a:pt x="406" y="150"/>
                    <a:pt x="405" y="149"/>
                    <a:pt x="405" y="148"/>
                  </a:cubicBezTo>
                  <a:cubicBezTo>
                    <a:pt x="404" y="147"/>
                    <a:pt x="404" y="146"/>
                    <a:pt x="403" y="145"/>
                  </a:cubicBezTo>
                  <a:cubicBezTo>
                    <a:pt x="403" y="144"/>
                    <a:pt x="403" y="143"/>
                    <a:pt x="403" y="143"/>
                  </a:cubicBezTo>
                  <a:cubicBezTo>
                    <a:pt x="402" y="141"/>
                    <a:pt x="402" y="140"/>
                    <a:pt x="401" y="138"/>
                  </a:cubicBezTo>
                  <a:cubicBezTo>
                    <a:pt x="400" y="137"/>
                    <a:pt x="399" y="137"/>
                    <a:pt x="399" y="136"/>
                  </a:cubicBezTo>
                  <a:cubicBezTo>
                    <a:pt x="398" y="135"/>
                    <a:pt x="397" y="135"/>
                    <a:pt x="397" y="134"/>
                  </a:cubicBezTo>
                  <a:cubicBezTo>
                    <a:pt x="396" y="132"/>
                    <a:pt x="396" y="130"/>
                    <a:pt x="397" y="127"/>
                  </a:cubicBezTo>
                  <a:cubicBezTo>
                    <a:pt x="397" y="125"/>
                    <a:pt x="397" y="124"/>
                    <a:pt x="397" y="123"/>
                  </a:cubicBezTo>
                  <a:cubicBezTo>
                    <a:pt x="397" y="119"/>
                    <a:pt x="396" y="115"/>
                    <a:pt x="394" y="112"/>
                  </a:cubicBezTo>
                  <a:cubicBezTo>
                    <a:pt x="394" y="110"/>
                    <a:pt x="392" y="108"/>
                    <a:pt x="391" y="107"/>
                  </a:cubicBezTo>
                  <a:cubicBezTo>
                    <a:pt x="391" y="106"/>
                    <a:pt x="390" y="105"/>
                    <a:pt x="389" y="104"/>
                  </a:cubicBezTo>
                  <a:cubicBezTo>
                    <a:pt x="389" y="104"/>
                    <a:pt x="389" y="103"/>
                    <a:pt x="388" y="102"/>
                  </a:cubicBezTo>
                  <a:cubicBezTo>
                    <a:pt x="388" y="100"/>
                    <a:pt x="387" y="97"/>
                    <a:pt x="385" y="96"/>
                  </a:cubicBezTo>
                  <a:cubicBezTo>
                    <a:pt x="383" y="94"/>
                    <a:pt x="381" y="94"/>
                    <a:pt x="379" y="93"/>
                  </a:cubicBezTo>
                  <a:cubicBezTo>
                    <a:pt x="379" y="93"/>
                    <a:pt x="379" y="93"/>
                    <a:pt x="378" y="93"/>
                  </a:cubicBezTo>
                  <a:cubicBezTo>
                    <a:pt x="380" y="92"/>
                    <a:pt x="381" y="91"/>
                    <a:pt x="382" y="90"/>
                  </a:cubicBezTo>
                  <a:cubicBezTo>
                    <a:pt x="383" y="89"/>
                    <a:pt x="384" y="88"/>
                    <a:pt x="385" y="87"/>
                  </a:cubicBezTo>
                  <a:cubicBezTo>
                    <a:pt x="386" y="86"/>
                    <a:pt x="387" y="86"/>
                    <a:pt x="388" y="85"/>
                  </a:cubicBezTo>
                  <a:cubicBezTo>
                    <a:pt x="393" y="80"/>
                    <a:pt x="392" y="71"/>
                    <a:pt x="391" y="65"/>
                  </a:cubicBezTo>
                  <a:cubicBezTo>
                    <a:pt x="391" y="64"/>
                    <a:pt x="391" y="64"/>
                    <a:pt x="391" y="64"/>
                  </a:cubicBezTo>
                  <a:cubicBezTo>
                    <a:pt x="391" y="63"/>
                    <a:pt x="391" y="62"/>
                    <a:pt x="391" y="62"/>
                  </a:cubicBezTo>
                  <a:cubicBezTo>
                    <a:pt x="391" y="62"/>
                    <a:pt x="392" y="62"/>
                    <a:pt x="393" y="63"/>
                  </a:cubicBezTo>
                  <a:cubicBezTo>
                    <a:pt x="396" y="63"/>
                    <a:pt x="398" y="64"/>
                    <a:pt x="400" y="64"/>
                  </a:cubicBezTo>
                  <a:cubicBezTo>
                    <a:pt x="405" y="64"/>
                    <a:pt x="409" y="62"/>
                    <a:pt x="412" y="58"/>
                  </a:cubicBezTo>
                  <a:cubicBezTo>
                    <a:pt x="414" y="55"/>
                    <a:pt x="416" y="51"/>
                    <a:pt x="417" y="48"/>
                  </a:cubicBezTo>
                  <a:cubicBezTo>
                    <a:pt x="418" y="45"/>
                    <a:pt x="418" y="43"/>
                    <a:pt x="420" y="41"/>
                  </a:cubicBezTo>
                  <a:cubicBezTo>
                    <a:pt x="421" y="39"/>
                    <a:pt x="422" y="37"/>
                    <a:pt x="424" y="35"/>
                  </a:cubicBezTo>
                  <a:cubicBezTo>
                    <a:pt x="426" y="32"/>
                    <a:pt x="429" y="28"/>
                    <a:pt x="430" y="24"/>
                  </a:cubicBezTo>
                  <a:cubicBezTo>
                    <a:pt x="431" y="20"/>
                    <a:pt x="431" y="17"/>
                    <a:pt x="429" y="15"/>
                  </a:cubicBezTo>
                  <a:cubicBezTo>
                    <a:pt x="426" y="10"/>
                    <a:pt x="418" y="8"/>
                    <a:pt x="411" y="6"/>
                  </a:cubicBezTo>
                  <a:cubicBezTo>
                    <a:pt x="408" y="6"/>
                    <a:pt x="405" y="5"/>
                    <a:pt x="403" y="4"/>
                  </a:cubicBezTo>
                  <a:cubicBezTo>
                    <a:pt x="398" y="1"/>
                    <a:pt x="393" y="0"/>
                    <a:pt x="389" y="0"/>
                  </a:cubicBezTo>
                  <a:cubicBezTo>
                    <a:pt x="386" y="0"/>
                    <a:pt x="384" y="1"/>
                    <a:pt x="382" y="1"/>
                  </a:cubicBezTo>
                  <a:cubicBezTo>
                    <a:pt x="379" y="2"/>
                    <a:pt x="372" y="4"/>
                    <a:pt x="370" y="9"/>
                  </a:cubicBezTo>
                  <a:cubicBezTo>
                    <a:pt x="369" y="10"/>
                    <a:pt x="369" y="13"/>
                    <a:pt x="370" y="16"/>
                  </a:cubicBezTo>
                  <a:cubicBezTo>
                    <a:pt x="369" y="16"/>
                    <a:pt x="368" y="17"/>
                    <a:pt x="368" y="17"/>
                  </a:cubicBezTo>
                  <a:cubicBezTo>
                    <a:pt x="365" y="19"/>
                    <a:pt x="365" y="22"/>
                    <a:pt x="365" y="24"/>
                  </a:cubicBezTo>
                  <a:cubicBezTo>
                    <a:pt x="365" y="25"/>
                    <a:pt x="365" y="25"/>
                    <a:pt x="365" y="25"/>
                  </a:cubicBezTo>
                  <a:cubicBezTo>
                    <a:pt x="365" y="26"/>
                    <a:pt x="365" y="27"/>
                    <a:pt x="365" y="28"/>
                  </a:cubicBezTo>
                  <a:cubicBezTo>
                    <a:pt x="364" y="30"/>
                    <a:pt x="364" y="32"/>
                    <a:pt x="364" y="34"/>
                  </a:cubicBezTo>
                  <a:cubicBezTo>
                    <a:pt x="364" y="36"/>
                    <a:pt x="364" y="37"/>
                    <a:pt x="364" y="39"/>
                  </a:cubicBezTo>
                  <a:cubicBezTo>
                    <a:pt x="364" y="42"/>
                    <a:pt x="365" y="45"/>
                    <a:pt x="364" y="47"/>
                  </a:cubicBezTo>
                  <a:cubicBezTo>
                    <a:pt x="364" y="47"/>
                    <a:pt x="364" y="48"/>
                    <a:pt x="363" y="48"/>
                  </a:cubicBezTo>
                  <a:cubicBezTo>
                    <a:pt x="363" y="50"/>
                    <a:pt x="362" y="52"/>
                    <a:pt x="363" y="55"/>
                  </a:cubicBezTo>
                  <a:cubicBezTo>
                    <a:pt x="363" y="56"/>
                    <a:pt x="363" y="57"/>
                    <a:pt x="364" y="58"/>
                  </a:cubicBezTo>
                  <a:cubicBezTo>
                    <a:pt x="364" y="59"/>
                    <a:pt x="365" y="59"/>
                    <a:pt x="365" y="60"/>
                  </a:cubicBezTo>
                  <a:cubicBezTo>
                    <a:pt x="366" y="64"/>
                    <a:pt x="366" y="68"/>
                    <a:pt x="366" y="73"/>
                  </a:cubicBezTo>
                  <a:cubicBezTo>
                    <a:pt x="366" y="74"/>
                    <a:pt x="366" y="76"/>
                    <a:pt x="366" y="77"/>
                  </a:cubicBezTo>
                  <a:cubicBezTo>
                    <a:pt x="366" y="79"/>
                    <a:pt x="366" y="81"/>
                    <a:pt x="366" y="82"/>
                  </a:cubicBezTo>
                  <a:cubicBezTo>
                    <a:pt x="366" y="83"/>
                    <a:pt x="365" y="83"/>
                    <a:pt x="365" y="84"/>
                  </a:cubicBezTo>
                  <a:cubicBezTo>
                    <a:pt x="364" y="86"/>
                    <a:pt x="363" y="88"/>
                    <a:pt x="365" y="91"/>
                  </a:cubicBezTo>
                  <a:cubicBezTo>
                    <a:pt x="365" y="91"/>
                    <a:pt x="365" y="91"/>
                    <a:pt x="365" y="91"/>
                  </a:cubicBezTo>
                  <a:cubicBezTo>
                    <a:pt x="363" y="92"/>
                    <a:pt x="363" y="94"/>
                    <a:pt x="362" y="95"/>
                  </a:cubicBezTo>
                  <a:cubicBezTo>
                    <a:pt x="362" y="96"/>
                    <a:pt x="362" y="96"/>
                    <a:pt x="362" y="96"/>
                  </a:cubicBezTo>
                  <a:cubicBezTo>
                    <a:pt x="362" y="96"/>
                    <a:pt x="362" y="96"/>
                    <a:pt x="361" y="97"/>
                  </a:cubicBezTo>
                  <a:cubicBezTo>
                    <a:pt x="359" y="97"/>
                    <a:pt x="357" y="98"/>
                    <a:pt x="356" y="100"/>
                  </a:cubicBezTo>
                  <a:cubicBezTo>
                    <a:pt x="355" y="102"/>
                    <a:pt x="355" y="105"/>
                    <a:pt x="356" y="106"/>
                  </a:cubicBezTo>
                  <a:cubicBezTo>
                    <a:pt x="357" y="107"/>
                    <a:pt x="358" y="108"/>
                    <a:pt x="360" y="108"/>
                  </a:cubicBezTo>
                  <a:cubicBezTo>
                    <a:pt x="360" y="108"/>
                    <a:pt x="360" y="108"/>
                    <a:pt x="359" y="108"/>
                  </a:cubicBezTo>
                  <a:cubicBezTo>
                    <a:pt x="359" y="108"/>
                    <a:pt x="359" y="108"/>
                    <a:pt x="358" y="108"/>
                  </a:cubicBezTo>
                  <a:cubicBezTo>
                    <a:pt x="358" y="108"/>
                    <a:pt x="357" y="108"/>
                    <a:pt x="356" y="108"/>
                  </a:cubicBezTo>
                  <a:cubicBezTo>
                    <a:pt x="355" y="108"/>
                    <a:pt x="352" y="108"/>
                    <a:pt x="350" y="110"/>
                  </a:cubicBezTo>
                  <a:cubicBezTo>
                    <a:pt x="348" y="113"/>
                    <a:pt x="347" y="118"/>
                    <a:pt x="346" y="121"/>
                  </a:cubicBezTo>
                  <a:cubicBezTo>
                    <a:pt x="345" y="122"/>
                    <a:pt x="345" y="123"/>
                    <a:pt x="345" y="124"/>
                  </a:cubicBezTo>
                  <a:cubicBezTo>
                    <a:pt x="345" y="124"/>
                    <a:pt x="345" y="125"/>
                    <a:pt x="345" y="125"/>
                  </a:cubicBezTo>
                  <a:cubicBezTo>
                    <a:pt x="343" y="128"/>
                    <a:pt x="341" y="136"/>
                    <a:pt x="347" y="139"/>
                  </a:cubicBezTo>
                  <a:cubicBezTo>
                    <a:pt x="348" y="139"/>
                    <a:pt x="348" y="139"/>
                    <a:pt x="349" y="139"/>
                  </a:cubicBezTo>
                  <a:cubicBezTo>
                    <a:pt x="349" y="139"/>
                    <a:pt x="348" y="140"/>
                    <a:pt x="348" y="140"/>
                  </a:cubicBezTo>
                  <a:cubicBezTo>
                    <a:pt x="346" y="141"/>
                    <a:pt x="345" y="143"/>
                    <a:pt x="344" y="144"/>
                  </a:cubicBezTo>
                  <a:cubicBezTo>
                    <a:pt x="344" y="144"/>
                    <a:pt x="344" y="145"/>
                    <a:pt x="343" y="145"/>
                  </a:cubicBezTo>
                  <a:cubicBezTo>
                    <a:pt x="343" y="146"/>
                    <a:pt x="342" y="146"/>
                    <a:pt x="341" y="148"/>
                  </a:cubicBezTo>
                  <a:cubicBezTo>
                    <a:pt x="340" y="151"/>
                    <a:pt x="340" y="156"/>
                    <a:pt x="340" y="158"/>
                  </a:cubicBezTo>
                  <a:cubicBezTo>
                    <a:pt x="341" y="161"/>
                    <a:pt x="342" y="162"/>
                    <a:pt x="344" y="163"/>
                  </a:cubicBezTo>
                  <a:cubicBezTo>
                    <a:pt x="344" y="164"/>
                    <a:pt x="345" y="164"/>
                    <a:pt x="345" y="165"/>
                  </a:cubicBezTo>
                  <a:cubicBezTo>
                    <a:pt x="345" y="165"/>
                    <a:pt x="345" y="166"/>
                    <a:pt x="345" y="166"/>
                  </a:cubicBezTo>
                  <a:cubicBezTo>
                    <a:pt x="345" y="167"/>
                    <a:pt x="345" y="168"/>
                    <a:pt x="345" y="170"/>
                  </a:cubicBezTo>
                  <a:cubicBezTo>
                    <a:pt x="346" y="172"/>
                    <a:pt x="347" y="173"/>
                    <a:pt x="349" y="174"/>
                  </a:cubicBezTo>
                  <a:cubicBezTo>
                    <a:pt x="351" y="175"/>
                    <a:pt x="353" y="176"/>
                    <a:pt x="355" y="177"/>
                  </a:cubicBezTo>
                  <a:cubicBezTo>
                    <a:pt x="356" y="177"/>
                    <a:pt x="356" y="177"/>
                    <a:pt x="357" y="178"/>
                  </a:cubicBezTo>
                  <a:cubicBezTo>
                    <a:pt x="360" y="179"/>
                    <a:pt x="362" y="181"/>
                    <a:pt x="364" y="182"/>
                  </a:cubicBezTo>
                  <a:cubicBezTo>
                    <a:pt x="365" y="184"/>
                    <a:pt x="367" y="185"/>
                    <a:pt x="368" y="186"/>
                  </a:cubicBezTo>
                  <a:cubicBezTo>
                    <a:pt x="370" y="187"/>
                    <a:pt x="372" y="188"/>
                    <a:pt x="374" y="188"/>
                  </a:cubicBezTo>
                  <a:cubicBezTo>
                    <a:pt x="374" y="188"/>
                    <a:pt x="375" y="188"/>
                    <a:pt x="375" y="188"/>
                  </a:cubicBezTo>
                  <a:cubicBezTo>
                    <a:pt x="376" y="188"/>
                    <a:pt x="377" y="188"/>
                    <a:pt x="378" y="188"/>
                  </a:cubicBezTo>
                  <a:cubicBezTo>
                    <a:pt x="378" y="188"/>
                    <a:pt x="379" y="188"/>
                    <a:pt x="379" y="188"/>
                  </a:cubicBezTo>
                  <a:cubicBezTo>
                    <a:pt x="380" y="188"/>
                    <a:pt x="380" y="188"/>
                    <a:pt x="381" y="188"/>
                  </a:cubicBezTo>
                  <a:cubicBezTo>
                    <a:pt x="381" y="189"/>
                    <a:pt x="380" y="189"/>
                    <a:pt x="379" y="190"/>
                  </a:cubicBezTo>
                  <a:cubicBezTo>
                    <a:pt x="379" y="190"/>
                    <a:pt x="379" y="190"/>
                    <a:pt x="379" y="190"/>
                  </a:cubicBezTo>
                  <a:cubicBezTo>
                    <a:pt x="378" y="190"/>
                    <a:pt x="377" y="189"/>
                    <a:pt x="377" y="189"/>
                  </a:cubicBezTo>
                  <a:cubicBezTo>
                    <a:pt x="376" y="189"/>
                    <a:pt x="375" y="189"/>
                    <a:pt x="374" y="189"/>
                  </a:cubicBezTo>
                  <a:cubicBezTo>
                    <a:pt x="368" y="189"/>
                    <a:pt x="367" y="193"/>
                    <a:pt x="367" y="195"/>
                  </a:cubicBezTo>
                  <a:cubicBezTo>
                    <a:pt x="367" y="196"/>
                    <a:pt x="368" y="197"/>
                    <a:pt x="368" y="198"/>
                  </a:cubicBezTo>
                  <a:cubicBezTo>
                    <a:pt x="368" y="199"/>
                    <a:pt x="368" y="201"/>
                    <a:pt x="368" y="201"/>
                  </a:cubicBezTo>
                  <a:cubicBezTo>
                    <a:pt x="367" y="202"/>
                    <a:pt x="363" y="203"/>
                    <a:pt x="362" y="208"/>
                  </a:cubicBezTo>
                  <a:cubicBezTo>
                    <a:pt x="362" y="211"/>
                    <a:pt x="363" y="214"/>
                    <a:pt x="365" y="216"/>
                  </a:cubicBezTo>
                  <a:cubicBezTo>
                    <a:pt x="367" y="217"/>
                    <a:pt x="368" y="218"/>
                    <a:pt x="369" y="218"/>
                  </a:cubicBezTo>
                  <a:cubicBezTo>
                    <a:pt x="373" y="218"/>
                    <a:pt x="374" y="215"/>
                    <a:pt x="376" y="212"/>
                  </a:cubicBezTo>
                  <a:cubicBezTo>
                    <a:pt x="376" y="213"/>
                    <a:pt x="376" y="214"/>
                    <a:pt x="376" y="214"/>
                  </a:cubicBezTo>
                  <a:cubicBezTo>
                    <a:pt x="376" y="216"/>
                    <a:pt x="376" y="217"/>
                    <a:pt x="376" y="219"/>
                  </a:cubicBezTo>
                  <a:cubicBezTo>
                    <a:pt x="376" y="219"/>
                    <a:pt x="375" y="219"/>
                    <a:pt x="374" y="220"/>
                  </a:cubicBezTo>
                  <a:cubicBezTo>
                    <a:pt x="373" y="221"/>
                    <a:pt x="371" y="223"/>
                    <a:pt x="369" y="225"/>
                  </a:cubicBezTo>
                  <a:cubicBezTo>
                    <a:pt x="367" y="226"/>
                    <a:pt x="366" y="228"/>
                    <a:pt x="365" y="230"/>
                  </a:cubicBezTo>
                  <a:cubicBezTo>
                    <a:pt x="364" y="232"/>
                    <a:pt x="364" y="232"/>
                    <a:pt x="364" y="232"/>
                  </a:cubicBezTo>
                  <a:cubicBezTo>
                    <a:pt x="364" y="232"/>
                    <a:pt x="364" y="232"/>
                    <a:pt x="364" y="233"/>
                  </a:cubicBezTo>
                  <a:cubicBezTo>
                    <a:pt x="363" y="233"/>
                    <a:pt x="363" y="234"/>
                    <a:pt x="363" y="234"/>
                  </a:cubicBezTo>
                  <a:cubicBezTo>
                    <a:pt x="363" y="234"/>
                    <a:pt x="362" y="234"/>
                    <a:pt x="362" y="234"/>
                  </a:cubicBezTo>
                  <a:cubicBezTo>
                    <a:pt x="362" y="234"/>
                    <a:pt x="361" y="234"/>
                    <a:pt x="361" y="234"/>
                  </a:cubicBezTo>
                  <a:cubicBezTo>
                    <a:pt x="360" y="234"/>
                    <a:pt x="360" y="234"/>
                    <a:pt x="359" y="234"/>
                  </a:cubicBezTo>
                  <a:cubicBezTo>
                    <a:pt x="357" y="234"/>
                    <a:pt x="356" y="234"/>
                    <a:pt x="354" y="235"/>
                  </a:cubicBezTo>
                  <a:cubicBezTo>
                    <a:pt x="351" y="237"/>
                    <a:pt x="349" y="239"/>
                    <a:pt x="347" y="242"/>
                  </a:cubicBezTo>
                  <a:cubicBezTo>
                    <a:pt x="347" y="242"/>
                    <a:pt x="347" y="242"/>
                    <a:pt x="347" y="242"/>
                  </a:cubicBezTo>
                  <a:cubicBezTo>
                    <a:pt x="344" y="247"/>
                    <a:pt x="345" y="251"/>
                    <a:pt x="346" y="254"/>
                  </a:cubicBezTo>
                  <a:cubicBezTo>
                    <a:pt x="346" y="255"/>
                    <a:pt x="346" y="255"/>
                    <a:pt x="346" y="255"/>
                  </a:cubicBezTo>
                  <a:cubicBezTo>
                    <a:pt x="347" y="256"/>
                    <a:pt x="347" y="257"/>
                    <a:pt x="347" y="259"/>
                  </a:cubicBezTo>
                  <a:cubicBezTo>
                    <a:pt x="347" y="259"/>
                    <a:pt x="348" y="260"/>
                    <a:pt x="348" y="260"/>
                  </a:cubicBezTo>
                  <a:cubicBezTo>
                    <a:pt x="348" y="262"/>
                    <a:pt x="348" y="263"/>
                    <a:pt x="349" y="265"/>
                  </a:cubicBezTo>
                  <a:cubicBezTo>
                    <a:pt x="349" y="267"/>
                    <a:pt x="349" y="268"/>
                    <a:pt x="348" y="269"/>
                  </a:cubicBezTo>
                  <a:cubicBezTo>
                    <a:pt x="348" y="270"/>
                    <a:pt x="348" y="270"/>
                    <a:pt x="348" y="270"/>
                  </a:cubicBezTo>
                  <a:cubicBezTo>
                    <a:pt x="348" y="270"/>
                    <a:pt x="348" y="270"/>
                    <a:pt x="347" y="270"/>
                  </a:cubicBezTo>
                  <a:cubicBezTo>
                    <a:pt x="347" y="270"/>
                    <a:pt x="346" y="269"/>
                    <a:pt x="345" y="269"/>
                  </a:cubicBezTo>
                  <a:cubicBezTo>
                    <a:pt x="345" y="268"/>
                    <a:pt x="344" y="268"/>
                    <a:pt x="344" y="268"/>
                  </a:cubicBezTo>
                  <a:cubicBezTo>
                    <a:pt x="343" y="268"/>
                    <a:pt x="342" y="268"/>
                    <a:pt x="342" y="267"/>
                  </a:cubicBezTo>
                  <a:cubicBezTo>
                    <a:pt x="342" y="267"/>
                    <a:pt x="342" y="266"/>
                    <a:pt x="342" y="265"/>
                  </a:cubicBezTo>
                  <a:cubicBezTo>
                    <a:pt x="342" y="264"/>
                    <a:pt x="342" y="264"/>
                    <a:pt x="342" y="263"/>
                  </a:cubicBezTo>
                  <a:cubicBezTo>
                    <a:pt x="342" y="262"/>
                    <a:pt x="341" y="260"/>
                    <a:pt x="340" y="259"/>
                  </a:cubicBezTo>
                  <a:cubicBezTo>
                    <a:pt x="340" y="258"/>
                    <a:pt x="340" y="257"/>
                    <a:pt x="340" y="257"/>
                  </a:cubicBezTo>
                  <a:cubicBezTo>
                    <a:pt x="340" y="255"/>
                    <a:pt x="340" y="254"/>
                    <a:pt x="341" y="252"/>
                  </a:cubicBezTo>
                  <a:cubicBezTo>
                    <a:pt x="341" y="251"/>
                    <a:pt x="341" y="250"/>
                    <a:pt x="341" y="249"/>
                  </a:cubicBezTo>
                  <a:cubicBezTo>
                    <a:pt x="341" y="249"/>
                    <a:pt x="341" y="248"/>
                    <a:pt x="342" y="247"/>
                  </a:cubicBezTo>
                  <a:cubicBezTo>
                    <a:pt x="342" y="246"/>
                    <a:pt x="343" y="245"/>
                    <a:pt x="344" y="244"/>
                  </a:cubicBezTo>
                  <a:cubicBezTo>
                    <a:pt x="346" y="242"/>
                    <a:pt x="348" y="240"/>
                    <a:pt x="348" y="236"/>
                  </a:cubicBezTo>
                  <a:cubicBezTo>
                    <a:pt x="348" y="234"/>
                    <a:pt x="347" y="233"/>
                    <a:pt x="346" y="231"/>
                  </a:cubicBezTo>
                  <a:cubicBezTo>
                    <a:pt x="345" y="230"/>
                    <a:pt x="343" y="229"/>
                    <a:pt x="341" y="229"/>
                  </a:cubicBezTo>
                  <a:cubicBezTo>
                    <a:pt x="340" y="229"/>
                    <a:pt x="340" y="229"/>
                    <a:pt x="340" y="229"/>
                  </a:cubicBezTo>
                  <a:cubicBezTo>
                    <a:pt x="339" y="228"/>
                    <a:pt x="339" y="227"/>
                    <a:pt x="338" y="226"/>
                  </a:cubicBezTo>
                  <a:cubicBezTo>
                    <a:pt x="337" y="226"/>
                    <a:pt x="336" y="226"/>
                    <a:pt x="335" y="226"/>
                  </a:cubicBezTo>
                  <a:cubicBezTo>
                    <a:pt x="335" y="226"/>
                    <a:pt x="334" y="226"/>
                    <a:pt x="334" y="226"/>
                  </a:cubicBezTo>
                  <a:cubicBezTo>
                    <a:pt x="334" y="225"/>
                    <a:pt x="334" y="224"/>
                    <a:pt x="334" y="224"/>
                  </a:cubicBezTo>
                  <a:cubicBezTo>
                    <a:pt x="332" y="222"/>
                    <a:pt x="331" y="221"/>
                    <a:pt x="330" y="220"/>
                  </a:cubicBezTo>
                  <a:cubicBezTo>
                    <a:pt x="329" y="220"/>
                    <a:pt x="329" y="220"/>
                    <a:pt x="329" y="220"/>
                  </a:cubicBezTo>
                  <a:cubicBezTo>
                    <a:pt x="329" y="220"/>
                    <a:pt x="328" y="219"/>
                    <a:pt x="328" y="219"/>
                  </a:cubicBezTo>
                  <a:cubicBezTo>
                    <a:pt x="327" y="219"/>
                    <a:pt x="327" y="218"/>
                    <a:pt x="326" y="217"/>
                  </a:cubicBezTo>
                  <a:cubicBezTo>
                    <a:pt x="325" y="217"/>
                    <a:pt x="323" y="217"/>
                    <a:pt x="322" y="217"/>
                  </a:cubicBezTo>
                  <a:cubicBezTo>
                    <a:pt x="320" y="217"/>
                    <a:pt x="318" y="218"/>
                    <a:pt x="316" y="219"/>
                  </a:cubicBezTo>
                  <a:cubicBezTo>
                    <a:pt x="316" y="219"/>
                    <a:pt x="315" y="219"/>
                    <a:pt x="315" y="220"/>
                  </a:cubicBezTo>
                  <a:cubicBezTo>
                    <a:pt x="315" y="220"/>
                    <a:pt x="315" y="220"/>
                    <a:pt x="314" y="220"/>
                  </a:cubicBezTo>
                  <a:cubicBezTo>
                    <a:pt x="314" y="220"/>
                    <a:pt x="314" y="220"/>
                    <a:pt x="313" y="220"/>
                  </a:cubicBezTo>
                  <a:cubicBezTo>
                    <a:pt x="313" y="220"/>
                    <a:pt x="312" y="220"/>
                    <a:pt x="312" y="220"/>
                  </a:cubicBezTo>
                  <a:cubicBezTo>
                    <a:pt x="310" y="220"/>
                    <a:pt x="308" y="220"/>
                    <a:pt x="307" y="221"/>
                  </a:cubicBezTo>
                  <a:cubicBezTo>
                    <a:pt x="304" y="224"/>
                    <a:pt x="305" y="228"/>
                    <a:pt x="305" y="230"/>
                  </a:cubicBezTo>
                  <a:cubicBezTo>
                    <a:pt x="305" y="231"/>
                    <a:pt x="305" y="231"/>
                    <a:pt x="305" y="231"/>
                  </a:cubicBezTo>
                  <a:cubicBezTo>
                    <a:pt x="306" y="233"/>
                    <a:pt x="306" y="238"/>
                    <a:pt x="310" y="240"/>
                  </a:cubicBezTo>
                  <a:cubicBezTo>
                    <a:pt x="312" y="241"/>
                    <a:pt x="313" y="242"/>
                    <a:pt x="315" y="242"/>
                  </a:cubicBezTo>
                  <a:cubicBezTo>
                    <a:pt x="317" y="242"/>
                    <a:pt x="319" y="241"/>
                    <a:pt x="320" y="241"/>
                  </a:cubicBezTo>
                  <a:cubicBezTo>
                    <a:pt x="321" y="241"/>
                    <a:pt x="321" y="241"/>
                    <a:pt x="321" y="241"/>
                  </a:cubicBezTo>
                  <a:cubicBezTo>
                    <a:pt x="322" y="241"/>
                    <a:pt x="322" y="241"/>
                    <a:pt x="322" y="241"/>
                  </a:cubicBezTo>
                  <a:cubicBezTo>
                    <a:pt x="322" y="241"/>
                    <a:pt x="322" y="241"/>
                    <a:pt x="322" y="241"/>
                  </a:cubicBezTo>
                  <a:cubicBezTo>
                    <a:pt x="322" y="241"/>
                    <a:pt x="322" y="242"/>
                    <a:pt x="322" y="242"/>
                  </a:cubicBezTo>
                  <a:cubicBezTo>
                    <a:pt x="323" y="243"/>
                    <a:pt x="323" y="244"/>
                    <a:pt x="324" y="246"/>
                  </a:cubicBezTo>
                  <a:cubicBezTo>
                    <a:pt x="324" y="247"/>
                    <a:pt x="324" y="247"/>
                    <a:pt x="324" y="248"/>
                  </a:cubicBezTo>
                  <a:cubicBezTo>
                    <a:pt x="324" y="249"/>
                    <a:pt x="322" y="250"/>
                    <a:pt x="321" y="250"/>
                  </a:cubicBezTo>
                  <a:cubicBezTo>
                    <a:pt x="320" y="250"/>
                    <a:pt x="320" y="250"/>
                    <a:pt x="320" y="250"/>
                  </a:cubicBezTo>
                  <a:cubicBezTo>
                    <a:pt x="319" y="249"/>
                    <a:pt x="318" y="248"/>
                    <a:pt x="317" y="247"/>
                  </a:cubicBezTo>
                  <a:cubicBezTo>
                    <a:pt x="317" y="246"/>
                    <a:pt x="316" y="244"/>
                    <a:pt x="314" y="243"/>
                  </a:cubicBezTo>
                  <a:cubicBezTo>
                    <a:pt x="313" y="242"/>
                    <a:pt x="310" y="241"/>
                    <a:pt x="308" y="241"/>
                  </a:cubicBezTo>
                  <a:cubicBezTo>
                    <a:pt x="305" y="241"/>
                    <a:pt x="303" y="242"/>
                    <a:pt x="301" y="243"/>
                  </a:cubicBezTo>
                  <a:cubicBezTo>
                    <a:pt x="300" y="243"/>
                    <a:pt x="300" y="243"/>
                    <a:pt x="300" y="243"/>
                  </a:cubicBezTo>
                  <a:cubicBezTo>
                    <a:pt x="299" y="243"/>
                    <a:pt x="299" y="244"/>
                    <a:pt x="298" y="244"/>
                  </a:cubicBezTo>
                  <a:cubicBezTo>
                    <a:pt x="298" y="244"/>
                    <a:pt x="298" y="244"/>
                    <a:pt x="298" y="244"/>
                  </a:cubicBezTo>
                  <a:cubicBezTo>
                    <a:pt x="297" y="243"/>
                    <a:pt x="297" y="242"/>
                    <a:pt x="296" y="242"/>
                  </a:cubicBezTo>
                  <a:cubicBezTo>
                    <a:pt x="295" y="241"/>
                    <a:pt x="294" y="240"/>
                    <a:pt x="293" y="239"/>
                  </a:cubicBezTo>
                  <a:cubicBezTo>
                    <a:pt x="291" y="238"/>
                    <a:pt x="290" y="238"/>
                    <a:pt x="289" y="238"/>
                  </a:cubicBezTo>
                  <a:cubicBezTo>
                    <a:pt x="288" y="238"/>
                    <a:pt x="288" y="238"/>
                    <a:pt x="288" y="238"/>
                  </a:cubicBezTo>
                  <a:cubicBezTo>
                    <a:pt x="287" y="238"/>
                    <a:pt x="287" y="238"/>
                    <a:pt x="287" y="238"/>
                  </a:cubicBezTo>
                  <a:cubicBezTo>
                    <a:pt x="286" y="238"/>
                    <a:pt x="285" y="237"/>
                    <a:pt x="284" y="237"/>
                  </a:cubicBezTo>
                  <a:cubicBezTo>
                    <a:pt x="282" y="236"/>
                    <a:pt x="281" y="236"/>
                    <a:pt x="279" y="236"/>
                  </a:cubicBezTo>
                  <a:cubicBezTo>
                    <a:pt x="278" y="236"/>
                    <a:pt x="278" y="236"/>
                    <a:pt x="277" y="236"/>
                  </a:cubicBezTo>
                  <a:cubicBezTo>
                    <a:pt x="274" y="236"/>
                    <a:pt x="271" y="236"/>
                    <a:pt x="269" y="237"/>
                  </a:cubicBezTo>
                  <a:cubicBezTo>
                    <a:pt x="268" y="237"/>
                    <a:pt x="267" y="237"/>
                    <a:pt x="267" y="237"/>
                  </a:cubicBezTo>
                  <a:cubicBezTo>
                    <a:pt x="265" y="238"/>
                    <a:pt x="264" y="238"/>
                    <a:pt x="262" y="238"/>
                  </a:cubicBezTo>
                  <a:cubicBezTo>
                    <a:pt x="262" y="238"/>
                    <a:pt x="261" y="238"/>
                    <a:pt x="261" y="237"/>
                  </a:cubicBezTo>
                  <a:cubicBezTo>
                    <a:pt x="260" y="236"/>
                    <a:pt x="260" y="236"/>
                    <a:pt x="258" y="235"/>
                  </a:cubicBezTo>
                  <a:cubicBezTo>
                    <a:pt x="257" y="234"/>
                    <a:pt x="256" y="234"/>
                    <a:pt x="255" y="234"/>
                  </a:cubicBezTo>
                  <a:cubicBezTo>
                    <a:pt x="254" y="234"/>
                    <a:pt x="254" y="234"/>
                    <a:pt x="254" y="234"/>
                  </a:cubicBezTo>
                  <a:cubicBezTo>
                    <a:pt x="254" y="237"/>
                    <a:pt x="254" y="237"/>
                    <a:pt x="254" y="237"/>
                  </a:cubicBezTo>
                  <a:cubicBezTo>
                    <a:pt x="254" y="234"/>
                    <a:pt x="254" y="234"/>
                    <a:pt x="254" y="234"/>
                  </a:cubicBezTo>
                  <a:cubicBezTo>
                    <a:pt x="252" y="234"/>
                    <a:pt x="251" y="234"/>
                    <a:pt x="250" y="232"/>
                  </a:cubicBezTo>
                  <a:cubicBezTo>
                    <a:pt x="249" y="231"/>
                    <a:pt x="249" y="231"/>
                    <a:pt x="248" y="230"/>
                  </a:cubicBezTo>
                  <a:cubicBezTo>
                    <a:pt x="247" y="230"/>
                    <a:pt x="247" y="229"/>
                    <a:pt x="246" y="229"/>
                  </a:cubicBezTo>
                  <a:cubicBezTo>
                    <a:pt x="246" y="229"/>
                    <a:pt x="246" y="229"/>
                    <a:pt x="246" y="229"/>
                  </a:cubicBezTo>
                  <a:cubicBezTo>
                    <a:pt x="246" y="228"/>
                    <a:pt x="245" y="227"/>
                    <a:pt x="245" y="227"/>
                  </a:cubicBezTo>
                  <a:cubicBezTo>
                    <a:pt x="244" y="226"/>
                    <a:pt x="244" y="226"/>
                    <a:pt x="244" y="226"/>
                  </a:cubicBezTo>
                  <a:cubicBezTo>
                    <a:pt x="243" y="222"/>
                    <a:pt x="241" y="218"/>
                    <a:pt x="236" y="218"/>
                  </a:cubicBezTo>
                  <a:cubicBezTo>
                    <a:pt x="235" y="218"/>
                    <a:pt x="235" y="218"/>
                    <a:pt x="234" y="218"/>
                  </a:cubicBezTo>
                  <a:cubicBezTo>
                    <a:pt x="233" y="218"/>
                    <a:pt x="231" y="219"/>
                    <a:pt x="229" y="219"/>
                  </a:cubicBezTo>
                  <a:cubicBezTo>
                    <a:pt x="228" y="219"/>
                    <a:pt x="227" y="218"/>
                    <a:pt x="227" y="218"/>
                  </a:cubicBezTo>
                  <a:cubicBezTo>
                    <a:pt x="226" y="218"/>
                    <a:pt x="225" y="215"/>
                    <a:pt x="225" y="214"/>
                  </a:cubicBezTo>
                  <a:cubicBezTo>
                    <a:pt x="225" y="213"/>
                    <a:pt x="225" y="213"/>
                    <a:pt x="225" y="213"/>
                  </a:cubicBezTo>
                  <a:cubicBezTo>
                    <a:pt x="224" y="211"/>
                    <a:pt x="223" y="209"/>
                    <a:pt x="222" y="207"/>
                  </a:cubicBezTo>
                  <a:cubicBezTo>
                    <a:pt x="220" y="205"/>
                    <a:pt x="218" y="205"/>
                    <a:pt x="217" y="205"/>
                  </a:cubicBezTo>
                  <a:cubicBezTo>
                    <a:pt x="217" y="205"/>
                    <a:pt x="217" y="204"/>
                    <a:pt x="217" y="204"/>
                  </a:cubicBezTo>
                  <a:cubicBezTo>
                    <a:pt x="217" y="204"/>
                    <a:pt x="217" y="202"/>
                    <a:pt x="217" y="201"/>
                  </a:cubicBezTo>
                  <a:cubicBezTo>
                    <a:pt x="217" y="201"/>
                    <a:pt x="217" y="201"/>
                    <a:pt x="217" y="201"/>
                  </a:cubicBezTo>
                  <a:cubicBezTo>
                    <a:pt x="217" y="199"/>
                    <a:pt x="217" y="198"/>
                    <a:pt x="218" y="197"/>
                  </a:cubicBezTo>
                  <a:cubicBezTo>
                    <a:pt x="218" y="194"/>
                    <a:pt x="219" y="190"/>
                    <a:pt x="217" y="185"/>
                  </a:cubicBezTo>
                  <a:cubicBezTo>
                    <a:pt x="216" y="184"/>
                    <a:pt x="214" y="179"/>
                    <a:pt x="208" y="179"/>
                  </a:cubicBezTo>
                  <a:cubicBezTo>
                    <a:pt x="207" y="179"/>
                    <a:pt x="206" y="179"/>
                    <a:pt x="205" y="179"/>
                  </a:cubicBezTo>
                  <a:cubicBezTo>
                    <a:pt x="203" y="179"/>
                    <a:pt x="200" y="179"/>
                    <a:pt x="197" y="179"/>
                  </a:cubicBezTo>
                  <a:cubicBezTo>
                    <a:pt x="194" y="180"/>
                    <a:pt x="193" y="180"/>
                    <a:pt x="191" y="182"/>
                  </a:cubicBezTo>
                  <a:cubicBezTo>
                    <a:pt x="190" y="182"/>
                    <a:pt x="189" y="182"/>
                    <a:pt x="188" y="182"/>
                  </a:cubicBezTo>
                  <a:cubicBezTo>
                    <a:pt x="187" y="182"/>
                    <a:pt x="185" y="182"/>
                    <a:pt x="184" y="182"/>
                  </a:cubicBezTo>
                  <a:cubicBezTo>
                    <a:pt x="182" y="181"/>
                    <a:pt x="180" y="181"/>
                    <a:pt x="179" y="181"/>
                  </a:cubicBezTo>
                  <a:cubicBezTo>
                    <a:pt x="178" y="181"/>
                    <a:pt x="177" y="181"/>
                    <a:pt x="176" y="181"/>
                  </a:cubicBezTo>
                  <a:cubicBezTo>
                    <a:pt x="176" y="181"/>
                    <a:pt x="174" y="182"/>
                    <a:pt x="173" y="183"/>
                  </a:cubicBezTo>
                  <a:cubicBezTo>
                    <a:pt x="172" y="184"/>
                    <a:pt x="172" y="184"/>
                    <a:pt x="171" y="185"/>
                  </a:cubicBezTo>
                  <a:cubicBezTo>
                    <a:pt x="171" y="185"/>
                    <a:pt x="171" y="185"/>
                    <a:pt x="170" y="185"/>
                  </a:cubicBezTo>
                  <a:cubicBezTo>
                    <a:pt x="168" y="186"/>
                    <a:pt x="166" y="187"/>
                    <a:pt x="165" y="190"/>
                  </a:cubicBezTo>
                  <a:cubicBezTo>
                    <a:pt x="163" y="194"/>
                    <a:pt x="166" y="199"/>
                    <a:pt x="167" y="200"/>
                  </a:cubicBezTo>
                  <a:cubicBezTo>
                    <a:pt x="167" y="201"/>
                    <a:pt x="167" y="201"/>
                    <a:pt x="167" y="201"/>
                  </a:cubicBezTo>
                  <a:cubicBezTo>
                    <a:pt x="168" y="202"/>
                    <a:pt x="170" y="204"/>
                    <a:pt x="171" y="205"/>
                  </a:cubicBezTo>
                  <a:cubicBezTo>
                    <a:pt x="172" y="205"/>
                    <a:pt x="174" y="205"/>
                    <a:pt x="175" y="205"/>
                  </a:cubicBezTo>
                  <a:cubicBezTo>
                    <a:pt x="178" y="205"/>
                    <a:pt x="180" y="204"/>
                    <a:pt x="181" y="201"/>
                  </a:cubicBezTo>
                  <a:cubicBezTo>
                    <a:pt x="181" y="201"/>
                    <a:pt x="182" y="199"/>
                    <a:pt x="183" y="199"/>
                  </a:cubicBezTo>
                  <a:cubicBezTo>
                    <a:pt x="183" y="199"/>
                    <a:pt x="183" y="199"/>
                    <a:pt x="183" y="199"/>
                  </a:cubicBezTo>
                  <a:cubicBezTo>
                    <a:pt x="183" y="200"/>
                    <a:pt x="184" y="203"/>
                    <a:pt x="188" y="204"/>
                  </a:cubicBezTo>
                  <a:cubicBezTo>
                    <a:pt x="191" y="204"/>
                    <a:pt x="194" y="202"/>
                    <a:pt x="196" y="200"/>
                  </a:cubicBezTo>
                  <a:cubicBezTo>
                    <a:pt x="197" y="200"/>
                    <a:pt x="198" y="199"/>
                    <a:pt x="199" y="199"/>
                  </a:cubicBezTo>
                  <a:cubicBezTo>
                    <a:pt x="201" y="198"/>
                    <a:pt x="203" y="197"/>
                    <a:pt x="205" y="197"/>
                  </a:cubicBezTo>
                  <a:cubicBezTo>
                    <a:pt x="205" y="196"/>
                    <a:pt x="206" y="196"/>
                    <a:pt x="207" y="196"/>
                  </a:cubicBezTo>
                  <a:cubicBezTo>
                    <a:pt x="207" y="196"/>
                    <a:pt x="207" y="196"/>
                    <a:pt x="207" y="196"/>
                  </a:cubicBezTo>
                  <a:cubicBezTo>
                    <a:pt x="207" y="198"/>
                    <a:pt x="201" y="200"/>
                    <a:pt x="198" y="202"/>
                  </a:cubicBezTo>
                  <a:cubicBezTo>
                    <a:pt x="197" y="202"/>
                    <a:pt x="196" y="203"/>
                    <a:pt x="196" y="203"/>
                  </a:cubicBezTo>
                  <a:cubicBezTo>
                    <a:pt x="193" y="204"/>
                    <a:pt x="190" y="205"/>
                    <a:pt x="187" y="205"/>
                  </a:cubicBezTo>
                  <a:cubicBezTo>
                    <a:pt x="183" y="205"/>
                    <a:pt x="179" y="206"/>
                    <a:pt x="176" y="208"/>
                  </a:cubicBezTo>
                  <a:cubicBezTo>
                    <a:pt x="166" y="213"/>
                    <a:pt x="168" y="219"/>
                    <a:pt x="169" y="224"/>
                  </a:cubicBezTo>
                  <a:cubicBezTo>
                    <a:pt x="170" y="226"/>
                    <a:pt x="170" y="228"/>
                    <a:pt x="170" y="230"/>
                  </a:cubicBezTo>
                  <a:cubicBezTo>
                    <a:pt x="171" y="231"/>
                    <a:pt x="171" y="233"/>
                    <a:pt x="170" y="235"/>
                  </a:cubicBezTo>
                  <a:cubicBezTo>
                    <a:pt x="170" y="236"/>
                    <a:pt x="170" y="238"/>
                    <a:pt x="170" y="241"/>
                  </a:cubicBezTo>
                  <a:cubicBezTo>
                    <a:pt x="170" y="242"/>
                    <a:pt x="170" y="243"/>
                    <a:pt x="171" y="244"/>
                  </a:cubicBezTo>
                  <a:cubicBezTo>
                    <a:pt x="171" y="246"/>
                    <a:pt x="172" y="248"/>
                    <a:pt x="171" y="249"/>
                  </a:cubicBezTo>
                  <a:cubicBezTo>
                    <a:pt x="171" y="250"/>
                    <a:pt x="168" y="250"/>
                    <a:pt x="166" y="250"/>
                  </a:cubicBezTo>
                  <a:cubicBezTo>
                    <a:pt x="164" y="250"/>
                    <a:pt x="163" y="250"/>
                    <a:pt x="163" y="250"/>
                  </a:cubicBezTo>
                  <a:cubicBezTo>
                    <a:pt x="163" y="250"/>
                    <a:pt x="162" y="249"/>
                    <a:pt x="162" y="247"/>
                  </a:cubicBezTo>
                  <a:cubicBezTo>
                    <a:pt x="162" y="246"/>
                    <a:pt x="162" y="245"/>
                    <a:pt x="162" y="244"/>
                  </a:cubicBezTo>
                  <a:cubicBezTo>
                    <a:pt x="163" y="244"/>
                    <a:pt x="163" y="244"/>
                    <a:pt x="164" y="243"/>
                  </a:cubicBezTo>
                  <a:cubicBezTo>
                    <a:pt x="167" y="242"/>
                    <a:pt x="169" y="237"/>
                    <a:pt x="168" y="233"/>
                  </a:cubicBezTo>
                  <a:cubicBezTo>
                    <a:pt x="168" y="230"/>
                    <a:pt x="166" y="227"/>
                    <a:pt x="164" y="226"/>
                  </a:cubicBezTo>
                  <a:cubicBezTo>
                    <a:pt x="162" y="225"/>
                    <a:pt x="160" y="225"/>
                    <a:pt x="159" y="225"/>
                  </a:cubicBezTo>
                  <a:cubicBezTo>
                    <a:pt x="158" y="224"/>
                    <a:pt x="158" y="224"/>
                    <a:pt x="158" y="224"/>
                  </a:cubicBezTo>
                  <a:cubicBezTo>
                    <a:pt x="157" y="224"/>
                    <a:pt x="158" y="221"/>
                    <a:pt x="158" y="220"/>
                  </a:cubicBezTo>
                  <a:cubicBezTo>
                    <a:pt x="158" y="218"/>
                    <a:pt x="159" y="216"/>
                    <a:pt x="158" y="214"/>
                  </a:cubicBezTo>
                  <a:cubicBezTo>
                    <a:pt x="157" y="210"/>
                    <a:pt x="154" y="209"/>
                    <a:pt x="152" y="209"/>
                  </a:cubicBezTo>
                  <a:cubicBezTo>
                    <a:pt x="151" y="209"/>
                    <a:pt x="150" y="207"/>
                    <a:pt x="149" y="207"/>
                  </a:cubicBezTo>
                  <a:cubicBezTo>
                    <a:pt x="149" y="206"/>
                    <a:pt x="149" y="205"/>
                    <a:pt x="149" y="204"/>
                  </a:cubicBezTo>
                  <a:cubicBezTo>
                    <a:pt x="149" y="202"/>
                    <a:pt x="149" y="198"/>
                    <a:pt x="146" y="196"/>
                  </a:cubicBezTo>
                  <a:cubicBezTo>
                    <a:pt x="145" y="196"/>
                    <a:pt x="144" y="196"/>
                    <a:pt x="143" y="196"/>
                  </a:cubicBezTo>
                  <a:cubicBezTo>
                    <a:pt x="143" y="196"/>
                    <a:pt x="143" y="196"/>
                    <a:pt x="142" y="196"/>
                  </a:cubicBezTo>
                  <a:cubicBezTo>
                    <a:pt x="141" y="196"/>
                    <a:pt x="141" y="196"/>
                    <a:pt x="140" y="196"/>
                  </a:cubicBezTo>
                  <a:cubicBezTo>
                    <a:pt x="138" y="196"/>
                    <a:pt x="137" y="196"/>
                    <a:pt x="136" y="196"/>
                  </a:cubicBezTo>
                  <a:cubicBezTo>
                    <a:pt x="135" y="197"/>
                    <a:pt x="135" y="197"/>
                    <a:pt x="135" y="197"/>
                  </a:cubicBezTo>
                  <a:cubicBezTo>
                    <a:pt x="134" y="198"/>
                    <a:pt x="133" y="198"/>
                    <a:pt x="132" y="198"/>
                  </a:cubicBezTo>
                  <a:cubicBezTo>
                    <a:pt x="131" y="198"/>
                    <a:pt x="131" y="198"/>
                    <a:pt x="130" y="198"/>
                  </a:cubicBezTo>
                  <a:cubicBezTo>
                    <a:pt x="127" y="198"/>
                    <a:pt x="124" y="197"/>
                    <a:pt x="121" y="197"/>
                  </a:cubicBezTo>
                  <a:cubicBezTo>
                    <a:pt x="120" y="197"/>
                    <a:pt x="120" y="196"/>
                    <a:pt x="119" y="196"/>
                  </a:cubicBezTo>
                  <a:cubicBezTo>
                    <a:pt x="118" y="196"/>
                    <a:pt x="116" y="196"/>
                    <a:pt x="115" y="195"/>
                  </a:cubicBezTo>
                  <a:cubicBezTo>
                    <a:pt x="113" y="195"/>
                    <a:pt x="113" y="195"/>
                    <a:pt x="113" y="195"/>
                  </a:cubicBezTo>
                  <a:cubicBezTo>
                    <a:pt x="112" y="195"/>
                    <a:pt x="110" y="195"/>
                    <a:pt x="109" y="194"/>
                  </a:cubicBezTo>
                  <a:cubicBezTo>
                    <a:pt x="108" y="194"/>
                    <a:pt x="106" y="194"/>
                    <a:pt x="105" y="193"/>
                  </a:cubicBezTo>
                  <a:cubicBezTo>
                    <a:pt x="103" y="193"/>
                    <a:pt x="101" y="192"/>
                    <a:pt x="99" y="191"/>
                  </a:cubicBezTo>
                  <a:cubicBezTo>
                    <a:pt x="98" y="191"/>
                    <a:pt x="98" y="191"/>
                    <a:pt x="98" y="191"/>
                  </a:cubicBezTo>
                  <a:cubicBezTo>
                    <a:pt x="97" y="191"/>
                    <a:pt x="97" y="191"/>
                    <a:pt x="96" y="191"/>
                  </a:cubicBezTo>
                  <a:cubicBezTo>
                    <a:pt x="96" y="190"/>
                    <a:pt x="96" y="190"/>
                    <a:pt x="96" y="190"/>
                  </a:cubicBezTo>
                  <a:cubicBezTo>
                    <a:pt x="95" y="189"/>
                    <a:pt x="95" y="188"/>
                    <a:pt x="93" y="187"/>
                  </a:cubicBezTo>
                  <a:cubicBezTo>
                    <a:pt x="92" y="186"/>
                    <a:pt x="92" y="186"/>
                    <a:pt x="91" y="186"/>
                  </a:cubicBezTo>
                  <a:cubicBezTo>
                    <a:pt x="91" y="186"/>
                    <a:pt x="90" y="186"/>
                    <a:pt x="90" y="185"/>
                  </a:cubicBezTo>
                  <a:cubicBezTo>
                    <a:pt x="89" y="185"/>
                    <a:pt x="89" y="185"/>
                    <a:pt x="88" y="184"/>
                  </a:cubicBezTo>
                  <a:cubicBezTo>
                    <a:pt x="88" y="184"/>
                    <a:pt x="87" y="183"/>
                    <a:pt x="86" y="182"/>
                  </a:cubicBezTo>
                  <a:cubicBezTo>
                    <a:pt x="84" y="182"/>
                    <a:pt x="83" y="181"/>
                    <a:pt x="81" y="181"/>
                  </a:cubicBezTo>
                  <a:cubicBezTo>
                    <a:pt x="81" y="180"/>
                    <a:pt x="81" y="180"/>
                    <a:pt x="81" y="180"/>
                  </a:cubicBezTo>
                  <a:cubicBezTo>
                    <a:pt x="78" y="179"/>
                    <a:pt x="76" y="178"/>
                    <a:pt x="75" y="177"/>
                  </a:cubicBezTo>
                  <a:cubicBezTo>
                    <a:pt x="78" y="176"/>
                    <a:pt x="79" y="173"/>
                    <a:pt x="79" y="172"/>
                  </a:cubicBezTo>
                  <a:cubicBezTo>
                    <a:pt x="80" y="171"/>
                    <a:pt x="80" y="171"/>
                    <a:pt x="82" y="170"/>
                  </a:cubicBezTo>
                  <a:cubicBezTo>
                    <a:pt x="84" y="170"/>
                    <a:pt x="85" y="170"/>
                    <a:pt x="87" y="170"/>
                  </a:cubicBezTo>
                  <a:cubicBezTo>
                    <a:pt x="89" y="170"/>
                    <a:pt x="91" y="170"/>
                    <a:pt x="92" y="171"/>
                  </a:cubicBezTo>
                  <a:cubicBezTo>
                    <a:pt x="93" y="171"/>
                    <a:pt x="93" y="171"/>
                    <a:pt x="94" y="171"/>
                  </a:cubicBezTo>
                  <a:cubicBezTo>
                    <a:pt x="97" y="171"/>
                    <a:pt x="100" y="169"/>
                    <a:pt x="101" y="166"/>
                  </a:cubicBezTo>
                  <a:cubicBezTo>
                    <a:pt x="103" y="164"/>
                    <a:pt x="102" y="161"/>
                    <a:pt x="101" y="159"/>
                  </a:cubicBezTo>
                  <a:cubicBezTo>
                    <a:pt x="100" y="159"/>
                    <a:pt x="100" y="158"/>
                    <a:pt x="100" y="158"/>
                  </a:cubicBezTo>
                  <a:cubicBezTo>
                    <a:pt x="100" y="154"/>
                    <a:pt x="98" y="150"/>
                    <a:pt x="96" y="148"/>
                  </a:cubicBezTo>
                  <a:cubicBezTo>
                    <a:pt x="95" y="147"/>
                    <a:pt x="95" y="145"/>
                    <a:pt x="94" y="144"/>
                  </a:cubicBezTo>
                  <a:cubicBezTo>
                    <a:pt x="94" y="143"/>
                    <a:pt x="94" y="143"/>
                    <a:pt x="94" y="143"/>
                  </a:cubicBezTo>
                  <a:cubicBezTo>
                    <a:pt x="93" y="141"/>
                    <a:pt x="90" y="134"/>
                    <a:pt x="85" y="132"/>
                  </a:cubicBezTo>
                  <a:cubicBezTo>
                    <a:pt x="84" y="131"/>
                    <a:pt x="82" y="131"/>
                    <a:pt x="81" y="131"/>
                  </a:cubicBezTo>
                  <a:cubicBezTo>
                    <a:pt x="79" y="131"/>
                    <a:pt x="77" y="131"/>
                    <a:pt x="76" y="131"/>
                  </a:cubicBezTo>
                  <a:cubicBezTo>
                    <a:pt x="75" y="132"/>
                    <a:pt x="75" y="132"/>
                    <a:pt x="75" y="132"/>
                  </a:cubicBezTo>
                  <a:cubicBezTo>
                    <a:pt x="74" y="132"/>
                    <a:pt x="73" y="131"/>
                    <a:pt x="72" y="130"/>
                  </a:cubicBezTo>
                  <a:cubicBezTo>
                    <a:pt x="71" y="129"/>
                    <a:pt x="71" y="129"/>
                    <a:pt x="71" y="129"/>
                  </a:cubicBezTo>
                  <a:cubicBezTo>
                    <a:pt x="70" y="128"/>
                    <a:pt x="68" y="127"/>
                    <a:pt x="67" y="126"/>
                  </a:cubicBezTo>
                  <a:cubicBezTo>
                    <a:pt x="65" y="124"/>
                    <a:pt x="63" y="123"/>
                    <a:pt x="61" y="121"/>
                  </a:cubicBezTo>
                  <a:cubicBezTo>
                    <a:pt x="59" y="118"/>
                    <a:pt x="57" y="116"/>
                    <a:pt x="56" y="113"/>
                  </a:cubicBezTo>
                  <a:cubicBezTo>
                    <a:pt x="55" y="110"/>
                    <a:pt x="53" y="106"/>
                    <a:pt x="49" y="102"/>
                  </a:cubicBezTo>
                  <a:cubicBezTo>
                    <a:pt x="46" y="100"/>
                    <a:pt x="44" y="99"/>
                    <a:pt x="42" y="98"/>
                  </a:cubicBezTo>
                  <a:cubicBezTo>
                    <a:pt x="41" y="97"/>
                    <a:pt x="41" y="97"/>
                    <a:pt x="41" y="97"/>
                  </a:cubicBezTo>
                  <a:cubicBezTo>
                    <a:pt x="40" y="97"/>
                    <a:pt x="40" y="96"/>
                    <a:pt x="39" y="95"/>
                  </a:cubicBezTo>
                  <a:cubicBezTo>
                    <a:pt x="39" y="94"/>
                    <a:pt x="39" y="94"/>
                    <a:pt x="39" y="94"/>
                  </a:cubicBezTo>
                  <a:cubicBezTo>
                    <a:pt x="37" y="91"/>
                    <a:pt x="35" y="89"/>
                    <a:pt x="34" y="86"/>
                  </a:cubicBezTo>
                  <a:cubicBezTo>
                    <a:pt x="32" y="80"/>
                    <a:pt x="32" y="80"/>
                    <a:pt x="32" y="80"/>
                  </a:cubicBezTo>
                  <a:cubicBezTo>
                    <a:pt x="0" y="142"/>
                    <a:pt x="0" y="142"/>
                    <a:pt x="0" y="142"/>
                  </a:cubicBezTo>
                  <a:cubicBezTo>
                    <a:pt x="63" y="257"/>
                    <a:pt x="63" y="257"/>
                    <a:pt x="63" y="257"/>
                  </a:cubicBezTo>
                  <a:cubicBezTo>
                    <a:pt x="74" y="287"/>
                    <a:pt x="101" y="288"/>
                    <a:pt x="103" y="288"/>
                  </a:cubicBezTo>
                  <a:cubicBezTo>
                    <a:pt x="115" y="319"/>
                    <a:pt x="115" y="319"/>
                    <a:pt x="115" y="319"/>
                  </a:cubicBezTo>
                  <a:cubicBezTo>
                    <a:pt x="228" y="374"/>
                    <a:pt x="228" y="374"/>
                    <a:pt x="228" y="374"/>
                  </a:cubicBezTo>
                  <a:cubicBezTo>
                    <a:pt x="224" y="384"/>
                    <a:pt x="215" y="434"/>
                    <a:pt x="200" y="526"/>
                  </a:cubicBezTo>
                  <a:cubicBezTo>
                    <a:pt x="199" y="529"/>
                    <a:pt x="199" y="529"/>
                    <a:pt x="199" y="529"/>
                  </a:cubicBezTo>
                  <a:cubicBezTo>
                    <a:pt x="339" y="547"/>
                    <a:pt x="339" y="547"/>
                    <a:pt x="339" y="547"/>
                  </a:cubicBezTo>
                  <a:cubicBezTo>
                    <a:pt x="339" y="545"/>
                    <a:pt x="339" y="545"/>
                    <a:pt x="339" y="545"/>
                  </a:cubicBezTo>
                  <a:cubicBezTo>
                    <a:pt x="340" y="543"/>
                    <a:pt x="340" y="541"/>
                    <a:pt x="341" y="540"/>
                  </a:cubicBezTo>
                  <a:cubicBezTo>
                    <a:pt x="341" y="538"/>
                    <a:pt x="342" y="537"/>
                    <a:pt x="342" y="535"/>
                  </a:cubicBezTo>
                  <a:cubicBezTo>
                    <a:pt x="342" y="535"/>
                    <a:pt x="343" y="534"/>
                    <a:pt x="343" y="534"/>
                  </a:cubicBezTo>
                  <a:cubicBezTo>
                    <a:pt x="343" y="533"/>
                    <a:pt x="343" y="533"/>
                    <a:pt x="343" y="532"/>
                  </a:cubicBezTo>
                  <a:cubicBezTo>
                    <a:pt x="343" y="531"/>
                    <a:pt x="344" y="531"/>
                    <a:pt x="344" y="530"/>
                  </a:cubicBezTo>
                  <a:cubicBezTo>
                    <a:pt x="345" y="529"/>
                    <a:pt x="346" y="528"/>
                    <a:pt x="346" y="526"/>
                  </a:cubicBezTo>
                  <a:cubicBezTo>
                    <a:pt x="347" y="525"/>
                    <a:pt x="348" y="524"/>
                    <a:pt x="348" y="522"/>
                  </a:cubicBezTo>
                  <a:cubicBezTo>
                    <a:pt x="349" y="519"/>
                    <a:pt x="351" y="516"/>
                    <a:pt x="353" y="514"/>
                  </a:cubicBezTo>
                  <a:cubicBezTo>
                    <a:pt x="353" y="514"/>
                    <a:pt x="353" y="513"/>
                    <a:pt x="354" y="513"/>
                  </a:cubicBezTo>
                  <a:cubicBezTo>
                    <a:pt x="354" y="512"/>
                    <a:pt x="355" y="512"/>
                    <a:pt x="356" y="510"/>
                  </a:cubicBezTo>
                  <a:cubicBezTo>
                    <a:pt x="357" y="509"/>
                    <a:pt x="357" y="507"/>
                    <a:pt x="357" y="506"/>
                  </a:cubicBezTo>
                  <a:cubicBezTo>
                    <a:pt x="357" y="506"/>
                    <a:pt x="357" y="505"/>
                    <a:pt x="357" y="505"/>
                  </a:cubicBezTo>
                  <a:cubicBezTo>
                    <a:pt x="357" y="504"/>
                    <a:pt x="357" y="503"/>
                    <a:pt x="357" y="502"/>
                  </a:cubicBezTo>
                  <a:cubicBezTo>
                    <a:pt x="357" y="500"/>
                    <a:pt x="357" y="497"/>
                    <a:pt x="358" y="496"/>
                  </a:cubicBezTo>
                  <a:cubicBezTo>
                    <a:pt x="360" y="494"/>
                    <a:pt x="362" y="492"/>
                    <a:pt x="364" y="490"/>
                  </a:cubicBezTo>
                  <a:cubicBezTo>
                    <a:pt x="366" y="487"/>
                    <a:pt x="366" y="487"/>
                    <a:pt x="366" y="487"/>
                  </a:cubicBezTo>
                  <a:cubicBezTo>
                    <a:pt x="368" y="485"/>
                    <a:pt x="370" y="484"/>
                    <a:pt x="370" y="480"/>
                  </a:cubicBezTo>
                  <a:cubicBezTo>
                    <a:pt x="370" y="479"/>
                    <a:pt x="370" y="478"/>
                    <a:pt x="370" y="477"/>
                  </a:cubicBezTo>
                  <a:cubicBezTo>
                    <a:pt x="370" y="477"/>
                    <a:pt x="370" y="477"/>
                    <a:pt x="370" y="476"/>
                  </a:cubicBezTo>
                  <a:cubicBezTo>
                    <a:pt x="370" y="476"/>
                    <a:pt x="370" y="476"/>
                    <a:pt x="371" y="476"/>
                  </a:cubicBezTo>
                  <a:cubicBezTo>
                    <a:pt x="372" y="476"/>
                    <a:pt x="374" y="475"/>
                    <a:pt x="375" y="473"/>
                  </a:cubicBezTo>
                  <a:cubicBezTo>
                    <a:pt x="376" y="472"/>
                    <a:pt x="376" y="471"/>
                    <a:pt x="376" y="469"/>
                  </a:cubicBezTo>
                  <a:cubicBezTo>
                    <a:pt x="376" y="469"/>
                    <a:pt x="377" y="468"/>
                    <a:pt x="377" y="468"/>
                  </a:cubicBezTo>
                  <a:cubicBezTo>
                    <a:pt x="377" y="468"/>
                    <a:pt x="378" y="467"/>
                    <a:pt x="378" y="467"/>
                  </a:cubicBezTo>
                  <a:cubicBezTo>
                    <a:pt x="379" y="466"/>
                    <a:pt x="380" y="465"/>
                    <a:pt x="381" y="463"/>
                  </a:cubicBezTo>
                  <a:cubicBezTo>
                    <a:pt x="382" y="462"/>
                    <a:pt x="382" y="462"/>
                    <a:pt x="382" y="461"/>
                  </a:cubicBezTo>
                  <a:cubicBezTo>
                    <a:pt x="383" y="460"/>
                    <a:pt x="383" y="459"/>
                    <a:pt x="385" y="457"/>
                  </a:cubicBezTo>
                  <a:cubicBezTo>
                    <a:pt x="385" y="457"/>
                    <a:pt x="385" y="457"/>
                    <a:pt x="386" y="456"/>
                  </a:cubicBezTo>
                  <a:cubicBezTo>
                    <a:pt x="387" y="456"/>
                    <a:pt x="388" y="455"/>
                    <a:pt x="388" y="453"/>
                  </a:cubicBezTo>
                  <a:cubicBezTo>
                    <a:pt x="389" y="454"/>
                    <a:pt x="391" y="454"/>
                    <a:pt x="392" y="454"/>
                  </a:cubicBezTo>
                  <a:cubicBezTo>
                    <a:pt x="394" y="454"/>
                    <a:pt x="396" y="453"/>
                    <a:pt x="396" y="449"/>
                  </a:cubicBezTo>
                  <a:cubicBezTo>
                    <a:pt x="396" y="448"/>
                    <a:pt x="396" y="448"/>
                    <a:pt x="396" y="447"/>
                  </a:cubicBezTo>
                  <a:cubicBezTo>
                    <a:pt x="397" y="447"/>
                    <a:pt x="397" y="447"/>
                    <a:pt x="398" y="447"/>
                  </a:cubicBezTo>
                  <a:cubicBezTo>
                    <a:pt x="398" y="447"/>
                    <a:pt x="399" y="447"/>
                    <a:pt x="399" y="447"/>
                  </a:cubicBezTo>
                  <a:cubicBezTo>
                    <a:pt x="401" y="448"/>
                    <a:pt x="402" y="448"/>
                    <a:pt x="403" y="448"/>
                  </a:cubicBezTo>
                  <a:cubicBezTo>
                    <a:pt x="405" y="448"/>
                    <a:pt x="407" y="447"/>
                    <a:pt x="408" y="446"/>
                  </a:cubicBezTo>
                  <a:cubicBezTo>
                    <a:pt x="409" y="445"/>
                    <a:pt x="409" y="444"/>
                    <a:pt x="410" y="443"/>
                  </a:cubicBezTo>
                  <a:cubicBezTo>
                    <a:pt x="410" y="443"/>
                    <a:pt x="410" y="443"/>
                    <a:pt x="410" y="443"/>
                  </a:cubicBezTo>
                  <a:cubicBezTo>
                    <a:pt x="411" y="442"/>
                    <a:pt x="411" y="442"/>
                    <a:pt x="412" y="442"/>
                  </a:cubicBezTo>
                  <a:cubicBezTo>
                    <a:pt x="413" y="441"/>
                    <a:pt x="413" y="441"/>
                    <a:pt x="413" y="441"/>
                  </a:cubicBezTo>
                  <a:cubicBezTo>
                    <a:pt x="415" y="440"/>
                    <a:pt x="418" y="438"/>
                    <a:pt x="418" y="434"/>
                  </a:cubicBezTo>
                  <a:cubicBezTo>
                    <a:pt x="419" y="431"/>
                    <a:pt x="419" y="428"/>
                    <a:pt x="418" y="426"/>
                  </a:cubicBezTo>
                  <a:cubicBezTo>
                    <a:pt x="417" y="423"/>
                    <a:pt x="416" y="420"/>
                    <a:pt x="414" y="418"/>
                  </a:cubicBezTo>
                  <a:cubicBezTo>
                    <a:pt x="414" y="418"/>
                    <a:pt x="414" y="418"/>
                    <a:pt x="415" y="418"/>
                  </a:cubicBezTo>
                  <a:cubicBezTo>
                    <a:pt x="415" y="418"/>
                    <a:pt x="415" y="418"/>
                    <a:pt x="415" y="418"/>
                  </a:cubicBezTo>
                  <a:cubicBezTo>
                    <a:pt x="419" y="418"/>
                    <a:pt x="424" y="416"/>
                    <a:pt x="427" y="413"/>
                  </a:cubicBezTo>
                  <a:cubicBezTo>
                    <a:pt x="428" y="411"/>
                    <a:pt x="429" y="408"/>
                    <a:pt x="430" y="405"/>
                  </a:cubicBezTo>
                  <a:cubicBezTo>
                    <a:pt x="431" y="399"/>
                    <a:pt x="432" y="397"/>
                    <a:pt x="434" y="397"/>
                  </a:cubicBezTo>
                  <a:cubicBezTo>
                    <a:pt x="435" y="397"/>
                    <a:pt x="435" y="397"/>
                    <a:pt x="435" y="397"/>
                  </a:cubicBezTo>
                  <a:cubicBezTo>
                    <a:pt x="437" y="397"/>
                    <a:pt x="438" y="398"/>
                    <a:pt x="441" y="399"/>
                  </a:cubicBezTo>
                  <a:cubicBezTo>
                    <a:pt x="443" y="400"/>
                    <a:pt x="446" y="401"/>
                    <a:pt x="449" y="401"/>
                  </a:cubicBezTo>
                  <a:cubicBezTo>
                    <a:pt x="451" y="401"/>
                    <a:pt x="452" y="401"/>
                    <a:pt x="453" y="400"/>
                  </a:cubicBezTo>
                  <a:cubicBezTo>
                    <a:pt x="461" y="398"/>
                    <a:pt x="464" y="391"/>
                    <a:pt x="466" y="385"/>
                  </a:cubicBezTo>
                  <a:cubicBezTo>
                    <a:pt x="468" y="380"/>
                    <a:pt x="471" y="375"/>
                    <a:pt x="474" y="370"/>
                  </a:cubicBezTo>
                  <a:cubicBezTo>
                    <a:pt x="474" y="369"/>
                    <a:pt x="474" y="369"/>
                    <a:pt x="474" y="369"/>
                  </a:cubicBezTo>
                  <a:cubicBezTo>
                    <a:pt x="476" y="367"/>
                    <a:pt x="478" y="364"/>
                    <a:pt x="479" y="360"/>
                  </a:cubicBezTo>
                  <a:cubicBezTo>
                    <a:pt x="479" y="359"/>
                    <a:pt x="480" y="358"/>
                    <a:pt x="480" y="357"/>
                  </a:cubicBezTo>
                  <a:cubicBezTo>
                    <a:pt x="480" y="356"/>
                    <a:pt x="480" y="356"/>
                    <a:pt x="480" y="355"/>
                  </a:cubicBezTo>
                  <a:cubicBezTo>
                    <a:pt x="480" y="355"/>
                    <a:pt x="480" y="355"/>
                    <a:pt x="480" y="355"/>
                  </a:cubicBezTo>
                  <a:cubicBezTo>
                    <a:pt x="480" y="353"/>
                    <a:pt x="481" y="351"/>
                    <a:pt x="479" y="349"/>
                  </a:cubicBezTo>
                  <a:cubicBezTo>
                    <a:pt x="478" y="348"/>
                    <a:pt x="478" y="347"/>
                    <a:pt x="477" y="347"/>
                  </a:cubicBezTo>
                  <a:cubicBezTo>
                    <a:pt x="478" y="346"/>
                    <a:pt x="478" y="345"/>
                    <a:pt x="479" y="343"/>
                  </a:cubicBezTo>
                  <a:cubicBezTo>
                    <a:pt x="479" y="343"/>
                    <a:pt x="479" y="342"/>
                    <a:pt x="479" y="342"/>
                  </a:cubicBezTo>
                  <a:cubicBezTo>
                    <a:pt x="479" y="341"/>
                    <a:pt x="479" y="341"/>
                    <a:pt x="480" y="340"/>
                  </a:cubicBezTo>
                  <a:cubicBezTo>
                    <a:pt x="482" y="339"/>
                    <a:pt x="484" y="337"/>
                    <a:pt x="486" y="335"/>
                  </a:cubicBezTo>
                  <a:cubicBezTo>
                    <a:pt x="487" y="333"/>
                    <a:pt x="488" y="331"/>
                    <a:pt x="488" y="328"/>
                  </a:cubicBezTo>
                  <a:cubicBezTo>
                    <a:pt x="488" y="327"/>
                    <a:pt x="488" y="326"/>
                    <a:pt x="489" y="325"/>
                  </a:cubicBezTo>
                  <a:cubicBezTo>
                    <a:pt x="489" y="324"/>
                    <a:pt x="490" y="324"/>
                    <a:pt x="491" y="323"/>
                  </a:cubicBezTo>
                  <a:cubicBezTo>
                    <a:pt x="493" y="322"/>
                    <a:pt x="495" y="320"/>
                    <a:pt x="496" y="316"/>
                  </a:cubicBezTo>
                  <a:cubicBezTo>
                    <a:pt x="496" y="313"/>
                    <a:pt x="495" y="310"/>
                    <a:pt x="492" y="309"/>
                  </a:cubicBezTo>
                  <a:cubicBezTo>
                    <a:pt x="491" y="308"/>
                    <a:pt x="490" y="308"/>
                    <a:pt x="489" y="308"/>
                  </a:cubicBezTo>
                  <a:cubicBezTo>
                    <a:pt x="488" y="308"/>
                    <a:pt x="488" y="308"/>
                    <a:pt x="487" y="307"/>
                  </a:cubicBezTo>
                  <a:cubicBezTo>
                    <a:pt x="486" y="307"/>
                    <a:pt x="485" y="306"/>
                    <a:pt x="484" y="305"/>
                  </a:cubicBezTo>
                  <a:cubicBezTo>
                    <a:pt x="482" y="303"/>
                    <a:pt x="482" y="302"/>
                    <a:pt x="482" y="302"/>
                  </a:cubicBezTo>
                  <a:cubicBezTo>
                    <a:pt x="483" y="302"/>
                    <a:pt x="485" y="302"/>
                    <a:pt x="486" y="302"/>
                  </a:cubicBezTo>
                  <a:cubicBezTo>
                    <a:pt x="487" y="302"/>
                    <a:pt x="487" y="302"/>
                    <a:pt x="487" y="302"/>
                  </a:cubicBezTo>
                  <a:cubicBezTo>
                    <a:pt x="488" y="302"/>
                    <a:pt x="489" y="302"/>
                    <a:pt x="490" y="302"/>
                  </a:cubicBezTo>
                  <a:cubicBezTo>
                    <a:pt x="491" y="302"/>
                    <a:pt x="492" y="301"/>
                    <a:pt x="493" y="301"/>
                  </a:cubicBezTo>
                  <a:cubicBezTo>
                    <a:pt x="495" y="301"/>
                    <a:pt x="496" y="300"/>
                    <a:pt x="498" y="300"/>
                  </a:cubicBezTo>
                  <a:cubicBezTo>
                    <a:pt x="499" y="305"/>
                    <a:pt x="502" y="312"/>
                    <a:pt x="509" y="313"/>
                  </a:cubicBezTo>
                  <a:cubicBezTo>
                    <a:pt x="510" y="313"/>
                    <a:pt x="510" y="313"/>
                    <a:pt x="510" y="313"/>
                  </a:cubicBezTo>
                  <a:cubicBezTo>
                    <a:pt x="510" y="313"/>
                    <a:pt x="511" y="313"/>
                    <a:pt x="511" y="313"/>
                  </a:cubicBezTo>
                  <a:cubicBezTo>
                    <a:pt x="513" y="313"/>
                    <a:pt x="514" y="313"/>
                    <a:pt x="516" y="311"/>
                  </a:cubicBezTo>
                  <a:cubicBezTo>
                    <a:pt x="517" y="310"/>
                    <a:pt x="517" y="309"/>
                    <a:pt x="517" y="308"/>
                  </a:cubicBezTo>
                  <a:cubicBezTo>
                    <a:pt x="517" y="308"/>
                    <a:pt x="517" y="308"/>
                    <a:pt x="517" y="308"/>
                  </a:cubicBezTo>
                  <a:cubicBezTo>
                    <a:pt x="518" y="308"/>
                    <a:pt x="519" y="309"/>
                    <a:pt x="520" y="309"/>
                  </a:cubicBezTo>
                  <a:cubicBezTo>
                    <a:pt x="521" y="309"/>
                    <a:pt x="521" y="309"/>
                    <a:pt x="522" y="309"/>
                  </a:cubicBezTo>
                  <a:cubicBezTo>
                    <a:pt x="523" y="308"/>
                    <a:pt x="525" y="307"/>
                    <a:pt x="526" y="305"/>
                  </a:cubicBezTo>
                  <a:cubicBezTo>
                    <a:pt x="526" y="304"/>
                    <a:pt x="526" y="304"/>
                    <a:pt x="526" y="303"/>
                  </a:cubicBezTo>
                  <a:cubicBezTo>
                    <a:pt x="527" y="304"/>
                    <a:pt x="528" y="304"/>
                    <a:pt x="528" y="304"/>
                  </a:cubicBezTo>
                  <a:cubicBezTo>
                    <a:pt x="529" y="305"/>
                    <a:pt x="530" y="305"/>
                    <a:pt x="531" y="305"/>
                  </a:cubicBezTo>
                  <a:cubicBezTo>
                    <a:pt x="535" y="305"/>
                    <a:pt x="537" y="301"/>
                    <a:pt x="538" y="299"/>
                  </a:cubicBezTo>
                  <a:cubicBezTo>
                    <a:pt x="539" y="298"/>
                    <a:pt x="539" y="297"/>
                    <a:pt x="540" y="297"/>
                  </a:cubicBezTo>
                  <a:cubicBezTo>
                    <a:pt x="541" y="296"/>
                    <a:pt x="541" y="295"/>
                    <a:pt x="542" y="294"/>
                  </a:cubicBezTo>
                  <a:cubicBezTo>
                    <a:pt x="542" y="293"/>
                    <a:pt x="543" y="293"/>
                    <a:pt x="543" y="292"/>
                  </a:cubicBezTo>
                  <a:cubicBezTo>
                    <a:pt x="544" y="292"/>
                    <a:pt x="545" y="291"/>
                    <a:pt x="545" y="291"/>
                  </a:cubicBezTo>
                  <a:cubicBezTo>
                    <a:pt x="547" y="290"/>
                    <a:pt x="549" y="289"/>
                    <a:pt x="550" y="286"/>
                  </a:cubicBezTo>
                  <a:cubicBezTo>
                    <a:pt x="551" y="285"/>
                    <a:pt x="551" y="284"/>
                    <a:pt x="552" y="283"/>
                  </a:cubicBezTo>
                  <a:cubicBezTo>
                    <a:pt x="552" y="281"/>
                    <a:pt x="552" y="280"/>
                    <a:pt x="553" y="280"/>
                  </a:cubicBezTo>
                  <a:cubicBezTo>
                    <a:pt x="553" y="279"/>
                    <a:pt x="554" y="279"/>
                    <a:pt x="555" y="278"/>
                  </a:cubicBezTo>
                  <a:cubicBezTo>
                    <a:pt x="556" y="278"/>
                    <a:pt x="558" y="277"/>
                    <a:pt x="559" y="276"/>
                  </a:cubicBezTo>
                  <a:cubicBezTo>
                    <a:pt x="562" y="272"/>
                    <a:pt x="562" y="268"/>
                    <a:pt x="561" y="264"/>
                  </a:cubicBezTo>
                  <a:cubicBezTo>
                    <a:pt x="561" y="263"/>
                    <a:pt x="561" y="262"/>
                    <a:pt x="561" y="261"/>
                  </a:cubicBezTo>
                  <a:cubicBezTo>
                    <a:pt x="561" y="261"/>
                    <a:pt x="561" y="260"/>
                    <a:pt x="561" y="260"/>
                  </a:cubicBezTo>
                  <a:cubicBezTo>
                    <a:pt x="562" y="259"/>
                    <a:pt x="562" y="257"/>
                    <a:pt x="561" y="255"/>
                  </a:cubicBezTo>
                  <a:cubicBezTo>
                    <a:pt x="560" y="253"/>
                    <a:pt x="558" y="251"/>
                    <a:pt x="556" y="248"/>
                  </a:cubicBezTo>
                  <a:cubicBezTo>
                    <a:pt x="555" y="247"/>
                    <a:pt x="554" y="246"/>
                    <a:pt x="552" y="244"/>
                  </a:cubicBezTo>
                  <a:cubicBezTo>
                    <a:pt x="551" y="242"/>
                    <a:pt x="550" y="241"/>
                    <a:pt x="549" y="239"/>
                  </a:cubicBezTo>
                  <a:cubicBezTo>
                    <a:pt x="548" y="238"/>
                    <a:pt x="547" y="237"/>
                    <a:pt x="547" y="235"/>
                  </a:cubicBezTo>
                  <a:cubicBezTo>
                    <a:pt x="547" y="234"/>
                    <a:pt x="546" y="232"/>
                    <a:pt x="545" y="231"/>
                  </a:cubicBezTo>
                  <a:cubicBezTo>
                    <a:pt x="545" y="230"/>
                    <a:pt x="544" y="229"/>
                    <a:pt x="543" y="228"/>
                  </a:cubicBezTo>
                  <a:cubicBezTo>
                    <a:pt x="542" y="227"/>
                    <a:pt x="540" y="224"/>
                    <a:pt x="540" y="223"/>
                  </a:cubicBezTo>
                  <a:cubicBezTo>
                    <a:pt x="540" y="223"/>
                    <a:pt x="540" y="223"/>
                    <a:pt x="540" y="223"/>
                  </a:cubicBezTo>
                  <a:cubicBezTo>
                    <a:pt x="540" y="223"/>
                    <a:pt x="541" y="223"/>
                    <a:pt x="541" y="223"/>
                  </a:cubicBezTo>
                  <a:cubicBezTo>
                    <a:pt x="542" y="223"/>
                    <a:pt x="543" y="223"/>
                    <a:pt x="544" y="223"/>
                  </a:cubicBezTo>
                  <a:cubicBezTo>
                    <a:pt x="546" y="223"/>
                    <a:pt x="547" y="222"/>
                    <a:pt x="549" y="221"/>
                  </a:cubicBezTo>
                  <a:cubicBezTo>
                    <a:pt x="550" y="220"/>
                    <a:pt x="551" y="218"/>
                    <a:pt x="553" y="217"/>
                  </a:cubicBezTo>
                  <a:cubicBezTo>
                    <a:pt x="555" y="214"/>
                    <a:pt x="556" y="212"/>
                    <a:pt x="556" y="209"/>
                  </a:cubicBezTo>
                  <a:cubicBezTo>
                    <a:pt x="556" y="203"/>
                    <a:pt x="552" y="203"/>
                    <a:pt x="550" y="203"/>
                  </a:cubicBezTo>
                  <a:cubicBezTo>
                    <a:pt x="549" y="203"/>
                    <a:pt x="549" y="203"/>
                    <a:pt x="548" y="202"/>
                  </a:cubicBezTo>
                  <a:cubicBezTo>
                    <a:pt x="548" y="202"/>
                    <a:pt x="548" y="202"/>
                    <a:pt x="548" y="202"/>
                  </a:cubicBezTo>
                  <a:cubicBezTo>
                    <a:pt x="549" y="200"/>
                    <a:pt x="552" y="197"/>
                    <a:pt x="551" y="193"/>
                  </a:cubicBezTo>
                  <a:cubicBezTo>
                    <a:pt x="551" y="192"/>
                    <a:pt x="550" y="190"/>
                    <a:pt x="548" y="189"/>
                  </a:cubicBezTo>
                  <a:cubicBezTo>
                    <a:pt x="546" y="188"/>
                    <a:pt x="544" y="187"/>
                    <a:pt x="542" y="187"/>
                  </a:cubicBezTo>
                  <a:cubicBezTo>
                    <a:pt x="540" y="187"/>
                    <a:pt x="539" y="186"/>
                    <a:pt x="538" y="185"/>
                  </a:cubicBezTo>
                  <a:cubicBezTo>
                    <a:pt x="537" y="185"/>
                    <a:pt x="536" y="184"/>
                    <a:pt x="536" y="184"/>
                  </a:cubicBezTo>
                  <a:cubicBezTo>
                    <a:pt x="535" y="183"/>
                    <a:pt x="534" y="181"/>
                    <a:pt x="533" y="180"/>
                  </a:cubicBezTo>
                  <a:cubicBezTo>
                    <a:pt x="532" y="180"/>
                    <a:pt x="532" y="180"/>
                    <a:pt x="532" y="180"/>
                  </a:cubicBezTo>
                  <a:cubicBezTo>
                    <a:pt x="532" y="180"/>
                    <a:pt x="532" y="179"/>
                    <a:pt x="532" y="179"/>
                  </a:cubicBezTo>
                  <a:cubicBezTo>
                    <a:pt x="533" y="176"/>
                    <a:pt x="533" y="174"/>
                    <a:pt x="532" y="173"/>
                  </a:cubicBezTo>
                  <a:cubicBezTo>
                    <a:pt x="531" y="172"/>
                    <a:pt x="530" y="170"/>
                    <a:pt x="526" y="170"/>
                  </a:cubicBezTo>
                  <a:cubicBezTo>
                    <a:pt x="523" y="170"/>
                    <a:pt x="520" y="171"/>
                    <a:pt x="519" y="172"/>
                  </a:cubicBezTo>
                  <a:cubicBezTo>
                    <a:pt x="518" y="173"/>
                    <a:pt x="517" y="173"/>
                    <a:pt x="516" y="173"/>
                  </a:cubicBezTo>
                  <a:cubicBezTo>
                    <a:pt x="515" y="173"/>
                    <a:pt x="515" y="173"/>
                    <a:pt x="514" y="173"/>
                  </a:cubicBezTo>
                  <a:cubicBezTo>
                    <a:pt x="513" y="172"/>
                    <a:pt x="513" y="172"/>
                    <a:pt x="512" y="171"/>
                  </a:cubicBezTo>
                  <a:cubicBezTo>
                    <a:pt x="511" y="170"/>
                    <a:pt x="510" y="169"/>
                    <a:pt x="508" y="168"/>
                  </a:cubicBezTo>
                  <a:cubicBezTo>
                    <a:pt x="508" y="168"/>
                    <a:pt x="508" y="168"/>
                    <a:pt x="507" y="168"/>
                  </a:cubicBezTo>
                  <a:cubicBezTo>
                    <a:pt x="509" y="168"/>
                    <a:pt x="510" y="168"/>
                    <a:pt x="511" y="168"/>
                  </a:cubicBezTo>
                  <a:cubicBezTo>
                    <a:pt x="513" y="168"/>
                    <a:pt x="516" y="168"/>
                    <a:pt x="518" y="167"/>
                  </a:cubicBezTo>
                  <a:cubicBezTo>
                    <a:pt x="519" y="167"/>
                    <a:pt x="520" y="167"/>
                    <a:pt x="520" y="167"/>
                  </a:cubicBezTo>
                  <a:cubicBezTo>
                    <a:pt x="521" y="167"/>
                    <a:pt x="522" y="167"/>
                    <a:pt x="524" y="168"/>
                  </a:cubicBezTo>
                  <a:cubicBezTo>
                    <a:pt x="525" y="168"/>
                    <a:pt x="526" y="169"/>
                    <a:pt x="526" y="169"/>
                  </a:cubicBezTo>
                  <a:cubicBezTo>
                    <a:pt x="528" y="170"/>
                    <a:pt x="530" y="170"/>
                    <a:pt x="531" y="170"/>
                  </a:cubicBezTo>
                  <a:cubicBezTo>
                    <a:pt x="535" y="170"/>
                    <a:pt x="538" y="168"/>
                    <a:pt x="540" y="165"/>
                  </a:cubicBezTo>
                  <a:cubicBezTo>
                    <a:pt x="543" y="162"/>
                    <a:pt x="547" y="160"/>
                    <a:pt x="551" y="160"/>
                  </a:cubicBezTo>
                  <a:cubicBezTo>
                    <a:pt x="552" y="160"/>
                    <a:pt x="554" y="161"/>
                    <a:pt x="555" y="161"/>
                  </a:cubicBezTo>
                  <a:cubicBezTo>
                    <a:pt x="557" y="161"/>
                    <a:pt x="558" y="162"/>
                    <a:pt x="560" y="162"/>
                  </a:cubicBezTo>
                  <a:cubicBezTo>
                    <a:pt x="563" y="163"/>
                    <a:pt x="567" y="165"/>
                    <a:pt x="571" y="165"/>
                  </a:cubicBezTo>
                  <a:cubicBezTo>
                    <a:pt x="573" y="165"/>
                    <a:pt x="575" y="164"/>
                    <a:pt x="577" y="164"/>
                  </a:cubicBezTo>
                  <a:cubicBezTo>
                    <a:pt x="581" y="162"/>
                    <a:pt x="582" y="159"/>
                    <a:pt x="582" y="157"/>
                  </a:cubicBezTo>
                  <a:cubicBezTo>
                    <a:pt x="583" y="152"/>
                    <a:pt x="579" y="147"/>
                    <a:pt x="578" y="146"/>
                  </a:cubicBezTo>
                  <a:cubicBezTo>
                    <a:pt x="579" y="146"/>
                    <a:pt x="579" y="147"/>
                    <a:pt x="580" y="147"/>
                  </a:cubicBezTo>
                  <a:cubicBezTo>
                    <a:pt x="582" y="147"/>
                    <a:pt x="583" y="148"/>
                    <a:pt x="585" y="148"/>
                  </a:cubicBezTo>
                  <a:cubicBezTo>
                    <a:pt x="585" y="148"/>
                    <a:pt x="586" y="148"/>
                    <a:pt x="586" y="148"/>
                  </a:cubicBezTo>
                  <a:cubicBezTo>
                    <a:pt x="587" y="147"/>
                    <a:pt x="587" y="147"/>
                    <a:pt x="588" y="147"/>
                  </a:cubicBezTo>
                  <a:cubicBezTo>
                    <a:pt x="588" y="147"/>
                    <a:pt x="589" y="148"/>
                    <a:pt x="589" y="148"/>
                  </a:cubicBezTo>
                  <a:cubicBezTo>
                    <a:pt x="589" y="148"/>
                    <a:pt x="589" y="148"/>
                    <a:pt x="589" y="148"/>
                  </a:cubicBezTo>
                  <a:cubicBezTo>
                    <a:pt x="589" y="148"/>
                    <a:pt x="589" y="148"/>
                    <a:pt x="589" y="150"/>
                  </a:cubicBezTo>
                  <a:cubicBezTo>
                    <a:pt x="589" y="150"/>
                    <a:pt x="589" y="151"/>
                    <a:pt x="589" y="151"/>
                  </a:cubicBezTo>
                  <a:cubicBezTo>
                    <a:pt x="589" y="153"/>
                    <a:pt x="588" y="157"/>
                    <a:pt x="591" y="160"/>
                  </a:cubicBezTo>
                  <a:cubicBezTo>
                    <a:pt x="592" y="160"/>
                    <a:pt x="594" y="161"/>
                    <a:pt x="595" y="161"/>
                  </a:cubicBezTo>
                  <a:cubicBezTo>
                    <a:pt x="596" y="161"/>
                    <a:pt x="597" y="161"/>
                    <a:pt x="598" y="160"/>
                  </a:cubicBezTo>
                  <a:cubicBezTo>
                    <a:pt x="599" y="160"/>
                    <a:pt x="599" y="160"/>
                    <a:pt x="600" y="160"/>
                  </a:cubicBezTo>
                  <a:cubicBezTo>
                    <a:pt x="600" y="160"/>
                    <a:pt x="600" y="160"/>
                    <a:pt x="600" y="160"/>
                  </a:cubicBezTo>
                  <a:cubicBezTo>
                    <a:pt x="600" y="160"/>
                    <a:pt x="600" y="160"/>
                    <a:pt x="600" y="160"/>
                  </a:cubicBezTo>
                  <a:cubicBezTo>
                    <a:pt x="600" y="160"/>
                    <a:pt x="600" y="160"/>
                    <a:pt x="600" y="160"/>
                  </a:cubicBezTo>
                  <a:cubicBezTo>
                    <a:pt x="600" y="160"/>
                    <a:pt x="601" y="161"/>
                    <a:pt x="601" y="162"/>
                  </a:cubicBezTo>
                  <a:cubicBezTo>
                    <a:pt x="601" y="163"/>
                    <a:pt x="601" y="163"/>
                    <a:pt x="601" y="163"/>
                  </a:cubicBezTo>
                  <a:cubicBezTo>
                    <a:pt x="601" y="167"/>
                    <a:pt x="603" y="168"/>
                    <a:pt x="606" y="168"/>
                  </a:cubicBezTo>
                  <a:cubicBezTo>
                    <a:pt x="606" y="168"/>
                    <a:pt x="607" y="169"/>
                    <a:pt x="607" y="169"/>
                  </a:cubicBezTo>
                  <a:cubicBezTo>
                    <a:pt x="608" y="169"/>
                    <a:pt x="608" y="170"/>
                    <a:pt x="609" y="170"/>
                  </a:cubicBezTo>
                  <a:cubicBezTo>
                    <a:pt x="610" y="171"/>
                    <a:pt x="611" y="173"/>
                    <a:pt x="613" y="174"/>
                  </a:cubicBezTo>
                  <a:cubicBezTo>
                    <a:pt x="615" y="174"/>
                    <a:pt x="617" y="174"/>
                    <a:pt x="618" y="174"/>
                  </a:cubicBezTo>
                  <a:cubicBezTo>
                    <a:pt x="620" y="174"/>
                    <a:pt x="621" y="174"/>
                    <a:pt x="622" y="175"/>
                  </a:cubicBezTo>
                  <a:cubicBezTo>
                    <a:pt x="623" y="177"/>
                    <a:pt x="623" y="178"/>
                    <a:pt x="623" y="179"/>
                  </a:cubicBezTo>
                  <a:cubicBezTo>
                    <a:pt x="623" y="179"/>
                    <a:pt x="622" y="180"/>
                    <a:pt x="622" y="181"/>
                  </a:cubicBezTo>
                  <a:cubicBezTo>
                    <a:pt x="621" y="181"/>
                    <a:pt x="620" y="181"/>
                    <a:pt x="619" y="182"/>
                  </a:cubicBezTo>
                  <a:cubicBezTo>
                    <a:pt x="617" y="182"/>
                    <a:pt x="614" y="183"/>
                    <a:pt x="612" y="187"/>
                  </a:cubicBezTo>
                  <a:cubicBezTo>
                    <a:pt x="611" y="190"/>
                    <a:pt x="611" y="197"/>
                    <a:pt x="613" y="200"/>
                  </a:cubicBezTo>
                  <a:cubicBezTo>
                    <a:pt x="614" y="202"/>
                    <a:pt x="616" y="203"/>
                    <a:pt x="618" y="203"/>
                  </a:cubicBezTo>
                  <a:cubicBezTo>
                    <a:pt x="619" y="203"/>
                    <a:pt x="621" y="203"/>
                    <a:pt x="622" y="202"/>
                  </a:cubicBezTo>
                  <a:cubicBezTo>
                    <a:pt x="626" y="199"/>
                    <a:pt x="628" y="195"/>
                    <a:pt x="630" y="192"/>
                  </a:cubicBezTo>
                  <a:cubicBezTo>
                    <a:pt x="631" y="189"/>
                    <a:pt x="633" y="187"/>
                    <a:pt x="635" y="185"/>
                  </a:cubicBezTo>
                  <a:cubicBezTo>
                    <a:pt x="636" y="185"/>
                    <a:pt x="638" y="184"/>
                    <a:pt x="638" y="184"/>
                  </a:cubicBezTo>
                  <a:cubicBezTo>
                    <a:pt x="638" y="184"/>
                    <a:pt x="638" y="185"/>
                    <a:pt x="638" y="185"/>
                  </a:cubicBezTo>
                  <a:cubicBezTo>
                    <a:pt x="638" y="187"/>
                    <a:pt x="638" y="188"/>
                    <a:pt x="638" y="189"/>
                  </a:cubicBezTo>
                  <a:cubicBezTo>
                    <a:pt x="638" y="192"/>
                    <a:pt x="639" y="194"/>
                    <a:pt x="641" y="197"/>
                  </a:cubicBezTo>
                  <a:cubicBezTo>
                    <a:pt x="643" y="198"/>
                    <a:pt x="646" y="201"/>
                    <a:pt x="649" y="201"/>
                  </a:cubicBezTo>
                  <a:cubicBezTo>
                    <a:pt x="650" y="201"/>
                    <a:pt x="650" y="201"/>
                    <a:pt x="650" y="201"/>
                  </a:cubicBezTo>
                  <a:cubicBezTo>
                    <a:pt x="650" y="201"/>
                    <a:pt x="650" y="201"/>
                    <a:pt x="650" y="201"/>
                  </a:cubicBezTo>
                  <a:cubicBezTo>
                    <a:pt x="652" y="201"/>
                    <a:pt x="652" y="200"/>
                    <a:pt x="653" y="200"/>
                  </a:cubicBezTo>
                  <a:cubicBezTo>
                    <a:pt x="653" y="205"/>
                    <a:pt x="656" y="207"/>
                    <a:pt x="657" y="207"/>
                  </a:cubicBezTo>
                  <a:cubicBezTo>
                    <a:pt x="658" y="208"/>
                    <a:pt x="659" y="208"/>
                    <a:pt x="660" y="208"/>
                  </a:cubicBezTo>
                  <a:cubicBezTo>
                    <a:pt x="661" y="208"/>
                    <a:pt x="662" y="208"/>
                    <a:pt x="663" y="207"/>
                  </a:cubicBezTo>
                  <a:cubicBezTo>
                    <a:pt x="664" y="207"/>
                    <a:pt x="664" y="207"/>
                    <a:pt x="665" y="207"/>
                  </a:cubicBezTo>
                  <a:cubicBezTo>
                    <a:pt x="665" y="207"/>
                    <a:pt x="665" y="207"/>
                    <a:pt x="665" y="207"/>
                  </a:cubicBezTo>
                  <a:cubicBezTo>
                    <a:pt x="667" y="208"/>
                    <a:pt x="669" y="212"/>
                    <a:pt x="671" y="215"/>
                  </a:cubicBezTo>
                  <a:cubicBezTo>
                    <a:pt x="672" y="217"/>
                    <a:pt x="673" y="219"/>
                    <a:pt x="675" y="221"/>
                  </a:cubicBezTo>
                  <a:cubicBezTo>
                    <a:pt x="677" y="223"/>
                    <a:pt x="677" y="223"/>
                    <a:pt x="677" y="223"/>
                  </a:cubicBezTo>
                  <a:cubicBezTo>
                    <a:pt x="679" y="226"/>
                    <a:pt x="682" y="229"/>
                    <a:pt x="684" y="233"/>
                  </a:cubicBezTo>
                  <a:cubicBezTo>
                    <a:pt x="685" y="236"/>
                    <a:pt x="687" y="241"/>
                    <a:pt x="686" y="244"/>
                  </a:cubicBezTo>
                  <a:cubicBezTo>
                    <a:pt x="686" y="245"/>
                    <a:pt x="685" y="246"/>
                    <a:pt x="684" y="248"/>
                  </a:cubicBezTo>
                  <a:cubicBezTo>
                    <a:pt x="682" y="250"/>
                    <a:pt x="680" y="252"/>
                    <a:pt x="680" y="256"/>
                  </a:cubicBezTo>
                  <a:cubicBezTo>
                    <a:pt x="680" y="258"/>
                    <a:pt x="680" y="260"/>
                    <a:pt x="682" y="262"/>
                  </a:cubicBezTo>
                  <a:cubicBezTo>
                    <a:pt x="680" y="262"/>
                    <a:pt x="678" y="263"/>
                    <a:pt x="677" y="265"/>
                  </a:cubicBezTo>
                  <a:cubicBezTo>
                    <a:pt x="676" y="266"/>
                    <a:pt x="675" y="268"/>
                    <a:pt x="675" y="269"/>
                  </a:cubicBezTo>
                  <a:cubicBezTo>
                    <a:pt x="675" y="270"/>
                    <a:pt x="674" y="271"/>
                    <a:pt x="674" y="271"/>
                  </a:cubicBezTo>
                  <a:cubicBezTo>
                    <a:pt x="673" y="273"/>
                    <a:pt x="672" y="275"/>
                    <a:pt x="671" y="277"/>
                  </a:cubicBezTo>
                  <a:cubicBezTo>
                    <a:pt x="669" y="281"/>
                    <a:pt x="666" y="285"/>
                    <a:pt x="667" y="290"/>
                  </a:cubicBezTo>
                  <a:cubicBezTo>
                    <a:pt x="669" y="296"/>
                    <a:pt x="674" y="298"/>
                    <a:pt x="678" y="300"/>
                  </a:cubicBezTo>
                  <a:cubicBezTo>
                    <a:pt x="681" y="302"/>
                    <a:pt x="684" y="303"/>
                    <a:pt x="686" y="305"/>
                  </a:cubicBezTo>
                  <a:cubicBezTo>
                    <a:pt x="686" y="306"/>
                    <a:pt x="686" y="306"/>
                    <a:pt x="686" y="307"/>
                  </a:cubicBezTo>
                  <a:cubicBezTo>
                    <a:pt x="686" y="307"/>
                    <a:pt x="684" y="308"/>
                    <a:pt x="681" y="309"/>
                  </a:cubicBezTo>
                  <a:cubicBezTo>
                    <a:pt x="680" y="309"/>
                    <a:pt x="680" y="309"/>
                    <a:pt x="679" y="309"/>
                  </a:cubicBezTo>
                  <a:cubicBezTo>
                    <a:pt x="678" y="310"/>
                    <a:pt x="676" y="310"/>
                    <a:pt x="675" y="310"/>
                  </a:cubicBezTo>
                  <a:cubicBezTo>
                    <a:pt x="672" y="312"/>
                    <a:pt x="671" y="314"/>
                    <a:pt x="669" y="315"/>
                  </a:cubicBezTo>
                  <a:cubicBezTo>
                    <a:pt x="669" y="316"/>
                    <a:pt x="668" y="317"/>
                    <a:pt x="668" y="317"/>
                  </a:cubicBezTo>
                  <a:cubicBezTo>
                    <a:pt x="667" y="318"/>
                    <a:pt x="666" y="319"/>
                    <a:pt x="665" y="320"/>
                  </a:cubicBezTo>
                  <a:cubicBezTo>
                    <a:pt x="664" y="321"/>
                    <a:pt x="664" y="321"/>
                    <a:pt x="664" y="321"/>
                  </a:cubicBezTo>
                  <a:cubicBezTo>
                    <a:pt x="662" y="322"/>
                    <a:pt x="659" y="323"/>
                    <a:pt x="655" y="323"/>
                  </a:cubicBezTo>
                  <a:cubicBezTo>
                    <a:pt x="655" y="323"/>
                    <a:pt x="655" y="323"/>
                    <a:pt x="655" y="323"/>
                  </a:cubicBezTo>
                  <a:cubicBezTo>
                    <a:pt x="652" y="323"/>
                    <a:pt x="649" y="322"/>
                    <a:pt x="645" y="322"/>
                  </a:cubicBezTo>
                  <a:cubicBezTo>
                    <a:pt x="642" y="321"/>
                    <a:pt x="638" y="321"/>
                    <a:pt x="634" y="321"/>
                  </a:cubicBezTo>
                  <a:cubicBezTo>
                    <a:pt x="632" y="321"/>
                    <a:pt x="630" y="321"/>
                    <a:pt x="628" y="321"/>
                  </a:cubicBezTo>
                  <a:cubicBezTo>
                    <a:pt x="626" y="322"/>
                    <a:pt x="626" y="322"/>
                    <a:pt x="626" y="322"/>
                  </a:cubicBezTo>
                  <a:cubicBezTo>
                    <a:pt x="626" y="324"/>
                    <a:pt x="626" y="324"/>
                    <a:pt x="626" y="324"/>
                  </a:cubicBezTo>
                  <a:cubicBezTo>
                    <a:pt x="625" y="325"/>
                    <a:pt x="625" y="325"/>
                    <a:pt x="625" y="325"/>
                  </a:cubicBezTo>
                  <a:cubicBezTo>
                    <a:pt x="625" y="326"/>
                    <a:pt x="625" y="328"/>
                    <a:pt x="626" y="329"/>
                  </a:cubicBezTo>
                  <a:cubicBezTo>
                    <a:pt x="626" y="331"/>
                    <a:pt x="627" y="332"/>
                    <a:pt x="628" y="332"/>
                  </a:cubicBezTo>
                  <a:cubicBezTo>
                    <a:pt x="628" y="332"/>
                    <a:pt x="628" y="332"/>
                    <a:pt x="628" y="332"/>
                  </a:cubicBezTo>
                  <a:cubicBezTo>
                    <a:pt x="629" y="334"/>
                    <a:pt x="629" y="334"/>
                    <a:pt x="628" y="335"/>
                  </a:cubicBezTo>
                  <a:cubicBezTo>
                    <a:pt x="627" y="335"/>
                    <a:pt x="627" y="336"/>
                    <a:pt x="626" y="336"/>
                  </a:cubicBezTo>
                  <a:cubicBezTo>
                    <a:pt x="625" y="337"/>
                    <a:pt x="623" y="338"/>
                    <a:pt x="621" y="342"/>
                  </a:cubicBezTo>
                  <a:cubicBezTo>
                    <a:pt x="621" y="343"/>
                    <a:pt x="621" y="343"/>
                    <a:pt x="621" y="344"/>
                  </a:cubicBezTo>
                  <a:cubicBezTo>
                    <a:pt x="621" y="345"/>
                    <a:pt x="621" y="345"/>
                    <a:pt x="620" y="346"/>
                  </a:cubicBezTo>
                  <a:cubicBezTo>
                    <a:pt x="620" y="347"/>
                    <a:pt x="620" y="347"/>
                    <a:pt x="620" y="347"/>
                  </a:cubicBezTo>
                  <a:cubicBezTo>
                    <a:pt x="619" y="349"/>
                    <a:pt x="619" y="350"/>
                    <a:pt x="619" y="352"/>
                  </a:cubicBezTo>
                  <a:cubicBezTo>
                    <a:pt x="619" y="353"/>
                    <a:pt x="620" y="354"/>
                    <a:pt x="620" y="355"/>
                  </a:cubicBezTo>
                  <a:cubicBezTo>
                    <a:pt x="620" y="358"/>
                    <a:pt x="620" y="361"/>
                    <a:pt x="624" y="365"/>
                  </a:cubicBezTo>
                  <a:cubicBezTo>
                    <a:pt x="627" y="369"/>
                    <a:pt x="632" y="371"/>
                    <a:pt x="637" y="372"/>
                  </a:cubicBezTo>
                  <a:cubicBezTo>
                    <a:pt x="638" y="373"/>
                    <a:pt x="639" y="373"/>
                    <a:pt x="640" y="373"/>
                  </a:cubicBezTo>
                  <a:cubicBezTo>
                    <a:pt x="644" y="373"/>
                    <a:pt x="647" y="371"/>
                    <a:pt x="649" y="370"/>
                  </a:cubicBezTo>
                  <a:cubicBezTo>
                    <a:pt x="650" y="369"/>
                    <a:pt x="651" y="369"/>
                    <a:pt x="652" y="368"/>
                  </a:cubicBezTo>
                  <a:cubicBezTo>
                    <a:pt x="655" y="367"/>
                    <a:pt x="658" y="365"/>
                    <a:pt x="662" y="362"/>
                  </a:cubicBezTo>
                  <a:cubicBezTo>
                    <a:pt x="664" y="360"/>
                    <a:pt x="665" y="358"/>
                    <a:pt x="665" y="357"/>
                  </a:cubicBezTo>
                  <a:cubicBezTo>
                    <a:pt x="666" y="356"/>
                    <a:pt x="666" y="355"/>
                    <a:pt x="666" y="355"/>
                  </a:cubicBezTo>
                  <a:cubicBezTo>
                    <a:pt x="667" y="355"/>
                    <a:pt x="667" y="355"/>
                    <a:pt x="667" y="355"/>
                  </a:cubicBezTo>
                  <a:cubicBezTo>
                    <a:pt x="668" y="355"/>
                    <a:pt x="669" y="355"/>
                    <a:pt x="670" y="356"/>
                  </a:cubicBezTo>
                  <a:cubicBezTo>
                    <a:pt x="671" y="356"/>
                    <a:pt x="671" y="356"/>
                    <a:pt x="671" y="356"/>
                  </a:cubicBezTo>
                  <a:cubicBezTo>
                    <a:pt x="673" y="356"/>
                    <a:pt x="675" y="357"/>
                    <a:pt x="676" y="357"/>
                  </a:cubicBezTo>
                  <a:cubicBezTo>
                    <a:pt x="680" y="357"/>
                    <a:pt x="684" y="355"/>
                    <a:pt x="685" y="353"/>
                  </a:cubicBezTo>
                  <a:cubicBezTo>
                    <a:pt x="686" y="351"/>
                    <a:pt x="686" y="350"/>
                    <a:pt x="685" y="348"/>
                  </a:cubicBezTo>
                  <a:cubicBezTo>
                    <a:pt x="686" y="347"/>
                    <a:pt x="686" y="347"/>
                    <a:pt x="686" y="347"/>
                  </a:cubicBezTo>
                  <a:cubicBezTo>
                    <a:pt x="687" y="348"/>
                    <a:pt x="688" y="350"/>
                    <a:pt x="691" y="351"/>
                  </a:cubicBezTo>
                  <a:cubicBezTo>
                    <a:pt x="691" y="351"/>
                    <a:pt x="691" y="351"/>
                    <a:pt x="691" y="351"/>
                  </a:cubicBezTo>
                  <a:cubicBezTo>
                    <a:pt x="692" y="351"/>
                    <a:pt x="692" y="351"/>
                    <a:pt x="692" y="351"/>
                  </a:cubicBezTo>
                  <a:cubicBezTo>
                    <a:pt x="695" y="351"/>
                    <a:pt x="696" y="348"/>
                    <a:pt x="697" y="347"/>
                  </a:cubicBezTo>
                  <a:cubicBezTo>
                    <a:pt x="697" y="346"/>
                    <a:pt x="697" y="346"/>
                    <a:pt x="697" y="346"/>
                  </a:cubicBezTo>
                  <a:cubicBezTo>
                    <a:pt x="698" y="346"/>
                    <a:pt x="698" y="347"/>
                    <a:pt x="698" y="348"/>
                  </a:cubicBezTo>
                  <a:cubicBezTo>
                    <a:pt x="699" y="348"/>
                    <a:pt x="699" y="348"/>
                    <a:pt x="699" y="348"/>
                  </a:cubicBezTo>
                  <a:cubicBezTo>
                    <a:pt x="700" y="350"/>
                    <a:pt x="702" y="352"/>
                    <a:pt x="703" y="353"/>
                  </a:cubicBezTo>
                  <a:cubicBezTo>
                    <a:pt x="704" y="354"/>
                    <a:pt x="704" y="354"/>
                    <a:pt x="705" y="355"/>
                  </a:cubicBezTo>
                  <a:cubicBezTo>
                    <a:pt x="707" y="357"/>
                    <a:pt x="709" y="358"/>
                    <a:pt x="711" y="359"/>
                  </a:cubicBezTo>
                  <a:cubicBezTo>
                    <a:pt x="713" y="360"/>
                    <a:pt x="713" y="360"/>
                    <a:pt x="713" y="360"/>
                  </a:cubicBezTo>
                  <a:cubicBezTo>
                    <a:pt x="715" y="361"/>
                    <a:pt x="716" y="362"/>
                    <a:pt x="717" y="364"/>
                  </a:cubicBezTo>
                  <a:cubicBezTo>
                    <a:pt x="717" y="364"/>
                    <a:pt x="717" y="364"/>
                    <a:pt x="717" y="364"/>
                  </a:cubicBezTo>
                  <a:cubicBezTo>
                    <a:pt x="719" y="367"/>
                    <a:pt x="721" y="368"/>
                    <a:pt x="724" y="368"/>
                  </a:cubicBezTo>
                  <a:cubicBezTo>
                    <a:pt x="724" y="368"/>
                    <a:pt x="725" y="368"/>
                    <a:pt x="726" y="368"/>
                  </a:cubicBezTo>
                  <a:cubicBezTo>
                    <a:pt x="727" y="368"/>
                    <a:pt x="727" y="368"/>
                    <a:pt x="728" y="369"/>
                  </a:cubicBezTo>
                  <a:cubicBezTo>
                    <a:pt x="729" y="369"/>
                    <a:pt x="731" y="370"/>
                    <a:pt x="733" y="370"/>
                  </a:cubicBezTo>
                  <a:cubicBezTo>
                    <a:pt x="733" y="370"/>
                    <a:pt x="733" y="370"/>
                    <a:pt x="733" y="370"/>
                  </a:cubicBezTo>
                  <a:cubicBezTo>
                    <a:pt x="734" y="370"/>
                    <a:pt x="735" y="370"/>
                    <a:pt x="737" y="370"/>
                  </a:cubicBezTo>
                  <a:cubicBezTo>
                    <a:pt x="739" y="370"/>
                    <a:pt x="740" y="370"/>
                    <a:pt x="742" y="370"/>
                  </a:cubicBezTo>
                  <a:cubicBezTo>
                    <a:pt x="741" y="371"/>
                    <a:pt x="741" y="371"/>
                    <a:pt x="740" y="372"/>
                  </a:cubicBezTo>
                  <a:cubicBezTo>
                    <a:pt x="738" y="374"/>
                    <a:pt x="736" y="377"/>
                    <a:pt x="736" y="380"/>
                  </a:cubicBezTo>
                  <a:cubicBezTo>
                    <a:pt x="736" y="381"/>
                    <a:pt x="737" y="383"/>
                    <a:pt x="739" y="384"/>
                  </a:cubicBezTo>
                  <a:cubicBezTo>
                    <a:pt x="741" y="386"/>
                    <a:pt x="742" y="388"/>
                    <a:pt x="744" y="390"/>
                  </a:cubicBezTo>
                  <a:cubicBezTo>
                    <a:pt x="746" y="392"/>
                    <a:pt x="748" y="392"/>
                    <a:pt x="751" y="392"/>
                  </a:cubicBezTo>
                  <a:cubicBezTo>
                    <a:pt x="752" y="392"/>
                    <a:pt x="753" y="392"/>
                    <a:pt x="754" y="392"/>
                  </a:cubicBezTo>
                  <a:cubicBezTo>
                    <a:pt x="755" y="392"/>
                    <a:pt x="756" y="392"/>
                    <a:pt x="757" y="392"/>
                  </a:cubicBezTo>
                  <a:cubicBezTo>
                    <a:pt x="757" y="392"/>
                    <a:pt x="758" y="392"/>
                    <a:pt x="758" y="392"/>
                  </a:cubicBezTo>
                  <a:cubicBezTo>
                    <a:pt x="759" y="393"/>
                    <a:pt x="759" y="394"/>
                    <a:pt x="758" y="395"/>
                  </a:cubicBezTo>
                  <a:cubicBezTo>
                    <a:pt x="758" y="396"/>
                    <a:pt x="758" y="397"/>
                    <a:pt x="759" y="398"/>
                  </a:cubicBezTo>
                  <a:cubicBezTo>
                    <a:pt x="759" y="402"/>
                    <a:pt x="763" y="407"/>
                    <a:pt x="769" y="407"/>
                  </a:cubicBezTo>
                  <a:cubicBezTo>
                    <a:pt x="770" y="407"/>
                    <a:pt x="770" y="407"/>
                    <a:pt x="771" y="407"/>
                  </a:cubicBezTo>
                  <a:cubicBezTo>
                    <a:pt x="776" y="405"/>
                    <a:pt x="776" y="401"/>
                    <a:pt x="776" y="399"/>
                  </a:cubicBezTo>
                  <a:cubicBezTo>
                    <a:pt x="775" y="397"/>
                    <a:pt x="776" y="396"/>
                    <a:pt x="776" y="396"/>
                  </a:cubicBezTo>
                  <a:cubicBezTo>
                    <a:pt x="777" y="396"/>
                    <a:pt x="779" y="395"/>
                    <a:pt x="781" y="395"/>
                  </a:cubicBezTo>
                  <a:cubicBezTo>
                    <a:pt x="783" y="395"/>
                    <a:pt x="784" y="395"/>
                    <a:pt x="785" y="395"/>
                  </a:cubicBezTo>
                  <a:cubicBezTo>
                    <a:pt x="786" y="396"/>
                    <a:pt x="788" y="398"/>
                    <a:pt x="789" y="399"/>
                  </a:cubicBezTo>
                  <a:cubicBezTo>
                    <a:pt x="792" y="401"/>
                    <a:pt x="795" y="403"/>
                    <a:pt x="798" y="404"/>
                  </a:cubicBezTo>
                  <a:cubicBezTo>
                    <a:pt x="801" y="405"/>
                    <a:pt x="803" y="405"/>
                    <a:pt x="806" y="405"/>
                  </a:cubicBezTo>
                  <a:cubicBezTo>
                    <a:pt x="808" y="405"/>
                    <a:pt x="809" y="405"/>
                    <a:pt x="811" y="405"/>
                  </a:cubicBezTo>
                  <a:cubicBezTo>
                    <a:pt x="812" y="405"/>
                    <a:pt x="813" y="405"/>
                    <a:pt x="814" y="405"/>
                  </a:cubicBezTo>
                  <a:cubicBezTo>
                    <a:pt x="814" y="405"/>
                    <a:pt x="814" y="405"/>
                    <a:pt x="815" y="405"/>
                  </a:cubicBezTo>
                  <a:cubicBezTo>
                    <a:pt x="817" y="405"/>
                    <a:pt x="819" y="405"/>
                    <a:pt x="822" y="405"/>
                  </a:cubicBezTo>
                  <a:cubicBezTo>
                    <a:pt x="823" y="405"/>
                    <a:pt x="823" y="405"/>
                    <a:pt x="823" y="405"/>
                  </a:cubicBezTo>
                  <a:cubicBezTo>
                    <a:pt x="823" y="405"/>
                    <a:pt x="824" y="405"/>
                    <a:pt x="824" y="405"/>
                  </a:cubicBezTo>
                  <a:cubicBezTo>
                    <a:pt x="826" y="405"/>
                    <a:pt x="827" y="405"/>
                    <a:pt x="828" y="405"/>
                  </a:cubicBezTo>
                  <a:cubicBezTo>
                    <a:pt x="829" y="405"/>
                    <a:pt x="830" y="404"/>
                    <a:pt x="831" y="404"/>
                  </a:cubicBezTo>
                  <a:cubicBezTo>
                    <a:pt x="832" y="404"/>
                    <a:pt x="835" y="405"/>
                    <a:pt x="836" y="405"/>
                  </a:cubicBezTo>
                  <a:cubicBezTo>
                    <a:pt x="839" y="406"/>
                    <a:pt x="842" y="407"/>
                    <a:pt x="845" y="407"/>
                  </a:cubicBezTo>
                  <a:cubicBezTo>
                    <a:pt x="848" y="407"/>
                    <a:pt x="850" y="406"/>
                    <a:pt x="851" y="404"/>
                  </a:cubicBezTo>
                  <a:cubicBezTo>
                    <a:pt x="853" y="403"/>
                    <a:pt x="853" y="400"/>
                    <a:pt x="853" y="398"/>
                  </a:cubicBezTo>
                  <a:cubicBezTo>
                    <a:pt x="853" y="389"/>
                    <a:pt x="844" y="382"/>
                    <a:pt x="837" y="378"/>
                  </a:cubicBezTo>
                  <a:cubicBezTo>
                    <a:pt x="834" y="377"/>
                    <a:pt x="832" y="376"/>
                    <a:pt x="829" y="375"/>
                  </a:cubicBezTo>
                  <a:cubicBezTo>
                    <a:pt x="824" y="373"/>
                    <a:pt x="820" y="371"/>
                    <a:pt x="816" y="368"/>
                  </a:cubicBezTo>
                  <a:cubicBezTo>
                    <a:pt x="814" y="367"/>
                    <a:pt x="812" y="367"/>
                    <a:pt x="810" y="366"/>
                  </a:cubicBezTo>
                  <a:cubicBezTo>
                    <a:pt x="809" y="366"/>
                    <a:pt x="808" y="366"/>
                    <a:pt x="807" y="365"/>
                  </a:cubicBezTo>
                  <a:cubicBezTo>
                    <a:pt x="803" y="364"/>
                    <a:pt x="798" y="361"/>
                    <a:pt x="794" y="359"/>
                  </a:cubicBezTo>
                  <a:cubicBezTo>
                    <a:pt x="793" y="358"/>
                    <a:pt x="791" y="357"/>
                    <a:pt x="790" y="357"/>
                  </a:cubicBezTo>
                  <a:cubicBezTo>
                    <a:pt x="788" y="355"/>
                    <a:pt x="786" y="354"/>
                    <a:pt x="785" y="353"/>
                  </a:cubicBezTo>
                  <a:cubicBezTo>
                    <a:pt x="785" y="352"/>
                    <a:pt x="785" y="352"/>
                    <a:pt x="785" y="352"/>
                  </a:cubicBezTo>
                  <a:cubicBezTo>
                    <a:pt x="786" y="352"/>
                    <a:pt x="788" y="353"/>
                    <a:pt x="789" y="353"/>
                  </a:cubicBezTo>
                  <a:cubicBezTo>
                    <a:pt x="791" y="354"/>
                    <a:pt x="792" y="354"/>
                    <a:pt x="793" y="354"/>
                  </a:cubicBezTo>
                  <a:cubicBezTo>
                    <a:pt x="794" y="354"/>
                    <a:pt x="795" y="354"/>
                    <a:pt x="796" y="354"/>
                  </a:cubicBezTo>
                  <a:cubicBezTo>
                    <a:pt x="797" y="354"/>
                    <a:pt x="797" y="354"/>
                    <a:pt x="798" y="354"/>
                  </a:cubicBezTo>
                  <a:cubicBezTo>
                    <a:pt x="799" y="354"/>
                    <a:pt x="799" y="354"/>
                    <a:pt x="800" y="354"/>
                  </a:cubicBezTo>
                  <a:cubicBezTo>
                    <a:pt x="801" y="354"/>
                    <a:pt x="802" y="354"/>
                    <a:pt x="802" y="355"/>
                  </a:cubicBezTo>
                  <a:cubicBezTo>
                    <a:pt x="806" y="355"/>
                    <a:pt x="809" y="357"/>
                    <a:pt x="812" y="358"/>
                  </a:cubicBezTo>
                  <a:cubicBezTo>
                    <a:pt x="815" y="359"/>
                    <a:pt x="817" y="360"/>
                    <a:pt x="819" y="361"/>
                  </a:cubicBezTo>
                  <a:cubicBezTo>
                    <a:pt x="820" y="361"/>
                    <a:pt x="821" y="362"/>
                    <a:pt x="822" y="362"/>
                  </a:cubicBezTo>
                  <a:cubicBezTo>
                    <a:pt x="823" y="362"/>
                    <a:pt x="824" y="361"/>
                    <a:pt x="825" y="361"/>
                  </a:cubicBezTo>
                  <a:cubicBezTo>
                    <a:pt x="826" y="361"/>
                    <a:pt x="827" y="361"/>
                    <a:pt x="827" y="361"/>
                  </a:cubicBezTo>
                  <a:cubicBezTo>
                    <a:pt x="827" y="361"/>
                    <a:pt x="828" y="361"/>
                    <a:pt x="828" y="361"/>
                  </a:cubicBezTo>
                  <a:cubicBezTo>
                    <a:pt x="828" y="361"/>
                    <a:pt x="829" y="362"/>
                    <a:pt x="830" y="362"/>
                  </a:cubicBezTo>
                  <a:cubicBezTo>
                    <a:pt x="831" y="363"/>
                    <a:pt x="832" y="365"/>
                    <a:pt x="834" y="365"/>
                  </a:cubicBezTo>
                  <a:cubicBezTo>
                    <a:pt x="835" y="366"/>
                    <a:pt x="836" y="366"/>
                    <a:pt x="838" y="366"/>
                  </a:cubicBezTo>
                  <a:cubicBezTo>
                    <a:pt x="838" y="366"/>
                    <a:pt x="839" y="366"/>
                    <a:pt x="840" y="366"/>
                  </a:cubicBezTo>
                  <a:cubicBezTo>
                    <a:pt x="841" y="366"/>
                    <a:pt x="842" y="366"/>
                    <a:pt x="842" y="366"/>
                  </a:cubicBezTo>
                  <a:cubicBezTo>
                    <a:pt x="843" y="366"/>
                    <a:pt x="843" y="366"/>
                    <a:pt x="843" y="366"/>
                  </a:cubicBezTo>
                  <a:cubicBezTo>
                    <a:pt x="844" y="366"/>
                    <a:pt x="845" y="366"/>
                    <a:pt x="846" y="367"/>
                  </a:cubicBezTo>
                  <a:cubicBezTo>
                    <a:pt x="847" y="367"/>
                    <a:pt x="847" y="367"/>
                    <a:pt x="847" y="367"/>
                  </a:cubicBezTo>
                  <a:cubicBezTo>
                    <a:pt x="848" y="368"/>
                    <a:pt x="848" y="368"/>
                    <a:pt x="849" y="368"/>
                  </a:cubicBezTo>
                  <a:cubicBezTo>
                    <a:pt x="850" y="369"/>
                    <a:pt x="851" y="369"/>
                    <a:pt x="852" y="370"/>
                  </a:cubicBezTo>
                  <a:cubicBezTo>
                    <a:pt x="854" y="371"/>
                    <a:pt x="855" y="371"/>
                    <a:pt x="857" y="371"/>
                  </a:cubicBezTo>
                  <a:cubicBezTo>
                    <a:pt x="859" y="371"/>
                    <a:pt x="861" y="370"/>
                    <a:pt x="862" y="367"/>
                  </a:cubicBezTo>
                  <a:cubicBezTo>
                    <a:pt x="863" y="365"/>
                    <a:pt x="862" y="362"/>
                    <a:pt x="861" y="360"/>
                  </a:cubicBezTo>
                  <a:cubicBezTo>
                    <a:pt x="861" y="360"/>
                    <a:pt x="861" y="360"/>
                    <a:pt x="862" y="359"/>
                  </a:cubicBezTo>
                  <a:close/>
                  <a:moveTo>
                    <a:pt x="493" y="120"/>
                  </a:moveTo>
                  <a:cubicBezTo>
                    <a:pt x="493" y="120"/>
                    <a:pt x="493" y="121"/>
                    <a:pt x="493" y="121"/>
                  </a:cubicBezTo>
                  <a:cubicBezTo>
                    <a:pt x="492" y="120"/>
                    <a:pt x="490" y="120"/>
                    <a:pt x="489" y="120"/>
                  </a:cubicBezTo>
                  <a:cubicBezTo>
                    <a:pt x="489" y="120"/>
                    <a:pt x="489" y="120"/>
                    <a:pt x="489" y="120"/>
                  </a:cubicBezTo>
                  <a:cubicBezTo>
                    <a:pt x="490" y="120"/>
                    <a:pt x="490" y="120"/>
                    <a:pt x="490" y="120"/>
                  </a:cubicBezTo>
                  <a:cubicBezTo>
                    <a:pt x="492" y="118"/>
                    <a:pt x="493" y="116"/>
                    <a:pt x="494" y="115"/>
                  </a:cubicBezTo>
                  <a:cubicBezTo>
                    <a:pt x="494" y="116"/>
                    <a:pt x="493" y="120"/>
                    <a:pt x="493" y="120"/>
                  </a:cubicBezTo>
                  <a:close/>
                  <a:moveTo>
                    <a:pt x="457" y="346"/>
                  </a:moveTo>
                  <a:cubicBezTo>
                    <a:pt x="452" y="346"/>
                    <a:pt x="448" y="345"/>
                    <a:pt x="445" y="342"/>
                  </a:cubicBezTo>
                  <a:cubicBezTo>
                    <a:pt x="444" y="341"/>
                    <a:pt x="444" y="341"/>
                    <a:pt x="444" y="341"/>
                  </a:cubicBezTo>
                  <a:cubicBezTo>
                    <a:pt x="443" y="340"/>
                    <a:pt x="442" y="339"/>
                    <a:pt x="441" y="338"/>
                  </a:cubicBezTo>
                  <a:cubicBezTo>
                    <a:pt x="440" y="336"/>
                    <a:pt x="439" y="335"/>
                    <a:pt x="438" y="333"/>
                  </a:cubicBezTo>
                  <a:cubicBezTo>
                    <a:pt x="437" y="331"/>
                    <a:pt x="435" y="330"/>
                    <a:pt x="433" y="329"/>
                  </a:cubicBezTo>
                  <a:cubicBezTo>
                    <a:pt x="431" y="328"/>
                    <a:pt x="430" y="327"/>
                    <a:pt x="428" y="326"/>
                  </a:cubicBezTo>
                  <a:cubicBezTo>
                    <a:pt x="430" y="326"/>
                    <a:pt x="433" y="326"/>
                    <a:pt x="435" y="327"/>
                  </a:cubicBezTo>
                  <a:cubicBezTo>
                    <a:pt x="437" y="328"/>
                    <a:pt x="439" y="329"/>
                    <a:pt x="440" y="330"/>
                  </a:cubicBezTo>
                  <a:cubicBezTo>
                    <a:pt x="443" y="332"/>
                    <a:pt x="445" y="334"/>
                    <a:pt x="447" y="336"/>
                  </a:cubicBezTo>
                  <a:cubicBezTo>
                    <a:pt x="448" y="338"/>
                    <a:pt x="450" y="340"/>
                    <a:pt x="453" y="342"/>
                  </a:cubicBezTo>
                  <a:cubicBezTo>
                    <a:pt x="453" y="342"/>
                    <a:pt x="454" y="342"/>
                    <a:pt x="454" y="343"/>
                  </a:cubicBezTo>
                  <a:cubicBezTo>
                    <a:pt x="455" y="344"/>
                    <a:pt x="456" y="345"/>
                    <a:pt x="457" y="345"/>
                  </a:cubicBezTo>
                  <a:cubicBezTo>
                    <a:pt x="458" y="346"/>
                    <a:pt x="458" y="346"/>
                    <a:pt x="458" y="346"/>
                  </a:cubicBezTo>
                  <a:cubicBezTo>
                    <a:pt x="458" y="346"/>
                    <a:pt x="458" y="346"/>
                    <a:pt x="458" y="346"/>
                  </a:cubicBezTo>
                  <a:cubicBezTo>
                    <a:pt x="458" y="346"/>
                    <a:pt x="458" y="346"/>
                    <a:pt x="457" y="346"/>
                  </a:cubicBezTo>
                  <a:close/>
                  <a:moveTo>
                    <a:pt x="567" y="79"/>
                  </a:moveTo>
                  <a:cubicBezTo>
                    <a:pt x="566" y="78"/>
                    <a:pt x="566" y="78"/>
                    <a:pt x="566" y="78"/>
                  </a:cubicBezTo>
                  <a:cubicBezTo>
                    <a:pt x="565" y="77"/>
                    <a:pt x="564" y="76"/>
                    <a:pt x="563" y="75"/>
                  </a:cubicBezTo>
                  <a:cubicBezTo>
                    <a:pt x="563" y="75"/>
                    <a:pt x="563" y="75"/>
                    <a:pt x="563" y="74"/>
                  </a:cubicBezTo>
                  <a:cubicBezTo>
                    <a:pt x="563" y="74"/>
                    <a:pt x="564" y="74"/>
                    <a:pt x="564" y="74"/>
                  </a:cubicBezTo>
                  <a:cubicBezTo>
                    <a:pt x="567" y="75"/>
                    <a:pt x="572" y="79"/>
                    <a:pt x="573" y="81"/>
                  </a:cubicBezTo>
                  <a:cubicBezTo>
                    <a:pt x="573" y="82"/>
                    <a:pt x="573" y="82"/>
                    <a:pt x="573" y="82"/>
                  </a:cubicBezTo>
                  <a:cubicBezTo>
                    <a:pt x="573" y="82"/>
                    <a:pt x="573" y="82"/>
                    <a:pt x="572" y="82"/>
                  </a:cubicBezTo>
                  <a:cubicBezTo>
                    <a:pt x="571" y="82"/>
                    <a:pt x="569" y="81"/>
                    <a:pt x="567" y="79"/>
                  </a:cubicBezTo>
                  <a:close/>
                  <a:moveTo>
                    <a:pt x="573" y="140"/>
                  </a:moveTo>
                  <a:cubicBezTo>
                    <a:pt x="573" y="140"/>
                    <a:pt x="574" y="140"/>
                    <a:pt x="574" y="140"/>
                  </a:cubicBezTo>
                  <a:cubicBezTo>
                    <a:pt x="574" y="140"/>
                    <a:pt x="574" y="140"/>
                    <a:pt x="574" y="140"/>
                  </a:cubicBezTo>
                  <a:cubicBezTo>
                    <a:pt x="575" y="140"/>
                    <a:pt x="575" y="141"/>
                    <a:pt x="575" y="142"/>
                  </a:cubicBezTo>
                  <a:cubicBezTo>
                    <a:pt x="575" y="142"/>
                    <a:pt x="576" y="143"/>
                    <a:pt x="576" y="144"/>
                  </a:cubicBezTo>
                  <a:cubicBezTo>
                    <a:pt x="575" y="143"/>
                    <a:pt x="574" y="142"/>
                    <a:pt x="573" y="140"/>
                  </a:cubicBezTo>
                  <a:close/>
                  <a:moveTo>
                    <a:pt x="739" y="259"/>
                  </a:moveTo>
                  <a:cubicBezTo>
                    <a:pt x="739" y="260"/>
                    <a:pt x="738" y="261"/>
                    <a:pt x="736" y="261"/>
                  </a:cubicBezTo>
                  <a:cubicBezTo>
                    <a:pt x="736" y="261"/>
                    <a:pt x="735" y="261"/>
                    <a:pt x="735" y="261"/>
                  </a:cubicBezTo>
                  <a:cubicBezTo>
                    <a:pt x="734" y="261"/>
                    <a:pt x="732" y="261"/>
                    <a:pt x="732" y="261"/>
                  </a:cubicBezTo>
                  <a:cubicBezTo>
                    <a:pt x="731" y="261"/>
                    <a:pt x="731" y="261"/>
                    <a:pt x="730" y="261"/>
                  </a:cubicBezTo>
                  <a:cubicBezTo>
                    <a:pt x="726" y="263"/>
                    <a:pt x="723" y="268"/>
                    <a:pt x="720" y="273"/>
                  </a:cubicBezTo>
                  <a:cubicBezTo>
                    <a:pt x="719" y="273"/>
                    <a:pt x="719" y="273"/>
                    <a:pt x="719" y="273"/>
                  </a:cubicBezTo>
                  <a:cubicBezTo>
                    <a:pt x="720" y="271"/>
                    <a:pt x="720" y="270"/>
                    <a:pt x="719" y="267"/>
                  </a:cubicBezTo>
                  <a:cubicBezTo>
                    <a:pt x="717" y="262"/>
                    <a:pt x="714" y="259"/>
                    <a:pt x="710" y="258"/>
                  </a:cubicBezTo>
                  <a:cubicBezTo>
                    <a:pt x="712" y="254"/>
                    <a:pt x="713" y="250"/>
                    <a:pt x="713" y="246"/>
                  </a:cubicBezTo>
                  <a:cubicBezTo>
                    <a:pt x="716" y="247"/>
                    <a:pt x="719" y="249"/>
                    <a:pt x="723" y="250"/>
                  </a:cubicBezTo>
                  <a:cubicBezTo>
                    <a:pt x="725" y="250"/>
                    <a:pt x="727" y="251"/>
                    <a:pt x="729" y="251"/>
                  </a:cubicBezTo>
                  <a:cubicBezTo>
                    <a:pt x="731" y="251"/>
                    <a:pt x="734" y="251"/>
                    <a:pt x="736" y="252"/>
                  </a:cubicBezTo>
                  <a:cubicBezTo>
                    <a:pt x="738" y="253"/>
                    <a:pt x="739" y="255"/>
                    <a:pt x="740" y="257"/>
                  </a:cubicBezTo>
                  <a:cubicBezTo>
                    <a:pt x="740" y="258"/>
                    <a:pt x="740" y="259"/>
                    <a:pt x="739" y="259"/>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8" name="Freeform 147">
              <a:extLst>
                <a:ext uri="{FF2B5EF4-FFF2-40B4-BE49-F238E27FC236}">
                  <a16:creationId xmlns:a16="http://schemas.microsoft.com/office/drawing/2014/main" id="{21EC4339-D00F-AD48-8865-1A840200C302}"/>
                </a:ext>
              </a:extLst>
            </p:cNvPr>
            <p:cNvSpPr>
              <a:spLocks/>
            </p:cNvSpPr>
            <p:nvPr/>
          </p:nvSpPr>
          <p:spPr bwMode="auto">
            <a:xfrm>
              <a:off x="17687327" y="3713860"/>
              <a:ext cx="92329" cy="69063"/>
            </a:xfrm>
            <a:custGeom>
              <a:avLst/>
              <a:gdLst>
                <a:gd name="T0" fmla="*/ 16 w 17"/>
                <a:gd name="T1" fmla="*/ 2 h 14"/>
                <a:gd name="T2" fmla="*/ 12 w 17"/>
                <a:gd name="T3" fmla="*/ 0 h 14"/>
                <a:gd name="T4" fmla="*/ 10 w 17"/>
                <a:gd name="T5" fmla="*/ 0 h 14"/>
                <a:gd name="T6" fmla="*/ 7 w 17"/>
                <a:gd name="T7" fmla="*/ 2 h 14"/>
                <a:gd name="T8" fmla="*/ 6 w 17"/>
                <a:gd name="T9" fmla="*/ 3 h 14"/>
                <a:gd name="T10" fmla="*/ 1 w 17"/>
                <a:gd name="T11" fmla="*/ 7 h 14"/>
                <a:gd name="T12" fmla="*/ 1 w 17"/>
                <a:gd name="T13" fmla="*/ 11 h 14"/>
                <a:gd name="T14" fmla="*/ 5 w 17"/>
                <a:gd name="T15" fmla="*/ 14 h 14"/>
                <a:gd name="T16" fmla="*/ 10 w 17"/>
                <a:gd name="T17" fmla="*/ 11 h 14"/>
                <a:gd name="T18" fmla="*/ 10 w 17"/>
                <a:gd name="T19" fmla="*/ 11 h 14"/>
                <a:gd name="T20" fmla="*/ 12 w 17"/>
                <a:gd name="T21" fmla="*/ 11 h 14"/>
                <a:gd name="T22" fmla="*/ 16 w 17"/>
                <a:gd name="T23" fmla="*/ 7 h 14"/>
                <a:gd name="T24" fmla="*/ 16 w 17"/>
                <a:gd name="T25"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14">
                  <a:moveTo>
                    <a:pt x="16" y="2"/>
                  </a:moveTo>
                  <a:cubicBezTo>
                    <a:pt x="15" y="0"/>
                    <a:pt x="14" y="0"/>
                    <a:pt x="12" y="0"/>
                  </a:cubicBezTo>
                  <a:cubicBezTo>
                    <a:pt x="12" y="0"/>
                    <a:pt x="11" y="0"/>
                    <a:pt x="10" y="0"/>
                  </a:cubicBezTo>
                  <a:cubicBezTo>
                    <a:pt x="9" y="0"/>
                    <a:pt x="8" y="1"/>
                    <a:pt x="7" y="2"/>
                  </a:cubicBezTo>
                  <a:cubicBezTo>
                    <a:pt x="7" y="2"/>
                    <a:pt x="6" y="3"/>
                    <a:pt x="6" y="3"/>
                  </a:cubicBezTo>
                  <a:cubicBezTo>
                    <a:pt x="4" y="3"/>
                    <a:pt x="2" y="4"/>
                    <a:pt x="1" y="7"/>
                  </a:cubicBezTo>
                  <a:cubicBezTo>
                    <a:pt x="0" y="7"/>
                    <a:pt x="0" y="9"/>
                    <a:pt x="1" y="11"/>
                  </a:cubicBezTo>
                  <a:cubicBezTo>
                    <a:pt x="2" y="14"/>
                    <a:pt x="4" y="14"/>
                    <a:pt x="5" y="14"/>
                  </a:cubicBezTo>
                  <a:cubicBezTo>
                    <a:pt x="7" y="14"/>
                    <a:pt x="9" y="12"/>
                    <a:pt x="10" y="11"/>
                  </a:cubicBezTo>
                  <a:cubicBezTo>
                    <a:pt x="10" y="11"/>
                    <a:pt x="10" y="11"/>
                    <a:pt x="10" y="11"/>
                  </a:cubicBezTo>
                  <a:cubicBezTo>
                    <a:pt x="11" y="11"/>
                    <a:pt x="11" y="11"/>
                    <a:pt x="12" y="11"/>
                  </a:cubicBezTo>
                  <a:cubicBezTo>
                    <a:pt x="13" y="10"/>
                    <a:pt x="15" y="9"/>
                    <a:pt x="16" y="7"/>
                  </a:cubicBezTo>
                  <a:cubicBezTo>
                    <a:pt x="17" y="6"/>
                    <a:pt x="17" y="3"/>
                    <a:pt x="16"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49" name="Freeform 148">
              <a:extLst>
                <a:ext uri="{FF2B5EF4-FFF2-40B4-BE49-F238E27FC236}">
                  <a16:creationId xmlns:a16="http://schemas.microsoft.com/office/drawing/2014/main" id="{8AE396C9-865B-BA41-8E09-646B5052681C}"/>
                </a:ext>
              </a:extLst>
            </p:cNvPr>
            <p:cNvSpPr>
              <a:spLocks/>
            </p:cNvSpPr>
            <p:nvPr/>
          </p:nvSpPr>
          <p:spPr bwMode="auto">
            <a:xfrm>
              <a:off x="20249962" y="6269195"/>
              <a:ext cx="108743" cy="102661"/>
            </a:xfrm>
            <a:custGeom>
              <a:avLst/>
              <a:gdLst>
                <a:gd name="T0" fmla="*/ 19 w 20"/>
                <a:gd name="T1" fmla="*/ 8 h 21"/>
                <a:gd name="T2" fmla="*/ 14 w 20"/>
                <a:gd name="T3" fmla="*/ 3 h 21"/>
                <a:gd name="T4" fmla="*/ 10 w 20"/>
                <a:gd name="T5" fmla="*/ 0 h 21"/>
                <a:gd name="T6" fmla="*/ 7 w 20"/>
                <a:gd name="T7" fmla="*/ 0 h 21"/>
                <a:gd name="T8" fmla="*/ 2 w 20"/>
                <a:gd name="T9" fmla="*/ 3 h 21"/>
                <a:gd name="T10" fmla="*/ 3 w 20"/>
                <a:gd name="T11" fmla="*/ 7 h 21"/>
                <a:gd name="T12" fmla="*/ 0 w 20"/>
                <a:gd name="T13" fmla="*/ 8 h 21"/>
                <a:gd name="T14" fmla="*/ 0 w 20"/>
                <a:gd name="T15" fmla="*/ 11 h 21"/>
                <a:gd name="T16" fmla="*/ 1 w 20"/>
                <a:gd name="T17" fmla="*/ 13 h 21"/>
                <a:gd name="T18" fmla="*/ 3 w 20"/>
                <a:gd name="T19" fmla="*/ 19 h 21"/>
                <a:gd name="T20" fmla="*/ 7 w 20"/>
                <a:gd name="T21" fmla="*/ 21 h 21"/>
                <a:gd name="T22" fmla="*/ 12 w 20"/>
                <a:gd name="T23" fmla="*/ 18 h 21"/>
                <a:gd name="T24" fmla="*/ 13 w 20"/>
                <a:gd name="T25" fmla="*/ 17 h 21"/>
                <a:gd name="T26" fmla="*/ 14 w 20"/>
                <a:gd name="T27" fmla="*/ 16 h 21"/>
                <a:gd name="T28" fmla="*/ 16 w 20"/>
                <a:gd name="T29" fmla="*/ 15 h 21"/>
                <a:gd name="T30" fmla="*/ 19 w 20"/>
                <a:gd name="T31" fmla="*/ 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21">
                  <a:moveTo>
                    <a:pt x="19" y="8"/>
                  </a:moveTo>
                  <a:cubicBezTo>
                    <a:pt x="18" y="5"/>
                    <a:pt x="16" y="3"/>
                    <a:pt x="14" y="3"/>
                  </a:cubicBezTo>
                  <a:cubicBezTo>
                    <a:pt x="13" y="2"/>
                    <a:pt x="12" y="1"/>
                    <a:pt x="10" y="0"/>
                  </a:cubicBezTo>
                  <a:cubicBezTo>
                    <a:pt x="9" y="0"/>
                    <a:pt x="8" y="0"/>
                    <a:pt x="7" y="0"/>
                  </a:cubicBezTo>
                  <a:cubicBezTo>
                    <a:pt x="5" y="0"/>
                    <a:pt x="3" y="1"/>
                    <a:pt x="2" y="3"/>
                  </a:cubicBezTo>
                  <a:cubicBezTo>
                    <a:pt x="2" y="5"/>
                    <a:pt x="2" y="6"/>
                    <a:pt x="3" y="7"/>
                  </a:cubicBezTo>
                  <a:cubicBezTo>
                    <a:pt x="3" y="7"/>
                    <a:pt x="0" y="8"/>
                    <a:pt x="0" y="8"/>
                  </a:cubicBezTo>
                  <a:cubicBezTo>
                    <a:pt x="0" y="11"/>
                    <a:pt x="0" y="11"/>
                    <a:pt x="0" y="11"/>
                  </a:cubicBezTo>
                  <a:cubicBezTo>
                    <a:pt x="1" y="11"/>
                    <a:pt x="1" y="12"/>
                    <a:pt x="1" y="13"/>
                  </a:cubicBezTo>
                  <a:cubicBezTo>
                    <a:pt x="1" y="15"/>
                    <a:pt x="1" y="17"/>
                    <a:pt x="3" y="19"/>
                  </a:cubicBezTo>
                  <a:cubicBezTo>
                    <a:pt x="4" y="20"/>
                    <a:pt x="6" y="21"/>
                    <a:pt x="7" y="21"/>
                  </a:cubicBezTo>
                  <a:cubicBezTo>
                    <a:pt x="10" y="21"/>
                    <a:pt x="11" y="19"/>
                    <a:pt x="12" y="18"/>
                  </a:cubicBezTo>
                  <a:cubicBezTo>
                    <a:pt x="12" y="17"/>
                    <a:pt x="12" y="17"/>
                    <a:pt x="13" y="17"/>
                  </a:cubicBezTo>
                  <a:cubicBezTo>
                    <a:pt x="13" y="16"/>
                    <a:pt x="13" y="16"/>
                    <a:pt x="14" y="16"/>
                  </a:cubicBezTo>
                  <a:cubicBezTo>
                    <a:pt x="14" y="16"/>
                    <a:pt x="15" y="16"/>
                    <a:pt x="16" y="15"/>
                  </a:cubicBezTo>
                  <a:cubicBezTo>
                    <a:pt x="19" y="14"/>
                    <a:pt x="20" y="11"/>
                    <a:pt x="19" y="8"/>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0" name="Freeform 149">
              <a:extLst>
                <a:ext uri="{FF2B5EF4-FFF2-40B4-BE49-F238E27FC236}">
                  <a16:creationId xmlns:a16="http://schemas.microsoft.com/office/drawing/2014/main" id="{572E64A6-E110-FC4D-9650-DBAC2D905202}"/>
                </a:ext>
              </a:extLst>
            </p:cNvPr>
            <p:cNvSpPr>
              <a:spLocks noEditPoints="1"/>
            </p:cNvSpPr>
            <p:nvPr/>
          </p:nvSpPr>
          <p:spPr bwMode="auto">
            <a:xfrm>
              <a:off x="20619277" y="6168400"/>
              <a:ext cx="1743987" cy="1597784"/>
            </a:xfrm>
            <a:custGeom>
              <a:avLst/>
              <a:gdLst>
                <a:gd name="T0" fmla="*/ 307 w 320"/>
                <a:gd name="T1" fmla="*/ 198 h 322"/>
                <a:gd name="T2" fmla="*/ 303 w 320"/>
                <a:gd name="T3" fmla="*/ 188 h 322"/>
                <a:gd name="T4" fmla="*/ 296 w 320"/>
                <a:gd name="T5" fmla="*/ 170 h 322"/>
                <a:gd name="T6" fmla="*/ 274 w 320"/>
                <a:gd name="T7" fmla="*/ 161 h 322"/>
                <a:gd name="T8" fmla="*/ 258 w 320"/>
                <a:gd name="T9" fmla="*/ 166 h 322"/>
                <a:gd name="T10" fmla="*/ 247 w 320"/>
                <a:gd name="T11" fmla="*/ 156 h 322"/>
                <a:gd name="T12" fmla="*/ 229 w 320"/>
                <a:gd name="T13" fmla="*/ 166 h 322"/>
                <a:gd name="T14" fmla="*/ 221 w 320"/>
                <a:gd name="T15" fmla="*/ 175 h 322"/>
                <a:gd name="T16" fmla="*/ 218 w 320"/>
                <a:gd name="T17" fmla="*/ 175 h 322"/>
                <a:gd name="T18" fmla="*/ 227 w 320"/>
                <a:gd name="T19" fmla="*/ 162 h 322"/>
                <a:gd name="T20" fmla="*/ 240 w 320"/>
                <a:gd name="T21" fmla="*/ 144 h 322"/>
                <a:gd name="T22" fmla="*/ 225 w 320"/>
                <a:gd name="T23" fmla="*/ 140 h 322"/>
                <a:gd name="T24" fmla="*/ 208 w 320"/>
                <a:gd name="T25" fmla="*/ 147 h 322"/>
                <a:gd name="T26" fmla="*/ 195 w 320"/>
                <a:gd name="T27" fmla="*/ 140 h 322"/>
                <a:gd name="T28" fmla="*/ 174 w 320"/>
                <a:gd name="T29" fmla="*/ 143 h 322"/>
                <a:gd name="T30" fmla="*/ 165 w 320"/>
                <a:gd name="T31" fmla="*/ 148 h 322"/>
                <a:gd name="T32" fmla="*/ 155 w 320"/>
                <a:gd name="T33" fmla="*/ 132 h 322"/>
                <a:gd name="T34" fmla="*/ 142 w 320"/>
                <a:gd name="T35" fmla="*/ 132 h 322"/>
                <a:gd name="T36" fmla="*/ 132 w 320"/>
                <a:gd name="T37" fmla="*/ 132 h 322"/>
                <a:gd name="T38" fmla="*/ 112 w 320"/>
                <a:gd name="T39" fmla="*/ 119 h 322"/>
                <a:gd name="T40" fmla="*/ 117 w 320"/>
                <a:gd name="T41" fmla="*/ 107 h 322"/>
                <a:gd name="T42" fmla="*/ 110 w 320"/>
                <a:gd name="T43" fmla="*/ 93 h 322"/>
                <a:gd name="T44" fmla="*/ 104 w 320"/>
                <a:gd name="T45" fmla="*/ 92 h 322"/>
                <a:gd name="T46" fmla="*/ 95 w 320"/>
                <a:gd name="T47" fmla="*/ 76 h 322"/>
                <a:gd name="T48" fmla="*/ 73 w 320"/>
                <a:gd name="T49" fmla="*/ 68 h 322"/>
                <a:gd name="T50" fmla="*/ 62 w 320"/>
                <a:gd name="T51" fmla="*/ 60 h 322"/>
                <a:gd name="T52" fmla="*/ 38 w 320"/>
                <a:gd name="T53" fmla="*/ 36 h 322"/>
                <a:gd name="T54" fmla="*/ 13 w 320"/>
                <a:gd name="T55" fmla="*/ 14 h 322"/>
                <a:gd name="T56" fmla="*/ 3 w 320"/>
                <a:gd name="T57" fmla="*/ 11 h 322"/>
                <a:gd name="T58" fmla="*/ 11 w 320"/>
                <a:gd name="T59" fmla="*/ 42 h 322"/>
                <a:gd name="T60" fmla="*/ 21 w 320"/>
                <a:gd name="T61" fmla="*/ 50 h 322"/>
                <a:gd name="T62" fmla="*/ 38 w 320"/>
                <a:gd name="T63" fmla="*/ 58 h 322"/>
                <a:gd name="T64" fmla="*/ 65 w 320"/>
                <a:gd name="T65" fmla="*/ 114 h 322"/>
                <a:gd name="T66" fmla="*/ 83 w 320"/>
                <a:gd name="T67" fmla="*/ 156 h 322"/>
                <a:gd name="T68" fmla="*/ 104 w 320"/>
                <a:gd name="T69" fmla="*/ 181 h 322"/>
                <a:gd name="T70" fmla="*/ 94 w 320"/>
                <a:gd name="T71" fmla="*/ 207 h 322"/>
                <a:gd name="T72" fmla="*/ 43 w 320"/>
                <a:gd name="T73" fmla="*/ 210 h 322"/>
                <a:gd name="T74" fmla="*/ 34 w 320"/>
                <a:gd name="T75" fmla="*/ 223 h 322"/>
                <a:gd name="T76" fmla="*/ 24 w 320"/>
                <a:gd name="T77" fmla="*/ 242 h 322"/>
                <a:gd name="T78" fmla="*/ 38 w 320"/>
                <a:gd name="T79" fmla="*/ 272 h 322"/>
                <a:gd name="T80" fmla="*/ 59 w 320"/>
                <a:gd name="T81" fmla="*/ 290 h 322"/>
                <a:gd name="T82" fmla="*/ 72 w 320"/>
                <a:gd name="T83" fmla="*/ 292 h 322"/>
                <a:gd name="T84" fmla="*/ 81 w 320"/>
                <a:gd name="T85" fmla="*/ 311 h 322"/>
                <a:gd name="T86" fmla="*/ 107 w 320"/>
                <a:gd name="T87" fmla="*/ 312 h 322"/>
                <a:gd name="T88" fmla="*/ 135 w 320"/>
                <a:gd name="T89" fmla="*/ 322 h 322"/>
                <a:gd name="T90" fmla="*/ 129 w 320"/>
                <a:gd name="T91" fmla="*/ 263 h 322"/>
                <a:gd name="T92" fmla="*/ 154 w 320"/>
                <a:gd name="T93" fmla="*/ 297 h 322"/>
                <a:gd name="T94" fmla="*/ 302 w 320"/>
                <a:gd name="T95" fmla="*/ 249 h 322"/>
                <a:gd name="T96" fmla="*/ 201 w 320"/>
                <a:gd name="T97" fmla="*/ 212 h 322"/>
                <a:gd name="T98" fmla="*/ 214 w 320"/>
                <a:gd name="T99" fmla="*/ 189 h 322"/>
                <a:gd name="T100" fmla="*/ 201 w 320"/>
                <a:gd name="T101" fmla="*/ 21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322">
                  <a:moveTo>
                    <a:pt x="320" y="207"/>
                  </a:moveTo>
                  <a:cubicBezTo>
                    <a:pt x="319" y="206"/>
                    <a:pt x="319" y="206"/>
                    <a:pt x="319" y="206"/>
                  </a:cubicBezTo>
                  <a:cubicBezTo>
                    <a:pt x="319" y="204"/>
                    <a:pt x="319" y="202"/>
                    <a:pt x="316" y="200"/>
                  </a:cubicBezTo>
                  <a:cubicBezTo>
                    <a:pt x="314" y="198"/>
                    <a:pt x="311" y="198"/>
                    <a:pt x="310" y="198"/>
                  </a:cubicBezTo>
                  <a:cubicBezTo>
                    <a:pt x="309" y="198"/>
                    <a:pt x="308" y="198"/>
                    <a:pt x="307" y="198"/>
                  </a:cubicBezTo>
                  <a:cubicBezTo>
                    <a:pt x="306" y="198"/>
                    <a:pt x="306" y="198"/>
                    <a:pt x="305" y="198"/>
                  </a:cubicBezTo>
                  <a:cubicBezTo>
                    <a:pt x="304" y="198"/>
                    <a:pt x="304" y="198"/>
                    <a:pt x="303" y="198"/>
                  </a:cubicBezTo>
                  <a:cubicBezTo>
                    <a:pt x="303" y="197"/>
                    <a:pt x="303" y="197"/>
                    <a:pt x="302" y="195"/>
                  </a:cubicBezTo>
                  <a:cubicBezTo>
                    <a:pt x="302" y="193"/>
                    <a:pt x="302" y="192"/>
                    <a:pt x="303" y="190"/>
                  </a:cubicBezTo>
                  <a:cubicBezTo>
                    <a:pt x="303" y="189"/>
                    <a:pt x="303" y="189"/>
                    <a:pt x="303" y="188"/>
                  </a:cubicBezTo>
                  <a:cubicBezTo>
                    <a:pt x="303" y="186"/>
                    <a:pt x="303" y="183"/>
                    <a:pt x="301" y="181"/>
                  </a:cubicBezTo>
                  <a:cubicBezTo>
                    <a:pt x="300" y="180"/>
                    <a:pt x="299" y="180"/>
                    <a:pt x="298" y="180"/>
                  </a:cubicBezTo>
                  <a:cubicBezTo>
                    <a:pt x="298" y="180"/>
                    <a:pt x="298" y="180"/>
                    <a:pt x="298" y="180"/>
                  </a:cubicBezTo>
                  <a:cubicBezTo>
                    <a:pt x="298" y="179"/>
                    <a:pt x="298" y="179"/>
                    <a:pt x="298" y="179"/>
                  </a:cubicBezTo>
                  <a:cubicBezTo>
                    <a:pt x="299" y="177"/>
                    <a:pt x="300" y="174"/>
                    <a:pt x="296" y="170"/>
                  </a:cubicBezTo>
                  <a:cubicBezTo>
                    <a:pt x="293" y="167"/>
                    <a:pt x="290" y="166"/>
                    <a:pt x="286" y="164"/>
                  </a:cubicBezTo>
                  <a:cubicBezTo>
                    <a:pt x="284" y="164"/>
                    <a:pt x="283" y="163"/>
                    <a:pt x="281" y="163"/>
                  </a:cubicBezTo>
                  <a:cubicBezTo>
                    <a:pt x="281" y="163"/>
                    <a:pt x="281" y="163"/>
                    <a:pt x="280" y="163"/>
                  </a:cubicBezTo>
                  <a:cubicBezTo>
                    <a:pt x="279" y="163"/>
                    <a:pt x="279" y="163"/>
                    <a:pt x="278" y="162"/>
                  </a:cubicBezTo>
                  <a:cubicBezTo>
                    <a:pt x="277" y="162"/>
                    <a:pt x="275" y="162"/>
                    <a:pt x="274" y="161"/>
                  </a:cubicBezTo>
                  <a:cubicBezTo>
                    <a:pt x="273" y="161"/>
                    <a:pt x="272" y="161"/>
                    <a:pt x="272" y="161"/>
                  </a:cubicBezTo>
                  <a:cubicBezTo>
                    <a:pt x="271" y="161"/>
                    <a:pt x="269" y="161"/>
                    <a:pt x="268" y="161"/>
                  </a:cubicBezTo>
                  <a:cubicBezTo>
                    <a:pt x="268" y="161"/>
                    <a:pt x="267" y="161"/>
                    <a:pt x="267" y="161"/>
                  </a:cubicBezTo>
                  <a:cubicBezTo>
                    <a:pt x="264" y="161"/>
                    <a:pt x="261" y="163"/>
                    <a:pt x="261" y="163"/>
                  </a:cubicBezTo>
                  <a:cubicBezTo>
                    <a:pt x="260" y="164"/>
                    <a:pt x="259" y="165"/>
                    <a:pt x="258" y="166"/>
                  </a:cubicBezTo>
                  <a:cubicBezTo>
                    <a:pt x="258" y="165"/>
                    <a:pt x="257" y="164"/>
                    <a:pt x="257" y="163"/>
                  </a:cubicBezTo>
                  <a:cubicBezTo>
                    <a:pt x="256" y="161"/>
                    <a:pt x="254" y="161"/>
                    <a:pt x="253" y="160"/>
                  </a:cubicBezTo>
                  <a:cubicBezTo>
                    <a:pt x="253" y="160"/>
                    <a:pt x="252" y="160"/>
                    <a:pt x="252" y="159"/>
                  </a:cubicBezTo>
                  <a:cubicBezTo>
                    <a:pt x="252" y="159"/>
                    <a:pt x="251" y="159"/>
                    <a:pt x="251" y="158"/>
                  </a:cubicBezTo>
                  <a:cubicBezTo>
                    <a:pt x="250" y="158"/>
                    <a:pt x="249" y="157"/>
                    <a:pt x="247" y="156"/>
                  </a:cubicBezTo>
                  <a:cubicBezTo>
                    <a:pt x="246" y="156"/>
                    <a:pt x="244" y="155"/>
                    <a:pt x="242" y="155"/>
                  </a:cubicBezTo>
                  <a:cubicBezTo>
                    <a:pt x="241" y="155"/>
                    <a:pt x="240" y="155"/>
                    <a:pt x="239" y="155"/>
                  </a:cubicBezTo>
                  <a:cubicBezTo>
                    <a:pt x="234" y="156"/>
                    <a:pt x="233" y="158"/>
                    <a:pt x="231" y="162"/>
                  </a:cubicBezTo>
                  <a:cubicBezTo>
                    <a:pt x="231" y="163"/>
                    <a:pt x="231" y="163"/>
                    <a:pt x="231" y="163"/>
                  </a:cubicBezTo>
                  <a:cubicBezTo>
                    <a:pt x="230" y="164"/>
                    <a:pt x="230" y="165"/>
                    <a:pt x="229" y="166"/>
                  </a:cubicBezTo>
                  <a:cubicBezTo>
                    <a:pt x="229" y="166"/>
                    <a:pt x="229" y="166"/>
                    <a:pt x="229" y="167"/>
                  </a:cubicBezTo>
                  <a:cubicBezTo>
                    <a:pt x="228" y="167"/>
                    <a:pt x="228" y="167"/>
                    <a:pt x="227" y="167"/>
                  </a:cubicBezTo>
                  <a:cubicBezTo>
                    <a:pt x="226" y="168"/>
                    <a:pt x="225" y="170"/>
                    <a:pt x="224" y="171"/>
                  </a:cubicBezTo>
                  <a:cubicBezTo>
                    <a:pt x="224" y="172"/>
                    <a:pt x="223" y="173"/>
                    <a:pt x="223" y="173"/>
                  </a:cubicBezTo>
                  <a:cubicBezTo>
                    <a:pt x="222" y="174"/>
                    <a:pt x="222" y="175"/>
                    <a:pt x="221" y="175"/>
                  </a:cubicBezTo>
                  <a:cubicBezTo>
                    <a:pt x="220" y="176"/>
                    <a:pt x="219" y="177"/>
                    <a:pt x="218" y="178"/>
                  </a:cubicBezTo>
                  <a:cubicBezTo>
                    <a:pt x="218" y="178"/>
                    <a:pt x="218" y="178"/>
                    <a:pt x="218" y="178"/>
                  </a:cubicBezTo>
                  <a:cubicBezTo>
                    <a:pt x="218" y="178"/>
                    <a:pt x="218" y="177"/>
                    <a:pt x="218" y="177"/>
                  </a:cubicBezTo>
                  <a:cubicBezTo>
                    <a:pt x="218" y="176"/>
                    <a:pt x="218" y="176"/>
                    <a:pt x="218" y="175"/>
                  </a:cubicBezTo>
                  <a:cubicBezTo>
                    <a:pt x="218" y="175"/>
                    <a:pt x="218" y="175"/>
                    <a:pt x="218" y="175"/>
                  </a:cubicBezTo>
                  <a:cubicBezTo>
                    <a:pt x="219" y="174"/>
                    <a:pt x="219" y="172"/>
                    <a:pt x="219" y="172"/>
                  </a:cubicBezTo>
                  <a:cubicBezTo>
                    <a:pt x="220" y="172"/>
                    <a:pt x="220" y="171"/>
                    <a:pt x="221" y="171"/>
                  </a:cubicBezTo>
                  <a:cubicBezTo>
                    <a:pt x="222" y="171"/>
                    <a:pt x="223" y="170"/>
                    <a:pt x="224" y="169"/>
                  </a:cubicBezTo>
                  <a:cubicBezTo>
                    <a:pt x="226" y="168"/>
                    <a:pt x="226" y="166"/>
                    <a:pt x="227" y="164"/>
                  </a:cubicBezTo>
                  <a:cubicBezTo>
                    <a:pt x="227" y="163"/>
                    <a:pt x="227" y="163"/>
                    <a:pt x="227" y="162"/>
                  </a:cubicBezTo>
                  <a:cubicBezTo>
                    <a:pt x="228" y="161"/>
                    <a:pt x="230" y="160"/>
                    <a:pt x="231" y="159"/>
                  </a:cubicBezTo>
                  <a:cubicBezTo>
                    <a:pt x="232" y="158"/>
                    <a:pt x="232" y="158"/>
                    <a:pt x="232" y="158"/>
                  </a:cubicBezTo>
                  <a:cubicBezTo>
                    <a:pt x="232" y="157"/>
                    <a:pt x="233" y="157"/>
                    <a:pt x="234" y="156"/>
                  </a:cubicBezTo>
                  <a:cubicBezTo>
                    <a:pt x="235" y="155"/>
                    <a:pt x="237" y="154"/>
                    <a:pt x="239" y="152"/>
                  </a:cubicBezTo>
                  <a:cubicBezTo>
                    <a:pt x="241" y="149"/>
                    <a:pt x="241" y="146"/>
                    <a:pt x="240" y="144"/>
                  </a:cubicBezTo>
                  <a:cubicBezTo>
                    <a:pt x="240" y="142"/>
                    <a:pt x="238" y="141"/>
                    <a:pt x="236" y="140"/>
                  </a:cubicBezTo>
                  <a:cubicBezTo>
                    <a:pt x="235" y="140"/>
                    <a:pt x="234" y="139"/>
                    <a:pt x="233" y="139"/>
                  </a:cubicBezTo>
                  <a:cubicBezTo>
                    <a:pt x="231" y="139"/>
                    <a:pt x="229" y="140"/>
                    <a:pt x="228" y="141"/>
                  </a:cubicBezTo>
                  <a:cubicBezTo>
                    <a:pt x="227" y="141"/>
                    <a:pt x="227" y="141"/>
                    <a:pt x="227" y="141"/>
                  </a:cubicBezTo>
                  <a:cubicBezTo>
                    <a:pt x="227" y="141"/>
                    <a:pt x="226" y="140"/>
                    <a:pt x="225" y="140"/>
                  </a:cubicBezTo>
                  <a:cubicBezTo>
                    <a:pt x="225" y="140"/>
                    <a:pt x="223" y="139"/>
                    <a:pt x="222" y="139"/>
                  </a:cubicBezTo>
                  <a:cubicBezTo>
                    <a:pt x="221" y="138"/>
                    <a:pt x="221" y="138"/>
                    <a:pt x="220" y="138"/>
                  </a:cubicBezTo>
                  <a:cubicBezTo>
                    <a:pt x="217" y="138"/>
                    <a:pt x="213" y="140"/>
                    <a:pt x="211" y="143"/>
                  </a:cubicBezTo>
                  <a:cubicBezTo>
                    <a:pt x="211" y="144"/>
                    <a:pt x="211" y="144"/>
                    <a:pt x="211" y="144"/>
                  </a:cubicBezTo>
                  <a:cubicBezTo>
                    <a:pt x="210" y="146"/>
                    <a:pt x="209" y="147"/>
                    <a:pt x="208" y="147"/>
                  </a:cubicBezTo>
                  <a:cubicBezTo>
                    <a:pt x="207" y="147"/>
                    <a:pt x="207" y="147"/>
                    <a:pt x="207" y="147"/>
                  </a:cubicBezTo>
                  <a:cubicBezTo>
                    <a:pt x="206" y="147"/>
                    <a:pt x="204" y="147"/>
                    <a:pt x="204" y="146"/>
                  </a:cubicBezTo>
                  <a:cubicBezTo>
                    <a:pt x="203" y="146"/>
                    <a:pt x="203" y="145"/>
                    <a:pt x="203" y="145"/>
                  </a:cubicBezTo>
                  <a:cubicBezTo>
                    <a:pt x="202" y="144"/>
                    <a:pt x="201" y="142"/>
                    <a:pt x="199" y="141"/>
                  </a:cubicBezTo>
                  <a:cubicBezTo>
                    <a:pt x="198" y="140"/>
                    <a:pt x="196" y="140"/>
                    <a:pt x="195" y="140"/>
                  </a:cubicBezTo>
                  <a:cubicBezTo>
                    <a:pt x="192" y="140"/>
                    <a:pt x="189" y="141"/>
                    <a:pt x="187" y="143"/>
                  </a:cubicBezTo>
                  <a:cubicBezTo>
                    <a:pt x="186" y="143"/>
                    <a:pt x="185" y="144"/>
                    <a:pt x="184" y="144"/>
                  </a:cubicBezTo>
                  <a:cubicBezTo>
                    <a:pt x="183" y="144"/>
                    <a:pt x="182" y="144"/>
                    <a:pt x="182" y="143"/>
                  </a:cubicBezTo>
                  <a:cubicBezTo>
                    <a:pt x="181" y="143"/>
                    <a:pt x="179" y="142"/>
                    <a:pt x="177" y="142"/>
                  </a:cubicBezTo>
                  <a:cubicBezTo>
                    <a:pt x="176" y="142"/>
                    <a:pt x="175" y="142"/>
                    <a:pt x="174" y="143"/>
                  </a:cubicBezTo>
                  <a:cubicBezTo>
                    <a:pt x="172" y="144"/>
                    <a:pt x="171" y="145"/>
                    <a:pt x="170" y="147"/>
                  </a:cubicBezTo>
                  <a:cubicBezTo>
                    <a:pt x="169" y="148"/>
                    <a:pt x="169" y="149"/>
                    <a:pt x="168" y="149"/>
                  </a:cubicBezTo>
                  <a:cubicBezTo>
                    <a:pt x="168" y="149"/>
                    <a:pt x="167" y="149"/>
                    <a:pt x="166" y="149"/>
                  </a:cubicBezTo>
                  <a:cubicBezTo>
                    <a:pt x="165" y="149"/>
                    <a:pt x="165" y="149"/>
                    <a:pt x="165" y="149"/>
                  </a:cubicBezTo>
                  <a:cubicBezTo>
                    <a:pt x="165" y="148"/>
                    <a:pt x="165" y="148"/>
                    <a:pt x="165" y="148"/>
                  </a:cubicBezTo>
                  <a:cubicBezTo>
                    <a:pt x="165" y="146"/>
                    <a:pt x="166" y="141"/>
                    <a:pt x="162" y="139"/>
                  </a:cubicBezTo>
                  <a:cubicBezTo>
                    <a:pt x="162" y="138"/>
                    <a:pt x="161" y="138"/>
                    <a:pt x="160" y="138"/>
                  </a:cubicBezTo>
                  <a:cubicBezTo>
                    <a:pt x="160" y="138"/>
                    <a:pt x="160" y="137"/>
                    <a:pt x="160" y="137"/>
                  </a:cubicBezTo>
                  <a:cubicBezTo>
                    <a:pt x="160" y="136"/>
                    <a:pt x="160" y="134"/>
                    <a:pt x="158" y="133"/>
                  </a:cubicBezTo>
                  <a:cubicBezTo>
                    <a:pt x="157" y="132"/>
                    <a:pt x="156" y="132"/>
                    <a:pt x="155" y="132"/>
                  </a:cubicBezTo>
                  <a:cubicBezTo>
                    <a:pt x="153" y="132"/>
                    <a:pt x="152" y="132"/>
                    <a:pt x="151" y="133"/>
                  </a:cubicBezTo>
                  <a:cubicBezTo>
                    <a:pt x="151" y="133"/>
                    <a:pt x="151" y="133"/>
                    <a:pt x="151" y="133"/>
                  </a:cubicBezTo>
                  <a:cubicBezTo>
                    <a:pt x="151" y="133"/>
                    <a:pt x="150" y="133"/>
                    <a:pt x="150" y="133"/>
                  </a:cubicBezTo>
                  <a:cubicBezTo>
                    <a:pt x="149" y="133"/>
                    <a:pt x="148" y="133"/>
                    <a:pt x="148" y="132"/>
                  </a:cubicBezTo>
                  <a:cubicBezTo>
                    <a:pt x="146" y="132"/>
                    <a:pt x="144" y="132"/>
                    <a:pt x="142" y="132"/>
                  </a:cubicBezTo>
                  <a:cubicBezTo>
                    <a:pt x="141" y="132"/>
                    <a:pt x="140" y="132"/>
                    <a:pt x="139" y="132"/>
                  </a:cubicBezTo>
                  <a:cubicBezTo>
                    <a:pt x="138" y="132"/>
                    <a:pt x="138" y="132"/>
                    <a:pt x="138" y="132"/>
                  </a:cubicBezTo>
                  <a:cubicBezTo>
                    <a:pt x="137" y="132"/>
                    <a:pt x="137" y="131"/>
                    <a:pt x="136" y="131"/>
                  </a:cubicBezTo>
                  <a:cubicBezTo>
                    <a:pt x="134" y="131"/>
                    <a:pt x="134" y="132"/>
                    <a:pt x="133" y="132"/>
                  </a:cubicBezTo>
                  <a:cubicBezTo>
                    <a:pt x="132" y="132"/>
                    <a:pt x="132" y="132"/>
                    <a:pt x="132" y="132"/>
                  </a:cubicBezTo>
                  <a:cubicBezTo>
                    <a:pt x="131" y="132"/>
                    <a:pt x="129" y="131"/>
                    <a:pt x="128" y="129"/>
                  </a:cubicBezTo>
                  <a:cubicBezTo>
                    <a:pt x="126" y="127"/>
                    <a:pt x="124" y="126"/>
                    <a:pt x="121" y="124"/>
                  </a:cubicBezTo>
                  <a:cubicBezTo>
                    <a:pt x="120" y="124"/>
                    <a:pt x="119" y="123"/>
                    <a:pt x="118" y="123"/>
                  </a:cubicBezTo>
                  <a:cubicBezTo>
                    <a:pt x="117" y="123"/>
                    <a:pt x="116" y="123"/>
                    <a:pt x="116" y="122"/>
                  </a:cubicBezTo>
                  <a:cubicBezTo>
                    <a:pt x="115" y="121"/>
                    <a:pt x="114" y="120"/>
                    <a:pt x="112" y="119"/>
                  </a:cubicBezTo>
                  <a:cubicBezTo>
                    <a:pt x="111" y="119"/>
                    <a:pt x="111" y="118"/>
                    <a:pt x="111" y="118"/>
                  </a:cubicBezTo>
                  <a:cubicBezTo>
                    <a:pt x="110" y="118"/>
                    <a:pt x="110" y="118"/>
                    <a:pt x="110" y="118"/>
                  </a:cubicBezTo>
                  <a:cubicBezTo>
                    <a:pt x="111" y="117"/>
                    <a:pt x="111" y="117"/>
                    <a:pt x="111" y="117"/>
                  </a:cubicBezTo>
                  <a:cubicBezTo>
                    <a:pt x="112" y="117"/>
                    <a:pt x="112" y="117"/>
                    <a:pt x="112" y="117"/>
                  </a:cubicBezTo>
                  <a:cubicBezTo>
                    <a:pt x="115" y="115"/>
                    <a:pt x="117" y="109"/>
                    <a:pt x="117" y="107"/>
                  </a:cubicBezTo>
                  <a:cubicBezTo>
                    <a:pt x="117" y="107"/>
                    <a:pt x="118" y="106"/>
                    <a:pt x="118" y="105"/>
                  </a:cubicBezTo>
                  <a:cubicBezTo>
                    <a:pt x="118" y="105"/>
                    <a:pt x="118" y="105"/>
                    <a:pt x="118" y="105"/>
                  </a:cubicBezTo>
                  <a:cubicBezTo>
                    <a:pt x="119" y="105"/>
                    <a:pt x="119" y="104"/>
                    <a:pt x="119" y="102"/>
                  </a:cubicBezTo>
                  <a:cubicBezTo>
                    <a:pt x="120" y="99"/>
                    <a:pt x="118" y="97"/>
                    <a:pt x="116" y="95"/>
                  </a:cubicBezTo>
                  <a:cubicBezTo>
                    <a:pt x="114" y="94"/>
                    <a:pt x="112" y="93"/>
                    <a:pt x="110" y="93"/>
                  </a:cubicBezTo>
                  <a:cubicBezTo>
                    <a:pt x="109" y="93"/>
                    <a:pt x="108" y="93"/>
                    <a:pt x="107" y="94"/>
                  </a:cubicBezTo>
                  <a:cubicBezTo>
                    <a:pt x="107" y="94"/>
                    <a:pt x="106" y="94"/>
                    <a:pt x="105" y="94"/>
                  </a:cubicBezTo>
                  <a:cubicBezTo>
                    <a:pt x="105" y="94"/>
                    <a:pt x="105" y="94"/>
                    <a:pt x="105" y="94"/>
                  </a:cubicBezTo>
                  <a:cubicBezTo>
                    <a:pt x="105" y="94"/>
                    <a:pt x="105" y="94"/>
                    <a:pt x="105" y="94"/>
                  </a:cubicBezTo>
                  <a:cubicBezTo>
                    <a:pt x="104" y="94"/>
                    <a:pt x="104" y="93"/>
                    <a:pt x="104" y="92"/>
                  </a:cubicBezTo>
                  <a:cubicBezTo>
                    <a:pt x="104" y="92"/>
                    <a:pt x="104" y="92"/>
                    <a:pt x="104" y="92"/>
                  </a:cubicBezTo>
                  <a:cubicBezTo>
                    <a:pt x="102" y="89"/>
                    <a:pt x="100" y="88"/>
                    <a:pt x="98" y="88"/>
                  </a:cubicBezTo>
                  <a:cubicBezTo>
                    <a:pt x="98" y="88"/>
                    <a:pt x="97" y="88"/>
                    <a:pt x="97" y="88"/>
                  </a:cubicBezTo>
                  <a:cubicBezTo>
                    <a:pt x="97" y="87"/>
                    <a:pt x="97" y="86"/>
                    <a:pt x="97" y="84"/>
                  </a:cubicBezTo>
                  <a:cubicBezTo>
                    <a:pt x="97" y="82"/>
                    <a:pt x="97" y="79"/>
                    <a:pt x="95" y="76"/>
                  </a:cubicBezTo>
                  <a:cubicBezTo>
                    <a:pt x="91" y="73"/>
                    <a:pt x="87" y="73"/>
                    <a:pt x="84" y="73"/>
                  </a:cubicBezTo>
                  <a:cubicBezTo>
                    <a:pt x="84" y="73"/>
                    <a:pt x="82" y="73"/>
                    <a:pt x="82" y="73"/>
                  </a:cubicBezTo>
                  <a:cubicBezTo>
                    <a:pt x="82" y="71"/>
                    <a:pt x="82" y="71"/>
                    <a:pt x="81" y="70"/>
                  </a:cubicBezTo>
                  <a:cubicBezTo>
                    <a:pt x="80" y="69"/>
                    <a:pt x="78" y="68"/>
                    <a:pt x="75" y="68"/>
                  </a:cubicBezTo>
                  <a:cubicBezTo>
                    <a:pt x="74" y="68"/>
                    <a:pt x="74" y="68"/>
                    <a:pt x="73" y="68"/>
                  </a:cubicBezTo>
                  <a:cubicBezTo>
                    <a:pt x="73" y="67"/>
                    <a:pt x="73" y="66"/>
                    <a:pt x="73" y="65"/>
                  </a:cubicBezTo>
                  <a:cubicBezTo>
                    <a:pt x="74" y="64"/>
                    <a:pt x="73" y="63"/>
                    <a:pt x="73" y="62"/>
                  </a:cubicBezTo>
                  <a:cubicBezTo>
                    <a:pt x="71" y="60"/>
                    <a:pt x="67" y="59"/>
                    <a:pt x="64" y="59"/>
                  </a:cubicBezTo>
                  <a:cubicBezTo>
                    <a:pt x="63" y="59"/>
                    <a:pt x="63" y="59"/>
                    <a:pt x="62" y="60"/>
                  </a:cubicBezTo>
                  <a:cubicBezTo>
                    <a:pt x="62" y="60"/>
                    <a:pt x="62" y="60"/>
                    <a:pt x="62" y="60"/>
                  </a:cubicBezTo>
                  <a:cubicBezTo>
                    <a:pt x="63" y="58"/>
                    <a:pt x="64" y="55"/>
                    <a:pt x="63" y="52"/>
                  </a:cubicBezTo>
                  <a:cubicBezTo>
                    <a:pt x="61" y="48"/>
                    <a:pt x="56" y="46"/>
                    <a:pt x="52" y="45"/>
                  </a:cubicBezTo>
                  <a:cubicBezTo>
                    <a:pt x="51" y="44"/>
                    <a:pt x="51" y="43"/>
                    <a:pt x="51" y="43"/>
                  </a:cubicBezTo>
                  <a:cubicBezTo>
                    <a:pt x="50" y="40"/>
                    <a:pt x="46" y="39"/>
                    <a:pt x="44" y="38"/>
                  </a:cubicBezTo>
                  <a:cubicBezTo>
                    <a:pt x="42" y="38"/>
                    <a:pt x="40" y="37"/>
                    <a:pt x="38" y="36"/>
                  </a:cubicBezTo>
                  <a:cubicBezTo>
                    <a:pt x="35" y="35"/>
                    <a:pt x="31" y="32"/>
                    <a:pt x="28" y="30"/>
                  </a:cubicBezTo>
                  <a:cubicBezTo>
                    <a:pt x="26" y="29"/>
                    <a:pt x="25" y="27"/>
                    <a:pt x="23" y="25"/>
                  </a:cubicBezTo>
                  <a:cubicBezTo>
                    <a:pt x="22" y="25"/>
                    <a:pt x="22" y="24"/>
                    <a:pt x="21" y="23"/>
                  </a:cubicBezTo>
                  <a:cubicBezTo>
                    <a:pt x="20" y="22"/>
                    <a:pt x="19" y="20"/>
                    <a:pt x="18" y="19"/>
                  </a:cubicBezTo>
                  <a:cubicBezTo>
                    <a:pt x="16" y="18"/>
                    <a:pt x="14" y="16"/>
                    <a:pt x="13" y="14"/>
                  </a:cubicBezTo>
                  <a:cubicBezTo>
                    <a:pt x="12" y="13"/>
                    <a:pt x="12" y="12"/>
                    <a:pt x="12" y="12"/>
                  </a:cubicBezTo>
                  <a:cubicBezTo>
                    <a:pt x="11" y="9"/>
                    <a:pt x="9" y="6"/>
                    <a:pt x="6" y="4"/>
                  </a:cubicBezTo>
                  <a:cubicBezTo>
                    <a:pt x="0" y="0"/>
                    <a:pt x="0" y="0"/>
                    <a:pt x="0" y="0"/>
                  </a:cubicBezTo>
                  <a:cubicBezTo>
                    <a:pt x="2" y="7"/>
                    <a:pt x="2" y="7"/>
                    <a:pt x="2" y="7"/>
                  </a:cubicBezTo>
                  <a:cubicBezTo>
                    <a:pt x="2" y="8"/>
                    <a:pt x="3" y="11"/>
                    <a:pt x="3" y="11"/>
                  </a:cubicBezTo>
                  <a:cubicBezTo>
                    <a:pt x="3" y="14"/>
                    <a:pt x="4" y="17"/>
                    <a:pt x="5" y="20"/>
                  </a:cubicBezTo>
                  <a:cubicBezTo>
                    <a:pt x="6" y="22"/>
                    <a:pt x="6" y="24"/>
                    <a:pt x="7" y="28"/>
                  </a:cubicBezTo>
                  <a:cubicBezTo>
                    <a:pt x="10" y="27"/>
                    <a:pt x="10" y="27"/>
                    <a:pt x="10" y="27"/>
                  </a:cubicBezTo>
                  <a:cubicBezTo>
                    <a:pt x="7" y="28"/>
                    <a:pt x="7" y="28"/>
                    <a:pt x="7" y="28"/>
                  </a:cubicBezTo>
                  <a:cubicBezTo>
                    <a:pt x="9" y="37"/>
                    <a:pt x="10" y="40"/>
                    <a:pt x="11" y="42"/>
                  </a:cubicBezTo>
                  <a:cubicBezTo>
                    <a:pt x="13" y="43"/>
                    <a:pt x="14" y="43"/>
                    <a:pt x="14" y="43"/>
                  </a:cubicBezTo>
                  <a:cubicBezTo>
                    <a:pt x="15" y="43"/>
                    <a:pt x="15" y="43"/>
                    <a:pt x="16" y="43"/>
                  </a:cubicBezTo>
                  <a:cubicBezTo>
                    <a:pt x="16" y="43"/>
                    <a:pt x="17" y="43"/>
                    <a:pt x="17" y="43"/>
                  </a:cubicBezTo>
                  <a:cubicBezTo>
                    <a:pt x="19" y="43"/>
                    <a:pt x="20" y="43"/>
                    <a:pt x="21" y="45"/>
                  </a:cubicBezTo>
                  <a:cubicBezTo>
                    <a:pt x="22" y="46"/>
                    <a:pt x="22" y="48"/>
                    <a:pt x="21" y="50"/>
                  </a:cubicBezTo>
                  <a:cubicBezTo>
                    <a:pt x="21" y="52"/>
                    <a:pt x="20" y="54"/>
                    <a:pt x="21" y="55"/>
                  </a:cubicBezTo>
                  <a:cubicBezTo>
                    <a:pt x="21" y="57"/>
                    <a:pt x="22" y="60"/>
                    <a:pt x="25" y="60"/>
                  </a:cubicBezTo>
                  <a:cubicBezTo>
                    <a:pt x="26" y="60"/>
                    <a:pt x="28" y="59"/>
                    <a:pt x="29" y="59"/>
                  </a:cubicBezTo>
                  <a:cubicBezTo>
                    <a:pt x="31" y="58"/>
                    <a:pt x="33" y="58"/>
                    <a:pt x="35" y="58"/>
                  </a:cubicBezTo>
                  <a:cubicBezTo>
                    <a:pt x="36" y="58"/>
                    <a:pt x="37" y="58"/>
                    <a:pt x="38" y="58"/>
                  </a:cubicBezTo>
                  <a:cubicBezTo>
                    <a:pt x="45" y="61"/>
                    <a:pt x="45" y="67"/>
                    <a:pt x="44" y="76"/>
                  </a:cubicBezTo>
                  <a:cubicBezTo>
                    <a:pt x="43" y="83"/>
                    <a:pt x="42" y="90"/>
                    <a:pt x="49" y="93"/>
                  </a:cubicBezTo>
                  <a:cubicBezTo>
                    <a:pt x="52" y="95"/>
                    <a:pt x="54" y="95"/>
                    <a:pt x="56" y="96"/>
                  </a:cubicBezTo>
                  <a:cubicBezTo>
                    <a:pt x="61" y="96"/>
                    <a:pt x="63" y="97"/>
                    <a:pt x="65" y="105"/>
                  </a:cubicBezTo>
                  <a:cubicBezTo>
                    <a:pt x="65" y="108"/>
                    <a:pt x="65" y="111"/>
                    <a:pt x="65" y="114"/>
                  </a:cubicBezTo>
                  <a:cubicBezTo>
                    <a:pt x="65" y="118"/>
                    <a:pt x="65" y="122"/>
                    <a:pt x="66" y="127"/>
                  </a:cubicBezTo>
                  <a:cubicBezTo>
                    <a:pt x="67" y="129"/>
                    <a:pt x="67" y="132"/>
                    <a:pt x="67" y="136"/>
                  </a:cubicBezTo>
                  <a:cubicBezTo>
                    <a:pt x="68" y="141"/>
                    <a:pt x="68" y="146"/>
                    <a:pt x="70" y="150"/>
                  </a:cubicBezTo>
                  <a:cubicBezTo>
                    <a:pt x="72" y="154"/>
                    <a:pt x="75" y="154"/>
                    <a:pt x="78" y="154"/>
                  </a:cubicBezTo>
                  <a:cubicBezTo>
                    <a:pt x="79" y="155"/>
                    <a:pt x="81" y="155"/>
                    <a:pt x="83" y="156"/>
                  </a:cubicBezTo>
                  <a:cubicBezTo>
                    <a:pt x="85" y="157"/>
                    <a:pt x="86" y="158"/>
                    <a:pt x="87" y="160"/>
                  </a:cubicBezTo>
                  <a:cubicBezTo>
                    <a:pt x="88" y="161"/>
                    <a:pt x="89" y="162"/>
                    <a:pt x="90" y="163"/>
                  </a:cubicBezTo>
                  <a:cubicBezTo>
                    <a:pt x="92" y="165"/>
                    <a:pt x="94" y="166"/>
                    <a:pt x="96" y="167"/>
                  </a:cubicBezTo>
                  <a:cubicBezTo>
                    <a:pt x="100" y="169"/>
                    <a:pt x="104" y="170"/>
                    <a:pt x="104" y="176"/>
                  </a:cubicBezTo>
                  <a:cubicBezTo>
                    <a:pt x="104" y="178"/>
                    <a:pt x="104" y="179"/>
                    <a:pt x="104" y="181"/>
                  </a:cubicBezTo>
                  <a:cubicBezTo>
                    <a:pt x="103" y="183"/>
                    <a:pt x="103" y="185"/>
                    <a:pt x="104" y="188"/>
                  </a:cubicBezTo>
                  <a:cubicBezTo>
                    <a:pt x="105" y="190"/>
                    <a:pt x="106" y="191"/>
                    <a:pt x="107" y="192"/>
                  </a:cubicBezTo>
                  <a:cubicBezTo>
                    <a:pt x="108" y="194"/>
                    <a:pt x="110" y="196"/>
                    <a:pt x="110" y="199"/>
                  </a:cubicBezTo>
                  <a:cubicBezTo>
                    <a:pt x="110" y="205"/>
                    <a:pt x="106" y="207"/>
                    <a:pt x="98" y="207"/>
                  </a:cubicBezTo>
                  <a:cubicBezTo>
                    <a:pt x="94" y="207"/>
                    <a:pt x="94" y="207"/>
                    <a:pt x="94" y="207"/>
                  </a:cubicBezTo>
                  <a:cubicBezTo>
                    <a:pt x="92" y="207"/>
                    <a:pt x="90" y="207"/>
                    <a:pt x="88" y="208"/>
                  </a:cubicBezTo>
                  <a:cubicBezTo>
                    <a:pt x="85" y="209"/>
                    <a:pt x="82" y="210"/>
                    <a:pt x="78" y="211"/>
                  </a:cubicBezTo>
                  <a:cubicBezTo>
                    <a:pt x="73" y="213"/>
                    <a:pt x="68" y="216"/>
                    <a:pt x="62" y="216"/>
                  </a:cubicBezTo>
                  <a:cubicBezTo>
                    <a:pt x="56" y="216"/>
                    <a:pt x="52" y="214"/>
                    <a:pt x="47" y="211"/>
                  </a:cubicBezTo>
                  <a:cubicBezTo>
                    <a:pt x="46" y="211"/>
                    <a:pt x="44" y="210"/>
                    <a:pt x="43" y="210"/>
                  </a:cubicBezTo>
                  <a:cubicBezTo>
                    <a:pt x="38" y="208"/>
                    <a:pt x="38" y="208"/>
                    <a:pt x="38" y="208"/>
                  </a:cubicBezTo>
                  <a:cubicBezTo>
                    <a:pt x="39" y="213"/>
                    <a:pt x="39" y="213"/>
                    <a:pt x="39" y="213"/>
                  </a:cubicBezTo>
                  <a:cubicBezTo>
                    <a:pt x="39" y="215"/>
                    <a:pt x="40" y="221"/>
                    <a:pt x="39" y="222"/>
                  </a:cubicBezTo>
                  <a:cubicBezTo>
                    <a:pt x="38" y="223"/>
                    <a:pt x="37" y="223"/>
                    <a:pt x="36" y="223"/>
                  </a:cubicBezTo>
                  <a:cubicBezTo>
                    <a:pt x="36" y="223"/>
                    <a:pt x="35" y="223"/>
                    <a:pt x="34" y="223"/>
                  </a:cubicBezTo>
                  <a:cubicBezTo>
                    <a:pt x="31" y="228"/>
                    <a:pt x="31" y="228"/>
                    <a:pt x="31" y="228"/>
                  </a:cubicBezTo>
                  <a:cubicBezTo>
                    <a:pt x="33" y="230"/>
                    <a:pt x="34" y="231"/>
                    <a:pt x="34" y="234"/>
                  </a:cubicBezTo>
                  <a:cubicBezTo>
                    <a:pt x="30" y="235"/>
                    <a:pt x="27" y="237"/>
                    <a:pt x="25" y="240"/>
                  </a:cubicBezTo>
                  <a:cubicBezTo>
                    <a:pt x="24" y="241"/>
                    <a:pt x="24" y="241"/>
                    <a:pt x="24" y="241"/>
                  </a:cubicBezTo>
                  <a:cubicBezTo>
                    <a:pt x="24" y="242"/>
                    <a:pt x="24" y="242"/>
                    <a:pt x="24" y="242"/>
                  </a:cubicBezTo>
                  <a:cubicBezTo>
                    <a:pt x="26" y="255"/>
                    <a:pt x="27" y="258"/>
                    <a:pt x="28" y="259"/>
                  </a:cubicBezTo>
                  <a:cubicBezTo>
                    <a:pt x="29" y="260"/>
                    <a:pt x="31" y="261"/>
                    <a:pt x="32" y="261"/>
                  </a:cubicBezTo>
                  <a:cubicBezTo>
                    <a:pt x="34" y="262"/>
                    <a:pt x="35" y="262"/>
                    <a:pt x="36" y="263"/>
                  </a:cubicBezTo>
                  <a:cubicBezTo>
                    <a:pt x="37" y="265"/>
                    <a:pt x="37" y="266"/>
                    <a:pt x="37" y="268"/>
                  </a:cubicBezTo>
                  <a:cubicBezTo>
                    <a:pt x="37" y="269"/>
                    <a:pt x="38" y="271"/>
                    <a:pt x="38" y="272"/>
                  </a:cubicBezTo>
                  <a:cubicBezTo>
                    <a:pt x="41" y="275"/>
                    <a:pt x="44" y="275"/>
                    <a:pt x="47" y="275"/>
                  </a:cubicBezTo>
                  <a:cubicBezTo>
                    <a:pt x="49" y="275"/>
                    <a:pt x="51" y="276"/>
                    <a:pt x="53" y="277"/>
                  </a:cubicBezTo>
                  <a:cubicBezTo>
                    <a:pt x="57" y="279"/>
                    <a:pt x="58" y="282"/>
                    <a:pt x="58" y="286"/>
                  </a:cubicBezTo>
                  <a:cubicBezTo>
                    <a:pt x="59" y="287"/>
                    <a:pt x="59" y="289"/>
                    <a:pt x="59" y="290"/>
                  </a:cubicBezTo>
                  <a:cubicBezTo>
                    <a:pt x="59" y="290"/>
                    <a:pt x="59" y="290"/>
                    <a:pt x="59" y="290"/>
                  </a:cubicBezTo>
                  <a:cubicBezTo>
                    <a:pt x="61" y="298"/>
                    <a:pt x="63" y="300"/>
                    <a:pt x="64" y="301"/>
                  </a:cubicBezTo>
                  <a:cubicBezTo>
                    <a:pt x="67" y="303"/>
                    <a:pt x="67" y="303"/>
                    <a:pt x="67" y="303"/>
                  </a:cubicBezTo>
                  <a:cubicBezTo>
                    <a:pt x="68" y="299"/>
                    <a:pt x="68" y="299"/>
                    <a:pt x="68" y="299"/>
                  </a:cubicBezTo>
                  <a:cubicBezTo>
                    <a:pt x="69" y="299"/>
                    <a:pt x="69" y="298"/>
                    <a:pt x="69" y="297"/>
                  </a:cubicBezTo>
                  <a:cubicBezTo>
                    <a:pt x="70" y="294"/>
                    <a:pt x="71" y="293"/>
                    <a:pt x="72" y="292"/>
                  </a:cubicBezTo>
                  <a:cubicBezTo>
                    <a:pt x="72" y="292"/>
                    <a:pt x="72" y="292"/>
                    <a:pt x="72" y="292"/>
                  </a:cubicBezTo>
                  <a:cubicBezTo>
                    <a:pt x="74" y="292"/>
                    <a:pt x="75" y="294"/>
                    <a:pt x="76" y="294"/>
                  </a:cubicBezTo>
                  <a:cubicBezTo>
                    <a:pt x="77" y="295"/>
                    <a:pt x="78" y="299"/>
                    <a:pt x="79" y="303"/>
                  </a:cubicBezTo>
                  <a:cubicBezTo>
                    <a:pt x="79" y="306"/>
                    <a:pt x="80" y="309"/>
                    <a:pt x="81" y="310"/>
                  </a:cubicBezTo>
                  <a:cubicBezTo>
                    <a:pt x="81" y="311"/>
                    <a:pt x="81" y="311"/>
                    <a:pt x="81" y="311"/>
                  </a:cubicBezTo>
                  <a:cubicBezTo>
                    <a:pt x="84" y="316"/>
                    <a:pt x="85" y="316"/>
                    <a:pt x="90" y="316"/>
                  </a:cubicBezTo>
                  <a:cubicBezTo>
                    <a:pt x="92" y="316"/>
                    <a:pt x="92" y="316"/>
                    <a:pt x="92" y="316"/>
                  </a:cubicBezTo>
                  <a:cubicBezTo>
                    <a:pt x="93" y="316"/>
                    <a:pt x="94" y="316"/>
                    <a:pt x="95" y="316"/>
                  </a:cubicBezTo>
                  <a:cubicBezTo>
                    <a:pt x="99" y="316"/>
                    <a:pt x="101" y="315"/>
                    <a:pt x="105" y="313"/>
                  </a:cubicBezTo>
                  <a:cubicBezTo>
                    <a:pt x="107" y="312"/>
                    <a:pt x="107" y="312"/>
                    <a:pt x="107" y="312"/>
                  </a:cubicBezTo>
                  <a:cubicBezTo>
                    <a:pt x="109" y="310"/>
                    <a:pt x="111" y="309"/>
                    <a:pt x="113" y="309"/>
                  </a:cubicBezTo>
                  <a:cubicBezTo>
                    <a:pt x="114" y="309"/>
                    <a:pt x="116" y="310"/>
                    <a:pt x="119" y="311"/>
                  </a:cubicBezTo>
                  <a:cubicBezTo>
                    <a:pt x="119" y="312"/>
                    <a:pt x="119" y="312"/>
                    <a:pt x="119" y="312"/>
                  </a:cubicBezTo>
                  <a:cubicBezTo>
                    <a:pt x="124" y="316"/>
                    <a:pt x="128" y="319"/>
                    <a:pt x="130" y="320"/>
                  </a:cubicBezTo>
                  <a:cubicBezTo>
                    <a:pt x="135" y="322"/>
                    <a:pt x="135" y="322"/>
                    <a:pt x="135" y="322"/>
                  </a:cubicBezTo>
                  <a:cubicBezTo>
                    <a:pt x="135" y="315"/>
                    <a:pt x="135" y="315"/>
                    <a:pt x="135" y="315"/>
                  </a:cubicBezTo>
                  <a:cubicBezTo>
                    <a:pt x="136" y="308"/>
                    <a:pt x="136" y="300"/>
                    <a:pt x="134" y="294"/>
                  </a:cubicBezTo>
                  <a:cubicBezTo>
                    <a:pt x="132" y="291"/>
                    <a:pt x="130" y="289"/>
                    <a:pt x="128" y="286"/>
                  </a:cubicBezTo>
                  <a:cubicBezTo>
                    <a:pt x="126" y="283"/>
                    <a:pt x="123" y="280"/>
                    <a:pt x="123" y="275"/>
                  </a:cubicBezTo>
                  <a:cubicBezTo>
                    <a:pt x="123" y="270"/>
                    <a:pt x="125" y="264"/>
                    <a:pt x="129" y="263"/>
                  </a:cubicBezTo>
                  <a:cubicBezTo>
                    <a:pt x="130" y="263"/>
                    <a:pt x="130" y="263"/>
                    <a:pt x="131" y="263"/>
                  </a:cubicBezTo>
                  <a:cubicBezTo>
                    <a:pt x="133" y="263"/>
                    <a:pt x="135" y="264"/>
                    <a:pt x="137" y="267"/>
                  </a:cubicBezTo>
                  <a:cubicBezTo>
                    <a:pt x="140" y="271"/>
                    <a:pt x="139" y="274"/>
                    <a:pt x="139" y="278"/>
                  </a:cubicBezTo>
                  <a:cubicBezTo>
                    <a:pt x="138" y="282"/>
                    <a:pt x="138" y="286"/>
                    <a:pt x="142" y="291"/>
                  </a:cubicBezTo>
                  <a:cubicBezTo>
                    <a:pt x="146" y="295"/>
                    <a:pt x="149" y="297"/>
                    <a:pt x="154" y="297"/>
                  </a:cubicBezTo>
                  <a:cubicBezTo>
                    <a:pt x="156" y="297"/>
                    <a:pt x="158" y="297"/>
                    <a:pt x="161" y="296"/>
                  </a:cubicBezTo>
                  <a:cubicBezTo>
                    <a:pt x="165" y="293"/>
                    <a:pt x="170" y="291"/>
                    <a:pt x="174" y="289"/>
                  </a:cubicBezTo>
                  <a:cubicBezTo>
                    <a:pt x="201" y="275"/>
                    <a:pt x="228" y="262"/>
                    <a:pt x="253" y="249"/>
                  </a:cubicBezTo>
                  <a:cubicBezTo>
                    <a:pt x="266" y="242"/>
                    <a:pt x="279" y="236"/>
                    <a:pt x="292" y="229"/>
                  </a:cubicBezTo>
                  <a:cubicBezTo>
                    <a:pt x="302" y="249"/>
                    <a:pt x="302" y="249"/>
                    <a:pt x="302" y="249"/>
                  </a:cubicBezTo>
                  <a:cubicBezTo>
                    <a:pt x="305" y="246"/>
                    <a:pt x="305" y="246"/>
                    <a:pt x="305" y="246"/>
                  </a:cubicBezTo>
                  <a:cubicBezTo>
                    <a:pt x="307" y="244"/>
                    <a:pt x="309" y="242"/>
                    <a:pt x="310" y="240"/>
                  </a:cubicBezTo>
                  <a:cubicBezTo>
                    <a:pt x="313" y="232"/>
                    <a:pt x="316" y="225"/>
                    <a:pt x="318" y="219"/>
                  </a:cubicBezTo>
                  <a:cubicBezTo>
                    <a:pt x="319" y="215"/>
                    <a:pt x="320" y="211"/>
                    <a:pt x="320" y="207"/>
                  </a:cubicBezTo>
                  <a:close/>
                  <a:moveTo>
                    <a:pt x="201" y="212"/>
                  </a:moveTo>
                  <a:cubicBezTo>
                    <a:pt x="201" y="206"/>
                    <a:pt x="201" y="202"/>
                    <a:pt x="204" y="198"/>
                  </a:cubicBezTo>
                  <a:cubicBezTo>
                    <a:pt x="205" y="197"/>
                    <a:pt x="207" y="196"/>
                    <a:pt x="208" y="195"/>
                  </a:cubicBezTo>
                  <a:cubicBezTo>
                    <a:pt x="208" y="194"/>
                    <a:pt x="209" y="193"/>
                    <a:pt x="210" y="192"/>
                  </a:cubicBezTo>
                  <a:cubicBezTo>
                    <a:pt x="211" y="191"/>
                    <a:pt x="213" y="189"/>
                    <a:pt x="214" y="187"/>
                  </a:cubicBezTo>
                  <a:cubicBezTo>
                    <a:pt x="214" y="188"/>
                    <a:pt x="214" y="188"/>
                    <a:pt x="214" y="189"/>
                  </a:cubicBezTo>
                  <a:cubicBezTo>
                    <a:pt x="214" y="190"/>
                    <a:pt x="214" y="191"/>
                    <a:pt x="214" y="192"/>
                  </a:cubicBezTo>
                  <a:cubicBezTo>
                    <a:pt x="213" y="195"/>
                    <a:pt x="212" y="197"/>
                    <a:pt x="209" y="199"/>
                  </a:cubicBezTo>
                  <a:cubicBezTo>
                    <a:pt x="208" y="200"/>
                    <a:pt x="207" y="200"/>
                    <a:pt x="206" y="202"/>
                  </a:cubicBezTo>
                  <a:cubicBezTo>
                    <a:pt x="203" y="205"/>
                    <a:pt x="203" y="209"/>
                    <a:pt x="202" y="212"/>
                  </a:cubicBezTo>
                  <a:cubicBezTo>
                    <a:pt x="202" y="214"/>
                    <a:pt x="202" y="215"/>
                    <a:pt x="201" y="216"/>
                  </a:cubicBezTo>
                  <a:cubicBezTo>
                    <a:pt x="201" y="216"/>
                    <a:pt x="201" y="215"/>
                    <a:pt x="201" y="214"/>
                  </a:cubicBezTo>
                  <a:cubicBezTo>
                    <a:pt x="201" y="213"/>
                    <a:pt x="201" y="213"/>
                    <a:pt x="201" y="21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1" name="Freeform 150">
              <a:extLst>
                <a:ext uri="{FF2B5EF4-FFF2-40B4-BE49-F238E27FC236}">
                  <a16:creationId xmlns:a16="http://schemas.microsoft.com/office/drawing/2014/main" id="{B284D59A-6E0A-C34C-9093-0347F84AF589}"/>
                </a:ext>
              </a:extLst>
            </p:cNvPr>
            <p:cNvSpPr>
              <a:spLocks/>
            </p:cNvSpPr>
            <p:nvPr/>
          </p:nvSpPr>
          <p:spPr bwMode="auto">
            <a:xfrm>
              <a:off x="20434619" y="5811885"/>
              <a:ext cx="55397" cy="59730"/>
            </a:xfrm>
            <a:custGeom>
              <a:avLst/>
              <a:gdLst>
                <a:gd name="T0" fmla="*/ 9 w 10"/>
                <a:gd name="T1" fmla="*/ 4 h 12"/>
                <a:gd name="T2" fmla="*/ 7 w 10"/>
                <a:gd name="T3" fmla="*/ 3 h 12"/>
                <a:gd name="T4" fmla="*/ 7 w 10"/>
                <a:gd name="T5" fmla="*/ 0 h 12"/>
                <a:gd name="T6" fmla="*/ 0 w 10"/>
                <a:gd name="T7" fmla="*/ 7 h 12"/>
                <a:gd name="T8" fmla="*/ 1 w 10"/>
                <a:gd name="T9" fmla="*/ 11 h 12"/>
                <a:gd name="T10" fmla="*/ 5 w 10"/>
                <a:gd name="T11" fmla="*/ 12 h 12"/>
                <a:gd name="T12" fmla="*/ 5 w 10"/>
                <a:gd name="T13" fmla="*/ 9 h 12"/>
                <a:gd name="T14" fmla="*/ 5 w 10"/>
                <a:gd name="T15" fmla="*/ 9 h 12"/>
                <a:gd name="T16" fmla="*/ 9 w 10"/>
                <a:gd name="T17"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9" y="4"/>
                  </a:moveTo>
                  <a:cubicBezTo>
                    <a:pt x="9" y="3"/>
                    <a:pt x="8" y="3"/>
                    <a:pt x="7" y="3"/>
                  </a:cubicBezTo>
                  <a:cubicBezTo>
                    <a:pt x="7" y="0"/>
                    <a:pt x="7" y="0"/>
                    <a:pt x="7" y="0"/>
                  </a:cubicBezTo>
                  <a:cubicBezTo>
                    <a:pt x="4" y="0"/>
                    <a:pt x="0" y="4"/>
                    <a:pt x="0" y="7"/>
                  </a:cubicBezTo>
                  <a:cubicBezTo>
                    <a:pt x="0" y="9"/>
                    <a:pt x="0" y="10"/>
                    <a:pt x="1" y="11"/>
                  </a:cubicBezTo>
                  <a:cubicBezTo>
                    <a:pt x="2" y="11"/>
                    <a:pt x="4" y="12"/>
                    <a:pt x="5" y="12"/>
                  </a:cubicBezTo>
                  <a:cubicBezTo>
                    <a:pt x="5" y="9"/>
                    <a:pt x="5" y="9"/>
                    <a:pt x="5" y="9"/>
                  </a:cubicBezTo>
                  <a:cubicBezTo>
                    <a:pt x="5" y="9"/>
                    <a:pt x="5" y="9"/>
                    <a:pt x="5" y="9"/>
                  </a:cubicBezTo>
                  <a:cubicBezTo>
                    <a:pt x="8" y="9"/>
                    <a:pt x="10" y="7"/>
                    <a:pt x="9" y="4"/>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2" name="Freeform 151">
              <a:extLst>
                <a:ext uri="{FF2B5EF4-FFF2-40B4-BE49-F238E27FC236}">
                  <a16:creationId xmlns:a16="http://schemas.microsoft.com/office/drawing/2014/main" id="{02053379-B010-A442-AE40-8DDABC9C50DD}"/>
                </a:ext>
              </a:extLst>
            </p:cNvPr>
            <p:cNvSpPr>
              <a:spLocks/>
            </p:cNvSpPr>
            <p:nvPr/>
          </p:nvSpPr>
          <p:spPr bwMode="auto">
            <a:xfrm>
              <a:off x="22685388" y="7532862"/>
              <a:ext cx="92329" cy="83996"/>
            </a:xfrm>
            <a:custGeom>
              <a:avLst/>
              <a:gdLst>
                <a:gd name="T0" fmla="*/ 13 w 17"/>
                <a:gd name="T1" fmla="*/ 0 h 17"/>
                <a:gd name="T2" fmla="*/ 10 w 17"/>
                <a:gd name="T3" fmla="*/ 1 h 17"/>
                <a:gd name="T4" fmla="*/ 2 w 17"/>
                <a:gd name="T5" fmla="*/ 10 h 17"/>
                <a:gd name="T6" fmla="*/ 1 w 17"/>
                <a:gd name="T7" fmla="*/ 16 h 17"/>
                <a:gd name="T8" fmla="*/ 4 w 17"/>
                <a:gd name="T9" fmla="*/ 17 h 17"/>
                <a:gd name="T10" fmla="*/ 8 w 17"/>
                <a:gd name="T11" fmla="*/ 16 h 17"/>
                <a:gd name="T12" fmla="*/ 11 w 17"/>
                <a:gd name="T13" fmla="*/ 11 h 17"/>
                <a:gd name="T14" fmla="*/ 12 w 17"/>
                <a:gd name="T15" fmla="*/ 10 h 17"/>
                <a:gd name="T16" fmla="*/ 12 w 17"/>
                <a:gd name="T17" fmla="*/ 10 h 17"/>
                <a:gd name="T18" fmla="*/ 17 w 17"/>
                <a:gd name="T19" fmla="*/ 4 h 17"/>
                <a:gd name="T20" fmla="*/ 13 w 17"/>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7">
                  <a:moveTo>
                    <a:pt x="13" y="0"/>
                  </a:moveTo>
                  <a:cubicBezTo>
                    <a:pt x="12" y="0"/>
                    <a:pt x="11" y="1"/>
                    <a:pt x="10" y="1"/>
                  </a:cubicBezTo>
                  <a:cubicBezTo>
                    <a:pt x="7" y="3"/>
                    <a:pt x="3" y="7"/>
                    <a:pt x="2" y="10"/>
                  </a:cubicBezTo>
                  <a:cubicBezTo>
                    <a:pt x="0" y="12"/>
                    <a:pt x="0" y="14"/>
                    <a:pt x="1" y="16"/>
                  </a:cubicBezTo>
                  <a:cubicBezTo>
                    <a:pt x="2" y="17"/>
                    <a:pt x="3" y="17"/>
                    <a:pt x="4" y="17"/>
                  </a:cubicBezTo>
                  <a:cubicBezTo>
                    <a:pt x="6" y="17"/>
                    <a:pt x="7" y="17"/>
                    <a:pt x="8" y="16"/>
                  </a:cubicBezTo>
                  <a:cubicBezTo>
                    <a:pt x="10" y="15"/>
                    <a:pt x="11" y="13"/>
                    <a:pt x="11" y="11"/>
                  </a:cubicBezTo>
                  <a:cubicBezTo>
                    <a:pt x="12" y="11"/>
                    <a:pt x="12" y="10"/>
                    <a:pt x="12" y="10"/>
                  </a:cubicBezTo>
                  <a:cubicBezTo>
                    <a:pt x="12" y="10"/>
                    <a:pt x="12" y="10"/>
                    <a:pt x="12" y="10"/>
                  </a:cubicBezTo>
                  <a:cubicBezTo>
                    <a:pt x="16" y="9"/>
                    <a:pt x="17" y="7"/>
                    <a:pt x="17" y="4"/>
                  </a:cubicBezTo>
                  <a:cubicBezTo>
                    <a:pt x="17" y="0"/>
                    <a:pt x="14" y="0"/>
                    <a:pt x="13"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3" name="Freeform 152">
              <a:extLst>
                <a:ext uri="{FF2B5EF4-FFF2-40B4-BE49-F238E27FC236}">
                  <a16:creationId xmlns:a16="http://schemas.microsoft.com/office/drawing/2014/main" id="{1A713556-06A2-B546-9236-997DE3BE2A7E}"/>
                </a:ext>
              </a:extLst>
            </p:cNvPr>
            <p:cNvSpPr>
              <a:spLocks/>
            </p:cNvSpPr>
            <p:nvPr/>
          </p:nvSpPr>
          <p:spPr bwMode="auto">
            <a:xfrm>
              <a:off x="22767458" y="7493664"/>
              <a:ext cx="69759" cy="54131"/>
            </a:xfrm>
            <a:custGeom>
              <a:avLst/>
              <a:gdLst>
                <a:gd name="T0" fmla="*/ 12 w 13"/>
                <a:gd name="T1" fmla="*/ 2 h 11"/>
                <a:gd name="T2" fmla="*/ 7 w 13"/>
                <a:gd name="T3" fmla="*/ 0 h 11"/>
                <a:gd name="T4" fmla="*/ 0 w 13"/>
                <a:gd name="T5" fmla="*/ 4 h 11"/>
                <a:gd name="T6" fmla="*/ 1 w 13"/>
                <a:gd name="T7" fmla="*/ 9 h 11"/>
                <a:gd name="T8" fmla="*/ 6 w 13"/>
                <a:gd name="T9" fmla="*/ 11 h 11"/>
                <a:gd name="T10" fmla="*/ 6 w 13"/>
                <a:gd name="T11" fmla="*/ 11 h 11"/>
                <a:gd name="T12" fmla="*/ 13 w 13"/>
                <a:gd name="T13" fmla="*/ 5 h 11"/>
                <a:gd name="T14" fmla="*/ 12 w 13"/>
                <a:gd name="T15" fmla="*/ 2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1">
                  <a:moveTo>
                    <a:pt x="12" y="2"/>
                  </a:moveTo>
                  <a:cubicBezTo>
                    <a:pt x="11" y="1"/>
                    <a:pt x="10" y="0"/>
                    <a:pt x="7" y="0"/>
                  </a:cubicBezTo>
                  <a:cubicBezTo>
                    <a:pt x="5" y="0"/>
                    <a:pt x="1" y="1"/>
                    <a:pt x="0" y="4"/>
                  </a:cubicBezTo>
                  <a:cubicBezTo>
                    <a:pt x="0" y="5"/>
                    <a:pt x="0" y="7"/>
                    <a:pt x="1" y="9"/>
                  </a:cubicBezTo>
                  <a:cubicBezTo>
                    <a:pt x="2" y="10"/>
                    <a:pt x="4" y="11"/>
                    <a:pt x="6" y="11"/>
                  </a:cubicBezTo>
                  <a:cubicBezTo>
                    <a:pt x="6" y="11"/>
                    <a:pt x="6" y="11"/>
                    <a:pt x="6" y="11"/>
                  </a:cubicBezTo>
                  <a:cubicBezTo>
                    <a:pt x="9" y="10"/>
                    <a:pt x="12" y="8"/>
                    <a:pt x="13" y="5"/>
                  </a:cubicBezTo>
                  <a:cubicBezTo>
                    <a:pt x="13" y="4"/>
                    <a:pt x="13" y="3"/>
                    <a:pt x="12"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4" name="Freeform 153">
              <a:extLst>
                <a:ext uri="{FF2B5EF4-FFF2-40B4-BE49-F238E27FC236}">
                  <a16:creationId xmlns:a16="http://schemas.microsoft.com/office/drawing/2014/main" id="{89D8256D-E0FB-614B-9E67-0F132058AD7F}"/>
                </a:ext>
              </a:extLst>
            </p:cNvPr>
            <p:cNvSpPr>
              <a:spLocks/>
            </p:cNvSpPr>
            <p:nvPr/>
          </p:nvSpPr>
          <p:spPr bwMode="auto">
            <a:xfrm>
              <a:off x="20440775" y="5936945"/>
              <a:ext cx="125157" cy="117594"/>
            </a:xfrm>
            <a:custGeom>
              <a:avLst/>
              <a:gdLst>
                <a:gd name="T0" fmla="*/ 22 w 23"/>
                <a:gd name="T1" fmla="*/ 15 h 24"/>
                <a:gd name="T2" fmla="*/ 18 w 23"/>
                <a:gd name="T3" fmla="*/ 9 h 24"/>
                <a:gd name="T4" fmla="*/ 14 w 23"/>
                <a:gd name="T5" fmla="*/ 8 h 24"/>
                <a:gd name="T6" fmla="*/ 14 w 23"/>
                <a:gd name="T7" fmla="*/ 8 h 24"/>
                <a:gd name="T8" fmla="*/ 13 w 23"/>
                <a:gd name="T9" fmla="*/ 8 h 24"/>
                <a:gd name="T10" fmla="*/ 13 w 23"/>
                <a:gd name="T11" fmla="*/ 6 h 24"/>
                <a:gd name="T12" fmla="*/ 11 w 23"/>
                <a:gd name="T13" fmla="*/ 3 h 24"/>
                <a:gd name="T14" fmla="*/ 6 w 23"/>
                <a:gd name="T15" fmla="*/ 0 h 24"/>
                <a:gd name="T16" fmla="*/ 2 w 23"/>
                <a:gd name="T17" fmla="*/ 2 h 24"/>
                <a:gd name="T18" fmla="*/ 0 w 23"/>
                <a:gd name="T19" fmla="*/ 6 h 24"/>
                <a:gd name="T20" fmla="*/ 4 w 23"/>
                <a:gd name="T21" fmla="*/ 11 h 24"/>
                <a:gd name="T22" fmla="*/ 4 w 23"/>
                <a:gd name="T23" fmla="*/ 11 h 24"/>
                <a:gd name="T24" fmla="*/ 1 w 23"/>
                <a:gd name="T25" fmla="*/ 17 h 24"/>
                <a:gd name="T26" fmla="*/ 2 w 23"/>
                <a:gd name="T27" fmla="*/ 21 h 24"/>
                <a:gd name="T28" fmla="*/ 7 w 23"/>
                <a:gd name="T29" fmla="*/ 23 h 24"/>
                <a:gd name="T30" fmla="*/ 9 w 23"/>
                <a:gd name="T31" fmla="*/ 23 h 24"/>
                <a:gd name="T32" fmla="*/ 12 w 23"/>
                <a:gd name="T33" fmla="*/ 23 h 24"/>
                <a:gd name="T34" fmla="*/ 15 w 23"/>
                <a:gd name="T35" fmla="*/ 24 h 24"/>
                <a:gd name="T36" fmla="*/ 15 w 23"/>
                <a:gd name="T37" fmla="*/ 24 h 24"/>
                <a:gd name="T38" fmla="*/ 21 w 23"/>
                <a:gd name="T39" fmla="*/ 21 h 24"/>
                <a:gd name="T40" fmla="*/ 22 w 23"/>
                <a:gd name="T41"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4">
                  <a:moveTo>
                    <a:pt x="22" y="15"/>
                  </a:moveTo>
                  <a:cubicBezTo>
                    <a:pt x="22" y="12"/>
                    <a:pt x="20" y="10"/>
                    <a:pt x="18" y="9"/>
                  </a:cubicBezTo>
                  <a:cubicBezTo>
                    <a:pt x="17" y="8"/>
                    <a:pt x="15" y="8"/>
                    <a:pt x="14" y="8"/>
                  </a:cubicBezTo>
                  <a:cubicBezTo>
                    <a:pt x="14" y="8"/>
                    <a:pt x="14" y="8"/>
                    <a:pt x="14" y="8"/>
                  </a:cubicBezTo>
                  <a:cubicBezTo>
                    <a:pt x="14" y="8"/>
                    <a:pt x="13" y="8"/>
                    <a:pt x="13" y="8"/>
                  </a:cubicBezTo>
                  <a:cubicBezTo>
                    <a:pt x="13" y="7"/>
                    <a:pt x="13" y="7"/>
                    <a:pt x="13" y="6"/>
                  </a:cubicBezTo>
                  <a:cubicBezTo>
                    <a:pt x="13" y="5"/>
                    <a:pt x="12" y="4"/>
                    <a:pt x="11" y="3"/>
                  </a:cubicBezTo>
                  <a:cubicBezTo>
                    <a:pt x="10" y="1"/>
                    <a:pt x="8" y="0"/>
                    <a:pt x="6" y="0"/>
                  </a:cubicBezTo>
                  <a:cubicBezTo>
                    <a:pt x="5" y="0"/>
                    <a:pt x="3" y="0"/>
                    <a:pt x="2" y="2"/>
                  </a:cubicBezTo>
                  <a:cubicBezTo>
                    <a:pt x="0" y="3"/>
                    <a:pt x="0" y="5"/>
                    <a:pt x="0" y="6"/>
                  </a:cubicBezTo>
                  <a:cubicBezTo>
                    <a:pt x="0" y="8"/>
                    <a:pt x="2" y="10"/>
                    <a:pt x="4" y="11"/>
                  </a:cubicBezTo>
                  <a:cubicBezTo>
                    <a:pt x="4" y="11"/>
                    <a:pt x="4" y="11"/>
                    <a:pt x="4" y="11"/>
                  </a:cubicBezTo>
                  <a:cubicBezTo>
                    <a:pt x="2" y="12"/>
                    <a:pt x="1" y="14"/>
                    <a:pt x="1" y="17"/>
                  </a:cubicBezTo>
                  <a:cubicBezTo>
                    <a:pt x="1" y="19"/>
                    <a:pt x="1" y="20"/>
                    <a:pt x="2" y="21"/>
                  </a:cubicBezTo>
                  <a:cubicBezTo>
                    <a:pt x="4" y="23"/>
                    <a:pt x="6" y="23"/>
                    <a:pt x="7" y="23"/>
                  </a:cubicBezTo>
                  <a:cubicBezTo>
                    <a:pt x="7" y="23"/>
                    <a:pt x="9" y="23"/>
                    <a:pt x="9" y="23"/>
                  </a:cubicBezTo>
                  <a:cubicBezTo>
                    <a:pt x="10" y="23"/>
                    <a:pt x="11" y="23"/>
                    <a:pt x="12" y="23"/>
                  </a:cubicBezTo>
                  <a:cubicBezTo>
                    <a:pt x="13" y="24"/>
                    <a:pt x="14" y="24"/>
                    <a:pt x="15" y="24"/>
                  </a:cubicBezTo>
                  <a:cubicBezTo>
                    <a:pt x="15" y="24"/>
                    <a:pt x="15" y="24"/>
                    <a:pt x="15" y="24"/>
                  </a:cubicBezTo>
                  <a:cubicBezTo>
                    <a:pt x="18" y="24"/>
                    <a:pt x="20" y="23"/>
                    <a:pt x="21" y="21"/>
                  </a:cubicBezTo>
                  <a:cubicBezTo>
                    <a:pt x="22" y="19"/>
                    <a:pt x="23" y="17"/>
                    <a:pt x="22" y="15"/>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5" name="Freeform 154">
              <a:extLst>
                <a:ext uri="{FF2B5EF4-FFF2-40B4-BE49-F238E27FC236}">
                  <a16:creationId xmlns:a16="http://schemas.microsoft.com/office/drawing/2014/main" id="{7A5E0E1B-ED81-4843-8AD9-44D4B9C80FCA}"/>
                </a:ext>
              </a:extLst>
            </p:cNvPr>
            <p:cNvSpPr>
              <a:spLocks/>
            </p:cNvSpPr>
            <p:nvPr/>
          </p:nvSpPr>
          <p:spPr bwMode="auto">
            <a:xfrm>
              <a:off x="22277090" y="7964040"/>
              <a:ext cx="86173" cy="89595"/>
            </a:xfrm>
            <a:custGeom>
              <a:avLst/>
              <a:gdLst>
                <a:gd name="T0" fmla="*/ 14 w 16"/>
                <a:gd name="T1" fmla="*/ 3 h 18"/>
                <a:gd name="T2" fmla="*/ 10 w 16"/>
                <a:gd name="T3" fmla="*/ 0 h 18"/>
                <a:gd name="T4" fmla="*/ 7 w 16"/>
                <a:gd name="T5" fmla="*/ 1 h 18"/>
                <a:gd name="T6" fmla="*/ 1 w 16"/>
                <a:gd name="T7" fmla="*/ 10 h 18"/>
                <a:gd name="T8" fmla="*/ 2 w 16"/>
                <a:gd name="T9" fmla="*/ 16 h 18"/>
                <a:gd name="T10" fmla="*/ 6 w 16"/>
                <a:gd name="T11" fmla="*/ 18 h 18"/>
                <a:gd name="T12" fmla="*/ 9 w 16"/>
                <a:gd name="T13" fmla="*/ 16 h 18"/>
                <a:gd name="T14" fmla="*/ 15 w 16"/>
                <a:gd name="T15" fmla="*/ 9 h 18"/>
                <a:gd name="T16" fmla="*/ 14 w 16"/>
                <a:gd name="T1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8">
                  <a:moveTo>
                    <a:pt x="14" y="3"/>
                  </a:moveTo>
                  <a:cubicBezTo>
                    <a:pt x="13" y="1"/>
                    <a:pt x="11" y="0"/>
                    <a:pt x="10" y="0"/>
                  </a:cubicBezTo>
                  <a:cubicBezTo>
                    <a:pt x="9" y="0"/>
                    <a:pt x="8" y="1"/>
                    <a:pt x="7" y="1"/>
                  </a:cubicBezTo>
                  <a:cubicBezTo>
                    <a:pt x="4" y="2"/>
                    <a:pt x="1" y="8"/>
                    <a:pt x="1" y="10"/>
                  </a:cubicBezTo>
                  <a:cubicBezTo>
                    <a:pt x="0" y="12"/>
                    <a:pt x="1" y="15"/>
                    <a:pt x="2" y="16"/>
                  </a:cubicBezTo>
                  <a:cubicBezTo>
                    <a:pt x="3" y="17"/>
                    <a:pt x="4" y="18"/>
                    <a:pt x="6" y="18"/>
                  </a:cubicBezTo>
                  <a:cubicBezTo>
                    <a:pt x="7" y="18"/>
                    <a:pt x="8" y="17"/>
                    <a:pt x="9" y="16"/>
                  </a:cubicBezTo>
                  <a:cubicBezTo>
                    <a:pt x="12" y="15"/>
                    <a:pt x="14" y="12"/>
                    <a:pt x="15" y="9"/>
                  </a:cubicBezTo>
                  <a:cubicBezTo>
                    <a:pt x="16" y="7"/>
                    <a:pt x="16" y="5"/>
                    <a:pt x="14" y="3"/>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6" name="Freeform 155">
              <a:extLst>
                <a:ext uri="{FF2B5EF4-FFF2-40B4-BE49-F238E27FC236}">
                  <a16:creationId xmlns:a16="http://schemas.microsoft.com/office/drawing/2014/main" id="{6A5638C8-CDE1-C340-9E9C-F54CDF3CDE2B}"/>
                </a:ext>
              </a:extLst>
            </p:cNvPr>
            <p:cNvSpPr>
              <a:spLocks/>
            </p:cNvSpPr>
            <p:nvPr/>
          </p:nvSpPr>
          <p:spPr bwMode="auto">
            <a:xfrm>
              <a:off x="19519539" y="6039607"/>
              <a:ext cx="92329" cy="50397"/>
            </a:xfrm>
            <a:custGeom>
              <a:avLst/>
              <a:gdLst>
                <a:gd name="T0" fmla="*/ 16 w 17"/>
                <a:gd name="T1" fmla="*/ 2 h 10"/>
                <a:gd name="T2" fmla="*/ 13 w 17"/>
                <a:gd name="T3" fmla="*/ 1 h 10"/>
                <a:gd name="T4" fmla="*/ 10 w 17"/>
                <a:gd name="T5" fmla="*/ 1 h 10"/>
                <a:gd name="T6" fmla="*/ 10 w 17"/>
                <a:gd name="T7" fmla="*/ 2 h 10"/>
                <a:gd name="T8" fmla="*/ 9 w 17"/>
                <a:gd name="T9" fmla="*/ 1 h 10"/>
                <a:gd name="T10" fmla="*/ 5 w 17"/>
                <a:gd name="T11" fmla="*/ 0 h 10"/>
                <a:gd name="T12" fmla="*/ 4 w 17"/>
                <a:gd name="T13" fmla="*/ 0 h 10"/>
                <a:gd name="T14" fmla="*/ 0 w 17"/>
                <a:gd name="T15" fmla="*/ 3 h 10"/>
                <a:gd name="T16" fmla="*/ 1 w 17"/>
                <a:gd name="T17" fmla="*/ 8 h 10"/>
                <a:gd name="T18" fmla="*/ 6 w 17"/>
                <a:gd name="T19" fmla="*/ 10 h 10"/>
                <a:gd name="T20" fmla="*/ 6 w 17"/>
                <a:gd name="T21" fmla="*/ 10 h 10"/>
                <a:gd name="T22" fmla="*/ 7 w 17"/>
                <a:gd name="T23" fmla="*/ 10 h 10"/>
                <a:gd name="T24" fmla="*/ 10 w 17"/>
                <a:gd name="T25" fmla="*/ 10 h 10"/>
                <a:gd name="T26" fmla="*/ 17 w 17"/>
                <a:gd name="T27" fmla="*/ 6 h 10"/>
                <a:gd name="T28" fmla="*/ 16 w 17"/>
                <a:gd name="T2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0">
                  <a:moveTo>
                    <a:pt x="16" y="2"/>
                  </a:moveTo>
                  <a:cubicBezTo>
                    <a:pt x="16" y="2"/>
                    <a:pt x="15" y="1"/>
                    <a:pt x="13" y="1"/>
                  </a:cubicBezTo>
                  <a:cubicBezTo>
                    <a:pt x="12" y="1"/>
                    <a:pt x="11" y="1"/>
                    <a:pt x="10" y="1"/>
                  </a:cubicBezTo>
                  <a:cubicBezTo>
                    <a:pt x="10" y="2"/>
                    <a:pt x="10" y="2"/>
                    <a:pt x="10" y="2"/>
                  </a:cubicBezTo>
                  <a:cubicBezTo>
                    <a:pt x="9" y="2"/>
                    <a:pt x="9" y="1"/>
                    <a:pt x="9" y="1"/>
                  </a:cubicBezTo>
                  <a:cubicBezTo>
                    <a:pt x="8" y="1"/>
                    <a:pt x="7" y="0"/>
                    <a:pt x="5" y="0"/>
                  </a:cubicBezTo>
                  <a:cubicBezTo>
                    <a:pt x="5" y="0"/>
                    <a:pt x="4" y="0"/>
                    <a:pt x="4" y="0"/>
                  </a:cubicBezTo>
                  <a:cubicBezTo>
                    <a:pt x="2" y="1"/>
                    <a:pt x="1" y="2"/>
                    <a:pt x="0" y="3"/>
                  </a:cubicBezTo>
                  <a:cubicBezTo>
                    <a:pt x="0" y="5"/>
                    <a:pt x="0" y="7"/>
                    <a:pt x="1" y="8"/>
                  </a:cubicBezTo>
                  <a:cubicBezTo>
                    <a:pt x="2" y="10"/>
                    <a:pt x="5" y="10"/>
                    <a:pt x="6" y="10"/>
                  </a:cubicBezTo>
                  <a:cubicBezTo>
                    <a:pt x="6" y="10"/>
                    <a:pt x="6" y="10"/>
                    <a:pt x="6" y="10"/>
                  </a:cubicBezTo>
                  <a:cubicBezTo>
                    <a:pt x="7" y="10"/>
                    <a:pt x="7" y="10"/>
                    <a:pt x="7" y="10"/>
                  </a:cubicBezTo>
                  <a:cubicBezTo>
                    <a:pt x="8" y="10"/>
                    <a:pt x="9" y="10"/>
                    <a:pt x="10" y="10"/>
                  </a:cubicBezTo>
                  <a:cubicBezTo>
                    <a:pt x="15" y="10"/>
                    <a:pt x="17" y="8"/>
                    <a:pt x="17" y="6"/>
                  </a:cubicBezTo>
                  <a:cubicBezTo>
                    <a:pt x="17" y="4"/>
                    <a:pt x="17" y="3"/>
                    <a:pt x="16"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7" name="Freeform 156">
              <a:extLst>
                <a:ext uri="{FF2B5EF4-FFF2-40B4-BE49-F238E27FC236}">
                  <a16:creationId xmlns:a16="http://schemas.microsoft.com/office/drawing/2014/main" id="{549B3686-F2D4-E846-8F5D-CBED6BE00CC8}"/>
                </a:ext>
              </a:extLst>
            </p:cNvPr>
            <p:cNvSpPr>
              <a:spLocks/>
            </p:cNvSpPr>
            <p:nvPr/>
          </p:nvSpPr>
          <p:spPr bwMode="auto">
            <a:xfrm>
              <a:off x="19131759" y="5964944"/>
              <a:ext cx="131312" cy="100795"/>
            </a:xfrm>
            <a:custGeom>
              <a:avLst/>
              <a:gdLst>
                <a:gd name="T0" fmla="*/ 23 w 24"/>
                <a:gd name="T1" fmla="*/ 8 h 20"/>
                <a:gd name="T2" fmla="*/ 12 w 24"/>
                <a:gd name="T3" fmla="*/ 0 h 20"/>
                <a:gd name="T4" fmla="*/ 11 w 24"/>
                <a:gd name="T5" fmla="*/ 0 h 20"/>
                <a:gd name="T6" fmla="*/ 3 w 24"/>
                <a:gd name="T7" fmla="*/ 3 h 20"/>
                <a:gd name="T8" fmla="*/ 0 w 24"/>
                <a:gd name="T9" fmla="*/ 8 h 20"/>
                <a:gd name="T10" fmla="*/ 2 w 24"/>
                <a:gd name="T11" fmla="*/ 12 h 20"/>
                <a:gd name="T12" fmla="*/ 4 w 24"/>
                <a:gd name="T13" fmla="*/ 13 h 20"/>
                <a:gd name="T14" fmla="*/ 5 w 24"/>
                <a:gd name="T15" fmla="*/ 14 h 20"/>
                <a:gd name="T16" fmla="*/ 7 w 24"/>
                <a:gd name="T17" fmla="*/ 16 h 20"/>
                <a:gd name="T18" fmla="*/ 8 w 24"/>
                <a:gd name="T19" fmla="*/ 17 h 20"/>
                <a:gd name="T20" fmla="*/ 15 w 24"/>
                <a:gd name="T21" fmla="*/ 20 h 20"/>
                <a:gd name="T22" fmla="*/ 15 w 24"/>
                <a:gd name="T23" fmla="*/ 20 h 20"/>
                <a:gd name="T24" fmla="*/ 20 w 24"/>
                <a:gd name="T25" fmla="*/ 18 h 20"/>
                <a:gd name="T26" fmla="*/ 23 w 24"/>
                <a:gd name="T27"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0">
                  <a:moveTo>
                    <a:pt x="23" y="8"/>
                  </a:moveTo>
                  <a:cubicBezTo>
                    <a:pt x="22" y="4"/>
                    <a:pt x="17" y="0"/>
                    <a:pt x="12" y="0"/>
                  </a:cubicBezTo>
                  <a:cubicBezTo>
                    <a:pt x="12" y="0"/>
                    <a:pt x="11" y="0"/>
                    <a:pt x="11" y="0"/>
                  </a:cubicBezTo>
                  <a:cubicBezTo>
                    <a:pt x="8" y="0"/>
                    <a:pt x="6" y="1"/>
                    <a:pt x="3" y="3"/>
                  </a:cubicBezTo>
                  <a:cubicBezTo>
                    <a:pt x="2" y="4"/>
                    <a:pt x="0" y="6"/>
                    <a:pt x="0" y="8"/>
                  </a:cubicBezTo>
                  <a:cubicBezTo>
                    <a:pt x="0" y="9"/>
                    <a:pt x="0" y="11"/>
                    <a:pt x="2" y="12"/>
                  </a:cubicBezTo>
                  <a:cubicBezTo>
                    <a:pt x="2" y="12"/>
                    <a:pt x="3" y="13"/>
                    <a:pt x="4" y="13"/>
                  </a:cubicBezTo>
                  <a:cubicBezTo>
                    <a:pt x="4" y="13"/>
                    <a:pt x="5" y="14"/>
                    <a:pt x="5" y="14"/>
                  </a:cubicBezTo>
                  <a:cubicBezTo>
                    <a:pt x="5" y="14"/>
                    <a:pt x="6" y="15"/>
                    <a:pt x="7" y="16"/>
                  </a:cubicBezTo>
                  <a:cubicBezTo>
                    <a:pt x="8" y="17"/>
                    <a:pt x="8" y="17"/>
                    <a:pt x="8" y="17"/>
                  </a:cubicBezTo>
                  <a:cubicBezTo>
                    <a:pt x="10" y="18"/>
                    <a:pt x="12" y="20"/>
                    <a:pt x="15" y="20"/>
                  </a:cubicBezTo>
                  <a:cubicBezTo>
                    <a:pt x="15" y="20"/>
                    <a:pt x="15" y="20"/>
                    <a:pt x="15" y="20"/>
                  </a:cubicBezTo>
                  <a:cubicBezTo>
                    <a:pt x="17" y="20"/>
                    <a:pt x="19" y="19"/>
                    <a:pt x="20" y="18"/>
                  </a:cubicBezTo>
                  <a:cubicBezTo>
                    <a:pt x="23" y="15"/>
                    <a:pt x="24" y="11"/>
                    <a:pt x="23" y="8"/>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8" name="Freeform 157">
              <a:extLst>
                <a:ext uri="{FF2B5EF4-FFF2-40B4-BE49-F238E27FC236}">
                  <a16:creationId xmlns:a16="http://schemas.microsoft.com/office/drawing/2014/main" id="{75CA0288-ADB7-9441-9797-CFE67EED636C}"/>
                </a:ext>
              </a:extLst>
            </p:cNvPr>
            <p:cNvSpPr>
              <a:spLocks/>
            </p:cNvSpPr>
            <p:nvPr/>
          </p:nvSpPr>
          <p:spPr bwMode="auto">
            <a:xfrm>
              <a:off x="19164587" y="5862282"/>
              <a:ext cx="59501" cy="54131"/>
            </a:xfrm>
            <a:custGeom>
              <a:avLst/>
              <a:gdLst>
                <a:gd name="T0" fmla="*/ 10 w 11"/>
                <a:gd name="T1" fmla="*/ 3 h 11"/>
                <a:gd name="T2" fmla="*/ 7 w 11"/>
                <a:gd name="T3" fmla="*/ 0 h 11"/>
                <a:gd name="T4" fmla="*/ 3 w 11"/>
                <a:gd name="T5" fmla="*/ 2 h 11"/>
                <a:gd name="T6" fmla="*/ 1 w 11"/>
                <a:gd name="T7" fmla="*/ 9 h 11"/>
                <a:gd name="T8" fmla="*/ 4 w 11"/>
                <a:gd name="T9" fmla="*/ 11 h 11"/>
                <a:gd name="T10" fmla="*/ 8 w 11"/>
                <a:gd name="T11" fmla="*/ 9 h 11"/>
                <a:gd name="T12" fmla="*/ 8 w 11"/>
                <a:gd name="T13" fmla="*/ 9 h 11"/>
                <a:gd name="T14" fmla="*/ 10 w 11"/>
                <a:gd name="T15" fmla="*/ 7 h 11"/>
                <a:gd name="T16" fmla="*/ 10 w 11"/>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10" y="3"/>
                  </a:moveTo>
                  <a:cubicBezTo>
                    <a:pt x="10" y="1"/>
                    <a:pt x="8" y="0"/>
                    <a:pt x="7" y="0"/>
                  </a:cubicBezTo>
                  <a:cubicBezTo>
                    <a:pt x="5" y="0"/>
                    <a:pt x="3" y="1"/>
                    <a:pt x="3" y="2"/>
                  </a:cubicBezTo>
                  <a:cubicBezTo>
                    <a:pt x="1" y="4"/>
                    <a:pt x="0" y="6"/>
                    <a:pt x="1" y="9"/>
                  </a:cubicBezTo>
                  <a:cubicBezTo>
                    <a:pt x="1" y="10"/>
                    <a:pt x="3" y="11"/>
                    <a:pt x="4" y="11"/>
                  </a:cubicBezTo>
                  <a:cubicBezTo>
                    <a:pt x="5" y="11"/>
                    <a:pt x="7" y="10"/>
                    <a:pt x="8" y="9"/>
                  </a:cubicBezTo>
                  <a:cubicBezTo>
                    <a:pt x="8" y="9"/>
                    <a:pt x="8" y="9"/>
                    <a:pt x="8" y="9"/>
                  </a:cubicBezTo>
                  <a:cubicBezTo>
                    <a:pt x="9" y="9"/>
                    <a:pt x="10" y="8"/>
                    <a:pt x="10" y="7"/>
                  </a:cubicBezTo>
                  <a:cubicBezTo>
                    <a:pt x="11" y="6"/>
                    <a:pt x="11" y="4"/>
                    <a:pt x="10" y="3"/>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59" name="Freeform 158">
              <a:extLst>
                <a:ext uri="{FF2B5EF4-FFF2-40B4-BE49-F238E27FC236}">
                  <a16:creationId xmlns:a16="http://schemas.microsoft.com/office/drawing/2014/main" id="{A61CBE4B-E08E-314C-AC68-77CC9D106360}"/>
                </a:ext>
              </a:extLst>
            </p:cNvPr>
            <p:cNvSpPr>
              <a:spLocks/>
            </p:cNvSpPr>
            <p:nvPr/>
          </p:nvSpPr>
          <p:spPr bwMode="auto">
            <a:xfrm>
              <a:off x="19224087" y="5916413"/>
              <a:ext cx="114898" cy="78396"/>
            </a:xfrm>
            <a:custGeom>
              <a:avLst/>
              <a:gdLst>
                <a:gd name="T0" fmla="*/ 18 w 21"/>
                <a:gd name="T1" fmla="*/ 3 h 16"/>
                <a:gd name="T2" fmla="*/ 9 w 21"/>
                <a:gd name="T3" fmla="*/ 0 h 16"/>
                <a:gd name="T4" fmla="*/ 1 w 21"/>
                <a:gd name="T5" fmla="*/ 5 h 16"/>
                <a:gd name="T6" fmla="*/ 3 w 21"/>
                <a:gd name="T7" fmla="*/ 10 h 16"/>
                <a:gd name="T8" fmla="*/ 7 w 21"/>
                <a:gd name="T9" fmla="*/ 11 h 16"/>
                <a:gd name="T10" fmla="*/ 9 w 21"/>
                <a:gd name="T11" fmla="*/ 12 h 16"/>
                <a:gd name="T12" fmla="*/ 10 w 21"/>
                <a:gd name="T13" fmla="*/ 13 h 16"/>
                <a:gd name="T14" fmla="*/ 15 w 21"/>
                <a:gd name="T15" fmla="*/ 16 h 16"/>
                <a:gd name="T16" fmla="*/ 18 w 21"/>
                <a:gd name="T17" fmla="*/ 15 h 16"/>
                <a:gd name="T18" fmla="*/ 21 w 21"/>
                <a:gd name="T19" fmla="*/ 10 h 16"/>
                <a:gd name="T20" fmla="*/ 18 w 21"/>
                <a:gd name="T21"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6">
                  <a:moveTo>
                    <a:pt x="18" y="3"/>
                  </a:moveTo>
                  <a:cubicBezTo>
                    <a:pt x="15" y="0"/>
                    <a:pt x="10" y="0"/>
                    <a:pt x="9" y="0"/>
                  </a:cubicBezTo>
                  <a:cubicBezTo>
                    <a:pt x="7" y="0"/>
                    <a:pt x="2" y="1"/>
                    <a:pt x="1" y="5"/>
                  </a:cubicBezTo>
                  <a:cubicBezTo>
                    <a:pt x="1" y="5"/>
                    <a:pt x="0" y="8"/>
                    <a:pt x="3" y="10"/>
                  </a:cubicBezTo>
                  <a:cubicBezTo>
                    <a:pt x="4" y="10"/>
                    <a:pt x="5" y="11"/>
                    <a:pt x="7" y="11"/>
                  </a:cubicBezTo>
                  <a:cubicBezTo>
                    <a:pt x="7" y="11"/>
                    <a:pt x="8" y="12"/>
                    <a:pt x="9" y="12"/>
                  </a:cubicBezTo>
                  <a:cubicBezTo>
                    <a:pt x="9" y="12"/>
                    <a:pt x="9" y="13"/>
                    <a:pt x="10" y="13"/>
                  </a:cubicBezTo>
                  <a:cubicBezTo>
                    <a:pt x="11" y="14"/>
                    <a:pt x="13" y="16"/>
                    <a:pt x="15" y="16"/>
                  </a:cubicBezTo>
                  <a:cubicBezTo>
                    <a:pt x="16" y="16"/>
                    <a:pt x="17" y="16"/>
                    <a:pt x="18" y="15"/>
                  </a:cubicBezTo>
                  <a:cubicBezTo>
                    <a:pt x="20" y="14"/>
                    <a:pt x="21" y="12"/>
                    <a:pt x="21" y="10"/>
                  </a:cubicBezTo>
                  <a:cubicBezTo>
                    <a:pt x="21" y="7"/>
                    <a:pt x="20" y="4"/>
                    <a:pt x="18" y="3"/>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0" name="Freeform 159">
              <a:extLst>
                <a:ext uri="{FF2B5EF4-FFF2-40B4-BE49-F238E27FC236}">
                  <a16:creationId xmlns:a16="http://schemas.microsoft.com/office/drawing/2014/main" id="{174E0D47-83BC-0846-AAF0-5D71FDD522A6}"/>
                </a:ext>
              </a:extLst>
            </p:cNvPr>
            <p:cNvSpPr>
              <a:spLocks/>
            </p:cNvSpPr>
            <p:nvPr/>
          </p:nvSpPr>
          <p:spPr bwMode="auto">
            <a:xfrm>
              <a:off x="19061999" y="5027926"/>
              <a:ext cx="342642" cy="248254"/>
            </a:xfrm>
            <a:custGeom>
              <a:avLst/>
              <a:gdLst>
                <a:gd name="T0" fmla="*/ 59 w 63"/>
                <a:gd name="T1" fmla="*/ 7 h 50"/>
                <a:gd name="T2" fmla="*/ 50 w 63"/>
                <a:gd name="T3" fmla="*/ 4 h 50"/>
                <a:gd name="T4" fmla="*/ 47 w 63"/>
                <a:gd name="T5" fmla="*/ 4 h 50"/>
                <a:gd name="T6" fmla="*/ 44 w 63"/>
                <a:gd name="T7" fmla="*/ 4 h 50"/>
                <a:gd name="T8" fmla="*/ 36 w 63"/>
                <a:gd name="T9" fmla="*/ 7 h 50"/>
                <a:gd name="T10" fmla="*/ 35 w 63"/>
                <a:gd name="T11" fmla="*/ 9 h 50"/>
                <a:gd name="T12" fmla="*/ 25 w 63"/>
                <a:gd name="T13" fmla="*/ 1 h 50"/>
                <a:gd name="T14" fmla="*/ 21 w 63"/>
                <a:gd name="T15" fmla="*/ 0 h 50"/>
                <a:gd name="T16" fmla="*/ 10 w 63"/>
                <a:gd name="T17" fmla="*/ 6 h 50"/>
                <a:gd name="T18" fmla="*/ 10 w 63"/>
                <a:gd name="T19" fmla="*/ 6 h 50"/>
                <a:gd name="T20" fmla="*/ 2 w 63"/>
                <a:gd name="T21" fmla="*/ 19 h 50"/>
                <a:gd name="T22" fmla="*/ 8 w 63"/>
                <a:gd name="T23" fmla="*/ 47 h 50"/>
                <a:gd name="T24" fmla="*/ 18 w 63"/>
                <a:gd name="T25" fmla="*/ 50 h 50"/>
                <a:gd name="T26" fmla="*/ 35 w 63"/>
                <a:gd name="T27" fmla="*/ 42 h 50"/>
                <a:gd name="T28" fmla="*/ 38 w 63"/>
                <a:gd name="T29" fmla="*/ 17 h 50"/>
                <a:gd name="T30" fmla="*/ 43 w 63"/>
                <a:gd name="T31" fmla="*/ 21 h 50"/>
                <a:gd name="T32" fmla="*/ 45 w 63"/>
                <a:gd name="T33" fmla="*/ 21 h 50"/>
                <a:gd name="T34" fmla="*/ 48 w 63"/>
                <a:gd name="T35" fmla="*/ 21 h 50"/>
                <a:gd name="T36" fmla="*/ 49 w 63"/>
                <a:gd name="T37" fmla="*/ 21 h 50"/>
                <a:gd name="T38" fmla="*/ 51 w 63"/>
                <a:gd name="T39" fmla="*/ 21 h 50"/>
                <a:gd name="T40" fmla="*/ 54 w 63"/>
                <a:gd name="T41" fmla="*/ 21 h 50"/>
                <a:gd name="T42" fmla="*/ 55 w 63"/>
                <a:gd name="T43" fmla="*/ 21 h 50"/>
                <a:gd name="T44" fmla="*/ 62 w 63"/>
                <a:gd name="T45" fmla="*/ 16 h 50"/>
                <a:gd name="T46" fmla="*/ 59 w 63"/>
                <a:gd name="T47"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3" h="50">
                  <a:moveTo>
                    <a:pt x="59" y="7"/>
                  </a:moveTo>
                  <a:cubicBezTo>
                    <a:pt x="57" y="4"/>
                    <a:pt x="53" y="4"/>
                    <a:pt x="50" y="4"/>
                  </a:cubicBezTo>
                  <a:cubicBezTo>
                    <a:pt x="49" y="4"/>
                    <a:pt x="48" y="4"/>
                    <a:pt x="47" y="4"/>
                  </a:cubicBezTo>
                  <a:cubicBezTo>
                    <a:pt x="46" y="4"/>
                    <a:pt x="45" y="4"/>
                    <a:pt x="44" y="4"/>
                  </a:cubicBezTo>
                  <a:cubicBezTo>
                    <a:pt x="42" y="4"/>
                    <a:pt x="38" y="4"/>
                    <a:pt x="36" y="7"/>
                  </a:cubicBezTo>
                  <a:cubicBezTo>
                    <a:pt x="35" y="7"/>
                    <a:pt x="35" y="8"/>
                    <a:pt x="35" y="9"/>
                  </a:cubicBezTo>
                  <a:cubicBezTo>
                    <a:pt x="33" y="6"/>
                    <a:pt x="30" y="3"/>
                    <a:pt x="25" y="1"/>
                  </a:cubicBezTo>
                  <a:cubicBezTo>
                    <a:pt x="24" y="0"/>
                    <a:pt x="23" y="0"/>
                    <a:pt x="21" y="0"/>
                  </a:cubicBezTo>
                  <a:cubicBezTo>
                    <a:pt x="17" y="0"/>
                    <a:pt x="13" y="3"/>
                    <a:pt x="10" y="6"/>
                  </a:cubicBezTo>
                  <a:cubicBezTo>
                    <a:pt x="10" y="6"/>
                    <a:pt x="10" y="6"/>
                    <a:pt x="10" y="6"/>
                  </a:cubicBezTo>
                  <a:cubicBezTo>
                    <a:pt x="6" y="10"/>
                    <a:pt x="3" y="14"/>
                    <a:pt x="2" y="19"/>
                  </a:cubicBezTo>
                  <a:cubicBezTo>
                    <a:pt x="0" y="28"/>
                    <a:pt x="1" y="40"/>
                    <a:pt x="8" y="47"/>
                  </a:cubicBezTo>
                  <a:cubicBezTo>
                    <a:pt x="10" y="49"/>
                    <a:pt x="14" y="50"/>
                    <a:pt x="18" y="50"/>
                  </a:cubicBezTo>
                  <a:cubicBezTo>
                    <a:pt x="25" y="50"/>
                    <a:pt x="31" y="46"/>
                    <a:pt x="35" y="42"/>
                  </a:cubicBezTo>
                  <a:cubicBezTo>
                    <a:pt x="42" y="35"/>
                    <a:pt x="40" y="24"/>
                    <a:pt x="38" y="17"/>
                  </a:cubicBezTo>
                  <a:cubicBezTo>
                    <a:pt x="39" y="19"/>
                    <a:pt x="40" y="20"/>
                    <a:pt x="43" y="21"/>
                  </a:cubicBezTo>
                  <a:cubicBezTo>
                    <a:pt x="43" y="21"/>
                    <a:pt x="44" y="21"/>
                    <a:pt x="45" y="21"/>
                  </a:cubicBezTo>
                  <a:cubicBezTo>
                    <a:pt x="46" y="21"/>
                    <a:pt x="47" y="21"/>
                    <a:pt x="48" y="21"/>
                  </a:cubicBezTo>
                  <a:cubicBezTo>
                    <a:pt x="48" y="21"/>
                    <a:pt x="49" y="21"/>
                    <a:pt x="49" y="21"/>
                  </a:cubicBezTo>
                  <a:cubicBezTo>
                    <a:pt x="50" y="21"/>
                    <a:pt x="50" y="21"/>
                    <a:pt x="51" y="21"/>
                  </a:cubicBezTo>
                  <a:cubicBezTo>
                    <a:pt x="51" y="21"/>
                    <a:pt x="53" y="21"/>
                    <a:pt x="54" y="21"/>
                  </a:cubicBezTo>
                  <a:cubicBezTo>
                    <a:pt x="54" y="21"/>
                    <a:pt x="55" y="21"/>
                    <a:pt x="55" y="21"/>
                  </a:cubicBezTo>
                  <a:cubicBezTo>
                    <a:pt x="58" y="20"/>
                    <a:pt x="61" y="19"/>
                    <a:pt x="62" y="16"/>
                  </a:cubicBezTo>
                  <a:cubicBezTo>
                    <a:pt x="63" y="13"/>
                    <a:pt x="62" y="10"/>
                    <a:pt x="59" y="7"/>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1" name="Freeform 160">
              <a:extLst>
                <a:ext uri="{FF2B5EF4-FFF2-40B4-BE49-F238E27FC236}">
                  <a16:creationId xmlns:a16="http://schemas.microsoft.com/office/drawing/2014/main" id="{779B76E2-DC49-AE48-9D69-21D433622DED}"/>
                </a:ext>
              </a:extLst>
            </p:cNvPr>
            <p:cNvSpPr>
              <a:spLocks/>
            </p:cNvSpPr>
            <p:nvPr/>
          </p:nvSpPr>
          <p:spPr bwMode="auto">
            <a:xfrm>
              <a:off x="19170742" y="4953263"/>
              <a:ext cx="86173" cy="85862"/>
            </a:xfrm>
            <a:custGeom>
              <a:avLst/>
              <a:gdLst>
                <a:gd name="T0" fmla="*/ 7 w 16"/>
                <a:gd name="T1" fmla="*/ 16 h 17"/>
                <a:gd name="T2" fmla="*/ 10 w 16"/>
                <a:gd name="T3" fmla="*/ 17 h 17"/>
                <a:gd name="T4" fmla="*/ 14 w 16"/>
                <a:gd name="T5" fmla="*/ 15 h 17"/>
                <a:gd name="T6" fmla="*/ 15 w 16"/>
                <a:gd name="T7" fmla="*/ 10 h 17"/>
                <a:gd name="T8" fmla="*/ 13 w 16"/>
                <a:gd name="T9" fmla="*/ 5 h 17"/>
                <a:gd name="T10" fmla="*/ 11 w 16"/>
                <a:gd name="T11" fmla="*/ 4 h 17"/>
                <a:gd name="T12" fmla="*/ 6 w 16"/>
                <a:gd name="T13" fmla="*/ 0 h 17"/>
                <a:gd name="T14" fmla="*/ 1 w 16"/>
                <a:gd name="T15" fmla="*/ 6 h 17"/>
                <a:gd name="T16" fmla="*/ 7 w 16"/>
                <a:gd name="T17"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7">
                  <a:moveTo>
                    <a:pt x="7" y="16"/>
                  </a:moveTo>
                  <a:cubicBezTo>
                    <a:pt x="8" y="17"/>
                    <a:pt x="9" y="17"/>
                    <a:pt x="10" y="17"/>
                  </a:cubicBezTo>
                  <a:cubicBezTo>
                    <a:pt x="12" y="17"/>
                    <a:pt x="13" y="16"/>
                    <a:pt x="14" y="15"/>
                  </a:cubicBezTo>
                  <a:cubicBezTo>
                    <a:pt x="15" y="14"/>
                    <a:pt x="16" y="12"/>
                    <a:pt x="15" y="10"/>
                  </a:cubicBezTo>
                  <a:cubicBezTo>
                    <a:pt x="15" y="8"/>
                    <a:pt x="14" y="6"/>
                    <a:pt x="13" y="5"/>
                  </a:cubicBezTo>
                  <a:cubicBezTo>
                    <a:pt x="12" y="5"/>
                    <a:pt x="11" y="4"/>
                    <a:pt x="11" y="4"/>
                  </a:cubicBezTo>
                  <a:cubicBezTo>
                    <a:pt x="10" y="1"/>
                    <a:pt x="8" y="0"/>
                    <a:pt x="6" y="0"/>
                  </a:cubicBezTo>
                  <a:cubicBezTo>
                    <a:pt x="3" y="0"/>
                    <a:pt x="1" y="2"/>
                    <a:pt x="1" y="6"/>
                  </a:cubicBezTo>
                  <a:cubicBezTo>
                    <a:pt x="0" y="10"/>
                    <a:pt x="4" y="14"/>
                    <a:pt x="7" y="1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2" name="Freeform 161">
              <a:extLst>
                <a:ext uri="{FF2B5EF4-FFF2-40B4-BE49-F238E27FC236}">
                  <a16:creationId xmlns:a16="http://schemas.microsoft.com/office/drawing/2014/main" id="{E3A6719A-B0E6-1C45-9C60-B78E92B553D9}"/>
                </a:ext>
              </a:extLst>
            </p:cNvPr>
            <p:cNvSpPr>
              <a:spLocks/>
            </p:cNvSpPr>
            <p:nvPr/>
          </p:nvSpPr>
          <p:spPr bwMode="auto">
            <a:xfrm>
              <a:off x="19049689" y="6760102"/>
              <a:ext cx="55397" cy="57864"/>
            </a:xfrm>
            <a:custGeom>
              <a:avLst/>
              <a:gdLst>
                <a:gd name="T0" fmla="*/ 6 w 10"/>
                <a:gd name="T1" fmla="*/ 0 h 12"/>
                <a:gd name="T2" fmla="*/ 5 w 10"/>
                <a:gd name="T3" fmla="*/ 0 h 12"/>
                <a:gd name="T4" fmla="*/ 2 w 10"/>
                <a:gd name="T5" fmla="*/ 2 h 12"/>
                <a:gd name="T6" fmla="*/ 1 w 10"/>
                <a:gd name="T7" fmla="*/ 9 h 12"/>
                <a:gd name="T8" fmla="*/ 1 w 10"/>
                <a:gd name="T9" fmla="*/ 11 h 12"/>
                <a:gd name="T10" fmla="*/ 3 w 10"/>
                <a:gd name="T11" fmla="*/ 11 h 12"/>
                <a:gd name="T12" fmla="*/ 5 w 10"/>
                <a:gd name="T13" fmla="*/ 12 h 12"/>
                <a:gd name="T14" fmla="*/ 10 w 10"/>
                <a:gd name="T15" fmla="*/ 6 h 12"/>
                <a:gd name="T16" fmla="*/ 6 w 1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2">
                  <a:moveTo>
                    <a:pt x="6" y="0"/>
                  </a:moveTo>
                  <a:cubicBezTo>
                    <a:pt x="5" y="0"/>
                    <a:pt x="5" y="0"/>
                    <a:pt x="5" y="0"/>
                  </a:cubicBezTo>
                  <a:cubicBezTo>
                    <a:pt x="4" y="0"/>
                    <a:pt x="3" y="1"/>
                    <a:pt x="2" y="2"/>
                  </a:cubicBezTo>
                  <a:cubicBezTo>
                    <a:pt x="0" y="4"/>
                    <a:pt x="1" y="8"/>
                    <a:pt x="1" y="9"/>
                  </a:cubicBezTo>
                  <a:cubicBezTo>
                    <a:pt x="1" y="11"/>
                    <a:pt x="1" y="11"/>
                    <a:pt x="1" y="11"/>
                  </a:cubicBezTo>
                  <a:cubicBezTo>
                    <a:pt x="3" y="11"/>
                    <a:pt x="3" y="11"/>
                    <a:pt x="3" y="11"/>
                  </a:cubicBezTo>
                  <a:cubicBezTo>
                    <a:pt x="4" y="12"/>
                    <a:pt x="4" y="12"/>
                    <a:pt x="5" y="12"/>
                  </a:cubicBezTo>
                  <a:cubicBezTo>
                    <a:pt x="8" y="12"/>
                    <a:pt x="10" y="9"/>
                    <a:pt x="10" y="6"/>
                  </a:cubicBezTo>
                  <a:cubicBezTo>
                    <a:pt x="10" y="3"/>
                    <a:pt x="9" y="1"/>
                    <a:pt x="6"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3" name="Freeform 162">
              <a:extLst>
                <a:ext uri="{FF2B5EF4-FFF2-40B4-BE49-F238E27FC236}">
                  <a16:creationId xmlns:a16="http://schemas.microsoft.com/office/drawing/2014/main" id="{C871ACA8-94E7-4247-81F9-87899C05897A}"/>
                </a:ext>
              </a:extLst>
            </p:cNvPr>
            <p:cNvSpPr>
              <a:spLocks/>
            </p:cNvSpPr>
            <p:nvPr/>
          </p:nvSpPr>
          <p:spPr bwMode="auto">
            <a:xfrm>
              <a:off x="19203570" y="7295808"/>
              <a:ext cx="207227" cy="182924"/>
            </a:xfrm>
            <a:custGeom>
              <a:avLst/>
              <a:gdLst>
                <a:gd name="T0" fmla="*/ 37 w 38"/>
                <a:gd name="T1" fmla="*/ 11 h 37"/>
                <a:gd name="T2" fmla="*/ 37 w 38"/>
                <a:gd name="T3" fmla="*/ 10 h 37"/>
                <a:gd name="T4" fmla="*/ 37 w 38"/>
                <a:gd name="T5" fmla="*/ 9 h 37"/>
                <a:gd name="T6" fmla="*/ 36 w 38"/>
                <a:gd name="T7" fmla="*/ 5 h 37"/>
                <a:gd name="T8" fmla="*/ 33 w 38"/>
                <a:gd name="T9" fmla="*/ 3 h 37"/>
                <a:gd name="T10" fmla="*/ 30 w 38"/>
                <a:gd name="T11" fmla="*/ 5 h 37"/>
                <a:gd name="T12" fmla="*/ 29 w 38"/>
                <a:gd name="T13" fmla="*/ 5 h 37"/>
                <a:gd name="T14" fmla="*/ 28 w 38"/>
                <a:gd name="T15" fmla="*/ 5 h 37"/>
                <a:gd name="T16" fmla="*/ 26 w 38"/>
                <a:gd name="T17" fmla="*/ 2 h 37"/>
                <a:gd name="T18" fmla="*/ 23 w 38"/>
                <a:gd name="T19" fmla="*/ 0 h 37"/>
                <a:gd name="T20" fmla="*/ 18 w 38"/>
                <a:gd name="T21" fmla="*/ 6 h 37"/>
                <a:gd name="T22" fmla="*/ 17 w 38"/>
                <a:gd name="T23" fmla="*/ 7 h 37"/>
                <a:gd name="T24" fmla="*/ 16 w 38"/>
                <a:gd name="T25" fmla="*/ 9 h 37"/>
                <a:gd name="T26" fmla="*/ 15 w 38"/>
                <a:gd name="T27" fmla="*/ 8 h 37"/>
                <a:gd name="T28" fmla="*/ 11 w 38"/>
                <a:gd name="T29" fmla="*/ 7 h 37"/>
                <a:gd name="T30" fmla="*/ 9 w 38"/>
                <a:gd name="T31" fmla="*/ 7 h 37"/>
                <a:gd name="T32" fmla="*/ 6 w 38"/>
                <a:gd name="T33" fmla="*/ 11 h 37"/>
                <a:gd name="T34" fmla="*/ 6 w 38"/>
                <a:gd name="T35" fmla="*/ 11 h 37"/>
                <a:gd name="T36" fmla="*/ 1 w 38"/>
                <a:gd name="T37" fmla="*/ 16 h 37"/>
                <a:gd name="T38" fmla="*/ 1 w 38"/>
                <a:gd name="T39" fmla="*/ 21 h 37"/>
                <a:gd name="T40" fmla="*/ 5 w 38"/>
                <a:gd name="T41" fmla="*/ 24 h 37"/>
                <a:gd name="T42" fmla="*/ 6 w 38"/>
                <a:gd name="T43" fmla="*/ 23 h 37"/>
                <a:gd name="T44" fmla="*/ 5 w 38"/>
                <a:gd name="T45" fmla="*/ 25 h 37"/>
                <a:gd name="T46" fmla="*/ 4 w 38"/>
                <a:gd name="T47" fmla="*/ 26 h 37"/>
                <a:gd name="T48" fmla="*/ 3 w 38"/>
                <a:gd name="T49" fmla="*/ 29 h 37"/>
                <a:gd name="T50" fmla="*/ 4 w 38"/>
                <a:gd name="T51" fmla="*/ 32 h 37"/>
                <a:gd name="T52" fmla="*/ 4 w 38"/>
                <a:gd name="T53" fmla="*/ 36 h 37"/>
                <a:gd name="T54" fmla="*/ 8 w 38"/>
                <a:gd name="T55" fmla="*/ 35 h 37"/>
                <a:gd name="T56" fmla="*/ 8 w 38"/>
                <a:gd name="T57" fmla="*/ 35 h 37"/>
                <a:gd name="T58" fmla="*/ 10 w 38"/>
                <a:gd name="T59" fmla="*/ 36 h 37"/>
                <a:gd name="T60" fmla="*/ 12 w 38"/>
                <a:gd name="T61" fmla="*/ 36 h 37"/>
                <a:gd name="T62" fmla="*/ 16 w 38"/>
                <a:gd name="T63" fmla="*/ 35 h 37"/>
                <a:gd name="T64" fmla="*/ 17 w 38"/>
                <a:gd name="T65" fmla="*/ 37 h 37"/>
                <a:gd name="T66" fmla="*/ 20 w 38"/>
                <a:gd name="T67" fmla="*/ 33 h 37"/>
                <a:gd name="T68" fmla="*/ 21 w 38"/>
                <a:gd name="T69" fmla="*/ 32 h 37"/>
                <a:gd name="T70" fmla="*/ 22 w 38"/>
                <a:gd name="T71" fmla="*/ 32 h 37"/>
                <a:gd name="T72" fmla="*/ 24 w 38"/>
                <a:gd name="T73" fmla="*/ 32 h 37"/>
                <a:gd name="T74" fmla="*/ 24 w 38"/>
                <a:gd name="T75" fmla="*/ 31 h 37"/>
                <a:gd name="T76" fmla="*/ 25 w 38"/>
                <a:gd name="T77" fmla="*/ 30 h 37"/>
                <a:gd name="T78" fmla="*/ 27 w 38"/>
                <a:gd name="T79" fmla="*/ 30 h 37"/>
                <a:gd name="T80" fmla="*/ 30 w 38"/>
                <a:gd name="T81" fmla="*/ 28 h 37"/>
                <a:gd name="T82" fmla="*/ 30 w 38"/>
                <a:gd name="T83" fmla="*/ 24 h 37"/>
                <a:gd name="T84" fmla="*/ 30 w 38"/>
                <a:gd name="T85" fmla="*/ 23 h 37"/>
                <a:gd name="T86" fmla="*/ 30 w 38"/>
                <a:gd name="T87" fmla="*/ 22 h 37"/>
                <a:gd name="T88" fmla="*/ 30 w 38"/>
                <a:gd name="T89" fmla="*/ 20 h 37"/>
                <a:gd name="T90" fmla="*/ 32 w 38"/>
                <a:gd name="T91" fmla="*/ 21 h 37"/>
                <a:gd name="T92" fmla="*/ 33 w 38"/>
                <a:gd name="T93" fmla="*/ 21 h 37"/>
                <a:gd name="T94" fmla="*/ 33 w 38"/>
                <a:gd name="T95" fmla="*/ 21 h 37"/>
                <a:gd name="T96" fmla="*/ 36 w 38"/>
                <a:gd name="T97" fmla="*/ 17 h 37"/>
                <a:gd name="T98" fmla="*/ 36 w 38"/>
                <a:gd name="T99" fmla="*/ 17 h 37"/>
                <a:gd name="T100" fmla="*/ 38 w 38"/>
                <a:gd name="T101" fmla="*/ 14 h 37"/>
                <a:gd name="T102" fmla="*/ 37 w 38"/>
                <a:gd name="T103" fmla="*/ 1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8" h="37">
                  <a:moveTo>
                    <a:pt x="37" y="11"/>
                  </a:moveTo>
                  <a:cubicBezTo>
                    <a:pt x="37" y="10"/>
                    <a:pt x="37" y="10"/>
                    <a:pt x="37" y="10"/>
                  </a:cubicBezTo>
                  <a:cubicBezTo>
                    <a:pt x="37" y="9"/>
                    <a:pt x="37" y="9"/>
                    <a:pt x="37" y="9"/>
                  </a:cubicBezTo>
                  <a:cubicBezTo>
                    <a:pt x="37" y="8"/>
                    <a:pt x="37" y="7"/>
                    <a:pt x="36" y="5"/>
                  </a:cubicBezTo>
                  <a:cubicBezTo>
                    <a:pt x="35" y="3"/>
                    <a:pt x="34" y="3"/>
                    <a:pt x="33" y="3"/>
                  </a:cubicBezTo>
                  <a:cubicBezTo>
                    <a:pt x="32" y="3"/>
                    <a:pt x="31" y="3"/>
                    <a:pt x="30" y="5"/>
                  </a:cubicBezTo>
                  <a:cubicBezTo>
                    <a:pt x="29" y="5"/>
                    <a:pt x="29" y="5"/>
                    <a:pt x="29" y="5"/>
                  </a:cubicBezTo>
                  <a:cubicBezTo>
                    <a:pt x="28" y="5"/>
                    <a:pt x="28" y="5"/>
                    <a:pt x="28" y="5"/>
                  </a:cubicBezTo>
                  <a:cubicBezTo>
                    <a:pt x="28" y="4"/>
                    <a:pt x="27" y="3"/>
                    <a:pt x="26" y="2"/>
                  </a:cubicBezTo>
                  <a:cubicBezTo>
                    <a:pt x="25" y="1"/>
                    <a:pt x="24" y="0"/>
                    <a:pt x="23" y="0"/>
                  </a:cubicBezTo>
                  <a:cubicBezTo>
                    <a:pt x="20" y="0"/>
                    <a:pt x="19" y="4"/>
                    <a:pt x="18" y="6"/>
                  </a:cubicBezTo>
                  <a:cubicBezTo>
                    <a:pt x="18" y="6"/>
                    <a:pt x="18" y="6"/>
                    <a:pt x="17" y="7"/>
                  </a:cubicBezTo>
                  <a:cubicBezTo>
                    <a:pt x="17" y="7"/>
                    <a:pt x="16" y="8"/>
                    <a:pt x="16" y="9"/>
                  </a:cubicBezTo>
                  <a:cubicBezTo>
                    <a:pt x="16" y="9"/>
                    <a:pt x="16" y="9"/>
                    <a:pt x="15" y="8"/>
                  </a:cubicBezTo>
                  <a:cubicBezTo>
                    <a:pt x="14" y="7"/>
                    <a:pt x="13" y="7"/>
                    <a:pt x="11" y="7"/>
                  </a:cubicBezTo>
                  <a:cubicBezTo>
                    <a:pt x="11" y="7"/>
                    <a:pt x="10" y="7"/>
                    <a:pt x="9" y="7"/>
                  </a:cubicBezTo>
                  <a:cubicBezTo>
                    <a:pt x="7" y="8"/>
                    <a:pt x="6" y="10"/>
                    <a:pt x="6" y="11"/>
                  </a:cubicBezTo>
                  <a:cubicBezTo>
                    <a:pt x="6" y="11"/>
                    <a:pt x="6" y="11"/>
                    <a:pt x="6" y="11"/>
                  </a:cubicBezTo>
                  <a:cubicBezTo>
                    <a:pt x="4" y="12"/>
                    <a:pt x="1" y="13"/>
                    <a:pt x="1" y="16"/>
                  </a:cubicBezTo>
                  <a:cubicBezTo>
                    <a:pt x="0" y="18"/>
                    <a:pt x="0" y="20"/>
                    <a:pt x="1" y="21"/>
                  </a:cubicBezTo>
                  <a:cubicBezTo>
                    <a:pt x="2" y="23"/>
                    <a:pt x="3" y="24"/>
                    <a:pt x="5" y="24"/>
                  </a:cubicBezTo>
                  <a:cubicBezTo>
                    <a:pt x="5" y="24"/>
                    <a:pt x="5" y="23"/>
                    <a:pt x="6" y="23"/>
                  </a:cubicBezTo>
                  <a:cubicBezTo>
                    <a:pt x="5" y="24"/>
                    <a:pt x="5" y="25"/>
                    <a:pt x="5" y="25"/>
                  </a:cubicBezTo>
                  <a:cubicBezTo>
                    <a:pt x="5" y="25"/>
                    <a:pt x="5" y="25"/>
                    <a:pt x="4" y="26"/>
                  </a:cubicBezTo>
                  <a:cubicBezTo>
                    <a:pt x="4" y="27"/>
                    <a:pt x="3" y="28"/>
                    <a:pt x="3" y="29"/>
                  </a:cubicBezTo>
                  <a:cubicBezTo>
                    <a:pt x="3" y="31"/>
                    <a:pt x="4" y="31"/>
                    <a:pt x="4" y="32"/>
                  </a:cubicBezTo>
                  <a:cubicBezTo>
                    <a:pt x="4" y="36"/>
                    <a:pt x="4" y="36"/>
                    <a:pt x="4" y="36"/>
                  </a:cubicBezTo>
                  <a:cubicBezTo>
                    <a:pt x="4" y="36"/>
                    <a:pt x="8" y="35"/>
                    <a:pt x="8" y="35"/>
                  </a:cubicBezTo>
                  <a:cubicBezTo>
                    <a:pt x="8" y="35"/>
                    <a:pt x="8" y="35"/>
                    <a:pt x="8" y="35"/>
                  </a:cubicBezTo>
                  <a:cubicBezTo>
                    <a:pt x="10" y="36"/>
                    <a:pt x="10" y="36"/>
                    <a:pt x="10" y="36"/>
                  </a:cubicBezTo>
                  <a:cubicBezTo>
                    <a:pt x="11" y="36"/>
                    <a:pt x="12" y="36"/>
                    <a:pt x="12" y="36"/>
                  </a:cubicBezTo>
                  <a:cubicBezTo>
                    <a:pt x="14" y="36"/>
                    <a:pt x="15" y="36"/>
                    <a:pt x="16" y="35"/>
                  </a:cubicBezTo>
                  <a:cubicBezTo>
                    <a:pt x="17" y="37"/>
                    <a:pt x="17" y="37"/>
                    <a:pt x="17" y="37"/>
                  </a:cubicBezTo>
                  <a:cubicBezTo>
                    <a:pt x="20" y="33"/>
                    <a:pt x="20" y="33"/>
                    <a:pt x="20" y="33"/>
                  </a:cubicBezTo>
                  <a:cubicBezTo>
                    <a:pt x="20" y="33"/>
                    <a:pt x="21" y="33"/>
                    <a:pt x="21" y="32"/>
                  </a:cubicBezTo>
                  <a:cubicBezTo>
                    <a:pt x="21" y="32"/>
                    <a:pt x="22" y="32"/>
                    <a:pt x="22" y="32"/>
                  </a:cubicBezTo>
                  <a:cubicBezTo>
                    <a:pt x="24" y="32"/>
                    <a:pt x="24" y="32"/>
                    <a:pt x="24" y="32"/>
                  </a:cubicBezTo>
                  <a:cubicBezTo>
                    <a:pt x="24" y="31"/>
                    <a:pt x="24" y="31"/>
                    <a:pt x="24" y="31"/>
                  </a:cubicBezTo>
                  <a:cubicBezTo>
                    <a:pt x="25" y="31"/>
                    <a:pt x="25" y="30"/>
                    <a:pt x="25" y="30"/>
                  </a:cubicBezTo>
                  <a:cubicBezTo>
                    <a:pt x="26" y="30"/>
                    <a:pt x="26" y="30"/>
                    <a:pt x="27" y="30"/>
                  </a:cubicBezTo>
                  <a:cubicBezTo>
                    <a:pt x="28" y="30"/>
                    <a:pt x="29" y="29"/>
                    <a:pt x="30" y="28"/>
                  </a:cubicBezTo>
                  <a:cubicBezTo>
                    <a:pt x="31" y="26"/>
                    <a:pt x="30" y="25"/>
                    <a:pt x="30" y="24"/>
                  </a:cubicBezTo>
                  <a:cubicBezTo>
                    <a:pt x="30" y="24"/>
                    <a:pt x="30" y="23"/>
                    <a:pt x="30" y="23"/>
                  </a:cubicBezTo>
                  <a:cubicBezTo>
                    <a:pt x="30" y="22"/>
                    <a:pt x="30" y="22"/>
                    <a:pt x="30" y="22"/>
                  </a:cubicBezTo>
                  <a:cubicBezTo>
                    <a:pt x="30" y="21"/>
                    <a:pt x="30" y="21"/>
                    <a:pt x="30" y="20"/>
                  </a:cubicBezTo>
                  <a:cubicBezTo>
                    <a:pt x="30" y="21"/>
                    <a:pt x="31" y="21"/>
                    <a:pt x="32" y="21"/>
                  </a:cubicBezTo>
                  <a:cubicBezTo>
                    <a:pt x="33" y="21"/>
                    <a:pt x="33" y="21"/>
                    <a:pt x="33" y="21"/>
                  </a:cubicBezTo>
                  <a:cubicBezTo>
                    <a:pt x="33" y="21"/>
                    <a:pt x="33" y="21"/>
                    <a:pt x="33" y="21"/>
                  </a:cubicBezTo>
                  <a:cubicBezTo>
                    <a:pt x="34" y="21"/>
                    <a:pt x="36" y="20"/>
                    <a:pt x="36" y="17"/>
                  </a:cubicBezTo>
                  <a:cubicBezTo>
                    <a:pt x="36" y="17"/>
                    <a:pt x="36" y="17"/>
                    <a:pt x="36" y="17"/>
                  </a:cubicBezTo>
                  <a:cubicBezTo>
                    <a:pt x="37" y="16"/>
                    <a:pt x="37" y="15"/>
                    <a:pt x="38" y="14"/>
                  </a:cubicBezTo>
                  <a:cubicBezTo>
                    <a:pt x="38" y="13"/>
                    <a:pt x="38" y="12"/>
                    <a:pt x="37" y="11"/>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4" name="Freeform 163">
              <a:extLst>
                <a:ext uri="{FF2B5EF4-FFF2-40B4-BE49-F238E27FC236}">
                  <a16:creationId xmlns:a16="http://schemas.microsoft.com/office/drawing/2014/main" id="{CC290EA3-80CA-4540-812D-38658C47E55F}"/>
                </a:ext>
              </a:extLst>
            </p:cNvPr>
            <p:cNvSpPr>
              <a:spLocks/>
            </p:cNvSpPr>
            <p:nvPr/>
          </p:nvSpPr>
          <p:spPr bwMode="auto">
            <a:xfrm>
              <a:off x="19197415" y="7116617"/>
              <a:ext cx="49242" cy="44798"/>
            </a:xfrm>
            <a:custGeom>
              <a:avLst/>
              <a:gdLst>
                <a:gd name="T0" fmla="*/ 5 w 9"/>
                <a:gd name="T1" fmla="*/ 9 h 9"/>
                <a:gd name="T2" fmla="*/ 7 w 9"/>
                <a:gd name="T3" fmla="*/ 8 h 9"/>
                <a:gd name="T4" fmla="*/ 9 w 9"/>
                <a:gd name="T5" fmla="*/ 3 h 9"/>
                <a:gd name="T6" fmla="*/ 5 w 9"/>
                <a:gd name="T7" fmla="*/ 0 h 9"/>
                <a:gd name="T8" fmla="*/ 5 w 9"/>
                <a:gd name="T9" fmla="*/ 0 h 9"/>
                <a:gd name="T10" fmla="*/ 2 w 9"/>
                <a:gd name="T11" fmla="*/ 1 h 9"/>
                <a:gd name="T12" fmla="*/ 1 w 9"/>
                <a:gd name="T13" fmla="*/ 6 h 9"/>
                <a:gd name="T14" fmla="*/ 5 w 9"/>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5" y="9"/>
                  </a:moveTo>
                  <a:cubicBezTo>
                    <a:pt x="5" y="9"/>
                    <a:pt x="6" y="9"/>
                    <a:pt x="7" y="8"/>
                  </a:cubicBezTo>
                  <a:cubicBezTo>
                    <a:pt x="9" y="7"/>
                    <a:pt x="9" y="4"/>
                    <a:pt x="9" y="3"/>
                  </a:cubicBezTo>
                  <a:cubicBezTo>
                    <a:pt x="8" y="1"/>
                    <a:pt x="7" y="0"/>
                    <a:pt x="5" y="0"/>
                  </a:cubicBezTo>
                  <a:cubicBezTo>
                    <a:pt x="5" y="0"/>
                    <a:pt x="5" y="0"/>
                    <a:pt x="5" y="0"/>
                  </a:cubicBezTo>
                  <a:cubicBezTo>
                    <a:pt x="4" y="0"/>
                    <a:pt x="2" y="0"/>
                    <a:pt x="2" y="1"/>
                  </a:cubicBezTo>
                  <a:cubicBezTo>
                    <a:pt x="1" y="3"/>
                    <a:pt x="0" y="4"/>
                    <a:pt x="1" y="6"/>
                  </a:cubicBezTo>
                  <a:cubicBezTo>
                    <a:pt x="1" y="8"/>
                    <a:pt x="3" y="9"/>
                    <a:pt x="5" y="9"/>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5" name="Freeform 164">
              <a:extLst>
                <a:ext uri="{FF2B5EF4-FFF2-40B4-BE49-F238E27FC236}">
                  <a16:creationId xmlns:a16="http://schemas.microsoft.com/office/drawing/2014/main" id="{4B42686E-8277-8E41-9289-0664A70630AC}"/>
                </a:ext>
              </a:extLst>
            </p:cNvPr>
            <p:cNvSpPr>
              <a:spLocks/>
            </p:cNvSpPr>
            <p:nvPr/>
          </p:nvSpPr>
          <p:spPr bwMode="auto">
            <a:xfrm>
              <a:off x="19252812" y="7260343"/>
              <a:ext cx="47190" cy="50397"/>
            </a:xfrm>
            <a:custGeom>
              <a:avLst/>
              <a:gdLst>
                <a:gd name="T0" fmla="*/ 2 w 9"/>
                <a:gd name="T1" fmla="*/ 10 h 10"/>
                <a:gd name="T2" fmla="*/ 3 w 9"/>
                <a:gd name="T3" fmla="*/ 10 h 10"/>
                <a:gd name="T4" fmla="*/ 4 w 9"/>
                <a:gd name="T5" fmla="*/ 10 h 10"/>
                <a:gd name="T6" fmla="*/ 8 w 9"/>
                <a:gd name="T7" fmla="*/ 8 h 10"/>
                <a:gd name="T8" fmla="*/ 9 w 9"/>
                <a:gd name="T9" fmla="*/ 4 h 10"/>
                <a:gd name="T10" fmla="*/ 5 w 9"/>
                <a:gd name="T11" fmla="*/ 0 h 10"/>
                <a:gd name="T12" fmla="*/ 0 w 9"/>
                <a:gd name="T13" fmla="*/ 3 h 10"/>
                <a:gd name="T14" fmla="*/ 1 w 9"/>
                <a:gd name="T15" fmla="*/ 8 h 10"/>
                <a:gd name="T16" fmla="*/ 2 w 9"/>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0">
                  <a:moveTo>
                    <a:pt x="2" y="10"/>
                  </a:moveTo>
                  <a:cubicBezTo>
                    <a:pt x="3" y="10"/>
                    <a:pt x="3" y="10"/>
                    <a:pt x="3" y="10"/>
                  </a:cubicBezTo>
                  <a:cubicBezTo>
                    <a:pt x="4" y="10"/>
                    <a:pt x="4" y="10"/>
                    <a:pt x="4" y="10"/>
                  </a:cubicBezTo>
                  <a:cubicBezTo>
                    <a:pt x="5" y="10"/>
                    <a:pt x="7" y="9"/>
                    <a:pt x="8" y="8"/>
                  </a:cubicBezTo>
                  <a:cubicBezTo>
                    <a:pt x="9" y="7"/>
                    <a:pt x="9" y="6"/>
                    <a:pt x="9" y="4"/>
                  </a:cubicBezTo>
                  <a:cubicBezTo>
                    <a:pt x="9" y="2"/>
                    <a:pt x="7" y="0"/>
                    <a:pt x="5" y="0"/>
                  </a:cubicBezTo>
                  <a:cubicBezTo>
                    <a:pt x="3" y="0"/>
                    <a:pt x="1" y="2"/>
                    <a:pt x="0" y="3"/>
                  </a:cubicBezTo>
                  <a:cubicBezTo>
                    <a:pt x="0" y="5"/>
                    <a:pt x="0" y="7"/>
                    <a:pt x="1" y="8"/>
                  </a:cubicBezTo>
                  <a:lnTo>
                    <a:pt x="2" y="10"/>
                  </a:ln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6" name="Freeform 165">
              <a:extLst>
                <a:ext uri="{FF2B5EF4-FFF2-40B4-BE49-F238E27FC236}">
                  <a16:creationId xmlns:a16="http://schemas.microsoft.com/office/drawing/2014/main" id="{1D3AF0EE-FFDF-D345-84D1-CB28843DD41C}"/>
                </a:ext>
              </a:extLst>
            </p:cNvPr>
            <p:cNvSpPr>
              <a:spLocks/>
            </p:cNvSpPr>
            <p:nvPr/>
          </p:nvSpPr>
          <p:spPr bwMode="auto">
            <a:xfrm>
              <a:off x="19072258" y="7964040"/>
              <a:ext cx="207227" cy="113861"/>
            </a:xfrm>
            <a:custGeom>
              <a:avLst/>
              <a:gdLst>
                <a:gd name="T0" fmla="*/ 18 w 38"/>
                <a:gd name="T1" fmla="*/ 1 h 23"/>
                <a:gd name="T2" fmla="*/ 17 w 38"/>
                <a:gd name="T3" fmla="*/ 0 h 23"/>
                <a:gd name="T4" fmla="*/ 1 w 38"/>
                <a:gd name="T5" fmla="*/ 9 h 23"/>
                <a:gd name="T6" fmla="*/ 2 w 38"/>
                <a:gd name="T7" fmla="*/ 16 h 23"/>
                <a:gd name="T8" fmla="*/ 13 w 38"/>
                <a:gd name="T9" fmla="*/ 19 h 23"/>
                <a:gd name="T10" fmla="*/ 17 w 38"/>
                <a:gd name="T11" fmla="*/ 20 h 23"/>
                <a:gd name="T12" fmla="*/ 18 w 38"/>
                <a:gd name="T13" fmla="*/ 21 h 23"/>
                <a:gd name="T14" fmla="*/ 31 w 38"/>
                <a:gd name="T15" fmla="*/ 23 h 23"/>
                <a:gd name="T16" fmla="*/ 36 w 38"/>
                <a:gd name="T17" fmla="*/ 22 h 23"/>
                <a:gd name="T18" fmla="*/ 38 w 38"/>
                <a:gd name="T19" fmla="*/ 22 h 23"/>
                <a:gd name="T20" fmla="*/ 38 w 38"/>
                <a:gd name="T21" fmla="*/ 19 h 23"/>
                <a:gd name="T22" fmla="*/ 18 w 38"/>
                <a:gd name="T2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3">
                  <a:moveTo>
                    <a:pt x="18" y="1"/>
                  </a:moveTo>
                  <a:cubicBezTo>
                    <a:pt x="18" y="1"/>
                    <a:pt x="18" y="0"/>
                    <a:pt x="17" y="0"/>
                  </a:cubicBezTo>
                  <a:cubicBezTo>
                    <a:pt x="13" y="0"/>
                    <a:pt x="3" y="4"/>
                    <a:pt x="1" y="9"/>
                  </a:cubicBezTo>
                  <a:cubicBezTo>
                    <a:pt x="0" y="11"/>
                    <a:pt x="0" y="14"/>
                    <a:pt x="2" y="16"/>
                  </a:cubicBezTo>
                  <a:cubicBezTo>
                    <a:pt x="4" y="18"/>
                    <a:pt x="8" y="18"/>
                    <a:pt x="13" y="19"/>
                  </a:cubicBezTo>
                  <a:cubicBezTo>
                    <a:pt x="15" y="20"/>
                    <a:pt x="16" y="20"/>
                    <a:pt x="17" y="20"/>
                  </a:cubicBezTo>
                  <a:cubicBezTo>
                    <a:pt x="18" y="21"/>
                    <a:pt x="18" y="21"/>
                    <a:pt x="18" y="21"/>
                  </a:cubicBezTo>
                  <a:cubicBezTo>
                    <a:pt x="22" y="22"/>
                    <a:pt x="26" y="23"/>
                    <a:pt x="31" y="23"/>
                  </a:cubicBezTo>
                  <a:cubicBezTo>
                    <a:pt x="33" y="23"/>
                    <a:pt x="34" y="23"/>
                    <a:pt x="36" y="22"/>
                  </a:cubicBezTo>
                  <a:cubicBezTo>
                    <a:pt x="38" y="22"/>
                    <a:pt x="38" y="22"/>
                    <a:pt x="38" y="22"/>
                  </a:cubicBezTo>
                  <a:cubicBezTo>
                    <a:pt x="38" y="19"/>
                    <a:pt x="38" y="19"/>
                    <a:pt x="38" y="19"/>
                  </a:cubicBezTo>
                  <a:cubicBezTo>
                    <a:pt x="37" y="10"/>
                    <a:pt x="26" y="2"/>
                    <a:pt x="18" y="1"/>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7" name="Freeform 166">
              <a:extLst>
                <a:ext uri="{FF2B5EF4-FFF2-40B4-BE49-F238E27FC236}">
                  <a16:creationId xmlns:a16="http://schemas.microsoft.com/office/drawing/2014/main" id="{1C5EFFAC-A4B5-C247-9CA5-4E192DDAFE63}"/>
                </a:ext>
              </a:extLst>
            </p:cNvPr>
            <p:cNvSpPr>
              <a:spLocks/>
            </p:cNvSpPr>
            <p:nvPr/>
          </p:nvSpPr>
          <p:spPr bwMode="auto">
            <a:xfrm>
              <a:off x="18641391" y="6125469"/>
              <a:ext cx="223641" cy="197856"/>
            </a:xfrm>
            <a:custGeom>
              <a:avLst/>
              <a:gdLst>
                <a:gd name="T0" fmla="*/ 33 w 41"/>
                <a:gd name="T1" fmla="*/ 0 h 40"/>
                <a:gd name="T2" fmla="*/ 24 w 41"/>
                <a:gd name="T3" fmla="*/ 3 h 40"/>
                <a:gd name="T4" fmla="*/ 19 w 41"/>
                <a:gd name="T5" fmla="*/ 5 h 40"/>
                <a:gd name="T6" fmla="*/ 18 w 41"/>
                <a:gd name="T7" fmla="*/ 5 h 40"/>
                <a:gd name="T8" fmla="*/ 17 w 41"/>
                <a:gd name="T9" fmla="*/ 5 h 40"/>
                <a:gd name="T10" fmla="*/ 15 w 41"/>
                <a:gd name="T11" fmla="*/ 5 h 40"/>
                <a:gd name="T12" fmla="*/ 10 w 41"/>
                <a:gd name="T13" fmla="*/ 7 h 40"/>
                <a:gd name="T14" fmla="*/ 4 w 41"/>
                <a:gd name="T15" fmla="*/ 15 h 40"/>
                <a:gd name="T16" fmla="*/ 4 w 41"/>
                <a:gd name="T17" fmla="*/ 17 h 40"/>
                <a:gd name="T18" fmla="*/ 2 w 41"/>
                <a:gd name="T19" fmla="*/ 29 h 40"/>
                <a:gd name="T20" fmla="*/ 3 w 41"/>
                <a:gd name="T21" fmla="*/ 31 h 40"/>
                <a:gd name="T22" fmla="*/ 10 w 41"/>
                <a:gd name="T23" fmla="*/ 40 h 40"/>
                <a:gd name="T24" fmla="*/ 10 w 41"/>
                <a:gd name="T25" fmla="*/ 40 h 40"/>
                <a:gd name="T26" fmla="*/ 14 w 41"/>
                <a:gd name="T27" fmla="*/ 37 h 40"/>
                <a:gd name="T28" fmla="*/ 15 w 41"/>
                <a:gd name="T29" fmla="*/ 37 h 40"/>
                <a:gd name="T30" fmla="*/ 19 w 41"/>
                <a:gd name="T31" fmla="*/ 35 h 40"/>
                <a:gd name="T32" fmla="*/ 29 w 41"/>
                <a:gd name="T33" fmla="*/ 28 h 40"/>
                <a:gd name="T34" fmla="*/ 31 w 41"/>
                <a:gd name="T35" fmla="*/ 25 h 40"/>
                <a:gd name="T36" fmla="*/ 35 w 41"/>
                <a:gd name="T37" fmla="*/ 19 h 40"/>
                <a:gd name="T38" fmla="*/ 40 w 41"/>
                <a:gd name="T39" fmla="*/ 6 h 40"/>
                <a:gd name="T40" fmla="*/ 33 w 41"/>
                <a:gd name="T4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40">
                  <a:moveTo>
                    <a:pt x="33" y="0"/>
                  </a:moveTo>
                  <a:cubicBezTo>
                    <a:pt x="30" y="0"/>
                    <a:pt x="27" y="1"/>
                    <a:pt x="24" y="3"/>
                  </a:cubicBezTo>
                  <a:cubicBezTo>
                    <a:pt x="22" y="4"/>
                    <a:pt x="20" y="5"/>
                    <a:pt x="19" y="5"/>
                  </a:cubicBezTo>
                  <a:cubicBezTo>
                    <a:pt x="19" y="5"/>
                    <a:pt x="19" y="5"/>
                    <a:pt x="18" y="5"/>
                  </a:cubicBezTo>
                  <a:cubicBezTo>
                    <a:pt x="18" y="5"/>
                    <a:pt x="17" y="5"/>
                    <a:pt x="17" y="5"/>
                  </a:cubicBezTo>
                  <a:cubicBezTo>
                    <a:pt x="16" y="5"/>
                    <a:pt x="15" y="5"/>
                    <a:pt x="15" y="5"/>
                  </a:cubicBezTo>
                  <a:cubicBezTo>
                    <a:pt x="13" y="5"/>
                    <a:pt x="11" y="5"/>
                    <a:pt x="10" y="7"/>
                  </a:cubicBezTo>
                  <a:cubicBezTo>
                    <a:pt x="7" y="9"/>
                    <a:pt x="5" y="12"/>
                    <a:pt x="4" y="15"/>
                  </a:cubicBezTo>
                  <a:cubicBezTo>
                    <a:pt x="4" y="16"/>
                    <a:pt x="4" y="17"/>
                    <a:pt x="4" y="17"/>
                  </a:cubicBezTo>
                  <a:cubicBezTo>
                    <a:pt x="2" y="21"/>
                    <a:pt x="0" y="25"/>
                    <a:pt x="2" y="29"/>
                  </a:cubicBezTo>
                  <a:cubicBezTo>
                    <a:pt x="2" y="30"/>
                    <a:pt x="2" y="30"/>
                    <a:pt x="3" y="31"/>
                  </a:cubicBezTo>
                  <a:cubicBezTo>
                    <a:pt x="3" y="34"/>
                    <a:pt x="5" y="40"/>
                    <a:pt x="10" y="40"/>
                  </a:cubicBezTo>
                  <a:cubicBezTo>
                    <a:pt x="10" y="40"/>
                    <a:pt x="10" y="40"/>
                    <a:pt x="10" y="40"/>
                  </a:cubicBezTo>
                  <a:cubicBezTo>
                    <a:pt x="12" y="39"/>
                    <a:pt x="14" y="38"/>
                    <a:pt x="14" y="37"/>
                  </a:cubicBezTo>
                  <a:cubicBezTo>
                    <a:pt x="14" y="37"/>
                    <a:pt x="14" y="37"/>
                    <a:pt x="15" y="37"/>
                  </a:cubicBezTo>
                  <a:cubicBezTo>
                    <a:pt x="16" y="36"/>
                    <a:pt x="17" y="36"/>
                    <a:pt x="19" y="35"/>
                  </a:cubicBezTo>
                  <a:cubicBezTo>
                    <a:pt x="23" y="34"/>
                    <a:pt x="26" y="32"/>
                    <a:pt x="29" y="28"/>
                  </a:cubicBezTo>
                  <a:cubicBezTo>
                    <a:pt x="29" y="27"/>
                    <a:pt x="30" y="26"/>
                    <a:pt x="31" y="25"/>
                  </a:cubicBezTo>
                  <a:cubicBezTo>
                    <a:pt x="32" y="23"/>
                    <a:pt x="34" y="21"/>
                    <a:pt x="35" y="19"/>
                  </a:cubicBezTo>
                  <a:cubicBezTo>
                    <a:pt x="37" y="16"/>
                    <a:pt x="41" y="12"/>
                    <a:pt x="40" y="6"/>
                  </a:cubicBezTo>
                  <a:cubicBezTo>
                    <a:pt x="39" y="0"/>
                    <a:pt x="35" y="0"/>
                    <a:pt x="33"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8" name="Freeform 167">
              <a:extLst>
                <a:ext uri="{FF2B5EF4-FFF2-40B4-BE49-F238E27FC236}">
                  <a16:creationId xmlns:a16="http://schemas.microsoft.com/office/drawing/2014/main" id="{1197F2D3-6448-8A45-9716-CFE97F0C87EE}"/>
                </a:ext>
              </a:extLst>
            </p:cNvPr>
            <p:cNvSpPr>
              <a:spLocks/>
            </p:cNvSpPr>
            <p:nvPr/>
          </p:nvSpPr>
          <p:spPr bwMode="auto">
            <a:xfrm>
              <a:off x="19000447" y="6194532"/>
              <a:ext cx="141571" cy="182924"/>
            </a:xfrm>
            <a:custGeom>
              <a:avLst/>
              <a:gdLst>
                <a:gd name="T0" fmla="*/ 15 w 26"/>
                <a:gd name="T1" fmla="*/ 37 h 37"/>
                <a:gd name="T2" fmla="*/ 18 w 26"/>
                <a:gd name="T3" fmla="*/ 36 h 37"/>
                <a:gd name="T4" fmla="*/ 21 w 26"/>
                <a:gd name="T5" fmla="*/ 29 h 37"/>
                <a:gd name="T6" fmla="*/ 21 w 26"/>
                <a:gd name="T7" fmla="*/ 28 h 37"/>
                <a:gd name="T8" fmla="*/ 24 w 26"/>
                <a:gd name="T9" fmla="*/ 20 h 37"/>
                <a:gd name="T10" fmla="*/ 19 w 26"/>
                <a:gd name="T11" fmla="*/ 2 h 37"/>
                <a:gd name="T12" fmla="*/ 14 w 26"/>
                <a:gd name="T13" fmla="*/ 0 h 37"/>
                <a:gd name="T14" fmla="*/ 3 w 26"/>
                <a:gd name="T15" fmla="*/ 9 h 37"/>
                <a:gd name="T16" fmla="*/ 2 w 26"/>
                <a:gd name="T17" fmla="*/ 27 h 37"/>
                <a:gd name="T18" fmla="*/ 15 w 26"/>
                <a:gd name="T19" fmla="*/ 37 h 37"/>
                <a:gd name="T20" fmla="*/ 15 w 26"/>
                <a:gd name="T21"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7">
                  <a:moveTo>
                    <a:pt x="15" y="37"/>
                  </a:moveTo>
                  <a:cubicBezTo>
                    <a:pt x="16" y="37"/>
                    <a:pt x="17" y="36"/>
                    <a:pt x="18" y="36"/>
                  </a:cubicBezTo>
                  <a:cubicBezTo>
                    <a:pt x="21" y="35"/>
                    <a:pt x="21" y="31"/>
                    <a:pt x="21" y="29"/>
                  </a:cubicBezTo>
                  <a:cubicBezTo>
                    <a:pt x="21" y="29"/>
                    <a:pt x="21" y="28"/>
                    <a:pt x="21" y="28"/>
                  </a:cubicBezTo>
                  <a:cubicBezTo>
                    <a:pt x="22" y="25"/>
                    <a:pt x="23" y="23"/>
                    <a:pt x="24" y="20"/>
                  </a:cubicBezTo>
                  <a:cubicBezTo>
                    <a:pt x="26" y="14"/>
                    <a:pt x="25" y="6"/>
                    <a:pt x="19" y="2"/>
                  </a:cubicBezTo>
                  <a:cubicBezTo>
                    <a:pt x="17" y="1"/>
                    <a:pt x="16" y="0"/>
                    <a:pt x="14" y="0"/>
                  </a:cubicBezTo>
                  <a:cubicBezTo>
                    <a:pt x="10" y="0"/>
                    <a:pt x="6" y="4"/>
                    <a:pt x="3" y="9"/>
                  </a:cubicBezTo>
                  <a:cubicBezTo>
                    <a:pt x="0" y="15"/>
                    <a:pt x="0" y="21"/>
                    <a:pt x="2" y="27"/>
                  </a:cubicBezTo>
                  <a:cubicBezTo>
                    <a:pt x="4" y="30"/>
                    <a:pt x="9" y="37"/>
                    <a:pt x="15" y="37"/>
                  </a:cubicBezTo>
                  <a:cubicBezTo>
                    <a:pt x="15" y="37"/>
                    <a:pt x="15" y="37"/>
                    <a:pt x="15" y="37"/>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69" name="Freeform 168">
              <a:extLst>
                <a:ext uri="{FF2B5EF4-FFF2-40B4-BE49-F238E27FC236}">
                  <a16:creationId xmlns:a16="http://schemas.microsoft.com/office/drawing/2014/main" id="{6375A3F9-D390-7542-BB8F-D156BB50BF79}"/>
                </a:ext>
              </a:extLst>
            </p:cNvPr>
            <p:cNvSpPr>
              <a:spLocks/>
            </p:cNvSpPr>
            <p:nvPr/>
          </p:nvSpPr>
          <p:spPr bwMode="auto">
            <a:xfrm>
              <a:off x="19066103" y="6685440"/>
              <a:ext cx="75915" cy="89595"/>
            </a:xfrm>
            <a:custGeom>
              <a:avLst/>
              <a:gdLst>
                <a:gd name="T0" fmla="*/ 13 w 14"/>
                <a:gd name="T1" fmla="*/ 2 h 18"/>
                <a:gd name="T2" fmla="*/ 9 w 14"/>
                <a:gd name="T3" fmla="*/ 0 h 18"/>
                <a:gd name="T4" fmla="*/ 7 w 14"/>
                <a:gd name="T5" fmla="*/ 1 h 18"/>
                <a:gd name="T6" fmla="*/ 3 w 14"/>
                <a:gd name="T7" fmla="*/ 8 h 18"/>
                <a:gd name="T8" fmla="*/ 3 w 14"/>
                <a:gd name="T9" fmla="*/ 8 h 18"/>
                <a:gd name="T10" fmla="*/ 3 w 14"/>
                <a:gd name="T11" fmla="*/ 9 h 18"/>
                <a:gd name="T12" fmla="*/ 0 w 14"/>
                <a:gd name="T13" fmla="*/ 13 h 18"/>
                <a:gd name="T14" fmla="*/ 1 w 14"/>
                <a:gd name="T15" fmla="*/ 16 h 18"/>
                <a:gd name="T16" fmla="*/ 4 w 14"/>
                <a:gd name="T17" fmla="*/ 18 h 18"/>
                <a:gd name="T18" fmla="*/ 5 w 14"/>
                <a:gd name="T19" fmla="*/ 18 h 18"/>
                <a:gd name="T20" fmla="*/ 9 w 14"/>
                <a:gd name="T21" fmla="*/ 14 h 18"/>
                <a:gd name="T22" fmla="*/ 10 w 14"/>
                <a:gd name="T23" fmla="*/ 13 h 18"/>
                <a:gd name="T24" fmla="*/ 12 w 14"/>
                <a:gd name="T25" fmla="*/ 10 h 18"/>
                <a:gd name="T26" fmla="*/ 13 w 14"/>
                <a:gd name="T2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8">
                  <a:moveTo>
                    <a:pt x="13" y="2"/>
                  </a:moveTo>
                  <a:cubicBezTo>
                    <a:pt x="12" y="1"/>
                    <a:pt x="11" y="0"/>
                    <a:pt x="9" y="0"/>
                  </a:cubicBezTo>
                  <a:cubicBezTo>
                    <a:pt x="8" y="0"/>
                    <a:pt x="8" y="0"/>
                    <a:pt x="7" y="1"/>
                  </a:cubicBezTo>
                  <a:cubicBezTo>
                    <a:pt x="4" y="2"/>
                    <a:pt x="4" y="5"/>
                    <a:pt x="3" y="8"/>
                  </a:cubicBezTo>
                  <a:cubicBezTo>
                    <a:pt x="3" y="8"/>
                    <a:pt x="3" y="8"/>
                    <a:pt x="3" y="8"/>
                  </a:cubicBezTo>
                  <a:cubicBezTo>
                    <a:pt x="3" y="8"/>
                    <a:pt x="3" y="9"/>
                    <a:pt x="3" y="9"/>
                  </a:cubicBezTo>
                  <a:cubicBezTo>
                    <a:pt x="2" y="9"/>
                    <a:pt x="0" y="11"/>
                    <a:pt x="0" y="13"/>
                  </a:cubicBezTo>
                  <a:cubicBezTo>
                    <a:pt x="0" y="14"/>
                    <a:pt x="0" y="15"/>
                    <a:pt x="1" y="16"/>
                  </a:cubicBezTo>
                  <a:cubicBezTo>
                    <a:pt x="2" y="17"/>
                    <a:pt x="3" y="18"/>
                    <a:pt x="4" y="18"/>
                  </a:cubicBezTo>
                  <a:cubicBezTo>
                    <a:pt x="5" y="18"/>
                    <a:pt x="5" y="18"/>
                    <a:pt x="5" y="18"/>
                  </a:cubicBezTo>
                  <a:cubicBezTo>
                    <a:pt x="8" y="17"/>
                    <a:pt x="8" y="15"/>
                    <a:pt x="9" y="14"/>
                  </a:cubicBezTo>
                  <a:cubicBezTo>
                    <a:pt x="9" y="13"/>
                    <a:pt x="9" y="13"/>
                    <a:pt x="10" y="13"/>
                  </a:cubicBezTo>
                  <a:cubicBezTo>
                    <a:pt x="11" y="12"/>
                    <a:pt x="12" y="11"/>
                    <a:pt x="12" y="10"/>
                  </a:cubicBezTo>
                  <a:cubicBezTo>
                    <a:pt x="13" y="8"/>
                    <a:pt x="14" y="5"/>
                    <a:pt x="13"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0" name="Freeform 169">
              <a:extLst>
                <a:ext uri="{FF2B5EF4-FFF2-40B4-BE49-F238E27FC236}">
                  <a16:creationId xmlns:a16="http://schemas.microsoft.com/office/drawing/2014/main" id="{5643F530-4DA0-0642-BFA5-70EA0F139117}"/>
                </a:ext>
              </a:extLst>
            </p:cNvPr>
            <p:cNvSpPr>
              <a:spLocks/>
            </p:cNvSpPr>
            <p:nvPr/>
          </p:nvSpPr>
          <p:spPr bwMode="auto">
            <a:xfrm>
              <a:off x="13497655" y="7577660"/>
              <a:ext cx="32828" cy="59730"/>
            </a:xfrm>
            <a:custGeom>
              <a:avLst/>
              <a:gdLst>
                <a:gd name="T0" fmla="*/ 4 w 6"/>
                <a:gd name="T1" fmla="*/ 5 h 12"/>
                <a:gd name="T2" fmla="*/ 3 w 6"/>
                <a:gd name="T3" fmla="*/ 2 h 12"/>
                <a:gd name="T4" fmla="*/ 1 w 6"/>
                <a:gd name="T5" fmla="*/ 5 h 12"/>
                <a:gd name="T6" fmla="*/ 2 w 6"/>
                <a:gd name="T7" fmla="*/ 7 h 12"/>
                <a:gd name="T8" fmla="*/ 5 w 6"/>
                <a:gd name="T9" fmla="*/ 11 h 12"/>
                <a:gd name="T10" fmla="*/ 5 w 6"/>
                <a:gd name="T11" fmla="*/ 6 h 12"/>
                <a:gd name="T12" fmla="*/ 4 w 6"/>
                <a:gd name="T13" fmla="*/ 5 h 12"/>
              </a:gdLst>
              <a:ahLst/>
              <a:cxnLst>
                <a:cxn ang="0">
                  <a:pos x="T0" y="T1"/>
                </a:cxn>
                <a:cxn ang="0">
                  <a:pos x="T2" y="T3"/>
                </a:cxn>
                <a:cxn ang="0">
                  <a:pos x="T4" y="T5"/>
                </a:cxn>
                <a:cxn ang="0">
                  <a:pos x="T6" y="T7"/>
                </a:cxn>
                <a:cxn ang="0">
                  <a:pos x="T8" y="T9"/>
                </a:cxn>
                <a:cxn ang="0">
                  <a:pos x="T10" y="T11"/>
                </a:cxn>
                <a:cxn ang="0">
                  <a:pos x="T12" y="T13"/>
                </a:cxn>
              </a:cxnLst>
              <a:rect l="0" t="0" r="r" b="b"/>
              <a:pathLst>
                <a:path w="6" h="12">
                  <a:moveTo>
                    <a:pt x="4" y="5"/>
                  </a:moveTo>
                  <a:cubicBezTo>
                    <a:pt x="4" y="4"/>
                    <a:pt x="4" y="2"/>
                    <a:pt x="3" y="2"/>
                  </a:cubicBezTo>
                  <a:cubicBezTo>
                    <a:pt x="0" y="0"/>
                    <a:pt x="0" y="3"/>
                    <a:pt x="1" y="5"/>
                  </a:cubicBezTo>
                  <a:cubicBezTo>
                    <a:pt x="1" y="6"/>
                    <a:pt x="2" y="6"/>
                    <a:pt x="2" y="7"/>
                  </a:cubicBezTo>
                  <a:cubicBezTo>
                    <a:pt x="3" y="8"/>
                    <a:pt x="3" y="12"/>
                    <a:pt x="5" y="11"/>
                  </a:cubicBezTo>
                  <a:cubicBezTo>
                    <a:pt x="6" y="10"/>
                    <a:pt x="5" y="8"/>
                    <a:pt x="5" y="6"/>
                  </a:cubicBezTo>
                  <a:cubicBezTo>
                    <a:pt x="4" y="6"/>
                    <a:pt x="4" y="5"/>
                    <a:pt x="4" y="5"/>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1" name="Freeform 170">
              <a:extLst>
                <a:ext uri="{FF2B5EF4-FFF2-40B4-BE49-F238E27FC236}">
                  <a16:creationId xmlns:a16="http://schemas.microsoft.com/office/drawing/2014/main" id="{9C4414F7-7A19-D34C-AF23-765C87AB800B}"/>
                </a:ext>
              </a:extLst>
            </p:cNvPr>
            <p:cNvSpPr>
              <a:spLocks/>
            </p:cNvSpPr>
            <p:nvPr/>
          </p:nvSpPr>
          <p:spPr bwMode="auto">
            <a:xfrm>
              <a:off x="14406580" y="6069472"/>
              <a:ext cx="1614727" cy="2385476"/>
            </a:xfrm>
            <a:custGeom>
              <a:avLst/>
              <a:gdLst>
                <a:gd name="T0" fmla="*/ 267 w 296"/>
                <a:gd name="T1" fmla="*/ 110 h 481"/>
                <a:gd name="T2" fmla="*/ 272 w 296"/>
                <a:gd name="T3" fmla="*/ 108 h 481"/>
                <a:gd name="T4" fmla="*/ 278 w 296"/>
                <a:gd name="T5" fmla="*/ 106 h 481"/>
                <a:gd name="T6" fmla="*/ 285 w 296"/>
                <a:gd name="T7" fmla="*/ 104 h 481"/>
                <a:gd name="T8" fmla="*/ 287 w 296"/>
                <a:gd name="T9" fmla="*/ 103 h 481"/>
                <a:gd name="T10" fmla="*/ 296 w 296"/>
                <a:gd name="T11" fmla="*/ 76 h 481"/>
                <a:gd name="T12" fmla="*/ 293 w 296"/>
                <a:gd name="T13" fmla="*/ 75 h 481"/>
                <a:gd name="T14" fmla="*/ 120 w 296"/>
                <a:gd name="T15" fmla="*/ 1 h 481"/>
                <a:gd name="T16" fmla="*/ 117 w 296"/>
                <a:gd name="T17" fmla="*/ 0 h 481"/>
                <a:gd name="T18" fmla="*/ 116 w 296"/>
                <a:gd name="T19" fmla="*/ 3 h 481"/>
                <a:gd name="T20" fmla="*/ 99 w 296"/>
                <a:gd name="T21" fmla="*/ 37 h 481"/>
                <a:gd name="T22" fmla="*/ 97 w 296"/>
                <a:gd name="T23" fmla="*/ 40 h 481"/>
                <a:gd name="T24" fmla="*/ 83 w 296"/>
                <a:gd name="T25" fmla="*/ 69 h 481"/>
                <a:gd name="T26" fmla="*/ 62 w 296"/>
                <a:gd name="T27" fmla="*/ 110 h 481"/>
                <a:gd name="T28" fmla="*/ 24 w 296"/>
                <a:gd name="T29" fmla="*/ 184 h 481"/>
                <a:gd name="T30" fmla="*/ 20 w 296"/>
                <a:gd name="T31" fmla="*/ 191 h 481"/>
                <a:gd name="T32" fmla="*/ 5 w 296"/>
                <a:gd name="T33" fmla="*/ 235 h 481"/>
                <a:gd name="T34" fmla="*/ 10 w 296"/>
                <a:gd name="T35" fmla="*/ 239 h 481"/>
                <a:gd name="T36" fmla="*/ 14 w 296"/>
                <a:gd name="T37" fmla="*/ 241 h 481"/>
                <a:gd name="T38" fmla="*/ 22 w 296"/>
                <a:gd name="T39" fmla="*/ 263 h 481"/>
                <a:gd name="T40" fmla="*/ 23 w 296"/>
                <a:gd name="T41" fmla="*/ 266 h 481"/>
                <a:gd name="T42" fmla="*/ 23 w 296"/>
                <a:gd name="T43" fmla="*/ 272 h 481"/>
                <a:gd name="T44" fmla="*/ 23 w 296"/>
                <a:gd name="T45" fmla="*/ 280 h 481"/>
                <a:gd name="T46" fmla="*/ 25 w 296"/>
                <a:gd name="T47" fmla="*/ 284 h 481"/>
                <a:gd name="T48" fmla="*/ 29 w 296"/>
                <a:gd name="T49" fmla="*/ 287 h 481"/>
                <a:gd name="T50" fmla="*/ 29 w 296"/>
                <a:gd name="T51" fmla="*/ 285 h 481"/>
                <a:gd name="T52" fmla="*/ 33 w 296"/>
                <a:gd name="T53" fmla="*/ 287 h 481"/>
                <a:gd name="T54" fmla="*/ 38 w 296"/>
                <a:gd name="T55" fmla="*/ 310 h 481"/>
                <a:gd name="T56" fmla="*/ 38 w 296"/>
                <a:gd name="T57" fmla="*/ 312 h 481"/>
                <a:gd name="T58" fmla="*/ 42 w 296"/>
                <a:gd name="T59" fmla="*/ 325 h 481"/>
                <a:gd name="T60" fmla="*/ 47 w 296"/>
                <a:gd name="T61" fmla="*/ 333 h 481"/>
                <a:gd name="T62" fmla="*/ 53 w 296"/>
                <a:gd name="T63" fmla="*/ 353 h 481"/>
                <a:gd name="T64" fmla="*/ 54 w 296"/>
                <a:gd name="T65" fmla="*/ 358 h 481"/>
                <a:gd name="T66" fmla="*/ 60 w 296"/>
                <a:gd name="T67" fmla="*/ 372 h 481"/>
                <a:gd name="T68" fmla="*/ 65 w 296"/>
                <a:gd name="T69" fmla="*/ 380 h 481"/>
                <a:gd name="T70" fmla="*/ 62 w 296"/>
                <a:gd name="T71" fmla="*/ 405 h 481"/>
                <a:gd name="T72" fmla="*/ 61 w 296"/>
                <a:gd name="T73" fmla="*/ 411 h 481"/>
                <a:gd name="T74" fmla="*/ 57 w 296"/>
                <a:gd name="T75" fmla="*/ 437 h 481"/>
                <a:gd name="T76" fmla="*/ 60 w 296"/>
                <a:gd name="T77" fmla="*/ 444 h 481"/>
                <a:gd name="T78" fmla="*/ 60 w 296"/>
                <a:gd name="T79" fmla="*/ 445 h 481"/>
                <a:gd name="T80" fmla="*/ 61 w 296"/>
                <a:gd name="T81" fmla="*/ 446 h 481"/>
                <a:gd name="T82" fmla="*/ 62 w 296"/>
                <a:gd name="T83" fmla="*/ 447 h 481"/>
                <a:gd name="T84" fmla="*/ 156 w 296"/>
                <a:gd name="T85" fmla="*/ 480 h 481"/>
                <a:gd name="T86" fmla="*/ 159 w 296"/>
                <a:gd name="T87" fmla="*/ 481 h 481"/>
                <a:gd name="T88" fmla="*/ 286 w 296"/>
                <a:gd name="T89" fmla="*/ 106 h 481"/>
                <a:gd name="T90" fmla="*/ 280 w 296"/>
                <a:gd name="T91" fmla="*/ 109 h 481"/>
                <a:gd name="T92" fmla="*/ 276 w 296"/>
                <a:gd name="T93" fmla="*/ 110 h 481"/>
                <a:gd name="T94" fmla="*/ 272 w 296"/>
                <a:gd name="T95" fmla="*/ 113 h 481"/>
                <a:gd name="T96" fmla="*/ 263 w 296"/>
                <a:gd name="T97" fmla="*/ 119 h 481"/>
                <a:gd name="T98" fmla="*/ 261 w 296"/>
                <a:gd name="T99" fmla="*/ 116 h 481"/>
                <a:gd name="T100" fmla="*/ 267 w 296"/>
                <a:gd name="T101" fmla="*/ 11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6" h="481">
                  <a:moveTo>
                    <a:pt x="267" y="110"/>
                  </a:moveTo>
                  <a:cubicBezTo>
                    <a:pt x="269" y="109"/>
                    <a:pt x="270" y="109"/>
                    <a:pt x="272" y="108"/>
                  </a:cubicBezTo>
                  <a:cubicBezTo>
                    <a:pt x="274" y="107"/>
                    <a:pt x="276" y="106"/>
                    <a:pt x="278" y="106"/>
                  </a:cubicBezTo>
                  <a:cubicBezTo>
                    <a:pt x="281" y="105"/>
                    <a:pt x="283" y="105"/>
                    <a:pt x="285" y="104"/>
                  </a:cubicBezTo>
                  <a:cubicBezTo>
                    <a:pt x="287" y="103"/>
                    <a:pt x="287" y="103"/>
                    <a:pt x="287" y="103"/>
                  </a:cubicBezTo>
                  <a:cubicBezTo>
                    <a:pt x="296" y="76"/>
                    <a:pt x="296" y="76"/>
                    <a:pt x="296" y="76"/>
                  </a:cubicBezTo>
                  <a:cubicBezTo>
                    <a:pt x="293" y="75"/>
                    <a:pt x="293" y="75"/>
                    <a:pt x="293" y="75"/>
                  </a:cubicBezTo>
                  <a:cubicBezTo>
                    <a:pt x="234" y="55"/>
                    <a:pt x="176" y="31"/>
                    <a:pt x="120" y="1"/>
                  </a:cubicBezTo>
                  <a:cubicBezTo>
                    <a:pt x="117" y="0"/>
                    <a:pt x="117" y="0"/>
                    <a:pt x="117" y="0"/>
                  </a:cubicBezTo>
                  <a:cubicBezTo>
                    <a:pt x="116" y="3"/>
                    <a:pt x="116" y="3"/>
                    <a:pt x="116" y="3"/>
                  </a:cubicBezTo>
                  <a:cubicBezTo>
                    <a:pt x="110" y="14"/>
                    <a:pt x="104" y="26"/>
                    <a:pt x="99" y="37"/>
                  </a:cubicBezTo>
                  <a:cubicBezTo>
                    <a:pt x="97" y="40"/>
                    <a:pt x="97" y="40"/>
                    <a:pt x="97" y="40"/>
                  </a:cubicBezTo>
                  <a:cubicBezTo>
                    <a:pt x="92" y="50"/>
                    <a:pt x="88" y="59"/>
                    <a:pt x="83" y="69"/>
                  </a:cubicBezTo>
                  <a:cubicBezTo>
                    <a:pt x="76" y="83"/>
                    <a:pt x="69" y="97"/>
                    <a:pt x="62" y="110"/>
                  </a:cubicBezTo>
                  <a:cubicBezTo>
                    <a:pt x="50" y="135"/>
                    <a:pt x="38" y="160"/>
                    <a:pt x="24" y="184"/>
                  </a:cubicBezTo>
                  <a:cubicBezTo>
                    <a:pt x="23" y="186"/>
                    <a:pt x="22" y="188"/>
                    <a:pt x="20" y="191"/>
                  </a:cubicBezTo>
                  <a:cubicBezTo>
                    <a:pt x="10" y="207"/>
                    <a:pt x="0" y="226"/>
                    <a:pt x="5" y="235"/>
                  </a:cubicBezTo>
                  <a:cubicBezTo>
                    <a:pt x="6" y="238"/>
                    <a:pt x="8" y="238"/>
                    <a:pt x="10" y="239"/>
                  </a:cubicBezTo>
                  <a:cubicBezTo>
                    <a:pt x="11" y="240"/>
                    <a:pt x="12" y="240"/>
                    <a:pt x="14" y="241"/>
                  </a:cubicBezTo>
                  <a:cubicBezTo>
                    <a:pt x="20" y="246"/>
                    <a:pt x="21" y="255"/>
                    <a:pt x="22" y="263"/>
                  </a:cubicBezTo>
                  <a:cubicBezTo>
                    <a:pt x="23" y="266"/>
                    <a:pt x="23" y="266"/>
                    <a:pt x="23" y="266"/>
                  </a:cubicBezTo>
                  <a:cubicBezTo>
                    <a:pt x="23" y="268"/>
                    <a:pt x="23" y="270"/>
                    <a:pt x="23" y="272"/>
                  </a:cubicBezTo>
                  <a:cubicBezTo>
                    <a:pt x="23" y="275"/>
                    <a:pt x="23" y="277"/>
                    <a:pt x="23" y="280"/>
                  </a:cubicBezTo>
                  <a:cubicBezTo>
                    <a:pt x="24" y="283"/>
                    <a:pt x="25" y="284"/>
                    <a:pt x="25" y="284"/>
                  </a:cubicBezTo>
                  <a:cubicBezTo>
                    <a:pt x="29" y="287"/>
                    <a:pt x="29" y="287"/>
                    <a:pt x="29" y="287"/>
                  </a:cubicBezTo>
                  <a:cubicBezTo>
                    <a:pt x="29" y="285"/>
                    <a:pt x="29" y="285"/>
                    <a:pt x="29" y="285"/>
                  </a:cubicBezTo>
                  <a:cubicBezTo>
                    <a:pt x="30" y="286"/>
                    <a:pt x="31" y="286"/>
                    <a:pt x="33" y="287"/>
                  </a:cubicBezTo>
                  <a:cubicBezTo>
                    <a:pt x="39" y="291"/>
                    <a:pt x="38" y="302"/>
                    <a:pt x="38" y="310"/>
                  </a:cubicBezTo>
                  <a:cubicBezTo>
                    <a:pt x="38" y="312"/>
                    <a:pt x="38" y="312"/>
                    <a:pt x="38" y="312"/>
                  </a:cubicBezTo>
                  <a:cubicBezTo>
                    <a:pt x="37" y="320"/>
                    <a:pt x="39" y="322"/>
                    <a:pt x="42" y="325"/>
                  </a:cubicBezTo>
                  <a:cubicBezTo>
                    <a:pt x="44" y="327"/>
                    <a:pt x="45" y="329"/>
                    <a:pt x="47" y="333"/>
                  </a:cubicBezTo>
                  <a:cubicBezTo>
                    <a:pt x="50" y="338"/>
                    <a:pt x="52" y="346"/>
                    <a:pt x="53" y="353"/>
                  </a:cubicBezTo>
                  <a:cubicBezTo>
                    <a:pt x="53" y="355"/>
                    <a:pt x="54" y="356"/>
                    <a:pt x="54" y="358"/>
                  </a:cubicBezTo>
                  <a:cubicBezTo>
                    <a:pt x="55" y="364"/>
                    <a:pt x="58" y="368"/>
                    <a:pt x="60" y="372"/>
                  </a:cubicBezTo>
                  <a:cubicBezTo>
                    <a:pt x="62" y="374"/>
                    <a:pt x="64" y="377"/>
                    <a:pt x="65" y="380"/>
                  </a:cubicBezTo>
                  <a:cubicBezTo>
                    <a:pt x="68" y="388"/>
                    <a:pt x="65" y="398"/>
                    <a:pt x="62" y="405"/>
                  </a:cubicBezTo>
                  <a:cubicBezTo>
                    <a:pt x="62" y="407"/>
                    <a:pt x="61" y="411"/>
                    <a:pt x="61" y="411"/>
                  </a:cubicBezTo>
                  <a:cubicBezTo>
                    <a:pt x="58" y="419"/>
                    <a:pt x="55" y="427"/>
                    <a:pt x="57" y="437"/>
                  </a:cubicBezTo>
                  <a:cubicBezTo>
                    <a:pt x="58" y="439"/>
                    <a:pt x="59" y="441"/>
                    <a:pt x="60" y="444"/>
                  </a:cubicBezTo>
                  <a:cubicBezTo>
                    <a:pt x="60" y="445"/>
                    <a:pt x="60" y="445"/>
                    <a:pt x="60" y="445"/>
                  </a:cubicBezTo>
                  <a:cubicBezTo>
                    <a:pt x="61" y="446"/>
                    <a:pt x="61" y="446"/>
                    <a:pt x="61" y="446"/>
                  </a:cubicBezTo>
                  <a:cubicBezTo>
                    <a:pt x="62" y="447"/>
                    <a:pt x="62" y="447"/>
                    <a:pt x="62" y="447"/>
                  </a:cubicBezTo>
                  <a:cubicBezTo>
                    <a:pt x="91" y="458"/>
                    <a:pt x="123" y="469"/>
                    <a:pt x="156" y="480"/>
                  </a:cubicBezTo>
                  <a:cubicBezTo>
                    <a:pt x="159" y="481"/>
                    <a:pt x="159" y="481"/>
                    <a:pt x="159" y="481"/>
                  </a:cubicBezTo>
                  <a:cubicBezTo>
                    <a:pt x="286" y="106"/>
                    <a:pt x="286" y="106"/>
                    <a:pt x="286" y="106"/>
                  </a:cubicBezTo>
                  <a:cubicBezTo>
                    <a:pt x="280" y="109"/>
                    <a:pt x="280" y="109"/>
                    <a:pt x="280" y="109"/>
                  </a:cubicBezTo>
                  <a:cubicBezTo>
                    <a:pt x="278" y="109"/>
                    <a:pt x="277" y="110"/>
                    <a:pt x="276" y="110"/>
                  </a:cubicBezTo>
                  <a:cubicBezTo>
                    <a:pt x="275" y="111"/>
                    <a:pt x="273" y="112"/>
                    <a:pt x="272" y="113"/>
                  </a:cubicBezTo>
                  <a:cubicBezTo>
                    <a:pt x="269" y="116"/>
                    <a:pt x="265" y="119"/>
                    <a:pt x="263" y="119"/>
                  </a:cubicBezTo>
                  <a:cubicBezTo>
                    <a:pt x="262" y="119"/>
                    <a:pt x="261" y="117"/>
                    <a:pt x="261" y="116"/>
                  </a:cubicBezTo>
                  <a:cubicBezTo>
                    <a:pt x="260" y="113"/>
                    <a:pt x="261" y="112"/>
                    <a:pt x="267" y="11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2" name="Freeform 171">
              <a:extLst>
                <a:ext uri="{FF2B5EF4-FFF2-40B4-BE49-F238E27FC236}">
                  <a16:creationId xmlns:a16="http://schemas.microsoft.com/office/drawing/2014/main" id="{F6B6384A-2133-AF4E-9F94-30C997267453}"/>
                </a:ext>
              </a:extLst>
            </p:cNvPr>
            <p:cNvSpPr>
              <a:spLocks/>
            </p:cNvSpPr>
            <p:nvPr/>
          </p:nvSpPr>
          <p:spPr bwMode="auto">
            <a:xfrm>
              <a:off x="13323257" y="3594400"/>
              <a:ext cx="1557278" cy="2286548"/>
            </a:xfrm>
            <a:custGeom>
              <a:avLst/>
              <a:gdLst>
                <a:gd name="T0" fmla="*/ 280 w 286"/>
                <a:gd name="T1" fmla="*/ 55 h 461"/>
                <a:gd name="T2" fmla="*/ 278 w 286"/>
                <a:gd name="T3" fmla="*/ 44 h 461"/>
                <a:gd name="T4" fmla="*/ 276 w 286"/>
                <a:gd name="T5" fmla="*/ 28 h 461"/>
                <a:gd name="T6" fmla="*/ 264 w 286"/>
                <a:gd name="T7" fmla="*/ 3 h 461"/>
                <a:gd name="T8" fmla="*/ 261 w 286"/>
                <a:gd name="T9" fmla="*/ 0 h 461"/>
                <a:gd name="T10" fmla="*/ 2 w 286"/>
                <a:gd name="T11" fmla="*/ 252 h 461"/>
                <a:gd name="T12" fmla="*/ 8 w 286"/>
                <a:gd name="T13" fmla="*/ 264 h 461"/>
                <a:gd name="T14" fmla="*/ 18 w 286"/>
                <a:gd name="T15" fmla="*/ 272 h 461"/>
                <a:gd name="T16" fmla="*/ 23 w 286"/>
                <a:gd name="T17" fmla="*/ 276 h 461"/>
                <a:gd name="T18" fmla="*/ 19 w 286"/>
                <a:gd name="T19" fmla="*/ 279 h 461"/>
                <a:gd name="T20" fmla="*/ 19 w 286"/>
                <a:gd name="T21" fmla="*/ 283 h 461"/>
                <a:gd name="T22" fmla="*/ 250 w 286"/>
                <a:gd name="T23" fmla="*/ 461 h 461"/>
                <a:gd name="T24" fmla="*/ 253 w 286"/>
                <a:gd name="T25" fmla="*/ 454 h 461"/>
                <a:gd name="T26" fmla="*/ 253 w 286"/>
                <a:gd name="T27" fmla="*/ 437 h 461"/>
                <a:gd name="T28" fmla="*/ 258 w 286"/>
                <a:gd name="T29" fmla="*/ 425 h 461"/>
                <a:gd name="T30" fmla="*/ 250 w 286"/>
                <a:gd name="T31" fmla="*/ 423 h 461"/>
                <a:gd name="T32" fmla="*/ 243 w 286"/>
                <a:gd name="T33" fmla="*/ 422 h 461"/>
                <a:gd name="T34" fmla="*/ 239 w 286"/>
                <a:gd name="T35" fmla="*/ 417 h 461"/>
                <a:gd name="T36" fmla="*/ 227 w 286"/>
                <a:gd name="T37" fmla="*/ 413 h 461"/>
                <a:gd name="T38" fmla="*/ 226 w 286"/>
                <a:gd name="T39" fmla="*/ 395 h 461"/>
                <a:gd name="T40" fmla="*/ 225 w 286"/>
                <a:gd name="T41" fmla="*/ 379 h 461"/>
                <a:gd name="T42" fmla="*/ 221 w 286"/>
                <a:gd name="T43" fmla="*/ 362 h 461"/>
                <a:gd name="T44" fmla="*/ 216 w 286"/>
                <a:gd name="T45" fmla="*/ 343 h 461"/>
                <a:gd name="T46" fmla="*/ 218 w 286"/>
                <a:gd name="T47" fmla="*/ 331 h 461"/>
                <a:gd name="T48" fmla="*/ 221 w 286"/>
                <a:gd name="T49" fmla="*/ 315 h 461"/>
                <a:gd name="T50" fmla="*/ 227 w 286"/>
                <a:gd name="T51" fmla="*/ 298 h 461"/>
                <a:gd name="T52" fmla="*/ 235 w 286"/>
                <a:gd name="T53" fmla="*/ 279 h 461"/>
                <a:gd name="T54" fmla="*/ 234 w 286"/>
                <a:gd name="T55" fmla="*/ 263 h 461"/>
                <a:gd name="T56" fmla="*/ 235 w 286"/>
                <a:gd name="T57" fmla="*/ 258 h 461"/>
                <a:gd name="T58" fmla="*/ 233 w 286"/>
                <a:gd name="T59" fmla="*/ 244 h 461"/>
                <a:gd name="T60" fmla="*/ 229 w 286"/>
                <a:gd name="T61" fmla="*/ 233 h 461"/>
                <a:gd name="T62" fmla="*/ 238 w 286"/>
                <a:gd name="T63" fmla="*/ 210 h 461"/>
                <a:gd name="T64" fmla="*/ 249 w 286"/>
                <a:gd name="T65" fmla="*/ 184 h 461"/>
                <a:gd name="T66" fmla="*/ 254 w 286"/>
                <a:gd name="T67" fmla="*/ 160 h 461"/>
                <a:gd name="T68" fmla="*/ 264 w 286"/>
                <a:gd name="T69" fmla="*/ 141 h 461"/>
                <a:gd name="T70" fmla="*/ 244 w 286"/>
                <a:gd name="T71" fmla="*/ 130 h 461"/>
                <a:gd name="T72" fmla="*/ 243 w 286"/>
                <a:gd name="T73" fmla="*/ 117 h 461"/>
                <a:gd name="T74" fmla="*/ 255 w 286"/>
                <a:gd name="T75" fmla="*/ 104 h 461"/>
                <a:gd name="T76" fmla="*/ 259 w 286"/>
                <a:gd name="T77" fmla="*/ 91 h 461"/>
                <a:gd name="T78" fmla="*/ 272 w 286"/>
                <a:gd name="T79" fmla="*/ 82 h 461"/>
                <a:gd name="T80" fmla="*/ 282 w 286"/>
                <a:gd name="T81" fmla="*/ 68 h 461"/>
                <a:gd name="T82" fmla="*/ 286 w 286"/>
                <a:gd name="T83" fmla="*/ 62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6" h="461">
                  <a:moveTo>
                    <a:pt x="283" y="59"/>
                  </a:moveTo>
                  <a:cubicBezTo>
                    <a:pt x="282" y="58"/>
                    <a:pt x="281" y="57"/>
                    <a:pt x="280" y="55"/>
                  </a:cubicBezTo>
                  <a:cubicBezTo>
                    <a:pt x="279" y="54"/>
                    <a:pt x="279" y="52"/>
                    <a:pt x="279" y="50"/>
                  </a:cubicBezTo>
                  <a:cubicBezTo>
                    <a:pt x="279" y="48"/>
                    <a:pt x="279" y="46"/>
                    <a:pt x="278" y="44"/>
                  </a:cubicBezTo>
                  <a:cubicBezTo>
                    <a:pt x="276" y="40"/>
                    <a:pt x="276" y="36"/>
                    <a:pt x="276" y="32"/>
                  </a:cubicBezTo>
                  <a:cubicBezTo>
                    <a:pt x="276" y="31"/>
                    <a:pt x="276" y="29"/>
                    <a:pt x="276" y="28"/>
                  </a:cubicBezTo>
                  <a:cubicBezTo>
                    <a:pt x="277" y="24"/>
                    <a:pt x="277" y="20"/>
                    <a:pt x="274" y="15"/>
                  </a:cubicBezTo>
                  <a:cubicBezTo>
                    <a:pt x="272" y="11"/>
                    <a:pt x="267" y="7"/>
                    <a:pt x="264" y="3"/>
                  </a:cubicBezTo>
                  <a:cubicBezTo>
                    <a:pt x="263" y="3"/>
                    <a:pt x="263" y="3"/>
                    <a:pt x="263" y="3"/>
                  </a:cubicBezTo>
                  <a:cubicBezTo>
                    <a:pt x="261" y="0"/>
                    <a:pt x="261" y="0"/>
                    <a:pt x="261" y="0"/>
                  </a:cubicBezTo>
                  <a:cubicBezTo>
                    <a:pt x="0" y="250"/>
                    <a:pt x="0" y="250"/>
                    <a:pt x="0" y="250"/>
                  </a:cubicBezTo>
                  <a:cubicBezTo>
                    <a:pt x="2" y="252"/>
                    <a:pt x="2" y="252"/>
                    <a:pt x="2" y="252"/>
                  </a:cubicBezTo>
                  <a:cubicBezTo>
                    <a:pt x="2" y="253"/>
                    <a:pt x="3" y="255"/>
                    <a:pt x="4" y="257"/>
                  </a:cubicBezTo>
                  <a:cubicBezTo>
                    <a:pt x="5" y="259"/>
                    <a:pt x="7" y="262"/>
                    <a:pt x="8" y="264"/>
                  </a:cubicBezTo>
                  <a:cubicBezTo>
                    <a:pt x="11" y="268"/>
                    <a:pt x="12" y="269"/>
                    <a:pt x="18" y="271"/>
                  </a:cubicBezTo>
                  <a:cubicBezTo>
                    <a:pt x="18" y="272"/>
                    <a:pt x="18" y="272"/>
                    <a:pt x="18" y="272"/>
                  </a:cubicBezTo>
                  <a:cubicBezTo>
                    <a:pt x="24" y="274"/>
                    <a:pt x="25" y="275"/>
                    <a:pt x="25" y="275"/>
                  </a:cubicBezTo>
                  <a:cubicBezTo>
                    <a:pt x="25" y="275"/>
                    <a:pt x="24" y="275"/>
                    <a:pt x="23" y="276"/>
                  </a:cubicBezTo>
                  <a:cubicBezTo>
                    <a:pt x="22" y="276"/>
                    <a:pt x="21" y="277"/>
                    <a:pt x="20" y="278"/>
                  </a:cubicBezTo>
                  <a:cubicBezTo>
                    <a:pt x="20" y="278"/>
                    <a:pt x="19" y="279"/>
                    <a:pt x="19" y="279"/>
                  </a:cubicBezTo>
                  <a:cubicBezTo>
                    <a:pt x="17" y="281"/>
                    <a:pt x="17" y="281"/>
                    <a:pt x="17" y="281"/>
                  </a:cubicBezTo>
                  <a:cubicBezTo>
                    <a:pt x="19" y="283"/>
                    <a:pt x="19" y="283"/>
                    <a:pt x="19" y="283"/>
                  </a:cubicBezTo>
                  <a:cubicBezTo>
                    <a:pt x="42" y="306"/>
                    <a:pt x="125" y="385"/>
                    <a:pt x="247" y="459"/>
                  </a:cubicBezTo>
                  <a:cubicBezTo>
                    <a:pt x="250" y="461"/>
                    <a:pt x="250" y="461"/>
                    <a:pt x="250" y="461"/>
                  </a:cubicBezTo>
                  <a:cubicBezTo>
                    <a:pt x="251" y="457"/>
                    <a:pt x="251" y="457"/>
                    <a:pt x="251" y="457"/>
                  </a:cubicBezTo>
                  <a:cubicBezTo>
                    <a:pt x="252" y="456"/>
                    <a:pt x="252" y="456"/>
                    <a:pt x="253" y="454"/>
                  </a:cubicBezTo>
                  <a:cubicBezTo>
                    <a:pt x="253" y="451"/>
                    <a:pt x="253" y="449"/>
                    <a:pt x="252" y="447"/>
                  </a:cubicBezTo>
                  <a:cubicBezTo>
                    <a:pt x="252" y="443"/>
                    <a:pt x="251" y="440"/>
                    <a:pt x="253" y="437"/>
                  </a:cubicBezTo>
                  <a:cubicBezTo>
                    <a:pt x="253" y="436"/>
                    <a:pt x="254" y="435"/>
                    <a:pt x="255" y="434"/>
                  </a:cubicBezTo>
                  <a:cubicBezTo>
                    <a:pt x="258" y="431"/>
                    <a:pt x="260" y="428"/>
                    <a:pt x="258" y="425"/>
                  </a:cubicBezTo>
                  <a:cubicBezTo>
                    <a:pt x="256" y="423"/>
                    <a:pt x="253" y="423"/>
                    <a:pt x="252" y="423"/>
                  </a:cubicBezTo>
                  <a:cubicBezTo>
                    <a:pt x="251" y="423"/>
                    <a:pt x="251" y="423"/>
                    <a:pt x="250" y="423"/>
                  </a:cubicBezTo>
                  <a:cubicBezTo>
                    <a:pt x="249" y="423"/>
                    <a:pt x="249" y="423"/>
                    <a:pt x="248" y="423"/>
                  </a:cubicBezTo>
                  <a:cubicBezTo>
                    <a:pt x="246" y="423"/>
                    <a:pt x="244" y="422"/>
                    <a:pt x="243" y="422"/>
                  </a:cubicBezTo>
                  <a:cubicBezTo>
                    <a:pt x="242" y="421"/>
                    <a:pt x="241" y="420"/>
                    <a:pt x="241" y="419"/>
                  </a:cubicBezTo>
                  <a:cubicBezTo>
                    <a:pt x="240" y="419"/>
                    <a:pt x="240" y="418"/>
                    <a:pt x="239" y="417"/>
                  </a:cubicBezTo>
                  <a:cubicBezTo>
                    <a:pt x="237" y="416"/>
                    <a:pt x="235" y="416"/>
                    <a:pt x="233" y="415"/>
                  </a:cubicBezTo>
                  <a:cubicBezTo>
                    <a:pt x="231" y="415"/>
                    <a:pt x="229" y="415"/>
                    <a:pt x="227" y="413"/>
                  </a:cubicBezTo>
                  <a:cubicBezTo>
                    <a:pt x="224" y="411"/>
                    <a:pt x="222" y="408"/>
                    <a:pt x="223" y="403"/>
                  </a:cubicBezTo>
                  <a:cubicBezTo>
                    <a:pt x="223" y="400"/>
                    <a:pt x="224" y="398"/>
                    <a:pt x="226" y="395"/>
                  </a:cubicBezTo>
                  <a:cubicBezTo>
                    <a:pt x="227" y="393"/>
                    <a:pt x="229" y="390"/>
                    <a:pt x="228" y="385"/>
                  </a:cubicBezTo>
                  <a:cubicBezTo>
                    <a:pt x="228" y="383"/>
                    <a:pt x="227" y="381"/>
                    <a:pt x="225" y="379"/>
                  </a:cubicBezTo>
                  <a:cubicBezTo>
                    <a:pt x="224" y="377"/>
                    <a:pt x="223" y="376"/>
                    <a:pt x="222" y="374"/>
                  </a:cubicBezTo>
                  <a:cubicBezTo>
                    <a:pt x="221" y="370"/>
                    <a:pt x="221" y="366"/>
                    <a:pt x="221" y="362"/>
                  </a:cubicBezTo>
                  <a:cubicBezTo>
                    <a:pt x="221" y="357"/>
                    <a:pt x="221" y="351"/>
                    <a:pt x="219" y="346"/>
                  </a:cubicBezTo>
                  <a:cubicBezTo>
                    <a:pt x="218" y="345"/>
                    <a:pt x="217" y="344"/>
                    <a:pt x="216" y="343"/>
                  </a:cubicBezTo>
                  <a:cubicBezTo>
                    <a:pt x="214" y="341"/>
                    <a:pt x="213" y="339"/>
                    <a:pt x="215" y="335"/>
                  </a:cubicBezTo>
                  <a:cubicBezTo>
                    <a:pt x="216" y="333"/>
                    <a:pt x="217" y="332"/>
                    <a:pt x="218" y="331"/>
                  </a:cubicBezTo>
                  <a:cubicBezTo>
                    <a:pt x="220" y="328"/>
                    <a:pt x="222" y="325"/>
                    <a:pt x="221" y="320"/>
                  </a:cubicBezTo>
                  <a:cubicBezTo>
                    <a:pt x="221" y="318"/>
                    <a:pt x="221" y="317"/>
                    <a:pt x="221" y="315"/>
                  </a:cubicBezTo>
                  <a:cubicBezTo>
                    <a:pt x="220" y="311"/>
                    <a:pt x="220" y="307"/>
                    <a:pt x="222" y="304"/>
                  </a:cubicBezTo>
                  <a:cubicBezTo>
                    <a:pt x="223" y="301"/>
                    <a:pt x="225" y="299"/>
                    <a:pt x="227" y="298"/>
                  </a:cubicBezTo>
                  <a:cubicBezTo>
                    <a:pt x="230" y="295"/>
                    <a:pt x="233" y="293"/>
                    <a:pt x="234" y="289"/>
                  </a:cubicBezTo>
                  <a:cubicBezTo>
                    <a:pt x="236" y="285"/>
                    <a:pt x="235" y="282"/>
                    <a:pt x="235" y="279"/>
                  </a:cubicBezTo>
                  <a:cubicBezTo>
                    <a:pt x="235" y="279"/>
                    <a:pt x="234" y="277"/>
                    <a:pt x="234" y="277"/>
                  </a:cubicBezTo>
                  <a:cubicBezTo>
                    <a:pt x="234" y="272"/>
                    <a:pt x="234" y="267"/>
                    <a:pt x="234" y="263"/>
                  </a:cubicBezTo>
                  <a:cubicBezTo>
                    <a:pt x="235" y="261"/>
                    <a:pt x="235" y="261"/>
                    <a:pt x="235" y="261"/>
                  </a:cubicBezTo>
                  <a:cubicBezTo>
                    <a:pt x="235" y="260"/>
                    <a:pt x="235" y="259"/>
                    <a:pt x="235" y="258"/>
                  </a:cubicBezTo>
                  <a:cubicBezTo>
                    <a:pt x="236" y="253"/>
                    <a:pt x="236" y="250"/>
                    <a:pt x="235" y="247"/>
                  </a:cubicBezTo>
                  <a:cubicBezTo>
                    <a:pt x="234" y="246"/>
                    <a:pt x="233" y="245"/>
                    <a:pt x="233" y="244"/>
                  </a:cubicBezTo>
                  <a:cubicBezTo>
                    <a:pt x="231" y="241"/>
                    <a:pt x="230" y="239"/>
                    <a:pt x="229" y="235"/>
                  </a:cubicBezTo>
                  <a:cubicBezTo>
                    <a:pt x="229" y="233"/>
                    <a:pt x="229" y="233"/>
                    <a:pt x="229" y="233"/>
                  </a:cubicBezTo>
                  <a:cubicBezTo>
                    <a:pt x="229" y="225"/>
                    <a:pt x="228" y="217"/>
                    <a:pt x="236" y="212"/>
                  </a:cubicBezTo>
                  <a:cubicBezTo>
                    <a:pt x="238" y="210"/>
                    <a:pt x="238" y="210"/>
                    <a:pt x="238" y="210"/>
                  </a:cubicBezTo>
                  <a:cubicBezTo>
                    <a:pt x="244" y="206"/>
                    <a:pt x="251" y="201"/>
                    <a:pt x="254" y="195"/>
                  </a:cubicBezTo>
                  <a:cubicBezTo>
                    <a:pt x="257" y="189"/>
                    <a:pt x="253" y="187"/>
                    <a:pt x="249" y="184"/>
                  </a:cubicBezTo>
                  <a:cubicBezTo>
                    <a:pt x="247" y="182"/>
                    <a:pt x="245" y="180"/>
                    <a:pt x="243" y="178"/>
                  </a:cubicBezTo>
                  <a:cubicBezTo>
                    <a:pt x="241" y="173"/>
                    <a:pt x="246" y="167"/>
                    <a:pt x="254" y="160"/>
                  </a:cubicBezTo>
                  <a:cubicBezTo>
                    <a:pt x="258" y="157"/>
                    <a:pt x="262" y="154"/>
                    <a:pt x="263" y="151"/>
                  </a:cubicBezTo>
                  <a:cubicBezTo>
                    <a:pt x="265" y="147"/>
                    <a:pt x="265" y="144"/>
                    <a:pt x="264" y="141"/>
                  </a:cubicBezTo>
                  <a:cubicBezTo>
                    <a:pt x="263" y="138"/>
                    <a:pt x="258" y="136"/>
                    <a:pt x="254" y="135"/>
                  </a:cubicBezTo>
                  <a:cubicBezTo>
                    <a:pt x="250" y="134"/>
                    <a:pt x="246" y="132"/>
                    <a:pt x="244" y="130"/>
                  </a:cubicBezTo>
                  <a:cubicBezTo>
                    <a:pt x="241" y="128"/>
                    <a:pt x="240" y="125"/>
                    <a:pt x="240" y="123"/>
                  </a:cubicBezTo>
                  <a:cubicBezTo>
                    <a:pt x="240" y="121"/>
                    <a:pt x="241" y="118"/>
                    <a:pt x="243" y="117"/>
                  </a:cubicBezTo>
                  <a:cubicBezTo>
                    <a:pt x="244" y="116"/>
                    <a:pt x="244" y="116"/>
                    <a:pt x="244" y="116"/>
                  </a:cubicBezTo>
                  <a:cubicBezTo>
                    <a:pt x="248" y="112"/>
                    <a:pt x="252" y="109"/>
                    <a:pt x="255" y="104"/>
                  </a:cubicBezTo>
                  <a:cubicBezTo>
                    <a:pt x="256" y="102"/>
                    <a:pt x="257" y="100"/>
                    <a:pt x="257" y="98"/>
                  </a:cubicBezTo>
                  <a:cubicBezTo>
                    <a:pt x="258" y="95"/>
                    <a:pt x="258" y="93"/>
                    <a:pt x="259" y="91"/>
                  </a:cubicBezTo>
                  <a:cubicBezTo>
                    <a:pt x="261" y="88"/>
                    <a:pt x="264" y="87"/>
                    <a:pt x="267" y="85"/>
                  </a:cubicBezTo>
                  <a:cubicBezTo>
                    <a:pt x="269" y="84"/>
                    <a:pt x="271" y="83"/>
                    <a:pt x="272" y="82"/>
                  </a:cubicBezTo>
                  <a:cubicBezTo>
                    <a:pt x="275" y="80"/>
                    <a:pt x="276" y="77"/>
                    <a:pt x="278" y="73"/>
                  </a:cubicBezTo>
                  <a:cubicBezTo>
                    <a:pt x="280" y="72"/>
                    <a:pt x="281" y="70"/>
                    <a:pt x="282" y="68"/>
                  </a:cubicBezTo>
                  <a:cubicBezTo>
                    <a:pt x="283" y="67"/>
                    <a:pt x="284" y="65"/>
                    <a:pt x="285" y="64"/>
                  </a:cubicBezTo>
                  <a:cubicBezTo>
                    <a:pt x="286" y="62"/>
                    <a:pt x="286" y="62"/>
                    <a:pt x="286" y="62"/>
                  </a:cubicBezTo>
                  <a:lnTo>
                    <a:pt x="283" y="59"/>
                  </a:ln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3" name="Freeform 172">
              <a:extLst>
                <a:ext uri="{FF2B5EF4-FFF2-40B4-BE49-F238E27FC236}">
                  <a16:creationId xmlns:a16="http://schemas.microsoft.com/office/drawing/2014/main" id="{4C451BC9-BF17-8944-8CC7-AE7FEF8623FC}"/>
                </a:ext>
              </a:extLst>
            </p:cNvPr>
            <p:cNvSpPr>
              <a:spLocks noEditPoints="1"/>
            </p:cNvSpPr>
            <p:nvPr/>
          </p:nvSpPr>
          <p:spPr bwMode="auto">
            <a:xfrm>
              <a:off x="15274470" y="6446519"/>
              <a:ext cx="1547019" cy="2292148"/>
            </a:xfrm>
            <a:custGeom>
              <a:avLst/>
              <a:gdLst>
                <a:gd name="T0" fmla="*/ 281 w 284"/>
                <a:gd name="T1" fmla="*/ 36 h 462"/>
                <a:gd name="T2" fmla="*/ 140 w 284"/>
                <a:gd name="T3" fmla="*/ 1 h 462"/>
                <a:gd name="T4" fmla="*/ 137 w 284"/>
                <a:gd name="T5" fmla="*/ 0 h 462"/>
                <a:gd name="T6" fmla="*/ 128 w 284"/>
                <a:gd name="T7" fmla="*/ 27 h 462"/>
                <a:gd name="T8" fmla="*/ 136 w 284"/>
                <a:gd name="T9" fmla="*/ 21 h 462"/>
                <a:gd name="T10" fmla="*/ 140 w 284"/>
                <a:gd name="T11" fmla="*/ 19 h 462"/>
                <a:gd name="T12" fmla="*/ 141 w 284"/>
                <a:gd name="T13" fmla="*/ 19 h 462"/>
                <a:gd name="T14" fmla="*/ 145 w 284"/>
                <a:gd name="T15" fmla="*/ 24 h 462"/>
                <a:gd name="T16" fmla="*/ 152 w 284"/>
                <a:gd name="T17" fmla="*/ 31 h 462"/>
                <a:gd name="T18" fmla="*/ 158 w 284"/>
                <a:gd name="T19" fmla="*/ 32 h 462"/>
                <a:gd name="T20" fmla="*/ 166 w 284"/>
                <a:gd name="T21" fmla="*/ 34 h 462"/>
                <a:gd name="T22" fmla="*/ 165 w 284"/>
                <a:gd name="T23" fmla="*/ 34 h 462"/>
                <a:gd name="T24" fmla="*/ 158 w 284"/>
                <a:gd name="T25" fmla="*/ 36 h 462"/>
                <a:gd name="T26" fmla="*/ 155 w 284"/>
                <a:gd name="T27" fmla="*/ 36 h 462"/>
                <a:gd name="T28" fmla="*/ 145 w 284"/>
                <a:gd name="T29" fmla="*/ 34 h 462"/>
                <a:gd name="T30" fmla="*/ 130 w 284"/>
                <a:gd name="T31" fmla="*/ 31 h 462"/>
                <a:gd name="T32" fmla="*/ 129 w 284"/>
                <a:gd name="T33" fmla="*/ 31 h 462"/>
                <a:gd name="T34" fmla="*/ 127 w 284"/>
                <a:gd name="T35" fmla="*/ 31 h 462"/>
                <a:gd name="T36" fmla="*/ 0 w 284"/>
                <a:gd name="T37" fmla="*/ 405 h 462"/>
                <a:gd name="T38" fmla="*/ 3 w 284"/>
                <a:gd name="T39" fmla="*/ 406 h 462"/>
                <a:gd name="T40" fmla="*/ 127 w 284"/>
                <a:gd name="T41" fmla="*/ 442 h 462"/>
                <a:gd name="T42" fmla="*/ 177 w 284"/>
                <a:gd name="T43" fmla="*/ 454 h 462"/>
                <a:gd name="T44" fmla="*/ 184 w 284"/>
                <a:gd name="T45" fmla="*/ 455 h 462"/>
                <a:gd name="T46" fmla="*/ 217 w 284"/>
                <a:gd name="T47" fmla="*/ 461 h 462"/>
                <a:gd name="T48" fmla="*/ 220 w 284"/>
                <a:gd name="T49" fmla="*/ 462 h 462"/>
                <a:gd name="T50" fmla="*/ 221 w 284"/>
                <a:gd name="T51" fmla="*/ 459 h 462"/>
                <a:gd name="T52" fmla="*/ 267 w 284"/>
                <a:gd name="T53" fmla="*/ 144 h 462"/>
                <a:gd name="T54" fmla="*/ 261 w 284"/>
                <a:gd name="T55" fmla="*/ 143 h 462"/>
                <a:gd name="T56" fmla="*/ 261 w 284"/>
                <a:gd name="T57" fmla="*/ 145 h 462"/>
                <a:gd name="T58" fmla="*/ 257 w 284"/>
                <a:gd name="T59" fmla="*/ 150 h 462"/>
                <a:gd name="T60" fmla="*/ 255 w 284"/>
                <a:gd name="T61" fmla="*/ 151 h 462"/>
                <a:gd name="T62" fmla="*/ 253 w 284"/>
                <a:gd name="T63" fmla="*/ 154 h 462"/>
                <a:gd name="T64" fmla="*/ 253 w 284"/>
                <a:gd name="T65" fmla="*/ 148 h 462"/>
                <a:gd name="T66" fmla="*/ 252 w 284"/>
                <a:gd name="T67" fmla="*/ 145 h 462"/>
                <a:gd name="T68" fmla="*/ 252 w 284"/>
                <a:gd name="T69" fmla="*/ 144 h 462"/>
                <a:gd name="T70" fmla="*/ 251 w 284"/>
                <a:gd name="T71" fmla="*/ 143 h 462"/>
                <a:gd name="T72" fmla="*/ 251 w 284"/>
                <a:gd name="T73" fmla="*/ 142 h 462"/>
                <a:gd name="T74" fmla="*/ 251 w 284"/>
                <a:gd name="T75" fmla="*/ 140 h 462"/>
                <a:gd name="T76" fmla="*/ 250 w 284"/>
                <a:gd name="T77" fmla="*/ 136 h 462"/>
                <a:gd name="T78" fmla="*/ 249 w 284"/>
                <a:gd name="T79" fmla="*/ 135 h 462"/>
                <a:gd name="T80" fmla="*/ 257 w 284"/>
                <a:gd name="T81" fmla="*/ 125 h 462"/>
                <a:gd name="T82" fmla="*/ 258 w 284"/>
                <a:gd name="T83" fmla="*/ 123 h 462"/>
                <a:gd name="T84" fmla="*/ 260 w 284"/>
                <a:gd name="T85" fmla="*/ 121 h 462"/>
                <a:gd name="T86" fmla="*/ 269 w 284"/>
                <a:gd name="T87" fmla="*/ 114 h 462"/>
                <a:gd name="T88" fmla="*/ 272 w 284"/>
                <a:gd name="T89" fmla="*/ 113 h 462"/>
                <a:gd name="T90" fmla="*/ 272 w 284"/>
                <a:gd name="T91" fmla="*/ 111 h 462"/>
                <a:gd name="T92" fmla="*/ 284 w 284"/>
                <a:gd name="T93" fmla="*/ 39 h 462"/>
                <a:gd name="T94" fmla="*/ 284 w 284"/>
                <a:gd name="T95" fmla="*/ 36 h 462"/>
                <a:gd name="T96" fmla="*/ 281 w 284"/>
                <a:gd name="T97" fmla="*/ 36 h 462"/>
                <a:gd name="T98" fmla="*/ 233 w 284"/>
                <a:gd name="T99" fmla="*/ 166 h 462"/>
                <a:gd name="T100" fmla="*/ 237 w 284"/>
                <a:gd name="T101" fmla="*/ 160 h 462"/>
                <a:gd name="T102" fmla="*/ 239 w 284"/>
                <a:gd name="T103" fmla="*/ 164 h 462"/>
                <a:gd name="T104" fmla="*/ 238 w 284"/>
                <a:gd name="T105" fmla="*/ 165 h 462"/>
                <a:gd name="T106" fmla="*/ 233 w 284"/>
                <a:gd name="T107" fmla="*/ 167 h 462"/>
                <a:gd name="T108" fmla="*/ 233 w 284"/>
                <a:gd name="T109" fmla="*/ 167 h 462"/>
                <a:gd name="T110" fmla="*/ 233 w 284"/>
                <a:gd name="T111" fmla="*/ 166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4" h="462">
                  <a:moveTo>
                    <a:pt x="281" y="36"/>
                  </a:moveTo>
                  <a:cubicBezTo>
                    <a:pt x="267" y="34"/>
                    <a:pt x="214" y="25"/>
                    <a:pt x="140" y="1"/>
                  </a:cubicBezTo>
                  <a:cubicBezTo>
                    <a:pt x="137" y="0"/>
                    <a:pt x="137" y="0"/>
                    <a:pt x="137" y="0"/>
                  </a:cubicBezTo>
                  <a:cubicBezTo>
                    <a:pt x="128" y="27"/>
                    <a:pt x="128" y="27"/>
                    <a:pt x="128" y="27"/>
                  </a:cubicBezTo>
                  <a:cubicBezTo>
                    <a:pt x="136" y="21"/>
                    <a:pt x="136" y="21"/>
                    <a:pt x="136" y="21"/>
                  </a:cubicBezTo>
                  <a:cubicBezTo>
                    <a:pt x="137" y="20"/>
                    <a:pt x="139" y="19"/>
                    <a:pt x="140" y="19"/>
                  </a:cubicBezTo>
                  <a:cubicBezTo>
                    <a:pt x="140" y="19"/>
                    <a:pt x="141" y="19"/>
                    <a:pt x="141" y="19"/>
                  </a:cubicBezTo>
                  <a:cubicBezTo>
                    <a:pt x="143" y="20"/>
                    <a:pt x="144" y="22"/>
                    <a:pt x="145" y="24"/>
                  </a:cubicBezTo>
                  <a:cubicBezTo>
                    <a:pt x="147" y="26"/>
                    <a:pt x="149" y="29"/>
                    <a:pt x="152" y="31"/>
                  </a:cubicBezTo>
                  <a:cubicBezTo>
                    <a:pt x="154" y="32"/>
                    <a:pt x="156" y="32"/>
                    <a:pt x="158" y="32"/>
                  </a:cubicBezTo>
                  <a:cubicBezTo>
                    <a:pt x="163" y="32"/>
                    <a:pt x="165" y="33"/>
                    <a:pt x="166" y="34"/>
                  </a:cubicBezTo>
                  <a:cubicBezTo>
                    <a:pt x="166" y="34"/>
                    <a:pt x="166" y="34"/>
                    <a:pt x="165" y="34"/>
                  </a:cubicBezTo>
                  <a:cubicBezTo>
                    <a:pt x="165" y="35"/>
                    <a:pt x="162" y="36"/>
                    <a:pt x="158" y="36"/>
                  </a:cubicBezTo>
                  <a:cubicBezTo>
                    <a:pt x="156" y="36"/>
                    <a:pt x="155" y="36"/>
                    <a:pt x="155" y="36"/>
                  </a:cubicBezTo>
                  <a:cubicBezTo>
                    <a:pt x="152" y="36"/>
                    <a:pt x="148" y="35"/>
                    <a:pt x="145" y="34"/>
                  </a:cubicBezTo>
                  <a:cubicBezTo>
                    <a:pt x="140" y="32"/>
                    <a:pt x="135" y="31"/>
                    <a:pt x="130" y="31"/>
                  </a:cubicBezTo>
                  <a:cubicBezTo>
                    <a:pt x="129" y="31"/>
                    <a:pt x="129" y="31"/>
                    <a:pt x="129" y="31"/>
                  </a:cubicBezTo>
                  <a:cubicBezTo>
                    <a:pt x="127" y="31"/>
                    <a:pt x="127" y="31"/>
                    <a:pt x="127" y="31"/>
                  </a:cubicBezTo>
                  <a:cubicBezTo>
                    <a:pt x="0" y="405"/>
                    <a:pt x="0" y="405"/>
                    <a:pt x="0" y="405"/>
                  </a:cubicBezTo>
                  <a:cubicBezTo>
                    <a:pt x="3" y="406"/>
                    <a:pt x="3" y="406"/>
                    <a:pt x="3" y="406"/>
                  </a:cubicBezTo>
                  <a:cubicBezTo>
                    <a:pt x="42" y="418"/>
                    <a:pt x="83" y="430"/>
                    <a:pt x="127" y="442"/>
                  </a:cubicBezTo>
                  <a:cubicBezTo>
                    <a:pt x="143" y="447"/>
                    <a:pt x="160" y="450"/>
                    <a:pt x="177" y="454"/>
                  </a:cubicBezTo>
                  <a:cubicBezTo>
                    <a:pt x="184" y="455"/>
                    <a:pt x="184" y="455"/>
                    <a:pt x="184" y="455"/>
                  </a:cubicBezTo>
                  <a:cubicBezTo>
                    <a:pt x="194" y="457"/>
                    <a:pt x="205" y="459"/>
                    <a:pt x="217" y="461"/>
                  </a:cubicBezTo>
                  <a:cubicBezTo>
                    <a:pt x="220" y="462"/>
                    <a:pt x="220" y="462"/>
                    <a:pt x="220" y="462"/>
                  </a:cubicBezTo>
                  <a:cubicBezTo>
                    <a:pt x="221" y="459"/>
                    <a:pt x="221" y="459"/>
                    <a:pt x="221" y="459"/>
                  </a:cubicBezTo>
                  <a:cubicBezTo>
                    <a:pt x="226" y="419"/>
                    <a:pt x="247" y="277"/>
                    <a:pt x="267" y="144"/>
                  </a:cubicBezTo>
                  <a:cubicBezTo>
                    <a:pt x="261" y="143"/>
                    <a:pt x="261" y="143"/>
                    <a:pt x="261" y="143"/>
                  </a:cubicBezTo>
                  <a:cubicBezTo>
                    <a:pt x="261" y="143"/>
                    <a:pt x="261" y="144"/>
                    <a:pt x="261" y="145"/>
                  </a:cubicBezTo>
                  <a:cubicBezTo>
                    <a:pt x="260" y="147"/>
                    <a:pt x="258" y="148"/>
                    <a:pt x="257" y="150"/>
                  </a:cubicBezTo>
                  <a:cubicBezTo>
                    <a:pt x="256" y="150"/>
                    <a:pt x="256" y="151"/>
                    <a:pt x="255" y="151"/>
                  </a:cubicBezTo>
                  <a:cubicBezTo>
                    <a:pt x="254" y="152"/>
                    <a:pt x="253" y="153"/>
                    <a:pt x="253" y="154"/>
                  </a:cubicBezTo>
                  <a:cubicBezTo>
                    <a:pt x="253" y="152"/>
                    <a:pt x="253" y="150"/>
                    <a:pt x="253" y="148"/>
                  </a:cubicBezTo>
                  <a:cubicBezTo>
                    <a:pt x="253" y="147"/>
                    <a:pt x="252" y="146"/>
                    <a:pt x="252" y="145"/>
                  </a:cubicBezTo>
                  <a:cubicBezTo>
                    <a:pt x="252" y="144"/>
                    <a:pt x="252" y="144"/>
                    <a:pt x="252" y="144"/>
                  </a:cubicBezTo>
                  <a:cubicBezTo>
                    <a:pt x="251" y="143"/>
                    <a:pt x="251" y="143"/>
                    <a:pt x="251" y="143"/>
                  </a:cubicBezTo>
                  <a:cubicBezTo>
                    <a:pt x="251" y="142"/>
                    <a:pt x="251" y="142"/>
                    <a:pt x="251" y="142"/>
                  </a:cubicBezTo>
                  <a:cubicBezTo>
                    <a:pt x="251" y="141"/>
                    <a:pt x="251" y="141"/>
                    <a:pt x="251" y="140"/>
                  </a:cubicBezTo>
                  <a:cubicBezTo>
                    <a:pt x="251" y="138"/>
                    <a:pt x="250" y="137"/>
                    <a:pt x="250" y="136"/>
                  </a:cubicBezTo>
                  <a:cubicBezTo>
                    <a:pt x="250" y="136"/>
                    <a:pt x="250" y="135"/>
                    <a:pt x="249" y="135"/>
                  </a:cubicBezTo>
                  <a:cubicBezTo>
                    <a:pt x="248" y="132"/>
                    <a:pt x="254" y="127"/>
                    <a:pt x="257" y="125"/>
                  </a:cubicBezTo>
                  <a:cubicBezTo>
                    <a:pt x="258" y="123"/>
                    <a:pt x="258" y="123"/>
                    <a:pt x="258" y="123"/>
                  </a:cubicBezTo>
                  <a:cubicBezTo>
                    <a:pt x="258" y="123"/>
                    <a:pt x="259" y="122"/>
                    <a:pt x="260" y="121"/>
                  </a:cubicBezTo>
                  <a:cubicBezTo>
                    <a:pt x="262" y="119"/>
                    <a:pt x="267" y="114"/>
                    <a:pt x="269" y="114"/>
                  </a:cubicBezTo>
                  <a:cubicBezTo>
                    <a:pt x="272" y="113"/>
                    <a:pt x="272" y="113"/>
                    <a:pt x="272" y="113"/>
                  </a:cubicBezTo>
                  <a:cubicBezTo>
                    <a:pt x="272" y="111"/>
                    <a:pt x="272" y="111"/>
                    <a:pt x="272" y="111"/>
                  </a:cubicBezTo>
                  <a:cubicBezTo>
                    <a:pt x="276" y="86"/>
                    <a:pt x="280" y="62"/>
                    <a:pt x="284" y="39"/>
                  </a:cubicBezTo>
                  <a:cubicBezTo>
                    <a:pt x="284" y="36"/>
                    <a:pt x="284" y="36"/>
                    <a:pt x="284" y="36"/>
                  </a:cubicBezTo>
                  <a:lnTo>
                    <a:pt x="281" y="36"/>
                  </a:lnTo>
                  <a:close/>
                  <a:moveTo>
                    <a:pt x="233" y="166"/>
                  </a:moveTo>
                  <a:cubicBezTo>
                    <a:pt x="233" y="164"/>
                    <a:pt x="235" y="161"/>
                    <a:pt x="237" y="160"/>
                  </a:cubicBezTo>
                  <a:cubicBezTo>
                    <a:pt x="237" y="161"/>
                    <a:pt x="237" y="163"/>
                    <a:pt x="239" y="164"/>
                  </a:cubicBezTo>
                  <a:cubicBezTo>
                    <a:pt x="238" y="164"/>
                    <a:pt x="238" y="165"/>
                    <a:pt x="238" y="165"/>
                  </a:cubicBezTo>
                  <a:cubicBezTo>
                    <a:pt x="236" y="166"/>
                    <a:pt x="235" y="167"/>
                    <a:pt x="233" y="167"/>
                  </a:cubicBezTo>
                  <a:cubicBezTo>
                    <a:pt x="233" y="167"/>
                    <a:pt x="233" y="167"/>
                    <a:pt x="233" y="167"/>
                  </a:cubicBezTo>
                  <a:cubicBezTo>
                    <a:pt x="233" y="167"/>
                    <a:pt x="233" y="167"/>
                    <a:pt x="233" y="16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4" name="Freeform 173">
              <a:extLst>
                <a:ext uri="{FF2B5EF4-FFF2-40B4-BE49-F238E27FC236}">
                  <a16:creationId xmlns:a16="http://schemas.microsoft.com/office/drawing/2014/main" id="{D809CE46-B9F2-5640-90C7-FE99342A074D}"/>
                </a:ext>
              </a:extLst>
            </p:cNvPr>
            <p:cNvSpPr>
              <a:spLocks noEditPoints="1"/>
            </p:cNvSpPr>
            <p:nvPr/>
          </p:nvSpPr>
          <p:spPr bwMode="auto">
            <a:xfrm>
              <a:off x="13152961" y="4988728"/>
              <a:ext cx="1891713" cy="3292629"/>
            </a:xfrm>
            <a:custGeom>
              <a:avLst/>
              <a:gdLst>
                <a:gd name="T0" fmla="*/ 281 w 347"/>
                <a:gd name="T1" fmla="*/ 180 h 664"/>
                <a:gd name="T2" fmla="*/ 48 w 347"/>
                <a:gd name="T3" fmla="*/ 37 h 664"/>
                <a:gd name="T4" fmla="*/ 56 w 347"/>
                <a:gd name="T5" fmla="*/ 60 h 664"/>
                <a:gd name="T6" fmla="*/ 94 w 347"/>
                <a:gd name="T7" fmla="*/ 61 h 664"/>
                <a:gd name="T8" fmla="*/ 90 w 347"/>
                <a:gd name="T9" fmla="*/ 86 h 664"/>
                <a:gd name="T10" fmla="*/ 83 w 347"/>
                <a:gd name="T11" fmla="*/ 161 h 664"/>
                <a:gd name="T12" fmla="*/ 76 w 347"/>
                <a:gd name="T13" fmla="*/ 193 h 664"/>
                <a:gd name="T14" fmla="*/ 79 w 347"/>
                <a:gd name="T15" fmla="*/ 207 h 664"/>
                <a:gd name="T16" fmla="*/ 91 w 347"/>
                <a:gd name="T17" fmla="*/ 235 h 664"/>
                <a:gd name="T18" fmla="*/ 77 w 347"/>
                <a:gd name="T19" fmla="*/ 268 h 664"/>
                <a:gd name="T20" fmla="*/ 63 w 347"/>
                <a:gd name="T21" fmla="*/ 276 h 664"/>
                <a:gd name="T22" fmla="*/ 56 w 347"/>
                <a:gd name="T23" fmla="*/ 282 h 664"/>
                <a:gd name="T24" fmla="*/ 40 w 347"/>
                <a:gd name="T25" fmla="*/ 293 h 664"/>
                <a:gd name="T26" fmla="*/ 31 w 347"/>
                <a:gd name="T27" fmla="*/ 295 h 664"/>
                <a:gd name="T28" fmla="*/ 36 w 347"/>
                <a:gd name="T29" fmla="*/ 311 h 664"/>
                <a:gd name="T30" fmla="*/ 28 w 347"/>
                <a:gd name="T31" fmla="*/ 327 h 664"/>
                <a:gd name="T32" fmla="*/ 40 w 347"/>
                <a:gd name="T33" fmla="*/ 337 h 664"/>
                <a:gd name="T34" fmla="*/ 60 w 347"/>
                <a:gd name="T35" fmla="*/ 330 h 664"/>
                <a:gd name="T36" fmla="*/ 52 w 347"/>
                <a:gd name="T37" fmla="*/ 338 h 664"/>
                <a:gd name="T38" fmla="*/ 31 w 347"/>
                <a:gd name="T39" fmla="*/ 352 h 664"/>
                <a:gd name="T40" fmla="*/ 39 w 347"/>
                <a:gd name="T41" fmla="*/ 365 h 664"/>
                <a:gd name="T42" fmla="*/ 46 w 347"/>
                <a:gd name="T43" fmla="*/ 369 h 664"/>
                <a:gd name="T44" fmla="*/ 45 w 347"/>
                <a:gd name="T45" fmla="*/ 382 h 664"/>
                <a:gd name="T46" fmla="*/ 41 w 347"/>
                <a:gd name="T47" fmla="*/ 390 h 664"/>
                <a:gd name="T48" fmla="*/ 26 w 347"/>
                <a:gd name="T49" fmla="*/ 405 h 664"/>
                <a:gd name="T50" fmla="*/ 34 w 347"/>
                <a:gd name="T51" fmla="*/ 418 h 664"/>
                <a:gd name="T52" fmla="*/ 26 w 347"/>
                <a:gd name="T53" fmla="*/ 433 h 664"/>
                <a:gd name="T54" fmla="*/ 38 w 347"/>
                <a:gd name="T55" fmla="*/ 450 h 664"/>
                <a:gd name="T56" fmla="*/ 33 w 347"/>
                <a:gd name="T57" fmla="*/ 454 h 664"/>
                <a:gd name="T58" fmla="*/ 9 w 347"/>
                <a:gd name="T59" fmla="*/ 427 h 664"/>
                <a:gd name="T60" fmla="*/ 6 w 347"/>
                <a:gd name="T61" fmla="*/ 448 h 664"/>
                <a:gd name="T62" fmla="*/ 8 w 347"/>
                <a:gd name="T63" fmla="*/ 465 h 664"/>
                <a:gd name="T64" fmla="*/ 10 w 347"/>
                <a:gd name="T65" fmla="*/ 479 h 664"/>
                <a:gd name="T66" fmla="*/ 14 w 347"/>
                <a:gd name="T67" fmla="*/ 494 h 664"/>
                <a:gd name="T68" fmla="*/ 26 w 347"/>
                <a:gd name="T69" fmla="*/ 516 h 664"/>
                <a:gd name="T70" fmla="*/ 30 w 347"/>
                <a:gd name="T71" fmla="*/ 536 h 664"/>
                <a:gd name="T72" fmla="*/ 33 w 347"/>
                <a:gd name="T73" fmla="*/ 539 h 664"/>
                <a:gd name="T74" fmla="*/ 46 w 347"/>
                <a:gd name="T75" fmla="*/ 575 h 664"/>
                <a:gd name="T76" fmla="*/ 70 w 347"/>
                <a:gd name="T77" fmla="*/ 560 h 664"/>
                <a:gd name="T78" fmla="*/ 59 w 347"/>
                <a:gd name="T79" fmla="*/ 486 h 664"/>
                <a:gd name="T80" fmla="*/ 64 w 347"/>
                <a:gd name="T81" fmla="*/ 487 h 664"/>
                <a:gd name="T82" fmla="*/ 59 w 347"/>
                <a:gd name="T83" fmla="*/ 502 h 664"/>
                <a:gd name="T84" fmla="*/ 62 w 347"/>
                <a:gd name="T85" fmla="*/ 512 h 664"/>
                <a:gd name="T86" fmla="*/ 70 w 347"/>
                <a:gd name="T87" fmla="*/ 534 h 664"/>
                <a:gd name="T88" fmla="*/ 83 w 347"/>
                <a:gd name="T89" fmla="*/ 545 h 664"/>
                <a:gd name="T90" fmla="*/ 284 w 347"/>
                <a:gd name="T91" fmla="*/ 662 h 664"/>
                <a:gd name="T92" fmla="*/ 295 w 347"/>
                <a:gd name="T93" fmla="*/ 599 h 664"/>
                <a:gd name="T94" fmla="*/ 268 w 347"/>
                <a:gd name="T95" fmla="*/ 530 h 664"/>
                <a:gd name="T96" fmla="*/ 252 w 347"/>
                <a:gd name="T97" fmla="*/ 484 h 664"/>
                <a:gd name="T98" fmla="*/ 254 w 347"/>
                <a:gd name="T99" fmla="*/ 402 h 664"/>
                <a:gd name="T100" fmla="*/ 346 w 347"/>
                <a:gd name="T101" fmla="*/ 220 h 664"/>
                <a:gd name="T102" fmla="*/ 70 w 347"/>
                <a:gd name="T103" fmla="*/ 500 h 664"/>
                <a:gd name="T104" fmla="*/ 47 w 347"/>
                <a:gd name="T105" fmla="*/ 465 h 664"/>
                <a:gd name="T106" fmla="*/ 45 w 347"/>
                <a:gd name="T107" fmla="*/ 465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7" h="664">
                  <a:moveTo>
                    <a:pt x="345" y="216"/>
                  </a:moveTo>
                  <a:cubicBezTo>
                    <a:pt x="324" y="205"/>
                    <a:pt x="303" y="193"/>
                    <a:pt x="282" y="181"/>
                  </a:cubicBezTo>
                  <a:cubicBezTo>
                    <a:pt x="282" y="181"/>
                    <a:pt x="282" y="181"/>
                    <a:pt x="282" y="181"/>
                  </a:cubicBezTo>
                  <a:cubicBezTo>
                    <a:pt x="282" y="181"/>
                    <a:pt x="282" y="181"/>
                    <a:pt x="282" y="181"/>
                  </a:cubicBezTo>
                  <a:cubicBezTo>
                    <a:pt x="281" y="180"/>
                    <a:pt x="281" y="180"/>
                    <a:pt x="281" y="180"/>
                  </a:cubicBezTo>
                  <a:cubicBezTo>
                    <a:pt x="281" y="180"/>
                    <a:pt x="281" y="180"/>
                    <a:pt x="281" y="180"/>
                  </a:cubicBezTo>
                  <a:cubicBezTo>
                    <a:pt x="160" y="107"/>
                    <a:pt x="75" y="27"/>
                    <a:pt x="52" y="4"/>
                  </a:cubicBezTo>
                  <a:cubicBezTo>
                    <a:pt x="48" y="0"/>
                    <a:pt x="48" y="0"/>
                    <a:pt x="48" y="0"/>
                  </a:cubicBezTo>
                  <a:cubicBezTo>
                    <a:pt x="47" y="6"/>
                    <a:pt x="47" y="6"/>
                    <a:pt x="47" y="6"/>
                  </a:cubicBezTo>
                  <a:cubicBezTo>
                    <a:pt x="46" y="11"/>
                    <a:pt x="47" y="17"/>
                    <a:pt x="47" y="23"/>
                  </a:cubicBezTo>
                  <a:cubicBezTo>
                    <a:pt x="48" y="26"/>
                    <a:pt x="48" y="30"/>
                    <a:pt x="48" y="32"/>
                  </a:cubicBezTo>
                  <a:cubicBezTo>
                    <a:pt x="48" y="34"/>
                    <a:pt x="48" y="35"/>
                    <a:pt x="48" y="37"/>
                  </a:cubicBezTo>
                  <a:cubicBezTo>
                    <a:pt x="48" y="40"/>
                    <a:pt x="48" y="43"/>
                    <a:pt x="48" y="45"/>
                  </a:cubicBezTo>
                  <a:cubicBezTo>
                    <a:pt x="48" y="46"/>
                    <a:pt x="47" y="47"/>
                    <a:pt x="47" y="48"/>
                  </a:cubicBezTo>
                  <a:cubicBezTo>
                    <a:pt x="46" y="51"/>
                    <a:pt x="43" y="57"/>
                    <a:pt x="48" y="60"/>
                  </a:cubicBezTo>
                  <a:cubicBezTo>
                    <a:pt x="49" y="61"/>
                    <a:pt x="50" y="61"/>
                    <a:pt x="51" y="61"/>
                  </a:cubicBezTo>
                  <a:cubicBezTo>
                    <a:pt x="52" y="61"/>
                    <a:pt x="54" y="61"/>
                    <a:pt x="55" y="61"/>
                  </a:cubicBezTo>
                  <a:cubicBezTo>
                    <a:pt x="55" y="60"/>
                    <a:pt x="56" y="60"/>
                    <a:pt x="56" y="60"/>
                  </a:cubicBezTo>
                  <a:cubicBezTo>
                    <a:pt x="58" y="60"/>
                    <a:pt x="60" y="61"/>
                    <a:pt x="62" y="62"/>
                  </a:cubicBezTo>
                  <a:cubicBezTo>
                    <a:pt x="64" y="62"/>
                    <a:pt x="66" y="63"/>
                    <a:pt x="67" y="63"/>
                  </a:cubicBezTo>
                  <a:cubicBezTo>
                    <a:pt x="70" y="63"/>
                    <a:pt x="72" y="61"/>
                    <a:pt x="75" y="59"/>
                  </a:cubicBezTo>
                  <a:cubicBezTo>
                    <a:pt x="76" y="58"/>
                    <a:pt x="76" y="58"/>
                    <a:pt x="76" y="58"/>
                  </a:cubicBezTo>
                  <a:cubicBezTo>
                    <a:pt x="78" y="57"/>
                    <a:pt x="81" y="56"/>
                    <a:pt x="85" y="56"/>
                  </a:cubicBezTo>
                  <a:cubicBezTo>
                    <a:pt x="87" y="56"/>
                    <a:pt x="93" y="56"/>
                    <a:pt x="94" y="61"/>
                  </a:cubicBezTo>
                  <a:cubicBezTo>
                    <a:pt x="95" y="64"/>
                    <a:pt x="93" y="68"/>
                    <a:pt x="91" y="72"/>
                  </a:cubicBezTo>
                  <a:cubicBezTo>
                    <a:pt x="91" y="72"/>
                    <a:pt x="91" y="73"/>
                    <a:pt x="91" y="73"/>
                  </a:cubicBezTo>
                  <a:cubicBezTo>
                    <a:pt x="90" y="74"/>
                    <a:pt x="89" y="75"/>
                    <a:pt x="89" y="77"/>
                  </a:cubicBezTo>
                  <a:cubicBezTo>
                    <a:pt x="89" y="79"/>
                    <a:pt x="89" y="80"/>
                    <a:pt x="89" y="82"/>
                  </a:cubicBezTo>
                  <a:cubicBezTo>
                    <a:pt x="89" y="82"/>
                    <a:pt x="89" y="83"/>
                    <a:pt x="89" y="83"/>
                  </a:cubicBezTo>
                  <a:cubicBezTo>
                    <a:pt x="90" y="86"/>
                    <a:pt x="90" y="86"/>
                    <a:pt x="90" y="86"/>
                  </a:cubicBezTo>
                  <a:cubicBezTo>
                    <a:pt x="90" y="87"/>
                    <a:pt x="90" y="89"/>
                    <a:pt x="90" y="90"/>
                  </a:cubicBezTo>
                  <a:cubicBezTo>
                    <a:pt x="90" y="92"/>
                    <a:pt x="90" y="94"/>
                    <a:pt x="90" y="97"/>
                  </a:cubicBezTo>
                  <a:cubicBezTo>
                    <a:pt x="89" y="100"/>
                    <a:pt x="89" y="103"/>
                    <a:pt x="89" y="106"/>
                  </a:cubicBezTo>
                  <a:cubicBezTo>
                    <a:pt x="90" y="111"/>
                    <a:pt x="90" y="117"/>
                    <a:pt x="90" y="122"/>
                  </a:cubicBezTo>
                  <a:cubicBezTo>
                    <a:pt x="90" y="131"/>
                    <a:pt x="88" y="142"/>
                    <a:pt x="85" y="152"/>
                  </a:cubicBezTo>
                  <a:cubicBezTo>
                    <a:pt x="84" y="155"/>
                    <a:pt x="83" y="158"/>
                    <a:pt x="83" y="161"/>
                  </a:cubicBezTo>
                  <a:cubicBezTo>
                    <a:pt x="82" y="164"/>
                    <a:pt x="81" y="167"/>
                    <a:pt x="81" y="170"/>
                  </a:cubicBezTo>
                  <a:cubicBezTo>
                    <a:pt x="80" y="171"/>
                    <a:pt x="80" y="172"/>
                    <a:pt x="80" y="173"/>
                  </a:cubicBezTo>
                  <a:cubicBezTo>
                    <a:pt x="80" y="174"/>
                    <a:pt x="79" y="176"/>
                    <a:pt x="79" y="178"/>
                  </a:cubicBezTo>
                  <a:cubicBezTo>
                    <a:pt x="78" y="179"/>
                    <a:pt x="78" y="179"/>
                    <a:pt x="78" y="179"/>
                  </a:cubicBezTo>
                  <a:cubicBezTo>
                    <a:pt x="78" y="180"/>
                    <a:pt x="77" y="182"/>
                    <a:pt x="77" y="184"/>
                  </a:cubicBezTo>
                  <a:cubicBezTo>
                    <a:pt x="76" y="187"/>
                    <a:pt x="76" y="189"/>
                    <a:pt x="76" y="193"/>
                  </a:cubicBezTo>
                  <a:cubicBezTo>
                    <a:pt x="76" y="194"/>
                    <a:pt x="76" y="195"/>
                    <a:pt x="76" y="196"/>
                  </a:cubicBezTo>
                  <a:cubicBezTo>
                    <a:pt x="76" y="196"/>
                    <a:pt x="76" y="197"/>
                    <a:pt x="76" y="197"/>
                  </a:cubicBezTo>
                  <a:cubicBezTo>
                    <a:pt x="76" y="198"/>
                    <a:pt x="76" y="198"/>
                    <a:pt x="76" y="199"/>
                  </a:cubicBezTo>
                  <a:cubicBezTo>
                    <a:pt x="76" y="200"/>
                    <a:pt x="76" y="201"/>
                    <a:pt x="77" y="202"/>
                  </a:cubicBezTo>
                  <a:cubicBezTo>
                    <a:pt x="77" y="204"/>
                    <a:pt x="77" y="205"/>
                    <a:pt x="78" y="205"/>
                  </a:cubicBezTo>
                  <a:cubicBezTo>
                    <a:pt x="78" y="206"/>
                    <a:pt x="78" y="206"/>
                    <a:pt x="79" y="207"/>
                  </a:cubicBezTo>
                  <a:cubicBezTo>
                    <a:pt x="80" y="211"/>
                    <a:pt x="83" y="215"/>
                    <a:pt x="85" y="218"/>
                  </a:cubicBezTo>
                  <a:cubicBezTo>
                    <a:pt x="86" y="219"/>
                    <a:pt x="87" y="221"/>
                    <a:pt x="87" y="222"/>
                  </a:cubicBezTo>
                  <a:cubicBezTo>
                    <a:pt x="87" y="223"/>
                    <a:pt x="87" y="223"/>
                    <a:pt x="87" y="224"/>
                  </a:cubicBezTo>
                  <a:cubicBezTo>
                    <a:pt x="87" y="226"/>
                    <a:pt x="87" y="227"/>
                    <a:pt x="88" y="229"/>
                  </a:cubicBezTo>
                  <a:cubicBezTo>
                    <a:pt x="89" y="230"/>
                    <a:pt x="89" y="230"/>
                    <a:pt x="89" y="231"/>
                  </a:cubicBezTo>
                  <a:cubicBezTo>
                    <a:pt x="90" y="232"/>
                    <a:pt x="91" y="234"/>
                    <a:pt x="91" y="235"/>
                  </a:cubicBezTo>
                  <a:cubicBezTo>
                    <a:pt x="92" y="240"/>
                    <a:pt x="92" y="247"/>
                    <a:pt x="88" y="249"/>
                  </a:cubicBezTo>
                  <a:cubicBezTo>
                    <a:pt x="88" y="250"/>
                    <a:pt x="87" y="250"/>
                    <a:pt x="87" y="250"/>
                  </a:cubicBezTo>
                  <a:cubicBezTo>
                    <a:pt x="84" y="252"/>
                    <a:pt x="81" y="254"/>
                    <a:pt x="81" y="259"/>
                  </a:cubicBezTo>
                  <a:cubicBezTo>
                    <a:pt x="81" y="260"/>
                    <a:pt x="81" y="261"/>
                    <a:pt x="81" y="262"/>
                  </a:cubicBezTo>
                  <a:cubicBezTo>
                    <a:pt x="81" y="263"/>
                    <a:pt x="81" y="265"/>
                    <a:pt x="81" y="266"/>
                  </a:cubicBezTo>
                  <a:cubicBezTo>
                    <a:pt x="80" y="267"/>
                    <a:pt x="79" y="267"/>
                    <a:pt x="77" y="268"/>
                  </a:cubicBezTo>
                  <a:cubicBezTo>
                    <a:pt x="77" y="269"/>
                    <a:pt x="76" y="269"/>
                    <a:pt x="75" y="270"/>
                  </a:cubicBezTo>
                  <a:cubicBezTo>
                    <a:pt x="74" y="271"/>
                    <a:pt x="73" y="271"/>
                    <a:pt x="73" y="272"/>
                  </a:cubicBezTo>
                  <a:cubicBezTo>
                    <a:pt x="72" y="273"/>
                    <a:pt x="72" y="273"/>
                    <a:pt x="72" y="273"/>
                  </a:cubicBezTo>
                  <a:cubicBezTo>
                    <a:pt x="71" y="273"/>
                    <a:pt x="70" y="273"/>
                    <a:pt x="69" y="274"/>
                  </a:cubicBezTo>
                  <a:cubicBezTo>
                    <a:pt x="69" y="274"/>
                    <a:pt x="69" y="274"/>
                    <a:pt x="69" y="274"/>
                  </a:cubicBezTo>
                  <a:cubicBezTo>
                    <a:pt x="66" y="274"/>
                    <a:pt x="64" y="275"/>
                    <a:pt x="63" y="276"/>
                  </a:cubicBezTo>
                  <a:cubicBezTo>
                    <a:pt x="61" y="276"/>
                    <a:pt x="60" y="277"/>
                    <a:pt x="59" y="279"/>
                  </a:cubicBezTo>
                  <a:cubicBezTo>
                    <a:pt x="59" y="280"/>
                    <a:pt x="59" y="280"/>
                    <a:pt x="59" y="281"/>
                  </a:cubicBezTo>
                  <a:cubicBezTo>
                    <a:pt x="59" y="281"/>
                    <a:pt x="58" y="282"/>
                    <a:pt x="58" y="282"/>
                  </a:cubicBezTo>
                  <a:cubicBezTo>
                    <a:pt x="58" y="282"/>
                    <a:pt x="58" y="282"/>
                    <a:pt x="58" y="282"/>
                  </a:cubicBezTo>
                  <a:cubicBezTo>
                    <a:pt x="58" y="282"/>
                    <a:pt x="58" y="282"/>
                    <a:pt x="58" y="282"/>
                  </a:cubicBezTo>
                  <a:cubicBezTo>
                    <a:pt x="57" y="282"/>
                    <a:pt x="57" y="282"/>
                    <a:pt x="56" y="282"/>
                  </a:cubicBezTo>
                  <a:cubicBezTo>
                    <a:pt x="55" y="281"/>
                    <a:pt x="53" y="280"/>
                    <a:pt x="51" y="280"/>
                  </a:cubicBezTo>
                  <a:cubicBezTo>
                    <a:pt x="50" y="280"/>
                    <a:pt x="49" y="280"/>
                    <a:pt x="48" y="281"/>
                  </a:cubicBezTo>
                  <a:cubicBezTo>
                    <a:pt x="43" y="284"/>
                    <a:pt x="44" y="290"/>
                    <a:pt x="45" y="295"/>
                  </a:cubicBezTo>
                  <a:cubicBezTo>
                    <a:pt x="45" y="295"/>
                    <a:pt x="45" y="296"/>
                    <a:pt x="45" y="296"/>
                  </a:cubicBezTo>
                  <a:cubicBezTo>
                    <a:pt x="45" y="296"/>
                    <a:pt x="45" y="295"/>
                    <a:pt x="45" y="295"/>
                  </a:cubicBezTo>
                  <a:cubicBezTo>
                    <a:pt x="43" y="293"/>
                    <a:pt x="41" y="293"/>
                    <a:pt x="40" y="293"/>
                  </a:cubicBezTo>
                  <a:cubicBezTo>
                    <a:pt x="40" y="293"/>
                    <a:pt x="40" y="293"/>
                    <a:pt x="39" y="293"/>
                  </a:cubicBezTo>
                  <a:cubicBezTo>
                    <a:pt x="39" y="293"/>
                    <a:pt x="39" y="293"/>
                    <a:pt x="39" y="292"/>
                  </a:cubicBezTo>
                  <a:cubicBezTo>
                    <a:pt x="38" y="292"/>
                    <a:pt x="37" y="292"/>
                    <a:pt x="35" y="292"/>
                  </a:cubicBezTo>
                  <a:cubicBezTo>
                    <a:pt x="35" y="292"/>
                    <a:pt x="35" y="292"/>
                    <a:pt x="35" y="292"/>
                  </a:cubicBezTo>
                  <a:cubicBezTo>
                    <a:pt x="34" y="292"/>
                    <a:pt x="34" y="292"/>
                    <a:pt x="34" y="292"/>
                  </a:cubicBezTo>
                  <a:cubicBezTo>
                    <a:pt x="33" y="292"/>
                    <a:pt x="31" y="293"/>
                    <a:pt x="31" y="295"/>
                  </a:cubicBezTo>
                  <a:cubicBezTo>
                    <a:pt x="30" y="296"/>
                    <a:pt x="29" y="298"/>
                    <a:pt x="30" y="300"/>
                  </a:cubicBezTo>
                  <a:cubicBezTo>
                    <a:pt x="31" y="302"/>
                    <a:pt x="32" y="303"/>
                    <a:pt x="33" y="303"/>
                  </a:cubicBezTo>
                  <a:cubicBezTo>
                    <a:pt x="34" y="303"/>
                    <a:pt x="34" y="303"/>
                    <a:pt x="34" y="303"/>
                  </a:cubicBezTo>
                  <a:cubicBezTo>
                    <a:pt x="34" y="304"/>
                    <a:pt x="34" y="306"/>
                    <a:pt x="36" y="307"/>
                  </a:cubicBezTo>
                  <a:cubicBezTo>
                    <a:pt x="36" y="307"/>
                    <a:pt x="37" y="307"/>
                    <a:pt x="37" y="307"/>
                  </a:cubicBezTo>
                  <a:cubicBezTo>
                    <a:pt x="37" y="309"/>
                    <a:pt x="37" y="310"/>
                    <a:pt x="36" y="311"/>
                  </a:cubicBezTo>
                  <a:cubicBezTo>
                    <a:pt x="36" y="311"/>
                    <a:pt x="36" y="311"/>
                    <a:pt x="36" y="311"/>
                  </a:cubicBezTo>
                  <a:cubicBezTo>
                    <a:pt x="35" y="308"/>
                    <a:pt x="32" y="308"/>
                    <a:pt x="31" y="308"/>
                  </a:cubicBezTo>
                  <a:cubicBezTo>
                    <a:pt x="28" y="308"/>
                    <a:pt x="26" y="311"/>
                    <a:pt x="25" y="314"/>
                  </a:cubicBezTo>
                  <a:cubicBezTo>
                    <a:pt x="25" y="317"/>
                    <a:pt x="26" y="319"/>
                    <a:pt x="27" y="322"/>
                  </a:cubicBezTo>
                  <a:cubicBezTo>
                    <a:pt x="27" y="323"/>
                    <a:pt x="28" y="324"/>
                    <a:pt x="28" y="325"/>
                  </a:cubicBezTo>
                  <a:cubicBezTo>
                    <a:pt x="28" y="326"/>
                    <a:pt x="28" y="326"/>
                    <a:pt x="28" y="327"/>
                  </a:cubicBezTo>
                  <a:cubicBezTo>
                    <a:pt x="27" y="330"/>
                    <a:pt x="27" y="334"/>
                    <a:pt x="29" y="336"/>
                  </a:cubicBezTo>
                  <a:cubicBezTo>
                    <a:pt x="30" y="337"/>
                    <a:pt x="31" y="337"/>
                    <a:pt x="33" y="337"/>
                  </a:cubicBezTo>
                  <a:cubicBezTo>
                    <a:pt x="33" y="337"/>
                    <a:pt x="33" y="337"/>
                    <a:pt x="33" y="337"/>
                  </a:cubicBezTo>
                  <a:cubicBezTo>
                    <a:pt x="33" y="337"/>
                    <a:pt x="33" y="337"/>
                    <a:pt x="34" y="337"/>
                  </a:cubicBezTo>
                  <a:cubicBezTo>
                    <a:pt x="35" y="337"/>
                    <a:pt x="36" y="336"/>
                    <a:pt x="37" y="336"/>
                  </a:cubicBezTo>
                  <a:cubicBezTo>
                    <a:pt x="38" y="337"/>
                    <a:pt x="39" y="337"/>
                    <a:pt x="40" y="337"/>
                  </a:cubicBezTo>
                  <a:cubicBezTo>
                    <a:pt x="40" y="337"/>
                    <a:pt x="40" y="337"/>
                    <a:pt x="40" y="337"/>
                  </a:cubicBezTo>
                  <a:cubicBezTo>
                    <a:pt x="42" y="337"/>
                    <a:pt x="44" y="335"/>
                    <a:pt x="45" y="333"/>
                  </a:cubicBezTo>
                  <a:cubicBezTo>
                    <a:pt x="45" y="334"/>
                    <a:pt x="45" y="334"/>
                    <a:pt x="46" y="334"/>
                  </a:cubicBezTo>
                  <a:cubicBezTo>
                    <a:pt x="47" y="335"/>
                    <a:pt x="48" y="335"/>
                    <a:pt x="49" y="335"/>
                  </a:cubicBezTo>
                  <a:cubicBezTo>
                    <a:pt x="53" y="335"/>
                    <a:pt x="55" y="333"/>
                    <a:pt x="57" y="331"/>
                  </a:cubicBezTo>
                  <a:cubicBezTo>
                    <a:pt x="58" y="331"/>
                    <a:pt x="59" y="330"/>
                    <a:pt x="60" y="330"/>
                  </a:cubicBezTo>
                  <a:cubicBezTo>
                    <a:pt x="62" y="328"/>
                    <a:pt x="65" y="327"/>
                    <a:pt x="67" y="327"/>
                  </a:cubicBezTo>
                  <a:cubicBezTo>
                    <a:pt x="67" y="328"/>
                    <a:pt x="65" y="329"/>
                    <a:pt x="63" y="331"/>
                  </a:cubicBezTo>
                  <a:cubicBezTo>
                    <a:pt x="62" y="331"/>
                    <a:pt x="62" y="331"/>
                    <a:pt x="62" y="331"/>
                  </a:cubicBezTo>
                  <a:cubicBezTo>
                    <a:pt x="61" y="332"/>
                    <a:pt x="60" y="332"/>
                    <a:pt x="59" y="332"/>
                  </a:cubicBezTo>
                  <a:cubicBezTo>
                    <a:pt x="57" y="333"/>
                    <a:pt x="55" y="334"/>
                    <a:pt x="54" y="336"/>
                  </a:cubicBezTo>
                  <a:cubicBezTo>
                    <a:pt x="53" y="336"/>
                    <a:pt x="53" y="337"/>
                    <a:pt x="52" y="338"/>
                  </a:cubicBezTo>
                  <a:cubicBezTo>
                    <a:pt x="52" y="338"/>
                    <a:pt x="51" y="338"/>
                    <a:pt x="51" y="338"/>
                  </a:cubicBezTo>
                  <a:cubicBezTo>
                    <a:pt x="48" y="338"/>
                    <a:pt x="46" y="339"/>
                    <a:pt x="44" y="342"/>
                  </a:cubicBezTo>
                  <a:cubicBezTo>
                    <a:pt x="44" y="342"/>
                    <a:pt x="43" y="343"/>
                    <a:pt x="41" y="343"/>
                  </a:cubicBezTo>
                  <a:cubicBezTo>
                    <a:pt x="39" y="344"/>
                    <a:pt x="36" y="346"/>
                    <a:pt x="35" y="350"/>
                  </a:cubicBezTo>
                  <a:cubicBezTo>
                    <a:pt x="35" y="350"/>
                    <a:pt x="35" y="350"/>
                    <a:pt x="35" y="350"/>
                  </a:cubicBezTo>
                  <a:cubicBezTo>
                    <a:pt x="33" y="350"/>
                    <a:pt x="32" y="351"/>
                    <a:pt x="31" y="352"/>
                  </a:cubicBezTo>
                  <a:cubicBezTo>
                    <a:pt x="29" y="354"/>
                    <a:pt x="28" y="357"/>
                    <a:pt x="28" y="359"/>
                  </a:cubicBezTo>
                  <a:cubicBezTo>
                    <a:pt x="28" y="361"/>
                    <a:pt x="28" y="361"/>
                    <a:pt x="28" y="361"/>
                  </a:cubicBezTo>
                  <a:cubicBezTo>
                    <a:pt x="28" y="363"/>
                    <a:pt x="28" y="367"/>
                    <a:pt x="30" y="369"/>
                  </a:cubicBezTo>
                  <a:cubicBezTo>
                    <a:pt x="31" y="369"/>
                    <a:pt x="32" y="370"/>
                    <a:pt x="33" y="370"/>
                  </a:cubicBezTo>
                  <a:cubicBezTo>
                    <a:pt x="33" y="370"/>
                    <a:pt x="33" y="370"/>
                    <a:pt x="33" y="370"/>
                  </a:cubicBezTo>
                  <a:cubicBezTo>
                    <a:pt x="36" y="370"/>
                    <a:pt x="38" y="367"/>
                    <a:pt x="39" y="365"/>
                  </a:cubicBezTo>
                  <a:cubicBezTo>
                    <a:pt x="39" y="365"/>
                    <a:pt x="39" y="365"/>
                    <a:pt x="40" y="365"/>
                  </a:cubicBezTo>
                  <a:cubicBezTo>
                    <a:pt x="40" y="365"/>
                    <a:pt x="41" y="365"/>
                    <a:pt x="42" y="365"/>
                  </a:cubicBezTo>
                  <a:cubicBezTo>
                    <a:pt x="42" y="365"/>
                    <a:pt x="42" y="365"/>
                    <a:pt x="43" y="365"/>
                  </a:cubicBezTo>
                  <a:cubicBezTo>
                    <a:pt x="43" y="365"/>
                    <a:pt x="43" y="365"/>
                    <a:pt x="43" y="365"/>
                  </a:cubicBezTo>
                  <a:cubicBezTo>
                    <a:pt x="43" y="368"/>
                    <a:pt x="44" y="369"/>
                    <a:pt x="46" y="369"/>
                  </a:cubicBezTo>
                  <a:cubicBezTo>
                    <a:pt x="46" y="369"/>
                    <a:pt x="46" y="369"/>
                    <a:pt x="46" y="369"/>
                  </a:cubicBezTo>
                  <a:cubicBezTo>
                    <a:pt x="46" y="369"/>
                    <a:pt x="45" y="370"/>
                    <a:pt x="45" y="370"/>
                  </a:cubicBezTo>
                  <a:cubicBezTo>
                    <a:pt x="45" y="371"/>
                    <a:pt x="44" y="372"/>
                    <a:pt x="44" y="373"/>
                  </a:cubicBezTo>
                  <a:cubicBezTo>
                    <a:pt x="44" y="373"/>
                    <a:pt x="44" y="373"/>
                    <a:pt x="44" y="374"/>
                  </a:cubicBezTo>
                  <a:cubicBezTo>
                    <a:pt x="44" y="374"/>
                    <a:pt x="44" y="374"/>
                    <a:pt x="44" y="374"/>
                  </a:cubicBezTo>
                  <a:cubicBezTo>
                    <a:pt x="44" y="375"/>
                    <a:pt x="43" y="376"/>
                    <a:pt x="43" y="377"/>
                  </a:cubicBezTo>
                  <a:cubicBezTo>
                    <a:pt x="43" y="379"/>
                    <a:pt x="44" y="381"/>
                    <a:pt x="45" y="382"/>
                  </a:cubicBezTo>
                  <a:cubicBezTo>
                    <a:pt x="45" y="382"/>
                    <a:pt x="45" y="382"/>
                    <a:pt x="46" y="383"/>
                  </a:cubicBezTo>
                  <a:cubicBezTo>
                    <a:pt x="46" y="385"/>
                    <a:pt x="48" y="388"/>
                    <a:pt x="47" y="389"/>
                  </a:cubicBezTo>
                  <a:cubicBezTo>
                    <a:pt x="47" y="390"/>
                    <a:pt x="47" y="391"/>
                    <a:pt x="46" y="391"/>
                  </a:cubicBezTo>
                  <a:cubicBezTo>
                    <a:pt x="46" y="390"/>
                    <a:pt x="46" y="390"/>
                    <a:pt x="46" y="390"/>
                  </a:cubicBezTo>
                  <a:cubicBezTo>
                    <a:pt x="43" y="390"/>
                    <a:pt x="43" y="390"/>
                    <a:pt x="43" y="390"/>
                  </a:cubicBezTo>
                  <a:cubicBezTo>
                    <a:pt x="42" y="390"/>
                    <a:pt x="42" y="390"/>
                    <a:pt x="41" y="390"/>
                  </a:cubicBezTo>
                  <a:cubicBezTo>
                    <a:pt x="41" y="390"/>
                    <a:pt x="40" y="390"/>
                    <a:pt x="39" y="390"/>
                  </a:cubicBezTo>
                  <a:cubicBezTo>
                    <a:pt x="38" y="390"/>
                    <a:pt x="37" y="390"/>
                    <a:pt x="37" y="390"/>
                  </a:cubicBezTo>
                  <a:cubicBezTo>
                    <a:pt x="35" y="391"/>
                    <a:pt x="33" y="393"/>
                    <a:pt x="32" y="395"/>
                  </a:cubicBezTo>
                  <a:cubicBezTo>
                    <a:pt x="30" y="397"/>
                    <a:pt x="30" y="399"/>
                    <a:pt x="30" y="400"/>
                  </a:cubicBezTo>
                  <a:cubicBezTo>
                    <a:pt x="30" y="400"/>
                    <a:pt x="31" y="401"/>
                    <a:pt x="31" y="402"/>
                  </a:cubicBezTo>
                  <a:cubicBezTo>
                    <a:pt x="30" y="402"/>
                    <a:pt x="28" y="403"/>
                    <a:pt x="26" y="405"/>
                  </a:cubicBezTo>
                  <a:cubicBezTo>
                    <a:pt x="25" y="407"/>
                    <a:pt x="25" y="408"/>
                    <a:pt x="25" y="409"/>
                  </a:cubicBezTo>
                  <a:cubicBezTo>
                    <a:pt x="25" y="410"/>
                    <a:pt x="25" y="410"/>
                    <a:pt x="25" y="410"/>
                  </a:cubicBezTo>
                  <a:cubicBezTo>
                    <a:pt x="25" y="412"/>
                    <a:pt x="25" y="414"/>
                    <a:pt x="26" y="417"/>
                  </a:cubicBezTo>
                  <a:cubicBezTo>
                    <a:pt x="27" y="418"/>
                    <a:pt x="29" y="419"/>
                    <a:pt x="31" y="419"/>
                  </a:cubicBezTo>
                  <a:cubicBezTo>
                    <a:pt x="31" y="419"/>
                    <a:pt x="32" y="419"/>
                    <a:pt x="32" y="418"/>
                  </a:cubicBezTo>
                  <a:cubicBezTo>
                    <a:pt x="33" y="418"/>
                    <a:pt x="33" y="418"/>
                    <a:pt x="34" y="418"/>
                  </a:cubicBezTo>
                  <a:cubicBezTo>
                    <a:pt x="34" y="419"/>
                    <a:pt x="33" y="419"/>
                    <a:pt x="31" y="420"/>
                  </a:cubicBezTo>
                  <a:cubicBezTo>
                    <a:pt x="30" y="420"/>
                    <a:pt x="30" y="420"/>
                    <a:pt x="30" y="420"/>
                  </a:cubicBezTo>
                  <a:cubicBezTo>
                    <a:pt x="29" y="421"/>
                    <a:pt x="27" y="421"/>
                    <a:pt x="26" y="423"/>
                  </a:cubicBezTo>
                  <a:cubicBezTo>
                    <a:pt x="23" y="426"/>
                    <a:pt x="25" y="429"/>
                    <a:pt x="26" y="431"/>
                  </a:cubicBezTo>
                  <a:cubicBezTo>
                    <a:pt x="26" y="431"/>
                    <a:pt x="27" y="432"/>
                    <a:pt x="27" y="432"/>
                  </a:cubicBezTo>
                  <a:cubicBezTo>
                    <a:pt x="27" y="432"/>
                    <a:pt x="27" y="432"/>
                    <a:pt x="26" y="433"/>
                  </a:cubicBezTo>
                  <a:cubicBezTo>
                    <a:pt x="26" y="433"/>
                    <a:pt x="25" y="435"/>
                    <a:pt x="25" y="437"/>
                  </a:cubicBezTo>
                  <a:cubicBezTo>
                    <a:pt x="26" y="439"/>
                    <a:pt x="27" y="440"/>
                    <a:pt x="27" y="442"/>
                  </a:cubicBezTo>
                  <a:cubicBezTo>
                    <a:pt x="28" y="443"/>
                    <a:pt x="28" y="443"/>
                    <a:pt x="28" y="443"/>
                  </a:cubicBezTo>
                  <a:cubicBezTo>
                    <a:pt x="29" y="445"/>
                    <a:pt x="32" y="446"/>
                    <a:pt x="34" y="447"/>
                  </a:cubicBezTo>
                  <a:cubicBezTo>
                    <a:pt x="35" y="447"/>
                    <a:pt x="35" y="447"/>
                    <a:pt x="35" y="447"/>
                  </a:cubicBezTo>
                  <a:cubicBezTo>
                    <a:pt x="36" y="448"/>
                    <a:pt x="37" y="449"/>
                    <a:pt x="38" y="450"/>
                  </a:cubicBezTo>
                  <a:cubicBezTo>
                    <a:pt x="39" y="451"/>
                    <a:pt x="40" y="452"/>
                    <a:pt x="42" y="453"/>
                  </a:cubicBezTo>
                  <a:cubicBezTo>
                    <a:pt x="43" y="453"/>
                    <a:pt x="44" y="453"/>
                    <a:pt x="45" y="454"/>
                  </a:cubicBezTo>
                  <a:cubicBezTo>
                    <a:pt x="43" y="454"/>
                    <a:pt x="40" y="455"/>
                    <a:pt x="39" y="459"/>
                  </a:cubicBezTo>
                  <a:cubicBezTo>
                    <a:pt x="39" y="460"/>
                    <a:pt x="39" y="460"/>
                    <a:pt x="39" y="460"/>
                  </a:cubicBezTo>
                  <a:cubicBezTo>
                    <a:pt x="39" y="460"/>
                    <a:pt x="39" y="460"/>
                    <a:pt x="39" y="460"/>
                  </a:cubicBezTo>
                  <a:cubicBezTo>
                    <a:pt x="37" y="458"/>
                    <a:pt x="35" y="456"/>
                    <a:pt x="33" y="454"/>
                  </a:cubicBezTo>
                  <a:cubicBezTo>
                    <a:pt x="32" y="452"/>
                    <a:pt x="31" y="450"/>
                    <a:pt x="30" y="448"/>
                  </a:cubicBezTo>
                  <a:cubicBezTo>
                    <a:pt x="30" y="446"/>
                    <a:pt x="29" y="444"/>
                    <a:pt x="27" y="442"/>
                  </a:cubicBezTo>
                  <a:cubicBezTo>
                    <a:pt x="27" y="441"/>
                    <a:pt x="27" y="441"/>
                    <a:pt x="26" y="440"/>
                  </a:cubicBezTo>
                  <a:cubicBezTo>
                    <a:pt x="25" y="437"/>
                    <a:pt x="22" y="434"/>
                    <a:pt x="19" y="432"/>
                  </a:cubicBezTo>
                  <a:cubicBezTo>
                    <a:pt x="19" y="432"/>
                    <a:pt x="18" y="431"/>
                    <a:pt x="18" y="431"/>
                  </a:cubicBezTo>
                  <a:cubicBezTo>
                    <a:pt x="15" y="429"/>
                    <a:pt x="13" y="427"/>
                    <a:pt x="9" y="427"/>
                  </a:cubicBezTo>
                  <a:cubicBezTo>
                    <a:pt x="8" y="427"/>
                    <a:pt x="8" y="427"/>
                    <a:pt x="7" y="427"/>
                  </a:cubicBezTo>
                  <a:cubicBezTo>
                    <a:pt x="6" y="428"/>
                    <a:pt x="4" y="429"/>
                    <a:pt x="2" y="431"/>
                  </a:cubicBezTo>
                  <a:cubicBezTo>
                    <a:pt x="0" y="436"/>
                    <a:pt x="1" y="442"/>
                    <a:pt x="2" y="445"/>
                  </a:cubicBezTo>
                  <a:cubicBezTo>
                    <a:pt x="3" y="446"/>
                    <a:pt x="4" y="447"/>
                    <a:pt x="5" y="448"/>
                  </a:cubicBezTo>
                  <a:cubicBezTo>
                    <a:pt x="5" y="448"/>
                    <a:pt x="6" y="448"/>
                    <a:pt x="6" y="448"/>
                  </a:cubicBezTo>
                  <a:cubicBezTo>
                    <a:pt x="6" y="448"/>
                    <a:pt x="6" y="448"/>
                    <a:pt x="6" y="448"/>
                  </a:cubicBezTo>
                  <a:cubicBezTo>
                    <a:pt x="6" y="448"/>
                    <a:pt x="5" y="450"/>
                    <a:pt x="4" y="450"/>
                  </a:cubicBezTo>
                  <a:cubicBezTo>
                    <a:pt x="4" y="452"/>
                    <a:pt x="3" y="453"/>
                    <a:pt x="2" y="454"/>
                  </a:cubicBezTo>
                  <a:cubicBezTo>
                    <a:pt x="2" y="454"/>
                    <a:pt x="2" y="454"/>
                    <a:pt x="2" y="454"/>
                  </a:cubicBezTo>
                  <a:cubicBezTo>
                    <a:pt x="2" y="457"/>
                    <a:pt x="0" y="460"/>
                    <a:pt x="3" y="463"/>
                  </a:cubicBezTo>
                  <a:cubicBezTo>
                    <a:pt x="3" y="464"/>
                    <a:pt x="5" y="465"/>
                    <a:pt x="7" y="465"/>
                  </a:cubicBezTo>
                  <a:cubicBezTo>
                    <a:pt x="7" y="465"/>
                    <a:pt x="8" y="465"/>
                    <a:pt x="8" y="465"/>
                  </a:cubicBezTo>
                  <a:cubicBezTo>
                    <a:pt x="8" y="465"/>
                    <a:pt x="8" y="465"/>
                    <a:pt x="8" y="465"/>
                  </a:cubicBezTo>
                  <a:cubicBezTo>
                    <a:pt x="8" y="465"/>
                    <a:pt x="8" y="465"/>
                    <a:pt x="9" y="466"/>
                  </a:cubicBezTo>
                  <a:cubicBezTo>
                    <a:pt x="9" y="467"/>
                    <a:pt x="10" y="467"/>
                    <a:pt x="10" y="468"/>
                  </a:cubicBezTo>
                  <a:cubicBezTo>
                    <a:pt x="10" y="469"/>
                    <a:pt x="11" y="469"/>
                    <a:pt x="11" y="470"/>
                  </a:cubicBezTo>
                  <a:cubicBezTo>
                    <a:pt x="11" y="471"/>
                    <a:pt x="11" y="471"/>
                    <a:pt x="10" y="472"/>
                  </a:cubicBezTo>
                  <a:cubicBezTo>
                    <a:pt x="8" y="474"/>
                    <a:pt x="8" y="477"/>
                    <a:pt x="10" y="479"/>
                  </a:cubicBezTo>
                  <a:cubicBezTo>
                    <a:pt x="10" y="480"/>
                    <a:pt x="11" y="480"/>
                    <a:pt x="12" y="481"/>
                  </a:cubicBezTo>
                  <a:cubicBezTo>
                    <a:pt x="12" y="481"/>
                    <a:pt x="12" y="482"/>
                    <a:pt x="12" y="482"/>
                  </a:cubicBezTo>
                  <a:cubicBezTo>
                    <a:pt x="12" y="482"/>
                    <a:pt x="12" y="482"/>
                    <a:pt x="12" y="482"/>
                  </a:cubicBezTo>
                  <a:cubicBezTo>
                    <a:pt x="12" y="482"/>
                    <a:pt x="12" y="483"/>
                    <a:pt x="11" y="483"/>
                  </a:cubicBezTo>
                  <a:cubicBezTo>
                    <a:pt x="10" y="485"/>
                    <a:pt x="8" y="488"/>
                    <a:pt x="10" y="491"/>
                  </a:cubicBezTo>
                  <a:cubicBezTo>
                    <a:pt x="11" y="492"/>
                    <a:pt x="12" y="493"/>
                    <a:pt x="14" y="494"/>
                  </a:cubicBezTo>
                  <a:cubicBezTo>
                    <a:pt x="12" y="496"/>
                    <a:pt x="12" y="500"/>
                    <a:pt x="13" y="501"/>
                  </a:cubicBezTo>
                  <a:cubicBezTo>
                    <a:pt x="14" y="505"/>
                    <a:pt x="17" y="507"/>
                    <a:pt x="20" y="509"/>
                  </a:cubicBezTo>
                  <a:cubicBezTo>
                    <a:pt x="21" y="510"/>
                    <a:pt x="21" y="510"/>
                    <a:pt x="21" y="510"/>
                  </a:cubicBezTo>
                  <a:cubicBezTo>
                    <a:pt x="22" y="511"/>
                    <a:pt x="23" y="511"/>
                    <a:pt x="24" y="513"/>
                  </a:cubicBezTo>
                  <a:cubicBezTo>
                    <a:pt x="24" y="513"/>
                    <a:pt x="25" y="514"/>
                    <a:pt x="25" y="515"/>
                  </a:cubicBezTo>
                  <a:cubicBezTo>
                    <a:pt x="26" y="515"/>
                    <a:pt x="26" y="516"/>
                    <a:pt x="26" y="516"/>
                  </a:cubicBezTo>
                  <a:cubicBezTo>
                    <a:pt x="27" y="516"/>
                    <a:pt x="26" y="517"/>
                    <a:pt x="26" y="518"/>
                  </a:cubicBezTo>
                  <a:cubicBezTo>
                    <a:pt x="25" y="519"/>
                    <a:pt x="25" y="519"/>
                    <a:pt x="24" y="520"/>
                  </a:cubicBezTo>
                  <a:cubicBezTo>
                    <a:pt x="24" y="521"/>
                    <a:pt x="24" y="521"/>
                    <a:pt x="24" y="522"/>
                  </a:cubicBezTo>
                  <a:cubicBezTo>
                    <a:pt x="23" y="523"/>
                    <a:pt x="22" y="525"/>
                    <a:pt x="22" y="527"/>
                  </a:cubicBezTo>
                  <a:cubicBezTo>
                    <a:pt x="22" y="530"/>
                    <a:pt x="25" y="533"/>
                    <a:pt x="27" y="535"/>
                  </a:cubicBezTo>
                  <a:cubicBezTo>
                    <a:pt x="28" y="535"/>
                    <a:pt x="29" y="535"/>
                    <a:pt x="30" y="536"/>
                  </a:cubicBezTo>
                  <a:cubicBezTo>
                    <a:pt x="31" y="536"/>
                    <a:pt x="31" y="536"/>
                    <a:pt x="31" y="536"/>
                  </a:cubicBezTo>
                  <a:cubicBezTo>
                    <a:pt x="31" y="536"/>
                    <a:pt x="32" y="536"/>
                    <a:pt x="32" y="536"/>
                  </a:cubicBezTo>
                  <a:cubicBezTo>
                    <a:pt x="33" y="537"/>
                    <a:pt x="33" y="537"/>
                    <a:pt x="34" y="537"/>
                  </a:cubicBezTo>
                  <a:cubicBezTo>
                    <a:pt x="35" y="537"/>
                    <a:pt x="36" y="538"/>
                    <a:pt x="36" y="538"/>
                  </a:cubicBezTo>
                  <a:cubicBezTo>
                    <a:pt x="37" y="538"/>
                    <a:pt x="37" y="538"/>
                    <a:pt x="37" y="538"/>
                  </a:cubicBezTo>
                  <a:cubicBezTo>
                    <a:pt x="36" y="538"/>
                    <a:pt x="35" y="538"/>
                    <a:pt x="33" y="539"/>
                  </a:cubicBezTo>
                  <a:cubicBezTo>
                    <a:pt x="33" y="539"/>
                    <a:pt x="33" y="539"/>
                    <a:pt x="33" y="539"/>
                  </a:cubicBezTo>
                  <a:cubicBezTo>
                    <a:pt x="31" y="540"/>
                    <a:pt x="28" y="541"/>
                    <a:pt x="29" y="546"/>
                  </a:cubicBezTo>
                  <a:cubicBezTo>
                    <a:pt x="29" y="547"/>
                    <a:pt x="30" y="548"/>
                    <a:pt x="31" y="549"/>
                  </a:cubicBezTo>
                  <a:cubicBezTo>
                    <a:pt x="31" y="550"/>
                    <a:pt x="32" y="550"/>
                    <a:pt x="33" y="550"/>
                  </a:cubicBezTo>
                  <a:cubicBezTo>
                    <a:pt x="34" y="559"/>
                    <a:pt x="39" y="566"/>
                    <a:pt x="44" y="572"/>
                  </a:cubicBezTo>
                  <a:cubicBezTo>
                    <a:pt x="46" y="575"/>
                    <a:pt x="46" y="575"/>
                    <a:pt x="46" y="575"/>
                  </a:cubicBezTo>
                  <a:cubicBezTo>
                    <a:pt x="49" y="579"/>
                    <a:pt x="54" y="583"/>
                    <a:pt x="61" y="583"/>
                  </a:cubicBezTo>
                  <a:cubicBezTo>
                    <a:pt x="61" y="583"/>
                    <a:pt x="62" y="583"/>
                    <a:pt x="62" y="583"/>
                  </a:cubicBezTo>
                  <a:cubicBezTo>
                    <a:pt x="65" y="583"/>
                    <a:pt x="67" y="582"/>
                    <a:pt x="69" y="580"/>
                  </a:cubicBezTo>
                  <a:cubicBezTo>
                    <a:pt x="72" y="575"/>
                    <a:pt x="71" y="570"/>
                    <a:pt x="71" y="565"/>
                  </a:cubicBezTo>
                  <a:cubicBezTo>
                    <a:pt x="71" y="564"/>
                    <a:pt x="71" y="564"/>
                    <a:pt x="71" y="564"/>
                  </a:cubicBezTo>
                  <a:cubicBezTo>
                    <a:pt x="70" y="560"/>
                    <a:pt x="70" y="560"/>
                    <a:pt x="70" y="560"/>
                  </a:cubicBezTo>
                  <a:cubicBezTo>
                    <a:pt x="69" y="551"/>
                    <a:pt x="68" y="542"/>
                    <a:pt x="63" y="533"/>
                  </a:cubicBezTo>
                  <a:cubicBezTo>
                    <a:pt x="58" y="523"/>
                    <a:pt x="58" y="517"/>
                    <a:pt x="58" y="506"/>
                  </a:cubicBezTo>
                  <a:cubicBezTo>
                    <a:pt x="58" y="504"/>
                    <a:pt x="58" y="502"/>
                    <a:pt x="58" y="501"/>
                  </a:cubicBezTo>
                  <a:cubicBezTo>
                    <a:pt x="58" y="498"/>
                    <a:pt x="58" y="496"/>
                    <a:pt x="58" y="495"/>
                  </a:cubicBezTo>
                  <a:cubicBezTo>
                    <a:pt x="59" y="493"/>
                    <a:pt x="59" y="493"/>
                    <a:pt x="59" y="493"/>
                  </a:cubicBezTo>
                  <a:cubicBezTo>
                    <a:pt x="59" y="491"/>
                    <a:pt x="59" y="489"/>
                    <a:pt x="59" y="486"/>
                  </a:cubicBezTo>
                  <a:cubicBezTo>
                    <a:pt x="59" y="484"/>
                    <a:pt x="57" y="482"/>
                    <a:pt x="56" y="481"/>
                  </a:cubicBezTo>
                  <a:cubicBezTo>
                    <a:pt x="56" y="481"/>
                    <a:pt x="56" y="481"/>
                    <a:pt x="56" y="480"/>
                  </a:cubicBezTo>
                  <a:cubicBezTo>
                    <a:pt x="57" y="481"/>
                    <a:pt x="58" y="481"/>
                    <a:pt x="59" y="481"/>
                  </a:cubicBezTo>
                  <a:cubicBezTo>
                    <a:pt x="59" y="481"/>
                    <a:pt x="60" y="481"/>
                    <a:pt x="60" y="481"/>
                  </a:cubicBezTo>
                  <a:cubicBezTo>
                    <a:pt x="61" y="481"/>
                    <a:pt x="61" y="481"/>
                    <a:pt x="62" y="481"/>
                  </a:cubicBezTo>
                  <a:cubicBezTo>
                    <a:pt x="62" y="483"/>
                    <a:pt x="63" y="485"/>
                    <a:pt x="64" y="487"/>
                  </a:cubicBezTo>
                  <a:cubicBezTo>
                    <a:pt x="64" y="487"/>
                    <a:pt x="64" y="487"/>
                    <a:pt x="64" y="487"/>
                  </a:cubicBezTo>
                  <a:cubicBezTo>
                    <a:pt x="62" y="487"/>
                    <a:pt x="61" y="488"/>
                    <a:pt x="60" y="489"/>
                  </a:cubicBezTo>
                  <a:cubicBezTo>
                    <a:pt x="58" y="491"/>
                    <a:pt x="59" y="493"/>
                    <a:pt x="60" y="494"/>
                  </a:cubicBezTo>
                  <a:cubicBezTo>
                    <a:pt x="60" y="495"/>
                    <a:pt x="60" y="495"/>
                    <a:pt x="60" y="495"/>
                  </a:cubicBezTo>
                  <a:cubicBezTo>
                    <a:pt x="60" y="496"/>
                    <a:pt x="60" y="496"/>
                    <a:pt x="60" y="497"/>
                  </a:cubicBezTo>
                  <a:cubicBezTo>
                    <a:pt x="59" y="498"/>
                    <a:pt x="58" y="500"/>
                    <a:pt x="59" y="502"/>
                  </a:cubicBezTo>
                  <a:cubicBezTo>
                    <a:pt x="59" y="504"/>
                    <a:pt x="60" y="504"/>
                    <a:pt x="62" y="505"/>
                  </a:cubicBezTo>
                  <a:cubicBezTo>
                    <a:pt x="62" y="505"/>
                    <a:pt x="62" y="505"/>
                    <a:pt x="63" y="505"/>
                  </a:cubicBezTo>
                  <a:cubicBezTo>
                    <a:pt x="63" y="505"/>
                    <a:pt x="63" y="505"/>
                    <a:pt x="63" y="505"/>
                  </a:cubicBezTo>
                  <a:cubicBezTo>
                    <a:pt x="62" y="507"/>
                    <a:pt x="62" y="509"/>
                    <a:pt x="62" y="510"/>
                  </a:cubicBezTo>
                  <a:cubicBezTo>
                    <a:pt x="62" y="511"/>
                    <a:pt x="62" y="511"/>
                    <a:pt x="62" y="512"/>
                  </a:cubicBezTo>
                  <a:cubicBezTo>
                    <a:pt x="62" y="512"/>
                    <a:pt x="62" y="512"/>
                    <a:pt x="62" y="512"/>
                  </a:cubicBezTo>
                  <a:cubicBezTo>
                    <a:pt x="62" y="515"/>
                    <a:pt x="62" y="516"/>
                    <a:pt x="64" y="519"/>
                  </a:cubicBezTo>
                  <a:cubicBezTo>
                    <a:pt x="64" y="519"/>
                    <a:pt x="64" y="519"/>
                    <a:pt x="64" y="520"/>
                  </a:cubicBezTo>
                  <a:cubicBezTo>
                    <a:pt x="65" y="521"/>
                    <a:pt x="65" y="522"/>
                    <a:pt x="66" y="522"/>
                  </a:cubicBezTo>
                  <a:cubicBezTo>
                    <a:pt x="68" y="524"/>
                    <a:pt x="70" y="524"/>
                    <a:pt x="71" y="524"/>
                  </a:cubicBezTo>
                  <a:cubicBezTo>
                    <a:pt x="71" y="524"/>
                    <a:pt x="71" y="524"/>
                    <a:pt x="72" y="524"/>
                  </a:cubicBezTo>
                  <a:cubicBezTo>
                    <a:pt x="70" y="526"/>
                    <a:pt x="69" y="530"/>
                    <a:pt x="70" y="534"/>
                  </a:cubicBezTo>
                  <a:cubicBezTo>
                    <a:pt x="71" y="536"/>
                    <a:pt x="72" y="537"/>
                    <a:pt x="73" y="538"/>
                  </a:cubicBezTo>
                  <a:cubicBezTo>
                    <a:pt x="74" y="539"/>
                    <a:pt x="74" y="539"/>
                    <a:pt x="74" y="539"/>
                  </a:cubicBezTo>
                  <a:cubicBezTo>
                    <a:pt x="74" y="539"/>
                    <a:pt x="74" y="540"/>
                    <a:pt x="75" y="540"/>
                  </a:cubicBezTo>
                  <a:cubicBezTo>
                    <a:pt x="75" y="541"/>
                    <a:pt x="76" y="542"/>
                    <a:pt x="77" y="543"/>
                  </a:cubicBezTo>
                  <a:cubicBezTo>
                    <a:pt x="77" y="543"/>
                    <a:pt x="80" y="545"/>
                    <a:pt x="82" y="545"/>
                  </a:cubicBezTo>
                  <a:cubicBezTo>
                    <a:pt x="83" y="545"/>
                    <a:pt x="83" y="545"/>
                    <a:pt x="83" y="545"/>
                  </a:cubicBezTo>
                  <a:cubicBezTo>
                    <a:pt x="83" y="545"/>
                    <a:pt x="83" y="546"/>
                    <a:pt x="83" y="546"/>
                  </a:cubicBezTo>
                  <a:cubicBezTo>
                    <a:pt x="82" y="549"/>
                    <a:pt x="82" y="551"/>
                    <a:pt x="82" y="553"/>
                  </a:cubicBezTo>
                  <a:cubicBezTo>
                    <a:pt x="82" y="556"/>
                    <a:pt x="82" y="556"/>
                    <a:pt x="82" y="556"/>
                  </a:cubicBezTo>
                  <a:cubicBezTo>
                    <a:pt x="83" y="559"/>
                    <a:pt x="83" y="559"/>
                    <a:pt x="83" y="559"/>
                  </a:cubicBezTo>
                  <a:cubicBezTo>
                    <a:pt x="84" y="559"/>
                    <a:pt x="84" y="559"/>
                    <a:pt x="84" y="559"/>
                  </a:cubicBezTo>
                  <a:cubicBezTo>
                    <a:pt x="85" y="561"/>
                    <a:pt x="125" y="602"/>
                    <a:pt x="284" y="662"/>
                  </a:cubicBezTo>
                  <a:cubicBezTo>
                    <a:pt x="290" y="664"/>
                    <a:pt x="290" y="664"/>
                    <a:pt x="290" y="664"/>
                  </a:cubicBezTo>
                  <a:cubicBezTo>
                    <a:pt x="288" y="658"/>
                    <a:pt x="288" y="658"/>
                    <a:pt x="288" y="658"/>
                  </a:cubicBezTo>
                  <a:cubicBezTo>
                    <a:pt x="288" y="657"/>
                    <a:pt x="287" y="656"/>
                    <a:pt x="287" y="655"/>
                  </a:cubicBezTo>
                  <a:cubicBezTo>
                    <a:pt x="285" y="645"/>
                    <a:pt x="287" y="638"/>
                    <a:pt x="290" y="629"/>
                  </a:cubicBezTo>
                  <a:cubicBezTo>
                    <a:pt x="291" y="627"/>
                    <a:pt x="292" y="625"/>
                    <a:pt x="292" y="623"/>
                  </a:cubicBezTo>
                  <a:cubicBezTo>
                    <a:pt x="294" y="616"/>
                    <a:pt x="298" y="606"/>
                    <a:pt x="295" y="599"/>
                  </a:cubicBezTo>
                  <a:cubicBezTo>
                    <a:pt x="293" y="595"/>
                    <a:pt x="292" y="593"/>
                    <a:pt x="290" y="590"/>
                  </a:cubicBezTo>
                  <a:cubicBezTo>
                    <a:pt x="287" y="586"/>
                    <a:pt x="285" y="582"/>
                    <a:pt x="284" y="576"/>
                  </a:cubicBezTo>
                  <a:cubicBezTo>
                    <a:pt x="284" y="574"/>
                    <a:pt x="283" y="573"/>
                    <a:pt x="283" y="571"/>
                  </a:cubicBezTo>
                  <a:cubicBezTo>
                    <a:pt x="282" y="564"/>
                    <a:pt x="280" y="556"/>
                    <a:pt x="277" y="551"/>
                  </a:cubicBezTo>
                  <a:cubicBezTo>
                    <a:pt x="275" y="547"/>
                    <a:pt x="273" y="545"/>
                    <a:pt x="272" y="543"/>
                  </a:cubicBezTo>
                  <a:cubicBezTo>
                    <a:pt x="269" y="540"/>
                    <a:pt x="267" y="538"/>
                    <a:pt x="268" y="530"/>
                  </a:cubicBezTo>
                  <a:cubicBezTo>
                    <a:pt x="268" y="528"/>
                    <a:pt x="268" y="528"/>
                    <a:pt x="268" y="528"/>
                  </a:cubicBezTo>
                  <a:cubicBezTo>
                    <a:pt x="268" y="520"/>
                    <a:pt x="269" y="509"/>
                    <a:pt x="262" y="505"/>
                  </a:cubicBezTo>
                  <a:cubicBezTo>
                    <a:pt x="260" y="504"/>
                    <a:pt x="259" y="503"/>
                    <a:pt x="258" y="503"/>
                  </a:cubicBezTo>
                  <a:cubicBezTo>
                    <a:pt x="255" y="503"/>
                    <a:pt x="254" y="503"/>
                    <a:pt x="253" y="498"/>
                  </a:cubicBezTo>
                  <a:cubicBezTo>
                    <a:pt x="253" y="495"/>
                    <a:pt x="253" y="493"/>
                    <a:pt x="253" y="490"/>
                  </a:cubicBezTo>
                  <a:cubicBezTo>
                    <a:pt x="253" y="488"/>
                    <a:pt x="253" y="486"/>
                    <a:pt x="252" y="484"/>
                  </a:cubicBezTo>
                  <a:cubicBezTo>
                    <a:pt x="252" y="481"/>
                    <a:pt x="252" y="481"/>
                    <a:pt x="252" y="481"/>
                  </a:cubicBezTo>
                  <a:cubicBezTo>
                    <a:pt x="251" y="473"/>
                    <a:pt x="250" y="464"/>
                    <a:pt x="244" y="460"/>
                  </a:cubicBezTo>
                  <a:cubicBezTo>
                    <a:pt x="242" y="458"/>
                    <a:pt x="241" y="458"/>
                    <a:pt x="240" y="457"/>
                  </a:cubicBezTo>
                  <a:cubicBezTo>
                    <a:pt x="238" y="456"/>
                    <a:pt x="236" y="456"/>
                    <a:pt x="235" y="453"/>
                  </a:cubicBezTo>
                  <a:cubicBezTo>
                    <a:pt x="230" y="444"/>
                    <a:pt x="240" y="425"/>
                    <a:pt x="250" y="408"/>
                  </a:cubicBezTo>
                  <a:cubicBezTo>
                    <a:pt x="252" y="406"/>
                    <a:pt x="253" y="404"/>
                    <a:pt x="254" y="402"/>
                  </a:cubicBezTo>
                  <a:cubicBezTo>
                    <a:pt x="267" y="378"/>
                    <a:pt x="280" y="353"/>
                    <a:pt x="291" y="329"/>
                  </a:cubicBezTo>
                  <a:cubicBezTo>
                    <a:pt x="292" y="328"/>
                    <a:pt x="292" y="328"/>
                    <a:pt x="292" y="328"/>
                  </a:cubicBezTo>
                  <a:cubicBezTo>
                    <a:pt x="299" y="313"/>
                    <a:pt x="306" y="300"/>
                    <a:pt x="312" y="287"/>
                  </a:cubicBezTo>
                  <a:cubicBezTo>
                    <a:pt x="318" y="277"/>
                    <a:pt x="322" y="267"/>
                    <a:pt x="327" y="257"/>
                  </a:cubicBezTo>
                  <a:cubicBezTo>
                    <a:pt x="328" y="255"/>
                    <a:pt x="328" y="255"/>
                    <a:pt x="328" y="255"/>
                  </a:cubicBezTo>
                  <a:cubicBezTo>
                    <a:pt x="334" y="244"/>
                    <a:pt x="340" y="232"/>
                    <a:pt x="346" y="220"/>
                  </a:cubicBezTo>
                  <a:cubicBezTo>
                    <a:pt x="347" y="218"/>
                    <a:pt x="347" y="218"/>
                    <a:pt x="347" y="218"/>
                  </a:cubicBezTo>
                  <a:lnTo>
                    <a:pt x="345" y="216"/>
                  </a:lnTo>
                  <a:close/>
                  <a:moveTo>
                    <a:pt x="69" y="498"/>
                  </a:moveTo>
                  <a:cubicBezTo>
                    <a:pt x="69" y="497"/>
                    <a:pt x="69" y="496"/>
                    <a:pt x="70" y="495"/>
                  </a:cubicBezTo>
                  <a:cubicBezTo>
                    <a:pt x="71" y="496"/>
                    <a:pt x="71" y="496"/>
                    <a:pt x="71" y="497"/>
                  </a:cubicBezTo>
                  <a:cubicBezTo>
                    <a:pt x="71" y="499"/>
                    <a:pt x="71" y="499"/>
                    <a:pt x="70" y="500"/>
                  </a:cubicBezTo>
                  <a:cubicBezTo>
                    <a:pt x="70" y="500"/>
                    <a:pt x="69" y="500"/>
                    <a:pt x="68" y="501"/>
                  </a:cubicBezTo>
                  <a:cubicBezTo>
                    <a:pt x="68" y="501"/>
                    <a:pt x="68" y="501"/>
                    <a:pt x="68" y="501"/>
                  </a:cubicBezTo>
                  <a:cubicBezTo>
                    <a:pt x="69" y="500"/>
                    <a:pt x="69" y="499"/>
                    <a:pt x="69" y="498"/>
                  </a:cubicBezTo>
                  <a:close/>
                  <a:moveTo>
                    <a:pt x="45" y="465"/>
                  </a:moveTo>
                  <a:cubicBezTo>
                    <a:pt x="46" y="465"/>
                    <a:pt x="46" y="465"/>
                    <a:pt x="47" y="465"/>
                  </a:cubicBezTo>
                  <a:cubicBezTo>
                    <a:pt x="47" y="465"/>
                    <a:pt x="47" y="465"/>
                    <a:pt x="47" y="465"/>
                  </a:cubicBezTo>
                  <a:cubicBezTo>
                    <a:pt x="48" y="465"/>
                    <a:pt x="48" y="465"/>
                    <a:pt x="48" y="465"/>
                  </a:cubicBezTo>
                  <a:cubicBezTo>
                    <a:pt x="48" y="465"/>
                    <a:pt x="49" y="465"/>
                    <a:pt x="49" y="465"/>
                  </a:cubicBezTo>
                  <a:cubicBezTo>
                    <a:pt x="49" y="466"/>
                    <a:pt x="48" y="467"/>
                    <a:pt x="48" y="469"/>
                  </a:cubicBezTo>
                  <a:cubicBezTo>
                    <a:pt x="48" y="469"/>
                    <a:pt x="48" y="469"/>
                    <a:pt x="48" y="469"/>
                  </a:cubicBezTo>
                  <a:cubicBezTo>
                    <a:pt x="46" y="468"/>
                    <a:pt x="45" y="467"/>
                    <a:pt x="44" y="465"/>
                  </a:cubicBezTo>
                  <a:cubicBezTo>
                    <a:pt x="44" y="465"/>
                    <a:pt x="44" y="465"/>
                    <a:pt x="45" y="465"/>
                  </a:cubicBezTo>
                  <a:cubicBezTo>
                    <a:pt x="45" y="465"/>
                    <a:pt x="45" y="465"/>
                    <a:pt x="45" y="465"/>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5" name="Freeform 174">
              <a:extLst>
                <a:ext uri="{FF2B5EF4-FFF2-40B4-BE49-F238E27FC236}">
                  <a16:creationId xmlns:a16="http://schemas.microsoft.com/office/drawing/2014/main" id="{FFEF4BB6-9513-B345-BB00-4A74CDF13442}"/>
                </a:ext>
              </a:extLst>
            </p:cNvPr>
            <p:cNvSpPr>
              <a:spLocks/>
            </p:cNvSpPr>
            <p:nvPr/>
          </p:nvSpPr>
          <p:spPr bwMode="auto">
            <a:xfrm>
              <a:off x="13017546" y="6263595"/>
              <a:ext cx="246210" cy="466642"/>
            </a:xfrm>
            <a:custGeom>
              <a:avLst/>
              <a:gdLst>
                <a:gd name="T0" fmla="*/ 33 w 45"/>
                <a:gd name="T1" fmla="*/ 35 h 94"/>
                <a:gd name="T2" fmla="*/ 36 w 45"/>
                <a:gd name="T3" fmla="*/ 31 h 94"/>
                <a:gd name="T4" fmla="*/ 43 w 45"/>
                <a:gd name="T5" fmla="*/ 19 h 94"/>
                <a:gd name="T6" fmla="*/ 33 w 45"/>
                <a:gd name="T7" fmla="*/ 11 h 94"/>
                <a:gd name="T8" fmla="*/ 21 w 45"/>
                <a:gd name="T9" fmla="*/ 0 h 94"/>
                <a:gd name="T10" fmla="*/ 14 w 45"/>
                <a:gd name="T11" fmla="*/ 5 h 94"/>
                <a:gd name="T12" fmla="*/ 12 w 45"/>
                <a:gd name="T13" fmla="*/ 7 h 94"/>
                <a:gd name="T14" fmla="*/ 7 w 45"/>
                <a:gd name="T15" fmla="*/ 20 h 94"/>
                <a:gd name="T16" fmla="*/ 6 w 45"/>
                <a:gd name="T17" fmla="*/ 27 h 94"/>
                <a:gd name="T18" fmla="*/ 6 w 45"/>
                <a:gd name="T19" fmla="*/ 40 h 94"/>
                <a:gd name="T20" fmla="*/ 3 w 45"/>
                <a:gd name="T21" fmla="*/ 40 h 94"/>
                <a:gd name="T22" fmla="*/ 2 w 45"/>
                <a:gd name="T23" fmla="*/ 43 h 94"/>
                <a:gd name="T24" fmla="*/ 2 w 45"/>
                <a:gd name="T25" fmla="*/ 46 h 94"/>
                <a:gd name="T26" fmla="*/ 1 w 45"/>
                <a:gd name="T27" fmla="*/ 51 h 94"/>
                <a:gd name="T28" fmla="*/ 3 w 45"/>
                <a:gd name="T29" fmla="*/ 57 h 94"/>
                <a:gd name="T30" fmla="*/ 3 w 45"/>
                <a:gd name="T31" fmla="*/ 59 h 94"/>
                <a:gd name="T32" fmla="*/ 3 w 45"/>
                <a:gd name="T33" fmla="*/ 75 h 94"/>
                <a:gd name="T34" fmla="*/ 3 w 45"/>
                <a:gd name="T35" fmla="*/ 76 h 94"/>
                <a:gd name="T36" fmla="*/ 2 w 45"/>
                <a:gd name="T37" fmla="*/ 84 h 94"/>
                <a:gd name="T38" fmla="*/ 2 w 45"/>
                <a:gd name="T39" fmla="*/ 86 h 94"/>
                <a:gd name="T40" fmla="*/ 10 w 45"/>
                <a:gd name="T41" fmla="*/ 94 h 94"/>
                <a:gd name="T42" fmla="*/ 14 w 45"/>
                <a:gd name="T43" fmla="*/ 92 h 94"/>
                <a:gd name="T44" fmla="*/ 13 w 45"/>
                <a:gd name="T45" fmla="*/ 82 h 94"/>
                <a:gd name="T46" fmla="*/ 13 w 45"/>
                <a:gd name="T47" fmla="*/ 82 h 94"/>
                <a:gd name="T48" fmla="*/ 12 w 45"/>
                <a:gd name="T49" fmla="*/ 69 h 94"/>
                <a:gd name="T50" fmla="*/ 14 w 45"/>
                <a:gd name="T51" fmla="*/ 64 h 94"/>
                <a:gd name="T52" fmla="*/ 18 w 45"/>
                <a:gd name="T53" fmla="*/ 61 h 94"/>
                <a:gd name="T54" fmla="*/ 21 w 45"/>
                <a:gd name="T55" fmla="*/ 58 h 94"/>
                <a:gd name="T56" fmla="*/ 24 w 45"/>
                <a:gd name="T57" fmla="*/ 52 h 94"/>
                <a:gd name="T58" fmla="*/ 23 w 45"/>
                <a:gd name="T59" fmla="*/ 44 h 94"/>
                <a:gd name="T60" fmla="*/ 26 w 45"/>
                <a:gd name="T61" fmla="*/ 41 h 94"/>
                <a:gd name="T62" fmla="*/ 28 w 45"/>
                <a:gd name="T63" fmla="*/ 3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 h="94">
                  <a:moveTo>
                    <a:pt x="28" y="39"/>
                  </a:moveTo>
                  <a:cubicBezTo>
                    <a:pt x="31" y="39"/>
                    <a:pt x="32" y="36"/>
                    <a:pt x="33" y="35"/>
                  </a:cubicBezTo>
                  <a:cubicBezTo>
                    <a:pt x="33" y="35"/>
                    <a:pt x="34" y="34"/>
                    <a:pt x="34" y="34"/>
                  </a:cubicBezTo>
                  <a:cubicBezTo>
                    <a:pt x="35" y="33"/>
                    <a:pt x="36" y="33"/>
                    <a:pt x="36" y="31"/>
                  </a:cubicBezTo>
                  <a:cubicBezTo>
                    <a:pt x="39" y="31"/>
                    <a:pt x="44" y="29"/>
                    <a:pt x="45" y="26"/>
                  </a:cubicBezTo>
                  <a:cubicBezTo>
                    <a:pt x="45" y="23"/>
                    <a:pt x="45" y="21"/>
                    <a:pt x="43" y="19"/>
                  </a:cubicBezTo>
                  <a:cubicBezTo>
                    <a:pt x="42" y="18"/>
                    <a:pt x="40" y="17"/>
                    <a:pt x="38" y="16"/>
                  </a:cubicBezTo>
                  <a:cubicBezTo>
                    <a:pt x="37" y="14"/>
                    <a:pt x="36" y="12"/>
                    <a:pt x="33" y="11"/>
                  </a:cubicBezTo>
                  <a:cubicBezTo>
                    <a:pt x="31" y="10"/>
                    <a:pt x="31" y="10"/>
                    <a:pt x="31" y="9"/>
                  </a:cubicBezTo>
                  <a:cubicBezTo>
                    <a:pt x="30" y="5"/>
                    <a:pt x="26" y="0"/>
                    <a:pt x="21" y="0"/>
                  </a:cubicBezTo>
                  <a:cubicBezTo>
                    <a:pt x="20" y="0"/>
                    <a:pt x="19" y="1"/>
                    <a:pt x="18" y="1"/>
                  </a:cubicBezTo>
                  <a:cubicBezTo>
                    <a:pt x="16" y="2"/>
                    <a:pt x="15" y="4"/>
                    <a:pt x="14" y="5"/>
                  </a:cubicBezTo>
                  <a:cubicBezTo>
                    <a:pt x="13" y="5"/>
                    <a:pt x="13" y="6"/>
                    <a:pt x="12" y="6"/>
                  </a:cubicBezTo>
                  <a:cubicBezTo>
                    <a:pt x="12" y="7"/>
                    <a:pt x="12" y="7"/>
                    <a:pt x="12" y="7"/>
                  </a:cubicBezTo>
                  <a:cubicBezTo>
                    <a:pt x="11" y="8"/>
                    <a:pt x="9" y="10"/>
                    <a:pt x="8" y="12"/>
                  </a:cubicBezTo>
                  <a:cubicBezTo>
                    <a:pt x="7" y="15"/>
                    <a:pt x="7" y="18"/>
                    <a:pt x="7" y="20"/>
                  </a:cubicBezTo>
                  <a:cubicBezTo>
                    <a:pt x="7" y="23"/>
                    <a:pt x="7" y="25"/>
                    <a:pt x="7" y="27"/>
                  </a:cubicBezTo>
                  <a:cubicBezTo>
                    <a:pt x="6" y="27"/>
                    <a:pt x="6" y="27"/>
                    <a:pt x="6" y="27"/>
                  </a:cubicBezTo>
                  <a:cubicBezTo>
                    <a:pt x="6" y="30"/>
                    <a:pt x="5" y="32"/>
                    <a:pt x="5" y="35"/>
                  </a:cubicBezTo>
                  <a:cubicBezTo>
                    <a:pt x="6" y="37"/>
                    <a:pt x="6" y="39"/>
                    <a:pt x="6" y="40"/>
                  </a:cubicBezTo>
                  <a:cubicBezTo>
                    <a:pt x="6" y="40"/>
                    <a:pt x="5" y="40"/>
                    <a:pt x="5" y="40"/>
                  </a:cubicBezTo>
                  <a:cubicBezTo>
                    <a:pt x="3" y="40"/>
                    <a:pt x="3" y="40"/>
                    <a:pt x="3" y="40"/>
                  </a:cubicBezTo>
                  <a:cubicBezTo>
                    <a:pt x="2" y="42"/>
                    <a:pt x="2" y="42"/>
                    <a:pt x="2" y="42"/>
                  </a:cubicBezTo>
                  <a:cubicBezTo>
                    <a:pt x="2" y="42"/>
                    <a:pt x="2" y="43"/>
                    <a:pt x="2" y="43"/>
                  </a:cubicBezTo>
                  <a:cubicBezTo>
                    <a:pt x="2" y="43"/>
                    <a:pt x="2" y="45"/>
                    <a:pt x="2" y="46"/>
                  </a:cubicBezTo>
                  <a:cubicBezTo>
                    <a:pt x="2" y="46"/>
                    <a:pt x="2" y="46"/>
                    <a:pt x="2" y="46"/>
                  </a:cubicBezTo>
                  <a:cubicBezTo>
                    <a:pt x="2" y="46"/>
                    <a:pt x="2" y="46"/>
                    <a:pt x="2" y="46"/>
                  </a:cubicBezTo>
                  <a:cubicBezTo>
                    <a:pt x="1" y="51"/>
                    <a:pt x="1" y="51"/>
                    <a:pt x="1" y="51"/>
                  </a:cubicBezTo>
                  <a:cubicBezTo>
                    <a:pt x="1" y="52"/>
                    <a:pt x="1" y="53"/>
                    <a:pt x="1" y="54"/>
                  </a:cubicBezTo>
                  <a:cubicBezTo>
                    <a:pt x="2" y="56"/>
                    <a:pt x="3" y="57"/>
                    <a:pt x="3" y="57"/>
                  </a:cubicBezTo>
                  <a:cubicBezTo>
                    <a:pt x="3" y="58"/>
                    <a:pt x="3" y="58"/>
                    <a:pt x="3" y="58"/>
                  </a:cubicBezTo>
                  <a:cubicBezTo>
                    <a:pt x="3" y="59"/>
                    <a:pt x="3" y="59"/>
                    <a:pt x="3" y="59"/>
                  </a:cubicBezTo>
                  <a:cubicBezTo>
                    <a:pt x="2" y="59"/>
                    <a:pt x="2" y="60"/>
                    <a:pt x="2" y="61"/>
                  </a:cubicBezTo>
                  <a:cubicBezTo>
                    <a:pt x="0" y="65"/>
                    <a:pt x="1" y="72"/>
                    <a:pt x="3" y="75"/>
                  </a:cubicBezTo>
                  <a:cubicBezTo>
                    <a:pt x="3" y="76"/>
                    <a:pt x="3" y="76"/>
                    <a:pt x="3" y="76"/>
                  </a:cubicBezTo>
                  <a:cubicBezTo>
                    <a:pt x="3" y="76"/>
                    <a:pt x="3" y="76"/>
                    <a:pt x="3" y="76"/>
                  </a:cubicBezTo>
                  <a:cubicBezTo>
                    <a:pt x="2" y="78"/>
                    <a:pt x="2" y="78"/>
                    <a:pt x="2" y="78"/>
                  </a:cubicBezTo>
                  <a:cubicBezTo>
                    <a:pt x="1" y="81"/>
                    <a:pt x="1" y="83"/>
                    <a:pt x="2" y="84"/>
                  </a:cubicBezTo>
                  <a:cubicBezTo>
                    <a:pt x="2" y="85"/>
                    <a:pt x="2" y="85"/>
                    <a:pt x="2" y="85"/>
                  </a:cubicBezTo>
                  <a:cubicBezTo>
                    <a:pt x="2" y="86"/>
                    <a:pt x="2" y="86"/>
                    <a:pt x="2" y="86"/>
                  </a:cubicBezTo>
                  <a:cubicBezTo>
                    <a:pt x="3" y="88"/>
                    <a:pt x="3" y="90"/>
                    <a:pt x="6" y="91"/>
                  </a:cubicBezTo>
                  <a:cubicBezTo>
                    <a:pt x="7" y="94"/>
                    <a:pt x="8" y="94"/>
                    <a:pt x="10" y="94"/>
                  </a:cubicBezTo>
                  <a:cubicBezTo>
                    <a:pt x="10" y="94"/>
                    <a:pt x="10" y="94"/>
                    <a:pt x="10" y="94"/>
                  </a:cubicBezTo>
                  <a:cubicBezTo>
                    <a:pt x="12" y="94"/>
                    <a:pt x="13" y="93"/>
                    <a:pt x="14" y="92"/>
                  </a:cubicBezTo>
                  <a:cubicBezTo>
                    <a:pt x="16" y="89"/>
                    <a:pt x="14" y="85"/>
                    <a:pt x="13" y="83"/>
                  </a:cubicBezTo>
                  <a:cubicBezTo>
                    <a:pt x="13" y="83"/>
                    <a:pt x="13" y="83"/>
                    <a:pt x="13" y="82"/>
                  </a:cubicBezTo>
                  <a:cubicBezTo>
                    <a:pt x="12" y="82"/>
                    <a:pt x="12" y="82"/>
                    <a:pt x="12" y="82"/>
                  </a:cubicBezTo>
                  <a:cubicBezTo>
                    <a:pt x="12" y="82"/>
                    <a:pt x="13" y="82"/>
                    <a:pt x="13" y="82"/>
                  </a:cubicBezTo>
                  <a:cubicBezTo>
                    <a:pt x="15" y="78"/>
                    <a:pt x="13" y="75"/>
                    <a:pt x="13" y="72"/>
                  </a:cubicBezTo>
                  <a:cubicBezTo>
                    <a:pt x="12" y="71"/>
                    <a:pt x="12" y="70"/>
                    <a:pt x="12" y="69"/>
                  </a:cubicBezTo>
                  <a:cubicBezTo>
                    <a:pt x="12" y="68"/>
                    <a:pt x="12" y="68"/>
                    <a:pt x="13" y="67"/>
                  </a:cubicBezTo>
                  <a:cubicBezTo>
                    <a:pt x="13" y="66"/>
                    <a:pt x="14" y="65"/>
                    <a:pt x="14" y="64"/>
                  </a:cubicBezTo>
                  <a:cubicBezTo>
                    <a:pt x="15" y="63"/>
                    <a:pt x="16" y="63"/>
                    <a:pt x="17" y="62"/>
                  </a:cubicBezTo>
                  <a:cubicBezTo>
                    <a:pt x="17" y="62"/>
                    <a:pt x="18" y="61"/>
                    <a:pt x="18" y="61"/>
                  </a:cubicBezTo>
                  <a:cubicBezTo>
                    <a:pt x="18" y="61"/>
                    <a:pt x="18" y="61"/>
                    <a:pt x="19" y="60"/>
                  </a:cubicBezTo>
                  <a:cubicBezTo>
                    <a:pt x="20" y="60"/>
                    <a:pt x="21" y="59"/>
                    <a:pt x="21" y="58"/>
                  </a:cubicBezTo>
                  <a:cubicBezTo>
                    <a:pt x="23" y="57"/>
                    <a:pt x="22" y="55"/>
                    <a:pt x="22" y="54"/>
                  </a:cubicBezTo>
                  <a:cubicBezTo>
                    <a:pt x="23" y="54"/>
                    <a:pt x="23" y="53"/>
                    <a:pt x="24" y="52"/>
                  </a:cubicBezTo>
                  <a:cubicBezTo>
                    <a:pt x="24" y="51"/>
                    <a:pt x="24" y="49"/>
                    <a:pt x="24" y="48"/>
                  </a:cubicBezTo>
                  <a:cubicBezTo>
                    <a:pt x="24" y="46"/>
                    <a:pt x="24" y="45"/>
                    <a:pt x="23" y="44"/>
                  </a:cubicBezTo>
                  <a:cubicBezTo>
                    <a:pt x="24" y="44"/>
                    <a:pt x="25" y="43"/>
                    <a:pt x="25" y="42"/>
                  </a:cubicBezTo>
                  <a:cubicBezTo>
                    <a:pt x="26" y="42"/>
                    <a:pt x="26" y="42"/>
                    <a:pt x="26" y="41"/>
                  </a:cubicBezTo>
                  <a:cubicBezTo>
                    <a:pt x="26" y="41"/>
                    <a:pt x="26" y="41"/>
                    <a:pt x="26" y="41"/>
                  </a:cubicBezTo>
                  <a:cubicBezTo>
                    <a:pt x="27" y="41"/>
                    <a:pt x="27" y="40"/>
                    <a:pt x="28" y="39"/>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6" name="Freeform 175">
              <a:extLst>
                <a:ext uri="{FF2B5EF4-FFF2-40B4-BE49-F238E27FC236}">
                  <a16:creationId xmlns:a16="http://schemas.microsoft.com/office/drawing/2014/main" id="{B1D59755-590C-C44C-8013-F5257C581FEF}"/>
                </a:ext>
              </a:extLst>
            </p:cNvPr>
            <p:cNvSpPr>
              <a:spLocks/>
            </p:cNvSpPr>
            <p:nvPr/>
          </p:nvSpPr>
          <p:spPr bwMode="auto">
            <a:xfrm>
              <a:off x="21089127" y="8454948"/>
              <a:ext cx="816596" cy="640233"/>
            </a:xfrm>
            <a:custGeom>
              <a:avLst/>
              <a:gdLst>
                <a:gd name="T0" fmla="*/ 147 w 150"/>
                <a:gd name="T1" fmla="*/ 54 h 129"/>
                <a:gd name="T2" fmla="*/ 142 w 150"/>
                <a:gd name="T3" fmla="*/ 53 h 129"/>
                <a:gd name="T4" fmla="*/ 140 w 150"/>
                <a:gd name="T5" fmla="*/ 53 h 129"/>
                <a:gd name="T6" fmla="*/ 135 w 150"/>
                <a:gd name="T7" fmla="*/ 53 h 129"/>
                <a:gd name="T8" fmla="*/ 130 w 150"/>
                <a:gd name="T9" fmla="*/ 50 h 129"/>
                <a:gd name="T10" fmla="*/ 127 w 150"/>
                <a:gd name="T11" fmla="*/ 48 h 129"/>
                <a:gd name="T12" fmla="*/ 123 w 150"/>
                <a:gd name="T13" fmla="*/ 42 h 129"/>
                <a:gd name="T14" fmla="*/ 116 w 150"/>
                <a:gd name="T15" fmla="*/ 37 h 129"/>
                <a:gd name="T16" fmla="*/ 116 w 150"/>
                <a:gd name="T17" fmla="*/ 31 h 129"/>
                <a:gd name="T18" fmla="*/ 102 w 150"/>
                <a:gd name="T19" fmla="*/ 30 h 129"/>
                <a:gd name="T20" fmla="*/ 103 w 150"/>
                <a:gd name="T21" fmla="*/ 29 h 129"/>
                <a:gd name="T22" fmla="*/ 96 w 150"/>
                <a:gd name="T23" fmla="*/ 0 h 129"/>
                <a:gd name="T24" fmla="*/ 83 w 150"/>
                <a:gd name="T25" fmla="*/ 10 h 129"/>
                <a:gd name="T26" fmla="*/ 82 w 150"/>
                <a:gd name="T27" fmla="*/ 10 h 129"/>
                <a:gd name="T28" fmla="*/ 73 w 150"/>
                <a:gd name="T29" fmla="*/ 5 h 129"/>
                <a:gd name="T30" fmla="*/ 69 w 150"/>
                <a:gd name="T31" fmla="*/ 6 h 129"/>
                <a:gd name="T32" fmla="*/ 68 w 150"/>
                <a:gd name="T33" fmla="*/ 6 h 129"/>
                <a:gd name="T34" fmla="*/ 49 w 150"/>
                <a:gd name="T35" fmla="*/ 17 h 129"/>
                <a:gd name="T36" fmla="*/ 43 w 150"/>
                <a:gd name="T37" fmla="*/ 21 h 129"/>
                <a:gd name="T38" fmla="*/ 38 w 150"/>
                <a:gd name="T39" fmla="*/ 22 h 129"/>
                <a:gd name="T40" fmla="*/ 33 w 150"/>
                <a:gd name="T41" fmla="*/ 21 h 129"/>
                <a:gd name="T42" fmla="*/ 13 w 150"/>
                <a:gd name="T43" fmla="*/ 31 h 129"/>
                <a:gd name="T44" fmla="*/ 13 w 150"/>
                <a:gd name="T45" fmla="*/ 39 h 129"/>
                <a:gd name="T46" fmla="*/ 8 w 150"/>
                <a:gd name="T47" fmla="*/ 56 h 129"/>
                <a:gd name="T48" fmla="*/ 0 w 150"/>
                <a:gd name="T49" fmla="*/ 64 h 129"/>
                <a:gd name="T50" fmla="*/ 15 w 150"/>
                <a:gd name="T51" fmla="*/ 60 h 129"/>
                <a:gd name="T52" fmla="*/ 21 w 150"/>
                <a:gd name="T53" fmla="*/ 58 h 129"/>
                <a:gd name="T54" fmla="*/ 43 w 150"/>
                <a:gd name="T55" fmla="*/ 81 h 129"/>
                <a:gd name="T56" fmla="*/ 48 w 150"/>
                <a:gd name="T57" fmla="*/ 91 h 129"/>
                <a:gd name="T58" fmla="*/ 49 w 150"/>
                <a:gd name="T59" fmla="*/ 99 h 129"/>
                <a:gd name="T60" fmla="*/ 60 w 150"/>
                <a:gd name="T61" fmla="*/ 111 h 129"/>
                <a:gd name="T62" fmla="*/ 64 w 150"/>
                <a:gd name="T63" fmla="*/ 111 h 129"/>
                <a:gd name="T64" fmla="*/ 65 w 150"/>
                <a:gd name="T65" fmla="*/ 113 h 129"/>
                <a:gd name="T66" fmla="*/ 74 w 150"/>
                <a:gd name="T67" fmla="*/ 129 h 129"/>
                <a:gd name="T68" fmla="*/ 83 w 150"/>
                <a:gd name="T69" fmla="*/ 126 h 129"/>
                <a:gd name="T70" fmla="*/ 88 w 150"/>
                <a:gd name="T71" fmla="*/ 124 h 129"/>
                <a:gd name="T72" fmla="*/ 92 w 150"/>
                <a:gd name="T73" fmla="*/ 124 h 129"/>
                <a:gd name="T74" fmla="*/ 97 w 150"/>
                <a:gd name="T75" fmla="*/ 122 h 129"/>
                <a:gd name="T76" fmla="*/ 101 w 150"/>
                <a:gd name="T77" fmla="*/ 119 h 129"/>
                <a:gd name="T78" fmla="*/ 124 w 150"/>
                <a:gd name="T79" fmla="*/ 98 h 129"/>
                <a:gd name="T80" fmla="*/ 129 w 150"/>
                <a:gd name="T81" fmla="*/ 93 h 129"/>
                <a:gd name="T82" fmla="*/ 133 w 150"/>
                <a:gd name="T83" fmla="*/ 92 h 129"/>
                <a:gd name="T84" fmla="*/ 144 w 150"/>
                <a:gd name="T85" fmla="*/ 96 h 129"/>
                <a:gd name="T86" fmla="*/ 144 w 150"/>
                <a:gd name="T87" fmla="*/ 78 h 129"/>
                <a:gd name="T88" fmla="*/ 150 w 150"/>
                <a:gd name="T89" fmla="*/ 5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0" h="129">
                  <a:moveTo>
                    <a:pt x="150" y="57"/>
                  </a:moveTo>
                  <a:cubicBezTo>
                    <a:pt x="149" y="56"/>
                    <a:pt x="149" y="54"/>
                    <a:pt x="147" y="54"/>
                  </a:cubicBezTo>
                  <a:cubicBezTo>
                    <a:pt x="146" y="53"/>
                    <a:pt x="145" y="53"/>
                    <a:pt x="144" y="53"/>
                  </a:cubicBezTo>
                  <a:cubicBezTo>
                    <a:pt x="144" y="53"/>
                    <a:pt x="143" y="53"/>
                    <a:pt x="142" y="53"/>
                  </a:cubicBezTo>
                  <a:cubicBezTo>
                    <a:pt x="142" y="53"/>
                    <a:pt x="142" y="53"/>
                    <a:pt x="142" y="53"/>
                  </a:cubicBezTo>
                  <a:cubicBezTo>
                    <a:pt x="140" y="53"/>
                    <a:pt x="140" y="53"/>
                    <a:pt x="140" y="53"/>
                  </a:cubicBezTo>
                  <a:cubicBezTo>
                    <a:pt x="139" y="53"/>
                    <a:pt x="137" y="53"/>
                    <a:pt x="136" y="53"/>
                  </a:cubicBezTo>
                  <a:cubicBezTo>
                    <a:pt x="135" y="53"/>
                    <a:pt x="135" y="53"/>
                    <a:pt x="135" y="53"/>
                  </a:cubicBezTo>
                  <a:cubicBezTo>
                    <a:pt x="134" y="53"/>
                    <a:pt x="133" y="53"/>
                    <a:pt x="132" y="52"/>
                  </a:cubicBezTo>
                  <a:cubicBezTo>
                    <a:pt x="132" y="51"/>
                    <a:pt x="131" y="51"/>
                    <a:pt x="130" y="50"/>
                  </a:cubicBezTo>
                  <a:cubicBezTo>
                    <a:pt x="130" y="49"/>
                    <a:pt x="129" y="49"/>
                    <a:pt x="128" y="48"/>
                  </a:cubicBezTo>
                  <a:cubicBezTo>
                    <a:pt x="128" y="48"/>
                    <a:pt x="127" y="48"/>
                    <a:pt x="127" y="48"/>
                  </a:cubicBezTo>
                  <a:cubicBezTo>
                    <a:pt x="127" y="47"/>
                    <a:pt x="126" y="47"/>
                    <a:pt x="126" y="46"/>
                  </a:cubicBezTo>
                  <a:cubicBezTo>
                    <a:pt x="126" y="45"/>
                    <a:pt x="125" y="44"/>
                    <a:pt x="123" y="42"/>
                  </a:cubicBezTo>
                  <a:cubicBezTo>
                    <a:pt x="122" y="41"/>
                    <a:pt x="121" y="41"/>
                    <a:pt x="120" y="40"/>
                  </a:cubicBezTo>
                  <a:cubicBezTo>
                    <a:pt x="118" y="39"/>
                    <a:pt x="117" y="38"/>
                    <a:pt x="116" y="37"/>
                  </a:cubicBezTo>
                  <a:cubicBezTo>
                    <a:pt x="116" y="37"/>
                    <a:pt x="116" y="36"/>
                    <a:pt x="116" y="36"/>
                  </a:cubicBezTo>
                  <a:cubicBezTo>
                    <a:pt x="116" y="34"/>
                    <a:pt x="116" y="33"/>
                    <a:pt x="116" y="31"/>
                  </a:cubicBezTo>
                  <a:cubicBezTo>
                    <a:pt x="115" y="29"/>
                    <a:pt x="113" y="27"/>
                    <a:pt x="110" y="27"/>
                  </a:cubicBezTo>
                  <a:cubicBezTo>
                    <a:pt x="108" y="27"/>
                    <a:pt x="105" y="28"/>
                    <a:pt x="102" y="30"/>
                  </a:cubicBezTo>
                  <a:cubicBezTo>
                    <a:pt x="102" y="30"/>
                    <a:pt x="102" y="30"/>
                    <a:pt x="102" y="30"/>
                  </a:cubicBezTo>
                  <a:cubicBezTo>
                    <a:pt x="103" y="29"/>
                    <a:pt x="103" y="29"/>
                    <a:pt x="103" y="29"/>
                  </a:cubicBezTo>
                  <a:cubicBezTo>
                    <a:pt x="106" y="24"/>
                    <a:pt x="107" y="11"/>
                    <a:pt x="104" y="4"/>
                  </a:cubicBezTo>
                  <a:cubicBezTo>
                    <a:pt x="102" y="1"/>
                    <a:pt x="100" y="0"/>
                    <a:pt x="96" y="0"/>
                  </a:cubicBezTo>
                  <a:cubicBezTo>
                    <a:pt x="90" y="0"/>
                    <a:pt x="86" y="6"/>
                    <a:pt x="84" y="9"/>
                  </a:cubicBezTo>
                  <a:cubicBezTo>
                    <a:pt x="84" y="9"/>
                    <a:pt x="83" y="10"/>
                    <a:pt x="83" y="10"/>
                  </a:cubicBezTo>
                  <a:cubicBezTo>
                    <a:pt x="83" y="10"/>
                    <a:pt x="83" y="11"/>
                    <a:pt x="83" y="11"/>
                  </a:cubicBezTo>
                  <a:cubicBezTo>
                    <a:pt x="82" y="11"/>
                    <a:pt x="82" y="11"/>
                    <a:pt x="82" y="10"/>
                  </a:cubicBezTo>
                  <a:cubicBezTo>
                    <a:pt x="81" y="9"/>
                    <a:pt x="80" y="8"/>
                    <a:pt x="79" y="7"/>
                  </a:cubicBezTo>
                  <a:cubicBezTo>
                    <a:pt x="77" y="6"/>
                    <a:pt x="75" y="5"/>
                    <a:pt x="73" y="5"/>
                  </a:cubicBezTo>
                  <a:cubicBezTo>
                    <a:pt x="72" y="5"/>
                    <a:pt x="71" y="5"/>
                    <a:pt x="71" y="5"/>
                  </a:cubicBezTo>
                  <a:cubicBezTo>
                    <a:pt x="70" y="5"/>
                    <a:pt x="69" y="6"/>
                    <a:pt x="69" y="6"/>
                  </a:cubicBezTo>
                  <a:cubicBezTo>
                    <a:pt x="68" y="6"/>
                    <a:pt x="68" y="6"/>
                    <a:pt x="68" y="6"/>
                  </a:cubicBezTo>
                  <a:cubicBezTo>
                    <a:pt x="68" y="6"/>
                    <a:pt x="68" y="6"/>
                    <a:pt x="68" y="6"/>
                  </a:cubicBezTo>
                  <a:cubicBezTo>
                    <a:pt x="61" y="8"/>
                    <a:pt x="55" y="12"/>
                    <a:pt x="51" y="15"/>
                  </a:cubicBezTo>
                  <a:cubicBezTo>
                    <a:pt x="50" y="15"/>
                    <a:pt x="49" y="16"/>
                    <a:pt x="49" y="17"/>
                  </a:cubicBezTo>
                  <a:cubicBezTo>
                    <a:pt x="48" y="17"/>
                    <a:pt x="48" y="17"/>
                    <a:pt x="48" y="17"/>
                  </a:cubicBezTo>
                  <a:cubicBezTo>
                    <a:pt x="46" y="19"/>
                    <a:pt x="45" y="21"/>
                    <a:pt x="43" y="21"/>
                  </a:cubicBezTo>
                  <a:cubicBezTo>
                    <a:pt x="42" y="22"/>
                    <a:pt x="41" y="22"/>
                    <a:pt x="40" y="22"/>
                  </a:cubicBezTo>
                  <a:cubicBezTo>
                    <a:pt x="39" y="22"/>
                    <a:pt x="38" y="22"/>
                    <a:pt x="38" y="22"/>
                  </a:cubicBezTo>
                  <a:cubicBezTo>
                    <a:pt x="37" y="21"/>
                    <a:pt x="36" y="21"/>
                    <a:pt x="35" y="21"/>
                  </a:cubicBezTo>
                  <a:cubicBezTo>
                    <a:pt x="34" y="21"/>
                    <a:pt x="34" y="21"/>
                    <a:pt x="33" y="21"/>
                  </a:cubicBezTo>
                  <a:cubicBezTo>
                    <a:pt x="30" y="22"/>
                    <a:pt x="16" y="28"/>
                    <a:pt x="13" y="30"/>
                  </a:cubicBezTo>
                  <a:cubicBezTo>
                    <a:pt x="13" y="31"/>
                    <a:pt x="13" y="31"/>
                    <a:pt x="13" y="31"/>
                  </a:cubicBezTo>
                  <a:cubicBezTo>
                    <a:pt x="13" y="31"/>
                    <a:pt x="13" y="31"/>
                    <a:pt x="13" y="31"/>
                  </a:cubicBezTo>
                  <a:cubicBezTo>
                    <a:pt x="12" y="33"/>
                    <a:pt x="12" y="36"/>
                    <a:pt x="13" y="39"/>
                  </a:cubicBezTo>
                  <a:cubicBezTo>
                    <a:pt x="14" y="42"/>
                    <a:pt x="15" y="46"/>
                    <a:pt x="12" y="51"/>
                  </a:cubicBezTo>
                  <a:cubicBezTo>
                    <a:pt x="11" y="53"/>
                    <a:pt x="9" y="54"/>
                    <a:pt x="8" y="56"/>
                  </a:cubicBezTo>
                  <a:cubicBezTo>
                    <a:pt x="7" y="56"/>
                    <a:pt x="7" y="57"/>
                    <a:pt x="6" y="58"/>
                  </a:cubicBezTo>
                  <a:cubicBezTo>
                    <a:pt x="0" y="64"/>
                    <a:pt x="0" y="64"/>
                    <a:pt x="0" y="64"/>
                  </a:cubicBezTo>
                  <a:cubicBezTo>
                    <a:pt x="9" y="63"/>
                    <a:pt x="9" y="63"/>
                    <a:pt x="9" y="63"/>
                  </a:cubicBezTo>
                  <a:cubicBezTo>
                    <a:pt x="11" y="62"/>
                    <a:pt x="13" y="61"/>
                    <a:pt x="15" y="60"/>
                  </a:cubicBezTo>
                  <a:cubicBezTo>
                    <a:pt x="17" y="59"/>
                    <a:pt x="18" y="59"/>
                    <a:pt x="20" y="58"/>
                  </a:cubicBezTo>
                  <a:cubicBezTo>
                    <a:pt x="20" y="58"/>
                    <a:pt x="21" y="58"/>
                    <a:pt x="21" y="58"/>
                  </a:cubicBezTo>
                  <a:cubicBezTo>
                    <a:pt x="24" y="58"/>
                    <a:pt x="26" y="59"/>
                    <a:pt x="29" y="61"/>
                  </a:cubicBezTo>
                  <a:cubicBezTo>
                    <a:pt x="36" y="67"/>
                    <a:pt x="41" y="75"/>
                    <a:pt x="43" y="81"/>
                  </a:cubicBezTo>
                  <a:cubicBezTo>
                    <a:pt x="44" y="82"/>
                    <a:pt x="45" y="84"/>
                    <a:pt x="45" y="85"/>
                  </a:cubicBezTo>
                  <a:cubicBezTo>
                    <a:pt x="46" y="87"/>
                    <a:pt x="48" y="89"/>
                    <a:pt x="48" y="91"/>
                  </a:cubicBezTo>
                  <a:cubicBezTo>
                    <a:pt x="48" y="92"/>
                    <a:pt x="48" y="93"/>
                    <a:pt x="48" y="94"/>
                  </a:cubicBezTo>
                  <a:cubicBezTo>
                    <a:pt x="49" y="96"/>
                    <a:pt x="49" y="97"/>
                    <a:pt x="49" y="99"/>
                  </a:cubicBezTo>
                  <a:cubicBezTo>
                    <a:pt x="50" y="102"/>
                    <a:pt x="52" y="107"/>
                    <a:pt x="55" y="110"/>
                  </a:cubicBezTo>
                  <a:cubicBezTo>
                    <a:pt x="57" y="111"/>
                    <a:pt x="58" y="111"/>
                    <a:pt x="60" y="111"/>
                  </a:cubicBezTo>
                  <a:cubicBezTo>
                    <a:pt x="61" y="111"/>
                    <a:pt x="61" y="111"/>
                    <a:pt x="62" y="111"/>
                  </a:cubicBezTo>
                  <a:cubicBezTo>
                    <a:pt x="63" y="111"/>
                    <a:pt x="64" y="111"/>
                    <a:pt x="64" y="111"/>
                  </a:cubicBezTo>
                  <a:cubicBezTo>
                    <a:pt x="65" y="111"/>
                    <a:pt x="65" y="111"/>
                    <a:pt x="65" y="111"/>
                  </a:cubicBezTo>
                  <a:cubicBezTo>
                    <a:pt x="65" y="111"/>
                    <a:pt x="66" y="111"/>
                    <a:pt x="65" y="113"/>
                  </a:cubicBezTo>
                  <a:cubicBezTo>
                    <a:pt x="65" y="115"/>
                    <a:pt x="66" y="117"/>
                    <a:pt x="66" y="119"/>
                  </a:cubicBezTo>
                  <a:cubicBezTo>
                    <a:pt x="67" y="122"/>
                    <a:pt x="68" y="128"/>
                    <a:pt x="74" y="129"/>
                  </a:cubicBezTo>
                  <a:cubicBezTo>
                    <a:pt x="75" y="129"/>
                    <a:pt x="75" y="129"/>
                    <a:pt x="76" y="129"/>
                  </a:cubicBezTo>
                  <a:cubicBezTo>
                    <a:pt x="79" y="129"/>
                    <a:pt x="81" y="128"/>
                    <a:pt x="83" y="126"/>
                  </a:cubicBezTo>
                  <a:cubicBezTo>
                    <a:pt x="84" y="126"/>
                    <a:pt x="85" y="126"/>
                    <a:pt x="85" y="125"/>
                  </a:cubicBezTo>
                  <a:cubicBezTo>
                    <a:pt x="86" y="125"/>
                    <a:pt x="87" y="124"/>
                    <a:pt x="88" y="124"/>
                  </a:cubicBezTo>
                  <a:cubicBezTo>
                    <a:pt x="90" y="124"/>
                    <a:pt x="90" y="124"/>
                    <a:pt x="90" y="124"/>
                  </a:cubicBezTo>
                  <a:cubicBezTo>
                    <a:pt x="90" y="124"/>
                    <a:pt x="91" y="124"/>
                    <a:pt x="92" y="124"/>
                  </a:cubicBezTo>
                  <a:cubicBezTo>
                    <a:pt x="92" y="124"/>
                    <a:pt x="93" y="124"/>
                    <a:pt x="93" y="124"/>
                  </a:cubicBezTo>
                  <a:cubicBezTo>
                    <a:pt x="94" y="124"/>
                    <a:pt x="96" y="124"/>
                    <a:pt x="97" y="122"/>
                  </a:cubicBezTo>
                  <a:cubicBezTo>
                    <a:pt x="98" y="122"/>
                    <a:pt x="99" y="121"/>
                    <a:pt x="99" y="121"/>
                  </a:cubicBezTo>
                  <a:cubicBezTo>
                    <a:pt x="100" y="120"/>
                    <a:pt x="100" y="120"/>
                    <a:pt x="101" y="119"/>
                  </a:cubicBezTo>
                  <a:cubicBezTo>
                    <a:pt x="108" y="114"/>
                    <a:pt x="115" y="108"/>
                    <a:pt x="122" y="100"/>
                  </a:cubicBezTo>
                  <a:cubicBezTo>
                    <a:pt x="124" y="98"/>
                    <a:pt x="124" y="98"/>
                    <a:pt x="124" y="98"/>
                  </a:cubicBezTo>
                  <a:cubicBezTo>
                    <a:pt x="125" y="97"/>
                    <a:pt x="127" y="95"/>
                    <a:pt x="128" y="94"/>
                  </a:cubicBezTo>
                  <a:cubicBezTo>
                    <a:pt x="129" y="93"/>
                    <a:pt x="129" y="93"/>
                    <a:pt x="129" y="93"/>
                  </a:cubicBezTo>
                  <a:cubicBezTo>
                    <a:pt x="130" y="93"/>
                    <a:pt x="131" y="91"/>
                    <a:pt x="131" y="91"/>
                  </a:cubicBezTo>
                  <a:cubicBezTo>
                    <a:pt x="132" y="91"/>
                    <a:pt x="132" y="92"/>
                    <a:pt x="133" y="92"/>
                  </a:cubicBezTo>
                  <a:cubicBezTo>
                    <a:pt x="134" y="94"/>
                    <a:pt x="135" y="95"/>
                    <a:pt x="138" y="96"/>
                  </a:cubicBezTo>
                  <a:cubicBezTo>
                    <a:pt x="144" y="96"/>
                    <a:pt x="144" y="96"/>
                    <a:pt x="144" y="96"/>
                  </a:cubicBezTo>
                  <a:cubicBezTo>
                    <a:pt x="141" y="91"/>
                    <a:pt x="141" y="91"/>
                    <a:pt x="141" y="91"/>
                  </a:cubicBezTo>
                  <a:cubicBezTo>
                    <a:pt x="142" y="87"/>
                    <a:pt x="144" y="82"/>
                    <a:pt x="144" y="78"/>
                  </a:cubicBezTo>
                  <a:cubicBezTo>
                    <a:pt x="146" y="72"/>
                    <a:pt x="148" y="66"/>
                    <a:pt x="150" y="60"/>
                  </a:cubicBezTo>
                  <a:cubicBezTo>
                    <a:pt x="150" y="59"/>
                    <a:pt x="150" y="59"/>
                    <a:pt x="150" y="59"/>
                  </a:cubicBezTo>
                  <a:lnTo>
                    <a:pt x="150" y="57"/>
                  </a:ln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7" name="Freeform 176">
              <a:extLst>
                <a:ext uri="{FF2B5EF4-FFF2-40B4-BE49-F238E27FC236}">
                  <a16:creationId xmlns:a16="http://schemas.microsoft.com/office/drawing/2014/main" id="{9076E274-A966-584C-987E-CA3F7DED835D}"/>
                </a:ext>
              </a:extLst>
            </p:cNvPr>
            <p:cNvSpPr>
              <a:spLocks/>
            </p:cNvSpPr>
            <p:nvPr/>
          </p:nvSpPr>
          <p:spPr bwMode="auto">
            <a:xfrm>
              <a:off x="21704652" y="8654671"/>
              <a:ext cx="670922" cy="653299"/>
            </a:xfrm>
            <a:custGeom>
              <a:avLst/>
              <a:gdLst>
                <a:gd name="T0" fmla="*/ 117 w 123"/>
                <a:gd name="T1" fmla="*/ 8 h 132"/>
                <a:gd name="T2" fmla="*/ 110 w 123"/>
                <a:gd name="T3" fmla="*/ 0 h 132"/>
                <a:gd name="T4" fmla="*/ 102 w 123"/>
                <a:gd name="T5" fmla="*/ 3 h 132"/>
                <a:gd name="T6" fmla="*/ 96 w 123"/>
                <a:gd name="T7" fmla="*/ 5 h 132"/>
                <a:gd name="T8" fmla="*/ 91 w 123"/>
                <a:gd name="T9" fmla="*/ 4 h 132"/>
                <a:gd name="T10" fmla="*/ 79 w 123"/>
                <a:gd name="T11" fmla="*/ 11 h 132"/>
                <a:gd name="T12" fmla="*/ 72 w 123"/>
                <a:gd name="T13" fmla="*/ 10 h 132"/>
                <a:gd name="T14" fmla="*/ 64 w 123"/>
                <a:gd name="T15" fmla="*/ 14 h 132"/>
                <a:gd name="T16" fmla="*/ 61 w 123"/>
                <a:gd name="T17" fmla="*/ 17 h 132"/>
                <a:gd name="T18" fmla="*/ 59 w 123"/>
                <a:gd name="T19" fmla="*/ 17 h 132"/>
                <a:gd name="T20" fmla="*/ 54 w 123"/>
                <a:gd name="T21" fmla="*/ 18 h 132"/>
                <a:gd name="T22" fmla="*/ 47 w 123"/>
                <a:gd name="T23" fmla="*/ 19 h 132"/>
                <a:gd name="T24" fmla="*/ 40 w 123"/>
                <a:gd name="T25" fmla="*/ 19 h 132"/>
                <a:gd name="T26" fmla="*/ 37 w 123"/>
                <a:gd name="T27" fmla="*/ 21 h 132"/>
                <a:gd name="T28" fmla="*/ 29 w 123"/>
                <a:gd name="T29" fmla="*/ 47 h 132"/>
                <a:gd name="T30" fmla="*/ 34 w 123"/>
                <a:gd name="T31" fmla="*/ 50 h 132"/>
                <a:gd name="T32" fmla="*/ 43 w 123"/>
                <a:gd name="T33" fmla="*/ 48 h 132"/>
                <a:gd name="T34" fmla="*/ 44 w 123"/>
                <a:gd name="T35" fmla="*/ 49 h 132"/>
                <a:gd name="T36" fmla="*/ 40 w 123"/>
                <a:gd name="T37" fmla="*/ 51 h 132"/>
                <a:gd name="T38" fmla="*/ 35 w 123"/>
                <a:gd name="T39" fmla="*/ 50 h 132"/>
                <a:gd name="T40" fmla="*/ 24 w 123"/>
                <a:gd name="T41" fmla="*/ 59 h 132"/>
                <a:gd name="T42" fmla="*/ 3 w 123"/>
                <a:gd name="T43" fmla="*/ 103 h 132"/>
                <a:gd name="T44" fmla="*/ 12 w 123"/>
                <a:gd name="T45" fmla="*/ 119 h 132"/>
                <a:gd name="T46" fmla="*/ 14 w 123"/>
                <a:gd name="T47" fmla="*/ 122 h 132"/>
                <a:gd name="T48" fmla="*/ 23 w 123"/>
                <a:gd name="T49" fmla="*/ 131 h 132"/>
                <a:gd name="T50" fmla="*/ 36 w 123"/>
                <a:gd name="T51" fmla="*/ 128 h 132"/>
                <a:gd name="T52" fmla="*/ 40 w 123"/>
                <a:gd name="T53" fmla="*/ 123 h 132"/>
                <a:gd name="T54" fmla="*/ 43 w 123"/>
                <a:gd name="T55" fmla="*/ 118 h 132"/>
                <a:gd name="T56" fmla="*/ 49 w 123"/>
                <a:gd name="T57" fmla="*/ 104 h 132"/>
                <a:gd name="T58" fmla="*/ 52 w 123"/>
                <a:gd name="T59" fmla="*/ 96 h 132"/>
                <a:gd name="T60" fmla="*/ 55 w 123"/>
                <a:gd name="T61" fmla="*/ 83 h 132"/>
                <a:gd name="T62" fmla="*/ 56 w 123"/>
                <a:gd name="T63" fmla="*/ 74 h 132"/>
                <a:gd name="T64" fmla="*/ 69 w 123"/>
                <a:gd name="T65" fmla="*/ 67 h 132"/>
                <a:gd name="T66" fmla="*/ 76 w 123"/>
                <a:gd name="T67" fmla="*/ 64 h 132"/>
                <a:gd name="T68" fmla="*/ 88 w 123"/>
                <a:gd name="T69" fmla="*/ 54 h 132"/>
                <a:gd name="T70" fmla="*/ 100 w 123"/>
                <a:gd name="T71" fmla="*/ 41 h 132"/>
                <a:gd name="T72" fmla="*/ 114 w 123"/>
                <a:gd name="T73" fmla="*/ 26 h 132"/>
                <a:gd name="T74" fmla="*/ 119 w 123"/>
                <a:gd name="T75" fmla="*/ 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32">
                  <a:moveTo>
                    <a:pt x="119" y="9"/>
                  </a:moveTo>
                  <a:cubicBezTo>
                    <a:pt x="118" y="8"/>
                    <a:pt x="117" y="8"/>
                    <a:pt x="117" y="8"/>
                  </a:cubicBezTo>
                  <a:cubicBezTo>
                    <a:pt x="116" y="7"/>
                    <a:pt x="116" y="6"/>
                    <a:pt x="116" y="5"/>
                  </a:cubicBezTo>
                  <a:cubicBezTo>
                    <a:pt x="115" y="3"/>
                    <a:pt x="114" y="0"/>
                    <a:pt x="110" y="0"/>
                  </a:cubicBezTo>
                  <a:cubicBezTo>
                    <a:pt x="109" y="0"/>
                    <a:pt x="109" y="0"/>
                    <a:pt x="108" y="0"/>
                  </a:cubicBezTo>
                  <a:cubicBezTo>
                    <a:pt x="105" y="0"/>
                    <a:pt x="104" y="2"/>
                    <a:pt x="102" y="3"/>
                  </a:cubicBezTo>
                  <a:cubicBezTo>
                    <a:pt x="100" y="4"/>
                    <a:pt x="99" y="5"/>
                    <a:pt x="97" y="5"/>
                  </a:cubicBezTo>
                  <a:cubicBezTo>
                    <a:pt x="97" y="5"/>
                    <a:pt x="96" y="5"/>
                    <a:pt x="96" y="5"/>
                  </a:cubicBezTo>
                  <a:cubicBezTo>
                    <a:pt x="94" y="4"/>
                    <a:pt x="94" y="4"/>
                    <a:pt x="94" y="4"/>
                  </a:cubicBezTo>
                  <a:cubicBezTo>
                    <a:pt x="93" y="4"/>
                    <a:pt x="92" y="4"/>
                    <a:pt x="91" y="4"/>
                  </a:cubicBezTo>
                  <a:cubicBezTo>
                    <a:pt x="88" y="4"/>
                    <a:pt x="85" y="5"/>
                    <a:pt x="83" y="8"/>
                  </a:cubicBezTo>
                  <a:cubicBezTo>
                    <a:pt x="80" y="11"/>
                    <a:pt x="80" y="11"/>
                    <a:pt x="79" y="11"/>
                  </a:cubicBezTo>
                  <a:cubicBezTo>
                    <a:pt x="78" y="11"/>
                    <a:pt x="77" y="11"/>
                    <a:pt x="76" y="10"/>
                  </a:cubicBezTo>
                  <a:cubicBezTo>
                    <a:pt x="74" y="10"/>
                    <a:pt x="73" y="10"/>
                    <a:pt x="72" y="10"/>
                  </a:cubicBezTo>
                  <a:cubicBezTo>
                    <a:pt x="69" y="10"/>
                    <a:pt x="67" y="10"/>
                    <a:pt x="66" y="12"/>
                  </a:cubicBezTo>
                  <a:cubicBezTo>
                    <a:pt x="65" y="13"/>
                    <a:pt x="64" y="14"/>
                    <a:pt x="64" y="14"/>
                  </a:cubicBezTo>
                  <a:cubicBezTo>
                    <a:pt x="64" y="15"/>
                    <a:pt x="64" y="15"/>
                    <a:pt x="63" y="15"/>
                  </a:cubicBezTo>
                  <a:cubicBezTo>
                    <a:pt x="63" y="16"/>
                    <a:pt x="62" y="17"/>
                    <a:pt x="61" y="17"/>
                  </a:cubicBezTo>
                  <a:cubicBezTo>
                    <a:pt x="60" y="17"/>
                    <a:pt x="60" y="17"/>
                    <a:pt x="60" y="17"/>
                  </a:cubicBezTo>
                  <a:cubicBezTo>
                    <a:pt x="59" y="17"/>
                    <a:pt x="59" y="17"/>
                    <a:pt x="59" y="17"/>
                  </a:cubicBezTo>
                  <a:cubicBezTo>
                    <a:pt x="58" y="17"/>
                    <a:pt x="57" y="17"/>
                    <a:pt x="57" y="18"/>
                  </a:cubicBezTo>
                  <a:cubicBezTo>
                    <a:pt x="56" y="18"/>
                    <a:pt x="55" y="18"/>
                    <a:pt x="54" y="18"/>
                  </a:cubicBezTo>
                  <a:cubicBezTo>
                    <a:pt x="53" y="19"/>
                    <a:pt x="52" y="19"/>
                    <a:pt x="52" y="19"/>
                  </a:cubicBezTo>
                  <a:cubicBezTo>
                    <a:pt x="50" y="19"/>
                    <a:pt x="48" y="19"/>
                    <a:pt x="47" y="19"/>
                  </a:cubicBezTo>
                  <a:cubicBezTo>
                    <a:pt x="45" y="19"/>
                    <a:pt x="43" y="19"/>
                    <a:pt x="42" y="19"/>
                  </a:cubicBezTo>
                  <a:cubicBezTo>
                    <a:pt x="41" y="19"/>
                    <a:pt x="40" y="19"/>
                    <a:pt x="40" y="19"/>
                  </a:cubicBezTo>
                  <a:cubicBezTo>
                    <a:pt x="38" y="19"/>
                    <a:pt x="38" y="19"/>
                    <a:pt x="38" y="19"/>
                  </a:cubicBezTo>
                  <a:cubicBezTo>
                    <a:pt x="37" y="21"/>
                    <a:pt x="37" y="21"/>
                    <a:pt x="37" y="21"/>
                  </a:cubicBezTo>
                  <a:cubicBezTo>
                    <a:pt x="34" y="27"/>
                    <a:pt x="33" y="33"/>
                    <a:pt x="32" y="38"/>
                  </a:cubicBezTo>
                  <a:cubicBezTo>
                    <a:pt x="31" y="41"/>
                    <a:pt x="30" y="44"/>
                    <a:pt x="29" y="47"/>
                  </a:cubicBezTo>
                  <a:cubicBezTo>
                    <a:pt x="27" y="54"/>
                    <a:pt x="27" y="54"/>
                    <a:pt x="27" y="54"/>
                  </a:cubicBezTo>
                  <a:cubicBezTo>
                    <a:pt x="34" y="50"/>
                    <a:pt x="34" y="50"/>
                    <a:pt x="34" y="50"/>
                  </a:cubicBezTo>
                  <a:cubicBezTo>
                    <a:pt x="35" y="49"/>
                    <a:pt x="37" y="49"/>
                    <a:pt x="38" y="49"/>
                  </a:cubicBezTo>
                  <a:cubicBezTo>
                    <a:pt x="40" y="48"/>
                    <a:pt x="41" y="48"/>
                    <a:pt x="43" y="48"/>
                  </a:cubicBezTo>
                  <a:cubicBezTo>
                    <a:pt x="44" y="47"/>
                    <a:pt x="44" y="47"/>
                    <a:pt x="45" y="46"/>
                  </a:cubicBezTo>
                  <a:cubicBezTo>
                    <a:pt x="45" y="47"/>
                    <a:pt x="44" y="48"/>
                    <a:pt x="44" y="49"/>
                  </a:cubicBezTo>
                  <a:cubicBezTo>
                    <a:pt x="43" y="50"/>
                    <a:pt x="43" y="51"/>
                    <a:pt x="42" y="52"/>
                  </a:cubicBezTo>
                  <a:cubicBezTo>
                    <a:pt x="42" y="52"/>
                    <a:pt x="41" y="52"/>
                    <a:pt x="40" y="51"/>
                  </a:cubicBezTo>
                  <a:cubicBezTo>
                    <a:pt x="39" y="51"/>
                    <a:pt x="37" y="50"/>
                    <a:pt x="36" y="50"/>
                  </a:cubicBezTo>
                  <a:cubicBezTo>
                    <a:pt x="35" y="50"/>
                    <a:pt x="35" y="50"/>
                    <a:pt x="35" y="50"/>
                  </a:cubicBezTo>
                  <a:cubicBezTo>
                    <a:pt x="30" y="51"/>
                    <a:pt x="28" y="55"/>
                    <a:pt x="26" y="57"/>
                  </a:cubicBezTo>
                  <a:cubicBezTo>
                    <a:pt x="25" y="58"/>
                    <a:pt x="25" y="59"/>
                    <a:pt x="24" y="59"/>
                  </a:cubicBezTo>
                  <a:cubicBezTo>
                    <a:pt x="23" y="60"/>
                    <a:pt x="22" y="62"/>
                    <a:pt x="21" y="63"/>
                  </a:cubicBezTo>
                  <a:cubicBezTo>
                    <a:pt x="12" y="74"/>
                    <a:pt x="0" y="88"/>
                    <a:pt x="3" y="103"/>
                  </a:cubicBezTo>
                  <a:cubicBezTo>
                    <a:pt x="4" y="107"/>
                    <a:pt x="6" y="111"/>
                    <a:pt x="9" y="116"/>
                  </a:cubicBezTo>
                  <a:cubicBezTo>
                    <a:pt x="10" y="117"/>
                    <a:pt x="11" y="118"/>
                    <a:pt x="12" y="119"/>
                  </a:cubicBezTo>
                  <a:cubicBezTo>
                    <a:pt x="12" y="120"/>
                    <a:pt x="13" y="120"/>
                    <a:pt x="13" y="121"/>
                  </a:cubicBezTo>
                  <a:cubicBezTo>
                    <a:pt x="13" y="121"/>
                    <a:pt x="14" y="121"/>
                    <a:pt x="14" y="122"/>
                  </a:cubicBezTo>
                  <a:cubicBezTo>
                    <a:pt x="14" y="123"/>
                    <a:pt x="14" y="124"/>
                    <a:pt x="15" y="125"/>
                  </a:cubicBezTo>
                  <a:cubicBezTo>
                    <a:pt x="17" y="128"/>
                    <a:pt x="21" y="130"/>
                    <a:pt x="23" y="131"/>
                  </a:cubicBezTo>
                  <a:cubicBezTo>
                    <a:pt x="25" y="132"/>
                    <a:pt x="26" y="132"/>
                    <a:pt x="28" y="132"/>
                  </a:cubicBezTo>
                  <a:cubicBezTo>
                    <a:pt x="31" y="132"/>
                    <a:pt x="34" y="131"/>
                    <a:pt x="36" y="128"/>
                  </a:cubicBezTo>
                  <a:cubicBezTo>
                    <a:pt x="37" y="127"/>
                    <a:pt x="38" y="126"/>
                    <a:pt x="39" y="125"/>
                  </a:cubicBezTo>
                  <a:cubicBezTo>
                    <a:pt x="39" y="124"/>
                    <a:pt x="39" y="123"/>
                    <a:pt x="40" y="123"/>
                  </a:cubicBezTo>
                  <a:cubicBezTo>
                    <a:pt x="40" y="122"/>
                    <a:pt x="41" y="122"/>
                    <a:pt x="41" y="121"/>
                  </a:cubicBezTo>
                  <a:cubicBezTo>
                    <a:pt x="42" y="120"/>
                    <a:pt x="43" y="119"/>
                    <a:pt x="43" y="118"/>
                  </a:cubicBezTo>
                  <a:cubicBezTo>
                    <a:pt x="45" y="115"/>
                    <a:pt x="47" y="111"/>
                    <a:pt x="49" y="106"/>
                  </a:cubicBezTo>
                  <a:cubicBezTo>
                    <a:pt x="49" y="105"/>
                    <a:pt x="49" y="105"/>
                    <a:pt x="49" y="104"/>
                  </a:cubicBezTo>
                  <a:cubicBezTo>
                    <a:pt x="50" y="102"/>
                    <a:pt x="50" y="100"/>
                    <a:pt x="51" y="98"/>
                  </a:cubicBezTo>
                  <a:cubicBezTo>
                    <a:pt x="52" y="97"/>
                    <a:pt x="52" y="97"/>
                    <a:pt x="52" y="96"/>
                  </a:cubicBezTo>
                  <a:cubicBezTo>
                    <a:pt x="54" y="94"/>
                    <a:pt x="55" y="91"/>
                    <a:pt x="55" y="88"/>
                  </a:cubicBezTo>
                  <a:cubicBezTo>
                    <a:pt x="55" y="86"/>
                    <a:pt x="55" y="84"/>
                    <a:pt x="55" y="83"/>
                  </a:cubicBezTo>
                  <a:cubicBezTo>
                    <a:pt x="54" y="82"/>
                    <a:pt x="54" y="82"/>
                    <a:pt x="54" y="81"/>
                  </a:cubicBezTo>
                  <a:cubicBezTo>
                    <a:pt x="54" y="77"/>
                    <a:pt x="54" y="75"/>
                    <a:pt x="56" y="74"/>
                  </a:cubicBezTo>
                  <a:cubicBezTo>
                    <a:pt x="60" y="72"/>
                    <a:pt x="63" y="70"/>
                    <a:pt x="66" y="68"/>
                  </a:cubicBezTo>
                  <a:cubicBezTo>
                    <a:pt x="69" y="67"/>
                    <a:pt x="69" y="67"/>
                    <a:pt x="69" y="67"/>
                  </a:cubicBezTo>
                  <a:cubicBezTo>
                    <a:pt x="70" y="66"/>
                    <a:pt x="71" y="66"/>
                    <a:pt x="72" y="65"/>
                  </a:cubicBezTo>
                  <a:cubicBezTo>
                    <a:pt x="74" y="65"/>
                    <a:pt x="75" y="65"/>
                    <a:pt x="76" y="64"/>
                  </a:cubicBezTo>
                  <a:cubicBezTo>
                    <a:pt x="79" y="63"/>
                    <a:pt x="82" y="60"/>
                    <a:pt x="84" y="58"/>
                  </a:cubicBezTo>
                  <a:cubicBezTo>
                    <a:pt x="85" y="56"/>
                    <a:pt x="87" y="55"/>
                    <a:pt x="88" y="54"/>
                  </a:cubicBezTo>
                  <a:cubicBezTo>
                    <a:pt x="92" y="51"/>
                    <a:pt x="94" y="48"/>
                    <a:pt x="97" y="44"/>
                  </a:cubicBezTo>
                  <a:cubicBezTo>
                    <a:pt x="98" y="43"/>
                    <a:pt x="99" y="42"/>
                    <a:pt x="100" y="41"/>
                  </a:cubicBezTo>
                  <a:cubicBezTo>
                    <a:pt x="104" y="36"/>
                    <a:pt x="108" y="31"/>
                    <a:pt x="113" y="27"/>
                  </a:cubicBezTo>
                  <a:cubicBezTo>
                    <a:pt x="113" y="27"/>
                    <a:pt x="114" y="26"/>
                    <a:pt x="114" y="26"/>
                  </a:cubicBezTo>
                  <a:cubicBezTo>
                    <a:pt x="119" y="21"/>
                    <a:pt x="123" y="18"/>
                    <a:pt x="123" y="14"/>
                  </a:cubicBezTo>
                  <a:cubicBezTo>
                    <a:pt x="123" y="11"/>
                    <a:pt x="120" y="10"/>
                    <a:pt x="119" y="9"/>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8" name="Freeform 177">
              <a:extLst>
                <a:ext uri="{FF2B5EF4-FFF2-40B4-BE49-F238E27FC236}">
                  <a16:creationId xmlns:a16="http://schemas.microsoft.com/office/drawing/2014/main" id="{AB34B47A-DF37-3242-84A1-BF4EFFB019FE}"/>
                </a:ext>
              </a:extLst>
            </p:cNvPr>
            <p:cNvSpPr>
              <a:spLocks/>
            </p:cNvSpPr>
            <p:nvPr/>
          </p:nvSpPr>
          <p:spPr bwMode="auto">
            <a:xfrm>
              <a:off x="22037035" y="8301889"/>
              <a:ext cx="82070" cy="128793"/>
            </a:xfrm>
            <a:custGeom>
              <a:avLst/>
              <a:gdLst>
                <a:gd name="T0" fmla="*/ 14 w 15"/>
                <a:gd name="T1" fmla="*/ 2 h 26"/>
                <a:gd name="T2" fmla="*/ 10 w 15"/>
                <a:gd name="T3" fmla="*/ 0 h 26"/>
                <a:gd name="T4" fmla="*/ 9 w 15"/>
                <a:gd name="T5" fmla="*/ 0 h 26"/>
                <a:gd name="T6" fmla="*/ 0 w 15"/>
                <a:gd name="T7" fmla="*/ 20 h 26"/>
                <a:gd name="T8" fmla="*/ 5 w 15"/>
                <a:gd name="T9" fmla="*/ 26 h 26"/>
                <a:gd name="T10" fmla="*/ 6 w 15"/>
                <a:gd name="T11" fmla="*/ 26 h 26"/>
                <a:gd name="T12" fmla="*/ 6 w 15"/>
                <a:gd name="T13" fmla="*/ 26 h 26"/>
                <a:gd name="T14" fmla="*/ 9 w 15"/>
                <a:gd name="T15" fmla="*/ 20 h 26"/>
                <a:gd name="T16" fmla="*/ 9 w 15"/>
                <a:gd name="T17" fmla="*/ 20 h 26"/>
                <a:gd name="T18" fmla="*/ 12 w 15"/>
                <a:gd name="T19" fmla="*/ 11 h 26"/>
                <a:gd name="T20" fmla="*/ 12 w 15"/>
                <a:gd name="T21" fmla="*/ 10 h 26"/>
                <a:gd name="T22" fmla="*/ 14 w 15"/>
                <a:gd name="T23"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6">
                  <a:moveTo>
                    <a:pt x="14" y="2"/>
                  </a:moveTo>
                  <a:cubicBezTo>
                    <a:pt x="14" y="2"/>
                    <a:pt x="13" y="0"/>
                    <a:pt x="10" y="0"/>
                  </a:cubicBezTo>
                  <a:cubicBezTo>
                    <a:pt x="9" y="0"/>
                    <a:pt x="9" y="0"/>
                    <a:pt x="9" y="0"/>
                  </a:cubicBezTo>
                  <a:cubicBezTo>
                    <a:pt x="3" y="1"/>
                    <a:pt x="0" y="15"/>
                    <a:pt x="0" y="20"/>
                  </a:cubicBezTo>
                  <a:cubicBezTo>
                    <a:pt x="1" y="26"/>
                    <a:pt x="4" y="26"/>
                    <a:pt x="5" y="26"/>
                  </a:cubicBezTo>
                  <a:cubicBezTo>
                    <a:pt x="6" y="26"/>
                    <a:pt x="6" y="26"/>
                    <a:pt x="6" y="26"/>
                  </a:cubicBezTo>
                  <a:cubicBezTo>
                    <a:pt x="6" y="26"/>
                    <a:pt x="6" y="26"/>
                    <a:pt x="6" y="26"/>
                  </a:cubicBezTo>
                  <a:cubicBezTo>
                    <a:pt x="10" y="26"/>
                    <a:pt x="10" y="22"/>
                    <a:pt x="9" y="20"/>
                  </a:cubicBezTo>
                  <a:cubicBezTo>
                    <a:pt x="9" y="20"/>
                    <a:pt x="9" y="20"/>
                    <a:pt x="9" y="20"/>
                  </a:cubicBezTo>
                  <a:cubicBezTo>
                    <a:pt x="10" y="16"/>
                    <a:pt x="10" y="14"/>
                    <a:pt x="12" y="11"/>
                  </a:cubicBezTo>
                  <a:cubicBezTo>
                    <a:pt x="12" y="11"/>
                    <a:pt x="12" y="11"/>
                    <a:pt x="12" y="10"/>
                  </a:cubicBezTo>
                  <a:cubicBezTo>
                    <a:pt x="13" y="8"/>
                    <a:pt x="15" y="5"/>
                    <a:pt x="14"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79" name="Freeform 178">
              <a:extLst>
                <a:ext uri="{FF2B5EF4-FFF2-40B4-BE49-F238E27FC236}">
                  <a16:creationId xmlns:a16="http://schemas.microsoft.com/office/drawing/2014/main" id="{4DC2CAE5-A805-A347-BBE5-56EE494C1B23}"/>
                </a:ext>
              </a:extLst>
            </p:cNvPr>
            <p:cNvSpPr>
              <a:spLocks/>
            </p:cNvSpPr>
            <p:nvPr/>
          </p:nvSpPr>
          <p:spPr bwMode="auto">
            <a:xfrm>
              <a:off x="22297608" y="7265943"/>
              <a:ext cx="1003305" cy="940751"/>
            </a:xfrm>
            <a:custGeom>
              <a:avLst/>
              <a:gdLst>
                <a:gd name="T0" fmla="*/ 177 w 184"/>
                <a:gd name="T1" fmla="*/ 104 h 190"/>
                <a:gd name="T2" fmla="*/ 165 w 184"/>
                <a:gd name="T3" fmla="*/ 100 h 190"/>
                <a:gd name="T4" fmla="*/ 161 w 184"/>
                <a:gd name="T5" fmla="*/ 107 h 190"/>
                <a:gd name="T6" fmla="*/ 157 w 184"/>
                <a:gd name="T7" fmla="*/ 81 h 190"/>
                <a:gd name="T8" fmla="*/ 146 w 184"/>
                <a:gd name="T9" fmla="*/ 89 h 190"/>
                <a:gd name="T10" fmla="*/ 143 w 184"/>
                <a:gd name="T11" fmla="*/ 97 h 190"/>
                <a:gd name="T12" fmla="*/ 141 w 184"/>
                <a:gd name="T13" fmla="*/ 97 h 190"/>
                <a:gd name="T14" fmla="*/ 142 w 184"/>
                <a:gd name="T15" fmla="*/ 84 h 190"/>
                <a:gd name="T16" fmla="*/ 131 w 184"/>
                <a:gd name="T17" fmla="*/ 71 h 190"/>
                <a:gd name="T18" fmla="*/ 128 w 184"/>
                <a:gd name="T19" fmla="*/ 81 h 190"/>
                <a:gd name="T20" fmla="*/ 128 w 184"/>
                <a:gd name="T21" fmla="*/ 85 h 190"/>
                <a:gd name="T22" fmla="*/ 120 w 184"/>
                <a:gd name="T23" fmla="*/ 74 h 190"/>
                <a:gd name="T24" fmla="*/ 116 w 184"/>
                <a:gd name="T25" fmla="*/ 56 h 190"/>
                <a:gd name="T26" fmla="*/ 91 w 184"/>
                <a:gd name="T27" fmla="*/ 59 h 190"/>
                <a:gd name="T28" fmla="*/ 81 w 184"/>
                <a:gd name="T29" fmla="*/ 71 h 190"/>
                <a:gd name="T30" fmla="*/ 73 w 184"/>
                <a:gd name="T31" fmla="*/ 69 h 190"/>
                <a:gd name="T32" fmla="*/ 63 w 184"/>
                <a:gd name="T33" fmla="*/ 73 h 190"/>
                <a:gd name="T34" fmla="*/ 56 w 184"/>
                <a:gd name="T35" fmla="*/ 73 h 190"/>
                <a:gd name="T36" fmla="*/ 58 w 184"/>
                <a:gd name="T37" fmla="*/ 67 h 190"/>
                <a:gd name="T38" fmla="*/ 48 w 184"/>
                <a:gd name="T39" fmla="*/ 56 h 190"/>
                <a:gd name="T40" fmla="*/ 40 w 184"/>
                <a:gd name="T41" fmla="*/ 62 h 190"/>
                <a:gd name="T42" fmla="*/ 34 w 184"/>
                <a:gd name="T43" fmla="*/ 76 h 190"/>
                <a:gd name="T44" fmla="*/ 31 w 184"/>
                <a:gd name="T45" fmla="*/ 57 h 190"/>
                <a:gd name="T46" fmla="*/ 30 w 184"/>
                <a:gd name="T47" fmla="*/ 35 h 190"/>
                <a:gd name="T48" fmla="*/ 31 w 184"/>
                <a:gd name="T49" fmla="*/ 12 h 190"/>
                <a:gd name="T50" fmla="*/ 30 w 184"/>
                <a:gd name="T51" fmla="*/ 1 h 190"/>
                <a:gd name="T52" fmla="*/ 17 w 184"/>
                <a:gd name="T53" fmla="*/ 5 h 190"/>
                <a:gd name="T54" fmla="*/ 12 w 184"/>
                <a:gd name="T55" fmla="*/ 7 h 190"/>
                <a:gd name="T56" fmla="*/ 5 w 184"/>
                <a:gd name="T57" fmla="*/ 18 h 190"/>
                <a:gd name="T58" fmla="*/ 0 w 184"/>
                <a:gd name="T59" fmla="*/ 35 h 190"/>
                <a:gd name="T60" fmla="*/ 3 w 184"/>
                <a:gd name="T61" fmla="*/ 47 h 190"/>
                <a:gd name="T62" fmla="*/ 2 w 184"/>
                <a:gd name="T63" fmla="*/ 64 h 190"/>
                <a:gd name="T64" fmla="*/ 3 w 184"/>
                <a:gd name="T65" fmla="*/ 79 h 190"/>
                <a:gd name="T66" fmla="*/ 7 w 184"/>
                <a:gd name="T67" fmla="*/ 102 h 190"/>
                <a:gd name="T68" fmla="*/ 15 w 184"/>
                <a:gd name="T69" fmla="*/ 119 h 190"/>
                <a:gd name="T70" fmla="*/ 8 w 184"/>
                <a:gd name="T71" fmla="*/ 123 h 190"/>
                <a:gd name="T72" fmla="*/ 13 w 184"/>
                <a:gd name="T73" fmla="*/ 147 h 190"/>
                <a:gd name="T74" fmla="*/ 11 w 184"/>
                <a:gd name="T75" fmla="*/ 161 h 190"/>
                <a:gd name="T76" fmla="*/ 21 w 184"/>
                <a:gd name="T77" fmla="*/ 190 h 190"/>
                <a:gd name="T78" fmla="*/ 52 w 184"/>
                <a:gd name="T79" fmla="*/ 169 h 190"/>
                <a:gd name="T80" fmla="*/ 83 w 184"/>
                <a:gd name="T81" fmla="*/ 152 h 190"/>
                <a:gd name="T82" fmla="*/ 87 w 184"/>
                <a:gd name="T83" fmla="*/ 147 h 190"/>
                <a:gd name="T84" fmla="*/ 93 w 184"/>
                <a:gd name="T85" fmla="*/ 144 h 190"/>
                <a:gd name="T86" fmla="*/ 100 w 184"/>
                <a:gd name="T87" fmla="*/ 151 h 190"/>
                <a:gd name="T88" fmla="*/ 111 w 184"/>
                <a:gd name="T89" fmla="*/ 146 h 190"/>
                <a:gd name="T90" fmla="*/ 105 w 184"/>
                <a:gd name="T91" fmla="*/ 159 h 190"/>
                <a:gd name="T92" fmla="*/ 105 w 184"/>
                <a:gd name="T93" fmla="*/ 169 h 190"/>
                <a:gd name="T94" fmla="*/ 119 w 184"/>
                <a:gd name="T95" fmla="*/ 166 h 190"/>
                <a:gd name="T96" fmla="*/ 128 w 184"/>
                <a:gd name="T97" fmla="*/ 159 h 190"/>
                <a:gd name="T98" fmla="*/ 129 w 184"/>
                <a:gd name="T99" fmla="*/ 147 h 190"/>
                <a:gd name="T100" fmla="*/ 135 w 184"/>
                <a:gd name="T101" fmla="*/ 122 h 190"/>
                <a:gd name="T102" fmla="*/ 145 w 184"/>
                <a:gd name="T103" fmla="*/ 137 h 190"/>
                <a:gd name="T104" fmla="*/ 160 w 184"/>
                <a:gd name="T105" fmla="*/ 138 h 190"/>
                <a:gd name="T106" fmla="*/ 168 w 184"/>
                <a:gd name="T107" fmla="*/ 147 h 190"/>
                <a:gd name="T108" fmla="*/ 176 w 184"/>
                <a:gd name="T109" fmla="*/ 14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190">
                  <a:moveTo>
                    <a:pt x="181" y="128"/>
                  </a:moveTo>
                  <a:cubicBezTo>
                    <a:pt x="181" y="127"/>
                    <a:pt x="180" y="126"/>
                    <a:pt x="180" y="126"/>
                  </a:cubicBezTo>
                  <a:cubicBezTo>
                    <a:pt x="177" y="119"/>
                    <a:pt x="177" y="114"/>
                    <a:pt x="177" y="106"/>
                  </a:cubicBezTo>
                  <a:cubicBezTo>
                    <a:pt x="177" y="104"/>
                    <a:pt x="177" y="104"/>
                    <a:pt x="177" y="104"/>
                  </a:cubicBezTo>
                  <a:cubicBezTo>
                    <a:pt x="178" y="101"/>
                    <a:pt x="178" y="98"/>
                    <a:pt x="178" y="96"/>
                  </a:cubicBezTo>
                  <a:cubicBezTo>
                    <a:pt x="178" y="95"/>
                    <a:pt x="177" y="92"/>
                    <a:pt x="172" y="92"/>
                  </a:cubicBezTo>
                  <a:cubicBezTo>
                    <a:pt x="172" y="92"/>
                    <a:pt x="168" y="92"/>
                    <a:pt x="167" y="94"/>
                  </a:cubicBezTo>
                  <a:cubicBezTo>
                    <a:pt x="165" y="95"/>
                    <a:pt x="165" y="98"/>
                    <a:pt x="165" y="100"/>
                  </a:cubicBezTo>
                  <a:cubicBezTo>
                    <a:pt x="165" y="100"/>
                    <a:pt x="165" y="100"/>
                    <a:pt x="164" y="101"/>
                  </a:cubicBezTo>
                  <a:cubicBezTo>
                    <a:pt x="164" y="102"/>
                    <a:pt x="164" y="102"/>
                    <a:pt x="164" y="102"/>
                  </a:cubicBezTo>
                  <a:cubicBezTo>
                    <a:pt x="164" y="106"/>
                    <a:pt x="163" y="107"/>
                    <a:pt x="162" y="107"/>
                  </a:cubicBezTo>
                  <a:cubicBezTo>
                    <a:pt x="161" y="107"/>
                    <a:pt x="161" y="107"/>
                    <a:pt x="161" y="107"/>
                  </a:cubicBezTo>
                  <a:cubicBezTo>
                    <a:pt x="159" y="105"/>
                    <a:pt x="159" y="99"/>
                    <a:pt x="159" y="97"/>
                  </a:cubicBezTo>
                  <a:cubicBezTo>
                    <a:pt x="159" y="91"/>
                    <a:pt x="159" y="91"/>
                    <a:pt x="159" y="91"/>
                  </a:cubicBezTo>
                  <a:cubicBezTo>
                    <a:pt x="159" y="91"/>
                    <a:pt x="159" y="90"/>
                    <a:pt x="159" y="90"/>
                  </a:cubicBezTo>
                  <a:cubicBezTo>
                    <a:pt x="160" y="87"/>
                    <a:pt x="160" y="83"/>
                    <a:pt x="157" y="81"/>
                  </a:cubicBezTo>
                  <a:cubicBezTo>
                    <a:pt x="156" y="81"/>
                    <a:pt x="155" y="80"/>
                    <a:pt x="154" y="80"/>
                  </a:cubicBezTo>
                  <a:cubicBezTo>
                    <a:pt x="152" y="80"/>
                    <a:pt x="150" y="81"/>
                    <a:pt x="149" y="82"/>
                  </a:cubicBezTo>
                  <a:cubicBezTo>
                    <a:pt x="147" y="83"/>
                    <a:pt x="147" y="86"/>
                    <a:pt x="146" y="87"/>
                  </a:cubicBezTo>
                  <a:cubicBezTo>
                    <a:pt x="146" y="88"/>
                    <a:pt x="146" y="89"/>
                    <a:pt x="146" y="89"/>
                  </a:cubicBezTo>
                  <a:cubicBezTo>
                    <a:pt x="146" y="90"/>
                    <a:pt x="146" y="90"/>
                    <a:pt x="146" y="90"/>
                  </a:cubicBezTo>
                  <a:cubicBezTo>
                    <a:pt x="146" y="90"/>
                    <a:pt x="145" y="90"/>
                    <a:pt x="145" y="91"/>
                  </a:cubicBezTo>
                  <a:cubicBezTo>
                    <a:pt x="145" y="91"/>
                    <a:pt x="144" y="92"/>
                    <a:pt x="144" y="93"/>
                  </a:cubicBezTo>
                  <a:cubicBezTo>
                    <a:pt x="143" y="94"/>
                    <a:pt x="143" y="96"/>
                    <a:pt x="143" y="97"/>
                  </a:cubicBezTo>
                  <a:cubicBezTo>
                    <a:pt x="143" y="100"/>
                    <a:pt x="144" y="102"/>
                    <a:pt x="145" y="105"/>
                  </a:cubicBezTo>
                  <a:cubicBezTo>
                    <a:pt x="145" y="104"/>
                    <a:pt x="145" y="104"/>
                    <a:pt x="144" y="104"/>
                  </a:cubicBezTo>
                  <a:cubicBezTo>
                    <a:pt x="143" y="102"/>
                    <a:pt x="142" y="100"/>
                    <a:pt x="141" y="98"/>
                  </a:cubicBezTo>
                  <a:cubicBezTo>
                    <a:pt x="141" y="98"/>
                    <a:pt x="141" y="98"/>
                    <a:pt x="141" y="97"/>
                  </a:cubicBezTo>
                  <a:cubicBezTo>
                    <a:pt x="141" y="97"/>
                    <a:pt x="141" y="96"/>
                    <a:pt x="141" y="96"/>
                  </a:cubicBezTo>
                  <a:cubicBezTo>
                    <a:pt x="141" y="95"/>
                    <a:pt x="141" y="94"/>
                    <a:pt x="141" y="94"/>
                  </a:cubicBezTo>
                  <a:cubicBezTo>
                    <a:pt x="141" y="93"/>
                    <a:pt x="140" y="93"/>
                    <a:pt x="140" y="92"/>
                  </a:cubicBezTo>
                  <a:cubicBezTo>
                    <a:pt x="140" y="90"/>
                    <a:pt x="141" y="87"/>
                    <a:pt x="142" y="84"/>
                  </a:cubicBezTo>
                  <a:cubicBezTo>
                    <a:pt x="143" y="83"/>
                    <a:pt x="143" y="83"/>
                    <a:pt x="143" y="83"/>
                  </a:cubicBezTo>
                  <a:cubicBezTo>
                    <a:pt x="145" y="77"/>
                    <a:pt x="147" y="72"/>
                    <a:pt x="145" y="68"/>
                  </a:cubicBezTo>
                  <a:cubicBezTo>
                    <a:pt x="144" y="67"/>
                    <a:pt x="143" y="66"/>
                    <a:pt x="140" y="66"/>
                  </a:cubicBezTo>
                  <a:cubicBezTo>
                    <a:pt x="137" y="66"/>
                    <a:pt x="133" y="68"/>
                    <a:pt x="131" y="71"/>
                  </a:cubicBezTo>
                  <a:cubicBezTo>
                    <a:pt x="130" y="73"/>
                    <a:pt x="130" y="75"/>
                    <a:pt x="130" y="76"/>
                  </a:cubicBezTo>
                  <a:cubicBezTo>
                    <a:pt x="129" y="77"/>
                    <a:pt x="129" y="78"/>
                    <a:pt x="129" y="78"/>
                  </a:cubicBezTo>
                  <a:cubicBezTo>
                    <a:pt x="129" y="79"/>
                    <a:pt x="129" y="79"/>
                    <a:pt x="129" y="79"/>
                  </a:cubicBezTo>
                  <a:cubicBezTo>
                    <a:pt x="129" y="80"/>
                    <a:pt x="128" y="80"/>
                    <a:pt x="128" y="81"/>
                  </a:cubicBezTo>
                  <a:cubicBezTo>
                    <a:pt x="128" y="82"/>
                    <a:pt x="128" y="83"/>
                    <a:pt x="128" y="84"/>
                  </a:cubicBezTo>
                  <a:cubicBezTo>
                    <a:pt x="128" y="84"/>
                    <a:pt x="128" y="84"/>
                    <a:pt x="128" y="84"/>
                  </a:cubicBezTo>
                  <a:cubicBezTo>
                    <a:pt x="128" y="84"/>
                    <a:pt x="128" y="84"/>
                    <a:pt x="128" y="84"/>
                  </a:cubicBezTo>
                  <a:cubicBezTo>
                    <a:pt x="128" y="85"/>
                    <a:pt x="128" y="85"/>
                    <a:pt x="128" y="85"/>
                  </a:cubicBezTo>
                  <a:cubicBezTo>
                    <a:pt x="128" y="84"/>
                    <a:pt x="128" y="83"/>
                    <a:pt x="128" y="83"/>
                  </a:cubicBezTo>
                  <a:cubicBezTo>
                    <a:pt x="127" y="80"/>
                    <a:pt x="127" y="78"/>
                    <a:pt x="125" y="76"/>
                  </a:cubicBezTo>
                  <a:cubicBezTo>
                    <a:pt x="124" y="74"/>
                    <a:pt x="122" y="74"/>
                    <a:pt x="121" y="74"/>
                  </a:cubicBezTo>
                  <a:cubicBezTo>
                    <a:pt x="120" y="74"/>
                    <a:pt x="120" y="74"/>
                    <a:pt x="120" y="74"/>
                  </a:cubicBezTo>
                  <a:cubicBezTo>
                    <a:pt x="117" y="73"/>
                    <a:pt x="117" y="72"/>
                    <a:pt x="116" y="67"/>
                  </a:cubicBezTo>
                  <a:cubicBezTo>
                    <a:pt x="116" y="67"/>
                    <a:pt x="116" y="67"/>
                    <a:pt x="116" y="67"/>
                  </a:cubicBezTo>
                  <a:cubicBezTo>
                    <a:pt x="116" y="65"/>
                    <a:pt x="116" y="64"/>
                    <a:pt x="116" y="63"/>
                  </a:cubicBezTo>
                  <a:cubicBezTo>
                    <a:pt x="116" y="61"/>
                    <a:pt x="117" y="59"/>
                    <a:pt x="116" y="56"/>
                  </a:cubicBezTo>
                  <a:cubicBezTo>
                    <a:pt x="113" y="51"/>
                    <a:pt x="108" y="50"/>
                    <a:pt x="104" y="50"/>
                  </a:cubicBezTo>
                  <a:cubicBezTo>
                    <a:pt x="104" y="50"/>
                    <a:pt x="104" y="50"/>
                    <a:pt x="103" y="50"/>
                  </a:cubicBezTo>
                  <a:cubicBezTo>
                    <a:pt x="98" y="50"/>
                    <a:pt x="95" y="52"/>
                    <a:pt x="93" y="56"/>
                  </a:cubicBezTo>
                  <a:cubicBezTo>
                    <a:pt x="92" y="58"/>
                    <a:pt x="92" y="59"/>
                    <a:pt x="91" y="59"/>
                  </a:cubicBezTo>
                  <a:cubicBezTo>
                    <a:pt x="90" y="59"/>
                    <a:pt x="90" y="59"/>
                    <a:pt x="90" y="60"/>
                  </a:cubicBezTo>
                  <a:cubicBezTo>
                    <a:pt x="88" y="60"/>
                    <a:pt x="86" y="60"/>
                    <a:pt x="84" y="62"/>
                  </a:cubicBezTo>
                  <a:cubicBezTo>
                    <a:pt x="82" y="64"/>
                    <a:pt x="82" y="67"/>
                    <a:pt x="81" y="69"/>
                  </a:cubicBezTo>
                  <a:cubicBezTo>
                    <a:pt x="81" y="70"/>
                    <a:pt x="81" y="71"/>
                    <a:pt x="81" y="71"/>
                  </a:cubicBezTo>
                  <a:cubicBezTo>
                    <a:pt x="80" y="72"/>
                    <a:pt x="80" y="73"/>
                    <a:pt x="80" y="73"/>
                  </a:cubicBezTo>
                  <a:cubicBezTo>
                    <a:pt x="80" y="73"/>
                    <a:pt x="79" y="73"/>
                    <a:pt x="79" y="72"/>
                  </a:cubicBezTo>
                  <a:cubicBezTo>
                    <a:pt x="78" y="71"/>
                    <a:pt x="76" y="70"/>
                    <a:pt x="74" y="69"/>
                  </a:cubicBezTo>
                  <a:cubicBezTo>
                    <a:pt x="73" y="69"/>
                    <a:pt x="73" y="69"/>
                    <a:pt x="73" y="69"/>
                  </a:cubicBezTo>
                  <a:cubicBezTo>
                    <a:pt x="72" y="69"/>
                    <a:pt x="70" y="70"/>
                    <a:pt x="69" y="71"/>
                  </a:cubicBezTo>
                  <a:cubicBezTo>
                    <a:pt x="69" y="71"/>
                    <a:pt x="69" y="71"/>
                    <a:pt x="69" y="71"/>
                  </a:cubicBezTo>
                  <a:cubicBezTo>
                    <a:pt x="68" y="71"/>
                    <a:pt x="67" y="72"/>
                    <a:pt x="67" y="72"/>
                  </a:cubicBezTo>
                  <a:cubicBezTo>
                    <a:pt x="65" y="72"/>
                    <a:pt x="64" y="73"/>
                    <a:pt x="63" y="73"/>
                  </a:cubicBezTo>
                  <a:cubicBezTo>
                    <a:pt x="62" y="74"/>
                    <a:pt x="61" y="74"/>
                    <a:pt x="60" y="74"/>
                  </a:cubicBezTo>
                  <a:cubicBezTo>
                    <a:pt x="60" y="74"/>
                    <a:pt x="59" y="74"/>
                    <a:pt x="59" y="74"/>
                  </a:cubicBezTo>
                  <a:cubicBezTo>
                    <a:pt x="58" y="74"/>
                    <a:pt x="57" y="74"/>
                    <a:pt x="56" y="73"/>
                  </a:cubicBezTo>
                  <a:cubicBezTo>
                    <a:pt x="56" y="73"/>
                    <a:pt x="56" y="73"/>
                    <a:pt x="56" y="73"/>
                  </a:cubicBezTo>
                  <a:cubicBezTo>
                    <a:pt x="56" y="73"/>
                    <a:pt x="56" y="73"/>
                    <a:pt x="56" y="73"/>
                  </a:cubicBezTo>
                  <a:cubicBezTo>
                    <a:pt x="56" y="72"/>
                    <a:pt x="56" y="71"/>
                    <a:pt x="56" y="70"/>
                  </a:cubicBezTo>
                  <a:cubicBezTo>
                    <a:pt x="57" y="70"/>
                    <a:pt x="57" y="69"/>
                    <a:pt x="57" y="69"/>
                  </a:cubicBezTo>
                  <a:cubicBezTo>
                    <a:pt x="57" y="68"/>
                    <a:pt x="57" y="68"/>
                    <a:pt x="58" y="67"/>
                  </a:cubicBezTo>
                  <a:cubicBezTo>
                    <a:pt x="59" y="65"/>
                    <a:pt x="61" y="60"/>
                    <a:pt x="57" y="57"/>
                  </a:cubicBezTo>
                  <a:cubicBezTo>
                    <a:pt x="55" y="56"/>
                    <a:pt x="53" y="56"/>
                    <a:pt x="52" y="56"/>
                  </a:cubicBezTo>
                  <a:cubicBezTo>
                    <a:pt x="50" y="56"/>
                    <a:pt x="50" y="56"/>
                    <a:pt x="50" y="56"/>
                  </a:cubicBezTo>
                  <a:cubicBezTo>
                    <a:pt x="49" y="56"/>
                    <a:pt x="48" y="56"/>
                    <a:pt x="48" y="56"/>
                  </a:cubicBezTo>
                  <a:cubicBezTo>
                    <a:pt x="47" y="56"/>
                    <a:pt x="44" y="56"/>
                    <a:pt x="43" y="58"/>
                  </a:cubicBezTo>
                  <a:cubicBezTo>
                    <a:pt x="42" y="59"/>
                    <a:pt x="42" y="60"/>
                    <a:pt x="42" y="60"/>
                  </a:cubicBezTo>
                  <a:cubicBezTo>
                    <a:pt x="42" y="61"/>
                    <a:pt x="41" y="61"/>
                    <a:pt x="41" y="61"/>
                  </a:cubicBezTo>
                  <a:cubicBezTo>
                    <a:pt x="41" y="61"/>
                    <a:pt x="41" y="61"/>
                    <a:pt x="40" y="62"/>
                  </a:cubicBezTo>
                  <a:cubicBezTo>
                    <a:pt x="38" y="62"/>
                    <a:pt x="35" y="63"/>
                    <a:pt x="35" y="67"/>
                  </a:cubicBezTo>
                  <a:cubicBezTo>
                    <a:pt x="34" y="68"/>
                    <a:pt x="34" y="69"/>
                    <a:pt x="34" y="70"/>
                  </a:cubicBezTo>
                  <a:cubicBezTo>
                    <a:pt x="34" y="72"/>
                    <a:pt x="34" y="74"/>
                    <a:pt x="34" y="76"/>
                  </a:cubicBezTo>
                  <a:cubicBezTo>
                    <a:pt x="34" y="76"/>
                    <a:pt x="34" y="76"/>
                    <a:pt x="34" y="76"/>
                  </a:cubicBezTo>
                  <a:cubicBezTo>
                    <a:pt x="34" y="77"/>
                    <a:pt x="34" y="78"/>
                    <a:pt x="33" y="79"/>
                  </a:cubicBezTo>
                  <a:cubicBezTo>
                    <a:pt x="33" y="78"/>
                    <a:pt x="32" y="76"/>
                    <a:pt x="32" y="74"/>
                  </a:cubicBezTo>
                  <a:cubicBezTo>
                    <a:pt x="31" y="70"/>
                    <a:pt x="31" y="66"/>
                    <a:pt x="31" y="62"/>
                  </a:cubicBezTo>
                  <a:cubicBezTo>
                    <a:pt x="31" y="60"/>
                    <a:pt x="31" y="59"/>
                    <a:pt x="31" y="57"/>
                  </a:cubicBezTo>
                  <a:cubicBezTo>
                    <a:pt x="31" y="56"/>
                    <a:pt x="32" y="54"/>
                    <a:pt x="32" y="53"/>
                  </a:cubicBezTo>
                  <a:cubicBezTo>
                    <a:pt x="32" y="50"/>
                    <a:pt x="32" y="47"/>
                    <a:pt x="32" y="44"/>
                  </a:cubicBezTo>
                  <a:cubicBezTo>
                    <a:pt x="31" y="42"/>
                    <a:pt x="31" y="39"/>
                    <a:pt x="30" y="37"/>
                  </a:cubicBezTo>
                  <a:cubicBezTo>
                    <a:pt x="29" y="37"/>
                    <a:pt x="29" y="36"/>
                    <a:pt x="30" y="35"/>
                  </a:cubicBezTo>
                  <a:cubicBezTo>
                    <a:pt x="33" y="32"/>
                    <a:pt x="33" y="27"/>
                    <a:pt x="32" y="23"/>
                  </a:cubicBezTo>
                  <a:cubicBezTo>
                    <a:pt x="32" y="19"/>
                    <a:pt x="29" y="17"/>
                    <a:pt x="25" y="17"/>
                  </a:cubicBezTo>
                  <a:cubicBezTo>
                    <a:pt x="26" y="16"/>
                    <a:pt x="27" y="16"/>
                    <a:pt x="27" y="16"/>
                  </a:cubicBezTo>
                  <a:cubicBezTo>
                    <a:pt x="29" y="15"/>
                    <a:pt x="31" y="14"/>
                    <a:pt x="31" y="12"/>
                  </a:cubicBezTo>
                  <a:cubicBezTo>
                    <a:pt x="32" y="11"/>
                    <a:pt x="32" y="9"/>
                    <a:pt x="32" y="8"/>
                  </a:cubicBezTo>
                  <a:cubicBezTo>
                    <a:pt x="32" y="8"/>
                    <a:pt x="31" y="7"/>
                    <a:pt x="31" y="7"/>
                  </a:cubicBezTo>
                  <a:cubicBezTo>
                    <a:pt x="31" y="7"/>
                    <a:pt x="32" y="7"/>
                    <a:pt x="32" y="6"/>
                  </a:cubicBezTo>
                  <a:cubicBezTo>
                    <a:pt x="32" y="6"/>
                    <a:pt x="32" y="3"/>
                    <a:pt x="30" y="1"/>
                  </a:cubicBezTo>
                  <a:cubicBezTo>
                    <a:pt x="28" y="0"/>
                    <a:pt x="27" y="0"/>
                    <a:pt x="26" y="0"/>
                  </a:cubicBezTo>
                  <a:cubicBezTo>
                    <a:pt x="23" y="0"/>
                    <a:pt x="21" y="1"/>
                    <a:pt x="19" y="2"/>
                  </a:cubicBezTo>
                  <a:cubicBezTo>
                    <a:pt x="18" y="3"/>
                    <a:pt x="18" y="4"/>
                    <a:pt x="17" y="5"/>
                  </a:cubicBezTo>
                  <a:cubicBezTo>
                    <a:pt x="17" y="5"/>
                    <a:pt x="17" y="5"/>
                    <a:pt x="17" y="5"/>
                  </a:cubicBezTo>
                  <a:cubicBezTo>
                    <a:pt x="17" y="5"/>
                    <a:pt x="17" y="5"/>
                    <a:pt x="17" y="5"/>
                  </a:cubicBezTo>
                  <a:cubicBezTo>
                    <a:pt x="17" y="5"/>
                    <a:pt x="17" y="5"/>
                    <a:pt x="16" y="5"/>
                  </a:cubicBezTo>
                  <a:cubicBezTo>
                    <a:pt x="15" y="5"/>
                    <a:pt x="14" y="5"/>
                    <a:pt x="13" y="6"/>
                  </a:cubicBezTo>
                  <a:cubicBezTo>
                    <a:pt x="13" y="6"/>
                    <a:pt x="12" y="7"/>
                    <a:pt x="12" y="7"/>
                  </a:cubicBezTo>
                  <a:cubicBezTo>
                    <a:pt x="11" y="8"/>
                    <a:pt x="10" y="9"/>
                    <a:pt x="10" y="10"/>
                  </a:cubicBezTo>
                  <a:cubicBezTo>
                    <a:pt x="9" y="11"/>
                    <a:pt x="9" y="11"/>
                    <a:pt x="9" y="11"/>
                  </a:cubicBezTo>
                  <a:cubicBezTo>
                    <a:pt x="8" y="13"/>
                    <a:pt x="7" y="15"/>
                    <a:pt x="6" y="16"/>
                  </a:cubicBezTo>
                  <a:cubicBezTo>
                    <a:pt x="6" y="16"/>
                    <a:pt x="5" y="17"/>
                    <a:pt x="5" y="18"/>
                  </a:cubicBezTo>
                  <a:cubicBezTo>
                    <a:pt x="3" y="19"/>
                    <a:pt x="2" y="20"/>
                    <a:pt x="1" y="21"/>
                  </a:cubicBezTo>
                  <a:cubicBezTo>
                    <a:pt x="0" y="23"/>
                    <a:pt x="0" y="26"/>
                    <a:pt x="0" y="27"/>
                  </a:cubicBezTo>
                  <a:cubicBezTo>
                    <a:pt x="0" y="28"/>
                    <a:pt x="0" y="30"/>
                    <a:pt x="0" y="30"/>
                  </a:cubicBezTo>
                  <a:cubicBezTo>
                    <a:pt x="0" y="32"/>
                    <a:pt x="0" y="34"/>
                    <a:pt x="0" y="35"/>
                  </a:cubicBezTo>
                  <a:cubicBezTo>
                    <a:pt x="0" y="36"/>
                    <a:pt x="0" y="37"/>
                    <a:pt x="0" y="37"/>
                  </a:cubicBezTo>
                  <a:cubicBezTo>
                    <a:pt x="0" y="38"/>
                    <a:pt x="0" y="38"/>
                    <a:pt x="0" y="38"/>
                  </a:cubicBezTo>
                  <a:cubicBezTo>
                    <a:pt x="0" y="39"/>
                    <a:pt x="0" y="41"/>
                    <a:pt x="1" y="43"/>
                  </a:cubicBezTo>
                  <a:cubicBezTo>
                    <a:pt x="2" y="44"/>
                    <a:pt x="3" y="45"/>
                    <a:pt x="3" y="47"/>
                  </a:cubicBezTo>
                  <a:cubicBezTo>
                    <a:pt x="3" y="48"/>
                    <a:pt x="3" y="49"/>
                    <a:pt x="2" y="50"/>
                  </a:cubicBezTo>
                  <a:cubicBezTo>
                    <a:pt x="1" y="52"/>
                    <a:pt x="1" y="54"/>
                    <a:pt x="1" y="56"/>
                  </a:cubicBezTo>
                  <a:cubicBezTo>
                    <a:pt x="0" y="59"/>
                    <a:pt x="1" y="61"/>
                    <a:pt x="1" y="62"/>
                  </a:cubicBezTo>
                  <a:cubicBezTo>
                    <a:pt x="1" y="63"/>
                    <a:pt x="1" y="64"/>
                    <a:pt x="2" y="64"/>
                  </a:cubicBezTo>
                  <a:cubicBezTo>
                    <a:pt x="2" y="66"/>
                    <a:pt x="2" y="68"/>
                    <a:pt x="2" y="70"/>
                  </a:cubicBezTo>
                  <a:cubicBezTo>
                    <a:pt x="2" y="71"/>
                    <a:pt x="2" y="71"/>
                    <a:pt x="2" y="71"/>
                  </a:cubicBezTo>
                  <a:cubicBezTo>
                    <a:pt x="2" y="73"/>
                    <a:pt x="3" y="75"/>
                    <a:pt x="3" y="77"/>
                  </a:cubicBezTo>
                  <a:cubicBezTo>
                    <a:pt x="3" y="77"/>
                    <a:pt x="3" y="78"/>
                    <a:pt x="3" y="79"/>
                  </a:cubicBezTo>
                  <a:cubicBezTo>
                    <a:pt x="4" y="82"/>
                    <a:pt x="4" y="85"/>
                    <a:pt x="4" y="88"/>
                  </a:cubicBezTo>
                  <a:cubicBezTo>
                    <a:pt x="4" y="89"/>
                    <a:pt x="4" y="90"/>
                    <a:pt x="4" y="91"/>
                  </a:cubicBezTo>
                  <a:cubicBezTo>
                    <a:pt x="4" y="94"/>
                    <a:pt x="5" y="97"/>
                    <a:pt x="6" y="100"/>
                  </a:cubicBezTo>
                  <a:cubicBezTo>
                    <a:pt x="6" y="101"/>
                    <a:pt x="7" y="101"/>
                    <a:pt x="7" y="102"/>
                  </a:cubicBezTo>
                  <a:cubicBezTo>
                    <a:pt x="6" y="102"/>
                    <a:pt x="6" y="103"/>
                    <a:pt x="5" y="104"/>
                  </a:cubicBezTo>
                  <a:cubicBezTo>
                    <a:pt x="3" y="107"/>
                    <a:pt x="3" y="113"/>
                    <a:pt x="6" y="116"/>
                  </a:cubicBezTo>
                  <a:cubicBezTo>
                    <a:pt x="8" y="118"/>
                    <a:pt x="11" y="118"/>
                    <a:pt x="13" y="118"/>
                  </a:cubicBezTo>
                  <a:cubicBezTo>
                    <a:pt x="14" y="118"/>
                    <a:pt x="15" y="118"/>
                    <a:pt x="15" y="119"/>
                  </a:cubicBezTo>
                  <a:cubicBezTo>
                    <a:pt x="16" y="119"/>
                    <a:pt x="16" y="120"/>
                    <a:pt x="16" y="121"/>
                  </a:cubicBezTo>
                  <a:cubicBezTo>
                    <a:pt x="16" y="121"/>
                    <a:pt x="16" y="121"/>
                    <a:pt x="15" y="121"/>
                  </a:cubicBezTo>
                  <a:cubicBezTo>
                    <a:pt x="15" y="121"/>
                    <a:pt x="14" y="121"/>
                    <a:pt x="14" y="121"/>
                  </a:cubicBezTo>
                  <a:cubicBezTo>
                    <a:pt x="11" y="121"/>
                    <a:pt x="10" y="122"/>
                    <a:pt x="8" y="123"/>
                  </a:cubicBezTo>
                  <a:cubicBezTo>
                    <a:pt x="4" y="127"/>
                    <a:pt x="4" y="132"/>
                    <a:pt x="4" y="135"/>
                  </a:cubicBezTo>
                  <a:cubicBezTo>
                    <a:pt x="4" y="135"/>
                    <a:pt x="4" y="135"/>
                    <a:pt x="4" y="136"/>
                  </a:cubicBezTo>
                  <a:cubicBezTo>
                    <a:pt x="4" y="137"/>
                    <a:pt x="4" y="138"/>
                    <a:pt x="4" y="140"/>
                  </a:cubicBezTo>
                  <a:cubicBezTo>
                    <a:pt x="5" y="143"/>
                    <a:pt x="10" y="147"/>
                    <a:pt x="13" y="147"/>
                  </a:cubicBezTo>
                  <a:cubicBezTo>
                    <a:pt x="13" y="147"/>
                    <a:pt x="14" y="147"/>
                    <a:pt x="14" y="147"/>
                  </a:cubicBezTo>
                  <a:cubicBezTo>
                    <a:pt x="14" y="147"/>
                    <a:pt x="14" y="147"/>
                    <a:pt x="15" y="147"/>
                  </a:cubicBezTo>
                  <a:cubicBezTo>
                    <a:pt x="15" y="147"/>
                    <a:pt x="15" y="148"/>
                    <a:pt x="15" y="148"/>
                  </a:cubicBezTo>
                  <a:cubicBezTo>
                    <a:pt x="15" y="152"/>
                    <a:pt x="13" y="157"/>
                    <a:pt x="11" y="161"/>
                  </a:cubicBezTo>
                  <a:cubicBezTo>
                    <a:pt x="10" y="162"/>
                    <a:pt x="9" y="163"/>
                    <a:pt x="9" y="164"/>
                  </a:cubicBezTo>
                  <a:cubicBezTo>
                    <a:pt x="6" y="170"/>
                    <a:pt x="5" y="179"/>
                    <a:pt x="9" y="185"/>
                  </a:cubicBezTo>
                  <a:cubicBezTo>
                    <a:pt x="10" y="187"/>
                    <a:pt x="13" y="190"/>
                    <a:pt x="19" y="190"/>
                  </a:cubicBezTo>
                  <a:cubicBezTo>
                    <a:pt x="19" y="190"/>
                    <a:pt x="20" y="190"/>
                    <a:pt x="21" y="190"/>
                  </a:cubicBezTo>
                  <a:cubicBezTo>
                    <a:pt x="26" y="190"/>
                    <a:pt x="29" y="186"/>
                    <a:pt x="32" y="182"/>
                  </a:cubicBezTo>
                  <a:cubicBezTo>
                    <a:pt x="32" y="182"/>
                    <a:pt x="33" y="181"/>
                    <a:pt x="33" y="181"/>
                  </a:cubicBezTo>
                  <a:cubicBezTo>
                    <a:pt x="36" y="177"/>
                    <a:pt x="39" y="175"/>
                    <a:pt x="43" y="173"/>
                  </a:cubicBezTo>
                  <a:cubicBezTo>
                    <a:pt x="46" y="172"/>
                    <a:pt x="48" y="171"/>
                    <a:pt x="52" y="169"/>
                  </a:cubicBezTo>
                  <a:cubicBezTo>
                    <a:pt x="54" y="169"/>
                    <a:pt x="57" y="168"/>
                    <a:pt x="59" y="167"/>
                  </a:cubicBezTo>
                  <a:cubicBezTo>
                    <a:pt x="62" y="166"/>
                    <a:pt x="65" y="165"/>
                    <a:pt x="68" y="164"/>
                  </a:cubicBezTo>
                  <a:cubicBezTo>
                    <a:pt x="73" y="163"/>
                    <a:pt x="78" y="161"/>
                    <a:pt x="81" y="156"/>
                  </a:cubicBezTo>
                  <a:cubicBezTo>
                    <a:pt x="82" y="155"/>
                    <a:pt x="82" y="153"/>
                    <a:pt x="83" y="152"/>
                  </a:cubicBezTo>
                  <a:cubicBezTo>
                    <a:pt x="83" y="152"/>
                    <a:pt x="83" y="151"/>
                    <a:pt x="84" y="151"/>
                  </a:cubicBezTo>
                  <a:cubicBezTo>
                    <a:pt x="84" y="150"/>
                    <a:pt x="84" y="150"/>
                    <a:pt x="84" y="150"/>
                  </a:cubicBezTo>
                  <a:cubicBezTo>
                    <a:pt x="85" y="148"/>
                    <a:pt x="85" y="148"/>
                    <a:pt x="86" y="148"/>
                  </a:cubicBezTo>
                  <a:cubicBezTo>
                    <a:pt x="86" y="147"/>
                    <a:pt x="87" y="147"/>
                    <a:pt x="87" y="147"/>
                  </a:cubicBezTo>
                  <a:cubicBezTo>
                    <a:pt x="88" y="147"/>
                    <a:pt x="89" y="147"/>
                    <a:pt x="89" y="146"/>
                  </a:cubicBezTo>
                  <a:cubicBezTo>
                    <a:pt x="91" y="145"/>
                    <a:pt x="92" y="144"/>
                    <a:pt x="92" y="144"/>
                  </a:cubicBezTo>
                  <a:cubicBezTo>
                    <a:pt x="92" y="143"/>
                    <a:pt x="93" y="143"/>
                    <a:pt x="93" y="143"/>
                  </a:cubicBezTo>
                  <a:cubicBezTo>
                    <a:pt x="93" y="143"/>
                    <a:pt x="93" y="144"/>
                    <a:pt x="93" y="144"/>
                  </a:cubicBezTo>
                  <a:cubicBezTo>
                    <a:pt x="93" y="145"/>
                    <a:pt x="93" y="145"/>
                    <a:pt x="93" y="145"/>
                  </a:cubicBezTo>
                  <a:cubicBezTo>
                    <a:pt x="93" y="146"/>
                    <a:pt x="93" y="149"/>
                    <a:pt x="96" y="150"/>
                  </a:cubicBezTo>
                  <a:cubicBezTo>
                    <a:pt x="96" y="151"/>
                    <a:pt x="97" y="151"/>
                    <a:pt x="98" y="151"/>
                  </a:cubicBezTo>
                  <a:cubicBezTo>
                    <a:pt x="99" y="151"/>
                    <a:pt x="99" y="151"/>
                    <a:pt x="100" y="151"/>
                  </a:cubicBezTo>
                  <a:cubicBezTo>
                    <a:pt x="100" y="151"/>
                    <a:pt x="100" y="151"/>
                    <a:pt x="100" y="151"/>
                  </a:cubicBezTo>
                  <a:cubicBezTo>
                    <a:pt x="104" y="151"/>
                    <a:pt x="108" y="149"/>
                    <a:pt x="110" y="146"/>
                  </a:cubicBezTo>
                  <a:cubicBezTo>
                    <a:pt x="110" y="145"/>
                    <a:pt x="110" y="145"/>
                    <a:pt x="110" y="145"/>
                  </a:cubicBezTo>
                  <a:cubicBezTo>
                    <a:pt x="111" y="146"/>
                    <a:pt x="111" y="146"/>
                    <a:pt x="111" y="146"/>
                  </a:cubicBezTo>
                  <a:cubicBezTo>
                    <a:pt x="112" y="147"/>
                    <a:pt x="113" y="147"/>
                    <a:pt x="113" y="147"/>
                  </a:cubicBezTo>
                  <a:cubicBezTo>
                    <a:pt x="113" y="148"/>
                    <a:pt x="113" y="149"/>
                    <a:pt x="111" y="151"/>
                  </a:cubicBezTo>
                  <a:cubicBezTo>
                    <a:pt x="110" y="153"/>
                    <a:pt x="109" y="155"/>
                    <a:pt x="107" y="157"/>
                  </a:cubicBezTo>
                  <a:cubicBezTo>
                    <a:pt x="107" y="158"/>
                    <a:pt x="106" y="158"/>
                    <a:pt x="105" y="159"/>
                  </a:cubicBezTo>
                  <a:cubicBezTo>
                    <a:pt x="104" y="162"/>
                    <a:pt x="104" y="163"/>
                    <a:pt x="104" y="165"/>
                  </a:cubicBezTo>
                  <a:cubicBezTo>
                    <a:pt x="105" y="166"/>
                    <a:pt x="105" y="166"/>
                    <a:pt x="105" y="166"/>
                  </a:cubicBezTo>
                  <a:cubicBezTo>
                    <a:pt x="105" y="166"/>
                    <a:pt x="105" y="166"/>
                    <a:pt x="105" y="167"/>
                  </a:cubicBezTo>
                  <a:cubicBezTo>
                    <a:pt x="105" y="167"/>
                    <a:pt x="105" y="168"/>
                    <a:pt x="105" y="169"/>
                  </a:cubicBezTo>
                  <a:cubicBezTo>
                    <a:pt x="105" y="171"/>
                    <a:pt x="107" y="172"/>
                    <a:pt x="110" y="172"/>
                  </a:cubicBezTo>
                  <a:cubicBezTo>
                    <a:pt x="112" y="172"/>
                    <a:pt x="114" y="172"/>
                    <a:pt x="115" y="171"/>
                  </a:cubicBezTo>
                  <a:cubicBezTo>
                    <a:pt x="116" y="170"/>
                    <a:pt x="117" y="169"/>
                    <a:pt x="118" y="168"/>
                  </a:cubicBezTo>
                  <a:cubicBezTo>
                    <a:pt x="118" y="167"/>
                    <a:pt x="119" y="167"/>
                    <a:pt x="119" y="166"/>
                  </a:cubicBezTo>
                  <a:cubicBezTo>
                    <a:pt x="120" y="166"/>
                    <a:pt x="121" y="166"/>
                    <a:pt x="121" y="166"/>
                  </a:cubicBezTo>
                  <a:cubicBezTo>
                    <a:pt x="123" y="166"/>
                    <a:pt x="125" y="165"/>
                    <a:pt x="126" y="164"/>
                  </a:cubicBezTo>
                  <a:cubicBezTo>
                    <a:pt x="127" y="162"/>
                    <a:pt x="128" y="161"/>
                    <a:pt x="128" y="160"/>
                  </a:cubicBezTo>
                  <a:cubicBezTo>
                    <a:pt x="128" y="159"/>
                    <a:pt x="128" y="159"/>
                    <a:pt x="128" y="159"/>
                  </a:cubicBezTo>
                  <a:cubicBezTo>
                    <a:pt x="128" y="158"/>
                    <a:pt x="129" y="157"/>
                    <a:pt x="129" y="156"/>
                  </a:cubicBezTo>
                  <a:cubicBezTo>
                    <a:pt x="129" y="155"/>
                    <a:pt x="129" y="155"/>
                    <a:pt x="129" y="155"/>
                  </a:cubicBezTo>
                  <a:cubicBezTo>
                    <a:pt x="129" y="154"/>
                    <a:pt x="129" y="153"/>
                    <a:pt x="130" y="152"/>
                  </a:cubicBezTo>
                  <a:cubicBezTo>
                    <a:pt x="130" y="150"/>
                    <a:pt x="129" y="149"/>
                    <a:pt x="129" y="147"/>
                  </a:cubicBezTo>
                  <a:cubicBezTo>
                    <a:pt x="129" y="147"/>
                    <a:pt x="128" y="147"/>
                    <a:pt x="128" y="146"/>
                  </a:cubicBezTo>
                  <a:cubicBezTo>
                    <a:pt x="127" y="142"/>
                    <a:pt x="127" y="138"/>
                    <a:pt x="129" y="135"/>
                  </a:cubicBezTo>
                  <a:cubicBezTo>
                    <a:pt x="130" y="134"/>
                    <a:pt x="131" y="133"/>
                    <a:pt x="131" y="132"/>
                  </a:cubicBezTo>
                  <a:cubicBezTo>
                    <a:pt x="133" y="130"/>
                    <a:pt x="135" y="127"/>
                    <a:pt x="135" y="122"/>
                  </a:cubicBezTo>
                  <a:cubicBezTo>
                    <a:pt x="135" y="121"/>
                    <a:pt x="135" y="120"/>
                    <a:pt x="135" y="118"/>
                  </a:cubicBezTo>
                  <a:cubicBezTo>
                    <a:pt x="134" y="117"/>
                    <a:pt x="134" y="116"/>
                    <a:pt x="134" y="115"/>
                  </a:cubicBezTo>
                  <a:cubicBezTo>
                    <a:pt x="134" y="115"/>
                    <a:pt x="134" y="115"/>
                    <a:pt x="134" y="115"/>
                  </a:cubicBezTo>
                  <a:cubicBezTo>
                    <a:pt x="142" y="116"/>
                    <a:pt x="145" y="130"/>
                    <a:pt x="145" y="137"/>
                  </a:cubicBezTo>
                  <a:cubicBezTo>
                    <a:pt x="145" y="141"/>
                    <a:pt x="147" y="148"/>
                    <a:pt x="152" y="148"/>
                  </a:cubicBezTo>
                  <a:cubicBezTo>
                    <a:pt x="154" y="148"/>
                    <a:pt x="156" y="146"/>
                    <a:pt x="158" y="143"/>
                  </a:cubicBezTo>
                  <a:cubicBezTo>
                    <a:pt x="159" y="141"/>
                    <a:pt x="159" y="140"/>
                    <a:pt x="160" y="138"/>
                  </a:cubicBezTo>
                  <a:cubicBezTo>
                    <a:pt x="160" y="138"/>
                    <a:pt x="160" y="138"/>
                    <a:pt x="160" y="138"/>
                  </a:cubicBezTo>
                  <a:cubicBezTo>
                    <a:pt x="160" y="139"/>
                    <a:pt x="161" y="140"/>
                    <a:pt x="161" y="140"/>
                  </a:cubicBezTo>
                  <a:cubicBezTo>
                    <a:pt x="162" y="140"/>
                    <a:pt x="162" y="141"/>
                    <a:pt x="162" y="141"/>
                  </a:cubicBezTo>
                  <a:cubicBezTo>
                    <a:pt x="162" y="142"/>
                    <a:pt x="162" y="142"/>
                    <a:pt x="162" y="143"/>
                  </a:cubicBezTo>
                  <a:cubicBezTo>
                    <a:pt x="163" y="145"/>
                    <a:pt x="166" y="147"/>
                    <a:pt x="168" y="147"/>
                  </a:cubicBezTo>
                  <a:cubicBezTo>
                    <a:pt x="170" y="147"/>
                    <a:pt x="172" y="147"/>
                    <a:pt x="172" y="145"/>
                  </a:cubicBezTo>
                  <a:cubicBezTo>
                    <a:pt x="173" y="144"/>
                    <a:pt x="173" y="143"/>
                    <a:pt x="173" y="142"/>
                  </a:cubicBezTo>
                  <a:cubicBezTo>
                    <a:pt x="174" y="141"/>
                    <a:pt x="174" y="141"/>
                    <a:pt x="174" y="140"/>
                  </a:cubicBezTo>
                  <a:cubicBezTo>
                    <a:pt x="175" y="140"/>
                    <a:pt x="176" y="140"/>
                    <a:pt x="176" y="140"/>
                  </a:cubicBezTo>
                  <a:cubicBezTo>
                    <a:pt x="178" y="139"/>
                    <a:pt x="180" y="138"/>
                    <a:pt x="181" y="137"/>
                  </a:cubicBezTo>
                  <a:cubicBezTo>
                    <a:pt x="184" y="133"/>
                    <a:pt x="182" y="130"/>
                    <a:pt x="181" y="128"/>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0" name="Freeform 179">
              <a:extLst>
                <a:ext uri="{FF2B5EF4-FFF2-40B4-BE49-F238E27FC236}">
                  <a16:creationId xmlns:a16="http://schemas.microsoft.com/office/drawing/2014/main" id="{EEF64D24-987D-404C-9AA2-848D4D82989B}"/>
                </a:ext>
              </a:extLst>
            </p:cNvPr>
            <p:cNvSpPr>
              <a:spLocks noEditPoints="1"/>
            </p:cNvSpPr>
            <p:nvPr/>
          </p:nvSpPr>
          <p:spPr bwMode="auto">
            <a:xfrm>
              <a:off x="16472692" y="6625709"/>
              <a:ext cx="1727573" cy="2221218"/>
            </a:xfrm>
            <a:custGeom>
              <a:avLst/>
              <a:gdLst>
                <a:gd name="T0" fmla="*/ 309 w 317"/>
                <a:gd name="T1" fmla="*/ 141 h 448"/>
                <a:gd name="T2" fmla="*/ 303 w 317"/>
                <a:gd name="T3" fmla="*/ 138 h 448"/>
                <a:gd name="T4" fmla="*/ 291 w 317"/>
                <a:gd name="T5" fmla="*/ 135 h 448"/>
                <a:gd name="T6" fmla="*/ 282 w 317"/>
                <a:gd name="T7" fmla="*/ 129 h 448"/>
                <a:gd name="T8" fmla="*/ 261 w 317"/>
                <a:gd name="T9" fmla="*/ 129 h 448"/>
                <a:gd name="T10" fmla="*/ 240 w 317"/>
                <a:gd name="T11" fmla="*/ 136 h 448"/>
                <a:gd name="T12" fmla="*/ 241 w 317"/>
                <a:gd name="T13" fmla="*/ 131 h 448"/>
                <a:gd name="T14" fmla="*/ 240 w 317"/>
                <a:gd name="T15" fmla="*/ 107 h 448"/>
                <a:gd name="T16" fmla="*/ 239 w 317"/>
                <a:gd name="T17" fmla="*/ 104 h 448"/>
                <a:gd name="T18" fmla="*/ 237 w 317"/>
                <a:gd name="T19" fmla="*/ 93 h 448"/>
                <a:gd name="T20" fmla="*/ 234 w 317"/>
                <a:gd name="T21" fmla="*/ 84 h 448"/>
                <a:gd name="T22" fmla="*/ 234 w 317"/>
                <a:gd name="T23" fmla="*/ 76 h 448"/>
                <a:gd name="T24" fmla="*/ 225 w 317"/>
                <a:gd name="T25" fmla="*/ 66 h 448"/>
                <a:gd name="T26" fmla="*/ 216 w 317"/>
                <a:gd name="T27" fmla="*/ 67 h 448"/>
                <a:gd name="T28" fmla="*/ 203 w 317"/>
                <a:gd name="T29" fmla="*/ 63 h 448"/>
                <a:gd name="T30" fmla="*/ 201 w 317"/>
                <a:gd name="T31" fmla="*/ 52 h 448"/>
                <a:gd name="T32" fmla="*/ 204 w 317"/>
                <a:gd name="T33" fmla="*/ 28 h 448"/>
                <a:gd name="T34" fmla="*/ 64 w 317"/>
                <a:gd name="T35" fmla="*/ 0 h 448"/>
                <a:gd name="T36" fmla="*/ 51 w 317"/>
                <a:gd name="T37" fmla="*/ 86 h 448"/>
                <a:gd name="T38" fmla="*/ 50 w 317"/>
                <a:gd name="T39" fmla="*/ 89 h 448"/>
                <a:gd name="T40" fmla="*/ 0 w 317"/>
                <a:gd name="T41" fmla="*/ 426 h 448"/>
                <a:gd name="T42" fmla="*/ 101 w 317"/>
                <a:gd name="T43" fmla="*/ 442 h 448"/>
                <a:gd name="T44" fmla="*/ 136 w 317"/>
                <a:gd name="T45" fmla="*/ 447 h 448"/>
                <a:gd name="T46" fmla="*/ 156 w 317"/>
                <a:gd name="T47" fmla="*/ 447 h 448"/>
                <a:gd name="T48" fmla="*/ 315 w 317"/>
                <a:gd name="T49" fmla="*/ 147 h 448"/>
                <a:gd name="T50" fmla="*/ 132 w 317"/>
                <a:gd name="T51" fmla="*/ 369 h 448"/>
                <a:gd name="T52" fmla="*/ 121 w 317"/>
                <a:gd name="T53" fmla="*/ 382 h 448"/>
                <a:gd name="T54" fmla="*/ 123 w 317"/>
                <a:gd name="T55" fmla="*/ 364 h 448"/>
                <a:gd name="T56" fmla="*/ 124 w 317"/>
                <a:gd name="T57" fmla="*/ 355 h 448"/>
                <a:gd name="T58" fmla="*/ 126 w 317"/>
                <a:gd name="T59" fmla="*/ 349 h 448"/>
                <a:gd name="T60" fmla="*/ 131 w 317"/>
                <a:gd name="T61" fmla="*/ 351 h 448"/>
                <a:gd name="T62" fmla="*/ 133 w 317"/>
                <a:gd name="T63" fmla="*/ 360 h 448"/>
                <a:gd name="T64" fmla="*/ 62 w 317"/>
                <a:gd name="T65" fmla="*/ 245 h 448"/>
                <a:gd name="T66" fmla="*/ 58 w 317"/>
                <a:gd name="T67" fmla="*/ 247 h 448"/>
                <a:gd name="T68" fmla="*/ 58 w 317"/>
                <a:gd name="T69" fmla="*/ 238 h 448"/>
                <a:gd name="T70" fmla="*/ 64 w 317"/>
                <a:gd name="T71" fmla="*/ 244 h 448"/>
                <a:gd name="T72" fmla="*/ 58 w 317"/>
                <a:gd name="T73" fmla="*/ 257 h 448"/>
                <a:gd name="T74" fmla="*/ 60 w 317"/>
                <a:gd name="T75" fmla="*/ 267 h 448"/>
                <a:gd name="T76" fmla="*/ 64 w 317"/>
                <a:gd name="T77" fmla="*/ 270 h 448"/>
                <a:gd name="T78" fmla="*/ 50 w 317"/>
                <a:gd name="T79" fmla="*/ 261 h 448"/>
                <a:gd name="T80" fmla="*/ 49 w 317"/>
                <a:gd name="T81" fmla="*/ 255 h 448"/>
                <a:gd name="T82" fmla="*/ 98 w 317"/>
                <a:gd name="T83" fmla="*/ 306 h 448"/>
                <a:gd name="T84" fmla="*/ 86 w 317"/>
                <a:gd name="T85" fmla="*/ 284 h 448"/>
                <a:gd name="T86" fmla="*/ 90 w 317"/>
                <a:gd name="T87" fmla="*/ 284 h 448"/>
                <a:gd name="T88" fmla="*/ 96 w 317"/>
                <a:gd name="T89" fmla="*/ 274 h 448"/>
                <a:gd name="T90" fmla="*/ 85 w 317"/>
                <a:gd name="T91" fmla="*/ 273 h 448"/>
                <a:gd name="T92" fmla="*/ 82 w 317"/>
                <a:gd name="T93" fmla="*/ 267 h 448"/>
                <a:gd name="T94" fmla="*/ 93 w 317"/>
                <a:gd name="T95" fmla="*/ 249 h 448"/>
                <a:gd name="T96" fmla="*/ 119 w 317"/>
                <a:gd name="T97" fmla="*/ 305 h 448"/>
                <a:gd name="T98" fmla="*/ 124 w 317"/>
                <a:gd name="T99" fmla="*/ 325 h 448"/>
                <a:gd name="T100" fmla="*/ 121 w 317"/>
                <a:gd name="T101" fmla="*/ 333 h 448"/>
                <a:gd name="T102" fmla="*/ 108 w 317"/>
                <a:gd name="T103" fmla="*/ 314 h 448"/>
                <a:gd name="T104" fmla="*/ 98 w 317"/>
                <a:gd name="T105" fmla="*/ 30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7" h="448">
                  <a:moveTo>
                    <a:pt x="313" y="142"/>
                  </a:moveTo>
                  <a:cubicBezTo>
                    <a:pt x="313" y="141"/>
                    <a:pt x="313" y="141"/>
                    <a:pt x="312" y="141"/>
                  </a:cubicBezTo>
                  <a:cubicBezTo>
                    <a:pt x="311" y="141"/>
                    <a:pt x="310" y="141"/>
                    <a:pt x="309" y="141"/>
                  </a:cubicBezTo>
                  <a:cubicBezTo>
                    <a:pt x="309" y="141"/>
                    <a:pt x="308" y="141"/>
                    <a:pt x="308" y="140"/>
                  </a:cubicBezTo>
                  <a:cubicBezTo>
                    <a:pt x="306" y="140"/>
                    <a:pt x="305" y="139"/>
                    <a:pt x="304" y="139"/>
                  </a:cubicBezTo>
                  <a:cubicBezTo>
                    <a:pt x="303" y="138"/>
                    <a:pt x="303" y="138"/>
                    <a:pt x="303" y="138"/>
                  </a:cubicBezTo>
                  <a:cubicBezTo>
                    <a:pt x="301" y="137"/>
                    <a:pt x="299" y="136"/>
                    <a:pt x="297" y="136"/>
                  </a:cubicBezTo>
                  <a:cubicBezTo>
                    <a:pt x="296" y="136"/>
                    <a:pt x="295" y="136"/>
                    <a:pt x="294" y="136"/>
                  </a:cubicBezTo>
                  <a:cubicBezTo>
                    <a:pt x="292" y="136"/>
                    <a:pt x="292" y="136"/>
                    <a:pt x="291" y="135"/>
                  </a:cubicBezTo>
                  <a:cubicBezTo>
                    <a:pt x="291" y="135"/>
                    <a:pt x="290" y="134"/>
                    <a:pt x="290" y="134"/>
                  </a:cubicBezTo>
                  <a:cubicBezTo>
                    <a:pt x="289" y="133"/>
                    <a:pt x="288" y="132"/>
                    <a:pt x="286" y="131"/>
                  </a:cubicBezTo>
                  <a:cubicBezTo>
                    <a:pt x="285" y="130"/>
                    <a:pt x="284" y="130"/>
                    <a:pt x="282" y="129"/>
                  </a:cubicBezTo>
                  <a:cubicBezTo>
                    <a:pt x="281" y="129"/>
                    <a:pt x="280" y="128"/>
                    <a:pt x="279" y="128"/>
                  </a:cubicBezTo>
                  <a:cubicBezTo>
                    <a:pt x="277" y="127"/>
                    <a:pt x="274" y="127"/>
                    <a:pt x="272" y="127"/>
                  </a:cubicBezTo>
                  <a:cubicBezTo>
                    <a:pt x="268" y="127"/>
                    <a:pt x="265" y="127"/>
                    <a:pt x="261" y="129"/>
                  </a:cubicBezTo>
                  <a:cubicBezTo>
                    <a:pt x="260" y="129"/>
                    <a:pt x="258" y="130"/>
                    <a:pt x="256" y="131"/>
                  </a:cubicBezTo>
                  <a:cubicBezTo>
                    <a:pt x="251" y="134"/>
                    <a:pt x="245" y="137"/>
                    <a:pt x="242" y="137"/>
                  </a:cubicBezTo>
                  <a:cubicBezTo>
                    <a:pt x="241" y="137"/>
                    <a:pt x="240" y="137"/>
                    <a:pt x="240" y="136"/>
                  </a:cubicBezTo>
                  <a:cubicBezTo>
                    <a:pt x="239" y="136"/>
                    <a:pt x="239" y="136"/>
                    <a:pt x="239" y="136"/>
                  </a:cubicBezTo>
                  <a:cubicBezTo>
                    <a:pt x="239" y="136"/>
                    <a:pt x="240" y="134"/>
                    <a:pt x="240" y="133"/>
                  </a:cubicBezTo>
                  <a:cubicBezTo>
                    <a:pt x="241" y="132"/>
                    <a:pt x="241" y="132"/>
                    <a:pt x="241" y="131"/>
                  </a:cubicBezTo>
                  <a:cubicBezTo>
                    <a:pt x="244" y="126"/>
                    <a:pt x="244" y="122"/>
                    <a:pt x="243" y="117"/>
                  </a:cubicBezTo>
                  <a:cubicBezTo>
                    <a:pt x="243" y="114"/>
                    <a:pt x="242" y="111"/>
                    <a:pt x="240" y="108"/>
                  </a:cubicBezTo>
                  <a:cubicBezTo>
                    <a:pt x="240" y="108"/>
                    <a:pt x="240" y="108"/>
                    <a:pt x="240" y="107"/>
                  </a:cubicBezTo>
                  <a:cubicBezTo>
                    <a:pt x="239" y="107"/>
                    <a:pt x="239" y="107"/>
                    <a:pt x="239" y="107"/>
                  </a:cubicBezTo>
                  <a:cubicBezTo>
                    <a:pt x="239" y="107"/>
                    <a:pt x="239" y="106"/>
                    <a:pt x="239" y="105"/>
                  </a:cubicBezTo>
                  <a:cubicBezTo>
                    <a:pt x="239" y="105"/>
                    <a:pt x="239" y="104"/>
                    <a:pt x="239" y="104"/>
                  </a:cubicBezTo>
                  <a:cubicBezTo>
                    <a:pt x="239" y="103"/>
                    <a:pt x="239" y="102"/>
                    <a:pt x="239" y="102"/>
                  </a:cubicBezTo>
                  <a:cubicBezTo>
                    <a:pt x="238" y="100"/>
                    <a:pt x="238" y="99"/>
                    <a:pt x="238" y="97"/>
                  </a:cubicBezTo>
                  <a:cubicBezTo>
                    <a:pt x="237" y="96"/>
                    <a:pt x="237" y="95"/>
                    <a:pt x="237" y="93"/>
                  </a:cubicBezTo>
                  <a:cubicBezTo>
                    <a:pt x="237" y="92"/>
                    <a:pt x="236" y="91"/>
                    <a:pt x="236" y="90"/>
                  </a:cubicBezTo>
                  <a:cubicBezTo>
                    <a:pt x="236" y="89"/>
                    <a:pt x="236" y="88"/>
                    <a:pt x="235" y="87"/>
                  </a:cubicBezTo>
                  <a:cubicBezTo>
                    <a:pt x="235" y="86"/>
                    <a:pt x="234" y="85"/>
                    <a:pt x="234" y="84"/>
                  </a:cubicBezTo>
                  <a:cubicBezTo>
                    <a:pt x="234" y="83"/>
                    <a:pt x="234" y="81"/>
                    <a:pt x="234" y="80"/>
                  </a:cubicBezTo>
                  <a:cubicBezTo>
                    <a:pt x="234" y="79"/>
                    <a:pt x="234" y="78"/>
                    <a:pt x="234" y="77"/>
                  </a:cubicBezTo>
                  <a:cubicBezTo>
                    <a:pt x="234" y="76"/>
                    <a:pt x="234" y="76"/>
                    <a:pt x="234" y="76"/>
                  </a:cubicBezTo>
                  <a:cubicBezTo>
                    <a:pt x="234" y="74"/>
                    <a:pt x="234" y="72"/>
                    <a:pt x="233" y="70"/>
                  </a:cubicBezTo>
                  <a:cubicBezTo>
                    <a:pt x="231" y="68"/>
                    <a:pt x="229" y="66"/>
                    <a:pt x="226" y="66"/>
                  </a:cubicBezTo>
                  <a:cubicBezTo>
                    <a:pt x="225" y="66"/>
                    <a:pt x="225" y="66"/>
                    <a:pt x="225" y="66"/>
                  </a:cubicBezTo>
                  <a:cubicBezTo>
                    <a:pt x="224" y="66"/>
                    <a:pt x="223" y="66"/>
                    <a:pt x="222" y="66"/>
                  </a:cubicBezTo>
                  <a:cubicBezTo>
                    <a:pt x="222" y="66"/>
                    <a:pt x="221" y="66"/>
                    <a:pt x="220" y="66"/>
                  </a:cubicBezTo>
                  <a:cubicBezTo>
                    <a:pt x="219" y="66"/>
                    <a:pt x="217" y="66"/>
                    <a:pt x="216" y="67"/>
                  </a:cubicBezTo>
                  <a:cubicBezTo>
                    <a:pt x="214" y="67"/>
                    <a:pt x="212" y="67"/>
                    <a:pt x="211" y="67"/>
                  </a:cubicBezTo>
                  <a:cubicBezTo>
                    <a:pt x="210" y="67"/>
                    <a:pt x="209" y="67"/>
                    <a:pt x="208" y="67"/>
                  </a:cubicBezTo>
                  <a:cubicBezTo>
                    <a:pt x="206" y="66"/>
                    <a:pt x="204" y="65"/>
                    <a:pt x="203" y="63"/>
                  </a:cubicBezTo>
                  <a:cubicBezTo>
                    <a:pt x="202" y="63"/>
                    <a:pt x="202" y="62"/>
                    <a:pt x="202" y="61"/>
                  </a:cubicBezTo>
                  <a:cubicBezTo>
                    <a:pt x="202" y="60"/>
                    <a:pt x="202" y="60"/>
                    <a:pt x="202" y="59"/>
                  </a:cubicBezTo>
                  <a:cubicBezTo>
                    <a:pt x="201" y="57"/>
                    <a:pt x="201" y="54"/>
                    <a:pt x="201" y="52"/>
                  </a:cubicBezTo>
                  <a:cubicBezTo>
                    <a:pt x="202" y="51"/>
                    <a:pt x="202" y="50"/>
                    <a:pt x="202" y="49"/>
                  </a:cubicBezTo>
                  <a:cubicBezTo>
                    <a:pt x="203" y="47"/>
                    <a:pt x="203" y="45"/>
                    <a:pt x="203" y="43"/>
                  </a:cubicBezTo>
                  <a:cubicBezTo>
                    <a:pt x="204" y="38"/>
                    <a:pt x="204" y="33"/>
                    <a:pt x="204" y="28"/>
                  </a:cubicBezTo>
                  <a:cubicBezTo>
                    <a:pt x="204" y="26"/>
                    <a:pt x="204" y="23"/>
                    <a:pt x="204" y="21"/>
                  </a:cubicBezTo>
                  <a:cubicBezTo>
                    <a:pt x="204" y="19"/>
                    <a:pt x="204" y="19"/>
                    <a:pt x="204" y="19"/>
                  </a:cubicBezTo>
                  <a:cubicBezTo>
                    <a:pt x="64" y="0"/>
                    <a:pt x="64" y="0"/>
                    <a:pt x="64" y="0"/>
                  </a:cubicBezTo>
                  <a:cubicBezTo>
                    <a:pt x="64" y="3"/>
                    <a:pt x="64" y="3"/>
                    <a:pt x="64" y="3"/>
                  </a:cubicBezTo>
                  <a:cubicBezTo>
                    <a:pt x="60" y="28"/>
                    <a:pt x="56" y="55"/>
                    <a:pt x="51" y="82"/>
                  </a:cubicBezTo>
                  <a:cubicBezTo>
                    <a:pt x="51" y="86"/>
                    <a:pt x="51" y="86"/>
                    <a:pt x="51" y="86"/>
                  </a:cubicBezTo>
                  <a:cubicBezTo>
                    <a:pt x="53" y="86"/>
                    <a:pt x="53" y="86"/>
                    <a:pt x="53" y="86"/>
                  </a:cubicBezTo>
                  <a:cubicBezTo>
                    <a:pt x="52" y="87"/>
                    <a:pt x="52" y="87"/>
                    <a:pt x="51" y="88"/>
                  </a:cubicBezTo>
                  <a:cubicBezTo>
                    <a:pt x="50" y="89"/>
                    <a:pt x="50" y="89"/>
                    <a:pt x="50" y="89"/>
                  </a:cubicBezTo>
                  <a:cubicBezTo>
                    <a:pt x="50" y="90"/>
                    <a:pt x="50" y="90"/>
                    <a:pt x="50" y="90"/>
                  </a:cubicBezTo>
                  <a:cubicBezTo>
                    <a:pt x="31" y="213"/>
                    <a:pt x="10" y="357"/>
                    <a:pt x="1" y="423"/>
                  </a:cubicBezTo>
                  <a:cubicBezTo>
                    <a:pt x="0" y="426"/>
                    <a:pt x="0" y="426"/>
                    <a:pt x="0" y="426"/>
                  </a:cubicBezTo>
                  <a:cubicBezTo>
                    <a:pt x="3" y="426"/>
                    <a:pt x="3" y="426"/>
                    <a:pt x="3" y="426"/>
                  </a:cubicBezTo>
                  <a:cubicBezTo>
                    <a:pt x="36" y="432"/>
                    <a:pt x="68" y="437"/>
                    <a:pt x="100" y="442"/>
                  </a:cubicBezTo>
                  <a:cubicBezTo>
                    <a:pt x="101" y="442"/>
                    <a:pt x="101" y="442"/>
                    <a:pt x="101" y="442"/>
                  </a:cubicBezTo>
                  <a:cubicBezTo>
                    <a:pt x="104" y="442"/>
                    <a:pt x="107" y="443"/>
                    <a:pt x="111" y="443"/>
                  </a:cubicBezTo>
                  <a:cubicBezTo>
                    <a:pt x="118" y="445"/>
                    <a:pt x="125" y="446"/>
                    <a:pt x="133" y="447"/>
                  </a:cubicBezTo>
                  <a:cubicBezTo>
                    <a:pt x="134" y="447"/>
                    <a:pt x="135" y="447"/>
                    <a:pt x="136" y="447"/>
                  </a:cubicBezTo>
                  <a:cubicBezTo>
                    <a:pt x="139" y="447"/>
                    <a:pt x="144" y="448"/>
                    <a:pt x="148" y="448"/>
                  </a:cubicBezTo>
                  <a:cubicBezTo>
                    <a:pt x="148" y="448"/>
                    <a:pt x="148" y="448"/>
                    <a:pt x="148" y="448"/>
                  </a:cubicBezTo>
                  <a:cubicBezTo>
                    <a:pt x="151" y="448"/>
                    <a:pt x="154" y="447"/>
                    <a:pt x="156" y="447"/>
                  </a:cubicBezTo>
                  <a:cubicBezTo>
                    <a:pt x="158" y="446"/>
                    <a:pt x="158" y="446"/>
                    <a:pt x="158" y="446"/>
                  </a:cubicBezTo>
                  <a:cubicBezTo>
                    <a:pt x="170" y="296"/>
                    <a:pt x="170" y="296"/>
                    <a:pt x="170" y="296"/>
                  </a:cubicBezTo>
                  <a:cubicBezTo>
                    <a:pt x="192" y="282"/>
                    <a:pt x="286" y="178"/>
                    <a:pt x="315" y="147"/>
                  </a:cubicBezTo>
                  <a:cubicBezTo>
                    <a:pt x="317" y="143"/>
                    <a:pt x="317" y="143"/>
                    <a:pt x="317" y="143"/>
                  </a:cubicBezTo>
                  <a:lnTo>
                    <a:pt x="313" y="142"/>
                  </a:lnTo>
                  <a:close/>
                  <a:moveTo>
                    <a:pt x="132" y="369"/>
                  </a:moveTo>
                  <a:cubicBezTo>
                    <a:pt x="132" y="371"/>
                    <a:pt x="132" y="373"/>
                    <a:pt x="131" y="375"/>
                  </a:cubicBezTo>
                  <a:cubicBezTo>
                    <a:pt x="129" y="379"/>
                    <a:pt x="125" y="383"/>
                    <a:pt x="123" y="383"/>
                  </a:cubicBezTo>
                  <a:cubicBezTo>
                    <a:pt x="123" y="383"/>
                    <a:pt x="122" y="383"/>
                    <a:pt x="121" y="382"/>
                  </a:cubicBezTo>
                  <a:cubicBezTo>
                    <a:pt x="120" y="380"/>
                    <a:pt x="121" y="378"/>
                    <a:pt x="122" y="375"/>
                  </a:cubicBezTo>
                  <a:cubicBezTo>
                    <a:pt x="123" y="372"/>
                    <a:pt x="123" y="370"/>
                    <a:pt x="123" y="368"/>
                  </a:cubicBezTo>
                  <a:cubicBezTo>
                    <a:pt x="123" y="366"/>
                    <a:pt x="123" y="365"/>
                    <a:pt x="123" y="364"/>
                  </a:cubicBezTo>
                  <a:cubicBezTo>
                    <a:pt x="123" y="364"/>
                    <a:pt x="124" y="364"/>
                    <a:pt x="124" y="363"/>
                  </a:cubicBezTo>
                  <a:cubicBezTo>
                    <a:pt x="124" y="362"/>
                    <a:pt x="125" y="361"/>
                    <a:pt x="125" y="359"/>
                  </a:cubicBezTo>
                  <a:cubicBezTo>
                    <a:pt x="125" y="358"/>
                    <a:pt x="125" y="356"/>
                    <a:pt x="124" y="355"/>
                  </a:cubicBezTo>
                  <a:cubicBezTo>
                    <a:pt x="124" y="355"/>
                    <a:pt x="124" y="354"/>
                    <a:pt x="123" y="353"/>
                  </a:cubicBezTo>
                  <a:cubicBezTo>
                    <a:pt x="123" y="353"/>
                    <a:pt x="124" y="352"/>
                    <a:pt x="125" y="350"/>
                  </a:cubicBezTo>
                  <a:cubicBezTo>
                    <a:pt x="126" y="349"/>
                    <a:pt x="126" y="349"/>
                    <a:pt x="126" y="349"/>
                  </a:cubicBezTo>
                  <a:cubicBezTo>
                    <a:pt x="127" y="347"/>
                    <a:pt x="128" y="346"/>
                    <a:pt x="129" y="345"/>
                  </a:cubicBezTo>
                  <a:cubicBezTo>
                    <a:pt x="130" y="346"/>
                    <a:pt x="130" y="347"/>
                    <a:pt x="130" y="347"/>
                  </a:cubicBezTo>
                  <a:cubicBezTo>
                    <a:pt x="130" y="348"/>
                    <a:pt x="131" y="350"/>
                    <a:pt x="131" y="351"/>
                  </a:cubicBezTo>
                  <a:cubicBezTo>
                    <a:pt x="132" y="351"/>
                    <a:pt x="132" y="352"/>
                    <a:pt x="132" y="353"/>
                  </a:cubicBezTo>
                  <a:cubicBezTo>
                    <a:pt x="134" y="355"/>
                    <a:pt x="134" y="356"/>
                    <a:pt x="134" y="357"/>
                  </a:cubicBezTo>
                  <a:cubicBezTo>
                    <a:pt x="134" y="358"/>
                    <a:pt x="133" y="359"/>
                    <a:pt x="133" y="360"/>
                  </a:cubicBezTo>
                  <a:cubicBezTo>
                    <a:pt x="133" y="362"/>
                    <a:pt x="132" y="364"/>
                    <a:pt x="132" y="367"/>
                  </a:cubicBezTo>
                  <a:cubicBezTo>
                    <a:pt x="132" y="367"/>
                    <a:pt x="132" y="368"/>
                    <a:pt x="132" y="369"/>
                  </a:cubicBezTo>
                  <a:close/>
                  <a:moveTo>
                    <a:pt x="62" y="245"/>
                  </a:moveTo>
                  <a:cubicBezTo>
                    <a:pt x="61" y="246"/>
                    <a:pt x="59" y="246"/>
                    <a:pt x="58" y="248"/>
                  </a:cubicBezTo>
                  <a:cubicBezTo>
                    <a:pt x="57" y="248"/>
                    <a:pt x="57" y="249"/>
                    <a:pt x="57" y="249"/>
                  </a:cubicBezTo>
                  <a:cubicBezTo>
                    <a:pt x="57" y="248"/>
                    <a:pt x="58" y="248"/>
                    <a:pt x="58" y="247"/>
                  </a:cubicBezTo>
                  <a:cubicBezTo>
                    <a:pt x="59" y="245"/>
                    <a:pt x="58" y="242"/>
                    <a:pt x="58" y="241"/>
                  </a:cubicBezTo>
                  <a:cubicBezTo>
                    <a:pt x="57" y="240"/>
                    <a:pt x="57" y="239"/>
                    <a:pt x="57" y="239"/>
                  </a:cubicBezTo>
                  <a:cubicBezTo>
                    <a:pt x="58" y="239"/>
                    <a:pt x="58" y="238"/>
                    <a:pt x="58" y="238"/>
                  </a:cubicBezTo>
                  <a:cubicBezTo>
                    <a:pt x="58" y="239"/>
                    <a:pt x="58" y="241"/>
                    <a:pt x="59" y="242"/>
                  </a:cubicBezTo>
                  <a:cubicBezTo>
                    <a:pt x="60" y="244"/>
                    <a:pt x="62" y="244"/>
                    <a:pt x="64" y="244"/>
                  </a:cubicBezTo>
                  <a:cubicBezTo>
                    <a:pt x="64" y="244"/>
                    <a:pt x="64" y="244"/>
                    <a:pt x="64" y="244"/>
                  </a:cubicBezTo>
                  <a:cubicBezTo>
                    <a:pt x="64" y="244"/>
                    <a:pt x="63" y="245"/>
                    <a:pt x="62" y="245"/>
                  </a:cubicBezTo>
                  <a:close/>
                  <a:moveTo>
                    <a:pt x="57" y="249"/>
                  </a:moveTo>
                  <a:cubicBezTo>
                    <a:pt x="55" y="253"/>
                    <a:pt x="57" y="255"/>
                    <a:pt x="58" y="257"/>
                  </a:cubicBezTo>
                  <a:cubicBezTo>
                    <a:pt x="58" y="257"/>
                    <a:pt x="59" y="258"/>
                    <a:pt x="59" y="258"/>
                  </a:cubicBezTo>
                  <a:cubicBezTo>
                    <a:pt x="59" y="258"/>
                    <a:pt x="59" y="259"/>
                    <a:pt x="59" y="260"/>
                  </a:cubicBezTo>
                  <a:cubicBezTo>
                    <a:pt x="59" y="262"/>
                    <a:pt x="58" y="265"/>
                    <a:pt x="60" y="267"/>
                  </a:cubicBezTo>
                  <a:cubicBezTo>
                    <a:pt x="62" y="269"/>
                    <a:pt x="65" y="269"/>
                    <a:pt x="66" y="269"/>
                  </a:cubicBezTo>
                  <a:cubicBezTo>
                    <a:pt x="66" y="269"/>
                    <a:pt x="67" y="269"/>
                    <a:pt x="67" y="269"/>
                  </a:cubicBezTo>
                  <a:cubicBezTo>
                    <a:pt x="66" y="269"/>
                    <a:pt x="65" y="270"/>
                    <a:pt x="64" y="270"/>
                  </a:cubicBezTo>
                  <a:cubicBezTo>
                    <a:pt x="63" y="270"/>
                    <a:pt x="63" y="270"/>
                    <a:pt x="62" y="269"/>
                  </a:cubicBezTo>
                  <a:cubicBezTo>
                    <a:pt x="59" y="268"/>
                    <a:pt x="55" y="265"/>
                    <a:pt x="52" y="262"/>
                  </a:cubicBezTo>
                  <a:cubicBezTo>
                    <a:pt x="52" y="262"/>
                    <a:pt x="51" y="261"/>
                    <a:pt x="50" y="261"/>
                  </a:cubicBezTo>
                  <a:cubicBezTo>
                    <a:pt x="48" y="259"/>
                    <a:pt x="46" y="257"/>
                    <a:pt x="44" y="254"/>
                  </a:cubicBezTo>
                  <a:cubicBezTo>
                    <a:pt x="46" y="255"/>
                    <a:pt x="47" y="255"/>
                    <a:pt x="48" y="255"/>
                  </a:cubicBezTo>
                  <a:cubicBezTo>
                    <a:pt x="49" y="255"/>
                    <a:pt x="49" y="255"/>
                    <a:pt x="49" y="255"/>
                  </a:cubicBezTo>
                  <a:cubicBezTo>
                    <a:pt x="49" y="255"/>
                    <a:pt x="49" y="255"/>
                    <a:pt x="49" y="255"/>
                  </a:cubicBezTo>
                  <a:cubicBezTo>
                    <a:pt x="52" y="254"/>
                    <a:pt x="55" y="252"/>
                    <a:pt x="57" y="249"/>
                  </a:cubicBezTo>
                  <a:close/>
                  <a:moveTo>
                    <a:pt x="98" y="306"/>
                  </a:moveTo>
                  <a:cubicBezTo>
                    <a:pt x="97" y="304"/>
                    <a:pt x="96" y="303"/>
                    <a:pt x="95" y="301"/>
                  </a:cubicBezTo>
                  <a:cubicBezTo>
                    <a:pt x="93" y="297"/>
                    <a:pt x="91" y="293"/>
                    <a:pt x="88" y="289"/>
                  </a:cubicBezTo>
                  <a:cubicBezTo>
                    <a:pt x="86" y="286"/>
                    <a:pt x="86" y="284"/>
                    <a:pt x="86" y="284"/>
                  </a:cubicBezTo>
                  <a:cubicBezTo>
                    <a:pt x="86" y="284"/>
                    <a:pt x="87" y="283"/>
                    <a:pt x="87" y="283"/>
                  </a:cubicBezTo>
                  <a:cubicBezTo>
                    <a:pt x="88" y="283"/>
                    <a:pt x="88" y="284"/>
                    <a:pt x="89" y="284"/>
                  </a:cubicBezTo>
                  <a:cubicBezTo>
                    <a:pt x="89" y="284"/>
                    <a:pt x="90" y="284"/>
                    <a:pt x="90" y="284"/>
                  </a:cubicBezTo>
                  <a:cubicBezTo>
                    <a:pt x="91" y="284"/>
                    <a:pt x="93" y="284"/>
                    <a:pt x="94" y="282"/>
                  </a:cubicBezTo>
                  <a:cubicBezTo>
                    <a:pt x="96" y="280"/>
                    <a:pt x="96" y="278"/>
                    <a:pt x="96" y="277"/>
                  </a:cubicBezTo>
                  <a:cubicBezTo>
                    <a:pt x="96" y="274"/>
                    <a:pt x="96" y="274"/>
                    <a:pt x="96" y="274"/>
                  </a:cubicBezTo>
                  <a:cubicBezTo>
                    <a:pt x="93" y="274"/>
                    <a:pt x="93" y="274"/>
                    <a:pt x="93" y="274"/>
                  </a:cubicBezTo>
                  <a:cubicBezTo>
                    <a:pt x="92" y="274"/>
                    <a:pt x="91" y="274"/>
                    <a:pt x="90" y="274"/>
                  </a:cubicBezTo>
                  <a:cubicBezTo>
                    <a:pt x="88" y="274"/>
                    <a:pt x="86" y="274"/>
                    <a:pt x="85" y="273"/>
                  </a:cubicBezTo>
                  <a:cubicBezTo>
                    <a:pt x="84" y="273"/>
                    <a:pt x="83" y="272"/>
                    <a:pt x="82" y="271"/>
                  </a:cubicBezTo>
                  <a:cubicBezTo>
                    <a:pt x="81" y="271"/>
                    <a:pt x="81" y="270"/>
                    <a:pt x="80" y="269"/>
                  </a:cubicBezTo>
                  <a:cubicBezTo>
                    <a:pt x="81" y="269"/>
                    <a:pt x="82" y="268"/>
                    <a:pt x="82" y="267"/>
                  </a:cubicBezTo>
                  <a:cubicBezTo>
                    <a:pt x="85" y="264"/>
                    <a:pt x="86" y="260"/>
                    <a:pt x="88" y="256"/>
                  </a:cubicBezTo>
                  <a:cubicBezTo>
                    <a:pt x="88" y="254"/>
                    <a:pt x="88" y="254"/>
                    <a:pt x="88" y="254"/>
                  </a:cubicBezTo>
                  <a:cubicBezTo>
                    <a:pt x="90" y="251"/>
                    <a:pt x="91" y="249"/>
                    <a:pt x="93" y="249"/>
                  </a:cubicBezTo>
                  <a:cubicBezTo>
                    <a:pt x="93" y="249"/>
                    <a:pt x="93" y="249"/>
                    <a:pt x="94" y="249"/>
                  </a:cubicBezTo>
                  <a:cubicBezTo>
                    <a:pt x="99" y="249"/>
                    <a:pt x="107" y="255"/>
                    <a:pt x="109" y="259"/>
                  </a:cubicBezTo>
                  <a:cubicBezTo>
                    <a:pt x="115" y="273"/>
                    <a:pt x="118" y="290"/>
                    <a:pt x="119" y="305"/>
                  </a:cubicBezTo>
                  <a:cubicBezTo>
                    <a:pt x="120" y="309"/>
                    <a:pt x="120" y="309"/>
                    <a:pt x="120" y="309"/>
                  </a:cubicBezTo>
                  <a:cubicBezTo>
                    <a:pt x="121" y="314"/>
                    <a:pt x="122" y="318"/>
                    <a:pt x="123" y="321"/>
                  </a:cubicBezTo>
                  <a:cubicBezTo>
                    <a:pt x="123" y="322"/>
                    <a:pt x="123" y="323"/>
                    <a:pt x="124" y="325"/>
                  </a:cubicBezTo>
                  <a:cubicBezTo>
                    <a:pt x="124" y="326"/>
                    <a:pt x="125" y="330"/>
                    <a:pt x="125" y="331"/>
                  </a:cubicBezTo>
                  <a:cubicBezTo>
                    <a:pt x="125" y="331"/>
                    <a:pt x="124" y="331"/>
                    <a:pt x="124" y="332"/>
                  </a:cubicBezTo>
                  <a:cubicBezTo>
                    <a:pt x="123" y="332"/>
                    <a:pt x="122" y="332"/>
                    <a:pt x="121" y="333"/>
                  </a:cubicBezTo>
                  <a:cubicBezTo>
                    <a:pt x="121" y="330"/>
                    <a:pt x="120" y="324"/>
                    <a:pt x="119" y="321"/>
                  </a:cubicBezTo>
                  <a:cubicBezTo>
                    <a:pt x="117" y="317"/>
                    <a:pt x="114" y="315"/>
                    <a:pt x="110" y="314"/>
                  </a:cubicBezTo>
                  <a:cubicBezTo>
                    <a:pt x="109" y="314"/>
                    <a:pt x="108" y="314"/>
                    <a:pt x="108" y="314"/>
                  </a:cubicBezTo>
                  <a:cubicBezTo>
                    <a:pt x="103" y="314"/>
                    <a:pt x="102" y="317"/>
                    <a:pt x="102" y="319"/>
                  </a:cubicBezTo>
                  <a:cubicBezTo>
                    <a:pt x="101" y="316"/>
                    <a:pt x="100" y="313"/>
                    <a:pt x="100" y="311"/>
                  </a:cubicBezTo>
                  <a:cubicBezTo>
                    <a:pt x="99" y="308"/>
                    <a:pt x="98" y="307"/>
                    <a:pt x="98" y="30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1" name="Freeform 180">
              <a:extLst>
                <a:ext uri="{FF2B5EF4-FFF2-40B4-BE49-F238E27FC236}">
                  <a16:creationId xmlns:a16="http://schemas.microsoft.com/office/drawing/2014/main" id="{EEFBA4D9-80F0-3546-A013-05DF0C670D77}"/>
                </a:ext>
              </a:extLst>
            </p:cNvPr>
            <p:cNvSpPr>
              <a:spLocks/>
            </p:cNvSpPr>
            <p:nvPr/>
          </p:nvSpPr>
          <p:spPr bwMode="auto">
            <a:xfrm>
              <a:off x="22217589" y="8350420"/>
              <a:ext cx="266727" cy="313584"/>
            </a:xfrm>
            <a:custGeom>
              <a:avLst/>
              <a:gdLst>
                <a:gd name="T0" fmla="*/ 47 w 49"/>
                <a:gd name="T1" fmla="*/ 27 h 63"/>
                <a:gd name="T2" fmla="*/ 42 w 49"/>
                <a:gd name="T3" fmla="*/ 24 h 63"/>
                <a:gd name="T4" fmla="*/ 41 w 49"/>
                <a:gd name="T5" fmla="*/ 24 h 63"/>
                <a:gd name="T6" fmla="*/ 40 w 49"/>
                <a:gd name="T7" fmla="*/ 23 h 63"/>
                <a:gd name="T8" fmla="*/ 37 w 49"/>
                <a:gd name="T9" fmla="*/ 22 h 63"/>
                <a:gd name="T10" fmla="*/ 34 w 49"/>
                <a:gd name="T11" fmla="*/ 21 h 63"/>
                <a:gd name="T12" fmla="*/ 26 w 49"/>
                <a:gd name="T13" fmla="*/ 23 h 63"/>
                <a:gd name="T14" fmla="*/ 26 w 49"/>
                <a:gd name="T15" fmla="*/ 19 h 63"/>
                <a:gd name="T16" fmla="*/ 25 w 49"/>
                <a:gd name="T17" fmla="*/ 15 h 63"/>
                <a:gd name="T18" fmla="*/ 23 w 49"/>
                <a:gd name="T19" fmla="*/ 8 h 63"/>
                <a:gd name="T20" fmla="*/ 18 w 49"/>
                <a:gd name="T21" fmla="*/ 6 h 63"/>
                <a:gd name="T22" fmla="*/ 18 w 49"/>
                <a:gd name="T23" fmla="*/ 5 h 63"/>
                <a:gd name="T24" fmla="*/ 18 w 49"/>
                <a:gd name="T25" fmla="*/ 6 h 63"/>
                <a:gd name="T26" fmla="*/ 18 w 49"/>
                <a:gd name="T27" fmla="*/ 5 h 63"/>
                <a:gd name="T28" fmla="*/ 17 w 49"/>
                <a:gd name="T29" fmla="*/ 4 h 63"/>
                <a:gd name="T30" fmla="*/ 12 w 49"/>
                <a:gd name="T31" fmla="*/ 0 h 63"/>
                <a:gd name="T32" fmla="*/ 8 w 49"/>
                <a:gd name="T33" fmla="*/ 2 h 63"/>
                <a:gd name="T34" fmla="*/ 5 w 49"/>
                <a:gd name="T35" fmla="*/ 12 h 63"/>
                <a:gd name="T36" fmla="*/ 5 w 49"/>
                <a:gd name="T37" fmla="*/ 15 h 63"/>
                <a:gd name="T38" fmla="*/ 3 w 49"/>
                <a:gd name="T39" fmla="*/ 30 h 63"/>
                <a:gd name="T40" fmla="*/ 2 w 49"/>
                <a:gd name="T41" fmla="*/ 44 h 63"/>
                <a:gd name="T42" fmla="*/ 7 w 49"/>
                <a:gd name="T43" fmla="*/ 60 h 63"/>
                <a:gd name="T44" fmla="*/ 14 w 49"/>
                <a:gd name="T45" fmla="*/ 63 h 63"/>
                <a:gd name="T46" fmla="*/ 20 w 49"/>
                <a:gd name="T47" fmla="*/ 61 h 63"/>
                <a:gd name="T48" fmla="*/ 23 w 49"/>
                <a:gd name="T49" fmla="*/ 55 h 63"/>
                <a:gd name="T50" fmla="*/ 24 w 49"/>
                <a:gd name="T51" fmla="*/ 54 h 63"/>
                <a:gd name="T52" fmla="*/ 27 w 49"/>
                <a:gd name="T53" fmla="*/ 61 h 63"/>
                <a:gd name="T54" fmla="*/ 30 w 49"/>
                <a:gd name="T55" fmla="*/ 62 h 63"/>
                <a:gd name="T56" fmla="*/ 30 w 49"/>
                <a:gd name="T57" fmla="*/ 62 h 63"/>
                <a:gd name="T58" fmla="*/ 41 w 49"/>
                <a:gd name="T59" fmla="*/ 53 h 63"/>
                <a:gd name="T60" fmla="*/ 41 w 49"/>
                <a:gd name="T61" fmla="*/ 53 h 63"/>
                <a:gd name="T62" fmla="*/ 47 w 49"/>
                <a:gd name="T63" fmla="*/ 39 h 63"/>
                <a:gd name="T64" fmla="*/ 48 w 49"/>
                <a:gd name="T65" fmla="*/ 37 h 63"/>
                <a:gd name="T66" fmla="*/ 47 w 49"/>
                <a:gd name="T67" fmla="*/ 2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63">
                  <a:moveTo>
                    <a:pt x="47" y="27"/>
                  </a:moveTo>
                  <a:cubicBezTo>
                    <a:pt x="46" y="25"/>
                    <a:pt x="44" y="24"/>
                    <a:pt x="42" y="24"/>
                  </a:cubicBezTo>
                  <a:cubicBezTo>
                    <a:pt x="42" y="24"/>
                    <a:pt x="41" y="24"/>
                    <a:pt x="41" y="24"/>
                  </a:cubicBezTo>
                  <a:cubicBezTo>
                    <a:pt x="41" y="24"/>
                    <a:pt x="40" y="23"/>
                    <a:pt x="40" y="23"/>
                  </a:cubicBezTo>
                  <a:cubicBezTo>
                    <a:pt x="39" y="23"/>
                    <a:pt x="38" y="22"/>
                    <a:pt x="37" y="22"/>
                  </a:cubicBezTo>
                  <a:cubicBezTo>
                    <a:pt x="36" y="22"/>
                    <a:pt x="35" y="21"/>
                    <a:pt x="34" y="21"/>
                  </a:cubicBezTo>
                  <a:cubicBezTo>
                    <a:pt x="31" y="21"/>
                    <a:pt x="28" y="22"/>
                    <a:pt x="26" y="23"/>
                  </a:cubicBezTo>
                  <a:cubicBezTo>
                    <a:pt x="26" y="22"/>
                    <a:pt x="26" y="20"/>
                    <a:pt x="26" y="19"/>
                  </a:cubicBezTo>
                  <a:cubicBezTo>
                    <a:pt x="25" y="17"/>
                    <a:pt x="25" y="16"/>
                    <a:pt x="25" y="15"/>
                  </a:cubicBezTo>
                  <a:cubicBezTo>
                    <a:pt x="25" y="13"/>
                    <a:pt x="24" y="10"/>
                    <a:pt x="23" y="8"/>
                  </a:cubicBezTo>
                  <a:cubicBezTo>
                    <a:pt x="21" y="6"/>
                    <a:pt x="19" y="6"/>
                    <a:pt x="18" y="6"/>
                  </a:cubicBezTo>
                  <a:cubicBezTo>
                    <a:pt x="18" y="6"/>
                    <a:pt x="18" y="5"/>
                    <a:pt x="18" y="5"/>
                  </a:cubicBezTo>
                  <a:cubicBezTo>
                    <a:pt x="18" y="5"/>
                    <a:pt x="18" y="6"/>
                    <a:pt x="18" y="6"/>
                  </a:cubicBezTo>
                  <a:cubicBezTo>
                    <a:pt x="18" y="5"/>
                    <a:pt x="18" y="5"/>
                    <a:pt x="18" y="5"/>
                  </a:cubicBezTo>
                  <a:cubicBezTo>
                    <a:pt x="18" y="5"/>
                    <a:pt x="17" y="4"/>
                    <a:pt x="17" y="4"/>
                  </a:cubicBezTo>
                  <a:cubicBezTo>
                    <a:pt x="16" y="2"/>
                    <a:pt x="15" y="0"/>
                    <a:pt x="12" y="0"/>
                  </a:cubicBezTo>
                  <a:cubicBezTo>
                    <a:pt x="10" y="0"/>
                    <a:pt x="9" y="1"/>
                    <a:pt x="8" y="2"/>
                  </a:cubicBezTo>
                  <a:cubicBezTo>
                    <a:pt x="4" y="4"/>
                    <a:pt x="5" y="9"/>
                    <a:pt x="5" y="12"/>
                  </a:cubicBezTo>
                  <a:cubicBezTo>
                    <a:pt x="5" y="13"/>
                    <a:pt x="5" y="14"/>
                    <a:pt x="5" y="15"/>
                  </a:cubicBezTo>
                  <a:cubicBezTo>
                    <a:pt x="3" y="20"/>
                    <a:pt x="3" y="25"/>
                    <a:pt x="3" y="30"/>
                  </a:cubicBezTo>
                  <a:cubicBezTo>
                    <a:pt x="4" y="35"/>
                    <a:pt x="3" y="39"/>
                    <a:pt x="2" y="44"/>
                  </a:cubicBezTo>
                  <a:cubicBezTo>
                    <a:pt x="0" y="51"/>
                    <a:pt x="2" y="57"/>
                    <a:pt x="7" y="60"/>
                  </a:cubicBezTo>
                  <a:cubicBezTo>
                    <a:pt x="9" y="62"/>
                    <a:pt x="12" y="63"/>
                    <a:pt x="14" y="63"/>
                  </a:cubicBezTo>
                  <a:cubicBezTo>
                    <a:pt x="16" y="63"/>
                    <a:pt x="18" y="62"/>
                    <a:pt x="20" y="61"/>
                  </a:cubicBezTo>
                  <a:cubicBezTo>
                    <a:pt x="22" y="59"/>
                    <a:pt x="23" y="57"/>
                    <a:pt x="23" y="55"/>
                  </a:cubicBezTo>
                  <a:cubicBezTo>
                    <a:pt x="23" y="55"/>
                    <a:pt x="23" y="55"/>
                    <a:pt x="24" y="54"/>
                  </a:cubicBezTo>
                  <a:cubicBezTo>
                    <a:pt x="23" y="57"/>
                    <a:pt x="24" y="59"/>
                    <a:pt x="27" y="61"/>
                  </a:cubicBezTo>
                  <a:cubicBezTo>
                    <a:pt x="28" y="61"/>
                    <a:pt x="29" y="62"/>
                    <a:pt x="30" y="62"/>
                  </a:cubicBezTo>
                  <a:cubicBezTo>
                    <a:pt x="30" y="62"/>
                    <a:pt x="30" y="62"/>
                    <a:pt x="30" y="62"/>
                  </a:cubicBezTo>
                  <a:cubicBezTo>
                    <a:pt x="34" y="62"/>
                    <a:pt x="38" y="57"/>
                    <a:pt x="41" y="53"/>
                  </a:cubicBezTo>
                  <a:cubicBezTo>
                    <a:pt x="41" y="53"/>
                    <a:pt x="41" y="53"/>
                    <a:pt x="41" y="53"/>
                  </a:cubicBezTo>
                  <a:cubicBezTo>
                    <a:pt x="44" y="49"/>
                    <a:pt x="47" y="45"/>
                    <a:pt x="47" y="39"/>
                  </a:cubicBezTo>
                  <a:cubicBezTo>
                    <a:pt x="47" y="39"/>
                    <a:pt x="47" y="38"/>
                    <a:pt x="48" y="37"/>
                  </a:cubicBezTo>
                  <a:cubicBezTo>
                    <a:pt x="48" y="34"/>
                    <a:pt x="49" y="30"/>
                    <a:pt x="47" y="27"/>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2" name="Freeform 181">
              <a:extLst>
                <a:ext uri="{FF2B5EF4-FFF2-40B4-BE49-F238E27FC236}">
                  <a16:creationId xmlns:a16="http://schemas.microsoft.com/office/drawing/2014/main" id="{E625BB13-47E7-C141-BE99-1E4383BFA22A}"/>
                </a:ext>
              </a:extLst>
            </p:cNvPr>
            <p:cNvSpPr>
              <a:spLocks/>
            </p:cNvSpPr>
            <p:nvPr/>
          </p:nvSpPr>
          <p:spPr bwMode="auto">
            <a:xfrm>
              <a:off x="21497425" y="8003238"/>
              <a:ext cx="451385" cy="130660"/>
            </a:xfrm>
            <a:custGeom>
              <a:avLst/>
              <a:gdLst>
                <a:gd name="T0" fmla="*/ 82 w 83"/>
                <a:gd name="T1" fmla="*/ 10 h 26"/>
                <a:gd name="T2" fmla="*/ 71 w 83"/>
                <a:gd name="T3" fmla="*/ 3 h 26"/>
                <a:gd name="T4" fmla="*/ 66 w 83"/>
                <a:gd name="T5" fmla="*/ 3 h 26"/>
                <a:gd name="T6" fmla="*/ 61 w 83"/>
                <a:gd name="T7" fmla="*/ 4 h 26"/>
                <a:gd name="T8" fmla="*/ 59 w 83"/>
                <a:gd name="T9" fmla="*/ 3 h 26"/>
                <a:gd name="T10" fmla="*/ 52 w 83"/>
                <a:gd name="T11" fmla="*/ 2 h 26"/>
                <a:gd name="T12" fmla="*/ 39 w 83"/>
                <a:gd name="T13" fmla="*/ 0 h 26"/>
                <a:gd name="T14" fmla="*/ 33 w 83"/>
                <a:gd name="T15" fmla="*/ 1 h 26"/>
                <a:gd name="T16" fmla="*/ 30 w 83"/>
                <a:gd name="T17" fmla="*/ 1 h 26"/>
                <a:gd name="T18" fmla="*/ 15 w 83"/>
                <a:gd name="T19" fmla="*/ 4 h 26"/>
                <a:gd name="T20" fmla="*/ 1 w 83"/>
                <a:gd name="T21" fmla="*/ 11 h 26"/>
                <a:gd name="T22" fmla="*/ 2 w 83"/>
                <a:gd name="T23" fmla="*/ 16 h 26"/>
                <a:gd name="T24" fmla="*/ 11 w 83"/>
                <a:gd name="T25" fmla="*/ 19 h 26"/>
                <a:gd name="T26" fmla="*/ 13 w 83"/>
                <a:gd name="T27" fmla="*/ 19 h 26"/>
                <a:gd name="T28" fmla="*/ 16 w 83"/>
                <a:gd name="T29" fmla="*/ 19 h 26"/>
                <a:gd name="T30" fmla="*/ 23 w 83"/>
                <a:gd name="T31" fmla="*/ 20 h 26"/>
                <a:gd name="T32" fmla="*/ 24 w 83"/>
                <a:gd name="T33" fmla="*/ 22 h 26"/>
                <a:gd name="T34" fmla="*/ 28 w 83"/>
                <a:gd name="T35" fmla="*/ 24 h 26"/>
                <a:gd name="T36" fmla="*/ 35 w 83"/>
                <a:gd name="T37" fmla="*/ 25 h 26"/>
                <a:gd name="T38" fmla="*/ 37 w 83"/>
                <a:gd name="T39" fmla="*/ 25 h 26"/>
                <a:gd name="T40" fmla="*/ 40 w 83"/>
                <a:gd name="T41" fmla="*/ 25 h 26"/>
                <a:gd name="T42" fmla="*/ 42 w 83"/>
                <a:gd name="T43" fmla="*/ 26 h 26"/>
                <a:gd name="T44" fmla="*/ 46 w 83"/>
                <a:gd name="T45" fmla="*/ 26 h 26"/>
                <a:gd name="T46" fmla="*/ 48 w 83"/>
                <a:gd name="T47" fmla="*/ 26 h 26"/>
                <a:gd name="T48" fmla="*/ 55 w 83"/>
                <a:gd name="T49" fmla="*/ 25 h 26"/>
                <a:gd name="T50" fmla="*/ 64 w 83"/>
                <a:gd name="T51" fmla="*/ 24 h 26"/>
                <a:gd name="T52" fmla="*/ 76 w 83"/>
                <a:gd name="T53" fmla="*/ 20 h 26"/>
                <a:gd name="T54" fmla="*/ 77 w 83"/>
                <a:gd name="T55" fmla="*/ 19 h 26"/>
                <a:gd name="T56" fmla="*/ 82 w 83"/>
                <a:gd name="T5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3" h="26">
                  <a:moveTo>
                    <a:pt x="82" y="10"/>
                  </a:moveTo>
                  <a:cubicBezTo>
                    <a:pt x="81" y="5"/>
                    <a:pt x="74" y="3"/>
                    <a:pt x="71" y="3"/>
                  </a:cubicBezTo>
                  <a:cubicBezTo>
                    <a:pt x="69" y="3"/>
                    <a:pt x="67" y="3"/>
                    <a:pt x="66" y="3"/>
                  </a:cubicBezTo>
                  <a:cubicBezTo>
                    <a:pt x="64" y="4"/>
                    <a:pt x="63" y="4"/>
                    <a:pt x="61" y="4"/>
                  </a:cubicBezTo>
                  <a:cubicBezTo>
                    <a:pt x="60" y="4"/>
                    <a:pt x="59" y="4"/>
                    <a:pt x="59" y="3"/>
                  </a:cubicBezTo>
                  <a:cubicBezTo>
                    <a:pt x="56" y="3"/>
                    <a:pt x="54" y="3"/>
                    <a:pt x="52" y="2"/>
                  </a:cubicBezTo>
                  <a:cubicBezTo>
                    <a:pt x="48" y="1"/>
                    <a:pt x="43" y="0"/>
                    <a:pt x="39" y="0"/>
                  </a:cubicBezTo>
                  <a:cubicBezTo>
                    <a:pt x="37" y="0"/>
                    <a:pt x="35" y="0"/>
                    <a:pt x="33" y="1"/>
                  </a:cubicBezTo>
                  <a:cubicBezTo>
                    <a:pt x="30" y="1"/>
                    <a:pt x="30" y="1"/>
                    <a:pt x="30" y="1"/>
                  </a:cubicBezTo>
                  <a:cubicBezTo>
                    <a:pt x="25" y="3"/>
                    <a:pt x="20" y="4"/>
                    <a:pt x="15" y="4"/>
                  </a:cubicBezTo>
                  <a:cubicBezTo>
                    <a:pt x="11" y="5"/>
                    <a:pt x="3" y="5"/>
                    <a:pt x="1" y="11"/>
                  </a:cubicBezTo>
                  <a:cubicBezTo>
                    <a:pt x="0" y="13"/>
                    <a:pt x="1" y="15"/>
                    <a:pt x="2" y="16"/>
                  </a:cubicBezTo>
                  <a:cubicBezTo>
                    <a:pt x="4" y="19"/>
                    <a:pt x="8" y="19"/>
                    <a:pt x="11" y="19"/>
                  </a:cubicBezTo>
                  <a:cubicBezTo>
                    <a:pt x="12" y="19"/>
                    <a:pt x="12" y="19"/>
                    <a:pt x="13" y="19"/>
                  </a:cubicBezTo>
                  <a:cubicBezTo>
                    <a:pt x="13" y="19"/>
                    <a:pt x="15" y="19"/>
                    <a:pt x="16" y="19"/>
                  </a:cubicBezTo>
                  <a:cubicBezTo>
                    <a:pt x="18" y="19"/>
                    <a:pt x="21" y="19"/>
                    <a:pt x="23" y="20"/>
                  </a:cubicBezTo>
                  <a:cubicBezTo>
                    <a:pt x="23" y="20"/>
                    <a:pt x="23" y="21"/>
                    <a:pt x="24" y="22"/>
                  </a:cubicBezTo>
                  <a:cubicBezTo>
                    <a:pt x="25" y="23"/>
                    <a:pt x="27" y="24"/>
                    <a:pt x="28" y="24"/>
                  </a:cubicBezTo>
                  <a:cubicBezTo>
                    <a:pt x="30" y="25"/>
                    <a:pt x="33" y="25"/>
                    <a:pt x="35" y="25"/>
                  </a:cubicBezTo>
                  <a:cubicBezTo>
                    <a:pt x="37" y="25"/>
                    <a:pt x="37" y="25"/>
                    <a:pt x="37" y="25"/>
                  </a:cubicBezTo>
                  <a:cubicBezTo>
                    <a:pt x="38" y="25"/>
                    <a:pt x="39" y="25"/>
                    <a:pt x="40" y="25"/>
                  </a:cubicBezTo>
                  <a:cubicBezTo>
                    <a:pt x="40" y="25"/>
                    <a:pt x="41" y="26"/>
                    <a:pt x="42" y="26"/>
                  </a:cubicBezTo>
                  <a:cubicBezTo>
                    <a:pt x="43" y="26"/>
                    <a:pt x="45" y="26"/>
                    <a:pt x="46" y="26"/>
                  </a:cubicBezTo>
                  <a:cubicBezTo>
                    <a:pt x="47" y="26"/>
                    <a:pt x="47" y="26"/>
                    <a:pt x="48" y="26"/>
                  </a:cubicBezTo>
                  <a:cubicBezTo>
                    <a:pt x="50" y="26"/>
                    <a:pt x="53" y="26"/>
                    <a:pt x="55" y="25"/>
                  </a:cubicBezTo>
                  <a:cubicBezTo>
                    <a:pt x="58" y="25"/>
                    <a:pt x="61" y="24"/>
                    <a:pt x="64" y="24"/>
                  </a:cubicBezTo>
                  <a:cubicBezTo>
                    <a:pt x="68" y="24"/>
                    <a:pt x="72" y="23"/>
                    <a:pt x="76" y="20"/>
                  </a:cubicBezTo>
                  <a:cubicBezTo>
                    <a:pt x="76" y="19"/>
                    <a:pt x="77" y="19"/>
                    <a:pt x="77" y="19"/>
                  </a:cubicBezTo>
                  <a:cubicBezTo>
                    <a:pt x="79" y="17"/>
                    <a:pt x="83" y="14"/>
                    <a:pt x="82" y="1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3" name="Freeform 182">
              <a:extLst>
                <a:ext uri="{FF2B5EF4-FFF2-40B4-BE49-F238E27FC236}">
                  <a16:creationId xmlns:a16="http://schemas.microsoft.com/office/drawing/2014/main" id="{DC0D0A90-3C7B-C64A-AC6A-95AB8F95E9DB}"/>
                </a:ext>
              </a:extLst>
            </p:cNvPr>
            <p:cNvSpPr>
              <a:spLocks noEditPoints="1"/>
            </p:cNvSpPr>
            <p:nvPr/>
          </p:nvSpPr>
          <p:spPr bwMode="auto">
            <a:xfrm>
              <a:off x="14482495" y="3868786"/>
              <a:ext cx="2496979" cy="2756924"/>
            </a:xfrm>
            <a:custGeom>
              <a:avLst/>
              <a:gdLst>
                <a:gd name="T0" fmla="*/ 230 w 458"/>
                <a:gd name="T1" fmla="*/ 169 h 556"/>
                <a:gd name="T2" fmla="*/ 248 w 458"/>
                <a:gd name="T3" fmla="*/ 90 h 556"/>
                <a:gd name="T4" fmla="*/ 223 w 458"/>
                <a:gd name="T5" fmla="*/ 97 h 556"/>
                <a:gd name="T6" fmla="*/ 230 w 458"/>
                <a:gd name="T7" fmla="*/ 67 h 556"/>
                <a:gd name="T8" fmla="*/ 212 w 458"/>
                <a:gd name="T9" fmla="*/ 74 h 556"/>
                <a:gd name="T10" fmla="*/ 200 w 458"/>
                <a:gd name="T11" fmla="*/ 71 h 556"/>
                <a:gd name="T12" fmla="*/ 202 w 458"/>
                <a:gd name="T13" fmla="*/ 59 h 556"/>
                <a:gd name="T14" fmla="*/ 203 w 458"/>
                <a:gd name="T15" fmla="*/ 29 h 556"/>
                <a:gd name="T16" fmla="*/ 183 w 458"/>
                <a:gd name="T17" fmla="*/ 42 h 556"/>
                <a:gd name="T18" fmla="*/ 173 w 458"/>
                <a:gd name="T19" fmla="*/ 44 h 556"/>
                <a:gd name="T20" fmla="*/ 176 w 458"/>
                <a:gd name="T21" fmla="*/ 30 h 556"/>
                <a:gd name="T22" fmla="*/ 167 w 458"/>
                <a:gd name="T23" fmla="*/ 23 h 556"/>
                <a:gd name="T24" fmla="*/ 147 w 458"/>
                <a:gd name="T25" fmla="*/ 21 h 556"/>
                <a:gd name="T26" fmla="*/ 124 w 458"/>
                <a:gd name="T27" fmla="*/ 20 h 556"/>
                <a:gd name="T28" fmla="*/ 107 w 458"/>
                <a:gd name="T29" fmla="*/ 5 h 556"/>
                <a:gd name="T30" fmla="*/ 93 w 458"/>
                <a:gd name="T31" fmla="*/ 5 h 556"/>
                <a:gd name="T32" fmla="*/ 80 w 458"/>
                <a:gd name="T33" fmla="*/ 7 h 556"/>
                <a:gd name="T34" fmla="*/ 69 w 458"/>
                <a:gd name="T35" fmla="*/ 13 h 556"/>
                <a:gd name="T36" fmla="*/ 42 w 458"/>
                <a:gd name="T37" fmla="*/ 49 h 556"/>
                <a:gd name="T38" fmla="*/ 51 w 458"/>
                <a:gd name="T39" fmla="*/ 86 h 556"/>
                <a:gd name="T40" fmla="*/ 25 w 458"/>
                <a:gd name="T41" fmla="*/ 155 h 556"/>
                <a:gd name="T42" fmla="*/ 22 w 458"/>
                <a:gd name="T43" fmla="*/ 203 h 556"/>
                <a:gd name="T44" fmla="*/ 14 w 458"/>
                <a:gd name="T45" fmla="*/ 243 h 556"/>
                <a:gd name="T46" fmla="*/ 3 w 458"/>
                <a:gd name="T47" fmla="*/ 288 h 556"/>
                <a:gd name="T48" fmla="*/ 13 w 458"/>
                <a:gd name="T49" fmla="*/ 341 h 556"/>
                <a:gd name="T50" fmla="*/ 30 w 458"/>
                <a:gd name="T51" fmla="*/ 367 h 556"/>
                <a:gd name="T52" fmla="*/ 40 w 458"/>
                <a:gd name="T53" fmla="*/ 382 h 556"/>
                <a:gd name="T54" fmla="*/ 39 w 458"/>
                <a:gd name="T55" fmla="*/ 407 h 556"/>
                <a:gd name="T56" fmla="*/ 457 w 458"/>
                <a:gd name="T57" fmla="*/ 403 h 556"/>
                <a:gd name="T58" fmla="*/ 111 w 458"/>
                <a:gd name="T59" fmla="*/ 37 h 556"/>
                <a:gd name="T60" fmla="*/ 232 w 458"/>
                <a:gd name="T61" fmla="*/ 212 h 556"/>
                <a:gd name="T62" fmla="*/ 208 w 458"/>
                <a:gd name="T63" fmla="*/ 222 h 556"/>
                <a:gd name="T64" fmla="*/ 226 w 458"/>
                <a:gd name="T65" fmla="*/ 238 h 556"/>
                <a:gd name="T66" fmla="*/ 243 w 458"/>
                <a:gd name="T67" fmla="*/ 243 h 556"/>
                <a:gd name="T68" fmla="*/ 226 w 458"/>
                <a:gd name="T69" fmla="*/ 258 h 556"/>
                <a:gd name="T70" fmla="*/ 200 w 458"/>
                <a:gd name="T71" fmla="*/ 259 h 556"/>
                <a:gd name="T72" fmla="*/ 185 w 458"/>
                <a:gd name="T73" fmla="*/ 265 h 556"/>
                <a:gd name="T74" fmla="*/ 179 w 458"/>
                <a:gd name="T75" fmla="*/ 245 h 556"/>
                <a:gd name="T76" fmla="*/ 152 w 458"/>
                <a:gd name="T77" fmla="*/ 246 h 556"/>
                <a:gd name="T78" fmla="*/ 169 w 458"/>
                <a:gd name="T79" fmla="*/ 236 h 556"/>
                <a:gd name="T80" fmla="*/ 194 w 458"/>
                <a:gd name="T81" fmla="*/ 233 h 556"/>
                <a:gd name="T82" fmla="*/ 171 w 458"/>
                <a:gd name="T83" fmla="*/ 207 h 556"/>
                <a:gd name="T84" fmla="*/ 157 w 458"/>
                <a:gd name="T85" fmla="*/ 199 h 556"/>
                <a:gd name="T86" fmla="*/ 169 w 458"/>
                <a:gd name="T87" fmla="*/ 199 h 556"/>
                <a:gd name="T88" fmla="*/ 202 w 458"/>
                <a:gd name="T89" fmla="*/ 208 h 556"/>
                <a:gd name="T90" fmla="*/ 144 w 458"/>
                <a:gd name="T91" fmla="*/ 195 h 556"/>
                <a:gd name="T92" fmla="*/ 151 w 458"/>
                <a:gd name="T93" fmla="*/ 197 h 556"/>
                <a:gd name="T94" fmla="*/ 146 w 458"/>
                <a:gd name="T95" fmla="*/ 42 h 556"/>
                <a:gd name="T96" fmla="*/ 144 w 458"/>
                <a:gd name="T97" fmla="*/ 36 h 556"/>
                <a:gd name="T98" fmla="*/ 310 w 458"/>
                <a:gd name="T99" fmla="*/ 417 h 556"/>
                <a:gd name="T100" fmla="*/ 291 w 458"/>
                <a:gd name="T101" fmla="*/ 423 h 556"/>
                <a:gd name="T102" fmla="*/ 240 w 458"/>
                <a:gd name="T103" fmla="*/ 442 h 556"/>
                <a:gd name="T104" fmla="*/ 223 w 458"/>
                <a:gd name="T105" fmla="*/ 452 h 556"/>
                <a:gd name="T106" fmla="*/ 196 w 458"/>
                <a:gd name="T107" fmla="*/ 448 h 556"/>
                <a:gd name="T108" fmla="*/ 192 w 458"/>
                <a:gd name="T109" fmla="*/ 435 h 556"/>
                <a:gd name="T110" fmla="*/ 221 w 458"/>
                <a:gd name="T111" fmla="*/ 425 h 556"/>
                <a:gd name="T112" fmla="*/ 218 w 458"/>
                <a:gd name="T113" fmla="*/ 383 h 556"/>
                <a:gd name="T114" fmla="*/ 260 w 458"/>
                <a:gd name="T115" fmla="*/ 431 h 556"/>
                <a:gd name="T116" fmla="*/ 283 w 458"/>
                <a:gd name="T117" fmla="*/ 421 h 556"/>
                <a:gd name="T118" fmla="*/ 313 w 458"/>
                <a:gd name="T119" fmla="*/ 412 h 556"/>
                <a:gd name="T120" fmla="*/ 311 w 458"/>
                <a:gd name="T121" fmla="*/ 415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58" h="556">
                  <a:moveTo>
                    <a:pt x="345" y="346"/>
                  </a:moveTo>
                  <a:cubicBezTo>
                    <a:pt x="332" y="315"/>
                    <a:pt x="332" y="315"/>
                    <a:pt x="332" y="315"/>
                  </a:cubicBezTo>
                  <a:cubicBezTo>
                    <a:pt x="331" y="315"/>
                    <a:pt x="331" y="315"/>
                    <a:pt x="331" y="315"/>
                  </a:cubicBezTo>
                  <a:cubicBezTo>
                    <a:pt x="324" y="314"/>
                    <a:pt x="303" y="310"/>
                    <a:pt x="293" y="284"/>
                  </a:cubicBezTo>
                  <a:cubicBezTo>
                    <a:pt x="293" y="284"/>
                    <a:pt x="293" y="284"/>
                    <a:pt x="293" y="284"/>
                  </a:cubicBezTo>
                  <a:cubicBezTo>
                    <a:pt x="230" y="169"/>
                    <a:pt x="230" y="169"/>
                    <a:pt x="230" y="169"/>
                  </a:cubicBezTo>
                  <a:cubicBezTo>
                    <a:pt x="261" y="108"/>
                    <a:pt x="261" y="108"/>
                    <a:pt x="261" y="108"/>
                  </a:cubicBezTo>
                  <a:cubicBezTo>
                    <a:pt x="262" y="106"/>
                    <a:pt x="262" y="106"/>
                    <a:pt x="262" y="106"/>
                  </a:cubicBezTo>
                  <a:cubicBezTo>
                    <a:pt x="262" y="105"/>
                    <a:pt x="262" y="105"/>
                    <a:pt x="262" y="105"/>
                  </a:cubicBezTo>
                  <a:cubicBezTo>
                    <a:pt x="262" y="104"/>
                    <a:pt x="261" y="103"/>
                    <a:pt x="261" y="101"/>
                  </a:cubicBezTo>
                  <a:cubicBezTo>
                    <a:pt x="259" y="97"/>
                    <a:pt x="256" y="95"/>
                    <a:pt x="253" y="93"/>
                  </a:cubicBezTo>
                  <a:cubicBezTo>
                    <a:pt x="251" y="92"/>
                    <a:pt x="250" y="91"/>
                    <a:pt x="248" y="90"/>
                  </a:cubicBezTo>
                  <a:cubicBezTo>
                    <a:pt x="247" y="88"/>
                    <a:pt x="244" y="86"/>
                    <a:pt x="241" y="86"/>
                  </a:cubicBezTo>
                  <a:cubicBezTo>
                    <a:pt x="238" y="86"/>
                    <a:pt x="236" y="89"/>
                    <a:pt x="234" y="90"/>
                  </a:cubicBezTo>
                  <a:cubicBezTo>
                    <a:pt x="234" y="90"/>
                    <a:pt x="234" y="91"/>
                    <a:pt x="233" y="91"/>
                  </a:cubicBezTo>
                  <a:cubicBezTo>
                    <a:pt x="233" y="92"/>
                    <a:pt x="232" y="92"/>
                    <a:pt x="231" y="93"/>
                  </a:cubicBezTo>
                  <a:cubicBezTo>
                    <a:pt x="229" y="94"/>
                    <a:pt x="229" y="94"/>
                    <a:pt x="229" y="94"/>
                  </a:cubicBezTo>
                  <a:cubicBezTo>
                    <a:pt x="228" y="95"/>
                    <a:pt x="225" y="97"/>
                    <a:pt x="223" y="97"/>
                  </a:cubicBezTo>
                  <a:cubicBezTo>
                    <a:pt x="223" y="95"/>
                    <a:pt x="224" y="90"/>
                    <a:pt x="224" y="88"/>
                  </a:cubicBezTo>
                  <a:cubicBezTo>
                    <a:pt x="225" y="86"/>
                    <a:pt x="225" y="85"/>
                    <a:pt x="225" y="84"/>
                  </a:cubicBezTo>
                  <a:cubicBezTo>
                    <a:pt x="225" y="82"/>
                    <a:pt x="226" y="80"/>
                    <a:pt x="227" y="78"/>
                  </a:cubicBezTo>
                  <a:cubicBezTo>
                    <a:pt x="227" y="77"/>
                    <a:pt x="227" y="77"/>
                    <a:pt x="227" y="76"/>
                  </a:cubicBezTo>
                  <a:cubicBezTo>
                    <a:pt x="227" y="76"/>
                    <a:pt x="228" y="75"/>
                    <a:pt x="228" y="75"/>
                  </a:cubicBezTo>
                  <a:cubicBezTo>
                    <a:pt x="230" y="73"/>
                    <a:pt x="232" y="70"/>
                    <a:pt x="230" y="67"/>
                  </a:cubicBezTo>
                  <a:cubicBezTo>
                    <a:pt x="229" y="65"/>
                    <a:pt x="228" y="64"/>
                    <a:pt x="226" y="64"/>
                  </a:cubicBezTo>
                  <a:cubicBezTo>
                    <a:pt x="224" y="64"/>
                    <a:pt x="222" y="65"/>
                    <a:pt x="221" y="66"/>
                  </a:cubicBezTo>
                  <a:cubicBezTo>
                    <a:pt x="221" y="67"/>
                    <a:pt x="221" y="67"/>
                    <a:pt x="221" y="67"/>
                  </a:cubicBezTo>
                  <a:cubicBezTo>
                    <a:pt x="220" y="67"/>
                    <a:pt x="219" y="68"/>
                    <a:pt x="219" y="68"/>
                  </a:cubicBezTo>
                  <a:cubicBezTo>
                    <a:pt x="218" y="69"/>
                    <a:pt x="217" y="69"/>
                    <a:pt x="215" y="70"/>
                  </a:cubicBezTo>
                  <a:cubicBezTo>
                    <a:pt x="214" y="71"/>
                    <a:pt x="213" y="72"/>
                    <a:pt x="212" y="74"/>
                  </a:cubicBezTo>
                  <a:cubicBezTo>
                    <a:pt x="211" y="75"/>
                    <a:pt x="211" y="75"/>
                    <a:pt x="211" y="75"/>
                  </a:cubicBezTo>
                  <a:cubicBezTo>
                    <a:pt x="208" y="77"/>
                    <a:pt x="205" y="80"/>
                    <a:pt x="201" y="80"/>
                  </a:cubicBezTo>
                  <a:cubicBezTo>
                    <a:pt x="201" y="80"/>
                    <a:pt x="201" y="80"/>
                    <a:pt x="201" y="80"/>
                  </a:cubicBezTo>
                  <a:cubicBezTo>
                    <a:pt x="201" y="80"/>
                    <a:pt x="200" y="78"/>
                    <a:pt x="200" y="78"/>
                  </a:cubicBezTo>
                  <a:cubicBezTo>
                    <a:pt x="200" y="77"/>
                    <a:pt x="200" y="76"/>
                    <a:pt x="200" y="75"/>
                  </a:cubicBezTo>
                  <a:cubicBezTo>
                    <a:pt x="200" y="74"/>
                    <a:pt x="200" y="73"/>
                    <a:pt x="200" y="71"/>
                  </a:cubicBezTo>
                  <a:cubicBezTo>
                    <a:pt x="200" y="70"/>
                    <a:pt x="200" y="69"/>
                    <a:pt x="200" y="67"/>
                  </a:cubicBezTo>
                  <a:cubicBezTo>
                    <a:pt x="200" y="66"/>
                    <a:pt x="200" y="65"/>
                    <a:pt x="200" y="64"/>
                  </a:cubicBezTo>
                  <a:cubicBezTo>
                    <a:pt x="200" y="64"/>
                    <a:pt x="200" y="64"/>
                    <a:pt x="200" y="64"/>
                  </a:cubicBezTo>
                  <a:cubicBezTo>
                    <a:pt x="200" y="64"/>
                    <a:pt x="200" y="64"/>
                    <a:pt x="200" y="64"/>
                  </a:cubicBezTo>
                  <a:cubicBezTo>
                    <a:pt x="200" y="63"/>
                    <a:pt x="201" y="63"/>
                    <a:pt x="201" y="62"/>
                  </a:cubicBezTo>
                  <a:cubicBezTo>
                    <a:pt x="201" y="61"/>
                    <a:pt x="202" y="60"/>
                    <a:pt x="202" y="59"/>
                  </a:cubicBezTo>
                  <a:cubicBezTo>
                    <a:pt x="202" y="58"/>
                    <a:pt x="202" y="58"/>
                    <a:pt x="203" y="57"/>
                  </a:cubicBezTo>
                  <a:cubicBezTo>
                    <a:pt x="203" y="56"/>
                    <a:pt x="203" y="54"/>
                    <a:pt x="203" y="53"/>
                  </a:cubicBezTo>
                  <a:cubicBezTo>
                    <a:pt x="203" y="53"/>
                    <a:pt x="204" y="52"/>
                    <a:pt x="204" y="52"/>
                  </a:cubicBezTo>
                  <a:cubicBezTo>
                    <a:pt x="204" y="50"/>
                    <a:pt x="204" y="49"/>
                    <a:pt x="205" y="48"/>
                  </a:cubicBezTo>
                  <a:cubicBezTo>
                    <a:pt x="206" y="44"/>
                    <a:pt x="207" y="41"/>
                    <a:pt x="206" y="37"/>
                  </a:cubicBezTo>
                  <a:cubicBezTo>
                    <a:pt x="206" y="34"/>
                    <a:pt x="205" y="31"/>
                    <a:pt x="203" y="29"/>
                  </a:cubicBezTo>
                  <a:cubicBezTo>
                    <a:pt x="201" y="27"/>
                    <a:pt x="200" y="26"/>
                    <a:pt x="198" y="26"/>
                  </a:cubicBezTo>
                  <a:cubicBezTo>
                    <a:pt x="197" y="26"/>
                    <a:pt x="195" y="26"/>
                    <a:pt x="193" y="29"/>
                  </a:cubicBezTo>
                  <a:cubicBezTo>
                    <a:pt x="192" y="31"/>
                    <a:pt x="191" y="35"/>
                    <a:pt x="191" y="39"/>
                  </a:cubicBezTo>
                  <a:cubicBezTo>
                    <a:pt x="191" y="39"/>
                    <a:pt x="191" y="39"/>
                    <a:pt x="191" y="39"/>
                  </a:cubicBezTo>
                  <a:cubicBezTo>
                    <a:pt x="190" y="39"/>
                    <a:pt x="189" y="39"/>
                    <a:pt x="188" y="39"/>
                  </a:cubicBezTo>
                  <a:cubicBezTo>
                    <a:pt x="187" y="39"/>
                    <a:pt x="185" y="40"/>
                    <a:pt x="183" y="42"/>
                  </a:cubicBezTo>
                  <a:cubicBezTo>
                    <a:pt x="182" y="42"/>
                    <a:pt x="182" y="43"/>
                    <a:pt x="181" y="43"/>
                  </a:cubicBezTo>
                  <a:cubicBezTo>
                    <a:pt x="179" y="44"/>
                    <a:pt x="179" y="44"/>
                    <a:pt x="179" y="44"/>
                  </a:cubicBezTo>
                  <a:cubicBezTo>
                    <a:pt x="179" y="44"/>
                    <a:pt x="179" y="44"/>
                    <a:pt x="178" y="45"/>
                  </a:cubicBezTo>
                  <a:cubicBezTo>
                    <a:pt x="177" y="45"/>
                    <a:pt x="175" y="46"/>
                    <a:pt x="175" y="46"/>
                  </a:cubicBezTo>
                  <a:cubicBezTo>
                    <a:pt x="174" y="46"/>
                    <a:pt x="174" y="46"/>
                    <a:pt x="174" y="45"/>
                  </a:cubicBezTo>
                  <a:cubicBezTo>
                    <a:pt x="173" y="45"/>
                    <a:pt x="173" y="44"/>
                    <a:pt x="173" y="44"/>
                  </a:cubicBezTo>
                  <a:cubicBezTo>
                    <a:pt x="173" y="43"/>
                    <a:pt x="172" y="41"/>
                    <a:pt x="171" y="40"/>
                  </a:cubicBezTo>
                  <a:cubicBezTo>
                    <a:pt x="169" y="39"/>
                    <a:pt x="167" y="38"/>
                    <a:pt x="165" y="38"/>
                  </a:cubicBezTo>
                  <a:cubicBezTo>
                    <a:pt x="166" y="38"/>
                    <a:pt x="167" y="38"/>
                    <a:pt x="168" y="37"/>
                  </a:cubicBezTo>
                  <a:cubicBezTo>
                    <a:pt x="168" y="37"/>
                    <a:pt x="169" y="37"/>
                    <a:pt x="169" y="37"/>
                  </a:cubicBezTo>
                  <a:cubicBezTo>
                    <a:pt x="170" y="37"/>
                    <a:pt x="171" y="37"/>
                    <a:pt x="172" y="37"/>
                  </a:cubicBezTo>
                  <a:cubicBezTo>
                    <a:pt x="176" y="36"/>
                    <a:pt x="176" y="31"/>
                    <a:pt x="176" y="30"/>
                  </a:cubicBezTo>
                  <a:cubicBezTo>
                    <a:pt x="176" y="28"/>
                    <a:pt x="175" y="25"/>
                    <a:pt x="170" y="25"/>
                  </a:cubicBezTo>
                  <a:cubicBezTo>
                    <a:pt x="170" y="25"/>
                    <a:pt x="170" y="25"/>
                    <a:pt x="170" y="25"/>
                  </a:cubicBezTo>
                  <a:cubicBezTo>
                    <a:pt x="169" y="25"/>
                    <a:pt x="169" y="25"/>
                    <a:pt x="168" y="26"/>
                  </a:cubicBezTo>
                  <a:cubicBezTo>
                    <a:pt x="168" y="26"/>
                    <a:pt x="168" y="26"/>
                    <a:pt x="168" y="26"/>
                  </a:cubicBezTo>
                  <a:cubicBezTo>
                    <a:pt x="168" y="26"/>
                    <a:pt x="168" y="26"/>
                    <a:pt x="168" y="26"/>
                  </a:cubicBezTo>
                  <a:cubicBezTo>
                    <a:pt x="168" y="25"/>
                    <a:pt x="167" y="24"/>
                    <a:pt x="167" y="23"/>
                  </a:cubicBezTo>
                  <a:cubicBezTo>
                    <a:pt x="165" y="21"/>
                    <a:pt x="162" y="20"/>
                    <a:pt x="158" y="20"/>
                  </a:cubicBezTo>
                  <a:cubicBezTo>
                    <a:pt x="157" y="20"/>
                    <a:pt x="156" y="20"/>
                    <a:pt x="155" y="21"/>
                  </a:cubicBezTo>
                  <a:cubicBezTo>
                    <a:pt x="153" y="21"/>
                    <a:pt x="153" y="22"/>
                    <a:pt x="152" y="22"/>
                  </a:cubicBezTo>
                  <a:cubicBezTo>
                    <a:pt x="151" y="23"/>
                    <a:pt x="151" y="23"/>
                    <a:pt x="151" y="23"/>
                  </a:cubicBezTo>
                  <a:cubicBezTo>
                    <a:pt x="151" y="23"/>
                    <a:pt x="151" y="23"/>
                    <a:pt x="150" y="23"/>
                  </a:cubicBezTo>
                  <a:cubicBezTo>
                    <a:pt x="150" y="22"/>
                    <a:pt x="149" y="21"/>
                    <a:pt x="147" y="21"/>
                  </a:cubicBezTo>
                  <a:cubicBezTo>
                    <a:pt x="146" y="20"/>
                    <a:pt x="144" y="20"/>
                    <a:pt x="143" y="20"/>
                  </a:cubicBezTo>
                  <a:cubicBezTo>
                    <a:pt x="141" y="20"/>
                    <a:pt x="140" y="20"/>
                    <a:pt x="139" y="20"/>
                  </a:cubicBezTo>
                  <a:cubicBezTo>
                    <a:pt x="138" y="20"/>
                    <a:pt x="137" y="20"/>
                    <a:pt x="137" y="20"/>
                  </a:cubicBezTo>
                  <a:cubicBezTo>
                    <a:pt x="135" y="20"/>
                    <a:pt x="134" y="20"/>
                    <a:pt x="133" y="20"/>
                  </a:cubicBezTo>
                  <a:cubicBezTo>
                    <a:pt x="126" y="20"/>
                    <a:pt x="126" y="20"/>
                    <a:pt x="126" y="20"/>
                  </a:cubicBezTo>
                  <a:cubicBezTo>
                    <a:pt x="125" y="20"/>
                    <a:pt x="125" y="20"/>
                    <a:pt x="124" y="20"/>
                  </a:cubicBezTo>
                  <a:cubicBezTo>
                    <a:pt x="123" y="20"/>
                    <a:pt x="122" y="21"/>
                    <a:pt x="121" y="21"/>
                  </a:cubicBezTo>
                  <a:cubicBezTo>
                    <a:pt x="117" y="21"/>
                    <a:pt x="115" y="20"/>
                    <a:pt x="114" y="19"/>
                  </a:cubicBezTo>
                  <a:cubicBezTo>
                    <a:pt x="114" y="18"/>
                    <a:pt x="114" y="18"/>
                    <a:pt x="115" y="17"/>
                  </a:cubicBezTo>
                  <a:cubicBezTo>
                    <a:pt x="115" y="16"/>
                    <a:pt x="116" y="14"/>
                    <a:pt x="116" y="12"/>
                  </a:cubicBezTo>
                  <a:cubicBezTo>
                    <a:pt x="116" y="8"/>
                    <a:pt x="113" y="5"/>
                    <a:pt x="108" y="5"/>
                  </a:cubicBezTo>
                  <a:cubicBezTo>
                    <a:pt x="108" y="5"/>
                    <a:pt x="108" y="5"/>
                    <a:pt x="107" y="5"/>
                  </a:cubicBezTo>
                  <a:cubicBezTo>
                    <a:pt x="107" y="5"/>
                    <a:pt x="106" y="5"/>
                    <a:pt x="106" y="6"/>
                  </a:cubicBezTo>
                  <a:cubicBezTo>
                    <a:pt x="106" y="5"/>
                    <a:pt x="106" y="5"/>
                    <a:pt x="105" y="5"/>
                  </a:cubicBezTo>
                  <a:cubicBezTo>
                    <a:pt x="105" y="5"/>
                    <a:pt x="105" y="5"/>
                    <a:pt x="104" y="4"/>
                  </a:cubicBezTo>
                  <a:cubicBezTo>
                    <a:pt x="103" y="3"/>
                    <a:pt x="102" y="2"/>
                    <a:pt x="99" y="2"/>
                  </a:cubicBezTo>
                  <a:cubicBezTo>
                    <a:pt x="99" y="2"/>
                    <a:pt x="98" y="2"/>
                    <a:pt x="97" y="2"/>
                  </a:cubicBezTo>
                  <a:cubicBezTo>
                    <a:pt x="95" y="3"/>
                    <a:pt x="94" y="4"/>
                    <a:pt x="93" y="5"/>
                  </a:cubicBezTo>
                  <a:cubicBezTo>
                    <a:pt x="93" y="5"/>
                    <a:pt x="93" y="5"/>
                    <a:pt x="93" y="5"/>
                  </a:cubicBezTo>
                  <a:cubicBezTo>
                    <a:pt x="93" y="5"/>
                    <a:pt x="93" y="5"/>
                    <a:pt x="93" y="5"/>
                  </a:cubicBezTo>
                  <a:cubicBezTo>
                    <a:pt x="92" y="3"/>
                    <a:pt x="91" y="0"/>
                    <a:pt x="87" y="0"/>
                  </a:cubicBezTo>
                  <a:cubicBezTo>
                    <a:pt x="87" y="0"/>
                    <a:pt x="86" y="1"/>
                    <a:pt x="85" y="1"/>
                  </a:cubicBezTo>
                  <a:cubicBezTo>
                    <a:pt x="82" y="2"/>
                    <a:pt x="81" y="4"/>
                    <a:pt x="81" y="6"/>
                  </a:cubicBezTo>
                  <a:cubicBezTo>
                    <a:pt x="80" y="6"/>
                    <a:pt x="80" y="7"/>
                    <a:pt x="80" y="7"/>
                  </a:cubicBezTo>
                  <a:cubicBezTo>
                    <a:pt x="80" y="8"/>
                    <a:pt x="80" y="8"/>
                    <a:pt x="79" y="8"/>
                  </a:cubicBezTo>
                  <a:cubicBezTo>
                    <a:pt x="78" y="9"/>
                    <a:pt x="77" y="11"/>
                    <a:pt x="77" y="14"/>
                  </a:cubicBezTo>
                  <a:cubicBezTo>
                    <a:pt x="77" y="14"/>
                    <a:pt x="77" y="14"/>
                    <a:pt x="77" y="14"/>
                  </a:cubicBezTo>
                  <a:cubicBezTo>
                    <a:pt x="76" y="14"/>
                    <a:pt x="73" y="7"/>
                    <a:pt x="73" y="7"/>
                  </a:cubicBezTo>
                  <a:cubicBezTo>
                    <a:pt x="70" y="11"/>
                    <a:pt x="70" y="11"/>
                    <a:pt x="70" y="11"/>
                  </a:cubicBezTo>
                  <a:cubicBezTo>
                    <a:pt x="70" y="12"/>
                    <a:pt x="70" y="13"/>
                    <a:pt x="69" y="13"/>
                  </a:cubicBezTo>
                  <a:cubicBezTo>
                    <a:pt x="68" y="15"/>
                    <a:pt x="67" y="17"/>
                    <a:pt x="65" y="19"/>
                  </a:cubicBezTo>
                  <a:cubicBezTo>
                    <a:pt x="64" y="22"/>
                    <a:pt x="62" y="25"/>
                    <a:pt x="59" y="27"/>
                  </a:cubicBezTo>
                  <a:cubicBezTo>
                    <a:pt x="58" y="28"/>
                    <a:pt x="56" y="29"/>
                    <a:pt x="54" y="30"/>
                  </a:cubicBezTo>
                  <a:cubicBezTo>
                    <a:pt x="51" y="32"/>
                    <a:pt x="48" y="33"/>
                    <a:pt x="47" y="36"/>
                  </a:cubicBezTo>
                  <a:cubicBezTo>
                    <a:pt x="45" y="38"/>
                    <a:pt x="45" y="40"/>
                    <a:pt x="44" y="43"/>
                  </a:cubicBezTo>
                  <a:cubicBezTo>
                    <a:pt x="44" y="45"/>
                    <a:pt x="43" y="47"/>
                    <a:pt x="42" y="49"/>
                  </a:cubicBezTo>
                  <a:cubicBezTo>
                    <a:pt x="39" y="54"/>
                    <a:pt x="36" y="57"/>
                    <a:pt x="31" y="61"/>
                  </a:cubicBezTo>
                  <a:cubicBezTo>
                    <a:pt x="30" y="62"/>
                    <a:pt x="30" y="62"/>
                    <a:pt x="30" y="62"/>
                  </a:cubicBezTo>
                  <a:cubicBezTo>
                    <a:pt x="29" y="63"/>
                    <a:pt x="27" y="66"/>
                    <a:pt x="27" y="68"/>
                  </a:cubicBezTo>
                  <a:cubicBezTo>
                    <a:pt x="27" y="70"/>
                    <a:pt x="28" y="73"/>
                    <a:pt x="31" y="75"/>
                  </a:cubicBezTo>
                  <a:cubicBezTo>
                    <a:pt x="33" y="77"/>
                    <a:pt x="37" y="78"/>
                    <a:pt x="41" y="80"/>
                  </a:cubicBezTo>
                  <a:cubicBezTo>
                    <a:pt x="45" y="81"/>
                    <a:pt x="50" y="83"/>
                    <a:pt x="51" y="86"/>
                  </a:cubicBezTo>
                  <a:cubicBezTo>
                    <a:pt x="52" y="89"/>
                    <a:pt x="52" y="92"/>
                    <a:pt x="50" y="96"/>
                  </a:cubicBezTo>
                  <a:cubicBezTo>
                    <a:pt x="49" y="99"/>
                    <a:pt x="45" y="102"/>
                    <a:pt x="41" y="105"/>
                  </a:cubicBezTo>
                  <a:cubicBezTo>
                    <a:pt x="35" y="111"/>
                    <a:pt x="28" y="117"/>
                    <a:pt x="31" y="123"/>
                  </a:cubicBezTo>
                  <a:cubicBezTo>
                    <a:pt x="32" y="125"/>
                    <a:pt x="34" y="127"/>
                    <a:pt x="36" y="129"/>
                  </a:cubicBezTo>
                  <a:cubicBezTo>
                    <a:pt x="41" y="132"/>
                    <a:pt x="44" y="135"/>
                    <a:pt x="41" y="140"/>
                  </a:cubicBezTo>
                  <a:cubicBezTo>
                    <a:pt x="38" y="146"/>
                    <a:pt x="31" y="151"/>
                    <a:pt x="25" y="155"/>
                  </a:cubicBezTo>
                  <a:cubicBezTo>
                    <a:pt x="23" y="157"/>
                    <a:pt x="23" y="157"/>
                    <a:pt x="23" y="157"/>
                  </a:cubicBezTo>
                  <a:cubicBezTo>
                    <a:pt x="15" y="162"/>
                    <a:pt x="16" y="170"/>
                    <a:pt x="16" y="178"/>
                  </a:cubicBezTo>
                  <a:cubicBezTo>
                    <a:pt x="17" y="180"/>
                    <a:pt x="17" y="180"/>
                    <a:pt x="17" y="180"/>
                  </a:cubicBezTo>
                  <a:cubicBezTo>
                    <a:pt x="17" y="184"/>
                    <a:pt x="18" y="186"/>
                    <a:pt x="20" y="189"/>
                  </a:cubicBezTo>
                  <a:cubicBezTo>
                    <a:pt x="20" y="190"/>
                    <a:pt x="21" y="191"/>
                    <a:pt x="22" y="192"/>
                  </a:cubicBezTo>
                  <a:cubicBezTo>
                    <a:pt x="23" y="195"/>
                    <a:pt x="23" y="199"/>
                    <a:pt x="22" y="203"/>
                  </a:cubicBezTo>
                  <a:cubicBezTo>
                    <a:pt x="22" y="204"/>
                    <a:pt x="22" y="205"/>
                    <a:pt x="22" y="206"/>
                  </a:cubicBezTo>
                  <a:cubicBezTo>
                    <a:pt x="22" y="208"/>
                    <a:pt x="22" y="208"/>
                    <a:pt x="22" y="208"/>
                  </a:cubicBezTo>
                  <a:cubicBezTo>
                    <a:pt x="21" y="212"/>
                    <a:pt x="21" y="217"/>
                    <a:pt x="21" y="222"/>
                  </a:cubicBezTo>
                  <a:cubicBezTo>
                    <a:pt x="21" y="222"/>
                    <a:pt x="22" y="223"/>
                    <a:pt x="22" y="224"/>
                  </a:cubicBezTo>
                  <a:cubicBezTo>
                    <a:pt x="22" y="227"/>
                    <a:pt x="23" y="230"/>
                    <a:pt x="21" y="234"/>
                  </a:cubicBezTo>
                  <a:cubicBezTo>
                    <a:pt x="20" y="238"/>
                    <a:pt x="17" y="240"/>
                    <a:pt x="14" y="243"/>
                  </a:cubicBezTo>
                  <a:cubicBezTo>
                    <a:pt x="12" y="245"/>
                    <a:pt x="10" y="246"/>
                    <a:pt x="9" y="249"/>
                  </a:cubicBezTo>
                  <a:cubicBezTo>
                    <a:pt x="7" y="252"/>
                    <a:pt x="7" y="256"/>
                    <a:pt x="8" y="261"/>
                  </a:cubicBezTo>
                  <a:cubicBezTo>
                    <a:pt x="8" y="262"/>
                    <a:pt x="8" y="264"/>
                    <a:pt x="8" y="265"/>
                  </a:cubicBezTo>
                  <a:cubicBezTo>
                    <a:pt x="9" y="270"/>
                    <a:pt x="7" y="273"/>
                    <a:pt x="4" y="276"/>
                  </a:cubicBezTo>
                  <a:cubicBezTo>
                    <a:pt x="4" y="277"/>
                    <a:pt x="3" y="278"/>
                    <a:pt x="2" y="280"/>
                  </a:cubicBezTo>
                  <a:cubicBezTo>
                    <a:pt x="0" y="284"/>
                    <a:pt x="1" y="285"/>
                    <a:pt x="3" y="288"/>
                  </a:cubicBezTo>
                  <a:cubicBezTo>
                    <a:pt x="4" y="289"/>
                    <a:pt x="5" y="290"/>
                    <a:pt x="6" y="291"/>
                  </a:cubicBezTo>
                  <a:cubicBezTo>
                    <a:pt x="8" y="296"/>
                    <a:pt x="8" y="301"/>
                    <a:pt x="8" y="307"/>
                  </a:cubicBezTo>
                  <a:cubicBezTo>
                    <a:pt x="8" y="311"/>
                    <a:pt x="8" y="315"/>
                    <a:pt x="9" y="319"/>
                  </a:cubicBezTo>
                  <a:cubicBezTo>
                    <a:pt x="10" y="321"/>
                    <a:pt x="11" y="322"/>
                    <a:pt x="12" y="324"/>
                  </a:cubicBezTo>
                  <a:cubicBezTo>
                    <a:pt x="14" y="326"/>
                    <a:pt x="15" y="328"/>
                    <a:pt x="15" y="330"/>
                  </a:cubicBezTo>
                  <a:cubicBezTo>
                    <a:pt x="16" y="335"/>
                    <a:pt x="14" y="338"/>
                    <a:pt x="13" y="341"/>
                  </a:cubicBezTo>
                  <a:cubicBezTo>
                    <a:pt x="11" y="343"/>
                    <a:pt x="10" y="345"/>
                    <a:pt x="10" y="348"/>
                  </a:cubicBezTo>
                  <a:cubicBezTo>
                    <a:pt x="9" y="352"/>
                    <a:pt x="11" y="356"/>
                    <a:pt x="14" y="358"/>
                  </a:cubicBezTo>
                  <a:cubicBezTo>
                    <a:pt x="16" y="359"/>
                    <a:pt x="18" y="360"/>
                    <a:pt x="20" y="360"/>
                  </a:cubicBezTo>
                  <a:cubicBezTo>
                    <a:pt x="22" y="360"/>
                    <a:pt x="24" y="361"/>
                    <a:pt x="26" y="362"/>
                  </a:cubicBezTo>
                  <a:cubicBezTo>
                    <a:pt x="27" y="363"/>
                    <a:pt x="27" y="363"/>
                    <a:pt x="28" y="364"/>
                  </a:cubicBezTo>
                  <a:cubicBezTo>
                    <a:pt x="29" y="365"/>
                    <a:pt x="29" y="366"/>
                    <a:pt x="30" y="367"/>
                  </a:cubicBezTo>
                  <a:cubicBezTo>
                    <a:pt x="32" y="368"/>
                    <a:pt x="33" y="368"/>
                    <a:pt x="35" y="368"/>
                  </a:cubicBezTo>
                  <a:cubicBezTo>
                    <a:pt x="35" y="368"/>
                    <a:pt x="36" y="368"/>
                    <a:pt x="37" y="368"/>
                  </a:cubicBezTo>
                  <a:cubicBezTo>
                    <a:pt x="38" y="368"/>
                    <a:pt x="38" y="368"/>
                    <a:pt x="39" y="368"/>
                  </a:cubicBezTo>
                  <a:cubicBezTo>
                    <a:pt x="42" y="368"/>
                    <a:pt x="44" y="368"/>
                    <a:pt x="45" y="370"/>
                  </a:cubicBezTo>
                  <a:cubicBezTo>
                    <a:pt x="47" y="373"/>
                    <a:pt x="46" y="375"/>
                    <a:pt x="42" y="379"/>
                  </a:cubicBezTo>
                  <a:cubicBezTo>
                    <a:pt x="41" y="380"/>
                    <a:pt x="41" y="381"/>
                    <a:pt x="40" y="382"/>
                  </a:cubicBezTo>
                  <a:cubicBezTo>
                    <a:pt x="38" y="385"/>
                    <a:pt x="39" y="388"/>
                    <a:pt x="39" y="392"/>
                  </a:cubicBezTo>
                  <a:cubicBezTo>
                    <a:pt x="40" y="394"/>
                    <a:pt x="40" y="396"/>
                    <a:pt x="40" y="399"/>
                  </a:cubicBezTo>
                  <a:cubicBezTo>
                    <a:pt x="39" y="401"/>
                    <a:pt x="39" y="402"/>
                    <a:pt x="39" y="402"/>
                  </a:cubicBezTo>
                  <a:cubicBezTo>
                    <a:pt x="38" y="403"/>
                    <a:pt x="38" y="403"/>
                    <a:pt x="38" y="404"/>
                  </a:cubicBezTo>
                  <a:cubicBezTo>
                    <a:pt x="37" y="406"/>
                    <a:pt x="37" y="406"/>
                    <a:pt x="37" y="406"/>
                  </a:cubicBezTo>
                  <a:cubicBezTo>
                    <a:pt x="39" y="407"/>
                    <a:pt x="39" y="407"/>
                    <a:pt x="39" y="407"/>
                  </a:cubicBezTo>
                  <a:cubicBezTo>
                    <a:pt x="60" y="420"/>
                    <a:pt x="82" y="432"/>
                    <a:pt x="103" y="444"/>
                  </a:cubicBezTo>
                  <a:cubicBezTo>
                    <a:pt x="103" y="444"/>
                    <a:pt x="103" y="444"/>
                    <a:pt x="103" y="444"/>
                  </a:cubicBezTo>
                  <a:cubicBezTo>
                    <a:pt x="268" y="530"/>
                    <a:pt x="401" y="552"/>
                    <a:pt x="426" y="556"/>
                  </a:cubicBezTo>
                  <a:cubicBezTo>
                    <a:pt x="429" y="556"/>
                    <a:pt x="429" y="556"/>
                    <a:pt x="429" y="556"/>
                  </a:cubicBezTo>
                  <a:cubicBezTo>
                    <a:pt x="430" y="553"/>
                    <a:pt x="430" y="553"/>
                    <a:pt x="430" y="553"/>
                  </a:cubicBezTo>
                  <a:cubicBezTo>
                    <a:pt x="443" y="468"/>
                    <a:pt x="453" y="418"/>
                    <a:pt x="457" y="403"/>
                  </a:cubicBezTo>
                  <a:cubicBezTo>
                    <a:pt x="458" y="401"/>
                    <a:pt x="458" y="401"/>
                    <a:pt x="458" y="401"/>
                  </a:cubicBezTo>
                  <a:lnTo>
                    <a:pt x="345" y="346"/>
                  </a:lnTo>
                  <a:close/>
                  <a:moveTo>
                    <a:pt x="106" y="44"/>
                  </a:moveTo>
                  <a:cubicBezTo>
                    <a:pt x="106" y="44"/>
                    <a:pt x="105" y="44"/>
                    <a:pt x="105" y="43"/>
                  </a:cubicBezTo>
                  <a:cubicBezTo>
                    <a:pt x="104" y="43"/>
                    <a:pt x="104" y="42"/>
                    <a:pt x="104" y="41"/>
                  </a:cubicBezTo>
                  <a:cubicBezTo>
                    <a:pt x="104" y="39"/>
                    <a:pt x="106" y="38"/>
                    <a:pt x="111" y="37"/>
                  </a:cubicBezTo>
                  <a:cubicBezTo>
                    <a:pt x="111" y="37"/>
                    <a:pt x="112" y="37"/>
                    <a:pt x="112" y="37"/>
                  </a:cubicBezTo>
                  <a:cubicBezTo>
                    <a:pt x="112" y="38"/>
                    <a:pt x="111" y="38"/>
                    <a:pt x="111" y="39"/>
                  </a:cubicBezTo>
                  <a:cubicBezTo>
                    <a:pt x="111" y="40"/>
                    <a:pt x="110" y="40"/>
                    <a:pt x="110" y="40"/>
                  </a:cubicBezTo>
                  <a:cubicBezTo>
                    <a:pt x="109" y="42"/>
                    <a:pt x="109" y="43"/>
                    <a:pt x="107" y="44"/>
                  </a:cubicBezTo>
                  <a:cubicBezTo>
                    <a:pt x="107" y="44"/>
                    <a:pt x="107" y="44"/>
                    <a:pt x="106" y="44"/>
                  </a:cubicBezTo>
                  <a:close/>
                  <a:moveTo>
                    <a:pt x="232" y="212"/>
                  </a:moveTo>
                  <a:cubicBezTo>
                    <a:pt x="231" y="212"/>
                    <a:pt x="230" y="212"/>
                    <a:pt x="229" y="212"/>
                  </a:cubicBezTo>
                  <a:cubicBezTo>
                    <a:pt x="229" y="212"/>
                    <a:pt x="229" y="212"/>
                    <a:pt x="229" y="212"/>
                  </a:cubicBezTo>
                  <a:cubicBezTo>
                    <a:pt x="228" y="212"/>
                    <a:pt x="227" y="212"/>
                    <a:pt x="226" y="212"/>
                  </a:cubicBezTo>
                  <a:cubicBezTo>
                    <a:pt x="225" y="212"/>
                    <a:pt x="224" y="212"/>
                    <a:pt x="222" y="212"/>
                  </a:cubicBezTo>
                  <a:cubicBezTo>
                    <a:pt x="220" y="212"/>
                    <a:pt x="217" y="212"/>
                    <a:pt x="214" y="214"/>
                  </a:cubicBezTo>
                  <a:cubicBezTo>
                    <a:pt x="212" y="216"/>
                    <a:pt x="208" y="218"/>
                    <a:pt x="208" y="222"/>
                  </a:cubicBezTo>
                  <a:cubicBezTo>
                    <a:pt x="208" y="225"/>
                    <a:pt x="211" y="227"/>
                    <a:pt x="213" y="228"/>
                  </a:cubicBezTo>
                  <a:cubicBezTo>
                    <a:pt x="213" y="228"/>
                    <a:pt x="213" y="228"/>
                    <a:pt x="213" y="228"/>
                  </a:cubicBezTo>
                  <a:cubicBezTo>
                    <a:pt x="217" y="230"/>
                    <a:pt x="220" y="232"/>
                    <a:pt x="222" y="235"/>
                  </a:cubicBezTo>
                  <a:cubicBezTo>
                    <a:pt x="222" y="236"/>
                    <a:pt x="222" y="236"/>
                    <a:pt x="222" y="236"/>
                  </a:cubicBezTo>
                  <a:cubicBezTo>
                    <a:pt x="223" y="236"/>
                    <a:pt x="223" y="236"/>
                    <a:pt x="223" y="236"/>
                  </a:cubicBezTo>
                  <a:cubicBezTo>
                    <a:pt x="224" y="237"/>
                    <a:pt x="225" y="237"/>
                    <a:pt x="226" y="238"/>
                  </a:cubicBezTo>
                  <a:cubicBezTo>
                    <a:pt x="228" y="239"/>
                    <a:pt x="230" y="240"/>
                    <a:pt x="233" y="240"/>
                  </a:cubicBezTo>
                  <a:cubicBezTo>
                    <a:pt x="233" y="240"/>
                    <a:pt x="234" y="240"/>
                    <a:pt x="234" y="240"/>
                  </a:cubicBezTo>
                  <a:cubicBezTo>
                    <a:pt x="237" y="240"/>
                    <a:pt x="239" y="239"/>
                    <a:pt x="241" y="238"/>
                  </a:cubicBezTo>
                  <a:cubicBezTo>
                    <a:pt x="242" y="237"/>
                    <a:pt x="243" y="237"/>
                    <a:pt x="244" y="236"/>
                  </a:cubicBezTo>
                  <a:cubicBezTo>
                    <a:pt x="244" y="236"/>
                    <a:pt x="245" y="236"/>
                    <a:pt x="244" y="236"/>
                  </a:cubicBezTo>
                  <a:cubicBezTo>
                    <a:pt x="245" y="237"/>
                    <a:pt x="244" y="241"/>
                    <a:pt x="243" y="243"/>
                  </a:cubicBezTo>
                  <a:cubicBezTo>
                    <a:pt x="242" y="244"/>
                    <a:pt x="240" y="245"/>
                    <a:pt x="238" y="246"/>
                  </a:cubicBezTo>
                  <a:cubicBezTo>
                    <a:pt x="235" y="248"/>
                    <a:pt x="231" y="250"/>
                    <a:pt x="230" y="255"/>
                  </a:cubicBezTo>
                  <a:cubicBezTo>
                    <a:pt x="230" y="255"/>
                    <a:pt x="230" y="256"/>
                    <a:pt x="230" y="257"/>
                  </a:cubicBezTo>
                  <a:cubicBezTo>
                    <a:pt x="230" y="258"/>
                    <a:pt x="230" y="259"/>
                    <a:pt x="230" y="259"/>
                  </a:cubicBezTo>
                  <a:cubicBezTo>
                    <a:pt x="230" y="259"/>
                    <a:pt x="229" y="259"/>
                    <a:pt x="229" y="259"/>
                  </a:cubicBezTo>
                  <a:cubicBezTo>
                    <a:pt x="228" y="259"/>
                    <a:pt x="226" y="259"/>
                    <a:pt x="226" y="258"/>
                  </a:cubicBezTo>
                  <a:cubicBezTo>
                    <a:pt x="225" y="258"/>
                    <a:pt x="225" y="257"/>
                    <a:pt x="224" y="256"/>
                  </a:cubicBezTo>
                  <a:cubicBezTo>
                    <a:pt x="223" y="254"/>
                    <a:pt x="223" y="253"/>
                    <a:pt x="221" y="252"/>
                  </a:cubicBezTo>
                  <a:cubicBezTo>
                    <a:pt x="219" y="249"/>
                    <a:pt x="214" y="248"/>
                    <a:pt x="212" y="247"/>
                  </a:cubicBezTo>
                  <a:cubicBezTo>
                    <a:pt x="211" y="247"/>
                    <a:pt x="211" y="247"/>
                    <a:pt x="210" y="247"/>
                  </a:cubicBezTo>
                  <a:cubicBezTo>
                    <a:pt x="207" y="247"/>
                    <a:pt x="202" y="249"/>
                    <a:pt x="200" y="252"/>
                  </a:cubicBezTo>
                  <a:cubicBezTo>
                    <a:pt x="199" y="254"/>
                    <a:pt x="199" y="257"/>
                    <a:pt x="200" y="259"/>
                  </a:cubicBezTo>
                  <a:cubicBezTo>
                    <a:pt x="200" y="260"/>
                    <a:pt x="201" y="261"/>
                    <a:pt x="201" y="261"/>
                  </a:cubicBezTo>
                  <a:cubicBezTo>
                    <a:pt x="201" y="261"/>
                    <a:pt x="200" y="261"/>
                    <a:pt x="199" y="261"/>
                  </a:cubicBezTo>
                  <a:cubicBezTo>
                    <a:pt x="198" y="261"/>
                    <a:pt x="197" y="261"/>
                    <a:pt x="196" y="262"/>
                  </a:cubicBezTo>
                  <a:cubicBezTo>
                    <a:pt x="195" y="262"/>
                    <a:pt x="194" y="262"/>
                    <a:pt x="193" y="263"/>
                  </a:cubicBezTo>
                  <a:cubicBezTo>
                    <a:pt x="192" y="263"/>
                    <a:pt x="191" y="263"/>
                    <a:pt x="190" y="263"/>
                  </a:cubicBezTo>
                  <a:cubicBezTo>
                    <a:pt x="189" y="264"/>
                    <a:pt x="187" y="264"/>
                    <a:pt x="185" y="265"/>
                  </a:cubicBezTo>
                  <a:cubicBezTo>
                    <a:pt x="186" y="264"/>
                    <a:pt x="187" y="264"/>
                    <a:pt x="188" y="264"/>
                  </a:cubicBezTo>
                  <a:cubicBezTo>
                    <a:pt x="192" y="262"/>
                    <a:pt x="195" y="259"/>
                    <a:pt x="197" y="256"/>
                  </a:cubicBezTo>
                  <a:cubicBezTo>
                    <a:pt x="198" y="252"/>
                    <a:pt x="198" y="249"/>
                    <a:pt x="196" y="245"/>
                  </a:cubicBezTo>
                  <a:cubicBezTo>
                    <a:pt x="195" y="243"/>
                    <a:pt x="195" y="243"/>
                    <a:pt x="195" y="243"/>
                  </a:cubicBezTo>
                  <a:cubicBezTo>
                    <a:pt x="193" y="243"/>
                    <a:pt x="193" y="243"/>
                    <a:pt x="193" y="243"/>
                  </a:cubicBezTo>
                  <a:cubicBezTo>
                    <a:pt x="189" y="243"/>
                    <a:pt x="184" y="244"/>
                    <a:pt x="179" y="245"/>
                  </a:cubicBezTo>
                  <a:cubicBezTo>
                    <a:pt x="175" y="246"/>
                    <a:pt x="173" y="249"/>
                    <a:pt x="170" y="251"/>
                  </a:cubicBezTo>
                  <a:cubicBezTo>
                    <a:pt x="169" y="252"/>
                    <a:pt x="167" y="253"/>
                    <a:pt x="166" y="254"/>
                  </a:cubicBezTo>
                  <a:cubicBezTo>
                    <a:pt x="165" y="255"/>
                    <a:pt x="164" y="255"/>
                    <a:pt x="163" y="255"/>
                  </a:cubicBezTo>
                  <a:cubicBezTo>
                    <a:pt x="161" y="255"/>
                    <a:pt x="159" y="252"/>
                    <a:pt x="156" y="250"/>
                  </a:cubicBezTo>
                  <a:cubicBezTo>
                    <a:pt x="155" y="249"/>
                    <a:pt x="154" y="248"/>
                    <a:pt x="154" y="247"/>
                  </a:cubicBezTo>
                  <a:cubicBezTo>
                    <a:pt x="153" y="247"/>
                    <a:pt x="152" y="246"/>
                    <a:pt x="152" y="246"/>
                  </a:cubicBezTo>
                  <a:cubicBezTo>
                    <a:pt x="151" y="246"/>
                    <a:pt x="151" y="245"/>
                    <a:pt x="151" y="245"/>
                  </a:cubicBezTo>
                  <a:cubicBezTo>
                    <a:pt x="152" y="245"/>
                    <a:pt x="153" y="246"/>
                    <a:pt x="154" y="246"/>
                  </a:cubicBezTo>
                  <a:cubicBezTo>
                    <a:pt x="155" y="246"/>
                    <a:pt x="156" y="245"/>
                    <a:pt x="157" y="245"/>
                  </a:cubicBezTo>
                  <a:cubicBezTo>
                    <a:pt x="161" y="243"/>
                    <a:pt x="163" y="239"/>
                    <a:pt x="164" y="236"/>
                  </a:cubicBezTo>
                  <a:cubicBezTo>
                    <a:pt x="165" y="236"/>
                    <a:pt x="165" y="236"/>
                    <a:pt x="166" y="236"/>
                  </a:cubicBezTo>
                  <a:cubicBezTo>
                    <a:pt x="167" y="236"/>
                    <a:pt x="168" y="236"/>
                    <a:pt x="169" y="236"/>
                  </a:cubicBezTo>
                  <a:cubicBezTo>
                    <a:pt x="170" y="236"/>
                    <a:pt x="173" y="236"/>
                    <a:pt x="176" y="233"/>
                  </a:cubicBezTo>
                  <a:cubicBezTo>
                    <a:pt x="177" y="231"/>
                    <a:pt x="178" y="230"/>
                    <a:pt x="178" y="228"/>
                  </a:cubicBezTo>
                  <a:cubicBezTo>
                    <a:pt x="178" y="228"/>
                    <a:pt x="178" y="229"/>
                    <a:pt x="178" y="229"/>
                  </a:cubicBezTo>
                  <a:cubicBezTo>
                    <a:pt x="182" y="232"/>
                    <a:pt x="184" y="234"/>
                    <a:pt x="189" y="234"/>
                  </a:cubicBezTo>
                  <a:cubicBezTo>
                    <a:pt x="189" y="234"/>
                    <a:pt x="190" y="234"/>
                    <a:pt x="191" y="234"/>
                  </a:cubicBezTo>
                  <a:cubicBezTo>
                    <a:pt x="194" y="233"/>
                    <a:pt x="194" y="233"/>
                    <a:pt x="194" y="233"/>
                  </a:cubicBezTo>
                  <a:cubicBezTo>
                    <a:pt x="194" y="231"/>
                    <a:pt x="194" y="231"/>
                    <a:pt x="194" y="231"/>
                  </a:cubicBezTo>
                  <a:cubicBezTo>
                    <a:pt x="194" y="221"/>
                    <a:pt x="190" y="217"/>
                    <a:pt x="184" y="211"/>
                  </a:cubicBezTo>
                  <a:cubicBezTo>
                    <a:pt x="183" y="211"/>
                    <a:pt x="183" y="211"/>
                    <a:pt x="182" y="210"/>
                  </a:cubicBezTo>
                  <a:cubicBezTo>
                    <a:pt x="181" y="209"/>
                    <a:pt x="178" y="207"/>
                    <a:pt x="175" y="206"/>
                  </a:cubicBezTo>
                  <a:cubicBezTo>
                    <a:pt x="174" y="206"/>
                    <a:pt x="174" y="206"/>
                    <a:pt x="174" y="206"/>
                  </a:cubicBezTo>
                  <a:cubicBezTo>
                    <a:pt x="173" y="206"/>
                    <a:pt x="172" y="207"/>
                    <a:pt x="171" y="207"/>
                  </a:cubicBezTo>
                  <a:cubicBezTo>
                    <a:pt x="171" y="207"/>
                    <a:pt x="171" y="207"/>
                    <a:pt x="171" y="207"/>
                  </a:cubicBezTo>
                  <a:cubicBezTo>
                    <a:pt x="170" y="207"/>
                    <a:pt x="169" y="206"/>
                    <a:pt x="168" y="205"/>
                  </a:cubicBezTo>
                  <a:cubicBezTo>
                    <a:pt x="168" y="205"/>
                    <a:pt x="168" y="205"/>
                    <a:pt x="168" y="205"/>
                  </a:cubicBezTo>
                  <a:cubicBezTo>
                    <a:pt x="166" y="203"/>
                    <a:pt x="165" y="203"/>
                    <a:pt x="162" y="202"/>
                  </a:cubicBezTo>
                  <a:cubicBezTo>
                    <a:pt x="161" y="201"/>
                    <a:pt x="161" y="201"/>
                    <a:pt x="160" y="200"/>
                  </a:cubicBezTo>
                  <a:cubicBezTo>
                    <a:pt x="159" y="200"/>
                    <a:pt x="158" y="199"/>
                    <a:pt x="157" y="199"/>
                  </a:cubicBezTo>
                  <a:cubicBezTo>
                    <a:pt x="157" y="199"/>
                    <a:pt x="157" y="199"/>
                    <a:pt x="156" y="198"/>
                  </a:cubicBezTo>
                  <a:cubicBezTo>
                    <a:pt x="157" y="199"/>
                    <a:pt x="157" y="199"/>
                    <a:pt x="158" y="199"/>
                  </a:cubicBezTo>
                  <a:cubicBezTo>
                    <a:pt x="159" y="200"/>
                    <a:pt x="161" y="200"/>
                    <a:pt x="163" y="200"/>
                  </a:cubicBezTo>
                  <a:cubicBezTo>
                    <a:pt x="163" y="200"/>
                    <a:pt x="163" y="200"/>
                    <a:pt x="164" y="200"/>
                  </a:cubicBezTo>
                  <a:cubicBezTo>
                    <a:pt x="165" y="200"/>
                    <a:pt x="166" y="200"/>
                    <a:pt x="167" y="199"/>
                  </a:cubicBezTo>
                  <a:cubicBezTo>
                    <a:pt x="167" y="199"/>
                    <a:pt x="168" y="199"/>
                    <a:pt x="169" y="199"/>
                  </a:cubicBezTo>
                  <a:cubicBezTo>
                    <a:pt x="169" y="199"/>
                    <a:pt x="169" y="199"/>
                    <a:pt x="170" y="199"/>
                  </a:cubicBezTo>
                  <a:cubicBezTo>
                    <a:pt x="171" y="199"/>
                    <a:pt x="171" y="200"/>
                    <a:pt x="172" y="200"/>
                  </a:cubicBezTo>
                  <a:cubicBezTo>
                    <a:pt x="174" y="201"/>
                    <a:pt x="175" y="201"/>
                    <a:pt x="176" y="201"/>
                  </a:cubicBezTo>
                  <a:cubicBezTo>
                    <a:pt x="179" y="202"/>
                    <a:pt x="182" y="203"/>
                    <a:pt x="185" y="204"/>
                  </a:cubicBezTo>
                  <a:cubicBezTo>
                    <a:pt x="190" y="206"/>
                    <a:pt x="194" y="208"/>
                    <a:pt x="200" y="208"/>
                  </a:cubicBezTo>
                  <a:cubicBezTo>
                    <a:pt x="201" y="208"/>
                    <a:pt x="201" y="208"/>
                    <a:pt x="202" y="208"/>
                  </a:cubicBezTo>
                  <a:cubicBezTo>
                    <a:pt x="205" y="207"/>
                    <a:pt x="207" y="207"/>
                    <a:pt x="209" y="206"/>
                  </a:cubicBezTo>
                  <a:cubicBezTo>
                    <a:pt x="212" y="206"/>
                    <a:pt x="214" y="205"/>
                    <a:pt x="217" y="205"/>
                  </a:cubicBezTo>
                  <a:cubicBezTo>
                    <a:pt x="217" y="205"/>
                    <a:pt x="218" y="205"/>
                    <a:pt x="218" y="205"/>
                  </a:cubicBezTo>
                  <a:cubicBezTo>
                    <a:pt x="222" y="205"/>
                    <a:pt x="227" y="208"/>
                    <a:pt x="231" y="211"/>
                  </a:cubicBezTo>
                  <a:cubicBezTo>
                    <a:pt x="231" y="211"/>
                    <a:pt x="232" y="212"/>
                    <a:pt x="232" y="212"/>
                  </a:cubicBezTo>
                  <a:close/>
                  <a:moveTo>
                    <a:pt x="144" y="195"/>
                  </a:moveTo>
                  <a:cubicBezTo>
                    <a:pt x="144" y="195"/>
                    <a:pt x="145" y="195"/>
                    <a:pt x="146" y="195"/>
                  </a:cubicBezTo>
                  <a:cubicBezTo>
                    <a:pt x="146" y="195"/>
                    <a:pt x="146" y="195"/>
                    <a:pt x="146" y="195"/>
                  </a:cubicBezTo>
                  <a:cubicBezTo>
                    <a:pt x="147" y="195"/>
                    <a:pt x="147" y="195"/>
                    <a:pt x="148" y="196"/>
                  </a:cubicBezTo>
                  <a:cubicBezTo>
                    <a:pt x="149" y="196"/>
                    <a:pt x="149" y="196"/>
                    <a:pt x="150" y="197"/>
                  </a:cubicBezTo>
                  <a:cubicBezTo>
                    <a:pt x="150" y="197"/>
                    <a:pt x="151" y="197"/>
                    <a:pt x="152" y="197"/>
                  </a:cubicBezTo>
                  <a:cubicBezTo>
                    <a:pt x="152" y="197"/>
                    <a:pt x="151" y="197"/>
                    <a:pt x="151" y="197"/>
                  </a:cubicBezTo>
                  <a:cubicBezTo>
                    <a:pt x="149" y="197"/>
                    <a:pt x="147" y="198"/>
                    <a:pt x="145" y="199"/>
                  </a:cubicBezTo>
                  <a:cubicBezTo>
                    <a:pt x="144" y="199"/>
                    <a:pt x="143" y="199"/>
                    <a:pt x="143" y="199"/>
                  </a:cubicBezTo>
                  <a:cubicBezTo>
                    <a:pt x="143" y="199"/>
                    <a:pt x="143" y="199"/>
                    <a:pt x="143" y="198"/>
                  </a:cubicBezTo>
                  <a:cubicBezTo>
                    <a:pt x="143" y="197"/>
                    <a:pt x="143" y="196"/>
                    <a:pt x="144" y="195"/>
                  </a:cubicBezTo>
                  <a:close/>
                  <a:moveTo>
                    <a:pt x="154" y="38"/>
                  </a:moveTo>
                  <a:cubicBezTo>
                    <a:pt x="151" y="38"/>
                    <a:pt x="148" y="41"/>
                    <a:pt x="146" y="42"/>
                  </a:cubicBezTo>
                  <a:cubicBezTo>
                    <a:pt x="146" y="43"/>
                    <a:pt x="145" y="43"/>
                    <a:pt x="144" y="44"/>
                  </a:cubicBezTo>
                  <a:cubicBezTo>
                    <a:pt x="144" y="44"/>
                    <a:pt x="144" y="44"/>
                    <a:pt x="144" y="44"/>
                  </a:cubicBezTo>
                  <a:cubicBezTo>
                    <a:pt x="143" y="41"/>
                    <a:pt x="141" y="40"/>
                    <a:pt x="138" y="38"/>
                  </a:cubicBezTo>
                  <a:cubicBezTo>
                    <a:pt x="135" y="36"/>
                    <a:pt x="131" y="34"/>
                    <a:pt x="126" y="34"/>
                  </a:cubicBezTo>
                  <a:cubicBezTo>
                    <a:pt x="128" y="33"/>
                    <a:pt x="129" y="33"/>
                    <a:pt x="131" y="33"/>
                  </a:cubicBezTo>
                  <a:cubicBezTo>
                    <a:pt x="135" y="33"/>
                    <a:pt x="140" y="34"/>
                    <a:pt x="144" y="36"/>
                  </a:cubicBezTo>
                  <a:cubicBezTo>
                    <a:pt x="147" y="36"/>
                    <a:pt x="150" y="37"/>
                    <a:pt x="153" y="38"/>
                  </a:cubicBezTo>
                  <a:cubicBezTo>
                    <a:pt x="154" y="38"/>
                    <a:pt x="154" y="38"/>
                    <a:pt x="155" y="38"/>
                  </a:cubicBezTo>
                  <a:cubicBezTo>
                    <a:pt x="155" y="38"/>
                    <a:pt x="155" y="38"/>
                    <a:pt x="154" y="38"/>
                  </a:cubicBezTo>
                  <a:close/>
                  <a:moveTo>
                    <a:pt x="311" y="415"/>
                  </a:moveTo>
                  <a:cubicBezTo>
                    <a:pt x="311" y="415"/>
                    <a:pt x="311" y="415"/>
                    <a:pt x="311" y="415"/>
                  </a:cubicBezTo>
                  <a:cubicBezTo>
                    <a:pt x="310" y="417"/>
                    <a:pt x="310" y="417"/>
                    <a:pt x="310" y="417"/>
                  </a:cubicBezTo>
                  <a:cubicBezTo>
                    <a:pt x="309" y="417"/>
                    <a:pt x="309" y="417"/>
                    <a:pt x="309" y="417"/>
                  </a:cubicBezTo>
                  <a:cubicBezTo>
                    <a:pt x="310" y="418"/>
                    <a:pt x="310" y="422"/>
                    <a:pt x="310" y="423"/>
                  </a:cubicBezTo>
                  <a:cubicBezTo>
                    <a:pt x="310" y="424"/>
                    <a:pt x="309" y="426"/>
                    <a:pt x="305" y="426"/>
                  </a:cubicBezTo>
                  <a:cubicBezTo>
                    <a:pt x="302" y="426"/>
                    <a:pt x="299" y="425"/>
                    <a:pt x="297" y="424"/>
                  </a:cubicBezTo>
                  <a:cubicBezTo>
                    <a:pt x="296" y="424"/>
                    <a:pt x="296" y="424"/>
                    <a:pt x="296" y="424"/>
                  </a:cubicBezTo>
                  <a:cubicBezTo>
                    <a:pt x="294" y="423"/>
                    <a:pt x="292" y="423"/>
                    <a:pt x="291" y="423"/>
                  </a:cubicBezTo>
                  <a:cubicBezTo>
                    <a:pt x="285" y="423"/>
                    <a:pt x="281" y="426"/>
                    <a:pt x="277" y="430"/>
                  </a:cubicBezTo>
                  <a:cubicBezTo>
                    <a:pt x="276" y="431"/>
                    <a:pt x="276" y="431"/>
                    <a:pt x="276" y="431"/>
                  </a:cubicBezTo>
                  <a:cubicBezTo>
                    <a:pt x="270" y="437"/>
                    <a:pt x="261" y="445"/>
                    <a:pt x="253" y="445"/>
                  </a:cubicBezTo>
                  <a:cubicBezTo>
                    <a:pt x="252" y="445"/>
                    <a:pt x="250" y="445"/>
                    <a:pt x="248" y="444"/>
                  </a:cubicBezTo>
                  <a:cubicBezTo>
                    <a:pt x="247" y="443"/>
                    <a:pt x="245" y="442"/>
                    <a:pt x="243" y="442"/>
                  </a:cubicBezTo>
                  <a:cubicBezTo>
                    <a:pt x="242" y="442"/>
                    <a:pt x="241" y="442"/>
                    <a:pt x="240" y="442"/>
                  </a:cubicBezTo>
                  <a:cubicBezTo>
                    <a:pt x="238" y="443"/>
                    <a:pt x="237" y="443"/>
                    <a:pt x="236" y="444"/>
                  </a:cubicBezTo>
                  <a:cubicBezTo>
                    <a:pt x="235" y="444"/>
                    <a:pt x="235" y="445"/>
                    <a:pt x="234" y="445"/>
                  </a:cubicBezTo>
                  <a:cubicBezTo>
                    <a:pt x="233" y="445"/>
                    <a:pt x="233" y="446"/>
                    <a:pt x="232" y="446"/>
                  </a:cubicBezTo>
                  <a:cubicBezTo>
                    <a:pt x="230" y="446"/>
                    <a:pt x="229" y="447"/>
                    <a:pt x="227" y="449"/>
                  </a:cubicBezTo>
                  <a:cubicBezTo>
                    <a:pt x="226" y="449"/>
                    <a:pt x="226" y="450"/>
                    <a:pt x="225" y="450"/>
                  </a:cubicBezTo>
                  <a:cubicBezTo>
                    <a:pt x="224" y="451"/>
                    <a:pt x="223" y="452"/>
                    <a:pt x="223" y="452"/>
                  </a:cubicBezTo>
                  <a:cubicBezTo>
                    <a:pt x="222" y="453"/>
                    <a:pt x="220" y="453"/>
                    <a:pt x="219" y="453"/>
                  </a:cubicBezTo>
                  <a:cubicBezTo>
                    <a:pt x="217" y="453"/>
                    <a:pt x="215" y="453"/>
                    <a:pt x="214" y="453"/>
                  </a:cubicBezTo>
                  <a:cubicBezTo>
                    <a:pt x="213" y="453"/>
                    <a:pt x="211" y="453"/>
                    <a:pt x="210" y="452"/>
                  </a:cubicBezTo>
                  <a:cubicBezTo>
                    <a:pt x="208" y="452"/>
                    <a:pt x="206" y="452"/>
                    <a:pt x="204" y="450"/>
                  </a:cubicBezTo>
                  <a:cubicBezTo>
                    <a:pt x="203" y="450"/>
                    <a:pt x="202" y="449"/>
                    <a:pt x="200" y="449"/>
                  </a:cubicBezTo>
                  <a:cubicBezTo>
                    <a:pt x="199" y="448"/>
                    <a:pt x="197" y="448"/>
                    <a:pt x="196" y="448"/>
                  </a:cubicBezTo>
                  <a:cubicBezTo>
                    <a:pt x="194" y="447"/>
                    <a:pt x="192" y="447"/>
                    <a:pt x="191" y="446"/>
                  </a:cubicBezTo>
                  <a:cubicBezTo>
                    <a:pt x="186" y="443"/>
                    <a:pt x="180" y="437"/>
                    <a:pt x="179" y="432"/>
                  </a:cubicBezTo>
                  <a:cubicBezTo>
                    <a:pt x="179" y="431"/>
                    <a:pt x="179" y="431"/>
                    <a:pt x="179" y="430"/>
                  </a:cubicBezTo>
                  <a:cubicBezTo>
                    <a:pt x="180" y="430"/>
                    <a:pt x="182" y="431"/>
                    <a:pt x="183" y="432"/>
                  </a:cubicBezTo>
                  <a:cubicBezTo>
                    <a:pt x="184" y="432"/>
                    <a:pt x="185" y="433"/>
                    <a:pt x="186" y="433"/>
                  </a:cubicBezTo>
                  <a:cubicBezTo>
                    <a:pt x="188" y="434"/>
                    <a:pt x="190" y="435"/>
                    <a:pt x="192" y="435"/>
                  </a:cubicBezTo>
                  <a:cubicBezTo>
                    <a:pt x="197" y="435"/>
                    <a:pt x="200" y="431"/>
                    <a:pt x="201" y="429"/>
                  </a:cubicBezTo>
                  <a:cubicBezTo>
                    <a:pt x="203" y="427"/>
                    <a:pt x="204" y="425"/>
                    <a:pt x="206" y="423"/>
                  </a:cubicBezTo>
                  <a:cubicBezTo>
                    <a:pt x="207" y="423"/>
                    <a:pt x="207" y="423"/>
                    <a:pt x="208" y="423"/>
                  </a:cubicBezTo>
                  <a:cubicBezTo>
                    <a:pt x="208" y="423"/>
                    <a:pt x="210" y="424"/>
                    <a:pt x="211" y="424"/>
                  </a:cubicBezTo>
                  <a:cubicBezTo>
                    <a:pt x="213" y="425"/>
                    <a:pt x="215" y="426"/>
                    <a:pt x="217" y="426"/>
                  </a:cubicBezTo>
                  <a:cubicBezTo>
                    <a:pt x="219" y="426"/>
                    <a:pt x="220" y="426"/>
                    <a:pt x="221" y="425"/>
                  </a:cubicBezTo>
                  <a:cubicBezTo>
                    <a:pt x="229" y="421"/>
                    <a:pt x="225" y="414"/>
                    <a:pt x="223" y="409"/>
                  </a:cubicBezTo>
                  <a:cubicBezTo>
                    <a:pt x="223" y="407"/>
                    <a:pt x="222" y="406"/>
                    <a:pt x="222" y="405"/>
                  </a:cubicBezTo>
                  <a:cubicBezTo>
                    <a:pt x="222" y="403"/>
                    <a:pt x="222" y="401"/>
                    <a:pt x="222" y="400"/>
                  </a:cubicBezTo>
                  <a:cubicBezTo>
                    <a:pt x="222" y="396"/>
                    <a:pt x="223" y="391"/>
                    <a:pt x="217" y="388"/>
                  </a:cubicBezTo>
                  <a:cubicBezTo>
                    <a:pt x="217" y="386"/>
                    <a:pt x="217" y="383"/>
                    <a:pt x="217" y="382"/>
                  </a:cubicBezTo>
                  <a:cubicBezTo>
                    <a:pt x="217" y="382"/>
                    <a:pt x="217" y="382"/>
                    <a:pt x="218" y="383"/>
                  </a:cubicBezTo>
                  <a:cubicBezTo>
                    <a:pt x="219" y="383"/>
                    <a:pt x="220" y="385"/>
                    <a:pt x="221" y="387"/>
                  </a:cubicBezTo>
                  <a:cubicBezTo>
                    <a:pt x="222" y="389"/>
                    <a:pt x="223" y="391"/>
                    <a:pt x="225" y="393"/>
                  </a:cubicBezTo>
                  <a:cubicBezTo>
                    <a:pt x="231" y="398"/>
                    <a:pt x="233" y="404"/>
                    <a:pt x="236" y="412"/>
                  </a:cubicBezTo>
                  <a:cubicBezTo>
                    <a:pt x="236" y="412"/>
                    <a:pt x="236" y="412"/>
                    <a:pt x="236" y="412"/>
                  </a:cubicBezTo>
                  <a:cubicBezTo>
                    <a:pt x="239" y="422"/>
                    <a:pt x="247" y="429"/>
                    <a:pt x="256" y="430"/>
                  </a:cubicBezTo>
                  <a:cubicBezTo>
                    <a:pt x="258" y="431"/>
                    <a:pt x="259" y="431"/>
                    <a:pt x="260" y="431"/>
                  </a:cubicBezTo>
                  <a:cubicBezTo>
                    <a:pt x="263" y="431"/>
                    <a:pt x="267" y="430"/>
                    <a:pt x="269" y="428"/>
                  </a:cubicBezTo>
                  <a:cubicBezTo>
                    <a:pt x="270" y="428"/>
                    <a:pt x="271" y="427"/>
                    <a:pt x="271" y="427"/>
                  </a:cubicBezTo>
                  <a:cubicBezTo>
                    <a:pt x="272" y="426"/>
                    <a:pt x="272" y="426"/>
                    <a:pt x="273" y="426"/>
                  </a:cubicBezTo>
                  <a:cubicBezTo>
                    <a:pt x="273" y="426"/>
                    <a:pt x="274" y="426"/>
                    <a:pt x="275" y="425"/>
                  </a:cubicBezTo>
                  <a:cubicBezTo>
                    <a:pt x="276" y="425"/>
                    <a:pt x="277" y="425"/>
                    <a:pt x="279" y="424"/>
                  </a:cubicBezTo>
                  <a:cubicBezTo>
                    <a:pt x="280" y="423"/>
                    <a:pt x="282" y="422"/>
                    <a:pt x="283" y="421"/>
                  </a:cubicBezTo>
                  <a:cubicBezTo>
                    <a:pt x="284" y="421"/>
                    <a:pt x="285" y="420"/>
                    <a:pt x="286" y="419"/>
                  </a:cubicBezTo>
                  <a:cubicBezTo>
                    <a:pt x="288" y="418"/>
                    <a:pt x="290" y="416"/>
                    <a:pt x="291" y="415"/>
                  </a:cubicBezTo>
                  <a:cubicBezTo>
                    <a:pt x="293" y="413"/>
                    <a:pt x="295" y="411"/>
                    <a:pt x="296" y="411"/>
                  </a:cubicBezTo>
                  <a:cubicBezTo>
                    <a:pt x="299" y="410"/>
                    <a:pt x="301" y="410"/>
                    <a:pt x="304" y="410"/>
                  </a:cubicBezTo>
                  <a:cubicBezTo>
                    <a:pt x="307" y="410"/>
                    <a:pt x="310" y="411"/>
                    <a:pt x="313" y="412"/>
                  </a:cubicBezTo>
                  <a:cubicBezTo>
                    <a:pt x="313" y="412"/>
                    <a:pt x="313" y="412"/>
                    <a:pt x="313" y="412"/>
                  </a:cubicBezTo>
                  <a:cubicBezTo>
                    <a:pt x="313" y="412"/>
                    <a:pt x="313" y="412"/>
                    <a:pt x="312" y="412"/>
                  </a:cubicBezTo>
                  <a:cubicBezTo>
                    <a:pt x="312" y="412"/>
                    <a:pt x="312" y="412"/>
                    <a:pt x="312" y="412"/>
                  </a:cubicBezTo>
                  <a:cubicBezTo>
                    <a:pt x="310" y="412"/>
                    <a:pt x="310" y="412"/>
                    <a:pt x="310" y="412"/>
                  </a:cubicBezTo>
                  <a:cubicBezTo>
                    <a:pt x="310" y="412"/>
                    <a:pt x="310" y="412"/>
                    <a:pt x="310" y="412"/>
                  </a:cubicBezTo>
                  <a:cubicBezTo>
                    <a:pt x="311" y="415"/>
                    <a:pt x="311" y="415"/>
                    <a:pt x="311" y="415"/>
                  </a:cubicBezTo>
                  <a:cubicBezTo>
                    <a:pt x="311" y="415"/>
                    <a:pt x="311" y="415"/>
                    <a:pt x="311" y="415"/>
                  </a:cubicBezTo>
                  <a:close/>
                  <a:moveTo>
                    <a:pt x="320" y="416"/>
                  </a:moveTo>
                  <a:cubicBezTo>
                    <a:pt x="319" y="416"/>
                    <a:pt x="319" y="416"/>
                    <a:pt x="319" y="416"/>
                  </a:cubicBezTo>
                  <a:cubicBezTo>
                    <a:pt x="318" y="416"/>
                    <a:pt x="318" y="415"/>
                    <a:pt x="317" y="415"/>
                  </a:cubicBezTo>
                  <a:cubicBezTo>
                    <a:pt x="316" y="414"/>
                    <a:pt x="314" y="413"/>
                    <a:pt x="313" y="412"/>
                  </a:cubicBezTo>
                  <a:cubicBezTo>
                    <a:pt x="315" y="413"/>
                    <a:pt x="318" y="415"/>
                    <a:pt x="320" y="41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4" name="Freeform 183">
              <a:extLst>
                <a:ext uri="{FF2B5EF4-FFF2-40B4-BE49-F238E27FC236}">
                  <a16:creationId xmlns:a16="http://schemas.microsoft.com/office/drawing/2014/main" id="{16C1447E-387F-2346-B222-36B54ACD9081}"/>
                </a:ext>
              </a:extLst>
            </p:cNvPr>
            <p:cNvSpPr>
              <a:spLocks/>
            </p:cNvSpPr>
            <p:nvPr/>
          </p:nvSpPr>
          <p:spPr bwMode="auto">
            <a:xfrm>
              <a:off x="19082517" y="9382633"/>
              <a:ext cx="266727" cy="113861"/>
            </a:xfrm>
            <a:custGeom>
              <a:avLst/>
              <a:gdLst>
                <a:gd name="T0" fmla="*/ 41 w 49"/>
                <a:gd name="T1" fmla="*/ 4 h 23"/>
                <a:gd name="T2" fmla="*/ 41 w 49"/>
                <a:gd name="T3" fmla="*/ 4 h 23"/>
                <a:gd name="T4" fmla="*/ 36 w 49"/>
                <a:gd name="T5" fmla="*/ 0 h 23"/>
                <a:gd name="T6" fmla="*/ 35 w 49"/>
                <a:gd name="T7" fmla="*/ 0 h 23"/>
                <a:gd name="T8" fmla="*/ 30 w 49"/>
                <a:gd name="T9" fmla="*/ 2 h 23"/>
                <a:gd name="T10" fmla="*/ 30 w 49"/>
                <a:gd name="T11" fmla="*/ 2 h 23"/>
                <a:gd name="T12" fmla="*/ 25 w 49"/>
                <a:gd name="T13" fmla="*/ 0 h 23"/>
                <a:gd name="T14" fmla="*/ 19 w 49"/>
                <a:gd name="T15" fmla="*/ 3 h 23"/>
                <a:gd name="T16" fmla="*/ 18 w 49"/>
                <a:gd name="T17" fmla="*/ 6 h 23"/>
                <a:gd name="T18" fmla="*/ 18 w 49"/>
                <a:gd name="T19" fmla="*/ 7 h 23"/>
                <a:gd name="T20" fmla="*/ 18 w 49"/>
                <a:gd name="T21" fmla="*/ 7 h 23"/>
                <a:gd name="T22" fmla="*/ 17 w 49"/>
                <a:gd name="T23" fmla="*/ 7 h 23"/>
                <a:gd name="T24" fmla="*/ 17 w 49"/>
                <a:gd name="T25" fmla="*/ 7 h 23"/>
                <a:gd name="T26" fmla="*/ 14 w 49"/>
                <a:gd name="T27" fmla="*/ 3 h 23"/>
                <a:gd name="T28" fmla="*/ 9 w 49"/>
                <a:gd name="T29" fmla="*/ 2 h 23"/>
                <a:gd name="T30" fmla="*/ 5 w 49"/>
                <a:gd name="T31" fmla="*/ 3 h 23"/>
                <a:gd name="T32" fmla="*/ 0 w 49"/>
                <a:gd name="T33" fmla="*/ 8 h 23"/>
                <a:gd name="T34" fmla="*/ 2 w 49"/>
                <a:gd name="T35" fmla="*/ 13 h 23"/>
                <a:gd name="T36" fmla="*/ 10 w 49"/>
                <a:gd name="T37" fmla="*/ 15 h 23"/>
                <a:gd name="T38" fmla="*/ 15 w 49"/>
                <a:gd name="T39" fmla="*/ 14 h 23"/>
                <a:gd name="T40" fmla="*/ 15 w 49"/>
                <a:gd name="T41" fmla="*/ 14 h 23"/>
                <a:gd name="T42" fmla="*/ 21 w 49"/>
                <a:gd name="T43" fmla="*/ 18 h 23"/>
                <a:gd name="T44" fmla="*/ 29 w 49"/>
                <a:gd name="T45" fmla="*/ 21 h 23"/>
                <a:gd name="T46" fmla="*/ 36 w 49"/>
                <a:gd name="T47" fmla="*/ 23 h 23"/>
                <a:gd name="T48" fmla="*/ 42 w 49"/>
                <a:gd name="T49" fmla="*/ 21 h 23"/>
                <a:gd name="T50" fmla="*/ 49 w 49"/>
                <a:gd name="T51" fmla="*/ 10 h 23"/>
                <a:gd name="T52" fmla="*/ 41 w 49"/>
                <a:gd name="T53"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23">
                  <a:moveTo>
                    <a:pt x="41" y="4"/>
                  </a:moveTo>
                  <a:cubicBezTo>
                    <a:pt x="41" y="4"/>
                    <a:pt x="41" y="4"/>
                    <a:pt x="41" y="4"/>
                  </a:cubicBezTo>
                  <a:cubicBezTo>
                    <a:pt x="41" y="2"/>
                    <a:pt x="40" y="0"/>
                    <a:pt x="36" y="0"/>
                  </a:cubicBezTo>
                  <a:cubicBezTo>
                    <a:pt x="36" y="0"/>
                    <a:pt x="35" y="0"/>
                    <a:pt x="35" y="0"/>
                  </a:cubicBezTo>
                  <a:cubicBezTo>
                    <a:pt x="32" y="0"/>
                    <a:pt x="31" y="1"/>
                    <a:pt x="30" y="2"/>
                  </a:cubicBezTo>
                  <a:cubicBezTo>
                    <a:pt x="30" y="2"/>
                    <a:pt x="30" y="2"/>
                    <a:pt x="30" y="2"/>
                  </a:cubicBezTo>
                  <a:cubicBezTo>
                    <a:pt x="28" y="1"/>
                    <a:pt x="27" y="0"/>
                    <a:pt x="25" y="0"/>
                  </a:cubicBezTo>
                  <a:cubicBezTo>
                    <a:pt x="23" y="0"/>
                    <a:pt x="21" y="1"/>
                    <a:pt x="19" y="3"/>
                  </a:cubicBezTo>
                  <a:cubicBezTo>
                    <a:pt x="18" y="4"/>
                    <a:pt x="18" y="5"/>
                    <a:pt x="18" y="6"/>
                  </a:cubicBezTo>
                  <a:cubicBezTo>
                    <a:pt x="18" y="6"/>
                    <a:pt x="18" y="7"/>
                    <a:pt x="18" y="7"/>
                  </a:cubicBezTo>
                  <a:cubicBezTo>
                    <a:pt x="18" y="7"/>
                    <a:pt x="18" y="7"/>
                    <a:pt x="18" y="7"/>
                  </a:cubicBezTo>
                  <a:cubicBezTo>
                    <a:pt x="18" y="7"/>
                    <a:pt x="17" y="7"/>
                    <a:pt x="17" y="7"/>
                  </a:cubicBezTo>
                  <a:cubicBezTo>
                    <a:pt x="17" y="7"/>
                    <a:pt x="17" y="7"/>
                    <a:pt x="17" y="7"/>
                  </a:cubicBezTo>
                  <a:cubicBezTo>
                    <a:pt x="16" y="6"/>
                    <a:pt x="15" y="4"/>
                    <a:pt x="14" y="3"/>
                  </a:cubicBezTo>
                  <a:cubicBezTo>
                    <a:pt x="12" y="2"/>
                    <a:pt x="11" y="2"/>
                    <a:pt x="9" y="2"/>
                  </a:cubicBezTo>
                  <a:cubicBezTo>
                    <a:pt x="8" y="2"/>
                    <a:pt x="7" y="2"/>
                    <a:pt x="5" y="3"/>
                  </a:cubicBezTo>
                  <a:cubicBezTo>
                    <a:pt x="3" y="3"/>
                    <a:pt x="1" y="5"/>
                    <a:pt x="0" y="8"/>
                  </a:cubicBezTo>
                  <a:cubicBezTo>
                    <a:pt x="0" y="10"/>
                    <a:pt x="1" y="11"/>
                    <a:pt x="2" y="13"/>
                  </a:cubicBezTo>
                  <a:cubicBezTo>
                    <a:pt x="4" y="14"/>
                    <a:pt x="8" y="15"/>
                    <a:pt x="10" y="15"/>
                  </a:cubicBezTo>
                  <a:cubicBezTo>
                    <a:pt x="12" y="15"/>
                    <a:pt x="14" y="14"/>
                    <a:pt x="15" y="14"/>
                  </a:cubicBezTo>
                  <a:cubicBezTo>
                    <a:pt x="15" y="14"/>
                    <a:pt x="15" y="14"/>
                    <a:pt x="15" y="14"/>
                  </a:cubicBezTo>
                  <a:cubicBezTo>
                    <a:pt x="16" y="17"/>
                    <a:pt x="19" y="18"/>
                    <a:pt x="21" y="18"/>
                  </a:cubicBezTo>
                  <a:cubicBezTo>
                    <a:pt x="24" y="19"/>
                    <a:pt x="26" y="20"/>
                    <a:pt x="29" y="21"/>
                  </a:cubicBezTo>
                  <a:cubicBezTo>
                    <a:pt x="32" y="22"/>
                    <a:pt x="34" y="23"/>
                    <a:pt x="36" y="23"/>
                  </a:cubicBezTo>
                  <a:cubicBezTo>
                    <a:pt x="38" y="23"/>
                    <a:pt x="40" y="22"/>
                    <a:pt x="42" y="21"/>
                  </a:cubicBezTo>
                  <a:cubicBezTo>
                    <a:pt x="45" y="19"/>
                    <a:pt x="49" y="15"/>
                    <a:pt x="49" y="10"/>
                  </a:cubicBezTo>
                  <a:cubicBezTo>
                    <a:pt x="49" y="9"/>
                    <a:pt x="48" y="4"/>
                    <a:pt x="41" y="4"/>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5" name="Freeform 184">
              <a:extLst>
                <a:ext uri="{FF2B5EF4-FFF2-40B4-BE49-F238E27FC236}">
                  <a16:creationId xmlns:a16="http://schemas.microsoft.com/office/drawing/2014/main" id="{C3021A5D-4322-4D4A-B353-2594625A56B9}"/>
                </a:ext>
              </a:extLst>
            </p:cNvPr>
            <p:cNvSpPr>
              <a:spLocks/>
            </p:cNvSpPr>
            <p:nvPr/>
          </p:nvSpPr>
          <p:spPr bwMode="auto">
            <a:xfrm>
              <a:off x="21757998" y="8544543"/>
              <a:ext cx="387781" cy="158658"/>
            </a:xfrm>
            <a:custGeom>
              <a:avLst/>
              <a:gdLst>
                <a:gd name="T0" fmla="*/ 71 w 71"/>
                <a:gd name="T1" fmla="*/ 6 h 32"/>
                <a:gd name="T2" fmla="*/ 70 w 71"/>
                <a:gd name="T3" fmla="*/ 1 h 32"/>
                <a:gd name="T4" fmla="*/ 66 w 71"/>
                <a:gd name="T5" fmla="*/ 0 h 32"/>
                <a:gd name="T6" fmla="*/ 56 w 71"/>
                <a:gd name="T7" fmla="*/ 5 h 32"/>
                <a:gd name="T8" fmla="*/ 46 w 71"/>
                <a:gd name="T9" fmla="*/ 13 h 32"/>
                <a:gd name="T10" fmla="*/ 41 w 71"/>
                <a:gd name="T11" fmla="*/ 15 h 32"/>
                <a:gd name="T12" fmla="*/ 36 w 71"/>
                <a:gd name="T13" fmla="*/ 17 h 32"/>
                <a:gd name="T14" fmla="*/ 34 w 71"/>
                <a:gd name="T15" fmla="*/ 16 h 32"/>
                <a:gd name="T16" fmla="*/ 33 w 71"/>
                <a:gd name="T17" fmla="*/ 16 h 32"/>
                <a:gd name="T18" fmla="*/ 29 w 71"/>
                <a:gd name="T19" fmla="*/ 14 h 32"/>
                <a:gd name="T20" fmla="*/ 24 w 71"/>
                <a:gd name="T21" fmla="*/ 16 h 32"/>
                <a:gd name="T22" fmla="*/ 23 w 71"/>
                <a:gd name="T23" fmla="*/ 18 h 32"/>
                <a:gd name="T24" fmla="*/ 23 w 71"/>
                <a:gd name="T25" fmla="*/ 18 h 32"/>
                <a:gd name="T26" fmla="*/ 19 w 71"/>
                <a:gd name="T27" fmla="*/ 14 h 32"/>
                <a:gd name="T28" fmla="*/ 16 w 71"/>
                <a:gd name="T29" fmla="*/ 12 h 32"/>
                <a:gd name="T30" fmla="*/ 14 w 71"/>
                <a:gd name="T31" fmla="*/ 11 h 32"/>
                <a:gd name="T32" fmla="*/ 15 w 71"/>
                <a:gd name="T33" fmla="*/ 10 h 32"/>
                <a:gd name="T34" fmla="*/ 14 w 71"/>
                <a:gd name="T35" fmla="*/ 5 h 32"/>
                <a:gd name="T36" fmla="*/ 10 w 71"/>
                <a:gd name="T37" fmla="*/ 2 h 32"/>
                <a:gd name="T38" fmla="*/ 5 w 71"/>
                <a:gd name="T39" fmla="*/ 5 h 32"/>
                <a:gd name="T40" fmla="*/ 2 w 71"/>
                <a:gd name="T41" fmla="*/ 12 h 32"/>
                <a:gd name="T42" fmla="*/ 3 w 71"/>
                <a:gd name="T43" fmla="*/ 22 h 32"/>
                <a:gd name="T44" fmla="*/ 8 w 71"/>
                <a:gd name="T45" fmla="*/ 25 h 32"/>
                <a:gd name="T46" fmla="*/ 10 w 71"/>
                <a:gd name="T47" fmla="*/ 25 h 32"/>
                <a:gd name="T48" fmla="*/ 11 w 71"/>
                <a:gd name="T49" fmla="*/ 25 h 32"/>
                <a:gd name="T50" fmla="*/ 11 w 71"/>
                <a:gd name="T51" fmla="*/ 25 h 32"/>
                <a:gd name="T52" fmla="*/ 12 w 71"/>
                <a:gd name="T53" fmla="*/ 26 h 32"/>
                <a:gd name="T54" fmla="*/ 15 w 71"/>
                <a:gd name="T55" fmla="*/ 30 h 32"/>
                <a:gd name="T56" fmla="*/ 18 w 71"/>
                <a:gd name="T57" fmla="*/ 30 h 32"/>
                <a:gd name="T58" fmla="*/ 22 w 71"/>
                <a:gd name="T59" fmla="*/ 28 h 32"/>
                <a:gd name="T60" fmla="*/ 25 w 71"/>
                <a:gd name="T61" fmla="*/ 28 h 32"/>
                <a:gd name="T62" fmla="*/ 27 w 71"/>
                <a:gd name="T63" fmla="*/ 28 h 32"/>
                <a:gd name="T64" fmla="*/ 31 w 71"/>
                <a:gd name="T65" fmla="*/ 29 h 32"/>
                <a:gd name="T66" fmla="*/ 33 w 71"/>
                <a:gd name="T67" fmla="*/ 28 h 32"/>
                <a:gd name="T68" fmla="*/ 34 w 71"/>
                <a:gd name="T69" fmla="*/ 28 h 32"/>
                <a:gd name="T70" fmla="*/ 37 w 71"/>
                <a:gd name="T71" fmla="*/ 28 h 32"/>
                <a:gd name="T72" fmla="*/ 38 w 71"/>
                <a:gd name="T73" fmla="*/ 28 h 32"/>
                <a:gd name="T74" fmla="*/ 40 w 71"/>
                <a:gd name="T75" fmla="*/ 28 h 32"/>
                <a:gd name="T76" fmla="*/ 44 w 71"/>
                <a:gd name="T77" fmla="*/ 28 h 32"/>
                <a:gd name="T78" fmla="*/ 47 w 71"/>
                <a:gd name="T79" fmla="*/ 27 h 32"/>
                <a:gd name="T80" fmla="*/ 51 w 71"/>
                <a:gd name="T81" fmla="*/ 29 h 32"/>
                <a:gd name="T82" fmla="*/ 58 w 71"/>
                <a:gd name="T83" fmla="*/ 32 h 32"/>
                <a:gd name="T84" fmla="*/ 63 w 71"/>
                <a:gd name="T85" fmla="*/ 27 h 32"/>
                <a:gd name="T86" fmla="*/ 66 w 71"/>
                <a:gd name="T87" fmla="*/ 25 h 32"/>
                <a:gd name="T88" fmla="*/ 66 w 71"/>
                <a:gd name="T89" fmla="*/ 19 h 32"/>
                <a:gd name="T90" fmla="*/ 63 w 71"/>
                <a:gd name="T91" fmla="*/ 16 h 32"/>
                <a:gd name="T92" fmla="*/ 71 w 71"/>
                <a:gd name="T9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 h="32">
                  <a:moveTo>
                    <a:pt x="71" y="6"/>
                  </a:moveTo>
                  <a:cubicBezTo>
                    <a:pt x="71" y="4"/>
                    <a:pt x="71" y="2"/>
                    <a:pt x="70" y="1"/>
                  </a:cubicBezTo>
                  <a:cubicBezTo>
                    <a:pt x="69" y="0"/>
                    <a:pt x="68" y="0"/>
                    <a:pt x="66" y="0"/>
                  </a:cubicBezTo>
                  <a:cubicBezTo>
                    <a:pt x="62" y="0"/>
                    <a:pt x="56" y="5"/>
                    <a:pt x="56" y="5"/>
                  </a:cubicBezTo>
                  <a:cubicBezTo>
                    <a:pt x="53" y="8"/>
                    <a:pt x="50" y="11"/>
                    <a:pt x="46" y="13"/>
                  </a:cubicBezTo>
                  <a:cubicBezTo>
                    <a:pt x="44" y="13"/>
                    <a:pt x="42" y="14"/>
                    <a:pt x="41" y="15"/>
                  </a:cubicBezTo>
                  <a:cubicBezTo>
                    <a:pt x="39" y="16"/>
                    <a:pt x="37" y="17"/>
                    <a:pt x="36" y="17"/>
                  </a:cubicBezTo>
                  <a:cubicBezTo>
                    <a:pt x="35" y="17"/>
                    <a:pt x="35" y="17"/>
                    <a:pt x="34" y="16"/>
                  </a:cubicBezTo>
                  <a:cubicBezTo>
                    <a:pt x="34" y="16"/>
                    <a:pt x="33" y="16"/>
                    <a:pt x="33" y="16"/>
                  </a:cubicBezTo>
                  <a:cubicBezTo>
                    <a:pt x="32" y="15"/>
                    <a:pt x="30" y="14"/>
                    <a:pt x="29" y="14"/>
                  </a:cubicBezTo>
                  <a:cubicBezTo>
                    <a:pt x="27" y="14"/>
                    <a:pt x="26" y="15"/>
                    <a:pt x="24" y="16"/>
                  </a:cubicBezTo>
                  <a:cubicBezTo>
                    <a:pt x="24" y="17"/>
                    <a:pt x="23" y="17"/>
                    <a:pt x="23" y="18"/>
                  </a:cubicBezTo>
                  <a:cubicBezTo>
                    <a:pt x="23" y="18"/>
                    <a:pt x="23" y="18"/>
                    <a:pt x="23" y="18"/>
                  </a:cubicBezTo>
                  <a:cubicBezTo>
                    <a:pt x="22" y="16"/>
                    <a:pt x="21" y="15"/>
                    <a:pt x="19" y="14"/>
                  </a:cubicBezTo>
                  <a:cubicBezTo>
                    <a:pt x="18" y="13"/>
                    <a:pt x="17" y="13"/>
                    <a:pt x="16" y="12"/>
                  </a:cubicBezTo>
                  <a:cubicBezTo>
                    <a:pt x="16" y="12"/>
                    <a:pt x="15" y="11"/>
                    <a:pt x="14" y="11"/>
                  </a:cubicBezTo>
                  <a:cubicBezTo>
                    <a:pt x="14" y="11"/>
                    <a:pt x="14" y="10"/>
                    <a:pt x="15" y="10"/>
                  </a:cubicBezTo>
                  <a:cubicBezTo>
                    <a:pt x="15" y="9"/>
                    <a:pt x="15" y="7"/>
                    <a:pt x="14" y="5"/>
                  </a:cubicBezTo>
                  <a:cubicBezTo>
                    <a:pt x="14" y="3"/>
                    <a:pt x="12" y="2"/>
                    <a:pt x="10" y="2"/>
                  </a:cubicBezTo>
                  <a:cubicBezTo>
                    <a:pt x="8" y="2"/>
                    <a:pt x="7" y="3"/>
                    <a:pt x="5" y="5"/>
                  </a:cubicBezTo>
                  <a:cubicBezTo>
                    <a:pt x="4" y="7"/>
                    <a:pt x="3" y="9"/>
                    <a:pt x="2" y="12"/>
                  </a:cubicBezTo>
                  <a:cubicBezTo>
                    <a:pt x="2" y="13"/>
                    <a:pt x="0" y="18"/>
                    <a:pt x="3" y="22"/>
                  </a:cubicBezTo>
                  <a:cubicBezTo>
                    <a:pt x="4" y="24"/>
                    <a:pt x="6" y="25"/>
                    <a:pt x="8" y="25"/>
                  </a:cubicBezTo>
                  <a:cubicBezTo>
                    <a:pt x="8" y="25"/>
                    <a:pt x="9" y="25"/>
                    <a:pt x="10" y="25"/>
                  </a:cubicBezTo>
                  <a:cubicBezTo>
                    <a:pt x="10" y="25"/>
                    <a:pt x="10" y="25"/>
                    <a:pt x="11" y="25"/>
                  </a:cubicBezTo>
                  <a:cubicBezTo>
                    <a:pt x="11" y="25"/>
                    <a:pt x="11" y="25"/>
                    <a:pt x="11" y="25"/>
                  </a:cubicBezTo>
                  <a:cubicBezTo>
                    <a:pt x="11" y="25"/>
                    <a:pt x="12" y="25"/>
                    <a:pt x="12" y="26"/>
                  </a:cubicBezTo>
                  <a:cubicBezTo>
                    <a:pt x="12" y="27"/>
                    <a:pt x="13" y="29"/>
                    <a:pt x="15" y="30"/>
                  </a:cubicBezTo>
                  <a:cubicBezTo>
                    <a:pt x="16" y="30"/>
                    <a:pt x="17" y="30"/>
                    <a:pt x="18" y="30"/>
                  </a:cubicBezTo>
                  <a:cubicBezTo>
                    <a:pt x="19" y="30"/>
                    <a:pt x="21" y="29"/>
                    <a:pt x="22" y="28"/>
                  </a:cubicBezTo>
                  <a:cubicBezTo>
                    <a:pt x="23" y="28"/>
                    <a:pt x="24" y="28"/>
                    <a:pt x="25" y="28"/>
                  </a:cubicBezTo>
                  <a:cubicBezTo>
                    <a:pt x="25" y="28"/>
                    <a:pt x="26" y="28"/>
                    <a:pt x="27" y="28"/>
                  </a:cubicBezTo>
                  <a:cubicBezTo>
                    <a:pt x="28" y="28"/>
                    <a:pt x="29" y="29"/>
                    <a:pt x="31" y="29"/>
                  </a:cubicBezTo>
                  <a:cubicBezTo>
                    <a:pt x="32" y="29"/>
                    <a:pt x="32" y="29"/>
                    <a:pt x="33" y="28"/>
                  </a:cubicBezTo>
                  <a:cubicBezTo>
                    <a:pt x="34" y="28"/>
                    <a:pt x="34" y="28"/>
                    <a:pt x="34" y="28"/>
                  </a:cubicBezTo>
                  <a:cubicBezTo>
                    <a:pt x="35" y="28"/>
                    <a:pt x="36" y="28"/>
                    <a:pt x="37" y="28"/>
                  </a:cubicBezTo>
                  <a:cubicBezTo>
                    <a:pt x="37" y="28"/>
                    <a:pt x="38" y="28"/>
                    <a:pt x="38" y="28"/>
                  </a:cubicBezTo>
                  <a:cubicBezTo>
                    <a:pt x="39" y="28"/>
                    <a:pt x="40" y="28"/>
                    <a:pt x="40" y="28"/>
                  </a:cubicBezTo>
                  <a:cubicBezTo>
                    <a:pt x="42" y="28"/>
                    <a:pt x="43" y="28"/>
                    <a:pt x="44" y="28"/>
                  </a:cubicBezTo>
                  <a:cubicBezTo>
                    <a:pt x="45" y="28"/>
                    <a:pt x="46" y="27"/>
                    <a:pt x="47" y="27"/>
                  </a:cubicBezTo>
                  <a:cubicBezTo>
                    <a:pt x="48" y="27"/>
                    <a:pt x="50" y="28"/>
                    <a:pt x="51" y="29"/>
                  </a:cubicBezTo>
                  <a:cubicBezTo>
                    <a:pt x="53" y="30"/>
                    <a:pt x="56" y="32"/>
                    <a:pt x="58" y="32"/>
                  </a:cubicBezTo>
                  <a:cubicBezTo>
                    <a:pt x="59" y="32"/>
                    <a:pt x="62" y="31"/>
                    <a:pt x="63" y="27"/>
                  </a:cubicBezTo>
                  <a:cubicBezTo>
                    <a:pt x="64" y="27"/>
                    <a:pt x="65" y="26"/>
                    <a:pt x="66" y="25"/>
                  </a:cubicBezTo>
                  <a:cubicBezTo>
                    <a:pt x="67" y="23"/>
                    <a:pt x="67" y="21"/>
                    <a:pt x="66" y="19"/>
                  </a:cubicBezTo>
                  <a:cubicBezTo>
                    <a:pt x="65" y="18"/>
                    <a:pt x="64" y="17"/>
                    <a:pt x="63" y="16"/>
                  </a:cubicBezTo>
                  <a:cubicBezTo>
                    <a:pt x="67" y="13"/>
                    <a:pt x="71" y="9"/>
                    <a:pt x="71" y="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6" name="Freeform 185">
              <a:extLst>
                <a:ext uri="{FF2B5EF4-FFF2-40B4-BE49-F238E27FC236}">
                  <a16:creationId xmlns:a16="http://schemas.microsoft.com/office/drawing/2014/main" id="{58876338-A8E7-2541-B305-F63E00C1ADA7}"/>
                </a:ext>
              </a:extLst>
            </p:cNvPr>
            <p:cNvSpPr>
              <a:spLocks/>
            </p:cNvSpPr>
            <p:nvPr/>
          </p:nvSpPr>
          <p:spPr bwMode="auto">
            <a:xfrm>
              <a:off x="17338530" y="7338739"/>
              <a:ext cx="3106348" cy="2881984"/>
            </a:xfrm>
            <a:custGeom>
              <a:avLst/>
              <a:gdLst>
                <a:gd name="T0" fmla="*/ 559 w 570"/>
                <a:gd name="T1" fmla="*/ 394 h 581"/>
                <a:gd name="T2" fmla="*/ 526 w 570"/>
                <a:gd name="T3" fmla="*/ 405 h 581"/>
                <a:gd name="T4" fmla="*/ 491 w 570"/>
                <a:gd name="T5" fmla="*/ 395 h 581"/>
                <a:gd name="T6" fmla="*/ 440 w 570"/>
                <a:gd name="T7" fmla="*/ 385 h 581"/>
                <a:gd name="T8" fmla="*/ 410 w 570"/>
                <a:gd name="T9" fmla="*/ 340 h 581"/>
                <a:gd name="T10" fmla="*/ 384 w 570"/>
                <a:gd name="T11" fmla="*/ 194 h 581"/>
                <a:gd name="T12" fmla="*/ 380 w 570"/>
                <a:gd name="T13" fmla="*/ 198 h 581"/>
                <a:gd name="T14" fmla="*/ 354 w 570"/>
                <a:gd name="T15" fmla="*/ 176 h 581"/>
                <a:gd name="T16" fmla="*/ 337 w 570"/>
                <a:gd name="T17" fmla="*/ 165 h 581"/>
                <a:gd name="T18" fmla="*/ 318 w 570"/>
                <a:gd name="T19" fmla="*/ 142 h 581"/>
                <a:gd name="T20" fmla="*/ 316 w 570"/>
                <a:gd name="T21" fmla="*/ 132 h 581"/>
                <a:gd name="T22" fmla="*/ 315 w 570"/>
                <a:gd name="T23" fmla="*/ 115 h 581"/>
                <a:gd name="T24" fmla="*/ 310 w 570"/>
                <a:gd name="T25" fmla="*/ 95 h 581"/>
                <a:gd name="T26" fmla="*/ 309 w 570"/>
                <a:gd name="T27" fmla="*/ 73 h 581"/>
                <a:gd name="T28" fmla="*/ 296 w 570"/>
                <a:gd name="T29" fmla="*/ 54 h 581"/>
                <a:gd name="T30" fmla="*/ 282 w 570"/>
                <a:gd name="T31" fmla="*/ 54 h 581"/>
                <a:gd name="T32" fmla="*/ 269 w 570"/>
                <a:gd name="T33" fmla="*/ 51 h 581"/>
                <a:gd name="T34" fmla="*/ 246 w 570"/>
                <a:gd name="T35" fmla="*/ 56 h 581"/>
                <a:gd name="T36" fmla="*/ 238 w 570"/>
                <a:gd name="T37" fmla="*/ 51 h 581"/>
                <a:gd name="T38" fmla="*/ 226 w 570"/>
                <a:gd name="T39" fmla="*/ 42 h 581"/>
                <a:gd name="T40" fmla="*/ 208 w 570"/>
                <a:gd name="T41" fmla="*/ 36 h 581"/>
                <a:gd name="T42" fmla="*/ 193 w 570"/>
                <a:gd name="T43" fmla="*/ 30 h 581"/>
                <a:gd name="T44" fmla="*/ 177 w 570"/>
                <a:gd name="T45" fmla="*/ 13 h 581"/>
                <a:gd name="T46" fmla="*/ 161 w 570"/>
                <a:gd name="T47" fmla="*/ 1 h 581"/>
                <a:gd name="T48" fmla="*/ 0 w 570"/>
                <a:gd name="T49" fmla="*/ 288 h 581"/>
                <a:gd name="T50" fmla="*/ 6 w 570"/>
                <a:gd name="T51" fmla="*/ 297 h 581"/>
                <a:gd name="T52" fmla="*/ 47 w 570"/>
                <a:gd name="T53" fmla="*/ 322 h 581"/>
                <a:gd name="T54" fmla="*/ 69 w 570"/>
                <a:gd name="T55" fmla="*/ 337 h 581"/>
                <a:gd name="T56" fmla="*/ 87 w 570"/>
                <a:gd name="T57" fmla="*/ 346 h 581"/>
                <a:gd name="T58" fmla="*/ 121 w 570"/>
                <a:gd name="T59" fmla="*/ 345 h 581"/>
                <a:gd name="T60" fmla="*/ 160 w 570"/>
                <a:gd name="T61" fmla="*/ 332 h 581"/>
                <a:gd name="T62" fmla="*/ 182 w 570"/>
                <a:gd name="T63" fmla="*/ 310 h 581"/>
                <a:gd name="T64" fmla="*/ 208 w 570"/>
                <a:gd name="T65" fmla="*/ 316 h 581"/>
                <a:gd name="T66" fmla="*/ 227 w 570"/>
                <a:gd name="T67" fmla="*/ 325 h 581"/>
                <a:gd name="T68" fmla="*/ 243 w 570"/>
                <a:gd name="T69" fmla="*/ 348 h 581"/>
                <a:gd name="T70" fmla="*/ 266 w 570"/>
                <a:gd name="T71" fmla="*/ 346 h 581"/>
                <a:gd name="T72" fmla="*/ 275 w 570"/>
                <a:gd name="T73" fmla="*/ 370 h 581"/>
                <a:gd name="T74" fmla="*/ 282 w 570"/>
                <a:gd name="T75" fmla="*/ 389 h 581"/>
                <a:gd name="T76" fmla="*/ 327 w 570"/>
                <a:gd name="T77" fmla="*/ 413 h 581"/>
                <a:gd name="T78" fmla="*/ 385 w 570"/>
                <a:gd name="T79" fmla="*/ 418 h 581"/>
                <a:gd name="T80" fmla="*/ 393 w 570"/>
                <a:gd name="T81" fmla="*/ 421 h 581"/>
                <a:gd name="T82" fmla="*/ 415 w 570"/>
                <a:gd name="T83" fmla="*/ 448 h 581"/>
                <a:gd name="T84" fmla="*/ 414 w 570"/>
                <a:gd name="T85" fmla="*/ 460 h 581"/>
                <a:gd name="T86" fmla="*/ 398 w 570"/>
                <a:gd name="T87" fmla="*/ 458 h 581"/>
                <a:gd name="T88" fmla="*/ 384 w 570"/>
                <a:gd name="T89" fmla="*/ 447 h 581"/>
                <a:gd name="T90" fmla="*/ 365 w 570"/>
                <a:gd name="T91" fmla="*/ 441 h 581"/>
                <a:gd name="T92" fmla="*/ 374 w 570"/>
                <a:gd name="T93" fmla="*/ 471 h 581"/>
                <a:gd name="T94" fmla="*/ 370 w 570"/>
                <a:gd name="T95" fmla="*/ 495 h 581"/>
                <a:gd name="T96" fmla="*/ 360 w 570"/>
                <a:gd name="T97" fmla="*/ 530 h 581"/>
                <a:gd name="T98" fmla="*/ 363 w 570"/>
                <a:gd name="T99" fmla="*/ 551 h 581"/>
                <a:gd name="T100" fmla="*/ 340 w 570"/>
                <a:gd name="T101" fmla="*/ 577 h 581"/>
                <a:gd name="T102" fmla="*/ 386 w 570"/>
                <a:gd name="T103" fmla="*/ 555 h 581"/>
                <a:gd name="T104" fmla="*/ 409 w 570"/>
                <a:gd name="T105" fmla="*/ 547 h 581"/>
                <a:gd name="T106" fmla="*/ 439 w 570"/>
                <a:gd name="T107" fmla="*/ 535 h 581"/>
                <a:gd name="T108" fmla="*/ 457 w 570"/>
                <a:gd name="T109" fmla="*/ 512 h 581"/>
                <a:gd name="T110" fmla="*/ 441 w 570"/>
                <a:gd name="T111" fmla="*/ 502 h 581"/>
                <a:gd name="T112" fmla="*/ 492 w 570"/>
                <a:gd name="T113" fmla="*/ 477 h 581"/>
                <a:gd name="T114" fmla="*/ 521 w 570"/>
                <a:gd name="T115" fmla="*/ 460 h 581"/>
                <a:gd name="T116" fmla="*/ 570 w 570"/>
                <a:gd name="T117" fmla="*/ 416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0" h="581">
                  <a:moveTo>
                    <a:pt x="569" y="413"/>
                  </a:moveTo>
                  <a:cubicBezTo>
                    <a:pt x="568" y="411"/>
                    <a:pt x="568" y="410"/>
                    <a:pt x="567" y="408"/>
                  </a:cubicBezTo>
                  <a:cubicBezTo>
                    <a:pt x="567" y="408"/>
                    <a:pt x="566" y="405"/>
                    <a:pt x="566" y="404"/>
                  </a:cubicBezTo>
                  <a:cubicBezTo>
                    <a:pt x="565" y="399"/>
                    <a:pt x="563" y="396"/>
                    <a:pt x="561" y="395"/>
                  </a:cubicBezTo>
                  <a:cubicBezTo>
                    <a:pt x="560" y="394"/>
                    <a:pt x="560" y="394"/>
                    <a:pt x="559" y="394"/>
                  </a:cubicBezTo>
                  <a:cubicBezTo>
                    <a:pt x="556" y="394"/>
                    <a:pt x="553" y="395"/>
                    <a:pt x="550" y="397"/>
                  </a:cubicBezTo>
                  <a:cubicBezTo>
                    <a:pt x="547" y="397"/>
                    <a:pt x="544" y="398"/>
                    <a:pt x="542" y="399"/>
                  </a:cubicBezTo>
                  <a:cubicBezTo>
                    <a:pt x="537" y="400"/>
                    <a:pt x="533" y="401"/>
                    <a:pt x="529" y="403"/>
                  </a:cubicBezTo>
                  <a:cubicBezTo>
                    <a:pt x="528" y="404"/>
                    <a:pt x="527" y="405"/>
                    <a:pt x="526" y="405"/>
                  </a:cubicBezTo>
                  <a:cubicBezTo>
                    <a:pt x="526" y="405"/>
                    <a:pt x="526" y="405"/>
                    <a:pt x="526" y="405"/>
                  </a:cubicBezTo>
                  <a:cubicBezTo>
                    <a:pt x="523" y="407"/>
                    <a:pt x="521" y="408"/>
                    <a:pt x="518" y="408"/>
                  </a:cubicBezTo>
                  <a:cubicBezTo>
                    <a:pt x="516" y="408"/>
                    <a:pt x="514" y="407"/>
                    <a:pt x="511" y="406"/>
                  </a:cubicBezTo>
                  <a:cubicBezTo>
                    <a:pt x="508" y="405"/>
                    <a:pt x="506" y="403"/>
                    <a:pt x="504" y="401"/>
                  </a:cubicBezTo>
                  <a:cubicBezTo>
                    <a:pt x="500" y="398"/>
                    <a:pt x="496" y="395"/>
                    <a:pt x="492" y="395"/>
                  </a:cubicBezTo>
                  <a:cubicBezTo>
                    <a:pt x="491" y="395"/>
                    <a:pt x="491" y="395"/>
                    <a:pt x="491" y="395"/>
                  </a:cubicBezTo>
                  <a:cubicBezTo>
                    <a:pt x="487" y="395"/>
                    <a:pt x="481" y="397"/>
                    <a:pt x="476" y="398"/>
                  </a:cubicBezTo>
                  <a:cubicBezTo>
                    <a:pt x="473" y="398"/>
                    <a:pt x="470" y="399"/>
                    <a:pt x="468" y="399"/>
                  </a:cubicBezTo>
                  <a:cubicBezTo>
                    <a:pt x="466" y="400"/>
                    <a:pt x="464" y="400"/>
                    <a:pt x="462" y="400"/>
                  </a:cubicBezTo>
                  <a:cubicBezTo>
                    <a:pt x="451" y="400"/>
                    <a:pt x="447" y="394"/>
                    <a:pt x="441" y="386"/>
                  </a:cubicBezTo>
                  <a:cubicBezTo>
                    <a:pt x="440" y="385"/>
                    <a:pt x="440" y="385"/>
                    <a:pt x="440" y="385"/>
                  </a:cubicBezTo>
                  <a:cubicBezTo>
                    <a:pt x="439" y="383"/>
                    <a:pt x="438" y="382"/>
                    <a:pt x="436" y="380"/>
                  </a:cubicBezTo>
                  <a:cubicBezTo>
                    <a:pt x="434" y="377"/>
                    <a:pt x="432" y="375"/>
                    <a:pt x="430" y="373"/>
                  </a:cubicBezTo>
                  <a:cubicBezTo>
                    <a:pt x="427" y="371"/>
                    <a:pt x="425" y="369"/>
                    <a:pt x="423" y="366"/>
                  </a:cubicBezTo>
                  <a:cubicBezTo>
                    <a:pt x="422" y="365"/>
                    <a:pt x="421" y="364"/>
                    <a:pt x="420" y="363"/>
                  </a:cubicBezTo>
                  <a:cubicBezTo>
                    <a:pt x="415" y="355"/>
                    <a:pt x="411" y="351"/>
                    <a:pt x="410" y="340"/>
                  </a:cubicBezTo>
                  <a:cubicBezTo>
                    <a:pt x="410" y="336"/>
                    <a:pt x="410" y="332"/>
                    <a:pt x="409" y="328"/>
                  </a:cubicBezTo>
                  <a:cubicBezTo>
                    <a:pt x="409" y="327"/>
                    <a:pt x="408" y="325"/>
                    <a:pt x="408" y="324"/>
                  </a:cubicBezTo>
                  <a:cubicBezTo>
                    <a:pt x="401" y="278"/>
                    <a:pt x="395" y="232"/>
                    <a:pt x="390" y="194"/>
                  </a:cubicBezTo>
                  <a:cubicBezTo>
                    <a:pt x="384" y="194"/>
                    <a:pt x="384" y="194"/>
                    <a:pt x="384" y="194"/>
                  </a:cubicBezTo>
                  <a:cubicBezTo>
                    <a:pt x="384" y="194"/>
                    <a:pt x="384" y="194"/>
                    <a:pt x="384" y="194"/>
                  </a:cubicBezTo>
                  <a:cubicBezTo>
                    <a:pt x="384" y="195"/>
                    <a:pt x="384" y="195"/>
                    <a:pt x="384" y="196"/>
                  </a:cubicBezTo>
                  <a:cubicBezTo>
                    <a:pt x="384" y="197"/>
                    <a:pt x="384" y="197"/>
                    <a:pt x="384" y="197"/>
                  </a:cubicBezTo>
                  <a:cubicBezTo>
                    <a:pt x="384" y="198"/>
                    <a:pt x="383" y="200"/>
                    <a:pt x="383" y="201"/>
                  </a:cubicBezTo>
                  <a:cubicBezTo>
                    <a:pt x="382" y="200"/>
                    <a:pt x="382" y="200"/>
                    <a:pt x="381" y="199"/>
                  </a:cubicBezTo>
                  <a:cubicBezTo>
                    <a:pt x="380" y="199"/>
                    <a:pt x="380" y="198"/>
                    <a:pt x="380" y="198"/>
                  </a:cubicBezTo>
                  <a:cubicBezTo>
                    <a:pt x="377" y="196"/>
                    <a:pt x="374" y="195"/>
                    <a:pt x="371" y="195"/>
                  </a:cubicBezTo>
                  <a:cubicBezTo>
                    <a:pt x="369" y="195"/>
                    <a:pt x="368" y="195"/>
                    <a:pt x="366" y="196"/>
                  </a:cubicBezTo>
                  <a:cubicBezTo>
                    <a:pt x="366" y="195"/>
                    <a:pt x="366" y="195"/>
                    <a:pt x="366" y="195"/>
                  </a:cubicBezTo>
                  <a:cubicBezTo>
                    <a:pt x="367" y="192"/>
                    <a:pt x="367" y="189"/>
                    <a:pt x="364" y="185"/>
                  </a:cubicBezTo>
                  <a:cubicBezTo>
                    <a:pt x="362" y="181"/>
                    <a:pt x="358" y="178"/>
                    <a:pt x="354" y="176"/>
                  </a:cubicBezTo>
                  <a:cubicBezTo>
                    <a:pt x="350" y="173"/>
                    <a:pt x="345" y="170"/>
                    <a:pt x="341" y="168"/>
                  </a:cubicBezTo>
                  <a:cubicBezTo>
                    <a:pt x="340" y="167"/>
                    <a:pt x="340" y="167"/>
                    <a:pt x="340" y="167"/>
                  </a:cubicBezTo>
                  <a:cubicBezTo>
                    <a:pt x="339" y="167"/>
                    <a:pt x="338" y="166"/>
                    <a:pt x="337" y="166"/>
                  </a:cubicBezTo>
                  <a:cubicBezTo>
                    <a:pt x="337" y="166"/>
                    <a:pt x="336" y="166"/>
                    <a:pt x="336" y="166"/>
                  </a:cubicBezTo>
                  <a:cubicBezTo>
                    <a:pt x="336" y="166"/>
                    <a:pt x="337" y="165"/>
                    <a:pt x="337" y="165"/>
                  </a:cubicBezTo>
                  <a:cubicBezTo>
                    <a:pt x="339" y="158"/>
                    <a:pt x="332" y="153"/>
                    <a:pt x="327" y="149"/>
                  </a:cubicBezTo>
                  <a:cubicBezTo>
                    <a:pt x="326" y="148"/>
                    <a:pt x="325" y="148"/>
                    <a:pt x="325" y="147"/>
                  </a:cubicBezTo>
                  <a:cubicBezTo>
                    <a:pt x="324" y="146"/>
                    <a:pt x="322" y="145"/>
                    <a:pt x="321" y="144"/>
                  </a:cubicBezTo>
                  <a:cubicBezTo>
                    <a:pt x="320" y="144"/>
                    <a:pt x="320" y="144"/>
                    <a:pt x="320" y="144"/>
                  </a:cubicBezTo>
                  <a:cubicBezTo>
                    <a:pt x="320" y="143"/>
                    <a:pt x="319" y="143"/>
                    <a:pt x="318" y="142"/>
                  </a:cubicBezTo>
                  <a:cubicBezTo>
                    <a:pt x="318" y="142"/>
                    <a:pt x="317" y="142"/>
                    <a:pt x="317" y="141"/>
                  </a:cubicBezTo>
                  <a:cubicBezTo>
                    <a:pt x="317" y="141"/>
                    <a:pt x="317" y="140"/>
                    <a:pt x="316" y="140"/>
                  </a:cubicBezTo>
                  <a:cubicBezTo>
                    <a:pt x="316" y="138"/>
                    <a:pt x="316" y="138"/>
                    <a:pt x="316" y="138"/>
                  </a:cubicBezTo>
                  <a:cubicBezTo>
                    <a:pt x="316" y="136"/>
                    <a:pt x="316" y="135"/>
                    <a:pt x="316" y="133"/>
                  </a:cubicBezTo>
                  <a:cubicBezTo>
                    <a:pt x="316" y="133"/>
                    <a:pt x="316" y="133"/>
                    <a:pt x="316" y="132"/>
                  </a:cubicBezTo>
                  <a:cubicBezTo>
                    <a:pt x="316" y="131"/>
                    <a:pt x="317" y="131"/>
                    <a:pt x="317" y="130"/>
                  </a:cubicBezTo>
                  <a:cubicBezTo>
                    <a:pt x="318" y="127"/>
                    <a:pt x="318" y="123"/>
                    <a:pt x="317" y="120"/>
                  </a:cubicBezTo>
                  <a:cubicBezTo>
                    <a:pt x="317" y="120"/>
                    <a:pt x="316" y="119"/>
                    <a:pt x="316" y="119"/>
                  </a:cubicBezTo>
                  <a:cubicBezTo>
                    <a:pt x="316" y="118"/>
                    <a:pt x="316" y="118"/>
                    <a:pt x="316" y="118"/>
                  </a:cubicBezTo>
                  <a:cubicBezTo>
                    <a:pt x="315" y="117"/>
                    <a:pt x="315" y="116"/>
                    <a:pt x="315" y="115"/>
                  </a:cubicBezTo>
                  <a:cubicBezTo>
                    <a:pt x="315" y="115"/>
                    <a:pt x="315" y="115"/>
                    <a:pt x="315" y="115"/>
                  </a:cubicBezTo>
                  <a:cubicBezTo>
                    <a:pt x="315" y="113"/>
                    <a:pt x="315" y="111"/>
                    <a:pt x="315" y="109"/>
                  </a:cubicBezTo>
                  <a:cubicBezTo>
                    <a:pt x="315" y="108"/>
                    <a:pt x="315" y="106"/>
                    <a:pt x="315" y="104"/>
                  </a:cubicBezTo>
                  <a:cubicBezTo>
                    <a:pt x="315" y="102"/>
                    <a:pt x="315" y="100"/>
                    <a:pt x="314" y="98"/>
                  </a:cubicBezTo>
                  <a:cubicBezTo>
                    <a:pt x="313" y="96"/>
                    <a:pt x="311" y="95"/>
                    <a:pt x="310" y="95"/>
                  </a:cubicBezTo>
                  <a:cubicBezTo>
                    <a:pt x="309" y="95"/>
                    <a:pt x="309" y="95"/>
                    <a:pt x="309" y="95"/>
                  </a:cubicBezTo>
                  <a:cubicBezTo>
                    <a:pt x="307" y="94"/>
                    <a:pt x="307" y="89"/>
                    <a:pt x="307" y="87"/>
                  </a:cubicBezTo>
                  <a:cubicBezTo>
                    <a:pt x="307" y="85"/>
                    <a:pt x="307" y="84"/>
                    <a:pt x="307" y="84"/>
                  </a:cubicBezTo>
                  <a:cubicBezTo>
                    <a:pt x="307" y="82"/>
                    <a:pt x="308" y="79"/>
                    <a:pt x="308" y="77"/>
                  </a:cubicBezTo>
                  <a:cubicBezTo>
                    <a:pt x="309" y="76"/>
                    <a:pt x="309" y="74"/>
                    <a:pt x="309" y="73"/>
                  </a:cubicBezTo>
                  <a:cubicBezTo>
                    <a:pt x="310" y="70"/>
                    <a:pt x="309" y="68"/>
                    <a:pt x="309" y="67"/>
                  </a:cubicBezTo>
                  <a:cubicBezTo>
                    <a:pt x="308" y="66"/>
                    <a:pt x="308" y="65"/>
                    <a:pt x="308" y="64"/>
                  </a:cubicBezTo>
                  <a:cubicBezTo>
                    <a:pt x="308" y="64"/>
                    <a:pt x="308" y="64"/>
                    <a:pt x="308" y="64"/>
                  </a:cubicBezTo>
                  <a:cubicBezTo>
                    <a:pt x="308" y="62"/>
                    <a:pt x="307" y="59"/>
                    <a:pt x="305" y="57"/>
                  </a:cubicBezTo>
                  <a:cubicBezTo>
                    <a:pt x="302" y="55"/>
                    <a:pt x="299" y="54"/>
                    <a:pt x="296" y="54"/>
                  </a:cubicBezTo>
                  <a:cubicBezTo>
                    <a:pt x="295" y="54"/>
                    <a:pt x="294" y="54"/>
                    <a:pt x="292" y="55"/>
                  </a:cubicBezTo>
                  <a:cubicBezTo>
                    <a:pt x="292" y="55"/>
                    <a:pt x="291" y="55"/>
                    <a:pt x="291" y="55"/>
                  </a:cubicBezTo>
                  <a:cubicBezTo>
                    <a:pt x="289" y="55"/>
                    <a:pt x="288" y="55"/>
                    <a:pt x="287" y="54"/>
                  </a:cubicBezTo>
                  <a:cubicBezTo>
                    <a:pt x="286" y="54"/>
                    <a:pt x="286" y="54"/>
                    <a:pt x="285" y="54"/>
                  </a:cubicBezTo>
                  <a:cubicBezTo>
                    <a:pt x="284" y="54"/>
                    <a:pt x="283" y="54"/>
                    <a:pt x="282" y="54"/>
                  </a:cubicBezTo>
                  <a:cubicBezTo>
                    <a:pt x="281" y="54"/>
                    <a:pt x="280" y="54"/>
                    <a:pt x="279" y="54"/>
                  </a:cubicBezTo>
                  <a:cubicBezTo>
                    <a:pt x="278" y="54"/>
                    <a:pt x="276" y="54"/>
                    <a:pt x="276" y="54"/>
                  </a:cubicBezTo>
                  <a:cubicBezTo>
                    <a:pt x="275" y="54"/>
                    <a:pt x="275" y="54"/>
                    <a:pt x="275" y="53"/>
                  </a:cubicBezTo>
                  <a:cubicBezTo>
                    <a:pt x="274" y="53"/>
                    <a:pt x="273" y="52"/>
                    <a:pt x="272" y="52"/>
                  </a:cubicBezTo>
                  <a:cubicBezTo>
                    <a:pt x="271" y="51"/>
                    <a:pt x="270" y="51"/>
                    <a:pt x="269" y="51"/>
                  </a:cubicBezTo>
                  <a:cubicBezTo>
                    <a:pt x="267" y="51"/>
                    <a:pt x="266" y="51"/>
                    <a:pt x="265" y="52"/>
                  </a:cubicBezTo>
                  <a:cubicBezTo>
                    <a:pt x="262" y="52"/>
                    <a:pt x="259" y="53"/>
                    <a:pt x="256" y="54"/>
                  </a:cubicBezTo>
                  <a:cubicBezTo>
                    <a:pt x="254" y="55"/>
                    <a:pt x="252" y="55"/>
                    <a:pt x="250" y="56"/>
                  </a:cubicBezTo>
                  <a:cubicBezTo>
                    <a:pt x="249" y="56"/>
                    <a:pt x="247" y="56"/>
                    <a:pt x="246" y="56"/>
                  </a:cubicBezTo>
                  <a:cubicBezTo>
                    <a:pt x="246" y="56"/>
                    <a:pt x="246" y="56"/>
                    <a:pt x="246" y="56"/>
                  </a:cubicBezTo>
                  <a:cubicBezTo>
                    <a:pt x="246" y="56"/>
                    <a:pt x="246" y="56"/>
                    <a:pt x="246" y="56"/>
                  </a:cubicBezTo>
                  <a:cubicBezTo>
                    <a:pt x="245" y="56"/>
                    <a:pt x="245" y="56"/>
                    <a:pt x="245" y="56"/>
                  </a:cubicBezTo>
                  <a:cubicBezTo>
                    <a:pt x="245" y="55"/>
                    <a:pt x="244" y="54"/>
                    <a:pt x="243" y="53"/>
                  </a:cubicBezTo>
                  <a:cubicBezTo>
                    <a:pt x="242" y="53"/>
                    <a:pt x="241" y="52"/>
                    <a:pt x="239" y="52"/>
                  </a:cubicBezTo>
                  <a:cubicBezTo>
                    <a:pt x="239" y="51"/>
                    <a:pt x="239" y="51"/>
                    <a:pt x="238" y="51"/>
                  </a:cubicBezTo>
                  <a:cubicBezTo>
                    <a:pt x="238" y="51"/>
                    <a:pt x="238" y="51"/>
                    <a:pt x="237" y="51"/>
                  </a:cubicBezTo>
                  <a:cubicBezTo>
                    <a:pt x="237" y="51"/>
                    <a:pt x="237" y="51"/>
                    <a:pt x="237" y="51"/>
                  </a:cubicBezTo>
                  <a:cubicBezTo>
                    <a:pt x="237" y="50"/>
                    <a:pt x="237" y="48"/>
                    <a:pt x="235" y="46"/>
                  </a:cubicBezTo>
                  <a:cubicBezTo>
                    <a:pt x="233" y="45"/>
                    <a:pt x="230" y="43"/>
                    <a:pt x="227" y="42"/>
                  </a:cubicBezTo>
                  <a:cubicBezTo>
                    <a:pt x="227" y="42"/>
                    <a:pt x="226" y="42"/>
                    <a:pt x="226" y="42"/>
                  </a:cubicBezTo>
                  <a:cubicBezTo>
                    <a:pt x="225" y="41"/>
                    <a:pt x="225" y="41"/>
                    <a:pt x="224" y="41"/>
                  </a:cubicBezTo>
                  <a:cubicBezTo>
                    <a:pt x="224" y="41"/>
                    <a:pt x="224" y="41"/>
                    <a:pt x="224" y="41"/>
                  </a:cubicBezTo>
                  <a:cubicBezTo>
                    <a:pt x="223" y="40"/>
                    <a:pt x="222" y="39"/>
                    <a:pt x="221" y="39"/>
                  </a:cubicBezTo>
                  <a:cubicBezTo>
                    <a:pt x="217" y="38"/>
                    <a:pt x="213" y="37"/>
                    <a:pt x="209" y="36"/>
                  </a:cubicBezTo>
                  <a:cubicBezTo>
                    <a:pt x="208" y="36"/>
                    <a:pt x="208" y="36"/>
                    <a:pt x="208" y="36"/>
                  </a:cubicBezTo>
                  <a:cubicBezTo>
                    <a:pt x="207" y="35"/>
                    <a:pt x="207" y="35"/>
                    <a:pt x="207" y="35"/>
                  </a:cubicBezTo>
                  <a:cubicBezTo>
                    <a:pt x="205" y="34"/>
                    <a:pt x="204" y="33"/>
                    <a:pt x="201" y="32"/>
                  </a:cubicBezTo>
                  <a:cubicBezTo>
                    <a:pt x="200" y="31"/>
                    <a:pt x="199" y="31"/>
                    <a:pt x="198" y="31"/>
                  </a:cubicBezTo>
                  <a:cubicBezTo>
                    <a:pt x="197" y="31"/>
                    <a:pt x="196" y="31"/>
                    <a:pt x="196" y="31"/>
                  </a:cubicBezTo>
                  <a:cubicBezTo>
                    <a:pt x="195" y="31"/>
                    <a:pt x="194" y="31"/>
                    <a:pt x="193" y="30"/>
                  </a:cubicBezTo>
                  <a:cubicBezTo>
                    <a:pt x="192" y="30"/>
                    <a:pt x="192" y="29"/>
                    <a:pt x="191" y="29"/>
                  </a:cubicBezTo>
                  <a:cubicBezTo>
                    <a:pt x="190" y="29"/>
                    <a:pt x="190" y="29"/>
                    <a:pt x="190" y="29"/>
                  </a:cubicBezTo>
                  <a:cubicBezTo>
                    <a:pt x="190" y="28"/>
                    <a:pt x="187" y="27"/>
                    <a:pt x="187" y="26"/>
                  </a:cubicBezTo>
                  <a:cubicBezTo>
                    <a:pt x="186" y="24"/>
                    <a:pt x="185" y="22"/>
                    <a:pt x="184" y="19"/>
                  </a:cubicBezTo>
                  <a:cubicBezTo>
                    <a:pt x="182" y="17"/>
                    <a:pt x="180" y="15"/>
                    <a:pt x="177" y="13"/>
                  </a:cubicBezTo>
                  <a:cubicBezTo>
                    <a:pt x="177" y="13"/>
                    <a:pt x="176" y="12"/>
                    <a:pt x="175" y="12"/>
                  </a:cubicBezTo>
                  <a:cubicBezTo>
                    <a:pt x="174" y="12"/>
                    <a:pt x="173" y="11"/>
                    <a:pt x="172" y="11"/>
                  </a:cubicBezTo>
                  <a:cubicBezTo>
                    <a:pt x="172" y="10"/>
                    <a:pt x="171" y="9"/>
                    <a:pt x="170" y="8"/>
                  </a:cubicBezTo>
                  <a:cubicBezTo>
                    <a:pt x="169" y="7"/>
                    <a:pt x="167" y="6"/>
                    <a:pt x="166" y="5"/>
                  </a:cubicBezTo>
                  <a:cubicBezTo>
                    <a:pt x="165" y="4"/>
                    <a:pt x="163" y="2"/>
                    <a:pt x="161" y="1"/>
                  </a:cubicBezTo>
                  <a:cubicBezTo>
                    <a:pt x="159" y="0"/>
                    <a:pt x="159" y="0"/>
                    <a:pt x="159" y="0"/>
                  </a:cubicBezTo>
                  <a:cubicBezTo>
                    <a:pt x="157" y="2"/>
                    <a:pt x="157" y="2"/>
                    <a:pt x="157" y="2"/>
                  </a:cubicBezTo>
                  <a:cubicBezTo>
                    <a:pt x="137" y="23"/>
                    <a:pt x="37" y="133"/>
                    <a:pt x="12" y="151"/>
                  </a:cubicBezTo>
                  <a:cubicBezTo>
                    <a:pt x="11" y="152"/>
                    <a:pt x="11" y="152"/>
                    <a:pt x="11" y="152"/>
                  </a:cubicBezTo>
                  <a:cubicBezTo>
                    <a:pt x="0" y="288"/>
                    <a:pt x="0" y="288"/>
                    <a:pt x="0" y="288"/>
                  </a:cubicBezTo>
                  <a:cubicBezTo>
                    <a:pt x="3" y="289"/>
                    <a:pt x="3" y="289"/>
                    <a:pt x="3" y="289"/>
                  </a:cubicBezTo>
                  <a:cubicBezTo>
                    <a:pt x="4" y="289"/>
                    <a:pt x="4" y="289"/>
                    <a:pt x="5" y="289"/>
                  </a:cubicBezTo>
                  <a:cubicBezTo>
                    <a:pt x="5" y="289"/>
                    <a:pt x="6" y="289"/>
                    <a:pt x="6" y="292"/>
                  </a:cubicBezTo>
                  <a:cubicBezTo>
                    <a:pt x="6" y="292"/>
                    <a:pt x="6" y="293"/>
                    <a:pt x="6" y="293"/>
                  </a:cubicBezTo>
                  <a:cubicBezTo>
                    <a:pt x="6" y="295"/>
                    <a:pt x="6" y="296"/>
                    <a:pt x="6" y="297"/>
                  </a:cubicBezTo>
                  <a:cubicBezTo>
                    <a:pt x="7" y="298"/>
                    <a:pt x="7" y="300"/>
                    <a:pt x="7" y="301"/>
                  </a:cubicBezTo>
                  <a:cubicBezTo>
                    <a:pt x="7" y="307"/>
                    <a:pt x="7" y="315"/>
                    <a:pt x="15" y="319"/>
                  </a:cubicBezTo>
                  <a:cubicBezTo>
                    <a:pt x="22" y="322"/>
                    <a:pt x="30" y="324"/>
                    <a:pt x="38" y="324"/>
                  </a:cubicBezTo>
                  <a:cubicBezTo>
                    <a:pt x="38" y="324"/>
                    <a:pt x="39" y="324"/>
                    <a:pt x="40" y="324"/>
                  </a:cubicBezTo>
                  <a:cubicBezTo>
                    <a:pt x="42" y="324"/>
                    <a:pt x="45" y="323"/>
                    <a:pt x="47" y="322"/>
                  </a:cubicBezTo>
                  <a:cubicBezTo>
                    <a:pt x="49" y="321"/>
                    <a:pt x="50" y="320"/>
                    <a:pt x="52" y="320"/>
                  </a:cubicBezTo>
                  <a:cubicBezTo>
                    <a:pt x="53" y="320"/>
                    <a:pt x="54" y="320"/>
                    <a:pt x="54" y="321"/>
                  </a:cubicBezTo>
                  <a:cubicBezTo>
                    <a:pt x="57" y="322"/>
                    <a:pt x="62" y="327"/>
                    <a:pt x="64" y="331"/>
                  </a:cubicBezTo>
                  <a:cubicBezTo>
                    <a:pt x="64" y="331"/>
                    <a:pt x="64" y="331"/>
                    <a:pt x="64" y="331"/>
                  </a:cubicBezTo>
                  <a:cubicBezTo>
                    <a:pt x="64" y="333"/>
                    <a:pt x="65" y="335"/>
                    <a:pt x="69" y="337"/>
                  </a:cubicBezTo>
                  <a:cubicBezTo>
                    <a:pt x="69" y="337"/>
                    <a:pt x="70" y="337"/>
                    <a:pt x="70" y="337"/>
                  </a:cubicBezTo>
                  <a:cubicBezTo>
                    <a:pt x="72" y="337"/>
                    <a:pt x="73" y="337"/>
                    <a:pt x="74" y="336"/>
                  </a:cubicBezTo>
                  <a:cubicBezTo>
                    <a:pt x="75" y="336"/>
                    <a:pt x="76" y="335"/>
                    <a:pt x="77" y="335"/>
                  </a:cubicBezTo>
                  <a:cubicBezTo>
                    <a:pt x="78" y="336"/>
                    <a:pt x="80" y="337"/>
                    <a:pt x="82" y="340"/>
                  </a:cubicBezTo>
                  <a:cubicBezTo>
                    <a:pt x="83" y="342"/>
                    <a:pt x="85" y="344"/>
                    <a:pt x="87" y="346"/>
                  </a:cubicBezTo>
                  <a:cubicBezTo>
                    <a:pt x="89" y="347"/>
                    <a:pt x="91" y="348"/>
                    <a:pt x="93" y="348"/>
                  </a:cubicBezTo>
                  <a:cubicBezTo>
                    <a:pt x="98" y="348"/>
                    <a:pt x="101" y="345"/>
                    <a:pt x="104" y="343"/>
                  </a:cubicBezTo>
                  <a:cubicBezTo>
                    <a:pt x="107" y="342"/>
                    <a:pt x="108" y="341"/>
                    <a:pt x="110" y="341"/>
                  </a:cubicBezTo>
                  <a:cubicBezTo>
                    <a:pt x="111" y="341"/>
                    <a:pt x="113" y="342"/>
                    <a:pt x="115" y="342"/>
                  </a:cubicBezTo>
                  <a:cubicBezTo>
                    <a:pt x="116" y="343"/>
                    <a:pt x="118" y="344"/>
                    <a:pt x="121" y="345"/>
                  </a:cubicBezTo>
                  <a:cubicBezTo>
                    <a:pt x="127" y="348"/>
                    <a:pt x="136" y="352"/>
                    <a:pt x="142" y="352"/>
                  </a:cubicBezTo>
                  <a:cubicBezTo>
                    <a:pt x="148" y="352"/>
                    <a:pt x="150" y="349"/>
                    <a:pt x="152" y="347"/>
                  </a:cubicBezTo>
                  <a:cubicBezTo>
                    <a:pt x="153" y="345"/>
                    <a:pt x="154" y="342"/>
                    <a:pt x="154" y="339"/>
                  </a:cubicBezTo>
                  <a:cubicBezTo>
                    <a:pt x="155" y="336"/>
                    <a:pt x="155" y="334"/>
                    <a:pt x="157" y="333"/>
                  </a:cubicBezTo>
                  <a:cubicBezTo>
                    <a:pt x="158" y="333"/>
                    <a:pt x="159" y="332"/>
                    <a:pt x="160" y="332"/>
                  </a:cubicBezTo>
                  <a:cubicBezTo>
                    <a:pt x="161" y="331"/>
                    <a:pt x="163" y="330"/>
                    <a:pt x="165" y="329"/>
                  </a:cubicBezTo>
                  <a:cubicBezTo>
                    <a:pt x="166" y="328"/>
                    <a:pt x="166" y="328"/>
                    <a:pt x="166" y="328"/>
                  </a:cubicBezTo>
                  <a:cubicBezTo>
                    <a:pt x="168" y="326"/>
                    <a:pt x="170" y="324"/>
                    <a:pt x="172" y="322"/>
                  </a:cubicBezTo>
                  <a:cubicBezTo>
                    <a:pt x="173" y="321"/>
                    <a:pt x="173" y="319"/>
                    <a:pt x="174" y="318"/>
                  </a:cubicBezTo>
                  <a:cubicBezTo>
                    <a:pt x="177" y="313"/>
                    <a:pt x="179" y="310"/>
                    <a:pt x="182" y="310"/>
                  </a:cubicBezTo>
                  <a:cubicBezTo>
                    <a:pt x="183" y="310"/>
                    <a:pt x="184" y="311"/>
                    <a:pt x="186" y="311"/>
                  </a:cubicBezTo>
                  <a:cubicBezTo>
                    <a:pt x="187" y="312"/>
                    <a:pt x="188" y="313"/>
                    <a:pt x="189" y="313"/>
                  </a:cubicBezTo>
                  <a:cubicBezTo>
                    <a:pt x="193" y="314"/>
                    <a:pt x="197" y="315"/>
                    <a:pt x="201" y="316"/>
                  </a:cubicBezTo>
                  <a:cubicBezTo>
                    <a:pt x="202" y="316"/>
                    <a:pt x="202" y="316"/>
                    <a:pt x="202" y="316"/>
                  </a:cubicBezTo>
                  <a:cubicBezTo>
                    <a:pt x="204" y="316"/>
                    <a:pt x="206" y="316"/>
                    <a:pt x="208" y="316"/>
                  </a:cubicBezTo>
                  <a:cubicBezTo>
                    <a:pt x="209" y="316"/>
                    <a:pt x="210" y="316"/>
                    <a:pt x="212" y="316"/>
                  </a:cubicBezTo>
                  <a:cubicBezTo>
                    <a:pt x="213" y="316"/>
                    <a:pt x="214" y="316"/>
                    <a:pt x="215" y="316"/>
                  </a:cubicBezTo>
                  <a:cubicBezTo>
                    <a:pt x="216" y="316"/>
                    <a:pt x="218" y="316"/>
                    <a:pt x="219" y="316"/>
                  </a:cubicBezTo>
                  <a:cubicBezTo>
                    <a:pt x="223" y="317"/>
                    <a:pt x="224" y="319"/>
                    <a:pt x="227" y="325"/>
                  </a:cubicBezTo>
                  <a:cubicBezTo>
                    <a:pt x="227" y="325"/>
                    <a:pt x="227" y="325"/>
                    <a:pt x="227" y="325"/>
                  </a:cubicBezTo>
                  <a:cubicBezTo>
                    <a:pt x="227" y="326"/>
                    <a:pt x="227" y="327"/>
                    <a:pt x="227" y="328"/>
                  </a:cubicBezTo>
                  <a:cubicBezTo>
                    <a:pt x="228" y="329"/>
                    <a:pt x="228" y="330"/>
                    <a:pt x="228" y="332"/>
                  </a:cubicBezTo>
                  <a:cubicBezTo>
                    <a:pt x="229" y="333"/>
                    <a:pt x="230" y="334"/>
                    <a:pt x="231" y="336"/>
                  </a:cubicBezTo>
                  <a:cubicBezTo>
                    <a:pt x="231" y="336"/>
                    <a:pt x="232" y="337"/>
                    <a:pt x="232" y="337"/>
                  </a:cubicBezTo>
                  <a:cubicBezTo>
                    <a:pt x="235" y="341"/>
                    <a:pt x="238" y="346"/>
                    <a:pt x="243" y="348"/>
                  </a:cubicBezTo>
                  <a:cubicBezTo>
                    <a:pt x="245" y="349"/>
                    <a:pt x="247" y="349"/>
                    <a:pt x="250" y="349"/>
                  </a:cubicBezTo>
                  <a:cubicBezTo>
                    <a:pt x="252" y="349"/>
                    <a:pt x="254" y="349"/>
                    <a:pt x="257" y="348"/>
                  </a:cubicBezTo>
                  <a:cubicBezTo>
                    <a:pt x="258" y="348"/>
                    <a:pt x="258" y="348"/>
                    <a:pt x="259" y="347"/>
                  </a:cubicBezTo>
                  <a:cubicBezTo>
                    <a:pt x="261" y="346"/>
                    <a:pt x="264" y="345"/>
                    <a:pt x="265" y="345"/>
                  </a:cubicBezTo>
                  <a:cubicBezTo>
                    <a:pt x="265" y="345"/>
                    <a:pt x="266" y="345"/>
                    <a:pt x="266" y="346"/>
                  </a:cubicBezTo>
                  <a:cubicBezTo>
                    <a:pt x="266" y="346"/>
                    <a:pt x="266" y="346"/>
                    <a:pt x="266" y="346"/>
                  </a:cubicBezTo>
                  <a:cubicBezTo>
                    <a:pt x="265" y="347"/>
                    <a:pt x="265" y="347"/>
                    <a:pt x="265" y="348"/>
                  </a:cubicBezTo>
                  <a:cubicBezTo>
                    <a:pt x="263" y="353"/>
                    <a:pt x="264" y="358"/>
                    <a:pt x="266" y="363"/>
                  </a:cubicBezTo>
                  <a:cubicBezTo>
                    <a:pt x="267" y="366"/>
                    <a:pt x="270" y="367"/>
                    <a:pt x="272" y="368"/>
                  </a:cubicBezTo>
                  <a:cubicBezTo>
                    <a:pt x="274" y="369"/>
                    <a:pt x="275" y="369"/>
                    <a:pt x="275" y="370"/>
                  </a:cubicBezTo>
                  <a:cubicBezTo>
                    <a:pt x="275" y="371"/>
                    <a:pt x="275" y="371"/>
                    <a:pt x="274" y="373"/>
                  </a:cubicBezTo>
                  <a:cubicBezTo>
                    <a:pt x="272" y="375"/>
                    <a:pt x="270" y="378"/>
                    <a:pt x="272" y="382"/>
                  </a:cubicBezTo>
                  <a:cubicBezTo>
                    <a:pt x="273" y="386"/>
                    <a:pt x="277" y="386"/>
                    <a:pt x="279" y="387"/>
                  </a:cubicBezTo>
                  <a:cubicBezTo>
                    <a:pt x="280" y="387"/>
                    <a:pt x="282" y="387"/>
                    <a:pt x="282" y="387"/>
                  </a:cubicBezTo>
                  <a:cubicBezTo>
                    <a:pt x="282" y="387"/>
                    <a:pt x="282" y="388"/>
                    <a:pt x="282" y="389"/>
                  </a:cubicBezTo>
                  <a:cubicBezTo>
                    <a:pt x="282" y="390"/>
                    <a:pt x="281" y="391"/>
                    <a:pt x="281" y="392"/>
                  </a:cubicBezTo>
                  <a:cubicBezTo>
                    <a:pt x="282" y="398"/>
                    <a:pt x="285" y="403"/>
                    <a:pt x="292" y="406"/>
                  </a:cubicBezTo>
                  <a:cubicBezTo>
                    <a:pt x="302" y="410"/>
                    <a:pt x="312" y="411"/>
                    <a:pt x="322" y="413"/>
                  </a:cubicBezTo>
                  <a:cubicBezTo>
                    <a:pt x="325" y="413"/>
                    <a:pt x="325" y="413"/>
                    <a:pt x="325" y="413"/>
                  </a:cubicBezTo>
                  <a:cubicBezTo>
                    <a:pt x="325" y="413"/>
                    <a:pt x="326" y="413"/>
                    <a:pt x="327" y="413"/>
                  </a:cubicBezTo>
                  <a:cubicBezTo>
                    <a:pt x="331" y="413"/>
                    <a:pt x="335" y="412"/>
                    <a:pt x="339" y="411"/>
                  </a:cubicBezTo>
                  <a:cubicBezTo>
                    <a:pt x="342" y="409"/>
                    <a:pt x="345" y="408"/>
                    <a:pt x="348" y="408"/>
                  </a:cubicBezTo>
                  <a:cubicBezTo>
                    <a:pt x="349" y="408"/>
                    <a:pt x="349" y="408"/>
                    <a:pt x="350" y="408"/>
                  </a:cubicBezTo>
                  <a:cubicBezTo>
                    <a:pt x="355" y="409"/>
                    <a:pt x="361" y="411"/>
                    <a:pt x="366" y="413"/>
                  </a:cubicBezTo>
                  <a:cubicBezTo>
                    <a:pt x="372" y="416"/>
                    <a:pt x="378" y="418"/>
                    <a:pt x="385" y="418"/>
                  </a:cubicBezTo>
                  <a:cubicBezTo>
                    <a:pt x="385" y="418"/>
                    <a:pt x="386" y="418"/>
                    <a:pt x="387" y="418"/>
                  </a:cubicBezTo>
                  <a:cubicBezTo>
                    <a:pt x="388" y="418"/>
                    <a:pt x="389" y="417"/>
                    <a:pt x="390" y="417"/>
                  </a:cubicBezTo>
                  <a:cubicBezTo>
                    <a:pt x="391" y="417"/>
                    <a:pt x="391" y="417"/>
                    <a:pt x="391" y="417"/>
                  </a:cubicBezTo>
                  <a:cubicBezTo>
                    <a:pt x="391" y="417"/>
                    <a:pt x="391" y="417"/>
                    <a:pt x="392" y="417"/>
                  </a:cubicBezTo>
                  <a:cubicBezTo>
                    <a:pt x="392" y="418"/>
                    <a:pt x="393" y="419"/>
                    <a:pt x="393" y="421"/>
                  </a:cubicBezTo>
                  <a:cubicBezTo>
                    <a:pt x="393" y="422"/>
                    <a:pt x="393" y="425"/>
                    <a:pt x="394" y="426"/>
                  </a:cubicBezTo>
                  <a:cubicBezTo>
                    <a:pt x="396" y="428"/>
                    <a:pt x="399" y="433"/>
                    <a:pt x="403" y="435"/>
                  </a:cubicBezTo>
                  <a:cubicBezTo>
                    <a:pt x="405" y="436"/>
                    <a:pt x="406" y="437"/>
                    <a:pt x="408" y="437"/>
                  </a:cubicBezTo>
                  <a:cubicBezTo>
                    <a:pt x="410" y="437"/>
                    <a:pt x="411" y="438"/>
                    <a:pt x="412" y="439"/>
                  </a:cubicBezTo>
                  <a:cubicBezTo>
                    <a:pt x="414" y="441"/>
                    <a:pt x="416" y="445"/>
                    <a:pt x="415" y="448"/>
                  </a:cubicBezTo>
                  <a:cubicBezTo>
                    <a:pt x="415" y="448"/>
                    <a:pt x="415" y="448"/>
                    <a:pt x="415" y="448"/>
                  </a:cubicBezTo>
                  <a:cubicBezTo>
                    <a:pt x="414" y="448"/>
                    <a:pt x="411" y="449"/>
                    <a:pt x="410" y="452"/>
                  </a:cubicBezTo>
                  <a:cubicBezTo>
                    <a:pt x="409" y="455"/>
                    <a:pt x="411" y="457"/>
                    <a:pt x="413" y="458"/>
                  </a:cubicBezTo>
                  <a:cubicBezTo>
                    <a:pt x="413" y="458"/>
                    <a:pt x="413" y="459"/>
                    <a:pt x="413" y="459"/>
                  </a:cubicBezTo>
                  <a:cubicBezTo>
                    <a:pt x="413" y="459"/>
                    <a:pt x="414" y="460"/>
                    <a:pt x="414" y="460"/>
                  </a:cubicBezTo>
                  <a:cubicBezTo>
                    <a:pt x="414" y="460"/>
                    <a:pt x="414" y="461"/>
                    <a:pt x="414" y="461"/>
                  </a:cubicBezTo>
                  <a:cubicBezTo>
                    <a:pt x="414" y="461"/>
                    <a:pt x="414" y="461"/>
                    <a:pt x="414" y="462"/>
                  </a:cubicBezTo>
                  <a:cubicBezTo>
                    <a:pt x="414" y="464"/>
                    <a:pt x="414" y="464"/>
                    <a:pt x="413" y="464"/>
                  </a:cubicBezTo>
                  <a:cubicBezTo>
                    <a:pt x="412" y="464"/>
                    <a:pt x="409" y="462"/>
                    <a:pt x="407" y="461"/>
                  </a:cubicBezTo>
                  <a:cubicBezTo>
                    <a:pt x="404" y="460"/>
                    <a:pt x="401" y="458"/>
                    <a:pt x="398" y="458"/>
                  </a:cubicBezTo>
                  <a:cubicBezTo>
                    <a:pt x="396" y="458"/>
                    <a:pt x="396" y="458"/>
                    <a:pt x="396" y="458"/>
                  </a:cubicBezTo>
                  <a:cubicBezTo>
                    <a:pt x="394" y="458"/>
                    <a:pt x="393" y="458"/>
                    <a:pt x="393" y="457"/>
                  </a:cubicBezTo>
                  <a:cubicBezTo>
                    <a:pt x="392" y="456"/>
                    <a:pt x="391" y="455"/>
                    <a:pt x="391" y="454"/>
                  </a:cubicBezTo>
                  <a:cubicBezTo>
                    <a:pt x="390" y="452"/>
                    <a:pt x="388" y="450"/>
                    <a:pt x="386" y="448"/>
                  </a:cubicBezTo>
                  <a:cubicBezTo>
                    <a:pt x="385" y="448"/>
                    <a:pt x="385" y="447"/>
                    <a:pt x="384" y="447"/>
                  </a:cubicBezTo>
                  <a:cubicBezTo>
                    <a:pt x="383" y="446"/>
                    <a:pt x="383" y="446"/>
                    <a:pt x="383" y="445"/>
                  </a:cubicBezTo>
                  <a:cubicBezTo>
                    <a:pt x="382" y="445"/>
                    <a:pt x="382" y="445"/>
                    <a:pt x="382" y="444"/>
                  </a:cubicBezTo>
                  <a:cubicBezTo>
                    <a:pt x="382" y="443"/>
                    <a:pt x="382" y="442"/>
                    <a:pt x="381" y="440"/>
                  </a:cubicBezTo>
                  <a:cubicBezTo>
                    <a:pt x="380" y="438"/>
                    <a:pt x="377" y="437"/>
                    <a:pt x="374" y="437"/>
                  </a:cubicBezTo>
                  <a:cubicBezTo>
                    <a:pt x="371" y="437"/>
                    <a:pt x="367" y="438"/>
                    <a:pt x="365" y="441"/>
                  </a:cubicBezTo>
                  <a:cubicBezTo>
                    <a:pt x="364" y="443"/>
                    <a:pt x="364" y="445"/>
                    <a:pt x="364" y="447"/>
                  </a:cubicBezTo>
                  <a:cubicBezTo>
                    <a:pt x="365" y="450"/>
                    <a:pt x="368" y="451"/>
                    <a:pt x="370" y="452"/>
                  </a:cubicBezTo>
                  <a:cubicBezTo>
                    <a:pt x="371" y="453"/>
                    <a:pt x="372" y="454"/>
                    <a:pt x="372" y="454"/>
                  </a:cubicBezTo>
                  <a:cubicBezTo>
                    <a:pt x="375" y="457"/>
                    <a:pt x="380" y="464"/>
                    <a:pt x="376" y="468"/>
                  </a:cubicBezTo>
                  <a:cubicBezTo>
                    <a:pt x="376" y="469"/>
                    <a:pt x="375" y="470"/>
                    <a:pt x="374" y="471"/>
                  </a:cubicBezTo>
                  <a:cubicBezTo>
                    <a:pt x="371" y="473"/>
                    <a:pt x="368" y="475"/>
                    <a:pt x="368" y="479"/>
                  </a:cubicBezTo>
                  <a:cubicBezTo>
                    <a:pt x="367" y="481"/>
                    <a:pt x="368" y="483"/>
                    <a:pt x="368" y="485"/>
                  </a:cubicBezTo>
                  <a:cubicBezTo>
                    <a:pt x="368" y="485"/>
                    <a:pt x="369" y="486"/>
                    <a:pt x="369" y="486"/>
                  </a:cubicBezTo>
                  <a:cubicBezTo>
                    <a:pt x="369" y="488"/>
                    <a:pt x="369" y="490"/>
                    <a:pt x="370" y="491"/>
                  </a:cubicBezTo>
                  <a:cubicBezTo>
                    <a:pt x="370" y="492"/>
                    <a:pt x="370" y="494"/>
                    <a:pt x="370" y="495"/>
                  </a:cubicBezTo>
                  <a:cubicBezTo>
                    <a:pt x="371" y="498"/>
                    <a:pt x="371" y="502"/>
                    <a:pt x="371" y="506"/>
                  </a:cubicBezTo>
                  <a:cubicBezTo>
                    <a:pt x="371" y="508"/>
                    <a:pt x="371" y="508"/>
                    <a:pt x="371" y="508"/>
                  </a:cubicBezTo>
                  <a:cubicBezTo>
                    <a:pt x="372" y="513"/>
                    <a:pt x="370" y="519"/>
                    <a:pt x="367" y="524"/>
                  </a:cubicBezTo>
                  <a:cubicBezTo>
                    <a:pt x="366" y="525"/>
                    <a:pt x="365" y="528"/>
                    <a:pt x="364" y="529"/>
                  </a:cubicBezTo>
                  <a:cubicBezTo>
                    <a:pt x="362" y="529"/>
                    <a:pt x="361" y="530"/>
                    <a:pt x="360" y="530"/>
                  </a:cubicBezTo>
                  <a:cubicBezTo>
                    <a:pt x="357" y="531"/>
                    <a:pt x="354" y="532"/>
                    <a:pt x="351" y="536"/>
                  </a:cubicBezTo>
                  <a:cubicBezTo>
                    <a:pt x="349" y="540"/>
                    <a:pt x="345" y="548"/>
                    <a:pt x="349" y="553"/>
                  </a:cubicBezTo>
                  <a:cubicBezTo>
                    <a:pt x="351" y="554"/>
                    <a:pt x="352" y="555"/>
                    <a:pt x="354" y="555"/>
                  </a:cubicBezTo>
                  <a:cubicBezTo>
                    <a:pt x="356" y="555"/>
                    <a:pt x="358" y="554"/>
                    <a:pt x="360" y="553"/>
                  </a:cubicBezTo>
                  <a:cubicBezTo>
                    <a:pt x="361" y="552"/>
                    <a:pt x="363" y="551"/>
                    <a:pt x="363" y="551"/>
                  </a:cubicBezTo>
                  <a:cubicBezTo>
                    <a:pt x="363" y="551"/>
                    <a:pt x="363" y="551"/>
                    <a:pt x="363" y="551"/>
                  </a:cubicBezTo>
                  <a:cubicBezTo>
                    <a:pt x="363" y="554"/>
                    <a:pt x="356" y="560"/>
                    <a:pt x="354" y="561"/>
                  </a:cubicBezTo>
                  <a:cubicBezTo>
                    <a:pt x="353" y="561"/>
                    <a:pt x="352" y="561"/>
                    <a:pt x="351" y="561"/>
                  </a:cubicBezTo>
                  <a:cubicBezTo>
                    <a:pt x="349" y="562"/>
                    <a:pt x="346" y="562"/>
                    <a:pt x="344" y="564"/>
                  </a:cubicBezTo>
                  <a:cubicBezTo>
                    <a:pt x="340" y="567"/>
                    <a:pt x="338" y="573"/>
                    <a:pt x="340" y="577"/>
                  </a:cubicBezTo>
                  <a:cubicBezTo>
                    <a:pt x="341" y="580"/>
                    <a:pt x="343" y="581"/>
                    <a:pt x="347" y="581"/>
                  </a:cubicBezTo>
                  <a:cubicBezTo>
                    <a:pt x="348" y="581"/>
                    <a:pt x="349" y="581"/>
                    <a:pt x="350" y="581"/>
                  </a:cubicBezTo>
                  <a:cubicBezTo>
                    <a:pt x="357" y="579"/>
                    <a:pt x="366" y="574"/>
                    <a:pt x="373" y="568"/>
                  </a:cubicBezTo>
                  <a:cubicBezTo>
                    <a:pt x="374" y="566"/>
                    <a:pt x="376" y="564"/>
                    <a:pt x="378" y="563"/>
                  </a:cubicBezTo>
                  <a:cubicBezTo>
                    <a:pt x="381" y="560"/>
                    <a:pt x="383" y="557"/>
                    <a:pt x="386" y="555"/>
                  </a:cubicBezTo>
                  <a:cubicBezTo>
                    <a:pt x="387" y="553"/>
                    <a:pt x="389" y="552"/>
                    <a:pt x="390" y="550"/>
                  </a:cubicBezTo>
                  <a:cubicBezTo>
                    <a:pt x="393" y="547"/>
                    <a:pt x="395" y="545"/>
                    <a:pt x="399" y="544"/>
                  </a:cubicBezTo>
                  <a:cubicBezTo>
                    <a:pt x="399" y="543"/>
                    <a:pt x="400" y="543"/>
                    <a:pt x="401" y="543"/>
                  </a:cubicBezTo>
                  <a:cubicBezTo>
                    <a:pt x="402" y="543"/>
                    <a:pt x="403" y="544"/>
                    <a:pt x="405" y="545"/>
                  </a:cubicBezTo>
                  <a:cubicBezTo>
                    <a:pt x="406" y="546"/>
                    <a:pt x="407" y="547"/>
                    <a:pt x="409" y="547"/>
                  </a:cubicBezTo>
                  <a:cubicBezTo>
                    <a:pt x="410" y="548"/>
                    <a:pt x="411" y="548"/>
                    <a:pt x="412" y="548"/>
                  </a:cubicBezTo>
                  <a:cubicBezTo>
                    <a:pt x="416" y="548"/>
                    <a:pt x="419" y="545"/>
                    <a:pt x="421" y="543"/>
                  </a:cubicBezTo>
                  <a:cubicBezTo>
                    <a:pt x="422" y="542"/>
                    <a:pt x="423" y="541"/>
                    <a:pt x="423" y="541"/>
                  </a:cubicBezTo>
                  <a:cubicBezTo>
                    <a:pt x="425" y="539"/>
                    <a:pt x="428" y="538"/>
                    <a:pt x="431" y="538"/>
                  </a:cubicBezTo>
                  <a:cubicBezTo>
                    <a:pt x="433" y="537"/>
                    <a:pt x="436" y="536"/>
                    <a:pt x="439" y="535"/>
                  </a:cubicBezTo>
                  <a:cubicBezTo>
                    <a:pt x="440" y="534"/>
                    <a:pt x="442" y="533"/>
                    <a:pt x="444" y="533"/>
                  </a:cubicBezTo>
                  <a:cubicBezTo>
                    <a:pt x="448" y="531"/>
                    <a:pt x="453" y="530"/>
                    <a:pt x="456" y="526"/>
                  </a:cubicBezTo>
                  <a:cubicBezTo>
                    <a:pt x="457" y="524"/>
                    <a:pt x="458" y="523"/>
                    <a:pt x="458" y="522"/>
                  </a:cubicBezTo>
                  <a:cubicBezTo>
                    <a:pt x="458" y="522"/>
                    <a:pt x="458" y="521"/>
                    <a:pt x="458" y="521"/>
                  </a:cubicBezTo>
                  <a:cubicBezTo>
                    <a:pt x="458" y="518"/>
                    <a:pt x="459" y="515"/>
                    <a:pt x="457" y="512"/>
                  </a:cubicBezTo>
                  <a:cubicBezTo>
                    <a:pt x="456" y="511"/>
                    <a:pt x="454" y="510"/>
                    <a:pt x="452" y="510"/>
                  </a:cubicBezTo>
                  <a:cubicBezTo>
                    <a:pt x="450" y="510"/>
                    <a:pt x="448" y="510"/>
                    <a:pt x="446" y="511"/>
                  </a:cubicBezTo>
                  <a:cubicBezTo>
                    <a:pt x="444" y="511"/>
                    <a:pt x="442" y="511"/>
                    <a:pt x="440" y="511"/>
                  </a:cubicBezTo>
                  <a:cubicBezTo>
                    <a:pt x="438" y="511"/>
                    <a:pt x="437" y="511"/>
                    <a:pt x="437" y="510"/>
                  </a:cubicBezTo>
                  <a:cubicBezTo>
                    <a:pt x="435" y="508"/>
                    <a:pt x="437" y="506"/>
                    <a:pt x="441" y="502"/>
                  </a:cubicBezTo>
                  <a:cubicBezTo>
                    <a:pt x="442" y="501"/>
                    <a:pt x="442" y="500"/>
                    <a:pt x="443" y="500"/>
                  </a:cubicBezTo>
                  <a:cubicBezTo>
                    <a:pt x="450" y="492"/>
                    <a:pt x="455" y="488"/>
                    <a:pt x="464" y="485"/>
                  </a:cubicBezTo>
                  <a:cubicBezTo>
                    <a:pt x="466" y="484"/>
                    <a:pt x="469" y="482"/>
                    <a:pt x="472" y="481"/>
                  </a:cubicBezTo>
                  <a:cubicBezTo>
                    <a:pt x="476" y="478"/>
                    <a:pt x="481" y="475"/>
                    <a:pt x="485" y="475"/>
                  </a:cubicBezTo>
                  <a:cubicBezTo>
                    <a:pt x="487" y="475"/>
                    <a:pt x="490" y="476"/>
                    <a:pt x="492" y="477"/>
                  </a:cubicBezTo>
                  <a:cubicBezTo>
                    <a:pt x="495" y="479"/>
                    <a:pt x="499" y="480"/>
                    <a:pt x="502" y="480"/>
                  </a:cubicBezTo>
                  <a:cubicBezTo>
                    <a:pt x="505" y="480"/>
                    <a:pt x="507" y="479"/>
                    <a:pt x="509" y="477"/>
                  </a:cubicBezTo>
                  <a:cubicBezTo>
                    <a:pt x="513" y="475"/>
                    <a:pt x="513" y="472"/>
                    <a:pt x="513" y="469"/>
                  </a:cubicBezTo>
                  <a:cubicBezTo>
                    <a:pt x="514" y="468"/>
                    <a:pt x="514" y="466"/>
                    <a:pt x="515" y="465"/>
                  </a:cubicBezTo>
                  <a:cubicBezTo>
                    <a:pt x="516" y="463"/>
                    <a:pt x="519" y="461"/>
                    <a:pt x="521" y="460"/>
                  </a:cubicBezTo>
                  <a:cubicBezTo>
                    <a:pt x="524" y="458"/>
                    <a:pt x="527" y="456"/>
                    <a:pt x="529" y="454"/>
                  </a:cubicBezTo>
                  <a:cubicBezTo>
                    <a:pt x="531" y="451"/>
                    <a:pt x="534" y="448"/>
                    <a:pt x="536" y="445"/>
                  </a:cubicBezTo>
                  <a:cubicBezTo>
                    <a:pt x="537" y="443"/>
                    <a:pt x="539" y="441"/>
                    <a:pt x="540" y="439"/>
                  </a:cubicBezTo>
                  <a:cubicBezTo>
                    <a:pt x="548" y="429"/>
                    <a:pt x="556" y="420"/>
                    <a:pt x="567" y="417"/>
                  </a:cubicBezTo>
                  <a:cubicBezTo>
                    <a:pt x="570" y="416"/>
                    <a:pt x="570" y="416"/>
                    <a:pt x="570" y="416"/>
                  </a:cubicBezTo>
                  <a:lnTo>
                    <a:pt x="569" y="413"/>
                  </a:ln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7" name="Freeform 186">
              <a:extLst>
                <a:ext uri="{FF2B5EF4-FFF2-40B4-BE49-F238E27FC236}">
                  <a16:creationId xmlns:a16="http://schemas.microsoft.com/office/drawing/2014/main" id="{050EE308-4D96-AA4C-B9DF-7219A08FF347}"/>
                </a:ext>
              </a:extLst>
            </p:cNvPr>
            <p:cNvSpPr>
              <a:spLocks/>
            </p:cNvSpPr>
            <p:nvPr/>
          </p:nvSpPr>
          <p:spPr bwMode="auto">
            <a:xfrm>
              <a:off x="19203570" y="6084404"/>
              <a:ext cx="3061210" cy="3318761"/>
            </a:xfrm>
            <a:custGeom>
              <a:avLst/>
              <a:gdLst>
                <a:gd name="T0" fmla="*/ 399 w 562"/>
                <a:gd name="T1" fmla="*/ 295 h 669"/>
                <a:gd name="T2" fmla="*/ 394 w 562"/>
                <a:gd name="T3" fmla="*/ 338 h 669"/>
                <a:gd name="T4" fmla="*/ 350 w 562"/>
                <a:gd name="T5" fmla="*/ 333 h 669"/>
                <a:gd name="T6" fmla="*/ 329 w 562"/>
                <a:gd name="T7" fmla="*/ 314 h 669"/>
                <a:gd name="T8" fmla="*/ 298 w 562"/>
                <a:gd name="T9" fmla="*/ 289 h 669"/>
                <a:gd name="T10" fmla="*/ 293 w 562"/>
                <a:gd name="T11" fmla="*/ 248 h 669"/>
                <a:gd name="T12" fmla="*/ 298 w 562"/>
                <a:gd name="T13" fmla="*/ 228 h 669"/>
                <a:gd name="T14" fmla="*/ 367 w 562"/>
                <a:gd name="T15" fmla="*/ 209 h 669"/>
                <a:gd name="T16" fmla="*/ 329 w 562"/>
                <a:gd name="T17" fmla="*/ 167 h 669"/>
                <a:gd name="T18" fmla="*/ 295 w 562"/>
                <a:gd name="T19" fmla="*/ 75 h 669"/>
                <a:gd name="T20" fmla="*/ 276 w 562"/>
                <a:gd name="T21" fmla="*/ 60 h 669"/>
                <a:gd name="T22" fmla="*/ 257 w 562"/>
                <a:gd name="T23" fmla="*/ 33 h 669"/>
                <a:gd name="T24" fmla="*/ 259 w 562"/>
                <a:gd name="T25" fmla="*/ 65 h 669"/>
                <a:gd name="T26" fmla="*/ 257 w 562"/>
                <a:gd name="T27" fmla="*/ 90 h 669"/>
                <a:gd name="T28" fmla="*/ 247 w 562"/>
                <a:gd name="T29" fmla="*/ 109 h 669"/>
                <a:gd name="T30" fmla="*/ 227 w 562"/>
                <a:gd name="T31" fmla="*/ 113 h 669"/>
                <a:gd name="T32" fmla="*/ 200 w 562"/>
                <a:gd name="T33" fmla="*/ 106 h 669"/>
                <a:gd name="T34" fmla="*/ 186 w 562"/>
                <a:gd name="T35" fmla="*/ 87 h 669"/>
                <a:gd name="T36" fmla="*/ 173 w 562"/>
                <a:gd name="T37" fmla="*/ 53 h 669"/>
                <a:gd name="T38" fmla="*/ 154 w 562"/>
                <a:gd name="T39" fmla="*/ 32 h 669"/>
                <a:gd name="T40" fmla="*/ 135 w 562"/>
                <a:gd name="T41" fmla="*/ 35 h 669"/>
                <a:gd name="T42" fmla="*/ 108 w 562"/>
                <a:gd name="T43" fmla="*/ 14 h 669"/>
                <a:gd name="T44" fmla="*/ 76 w 562"/>
                <a:gd name="T45" fmla="*/ 1 h 669"/>
                <a:gd name="T46" fmla="*/ 58 w 562"/>
                <a:gd name="T47" fmla="*/ 15 h 669"/>
                <a:gd name="T48" fmla="*/ 39 w 562"/>
                <a:gd name="T49" fmla="*/ 13 h 669"/>
                <a:gd name="T50" fmla="*/ 11 w 562"/>
                <a:gd name="T51" fmla="*/ 49 h 669"/>
                <a:gd name="T52" fmla="*/ 12 w 562"/>
                <a:gd name="T53" fmla="*/ 79 h 669"/>
                <a:gd name="T54" fmla="*/ 26 w 562"/>
                <a:gd name="T55" fmla="*/ 102 h 669"/>
                <a:gd name="T56" fmla="*/ 30 w 562"/>
                <a:gd name="T57" fmla="*/ 119 h 669"/>
                <a:gd name="T58" fmla="*/ 48 w 562"/>
                <a:gd name="T59" fmla="*/ 184 h 669"/>
                <a:gd name="T60" fmla="*/ 73 w 562"/>
                <a:gd name="T61" fmla="*/ 231 h 669"/>
                <a:gd name="T62" fmla="*/ 86 w 562"/>
                <a:gd name="T63" fmla="*/ 250 h 669"/>
                <a:gd name="T64" fmla="*/ 61 w 562"/>
                <a:gd name="T65" fmla="*/ 283 h 669"/>
                <a:gd name="T66" fmla="*/ 25 w 562"/>
                <a:gd name="T67" fmla="*/ 329 h 669"/>
                <a:gd name="T68" fmla="*/ 40 w 562"/>
                <a:gd name="T69" fmla="*/ 347 h 669"/>
                <a:gd name="T70" fmla="*/ 59 w 562"/>
                <a:gd name="T71" fmla="*/ 403 h 669"/>
                <a:gd name="T72" fmla="*/ 46 w 562"/>
                <a:gd name="T73" fmla="*/ 432 h 669"/>
                <a:gd name="T74" fmla="*/ 99 w 562"/>
                <a:gd name="T75" fmla="*/ 639 h 669"/>
                <a:gd name="T76" fmla="*/ 183 w 562"/>
                <a:gd name="T77" fmla="*/ 658 h 669"/>
                <a:gd name="T78" fmla="*/ 226 w 562"/>
                <a:gd name="T79" fmla="*/ 661 h 669"/>
                <a:gd name="T80" fmla="*/ 286 w 562"/>
                <a:gd name="T81" fmla="*/ 655 h 669"/>
                <a:gd name="T82" fmla="*/ 330 w 562"/>
                <a:gd name="T83" fmla="*/ 613 h 669"/>
                <a:gd name="T84" fmla="*/ 339 w 562"/>
                <a:gd name="T85" fmla="*/ 546 h 669"/>
                <a:gd name="T86" fmla="*/ 359 w 562"/>
                <a:gd name="T87" fmla="*/ 509 h 669"/>
                <a:gd name="T88" fmla="*/ 414 w 562"/>
                <a:gd name="T89" fmla="*/ 484 h 669"/>
                <a:gd name="T90" fmla="*/ 442 w 562"/>
                <a:gd name="T91" fmla="*/ 468 h 669"/>
                <a:gd name="T92" fmla="*/ 446 w 562"/>
                <a:gd name="T93" fmla="*/ 436 h 669"/>
                <a:gd name="T94" fmla="*/ 309 w 562"/>
                <a:gd name="T95" fmla="*/ 562 h 669"/>
                <a:gd name="T96" fmla="*/ 308 w 562"/>
                <a:gd name="T97" fmla="*/ 554 h 669"/>
                <a:gd name="T98" fmla="*/ 318 w 562"/>
                <a:gd name="T99" fmla="*/ 532 h 669"/>
                <a:gd name="T100" fmla="*/ 350 w 562"/>
                <a:gd name="T101" fmla="*/ 457 h 669"/>
                <a:gd name="T102" fmla="*/ 372 w 562"/>
                <a:gd name="T103" fmla="*/ 411 h 669"/>
                <a:gd name="T104" fmla="*/ 412 w 562"/>
                <a:gd name="T105" fmla="*/ 390 h 669"/>
                <a:gd name="T106" fmla="*/ 435 w 562"/>
                <a:gd name="T107" fmla="*/ 383 h 669"/>
                <a:gd name="T108" fmla="*/ 459 w 562"/>
                <a:gd name="T109" fmla="*/ 373 h 669"/>
                <a:gd name="T110" fmla="*/ 477 w 562"/>
                <a:gd name="T111" fmla="*/ 365 h 669"/>
                <a:gd name="T112" fmla="*/ 507 w 562"/>
                <a:gd name="T113" fmla="*/ 351 h 669"/>
                <a:gd name="T114" fmla="*/ 532 w 562"/>
                <a:gd name="T115" fmla="*/ 311 h 669"/>
                <a:gd name="T116" fmla="*/ 547 w 562"/>
                <a:gd name="T117" fmla="*/ 281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2" h="669">
                  <a:moveTo>
                    <a:pt x="551" y="246"/>
                  </a:moveTo>
                  <a:cubicBezTo>
                    <a:pt x="549" y="248"/>
                    <a:pt x="549" y="248"/>
                    <a:pt x="549" y="248"/>
                  </a:cubicBezTo>
                  <a:cubicBezTo>
                    <a:pt x="538" y="253"/>
                    <a:pt x="526" y="259"/>
                    <a:pt x="515" y="265"/>
                  </a:cubicBezTo>
                  <a:cubicBezTo>
                    <a:pt x="513" y="266"/>
                    <a:pt x="513" y="266"/>
                    <a:pt x="513" y="266"/>
                  </a:cubicBezTo>
                  <a:cubicBezTo>
                    <a:pt x="488" y="279"/>
                    <a:pt x="461" y="292"/>
                    <a:pt x="435" y="306"/>
                  </a:cubicBezTo>
                  <a:cubicBezTo>
                    <a:pt x="430" y="308"/>
                    <a:pt x="425" y="310"/>
                    <a:pt x="421" y="313"/>
                  </a:cubicBezTo>
                  <a:cubicBezTo>
                    <a:pt x="418" y="314"/>
                    <a:pt x="416" y="314"/>
                    <a:pt x="414" y="314"/>
                  </a:cubicBezTo>
                  <a:cubicBezTo>
                    <a:pt x="409" y="314"/>
                    <a:pt x="406" y="312"/>
                    <a:pt x="401" y="308"/>
                  </a:cubicBezTo>
                  <a:cubicBezTo>
                    <a:pt x="397" y="303"/>
                    <a:pt x="398" y="299"/>
                    <a:pt x="399" y="295"/>
                  </a:cubicBezTo>
                  <a:cubicBezTo>
                    <a:pt x="399" y="291"/>
                    <a:pt x="400" y="288"/>
                    <a:pt x="397" y="284"/>
                  </a:cubicBezTo>
                  <a:cubicBezTo>
                    <a:pt x="395" y="281"/>
                    <a:pt x="393" y="280"/>
                    <a:pt x="391" y="280"/>
                  </a:cubicBezTo>
                  <a:cubicBezTo>
                    <a:pt x="390" y="280"/>
                    <a:pt x="390" y="280"/>
                    <a:pt x="389" y="280"/>
                  </a:cubicBezTo>
                  <a:cubicBezTo>
                    <a:pt x="386" y="281"/>
                    <a:pt x="383" y="287"/>
                    <a:pt x="383" y="292"/>
                  </a:cubicBezTo>
                  <a:cubicBezTo>
                    <a:pt x="383" y="297"/>
                    <a:pt x="386" y="300"/>
                    <a:pt x="389" y="303"/>
                  </a:cubicBezTo>
                  <a:cubicBezTo>
                    <a:pt x="391" y="306"/>
                    <a:pt x="392" y="308"/>
                    <a:pt x="394" y="311"/>
                  </a:cubicBezTo>
                  <a:cubicBezTo>
                    <a:pt x="396" y="317"/>
                    <a:pt x="396" y="325"/>
                    <a:pt x="395" y="333"/>
                  </a:cubicBezTo>
                  <a:cubicBezTo>
                    <a:pt x="395" y="334"/>
                    <a:pt x="395" y="336"/>
                    <a:pt x="395" y="337"/>
                  </a:cubicBezTo>
                  <a:cubicBezTo>
                    <a:pt x="395" y="338"/>
                    <a:pt x="395" y="338"/>
                    <a:pt x="394" y="338"/>
                  </a:cubicBezTo>
                  <a:cubicBezTo>
                    <a:pt x="394" y="338"/>
                    <a:pt x="394" y="338"/>
                    <a:pt x="394" y="338"/>
                  </a:cubicBezTo>
                  <a:cubicBezTo>
                    <a:pt x="392" y="338"/>
                    <a:pt x="387" y="335"/>
                    <a:pt x="379" y="329"/>
                  </a:cubicBezTo>
                  <a:cubicBezTo>
                    <a:pt x="378" y="328"/>
                    <a:pt x="378" y="328"/>
                    <a:pt x="378" y="328"/>
                  </a:cubicBezTo>
                  <a:cubicBezTo>
                    <a:pt x="376" y="327"/>
                    <a:pt x="375" y="326"/>
                    <a:pt x="373" y="326"/>
                  </a:cubicBezTo>
                  <a:cubicBezTo>
                    <a:pt x="371" y="326"/>
                    <a:pt x="369" y="327"/>
                    <a:pt x="367" y="329"/>
                  </a:cubicBezTo>
                  <a:cubicBezTo>
                    <a:pt x="365" y="330"/>
                    <a:pt x="365" y="330"/>
                    <a:pt x="365" y="330"/>
                  </a:cubicBezTo>
                  <a:cubicBezTo>
                    <a:pt x="360" y="333"/>
                    <a:pt x="358" y="333"/>
                    <a:pt x="355" y="333"/>
                  </a:cubicBezTo>
                  <a:cubicBezTo>
                    <a:pt x="354" y="333"/>
                    <a:pt x="353" y="333"/>
                    <a:pt x="352" y="333"/>
                  </a:cubicBezTo>
                  <a:cubicBezTo>
                    <a:pt x="350" y="333"/>
                    <a:pt x="350" y="333"/>
                    <a:pt x="350" y="333"/>
                  </a:cubicBezTo>
                  <a:cubicBezTo>
                    <a:pt x="344" y="333"/>
                    <a:pt x="344" y="333"/>
                    <a:pt x="341" y="328"/>
                  </a:cubicBezTo>
                  <a:cubicBezTo>
                    <a:pt x="341" y="327"/>
                    <a:pt x="341" y="327"/>
                    <a:pt x="341" y="327"/>
                  </a:cubicBezTo>
                  <a:cubicBezTo>
                    <a:pt x="340" y="325"/>
                    <a:pt x="339" y="323"/>
                    <a:pt x="339" y="320"/>
                  </a:cubicBezTo>
                  <a:cubicBezTo>
                    <a:pt x="338" y="315"/>
                    <a:pt x="337" y="313"/>
                    <a:pt x="336" y="311"/>
                  </a:cubicBezTo>
                  <a:cubicBezTo>
                    <a:pt x="335" y="311"/>
                    <a:pt x="335" y="310"/>
                    <a:pt x="335" y="310"/>
                  </a:cubicBezTo>
                  <a:cubicBezTo>
                    <a:pt x="332" y="308"/>
                    <a:pt x="332" y="308"/>
                    <a:pt x="332" y="308"/>
                  </a:cubicBezTo>
                  <a:cubicBezTo>
                    <a:pt x="330" y="312"/>
                    <a:pt x="330" y="312"/>
                    <a:pt x="330" y="312"/>
                  </a:cubicBezTo>
                  <a:cubicBezTo>
                    <a:pt x="330" y="312"/>
                    <a:pt x="330" y="313"/>
                    <a:pt x="330" y="313"/>
                  </a:cubicBezTo>
                  <a:cubicBezTo>
                    <a:pt x="329" y="314"/>
                    <a:pt x="329" y="314"/>
                    <a:pt x="329" y="314"/>
                  </a:cubicBezTo>
                  <a:cubicBezTo>
                    <a:pt x="329" y="316"/>
                    <a:pt x="328" y="318"/>
                    <a:pt x="327" y="318"/>
                  </a:cubicBezTo>
                  <a:cubicBezTo>
                    <a:pt x="327" y="318"/>
                    <a:pt x="326" y="318"/>
                    <a:pt x="326" y="318"/>
                  </a:cubicBezTo>
                  <a:cubicBezTo>
                    <a:pt x="325" y="318"/>
                    <a:pt x="325" y="318"/>
                    <a:pt x="324" y="318"/>
                  </a:cubicBezTo>
                  <a:cubicBezTo>
                    <a:pt x="321" y="316"/>
                    <a:pt x="320" y="310"/>
                    <a:pt x="319" y="307"/>
                  </a:cubicBezTo>
                  <a:cubicBezTo>
                    <a:pt x="319" y="307"/>
                    <a:pt x="319" y="307"/>
                    <a:pt x="319" y="307"/>
                  </a:cubicBezTo>
                  <a:cubicBezTo>
                    <a:pt x="319" y="305"/>
                    <a:pt x="318" y="304"/>
                    <a:pt x="318" y="303"/>
                  </a:cubicBezTo>
                  <a:cubicBezTo>
                    <a:pt x="317" y="299"/>
                    <a:pt x="317" y="296"/>
                    <a:pt x="313" y="294"/>
                  </a:cubicBezTo>
                  <a:cubicBezTo>
                    <a:pt x="311" y="293"/>
                    <a:pt x="309" y="293"/>
                    <a:pt x="307" y="292"/>
                  </a:cubicBezTo>
                  <a:cubicBezTo>
                    <a:pt x="304" y="292"/>
                    <a:pt x="301" y="292"/>
                    <a:pt x="298" y="289"/>
                  </a:cubicBezTo>
                  <a:cubicBezTo>
                    <a:pt x="297" y="288"/>
                    <a:pt x="297" y="286"/>
                    <a:pt x="297" y="285"/>
                  </a:cubicBezTo>
                  <a:cubicBezTo>
                    <a:pt x="297" y="283"/>
                    <a:pt x="297" y="282"/>
                    <a:pt x="296" y="281"/>
                  </a:cubicBezTo>
                  <a:cubicBezTo>
                    <a:pt x="295" y="279"/>
                    <a:pt x="294" y="279"/>
                    <a:pt x="292" y="278"/>
                  </a:cubicBezTo>
                  <a:cubicBezTo>
                    <a:pt x="291" y="278"/>
                    <a:pt x="289" y="277"/>
                    <a:pt x="288" y="276"/>
                  </a:cubicBezTo>
                  <a:cubicBezTo>
                    <a:pt x="287" y="274"/>
                    <a:pt x="285" y="266"/>
                    <a:pt x="284" y="258"/>
                  </a:cubicBezTo>
                  <a:cubicBezTo>
                    <a:pt x="284" y="258"/>
                    <a:pt x="284" y="258"/>
                    <a:pt x="284" y="258"/>
                  </a:cubicBezTo>
                  <a:cubicBezTo>
                    <a:pt x="286" y="255"/>
                    <a:pt x="288" y="253"/>
                    <a:pt x="292" y="252"/>
                  </a:cubicBezTo>
                  <a:cubicBezTo>
                    <a:pt x="294" y="251"/>
                    <a:pt x="294" y="251"/>
                    <a:pt x="294" y="251"/>
                  </a:cubicBezTo>
                  <a:cubicBezTo>
                    <a:pt x="293" y="248"/>
                    <a:pt x="293" y="248"/>
                    <a:pt x="293" y="248"/>
                  </a:cubicBezTo>
                  <a:cubicBezTo>
                    <a:pt x="293" y="247"/>
                    <a:pt x="292" y="246"/>
                    <a:pt x="290" y="244"/>
                  </a:cubicBezTo>
                  <a:cubicBezTo>
                    <a:pt x="287" y="242"/>
                    <a:pt x="285" y="240"/>
                    <a:pt x="286" y="237"/>
                  </a:cubicBezTo>
                  <a:cubicBezTo>
                    <a:pt x="286" y="237"/>
                    <a:pt x="287" y="237"/>
                    <a:pt x="287" y="237"/>
                  </a:cubicBezTo>
                  <a:cubicBezTo>
                    <a:pt x="289" y="237"/>
                    <a:pt x="290" y="238"/>
                    <a:pt x="292" y="239"/>
                  </a:cubicBezTo>
                  <a:cubicBezTo>
                    <a:pt x="294" y="240"/>
                    <a:pt x="295" y="240"/>
                    <a:pt x="296" y="240"/>
                  </a:cubicBezTo>
                  <a:cubicBezTo>
                    <a:pt x="297" y="240"/>
                    <a:pt x="297" y="240"/>
                    <a:pt x="297" y="240"/>
                  </a:cubicBezTo>
                  <a:cubicBezTo>
                    <a:pt x="299" y="240"/>
                    <a:pt x="299" y="240"/>
                    <a:pt x="299" y="240"/>
                  </a:cubicBezTo>
                  <a:cubicBezTo>
                    <a:pt x="299" y="238"/>
                    <a:pt x="299" y="238"/>
                    <a:pt x="299" y="238"/>
                  </a:cubicBezTo>
                  <a:cubicBezTo>
                    <a:pt x="300" y="236"/>
                    <a:pt x="299" y="233"/>
                    <a:pt x="298" y="228"/>
                  </a:cubicBezTo>
                  <a:cubicBezTo>
                    <a:pt x="298" y="227"/>
                    <a:pt x="298" y="226"/>
                    <a:pt x="298" y="225"/>
                  </a:cubicBezTo>
                  <a:cubicBezTo>
                    <a:pt x="301" y="226"/>
                    <a:pt x="304" y="227"/>
                    <a:pt x="307" y="228"/>
                  </a:cubicBezTo>
                  <a:cubicBezTo>
                    <a:pt x="312" y="230"/>
                    <a:pt x="316" y="233"/>
                    <a:pt x="322" y="233"/>
                  </a:cubicBezTo>
                  <a:cubicBezTo>
                    <a:pt x="328" y="233"/>
                    <a:pt x="333" y="230"/>
                    <a:pt x="338" y="228"/>
                  </a:cubicBezTo>
                  <a:cubicBezTo>
                    <a:pt x="342" y="227"/>
                    <a:pt x="345" y="225"/>
                    <a:pt x="348" y="225"/>
                  </a:cubicBezTo>
                  <a:cubicBezTo>
                    <a:pt x="350" y="224"/>
                    <a:pt x="352" y="224"/>
                    <a:pt x="354" y="224"/>
                  </a:cubicBezTo>
                  <a:cubicBezTo>
                    <a:pt x="358" y="224"/>
                    <a:pt x="358" y="224"/>
                    <a:pt x="358" y="224"/>
                  </a:cubicBezTo>
                  <a:cubicBezTo>
                    <a:pt x="363" y="224"/>
                    <a:pt x="369" y="224"/>
                    <a:pt x="370" y="216"/>
                  </a:cubicBezTo>
                  <a:cubicBezTo>
                    <a:pt x="370" y="213"/>
                    <a:pt x="368" y="211"/>
                    <a:pt x="367" y="209"/>
                  </a:cubicBezTo>
                  <a:cubicBezTo>
                    <a:pt x="366" y="208"/>
                    <a:pt x="365" y="207"/>
                    <a:pt x="364" y="205"/>
                  </a:cubicBezTo>
                  <a:cubicBezTo>
                    <a:pt x="363" y="202"/>
                    <a:pt x="363" y="200"/>
                    <a:pt x="364" y="198"/>
                  </a:cubicBezTo>
                  <a:cubicBezTo>
                    <a:pt x="364" y="196"/>
                    <a:pt x="364" y="195"/>
                    <a:pt x="364" y="193"/>
                  </a:cubicBezTo>
                  <a:cubicBezTo>
                    <a:pt x="364" y="187"/>
                    <a:pt x="360" y="186"/>
                    <a:pt x="356" y="184"/>
                  </a:cubicBezTo>
                  <a:cubicBezTo>
                    <a:pt x="354" y="183"/>
                    <a:pt x="352" y="182"/>
                    <a:pt x="350" y="181"/>
                  </a:cubicBezTo>
                  <a:cubicBezTo>
                    <a:pt x="349" y="179"/>
                    <a:pt x="348" y="178"/>
                    <a:pt x="347" y="177"/>
                  </a:cubicBezTo>
                  <a:cubicBezTo>
                    <a:pt x="346" y="175"/>
                    <a:pt x="345" y="174"/>
                    <a:pt x="343" y="173"/>
                  </a:cubicBezTo>
                  <a:cubicBezTo>
                    <a:pt x="341" y="172"/>
                    <a:pt x="339" y="172"/>
                    <a:pt x="338" y="172"/>
                  </a:cubicBezTo>
                  <a:cubicBezTo>
                    <a:pt x="335" y="171"/>
                    <a:pt x="332" y="171"/>
                    <a:pt x="329" y="167"/>
                  </a:cubicBezTo>
                  <a:cubicBezTo>
                    <a:pt x="328" y="163"/>
                    <a:pt x="327" y="158"/>
                    <a:pt x="327" y="153"/>
                  </a:cubicBezTo>
                  <a:cubicBezTo>
                    <a:pt x="327" y="149"/>
                    <a:pt x="327" y="146"/>
                    <a:pt x="326" y="144"/>
                  </a:cubicBezTo>
                  <a:cubicBezTo>
                    <a:pt x="325" y="139"/>
                    <a:pt x="325" y="135"/>
                    <a:pt x="325" y="131"/>
                  </a:cubicBezTo>
                  <a:cubicBezTo>
                    <a:pt x="325" y="128"/>
                    <a:pt x="325" y="125"/>
                    <a:pt x="324" y="122"/>
                  </a:cubicBezTo>
                  <a:cubicBezTo>
                    <a:pt x="323" y="115"/>
                    <a:pt x="322" y="114"/>
                    <a:pt x="316" y="113"/>
                  </a:cubicBezTo>
                  <a:cubicBezTo>
                    <a:pt x="314" y="112"/>
                    <a:pt x="312" y="112"/>
                    <a:pt x="309" y="110"/>
                  </a:cubicBezTo>
                  <a:cubicBezTo>
                    <a:pt x="303" y="107"/>
                    <a:pt x="303" y="101"/>
                    <a:pt x="304" y="93"/>
                  </a:cubicBezTo>
                  <a:cubicBezTo>
                    <a:pt x="305" y="85"/>
                    <a:pt x="306" y="78"/>
                    <a:pt x="298" y="76"/>
                  </a:cubicBezTo>
                  <a:cubicBezTo>
                    <a:pt x="297" y="75"/>
                    <a:pt x="296" y="75"/>
                    <a:pt x="295" y="75"/>
                  </a:cubicBezTo>
                  <a:cubicBezTo>
                    <a:pt x="293" y="75"/>
                    <a:pt x="291" y="76"/>
                    <a:pt x="289" y="76"/>
                  </a:cubicBezTo>
                  <a:cubicBezTo>
                    <a:pt x="288" y="76"/>
                    <a:pt x="287" y="77"/>
                    <a:pt x="285" y="77"/>
                  </a:cubicBezTo>
                  <a:cubicBezTo>
                    <a:pt x="284" y="77"/>
                    <a:pt x="282" y="76"/>
                    <a:pt x="280" y="72"/>
                  </a:cubicBezTo>
                  <a:cubicBezTo>
                    <a:pt x="280" y="71"/>
                    <a:pt x="280" y="69"/>
                    <a:pt x="281" y="67"/>
                  </a:cubicBezTo>
                  <a:cubicBezTo>
                    <a:pt x="282" y="65"/>
                    <a:pt x="282" y="64"/>
                    <a:pt x="282" y="63"/>
                  </a:cubicBezTo>
                  <a:cubicBezTo>
                    <a:pt x="281" y="63"/>
                    <a:pt x="281" y="63"/>
                    <a:pt x="281" y="63"/>
                  </a:cubicBezTo>
                  <a:cubicBezTo>
                    <a:pt x="281" y="62"/>
                    <a:pt x="281" y="62"/>
                    <a:pt x="281" y="62"/>
                  </a:cubicBezTo>
                  <a:cubicBezTo>
                    <a:pt x="281" y="61"/>
                    <a:pt x="280" y="60"/>
                    <a:pt x="277" y="60"/>
                  </a:cubicBezTo>
                  <a:cubicBezTo>
                    <a:pt x="277" y="60"/>
                    <a:pt x="276" y="60"/>
                    <a:pt x="276" y="60"/>
                  </a:cubicBezTo>
                  <a:cubicBezTo>
                    <a:pt x="275" y="60"/>
                    <a:pt x="275" y="60"/>
                    <a:pt x="274" y="60"/>
                  </a:cubicBezTo>
                  <a:cubicBezTo>
                    <a:pt x="273" y="60"/>
                    <a:pt x="272" y="60"/>
                    <a:pt x="271" y="59"/>
                  </a:cubicBezTo>
                  <a:cubicBezTo>
                    <a:pt x="269" y="57"/>
                    <a:pt x="268" y="50"/>
                    <a:pt x="267" y="45"/>
                  </a:cubicBezTo>
                  <a:cubicBezTo>
                    <a:pt x="266" y="42"/>
                    <a:pt x="266" y="39"/>
                    <a:pt x="265" y="37"/>
                  </a:cubicBezTo>
                  <a:cubicBezTo>
                    <a:pt x="264" y="34"/>
                    <a:pt x="263" y="31"/>
                    <a:pt x="263" y="28"/>
                  </a:cubicBezTo>
                  <a:cubicBezTo>
                    <a:pt x="262" y="24"/>
                    <a:pt x="262" y="24"/>
                    <a:pt x="262" y="24"/>
                  </a:cubicBezTo>
                  <a:cubicBezTo>
                    <a:pt x="256" y="25"/>
                    <a:pt x="256" y="25"/>
                    <a:pt x="256" y="25"/>
                  </a:cubicBezTo>
                  <a:cubicBezTo>
                    <a:pt x="256" y="25"/>
                    <a:pt x="256" y="25"/>
                    <a:pt x="256" y="26"/>
                  </a:cubicBezTo>
                  <a:cubicBezTo>
                    <a:pt x="255" y="28"/>
                    <a:pt x="256" y="30"/>
                    <a:pt x="257" y="33"/>
                  </a:cubicBezTo>
                  <a:cubicBezTo>
                    <a:pt x="257" y="33"/>
                    <a:pt x="257" y="34"/>
                    <a:pt x="258" y="36"/>
                  </a:cubicBezTo>
                  <a:cubicBezTo>
                    <a:pt x="258" y="36"/>
                    <a:pt x="258" y="37"/>
                    <a:pt x="258" y="38"/>
                  </a:cubicBezTo>
                  <a:cubicBezTo>
                    <a:pt x="258" y="39"/>
                    <a:pt x="259" y="40"/>
                    <a:pt x="259" y="41"/>
                  </a:cubicBezTo>
                  <a:cubicBezTo>
                    <a:pt x="259" y="43"/>
                    <a:pt x="259" y="44"/>
                    <a:pt x="259" y="46"/>
                  </a:cubicBezTo>
                  <a:cubicBezTo>
                    <a:pt x="259" y="47"/>
                    <a:pt x="258" y="47"/>
                    <a:pt x="257" y="48"/>
                  </a:cubicBezTo>
                  <a:cubicBezTo>
                    <a:pt x="257" y="49"/>
                    <a:pt x="256" y="49"/>
                    <a:pt x="256" y="50"/>
                  </a:cubicBezTo>
                  <a:cubicBezTo>
                    <a:pt x="254" y="52"/>
                    <a:pt x="253" y="55"/>
                    <a:pt x="254" y="59"/>
                  </a:cubicBezTo>
                  <a:cubicBezTo>
                    <a:pt x="254" y="62"/>
                    <a:pt x="257" y="63"/>
                    <a:pt x="258" y="65"/>
                  </a:cubicBezTo>
                  <a:cubicBezTo>
                    <a:pt x="259" y="65"/>
                    <a:pt x="259" y="65"/>
                    <a:pt x="259" y="65"/>
                  </a:cubicBezTo>
                  <a:cubicBezTo>
                    <a:pt x="260" y="66"/>
                    <a:pt x="260" y="67"/>
                    <a:pt x="260" y="70"/>
                  </a:cubicBezTo>
                  <a:cubicBezTo>
                    <a:pt x="260" y="71"/>
                    <a:pt x="260" y="72"/>
                    <a:pt x="260" y="73"/>
                  </a:cubicBezTo>
                  <a:cubicBezTo>
                    <a:pt x="260" y="74"/>
                    <a:pt x="260" y="74"/>
                    <a:pt x="260" y="74"/>
                  </a:cubicBezTo>
                  <a:cubicBezTo>
                    <a:pt x="260" y="76"/>
                    <a:pt x="260" y="78"/>
                    <a:pt x="262" y="80"/>
                  </a:cubicBezTo>
                  <a:cubicBezTo>
                    <a:pt x="262" y="80"/>
                    <a:pt x="262" y="80"/>
                    <a:pt x="262" y="80"/>
                  </a:cubicBezTo>
                  <a:cubicBezTo>
                    <a:pt x="262" y="81"/>
                    <a:pt x="262" y="82"/>
                    <a:pt x="261" y="83"/>
                  </a:cubicBezTo>
                  <a:cubicBezTo>
                    <a:pt x="260" y="84"/>
                    <a:pt x="259" y="85"/>
                    <a:pt x="259" y="86"/>
                  </a:cubicBezTo>
                  <a:cubicBezTo>
                    <a:pt x="259" y="86"/>
                    <a:pt x="259" y="87"/>
                    <a:pt x="258" y="87"/>
                  </a:cubicBezTo>
                  <a:cubicBezTo>
                    <a:pt x="258" y="88"/>
                    <a:pt x="257" y="89"/>
                    <a:pt x="257" y="90"/>
                  </a:cubicBezTo>
                  <a:cubicBezTo>
                    <a:pt x="257" y="90"/>
                    <a:pt x="257" y="91"/>
                    <a:pt x="257" y="91"/>
                  </a:cubicBezTo>
                  <a:cubicBezTo>
                    <a:pt x="257" y="91"/>
                    <a:pt x="256" y="91"/>
                    <a:pt x="256" y="91"/>
                  </a:cubicBezTo>
                  <a:cubicBezTo>
                    <a:pt x="256" y="91"/>
                    <a:pt x="255" y="91"/>
                    <a:pt x="255" y="91"/>
                  </a:cubicBezTo>
                  <a:cubicBezTo>
                    <a:pt x="253" y="91"/>
                    <a:pt x="251" y="91"/>
                    <a:pt x="250" y="92"/>
                  </a:cubicBezTo>
                  <a:cubicBezTo>
                    <a:pt x="248" y="95"/>
                    <a:pt x="248" y="100"/>
                    <a:pt x="248" y="103"/>
                  </a:cubicBezTo>
                  <a:cubicBezTo>
                    <a:pt x="248" y="104"/>
                    <a:pt x="248" y="104"/>
                    <a:pt x="248" y="104"/>
                  </a:cubicBezTo>
                  <a:cubicBezTo>
                    <a:pt x="249" y="105"/>
                    <a:pt x="249" y="106"/>
                    <a:pt x="249" y="108"/>
                  </a:cubicBezTo>
                  <a:cubicBezTo>
                    <a:pt x="248" y="108"/>
                    <a:pt x="248" y="108"/>
                    <a:pt x="248" y="108"/>
                  </a:cubicBezTo>
                  <a:cubicBezTo>
                    <a:pt x="248" y="108"/>
                    <a:pt x="248" y="109"/>
                    <a:pt x="247" y="109"/>
                  </a:cubicBezTo>
                  <a:cubicBezTo>
                    <a:pt x="245" y="109"/>
                    <a:pt x="244" y="110"/>
                    <a:pt x="243" y="111"/>
                  </a:cubicBezTo>
                  <a:cubicBezTo>
                    <a:pt x="241" y="113"/>
                    <a:pt x="240" y="115"/>
                    <a:pt x="239" y="117"/>
                  </a:cubicBezTo>
                  <a:cubicBezTo>
                    <a:pt x="239" y="118"/>
                    <a:pt x="239" y="118"/>
                    <a:pt x="239" y="119"/>
                  </a:cubicBezTo>
                  <a:cubicBezTo>
                    <a:pt x="239" y="119"/>
                    <a:pt x="239" y="120"/>
                    <a:pt x="239" y="120"/>
                  </a:cubicBezTo>
                  <a:cubicBezTo>
                    <a:pt x="238" y="120"/>
                    <a:pt x="238" y="120"/>
                    <a:pt x="237" y="120"/>
                  </a:cubicBezTo>
                  <a:cubicBezTo>
                    <a:pt x="237" y="120"/>
                    <a:pt x="237" y="120"/>
                    <a:pt x="236" y="120"/>
                  </a:cubicBezTo>
                  <a:cubicBezTo>
                    <a:pt x="236" y="120"/>
                    <a:pt x="235" y="119"/>
                    <a:pt x="234" y="118"/>
                  </a:cubicBezTo>
                  <a:cubicBezTo>
                    <a:pt x="234" y="117"/>
                    <a:pt x="234" y="117"/>
                    <a:pt x="234" y="117"/>
                  </a:cubicBezTo>
                  <a:cubicBezTo>
                    <a:pt x="232" y="115"/>
                    <a:pt x="230" y="113"/>
                    <a:pt x="227" y="113"/>
                  </a:cubicBezTo>
                  <a:cubicBezTo>
                    <a:pt x="226" y="112"/>
                    <a:pt x="225" y="112"/>
                    <a:pt x="224" y="112"/>
                  </a:cubicBezTo>
                  <a:cubicBezTo>
                    <a:pt x="223" y="112"/>
                    <a:pt x="223" y="112"/>
                    <a:pt x="223" y="112"/>
                  </a:cubicBezTo>
                  <a:cubicBezTo>
                    <a:pt x="222" y="112"/>
                    <a:pt x="221" y="112"/>
                    <a:pt x="220" y="111"/>
                  </a:cubicBezTo>
                  <a:cubicBezTo>
                    <a:pt x="220" y="111"/>
                    <a:pt x="220" y="110"/>
                    <a:pt x="219" y="110"/>
                  </a:cubicBezTo>
                  <a:cubicBezTo>
                    <a:pt x="219" y="108"/>
                    <a:pt x="218" y="107"/>
                    <a:pt x="216" y="106"/>
                  </a:cubicBezTo>
                  <a:cubicBezTo>
                    <a:pt x="214" y="104"/>
                    <a:pt x="212" y="104"/>
                    <a:pt x="210" y="104"/>
                  </a:cubicBezTo>
                  <a:cubicBezTo>
                    <a:pt x="210" y="104"/>
                    <a:pt x="209" y="104"/>
                    <a:pt x="208" y="104"/>
                  </a:cubicBezTo>
                  <a:cubicBezTo>
                    <a:pt x="208" y="104"/>
                    <a:pt x="207" y="104"/>
                    <a:pt x="206" y="104"/>
                  </a:cubicBezTo>
                  <a:cubicBezTo>
                    <a:pt x="204" y="104"/>
                    <a:pt x="202" y="104"/>
                    <a:pt x="200" y="106"/>
                  </a:cubicBezTo>
                  <a:cubicBezTo>
                    <a:pt x="199" y="106"/>
                    <a:pt x="197" y="107"/>
                    <a:pt x="196" y="108"/>
                  </a:cubicBezTo>
                  <a:cubicBezTo>
                    <a:pt x="197" y="106"/>
                    <a:pt x="197" y="105"/>
                    <a:pt x="197" y="103"/>
                  </a:cubicBezTo>
                  <a:cubicBezTo>
                    <a:pt x="197" y="103"/>
                    <a:pt x="197" y="102"/>
                    <a:pt x="198" y="101"/>
                  </a:cubicBezTo>
                  <a:cubicBezTo>
                    <a:pt x="198" y="101"/>
                    <a:pt x="198" y="101"/>
                    <a:pt x="198" y="101"/>
                  </a:cubicBezTo>
                  <a:cubicBezTo>
                    <a:pt x="198" y="99"/>
                    <a:pt x="199" y="95"/>
                    <a:pt x="196" y="93"/>
                  </a:cubicBezTo>
                  <a:cubicBezTo>
                    <a:pt x="195" y="92"/>
                    <a:pt x="194" y="91"/>
                    <a:pt x="192" y="91"/>
                  </a:cubicBezTo>
                  <a:cubicBezTo>
                    <a:pt x="191" y="91"/>
                    <a:pt x="190" y="92"/>
                    <a:pt x="189" y="92"/>
                  </a:cubicBezTo>
                  <a:cubicBezTo>
                    <a:pt x="188" y="92"/>
                    <a:pt x="187" y="93"/>
                    <a:pt x="187" y="93"/>
                  </a:cubicBezTo>
                  <a:cubicBezTo>
                    <a:pt x="187" y="92"/>
                    <a:pt x="186" y="91"/>
                    <a:pt x="186" y="87"/>
                  </a:cubicBezTo>
                  <a:cubicBezTo>
                    <a:pt x="186" y="81"/>
                    <a:pt x="184" y="79"/>
                    <a:pt x="182" y="75"/>
                  </a:cubicBezTo>
                  <a:cubicBezTo>
                    <a:pt x="181" y="73"/>
                    <a:pt x="181" y="72"/>
                    <a:pt x="181" y="70"/>
                  </a:cubicBezTo>
                  <a:cubicBezTo>
                    <a:pt x="181" y="66"/>
                    <a:pt x="180" y="63"/>
                    <a:pt x="177" y="61"/>
                  </a:cubicBezTo>
                  <a:cubicBezTo>
                    <a:pt x="176" y="59"/>
                    <a:pt x="176" y="59"/>
                    <a:pt x="176" y="59"/>
                  </a:cubicBezTo>
                  <a:cubicBezTo>
                    <a:pt x="175" y="59"/>
                    <a:pt x="175" y="58"/>
                    <a:pt x="174" y="57"/>
                  </a:cubicBezTo>
                  <a:cubicBezTo>
                    <a:pt x="173" y="57"/>
                    <a:pt x="173" y="57"/>
                    <a:pt x="173" y="57"/>
                  </a:cubicBezTo>
                  <a:cubicBezTo>
                    <a:pt x="173" y="56"/>
                    <a:pt x="172" y="56"/>
                    <a:pt x="172" y="56"/>
                  </a:cubicBezTo>
                  <a:cubicBezTo>
                    <a:pt x="172" y="55"/>
                    <a:pt x="172" y="55"/>
                    <a:pt x="172" y="55"/>
                  </a:cubicBezTo>
                  <a:cubicBezTo>
                    <a:pt x="172" y="54"/>
                    <a:pt x="173" y="54"/>
                    <a:pt x="173" y="53"/>
                  </a:cubicBezTo>
                  <a:cubicBezTo>
                    <a:pt x="173" y="53"/>
                    <a:pt x="172" y="52"/>
                    <a:pt x="172" y="51"/>
                  </a:cubicBezTo>
                  <a:cubicBezTo>
                    <a:pt x="172" y="49"/>
                    <a:pt x="172" y="48"/>
                    <a:pt x="173" y="46"/>
                  </a:cubicBezTo>
                  <a:cubicBezTo>
                    <a:pt x="173" y="45"/>
                    <a:pt x="173" y="45"/>
                    <a:pt x="174" y="44"/>
                  </a:cubicBezTo>
                  <a:cubicBezTo>
                    <a:pt x="175" y="41"/>
                    <a:pt x="177" y="35"/>
                    <a:pt x="172" y="33"/>
                  </a:cubicBezTo>
                  <a:cubicBezTo>
                    <a:pt x="170" y="32"/>
                    <a:pt x="169" y="32"/>
                    <a:pt x="168" y="32"/>
                  </a:cubicBezTo>
                  <a:cubicBezTo>
                    <a:pt x="165" y="32"/>
                    <a:pt x="164" y="35"/>
                    <a:pt x="163" y="36"/>
                  </a:cubicBezTo>
                  <a:cubicBezTo>
                    <a:pt x="163" y="37"/>
                    <a:pt x="162" y="38"/>
                    <a:pt x="162" y="38"/>
                  </a:cubicBezTo>
                  <a:cubicBezTo>
                    <a:pt x="162" y="38"/>
                    <a:pt x="161" y="37"/>
                    <a:pt x="160" y="36"/>
                  </a:cubicBezTo>
                  <a:cubicBezTo>
                    <a:pt x="159" y="34"/>
                    <a:pt x="157" y="32"/>
                    <a:pt x="154" y="32"/>
                  </a:cubicBezTo>
                  <a:cubicBezTo>
                    <a:pt x="153" y="32"/>
                    <a:pt x="153" y="32"/>
                    <a:pt x="152" y="32"/>
                  </a:cubicBezTo>
                  <a:cubicBezTo>
                    <a:pt x="150" y="32"/>
                    <a:pt x="149" y="34"/>
                    <a:pt x="148" y="34"/>
                  </a:cubicBezTo>
                  <a:cubicBezTo>
                    <a:pt x="148" y="35"/>
                    <a:pt x="148" y="35"/>
                    <a:pt x="148" y="35"/>
                  </a:cubicBezTo>
                  <a:cubicBezTo>
                    <a:pt x="147" y="35"/>
                    <a:pt x="147" y="35"/>
                    <a:pt x="145" y="35"/>
                  </a:cubicBezTo>
                  <a:cubicBezTo>
                    <a:pt x="145" y="35"/>
                    <a:pt x="144" y="35"/>
                    <a:pt x="144" y="35"/>
                  </a:cubicBezTo>
                  <a:cubicBezTo>
                    <a:pt x="143" y="35"/>
                    <a:pt x="142" y="35"/>
                    <a:pt x="142" y="35"/>
                  </a:cubicBezTo>
                  <a:cubicBezTo>
                    <a:pt x="138" y="35"/>
                    <a:pt x="138" y="35"/>
                    <a:pt x="138" y="35"/>
                  </a:cubicBezTo>
                  <a:cubicBezTo>
                    <a:pt x="137" y="35"/>
                    <a:pt x="137" y="35"/>
                    <a:pt x="136" y="35"/>
                  </a:cubicBezTo>
                  <a:cubicBezTo>
                    <a:pt x="135" y="35"/>
                    <a:pt x="135" y="35"/>
                    <a:pt x="135" y="35"/>
                  </a:cubicBezTo>
                  <a:cubicBezTo>
                    <a:pt x="133" y="35"/>
                    <a:pt x="132" y="35"/>
                    <a:pt x="131" y="34"/>
                  </a:cubicBezTo>
                  <a:cubicBezTo>
                    <a:pt x="129" y="34"/>
                    <a:pt x="126" y="31"/>
                    <a:pt x="126" y="28"/>
                  </a:cubicBezTo>
                  <a:cubicBezTo>
                    <a:pt x="126" y="27"/>
                    <a:pt x="126" y="27"/>
                    <a:pt x="126" y="27"/>
                  </a:cubicBezTo>
                  <a:cubicBezTo>
                    <a:pt x="126" y="25"/>
                    <a:pt x="126" y="23"/>
                    <a:pt x="124" y="21"/>
                  </a:cubicBezTo>
                  <a:cubicBezTo>
                    <a:pt x="122" y="19"/>
                    <a:pt x="119" y="18"/>
                    <a:pt x="116" y="18"/>
                  </a:cubicBezTo>
                  <a:cubicBezTo>
                    <a:pt x="116" y="17"/>
                    <a:pt x="116" y="17"/>
                    <a:pt x="116" y="17"/>
                  </a:cubicBezTo>
                  <a:cubicBezTo>
                    <a:pt x="115" y="17"/>
                    <a:pt x="115" y="17"/>
                    <a:pt x="114" y="17"/>
                  </a:cubicBezTo>
                  <a:cubicBezTo>
                    <a:pt x="114" y="16"/>
                    <a:pt x="114" y="16"/>
                    <a:pt x="114" y="16"/>
                  </a:cubicBezTo>
                  <a:cubicBezTo>
                    <a:pt x="112" y="14"/>
                    <a:pt x="110" y="14"/>
                    <a:pt x="108" y="14"/>
                  </a:cubicBezTo>
                  <a:cubicBezTo>
                    <a:pt x="108" y="14"/>
                    <a:pt x="107" y="14"/>
                    <a:pt x="107" y="14"/>
                  </a:cubicBezTo>
                  <a:cubicBezTo>
                    <a:pt x="107" y="14"/>
                    <a:pt x="106" y="14"/>
                    <a:pt x="106" y="13"/>
                  </a:cubicBezTo>
                  <a:cubicBezTo>
                    <a:pt x="105" y="12"/>
                    <a:pt x="104" y="11"/>
                    <a:pt x="103" y="10"/>
                  </a:cubicBezTo>
                  <a:cubicBezTo>
                    <a:pt x="101" y="9"/>
                    <a:pt x="100" y="9"/>
                    <a:pt x="98" y="8"/>
                  </a:cubicBezTo>
                  <a:cubicBezTo>
                    <a:pt x="98" y="8"/>
                    <a:pt x="97" y="8"/>
                    <a:pt x="96" y="7"/>
                  </a:cubicBezTo>
                  <a:cubicBezTo>
                    <a:pt x="96" y="7"/>
                    <a:pt x="95" y="6"/>
                    <a:pt x="94" y="6"/>
                  </a:cubicBezTo>
                  <a:cubicBezTo>
                    <a:pt x="94" y="5"/>
                    <a:pt x="93" y="5"/>
                    <a:pt x="93" y="5"/>
                  </a:cubicBezTo>
                  <a:cubicBezTo>
                    <a:pt x="88" y="2"/>
                    <a:pt x="85" y="0"/>
                    <a:pt x="81" y="0"/>
                  </a:cubicBezTo>
                  <a:cubicBezTo>
                    <a:pt x="80" y="0"/>
                    <a:pt x="78" y="1"/>
                    <a:pt x="76" y="1"/>
                  </a:cubicBezTo>
                  <a:cubicBezTo>
                    <a:pt x="74" y="3"/>
                    <a:pt x="72" y="4"/>
                    <a:pt x="70" y="6"/>
                  </a:cubicBezTo>
                  <a:cubicBezTo>
                    <a:pt x="69" y="7"/>
                    <a:pt x="68" y="8"/>
                    <a:pt x="67" y="9"/>
                  </a:cubicBezTo>
                  <a:cubicBezTo>
                    <a:pt x="66" y="9"/>
                    <a:pt x="66" y="9"/>
                    <a:pt x="66" y="9"/>
                  </a:cubicBezTo>
                  <a:cubicBezTo>
                    <a:pt x="65" y="10"/>
                    <a:pt x="64" y="10"/>
                    <a:pt x="63" y="12"/>
                  </a:cubicBezTo>
                  <a:cubicBezTo>
                    <a:pt x="63" y="12"/>
                    <a:pt x="62" y="13"/>
                    <a:pt x="62" y="13"/>
                  </a:cubicBezTo>
                  <a:cubicBezTo>
                    <a:pt x="62" y="14"/>
                    <a:pt x="61" y="15"/>
                    <a:pt x="61" y="15"/>
                  </a:cubicBezTo>
                  <a:cubicBezTo>
                    <a:pt x="61" y="15"/>
                    <a:pt x="60" y="15"/>
                    <a:pt x="60" y="15"/>
                  </a:cubicBezTo>
                  <a:cubicBezTo>
                    <a:pt x="59" y="15"/>
                    <a:pt x="59" y="15"/>
                    <a:pt x="58" y="15"/>
                  </a:cubicBezTo>
                  <a:cubicBezTo>
                    <a:pt x="58" y="15"/>
                    <a:pt x="58" y="15"/>
                    <a:pt x="58" y="15"/>
                  </a:cubicBezTo>
                  <a:cubicBezTo>
                    <a:pt x="57" y="15"/>
                    <a:pt x="57" y="15"/>
                    <a:pt x="56" y="16"/>
                  </a:cubicBezTo>
                  <a:cubicBezTo>
                    <a:pt x="56" y="15"/>
                    <a:pt x="56" y="15"/>
                    <a:pt x="56" y="15"/>
                  </a:cubicBezTo>
                  <a:cubicBezTo>
                    <a:pt x="55" y="15"/>
                    <a:pt x="55" y="15"/>
                    <a:pt x="54" y="15"/>
                  </a:cubicBezTo>
                  <a:cubicBezTo>
                    <a:pt x="53" y="14"/>
                    <a:pt x="51" y="14"/>
                    <a:pt x="49" y="14"/>
                  </a:cubicBezTo>
                  <a:cubicBezTo>
                    <a:pt x="49" y="14"/>
                    <a:pt x="49" y="14"/>
                    <a:pt x="49" y="14"/>
                  </a:cubicBezTo>
                  <a:cubicBezTo>
                    <a:pt x="48" y="14"/>
                    <a:pt x="48" y="14"/>
                    <a:pt x="47" y="14"/>
                  </a:cubicBezTo>
                  <a:cubicBezTo>
                    <a:pt x="46" y="14"/>
                    <a:pt x="45" y="14"/>
                    <a:pt x="45" y="14"/>
                  </a:cubicBezTo>
                  <a:cubicBezTo>
                    <a:pt x="44" y="14"/>
                    <a:pt x="43" y="14"/>
                    <a:pt x="42" y="14"/>
                  </a:cubicBezTo>
                  <a:cubicBezTo>
                    <a:pt x="41" y="14"/>
                    <a:pt x="40" y="13"/>
                    <a:pt x="39" y="13"/>
                  </a:cubicBezTo>
                  <a:cubicBezTo>
                    <a:pt x="38" y="12"/>
                    <a:pt x="36" y="12"/>
                    <a:pt x="35" y="11"/>
                  </a:cubicBezTo>
                  <a:cubicBezTo>
                    <a:pt x="31" y="10"/>
                    <a:pt x="27" y="9"/>
                    <a:pt x="22" y="9"/>
                  </a:cubicBezTo>
                  <a:cubicBezTo>
                    <a:pt x="20" y="9"/>
                    <a:pt x="19" y="9"/>
                    <a:pt x="17" y="9"/>
                  </a:cubicBezTo>
                  <a:cubicBezTo>
                    <a:pt x="12" y="10"/>
                    <a:pt x="8" y="12"/>
                    <a:pt x="5" y="16"/>
                  </a:cubicBezTo>
                  <a:cubicBezTo>
                    <a:pt x="3" y="18"/>
                    <a:pt x="2" y="20"/>
                    <a:pt x="2" y="23"/>
                  </a:cubicBezTo>
                  <a:cubicBezTo>
                    <a:pt x="2" y="23"/>
                    <a:pt x="1" y="24"/>
                    <a:pt x="1" y="24"/>
                  </a:cubicBezTo>
                  <a:cubicBezTo>
                    <a:pt x="1" y="26"/>
                    <a:pt x="0" y="28"/>
                    <a:pt x="0" y="30"/>
                  </a:cubicBezTo>
                  <a:cubicBezTo>
                    <a:pt x="1" y="34"/>
                    <a:pt x="3" y="39"/>
                    <a:pt x="4" y="42"/>
                  </a:cubicBezTo>
                  <a:cubicBezTo>
                    <a:pt x="6" y="45"/>
                    <a:pt x="9" y="48"/>
                    <a:pt x="11" y="49"/>
                  </a:cubicBezTo>
                  <a:cubicBezTo>
                    <a:pt x="12" y="49"/>
                    <a:pt x="12" y="49"/>
                    <a:pt x="12" y="49"/>
                  </a:cubicBezTo>
                  <a:cubicBezTo>
                    <a:pt x="14" y="51"/>
                    <a:pt x="15" y="52"/>
                    <a:pt x="15" y="53"/>
                  </a:cubicBezTo>
                  <a:cubicBezTo>
                    <a:pt x="15" y="54"/>
                    <a:pt x="14" y="54"/>
                    <a:pt x="14" y="55"/>
                  </a:cubicBezTo>
                  <a:cubicBezTo>
                    <a:pt x="14" y="56"/>
                    <a:pt x="13" y="57"/>
                    <a:pt x="13" y="58"/>
                  </a:cubicBezTo>
                  <a:cubicBezTo>
                    <a:pt x="13" y="60"/>
                    <a:pt x="14" y="63"/>
                    <a:pt x="15" y="65"/>
                  </a:cubicBezTo>
                  <a:cubicBezTo>
                    <a:pt x="16" y="65"/>
                    <a:pt x="16" y="65"/>
                    <a:pt x="16" y="65"/>
                  </a:cubicBezTo>
                  <a:cubicBezTo>
                    <a:pt x="16" y="66"/>
                    <a:pt x="15" y="66"/>
                    <a:pt x="15" y="67"/>
                  </a:cubicBezTo>
                  <a:cubicBezTo>
                    <a:pt x="15" y="67"/>
                    <a:pt x="14" y="68"/>
                    <a:pt x="14" y="69"/>
                  </a:cubicBezTo>
                  <a:cubicBezTo>
                    <a:pt x="12" y="71"/>
                    <a:pt x="9" y="75"/>
                    <a:pt x="12" y="79"/>
                  </a:cubicBezTo>
                  <a:cubicBezTo>
                    <a:pt x="13" y="81"/>
                    <a:pt x="14" y="83"/>
                    <a:pt x="17" y="84"/>
                  </a:cubicBezTo>
                  <a:cubicBezTo>
                    <a:pt x="18" y="84"/>
                    <a:pt x="18" y="84"/>
                    <a:pt x="19" y="84"/>
                  </a:cubicBezTo>
                  <a:cubicBezTo>
                    <a:pt x="19" y="84"/>
                    <a:pt x="19" y="84"/>
                    <a:pt x="19" y="84"/>
                  </a:cubicBezTo>
                  <a:cubicBezTo>
                    <a:pt x="19" y="85"/>
                    <a:pt x="19" y="85"/>
                    <a:pt x="19" y="85"/>
                  </a:cubicBezTo>
                  <a:cubicBezTo>
                    <a:pt x="19" y="86"/>
                    <a:pt x="19" y="87"/>
                    <a:pt x="20" y="88"/>
                  </a:cubicBezTo>
                  <a:cubicBezTo>
                    <a:pt x="20" y="89"/>
                    <a:pt x="20" y="90"/>
                    <a:pt x="20" y="92"/>
                  </a:cubicBezTo>
                  <a:cubicBezTo>
                    <a:pt x="20" y="93"/>
                    <a:pt x="20" y="95"/>
                    <a:pt x="21" y="97"/>
                  </a:cubicBezTo>
                  <a:cubicBezTo>
                    <a:pt x="22" y="99"/>
                    <a:pt x="23" y="100"/>
                    <a:pt x="25" y="101"/>
                  </a:cubicBezTo>
                  <a:cubicBezTo>
                    <a:pt x="25" y="101"/>
                    <a:pt x="26" y="102"/>
                    <a:pt x="26" y="102"/>
                  </a:cubicBezTo>
                  <a:cubicBezTo>
                    <a:pt x="26" y="102"/>
                    <a:pt x="26" y="103"/>
                    <a:pt x="26" y="104"/>
                  </a:cubicBezTo>
                  <a:cubicBezTo>
                    <a:pt x="26" y="105"/>
                    <a:pt x="26" y="105"/>
                    <a:pt x="26" y="105"/>
                  </a:cubicBezTo>
                  <a:cubicBezTo>
                    <a:pt x="26" y="106"/>
                    <a:pt x="27" y="109"/>
                    <a:pt x="29" y="110"/>
                  </a:cubicBezTo>
                  <a:cubicBezTo>
                    <a:pt x="29" y="110"/>
                    <a:pt x="30" y="111"/>
                    <a:pt x="30" y="111"/>
                  </a:cubicBezTo>
                  <a:cubicBezTo>
                    <a:pt x="30" y="111"/>
                    <a:pt x="31" y="111"/>
                    <a:pt x="31" y="111"/>
                  </a:cubicBezTo>
                  <a:cubicBezTo>
                    <a:pt x="31" y="111"/>
                    <a:pt x="31" y="111"/>
                    <a:pt x="31" y="111"/>
                  </a:cubicBezTo>
                  <a:cubicBezTo>
                    <a:pt x="31" y="112"/>
                    <a:pt x="31" y="113"/>
                    <a:pt x="31" y="114"/>
                  </a:cubicBezTo>
                  <a:cubicBezTo>
                    <a:pt x="31" y="115"/>
                    <a:pt x="31" y="115"/>
                    <a:pt x="31" y="115"/>
                  </a:cubicBezTo>
                  <a:cubicBezTo>
                    <a:pt x="32" y="116"/>
                    <a:pt x="31" y="117"/>
                    <a:pt x="30" y="119"/>
                  </a:cubicBezTo>
                  <a:cubicBezTo>
                    <a:pt x="28" y="122"/>
                    <a:pt x="27" y="125"/>
                    <a:pt x="27" y="128"/>
                  </a:cubicBezTo>
                  <a:cubicBezTo>
                    <a:pt x="27" y="130"/>
                    <a:pt x="27" y="131"/>
                    <a:pt x="26" y="132"/>
                  </a:cubicBezTo>
                  <a:cubicBezTo>
                    <a:pt x="26" y="135"/>
                    <a:pt x="26" y="135"/>
                    <a:pt x="26" y="135"/>
                  </a:cubicBezTo>
                  <a:cubicBezTo>
                    <a:pt x="26" y="136"/>
                    <a:pt x="25" y="138"/>
                    <a:pt x="24" y="139"/>
                  </a:cubicBezTo>
                  <a:cubicBezTo>
                    <a:pt x="24" y="140"/>
                    <a:pt x="24" y="140"/>
                    <a:pt x="24" y="140"/>
                  </a:cubicBezTo>
                  <a:cubicBezTo>
                    <a:pt x="21" y="146"/>
                    <a:pt x="12" y="160"/>
                    <a:pt x="23" y="168"/>
                  </a:cubicBezTo>
                  <a:cubicBezTo>
                    <a:pt x="27" y="171"/>
                    <a:pt x="31" y="173"/>
                    <a:pt x="35" y="176"/>
                  </a:cubicBezTo>
                  <a:cubicBezTo>
                    <a:pt x="38" y="178"/>
                    <a:pt x="42" y="180"/>
                    <a:pt x="45" y="182"/>
                  </a:cubicBezTo>
                  <a:cubicBezTo>
                    <a:pt x="46" y="183"/>
                    <a:pt x="47" y="184"/>
                    <a:pt x="48" y="184"/>
                  </a:cubicBezTo>
                  <a:cubicBezTo>
                    <a:pt x="49" y="185"/>
                    <a:pt x="50" y="185"/>
                    <a:pt x="51" y="186"/>
                  </a:cubicBezTo>
                  <a:cubicBezTo>
                    <a:pt x="53" y="187"/>
                    <a:pt x="54" y="189"/>
                    <a:pt x="55" y="190"/>
                  </a:cubicBezTo>
                  <a:cubicBezTo>
                    <a:pt x="56" y="191"/>
                    <a:pt x="57" y="192"/>
                    <a:pt x="58" y="194"/>
                  </a:cubicBezTo>
                  <a:cubicBezTo>
                    <a:pt x="59" y="195"/>
                    <a:pt x="59" y="195"/>
                    <a:pt x="59" y="195"/>
                  </a:cubicBezTo>
                  <a:cubicBezTo>
                    <a:pt x="62" y="199"/>
                    <a:pt x="64" y="202"/>
                    <a:pt x="65" y="206"/>
                  </a:cubicBezTo>
                  <a:cubicBezTo>
                    <a:pt x="66" y="211"/>
                    <a:pt x="68" y="214"/>
                    <a:pt x="70" y="217"/>
                  </a:cubicBezTo>
                  <a:cubicBezTo>
                    <a:pt x="71" y="219"/>
                    <a:pt x="71" y="219"/>
                    <a:pt x="71" y="219"/>
                  </a:cubicBezTo>
                  <a:cubicBezTo>
                    <a:pt x="72" y="221"/>
                    <a:pt x="72" y="224"/>
                    <a:pt x="73" y="227"/>
                  </a:cubicBezTo>
                  <a:cubicBezTo>
                    <a:pt x="73" y="229"/>
                    <a:pt x="73" y="230"/>
                    <a:pt x="73" y="231"/>
                  </a:cubicBezTo>
                  <a:cubicBezTo>
                    <a:pt x="74" y="233"/>
                    <a:pt x="74" y="235"/>
                    <a:pt x="75" y="237"/>
                  </a:cubicBezTo>
                  <a:cubicBezTo>
                    <a:pt x="75" y="238"/>
                    <a:pt x="76" y="239"/>
                    <a:pt x="76" y="240"/>
                  </a:cubicBezTo>
                  <a:cubicBezTo>
                    <a:pt x="76" y="241"/>
                    <a:pt x="76" y="241"/>
                    <a:pt x="76" y="242"/>
                  </a:cubicBezTo>
                  <a:cubicBezTo>
                    <a:pt x="77" y="243"/>
                    <a:pt x="77" y="248"/>
                    <a:pt x="82" y="248"/>
                  </a:cubicBezTo>
                  <a:cubicBezTo>
                    <a:pt x="82" y="248"/>
                    <a:pt x="83" y="247"/>
                    <a:pt x="84" y="247"/>
                  </a:cubicBezTo>
                  <a:cubicBezTo>
                    <a:pt x="85" y="247"/>
                    <a:pt x="86" y="246"/>
                    <a:pt x="87" y="246"/>
                  </a:cubicBezTo>
                  <a:cubicBezTo>
                    <a:pt x="89" y="246"/>
                    <a:pt x="90" y="248"/>
                    <a:pt x="90" y="248"/>
                  </a:cubicBezTo>
                  <a:cubicBezTo>
                    <a:pt x="90" y="249"/>
                    <a:pt x="90" y="249"/>
                    <a:pt x="90" y="249"/>
                  </a:cubicBezTo>
                  <a:cubicBezTo>
                    <a:pt x="89" y="250"/>
                    <a:pt x="87" y="250"/>
                    <a:pt x="86" y="250"/>
                  </a:cubicBezTo>
                  <a:cubicBezTo>
                    <a:pt x="84" y="250"/>
                    <a:pt x="83" y="250"/>
                    <a:pt x="82" y="250"/>
                  </a:cubicBezTo>
                  <a:cubicBezTo>
                    <a:pt x="76" y="251"/>
                    <a:pt x="74" y="256"/>
                    <a:pt x="73" y="260"/>
                  </a:cubicBezTo>
                  <a:cubicBezTo>
                    <a:pt x="72" y="261"/>
                    <a:pt x="72" y="261"/>
                    <a:pt x="72" y="261"/>
                  </a:cubicBezTo>
                  <a:cubicBezTo>
                    <a:pt x="72" y="262"/>
                    <a:pt x="72" y="262"/>
                    <a:pt x="71" y="263"/>
                  </a:cubicBezTo>
                  <a:cubicBezTo>
                    <a:pt x="71" y="264"/>
                    <a:pt x="70" y="265"/>
                    <a:pt x="70" y="266"/>
                  </a:cubicBezTo>
                  <a:cubicBezTo>
                    <a:pt x="69" y="269"/>
                    <a:pt x="68" y="271"/>
                    <a:pt x="67" y="273"/>
                  </a:cubicBezTo>
                  <a:cubicBezTo>
                    <a:pt x="66" y="274"/>
                    <a:pt x="66" y="274"/>
                    <a:pt x="66" y="274"/>
                  </a:cubicBezTo>
                  <a:cubicBezTo>
                    <a:pt x="66" y="276"/>
                    <a:pt x="65" y="278"/>
                    <a:pt x="63" y="280"/>
                  </a:cubicBezTo>
                  <a:cubicBezTo>
                    <a:pt x="63" y="282"/>
                    <a:pt x="62" y="282"/>
                    <a:pt x="61" y="283"/>
                  </a:cubicBezTo>
                  <a:cubicBezTo>
                    <a:pt x="61" y="284"/>
                    <a:pt x="60" y="284"/>
                    <a:pt x="60" y="285"/>
                  </a:cubicBezTo>
                  <a:cubicBezTo>
                    <a:pt x="59" y="286"/>
                    <a:pt x="58" y="287"/>
                    <a:pt x="57" y="288"/>
                  </a:cubicBezTo>
                  <a:cubicBezTo>
                    <a:pt x="57" y="289"/>
                    <a:pt x="56" y="290"/>
                    <a:pt x="55" y="291"/>
                  </a:cubicBezTo>
                  <a:cubicBezTo>
                    <a:pt x="52" y="294"/>
                    <a:pt x="49" y="298"/>
                    <a:pt x="45" y="301"/>
                  </a:cubicBezTo>
                  <a:cubicBezTo>
                    <a:pt x="44" y="302"/>
                    <a:pt x="43" y="303"/>
                    <a:pt x="42" y="304"/>
                  </a:cubicBezTo>
                  <a:cubicBezTo>
                    <a:pt x="39" y="307"/>
                    <a:pt x="36" y="310"/>
                    <a:pt x="33" y="311"/>
                  </a:cubicBezTo>
                  <a:cubicBezTo>
                    <a:pt x="32" y="312"/>
                    <a:pt x="32" y="312"/>
                    <a:pt x="31" y="312"/>
                  </a:cubicBezTo>
                  <a:cubicBezTo>
                    <a:pt x="27" y="314"/>
                    <a:pt x="21" y="316"/>
                    <a:pt x="21" y="322"/>
                  </a:cubicBezTo>
                  <a:cubicBezTo>
                    <a:pt x="22" y="325"/>
                    <a:pt x="24" y="327"/>
                    <a:pt x="25" y="329"/>
                  </a:cubicBezTo>
                  <a:cubicBezTo>
                    <a:pt x="25" y="329"/>
                    <a:pt x="26" y="329"/>
                    <a:pt x="26" y="330"/>
                  </a:cubicBezTo>
                  <a:cubicBezTo>
                    <a:pt x="27" y="330"/>
                    <a:pt x="27" y="331"/>
                    <a:pt x="28" y="332"/>
                  </a:cubicBezTo>
                  <a:cubicBezTo>
                    <a:pt x="28" y="333"/>
                    <a:pt x="28" y="333"/>
                    <a:pt x="28" y="333"/>
                  </a:cubicBezTo>
                  <a:cubicBezTo>
                    <a:pt x="29" y="335"/>
                    <a:pt x="30" y="336"/>
                    <a:pt x="30" y="337"/>
                  </a:cubicBezTo>
                  <a:cubicBezTo>
                    <a:pt x="31" y="337"/>
                    <a:pt x="31" y="337"/>
                    <a:pt x="31" y="337"/>
                  </a:cubicBezTo>
                  <a:cubicBezTo>
                    <a:pt x="34" y="340"/>
                    <a:pt x="36" y="342"/>
                    <a:pt x="39" y="344"/>
                  </a:cubicBezTo>
                  <a:cubicBezTo>
                    <a:pt x="40" y="345"/>
                    <a:pt x="40" y="345"/>
                    <a:pt x="40" y="345"/>
                  </a:cubicBezTo>
                  <a:cubicBezTo>
                    <a:pt x="40" y="345"/>
                    <a:pt x="40" y="346"/>
                    <a:pt x="40" y="346"/>
                  </a:cubicBezTo>
                  <a:cubicBezTo>
                    <a:pt x="40" y="347"/>
                    <a:pt x="40" y="347"/>
                    <a:pt x="40" y="347"/>
                  </a:cubicBezTo>
                  <a:cubicBezTo>
                    <a:pt x="40" y="348"/>
                    <a:pt x="40" y="348"/>
                    <a:pt x="40" y="349"/>
                  </a:cubicBezTo>
                  <a:cubicBezTo>
                    <a:pt x="39" y="351"/>
                    <a:pt x="38" y="352"/>
                    <a:pt x="38" y="354"/>
                  </a:cubicBezTo>
                  <a:cubicBezTo>
                    <a:pt x="38" y="359"/>
                    <a:pt x="40" y="362"/>
                    <a:pt x="41" y="366"/>
                  </a:cubicBezTo>
                  <a:cubicBezTo>
                    <a:pt x="41" y="367"/>
                    <a:pt x="41" y="367"/>
                    <a:pt x="41" y="367"/>
                  </a:cubicBezTo>
                  <a:cubicBezTo>
                    <a:pt x="42" y="369"/>
                    <a:pt x="44" y="372"/>
                    <a:pt x="45" y="374"/>
                  </a:cubicBezTo>
                  <a:cubicBezTo>
                    <a:pt x="46" y="377"/>
                    <a:pt x="48" y="381"/>
                    <a:pt x="49" y="384"/>
                  </a:cubicBezTo>
                  <a:cubicBezTo>
                    <a:pt x="49" y="385"/>
                    <a:pt x="49" y="386"/>
                    <a:pt x="50" y="387"/>
                  </a:cubicBezTo>
                  <a:cubicBezTo>
                    <a:pt x="51" y="392"/>
                    <a:pt x="52" y="396"/>
                    <a:pt x="56" y="401"/>
                  </a:cubicBezTo>
                  <a:cubicBezTo>
                    <a:pt x="57" y="401"/>
                    <a:pt x="58" y="402"/>
                    <a:pt x="59" y="403"/>
                  </a:cubicBezTo>
                  <a:cubicBezTo>
                    <a:pt x="61" y="405"/>
                    <a:pt x="64" y="408"/>
                    <a:pt x="64" y="410"/>
                  </a:cubicBezTo>
                  <a:cubicBezTo>
                    <a:pt x="64" y="412"/>
                    <a:pt x="63" y="413"/>
                    <a:pt x="61" y="416"/>
                  </a:cubicBezTo>
                  <a:cubicBezTo>
                    <a:pt x="60" y="416"/>
                    <a:pt x="60" y="417"/>
                    <a:pt x="59" y="417"/>
                  </a:cubicBezTo>
                  <a:cubicBezTo>
                    <a:pt x="56" y="421"/>
                    <a:pt x="54" y="428"/>
                    <a:pt x="56" y="433"/>
                  </a:cubicBezTo>
                  <a:cubicBezTo>
                    <a:pt x="56" y="435"/>
                    <a:pt x="58" y="437"/>
                    <a:pt x="59" y="438"/>
                  </a:cubicBezTo>
                  <a:cubicBezTo>
                    <a:pt x="60" y="438"/>
                    <a:pt x="60" y="439"/>
                    <a:pt x="60" y="439"/>
                  </a:cubicBezTo>
                  <a:cubicBezTo>
                    <a:pt x="61" y="440"/>
                    <a:pt x="61" y="442"/>
                    <a:pt x="61" y="443"/>
                  </a:cubicBezTo>
                  <a:cubicBezTo>
                    <a:pt x="58" y="438"/>
                    <a:pt x="54" y="433"/>
                    <a:pt x="50" y="433"/>
                  </a:cubicBezTo>
                  <a:cubicBezTo>
                    <a:pt x="46" y="432"/>
                    <a:pt x="46" y="432"/>
                    <a:pt x="46" y="432"/>
                  </a:cubicBezTo>
                  <a:cubicBezTo>
                    <a:pt x="47" y="436"/>
                    <a:pt x="47" y="436"/>
                    <a:pt x="47" y="436"/>
                  </a:cubicBezTo>
                  <a:cubicBezTo>
                    <a:pt x="52" y="478"/>
                    <a:pt x="59" y="528"/>
                    <a:pt x="66" y="577"/>
                  </a:cubicBezTo>
                  <a:cubicBezTo>
                    <a:pt x="67" y="578"/>
                    <a:pt x="67" y="580"/>
                    <a:pt x="67" y="581"/>
                  </a:cubicBezTo>
                  <a:cubicBezTo>
                    <a:pt x="68" y="585"/>
                    <a:pt x="68" y="589"/>
                    <a:pt x="69" y="593"/>
                  </a:cubicBezTo>
                  <a:cubicBezTo>
                    <a:pt x="69" y="604"/>
                    <a:pt x="73" y="608"/>
                    <a:pt x="78" y="616"/>
                  </a:cubicBezTo>
                  <a:cubicBezTo>
                    <a:pt x="81" y="619"/>
                    <a:pt x="81" y="619"/>
                    <a:pt x="81" y="619"/>
                  </a:cubicBezTo>
                  <a:cubicBezTo>
                    <a:pt x="83" y="622"/>
                    <a:pt x="85" y="624"/>
                    <a:pt x="88" y="626"/>
                  </a:cubicBezTo>
                  <a:cubicBezTo>
                    <a:pt x="90" y="628"/>
                    <a:pt x="92" y="630"/>
                    <a:pt x="94" y="633"/>
                  </a:cubicBezTo>
                  <a:cubicBezTo>
                    <a:pt x="96" y="635"/>
                    <a:pt x="97" y="637"/>
                    <a:pt x="99" y="639"/>
                  </a:cubicBezTo>
                  <a:cubicBezTo>
                    <a:pt x="105" y="647"/>
                    <a:pt x="109" y="653"/>
                    <a:pt x="120" y="653"/>
                  </a:cubicBezTo>
                  <a:cubicBezTo>
                    <a:pt x="122" y="653"/>
                    <a:pt x="124" y="653"/>
                    <a:pt x="126" y="652"/>
                  </a:cubicBezTo>
                  <a:cubicBezTo>
                    <a:pt x="128" y="652"/>
                    <a:pt x="131" y="651"/>
                    <a:pt x="134" y="651"/>
                  </a:cubicBezTo>
                  <a:cubicBezTo>
                    <a:pt x="138" y="650"/>
                    <a:pt x="145" y="648"/>
                    <a:pt x="149" y="648"/>
                  </a:cubicBezTo>
                  <a:cubicBezTo>
                    <a:pt x="150" y="648"/>
                    <a:pt x="150" y="648"/>
                    <a:pt x="150" y="648"/>
                  </a:cubicBezTo>
                  <a:cubicBezTo>
                    <a:pt x="154" y="648"/>
                    <a:pt x="158" y="651"/>
                    <a:pt x="162" y="654"/>
                  </a:cubicBezTo>
                  <a:cubicBezTo>
                    <a:pt x="164" y="656"/>
                    <a:pt x="166" y="658"/>
                    <a:pt x="169" y="659"/>
                  </a:cubicBezTo>
                  <a:cubicBezTo>
                    <a:pt x="172" y="660"/>
                    <a:pt x="174" y="661"/>
                    <a:pt x="176" y="661"/>
                  </a:cubicBezTo>
                  <a:cubicBezTo>
                    <a:pt x="179" y="661"/>
                    <a:pt x="181" y="660"/>
                    <a:pt x="183" y="658"/>
                  </a:cubicBezTo>
                  <a:cubicBezTo>
                    <a:pt x="184" y="658"/>
                    <a:pt x="184" y="658"/>
                    <a:pt x="184" y="658"/>
                  </a:cubicBezTo>
                  <a:cubicBezTo>
                    <a:pt x="185" y="657"/>
                    <a:pt x="186" y="657"/>
                    <a:pt x="187" y="656"/>
                  </a:cubicBezTo>
                  <a:cubicBezTo>
                    <a:pt x="191" y="654"/>
                    <a:pt x="195" y="653"/>
                    <a:pt x="200" y="652"/>
                  </a:cubicBezTo>
                  <a:cubicBezTo>
                    <a:pt x="200" y="652"/>
                    <a:pt x="200" y="652"/>
                    <a:pt x="200" y="652"/>
                  </a:cubicBezTo>
                  <a:cubicBezTo>
                    <a:pt x="203" y="651"/>
                    <a:pt x="205" y="650"/>
                    <a:pt x="208" y="649"/>
                  </a:cubicBezTo>
                  <a:cubicBezTo>
                    <a:pt x="211" y="648"/>
                    <a:pt x="214" y="647"/>
                    <a:pt x="217" y="647"/>
                  </a:cubicBezTo>
                  <a:cubicBezTo>
                    <a:pt x="218" y="647"/>
                    <a:pt x="218" y="647"/>
                    <a:pt x="219" y="648"/>
                  </a:cubicBezTo>
                  <a:cubicBezTo>
                    <a:pt x="222" y="649"/>
                    <a:pt x="223" y="652"/>
                    <a:pt x="224" y="657"/>
                  </a:cubicBezTo>
                  <a:cubicBezTo>
                    <a:pt x="226" y="661"/>
                    <a:pt x="226" y="661"/>
                    <a:pt x="226" y="661"/>
                  </a:cubicBezTo>
                  <a:cubicBezTo>
                    <a:pt x="226" y="663"/>
                    <a:pt x="227" y="664"/>
                    <a:pt x="227" y="666"/>
                  </a:cubicBezTo>
                  <a:cubicBezTo>
                    <a:pt x="228" y="669"/>
                    <a:pt x="228" y="669"/>
                    <a:pt x="228" y="669"/>
                  </a:cubicBezTo>
                  <a:cubicBezTo>
                    <a:pt x="231" y="668"/>
                    <a:pt x="231" y="668"/>
                    <a:pt x="231" y="668"/>
                  </a:cubicBezTo>
                  <a:cubicBezTo>
                    <a:pt x="234" y="668"/>
                    <a:pt x="238" y="667"/>
                    <a:pt x="241" y="667"/>
                  </a:cubicBezTo>
                  <a:cubicBezTo>
                    <a:pt x="246" y="666"/>
                    <a:pt x="252" y="665"/>
                    <a:pt x="257" y="664"/>
                  </a:cubicBezTo>
                  <a:cubicBezTo>
                    <a:pt x="260" y="663"/>
                    <a:pt x="262" y="662"/>
                    <a:pt x="264" y="661"/>
                  </a:cubicBezTo>
                  <a:cubicBezTo>
                    <a:pt x="267" y="660"/>
                    <a:pt x="269" y="659"/>
                    <a:pt x="271" y="658"/>
                  </a:cubicBezTo>
                  <a:cubicBezTo>
                    <a:pt x="272" y="658"/>
                    <a:pt x="274" y="657"/>
                    <a:pt x="275" y="657"/>
                  </a:cubicBezTo>
                  <a:cubicBezTo>
                    <a:pt x="279" y="656"/>
                    <a:pt x="282" y="655"/>
                    <a:pt x="286" y="655"/>
                  </a:cubicBezTo>
                  <a:cubicBezTo>
                    <a:pt x="291" y="655"/>
                    <a:pt x="296" y="653"/>
                    <a:pt x="301" y="651"/>
                  </a:cubicBezTo>
                  <a:cubicBezTo>
                    <a:pt x="302" y="650"/>
                    <a:pt x="302" y="650"/>
                    <a:pt x="302" y="650"/>
                  </a:cubicBezTo>
                  <a:cubicBezTo>
                    <a:pt x="306" y="648"/>
                    <a:pt x="310" y="646"/>
                    <a:pt x="312" y="640"/>
                  </a:cubicBezTo>
                  <a:cubicBezTo>
                    <a:pt x="312" y="640"/>
                    <a:pt x="312" y="639"/>
                    <a:pt x="313" y="638"/>
                  </a:cubicBezTo>
                  <a:cubicBezTo>
                    <a:pt x="313" y="637"/>
                    <a:pt x="313" y="636"/>
                    <a:pt x="314" y="635"/>
                  </a:cubicBezTo>
                  <a:cubicBezTo>
                    <a:pt x="316" y="633"/>
                    <a:pt x="317" y="632"/>
                    <a:pt x="319" y="631"/>
                  </a:cubicBezTo>
                  <a:cubicBezTo>
                    <a:pt x="322" y="631"/>
                    <a:pt x="325" y="629"/>
                    <a:pt x="327" y="626"/>
                  </a:cubicBezTo>
                  <a:cubicBezTo>
                    <a:pt x="328" y="623"/>
                    <a:pt x="328" y="621"/>
                    <a:pt x="329" y="619"/>
                  </a:cubicBezTo>
                  <a:cubicBezTo>
                    <a:pt x="329" y="617"/>
                    <a:pt x="329" y="615"/>
                    <a:pt x="330" y="613"/>
                  </a:cubicBezTo>
                  <a:cubicBezTo>
                    <a:pt x="332" y="609"/>
                    <a:pt x="333" y="605"/>
                    <a:pt x="333" y="599"/>
                  </a:cubicBezTo>
                  <a:cubicBezTo>
                    <a:pt x="333" y="596"/>
                    <a:pt x="333" y="593"/>
                    <a:pt x="332" y="591"/>
                  </a:cubicBezTo>
                  <a:cubicBezTo>
                    <a:pt x="332" y="589"/>
                    <a:pt x="332" y="587"/>
                    <a:pt x="331" y="585"/>
                  </a:cubicBezTo>
                  <a:cubicBezTo>
                    <a:pt x="331" y="582"/>
                    <a:pt x="332" y="579"/>
                    <a:pt x="333" y="575"/>
                  </a:cubicBezTo>
                  <a:cubicBezTo>
                    <a:pt x="334" y="574"/>
                    <a:pt x="334" y="571"/>
                    <a:pt x="335" y="569"/>
                  </a:cubicBezTo>
                  <a:cubicBezTo>
                    <a:pt x="335" y="567"/>
                    <a:pt x="335" y="565"/>
                    <a:pt x="335" y="562"/>
                  </a:cubicBezTo>
                  <a:cubicBezTo>
                    <a:pt x="334" y="560"/>
                    <a:pt x="334" y="558"/>
                    <a:pt x="335" y="556"/>
                  </a:cubicBezTo>
                  <a:cubicBezTo>
                    <a:pt x="335" y="554"/>
                    <a:pt x="336" y="553"/>
                    <a:pt x="337" y="552"/>
                  </a:cubicBezTo>
                  <a:cubicBezTo>
                    <a:pt x="338" y="550"/>
                    <a:pt x="338" y="548"/>
                    <a:pt x="339" y="546"/>
                  </a:cubicBezTo>
                  <a:cubicBezTo>
                    <a:pt x="339" y="545"/>
                    <a:pt x="340" y="544"/>
                    <a:pt x="340" y="543"/>
                  </a:cubicBezTo>
                  <a:cubicBezTo>
                    <a:pt x="340" y="542"/>
                    <a:pt x="341" y="537"/>
                    <a:pt x="342" y="537"/>
                  </a:cubicBezTo>
                  <a:cubicBezTo>
                    <a:pt x="343" y="537"/>
                    <a:pt x="344" y="538"/>
                    <a:pt x="346" y="538"/>
                  </a:cubicBezTo>
                  <a:cubicBezTo>
                    <a:pt x="348" y="540"/>
                    <a:pt x="348" y="540"/>
                    <a:pt x="348" y="540"/>
                  </a:cubicBezTo>
                  <a:cubicBezTo>
                    <a:pt x="350" y="538"/>
                    <a:pt x="350" y="538"/>
                    <a:pt x="350" y="538"/>
                  </a:cubicBezTo>
                  <a:cubicBezTo>
                    <a:pt x="351" y="536"/>
                    <a:pt x="352" y="535"/>
                    <a:pt x="354" y="534"/>
                  </a:cubicBezTo>
                  <a:cubicBezTo>
                    <a:pt x="355" y="532"/>
                    <a:pt x="357" y="530"/>
                    <a:pt x="358" y="528"/>
                  </a:cubicBezTo>
                  <a:cubicBezTo>
                    <a:pt x="361" y="524"/>
                    <a:pt x="360" y="520"/>
                    <a:pt x="359" y="517"/>
                  </a:cubicBezTo>
                  <a:cubicBezTo>
                    <a:pt x="358" y="514"/>
                    <a:pt x="357" y="511"/>
                    <a:pt x="359" y="509"/>
                  </a:cubicBezTo>
                  <a:cubicBezTo>
                    <a:pt x="361" y="506"/>
                    <a:pt x="376" y="499"/>
                    <a:pt x="379" y="499"/>
                  </a:cubicBezTo>
                  <a:cubicBezTo>
                    <a:pt x="380" y="499"/>
                    <a:pt x="380" y="499"/>
                    <a:pt x="381" y="499"/>
                  </a:cubicBezTo>
                  <a:cubicBezTo>
                    <a:pt x="382" y="499"/>
                    <a:pt x="383" y="499"/>
                    <a:pt x="384" y="500"/>
                  </a:cubicBezTo>
                  <a:cubicBezTo>
                    <a:pt x="384" y="500"/>
                    <a:pt x="385" y="500"/>
                    <a:pt x="386" y="500"/>
                  </a:cubicBezTo>
                  <a:cubicBezTo>
                    <a:pt x="387" y="500"/>
                    <a:pt x="388" y="500"/>
                    <a:pt x="389" y="499"/>
                  </a:cubicBezTo>
                  <a:cubicBezTo>
                    <a:pt x="390" y="499"/>
                    <a:pt x="391" y="498"/>
                    <a:pt x="394" y="495"/>
                  </a:cubicBezTo>
                  <a:cubicBezTo>
                    <a:pt x="395" y="494"/>
                    <a:pt x="396" y="493"/>
                    <a:pt x="397" y="493"/>
                  </a:cubicBezTo>
                  <a:cubicBezTo>
                    <a:pt x="402" y="489"/>
                    <a:pt x="407" y="486"/>
                    <a:pt x="412" y="484"/>
                  </a:cubicBezTo>
                  <a:cubicBezTo>
                    <a:pt x="414" y="484"/>
                    <a:pt x="414" y="484"/>
                    <a:pt x="414" y="484"/>
                  </a:cubicBezTo>
                  <a:cubicBezTo>
                    <a:pt x="414" y="482"/>
                    <a:pt x="414" y="482"/>
                    <a:pt x="414" y="482"/>
                  </a:cubicBezTo>
                  <a:cubicBezTo>
                    <a:pt x="414" y="482"/>
                    <a:pt x="414" y="481"/>
                    <a:pt x="414" y="481"/>
                  </a:cubicBezTo>
                  <a:cubicBezTo>
                    <a:pt x="414" y="481"/>
                    <a:pt x="415" y="481"/>
                    <a:pt x="415" y="481"/>
                  </a:cubicBezTo>
                  <a:cubicBezTo>
                    <a:pt x="416" y="481"/>
                    <a:pt x="417" y="481"/>
                    <a:pt x="417" y="482"/>
                  </a:cubicBezTo>
                  <a:cubicBezTo>
                    <a:pt x="418" y="482"/>
                    <a:pt x="419" y="482"/>
                    <a:pt x="420" y="482"/>
                  </a:cubicBezTo>
                  <a:cubicBezTo>
                    <a:pt x="424" y="482"/>
                    <a:pt x="428" y="481"/>
                    <a:pt x="431" y="480"/>
                  </a:cubicBezTo>
                  <a:cubicBezTo>
                    <a:pt x="436" y="478"/>
                    <a:pt x="438" y="474"/>
                    <a:pt x="440" y="471"/>
                  </a:cubicBezTo>
                  <a:cubicBezTo>
                    <a:pt x="441" y="470"/>
                    <a:pt x="441" y="470"/>
                    <a:pt x="441" y="470"/>
                  </a:cubicBezTo>
                  <a:cubicBezTo>
                    <a:pt x="441" y="469"/>
                    <a:pt x="441" y="469"/>
                    <a:pt x="442" y="468"/>
                  </a:cubicBezTo>
                  <a:cubicBezTo>
                    <a:pt x="442" y="467"/>
                    <a:pt x="443" y="466"/>
                    <a:pt x="444" y="465"/>
                  </a:cubicBezTo>
                  <a:cubicBezTo>
                    <a:pt x="444" y="464"/>
                    <a:pt x="444" y="464"/>
                    <a:pt x="444" y="464"/>
                  </a:cubicBezTo>
                  <a:cubicBezTo>
                    <a:pt x="445" y="463"/>
                    <a:pt x="445" y="462"/>
                    <a:pt x="445" y="461"/>
                  </a:cubicBezTo>
                  <a:cubicBezTo>
                    <a:pt x="446" y="461"/>
                    <a:pt x="446" y="460"/>
                    <a:pt x="447" y="459"/>
                  </a:cubicBezTo>
                  <a:cubicBezTo>
                    <a:pt x="447" y="459"/>
                    <a:pt x="447" y="458"/>
                    <a:pt x="448" y="457"/>
                  </a:cubicBezTo>
                  <a:cubicBezTo>
                    <a:pt x="448" y="457"/>
                    <a:pt x="448" y="457"/>
                    <a:pt x="449" y="456"/>
                  </a:cubicBezTo>
                  <a:cubicBezTo>
                    <a:pt x="449" y="456"/>
                    <a:pt x="450" y="455"/>
                    <a:pt x="450" y="454"/>
                  </a:cubicBezTo>
                  <a:cubicBezTo>
                    <a:pt x="452" y="452"/>
                    <a:pt x="452" y="449"/>
                    <a:pt x="451" y="445"/>
                  </a:cubicBezTo>
                  <a:cubicBezTo>
                    <a:pt x="451" y="442"/>
                    <a:pt x="449" y="439"/>
                    <a:pt x="446" y="436"/>
                  </a:cubicBezTo>
                  <a:cubicBezTo>
                    <a:pt x="442" y="430"/>
                    <a:pt x="435" y="427"/>
                    <a:pt x="427" y="427"/>
                  </a:cubicBezTo>
                  <a:cubicBezTo>
                    <a:pt x="416" y="427"/>
                    <a:pt x="403" y="433"/>
                    <a:pt x="397" y="437"/>
                  </a:cubicBezTo>
                  <a:cubicBezTo>
                    <a:pt x="380" y="446"/>
                    <a:pt x="367" y="460"/>
                    <a:pt x="357" y="471"/>
                  </a:cubicBezTo>
                  <a:cubicBezTo>
                    <a:pt x="347" y="482"/>
                    <a:pt x="339" y="493"/>
                    <a:pt x="333" y="504"/>
                  </a:cubicBezTo>
                  <a:cubicBezTo>
                    <a:pt x="332" y="506"/>
                    <a:pt x="332" y="506"/>
                    <a:pt x="332" y="506"/>
                  </a:cubicBezTo>
                  <a:cubicBezTo>
                    <a:pt x="330" y="510"/>
                    <a:pt x="327" y="515"/>
                    <a:pt x="326" y="520"/>
                  </a:cubicBezTo>
                  <a:cubicBezTo>
                    <a:pt x="324" y="527"/>
                    <a:pt x="322" y="533"/>
                    <a:pt x="319" y="540"/>
                  </a:cubicBezTo>
                  <a:cubicBezTo>
                    <a:pt x="317" y="543"/>
                    <a:pt x="316" y="546"/>
                    <a:pt x="315" y="549"/>
                  </a:cubicBezTo>
                  <a:cubicBezTo>
                    <a:pt x="314" y="554"/>
                    <a:pt x="312" y="558"/>
                    <a:pt x="309" y="562"/>
                  </a:cubicBezTo>
                  <a:cubicBezTo>
                    <a:pt x="309" y="562"/>
                    <a:pt x="309" y="562"/>
                    <a:pt x="309" y="562"/>
                  </a:cubicBezTo>
                  <a:cubicBezTo>
                    <a:pt x="308" y="563"/>
                    <a:pt x="307" y="565"/>
                    <a:pt x="306" y="565"/>
                  </a:cubicBezTo>
                  <a:cubicBezTo>
                    <a:pt x="306" y="566"/>
                    <a:pt x="305" y="566"/>
                    <a:pt x="305" y="566"/>
                  </a:cubicBezTo>
                  <a:cubicBezTo>
                    <a:pt x="303" y="567"/>
                    <a:pt x="302" y="567"/>
                    <a:pt x="301" y="568"/>
                  </a:cubicBezTo>
                  <a:cubicBezTo>
                    <a:pt x="301" y="568"/>
                    <a:pt x="301" y="568"/>
                    <a:pt x="302" y="567"/>
                  </a:cubicBezTo>
                  <a:cubicBezTo>
                    <a:pt x="302" y="567"/>
                    <a:pt x="302" y="566"/>
                    <a:pt x="303" y="566"/>
                  </a:cubicBezTo>
                  <a:cubicBezTo>
                    <a:pt x="303" y="565"/>
                    <a:pt x="303" y="564"/>
                    <a:pt x="304" y="564"/>
                  </a:cubicBezTo>
                  <a:cubicBezTo>
                    <a:pt x="305" y="563"/>
                    <a:pt x="308" y="562"/>
                    <a:pt x="308" y="558"/>
                  </a:cubicBezTo>
                  <a:cubicBezTo>
                    <a:pt x="308" y="557"/>
                    <a:pt x="308" y="556"/>
                    <a:pt x="308" y="554"/>
                  </a:cubicBezTo>
                  <a:cubicBezTo>
                    <a:pt x="308" y="553"/>
                    <a:pt x="308" y="551"/>
                    <a:pt x="308" y="550"/>
                  </a:cubicBezTo>
                  <a:cubicBezTo>
                    <a:pt x="308" y="549"/>
                    <a:pt x="309" y="548"/>
                    <a:pt x="309" y="547"/>
                  </a:cubicBezTo>
                  <a:cubicBezTo>
                    <a:pt x="310" y="545"/>
                    <a:pt x="310" y="543"/>
                    <a:pt x="311" y="541"/>
                  </a:cubicBezTo>
                  <a:cubicBezTo>
                    <a:pt x="312" y="540"/>
                    <a:pt x="312" y="539"/>
                    <a:pt x="312" y="539"/>
                  </a:cubicBezTo>
                  <a:cubicBezTo>
                    <a:pt x="313" y="538"/>
                    <a:pt x="313" y="537"/>
                    <a:pt x="314" y="536"/>
                  </a:cubicBezTo>
                  <a:cubicBezTo>
                    <a:pt x="314" y="536"/>
                    <a:pt x="314" y="536"/>
                    <a:pt x="314" y="536"/>
                  </a:cubicBezTo>
                  <a:cubicBezTo>
                    <a:pt x="315" y="536"/>
                    <a:pt x="316" y="535"/>
                    <a:pt x="316" y="535"/>
                  </a:cubicBezTo>
                  <a:cubicBezTo>
                    <a:pt x="317" y="534"/>
                    <a:pt x="317" y="533"/>
                    <a:pt x="318" y="532"/>
                  </a:cubicBezTo>
                  <a:cubicBezTo>
                    <a:pt x="318" y="532"/>
                    <a:pt x="318" y="532"/>
                    <a:pt x="318" y="532"/>
                  </a:cubicBezTo>
                  <a:cubicBezTo>
                    <a:pt x="320" y="527"/>
                    <a:pt x="320" y="523"/>
                    <a:pt x="321" y="519"/>
                  </a:cubicBezTo>
                  <a:cubicBezTo>
                    <a:pt x="321" y="517"/>
                    <a:pt x="321" y="514"/>
                    <a:pt x="322" y="512"/>
                  </a:cubicBezTo>
                  <a:cubicBezTo>
                    <a:pt x="322" y="510"/>
                    <a:pt x="323" y="509"/>
                    <a:pt x="324" y="507"/>
                  </a:cubicBezTo>
                  <a:cubicBezTo>
                    <a:pt x="325" y="507"/>
                    <a:pt x="325" y="506"/>
                    <a:pt x="325" y="505"/>
                  </a:cubicBezTo>
                  <a:cubicBezTo>
                    <a:pt x="328" y="502"/>
                    <a:pt x="328" y="497"/>
                    <a:pt x="328" y="493"/>
                  </a:cubicBezTo>
                  <a:cubicBezTo>
                    <a:pt x="328" y="491"/>
                    <a:pt x="328" y="489"/>
                    <a:pt x="329" y="486"/>
                  </a:cubicBezTo>
                  <a:cubicBezTo>
                    <a:pt x="331" y="479"/>
                    <a:pt x="335" y="473"/>
                    <a:pt x="339" y="468"/>
                  </a:cubicBezTo>
                  <a:cubicBezTo>
                    <a:pt x="340" y="466"/>
                    <a:pt x="342" y="464"/>
                    <a:pt x="344" y="462"/>
                  </a:cubicBezTo>
                  <a:cubicBezTo>
                    <a:pt x="346" y="460"/>
                    <a:pt x="348" y="458"/>
                    <a:pt x="350" y="457"/>
                  </a:cubicBezTo>
                  <a:cubicBezTo>
                    <a:pt x="352" y="455"/>
                    <a:pt x="354" y="453"/>
                    <a:pt x="356" y="452"/>
                  </a:cubicBezTo>
                  <a:cubicBezTo>
                    <a:pt x="357" y="451"/>
                    <a:pt x="358" y="450"/>
                    <a:pt x="360" y="449"/>
                  </a:cubicBezTo>
                  <a:cubicBezTo>
                    <a:pt x="361" y="449"/>
                    <a:pt x="364" y="447"/>
                    <a:pt x="365" y="444"/>
                  </a:cubicBezTo>
                  <a:cubicBezTo>
                    <a:pt x="365" y="443"/>
                    <a:pt x="365" y="442"/>
                    <a:pt x="365" y="441"/>
                  </a:cubicBezTo>
                  <a:cubicBezTo>
                    <a:pt x="365" y="441"/>
                    <a:pt x="365" y="441"/>
                    <a:pt x="365" y="440"/>
                  </a:cubicBezTo>
                  <a:cubicBezTo>
                    <a:pt x="365" y="439"/>
                    <a:pt x="365" y="437"/>
                    <a:pt x="365" y="435"/>
                  </a:cubicBezTo>
                  <a:cubicBezTo>
                    <a:pt x="365" y="433"/>
                    <a:pt x="365" y="431"/>
                    <a:pt x="365" y="429"/>
                  </a:cubicBezTo>
                  <a:cubicBezTo>
                    <a:pt x="365" y="426"/>
                    <a:pt x="365" y="423"/>
                    <a:pt x="366" y="420"/>
                  </a:cubicBezTo>
                  <a:cubicBezTo>
                    <a:pt x="367" y="416"/>
                    <a:pt x="369" y="413"/>
                    <a:pt x="372" y="411"/>
                  </a:cubicBezTo>
                  <a:cubicBezTo>
                    <a:pt x="373" y="410"/>
                    <a:pt x="373" y="410"/>
                    <a:pt x="373" y="410"/>
                  </a:cubicBezTo>
                  <a:cubicBezTo>
                    <a:pt x="373" y="409"/>
                    <a:pt x="374" y="408"/>
                    <a:pt x="375" y="408"/>
                  </a:cubicBezTo>
                  <a:cubicBezTo>
                    <a:pt x="377" y="407"/>
                    <a:pt x="379" y="407"/>
                    <a:pt x="381" y="406"/>
                  </a:cubicBezTo>
                  <a:cubicBezTo>
                    <a:pt x="383" y="404"/>
                    <a:pt x="385" y="403"/>
                    <a:pt x="388" y="401"/>
                  </a:cubicBezTo>
                  <a:cubicBezTo>
                    <a:pt x="389" y="400"/>
                    <a:pt x="389" y="400"/>
                    <a:pt x="389" y="400"/>
                  </a:cubicBezTo>
                  <a:cubicBezTo>
                    <a:pt x="391" y="399"/>
                    <a:pt x="393" y="398"/>
                    <a:pt x="395" y="397"/>
                  </a:cubicBezTo>
                  <a:cubicBezTo>
                    <a:pt x="396" y="395"/>
                    <a:pt x="396" y="395"/>
                    <a:pt x="397" y="395"/>
                  </a:cubicBezTo>
                  <a:cubicBezTo>
                    <a:pt x="401" y="394"/>
                    <a:pt x="405" y="393"/>
                    <a:pt x="409" y="392"/>
                  </a:cubicBezTo>
                  <a:cubicBezTo>
                    <a:pt x="410" y="391"/>
                    <a:pt x="411" y="391"/>
                    <a:pt x="412" y="390"/>
                  </a:cubicBezTo>
                  <a:cubicBezTo>
                    <a:pt x="413" y="390"/>
                    <a:pt x="413" y="390"/>
                    <a:pt x="414" y="389"/>
                  </a:cubicBezTo>
                  <a:cubicBezTo>
                    <a:pt x="415" y="389"/>
                    <a:pt x="415" y="389"/>
                    <a:pt x="416" y="388"/>
                  </a:cubicBezTo>
                  <a:cubicBezTo>
                    <a:pt x="417" y="388"/>
                    <a:pt x="418" y="388"/>
                    <a:pt x="418" y="387"/>
                  </a:cubicBezTo>
                  <a:cubicBezTo>
                    <a:pt x="419" y="387"/>
                    <a:pt x="420" y="387"/>
                    <a:pt x="421" y="387"/>
                  </a:cubicBezTo>
                  <a:cubicBezTo>
                    <a:pt x="422" y="387"/>
                    <a:pt x="422" y="387"/>
                    <a:pt x="422" y="387"/>
                  </a:cubicBezTo>
                  <a:cubicBezTo>
                    <a:pt x="423" y="386"/>
                    <a:pt x="424" y="386"/>
                    <a:pt x="426" y="386"/>
                  </a:cubicBezTo>
                  <a:cubicBezTo>
                    <a:pt x="428" y="385"/>
                    <a:pt x="429" y="384"/>
                    <a:pt x="431" y="383"/>
                  </a:cubicBezTo>
                  <a:cubicBezTo>
                    <a:pt x="431" y="383"/>
                    <a:pt x="432" y="383"/>
                    <a:pt x="432" y="382"/>
                  </a:cubicBezTo>
                  <a:cubicBezTo>
                    <a:pt x="433" y="382"/>
                    <a:pt x="434" y="383"/>
                    <a:pt x="435" y="383"/>
                  </a:cubicBezTo>
                  <a:cubicBezTo>
                    <a:pt x="435" y="383"/>
                    <a:pt x="436" y="383"/>
                    <a:pt x="436" y="383"/>
                  </a:cubicBezTo>
                  <a:cubicBezTo>
                    <a:pt x="439" y="383"/>
                    <a:pt x="442" y="381"/>
                    <a:pt x="444" y="380"/>
                  </a:cubicBezTo>
                  <a:cubicBezTo>
                    <a:pt x="445" y="380"/>
                    <a:pt x="447" y="379"/>
                    <a:pt x="449" y="377"/>
                  </a:cubicBezTo>
                  <a:cubicBezTo>
                    <a:pt x="449" y="377"/>
                    <a:pt x="450" y="376"/>
                    <a:pt x="450" y="376"/>
                  </a:cubicBezTo>
                  <a:cubicBezTo>
                    <a:pt x="450" y="376"/>
                    <a:pt x="450" y="375"/>
                    <a:pt x="451" y="375"/>
                  </a:cubicBezTo>
                  <a:cubicBezTo>
                    <a:pt x="451" y="375"/>
                    <a:pt x="451" y="375"/>
                    <a:pt x="452" y="375"/>
                  </a:cubicBezTo>
                  <a:cubicBezTo>
                    <a:pt x="453" y="375"/>
                    <a:pt x="453" y="375"/>
                    <a:pt x="454" y="375"/>
                  </a:cubicBezTo>
                  <a:cubicBezTo>
                    <a:pt x="455" y="374"/>
                    <a:pt x="455" y="374"/>
                    <a:pt x="456" y="374"/>
                  </a:cubicBezTo>
                  <a:cubicBezTo>
                    <a:pt x="457" y="373"/>
                    <a:pt x="458" y="373"/>
                    <a:pt x="459" y="373"/>
                  </a:cubicBezTo>
                  <a:cubicBezTo>
                    <a:pt x="460" y="372"/>
                    <a:pt x="461" y="372"/>
                    <a:pt x="463" y="371"/>
                  </a:cubicBezTo>
                  <a:cubicBezTo>
                    <a:pt x="463" y="371"/>
                    <a:pt x="464" y="371"/>
                    <a:pt x="464" y="370"/>
                  </a:cubicBezTo>
                  <a:cubicBezTo>
                    <a:pt x="465" y="370"/>
                    <a:pt x="465" y="370"/>
                    <a:pt x="466" y="370"/>
                  </a:cubicBezTo>
                  <a:cubicBezTo>
                    <a:pt x="467" y="370"/>
                    <a:pt x="468" y="369"/>
                    <a:pt x="469" y="369"/>
                  </a:cubicBezTo>
                  <a:cubicBezTo>
                    <a:pt x="469" y="369"/>
                    <a:pt x="470" y="368"/>
                    <a:pt x="471" y="368"/>
                  </a:cubicBezTo>
                  <a:cubicBezTo>
                    <a:pt x="472" y="368"/>
                    <a:pt x="472" y="368"/>
                    <a:pt x="472" y="368"/>
                  </a:cubicBezTo>
                  <a:cubicBezTo>
                    <a:pt x="473" y="367"/>
                    <a:pt x="474" y="367"/>
                    <a:pt x="475" y="366"/>
                  </a:cubicBezTo>
                  <a:cubicBezTo>
                    <a:pt x="476" y="366"/>
                    <a:pt x="476" y="365"/>
                    <a:pt x="477" y="365"/>
                  </a:cubicBezTo>
                  <a:cubicBezTo>
                    <a:pt x="477" y="365"/>
                    <a:pt x="477" y="365"/>
                    <a:pt x="477" y="365"/>
                  </a:cubicBezTo>
                  <a:cubicBezTo>
                    <a:pt x="478" y="365"/>
                    <a:pt x="479" y="365"/>
                    <a:pt x="480" y="366"/>
                  </a:cubicBezTo>
                  <a:cubicBezTo>
                    <a:pt x="481" y="366"/>
                    <a:pt x="482" y="366"/>
                    <a:pt x="484" y="366"/>
                  </a:cubicBezTo>
                  <a:cubicBezTo>
                    <a:pt x="485" y="366"/>
                    <a:pt x="486" y="366"/>
                    <a:pt x="486" y="366"/>
                  </a:cubicBezTo>
                  <a:cubicBezTo>
                    <a:pt x="489" y="365"/>
                    <a:pt x="491" y="363"/>
                    <a:pt x="492" y="361"/>
                  </a:cubicBezTo>
                  <a:cubicBezTo>
                    <a:pt x="493" y="361"/>
                    <a:pt x="493" y="361"/>
                    <a:pt x="493" y="361"/>
                  </a:cubicBezTo>
                  <a:cubicBezTo>
                    <a:pt x="495" y="359"/>
                    <a:pt x="497" y="357"/>
                    <a:pt x="499" y="356"/>
                  </a:cubicBezTo>
                  <a:cubicBezTo>
                    <a:pt x="499" y="356"/>
                    <a:pt x="500" y="356"/>
                    <a:pt x="501" y="355"/>
                  </a:cubicBezTo>
                  <a:cubicBezTo>
                    <a:pt x="502" y="355"/>
                    <a:pt x="503" y="355"/>
                    <a:pt x="504" y="354"/>
                  </a:cubicBezTo>
                  <a:cubicBezTo>
                    <a:pt x="505" y="353"/>
                    <a:pt x="506" y="352"/>
                    <a:pt x="507" y="351"/>
                  </a:cubicBezTo>
                  <a:cubicBezTo>
                    <a:pt x="508" y="350"/>
                    <a:pt x="510" y="349"/>
                    <a:pt x="511" y="349"/>
                  </a:cubicBezTo>
                  <a:cubicBezTo>
                    <a:pt x="512" y="348"/>
                    <a:pt x="513" y="348"/>
                    <a:pt x="514" y="348"/>
                  </a:cubicBezTo>
                  <a:cubicBezTo>
                    <a:pt x="516" y="348"/>
                    <a:pt x="517" y="348"/>
                    <a:pt x="519" y="348"/>
                  </a:cubicBezTo>
                  <a:cubicBezTo>
                    <a:pt x="523" y="346"/>
                    <a:pt x="523" y="343"/>
                    <a:pt x="524" y="341"/>
                  </a:cubicBezTo>
                  <a:cubicBezTo>
                    <a:pt x="524" y="341"/>
                    <a:pt x="524" y="339"/>
                    <a:pt x="524" y="338"/>
                  </a:cubicBezTo>
                  <a:cubicBezTo>
                    <a:pt x="524" y="337"/>
                    <a:pt x="524" y="336"/>
                    <a:pt x="524" y="335"/>
                  </a:cubicBezTo>
                  <a:cubicBezTo>
                    <a:pt x="525" y="332"/>
                    <a:pt x="526" y="329"/>
                    <a:pt x="527" y="326"/>
                  </a:cubicBezTo>
                  <a:cubicBezTo>
                    <a:pt x="528" y="323"/>
                    <a:pt x="529" y="321"/>
                    <a:pt x="530" y="318"/>
                  </a:cubicBezTo>
                  <a:cubicBezTo>
                    <a:pt x="531" y="315"/>
                    <a:pt x="532" y="313"/>
                    <a:pt x="532" y="311"/>
                  </a:cubicBezTo>
                  <a:cubicBezTo>
                    <a:pt x="532" y="309"/>
                    <a:pt x="532" y="309"/>
                    <a:pt x="532" y="309"/>
                  </a:cubicBezTo>
                  <a:cubicBezTo>
                    <a:pt x="533" y="308"/>
                    <a:pt x="533" y="307"/>
                    <a:pt x="533" y="306"/>
                  </a:cubicBezTo>
                  <a:cubicBezTo>
                    <a:pt x="534" y="305"/>
                    <a:pt x="534" y="304"/>
                    <a:pt x="534" y="303"/>
                  </a:cubicBezTo>
                  <a:cubicBezTo>
                    <a:pt x="535" y="301"/>
                    <a:pt x="535" y="300"/>
                    <a:pt x="535" y="298"/>
                  </a:cubicBezTo>
                  <a:cubicBezTo>
                    <a:pt x="535" y="297"/>
                    <a:pt x="536" y="296"/>
                    <a:pt x="536" y="295"/>
                  </a:cubicBezTo>
                  <a:cubicBezTo>
                    <a:pt x="536" y="295"/>
                    <a:pt x="536" y="294"/>
                    <a:pt x="536" y="293"/>
                  </a:cubicBezTo>
                  <a:cubicBezTo>
                    <a:pt x="536" y="291"/>
                    <a:pt x="537" y="290"/>
                    <a:pt x="538" y="289"/>
                  </a:cubicBezTo>
                  <a:cubicBezTo>
                    <a:pt x="539" y="288"/>
                    <a:pt x="540" y="287"/>
                    <a:pt x="541" y="287"/>
                  </a:cubicBezTo>
                  <a:cubicBezTo>
                    <a:pt x="544" y="286"/>
                    <a:pt x="545" y="283"/>
                    <a:pt x="547" y="281"/>
                  </a:cubicBezTo>
                  <a:cubicBezTo>
                    <a:pt x="547" y="281"/>
                    <a:pt x="547" y="280"/>
                    <a:pt x="547" y="280"/>
                  </a:cubicBezTo>
                  <a:cubicBezTo>
                    <a:pt x="549" y="277"/>
                    <a:pt x="551" y="274"/>
                    <a:pt x="553" y="272"/>
                  </a:cubicBezTo>
                  <a:cubicBezTo>
                    <a:pt x="555" y="270"/>
                    <a:pt x="557" y="269"/>
                    <a:pt x="559" y="267"/>
                  </a:cubicBezTo>
                  <a:cubicBezTo>
                    <a:pt x="562" y="266"/>
                    <a:pt x="562" y="266"/>
                    <a:pt x="562" y="266"/>
                  </a:cubicBezTo>
                  <a:lnTo>
                    <a:pt x="551" y="246"/>
                  </a:lnTo>
                  <a:close/>
                </a:path>
              </a:pathLst>
            </a:custGeom>
            <a:solidFill>
              <a:schemeClr val="accent4"/>
            </a:solid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8" name="Freeform 187">
              <a:extLst>
                <a:ext uri="{FF2B5EF4-FFF2-40B4-BE49-F238E27FC236}">
                  <a16:creationId xmlns:a16="http://schemas.microsoft.com/office/drawing/2014/main" id="{E32084F9-7610-8643-B19A-47994896D684}"/>
                </a:ext>
              </a:extLst>
            </p:cNvPr>
            <p:cNvSpPr>
              <a:spLocks/>
            </p:cNvSpPr>
            <p:nvPr/>
          </p:nvSpPr>
          <p:spPr bwMode="auto">
            <a:xfrm>
              <a:off x="19398486" y="8148830"/>
              <a:ext cx="82070" cy="78396"/>
            </a:xfrm>
            <a:custGeom>
              <a:avLst/>
              <a:gdLst>
                <a:gd name="T0" fmla="*/ 13 w 15"/>
                <a:gd name="T1" fmla="*/ 2 h 16"/>
                <a:gd name="T2" fmla="*/ 9 w 15"/>
                <a:gd name="T3" fmla="*/ 0 h 16"/>
                <a:gd name="T4" fmla="*/ 5 w 15"/>
                <a:gd name="T5" fmla="*/ 0 h 16"/>
                <a:gd name="T6" fmla="*/ 0 w 15"/>
                <a:gd name="T7" fmla="*/ 8 h 16"/>
                <a:gd name="T8" fmla="*/ 5 w 15"/>
                <a:gd name="T9" fmla="*/ 15 h 16"/>
                <a:gd name="T10" fmla="*/ 8 w 15"/>
                <a:gd name="T11" fmla="*/ 16 h 16"/>
                <a:gd name="T12" fmla="*/ 15 w 15"/>
                <a:gd name="T13" fmla="*/ 8 h 16"/>
                <a:gd name="T14" fmla="*/ 13 w 15"/>
                <a:gd name="T15" fmla="*/ 2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6">
                  <a:moveTo>
                    <a:pt x="13" y="2"/>
                  </a:moveTo>
                  <a:cubicBezTo>
                    <a:pt x="12" y="0"/>
                    <a:pt x="10" y="0"/>
                    <a:pt x="9" y="0"/>
                  </a:cubicBezTo>
                  <a:cubicBezTo>
                    <a:pt x="8" y="0"/>
                    <a:pt x="7" y="0"/>
                    <a:pt x="5" y="0"/>
                  </a:cubicBezTo>
                  <a:cubicBezTo>
                    <a:pt x="2" y="2"/>
                    <a:pt x="0" y="5"/>
                    <a:pt x="0" y="8"/>
                  </a:cubicBezTo>
                  <a:cubicBezTo>
                    <a:pt x="0" y="11"/>
                    <a:pt x="2" y="14"/>
                    <a:pt x="5" y="15"/>
                  </a:cubicBezTo>
                  <a:cubicBezTo>
                    <a:pt x="6" y="16"/>
                    <a:pt x="7" y="16"/>
                    <a:pt x="8" y="16"/>
                  </a:cubicBezTo>
                  <a:cubicBezTo>
                    <a:pt x="11" y="16"/>
                    <a:pt x="14" y="14"/>
                    <a:pt x="15" y="8"/>
                  </a:cubicBezTo>
                  <a:cubicBezTo>
                    <a:pt x="15" y="6"/>
                    <a:pt x="15" y="3"/>
                    <a:pt x="13"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89" name="Freeform 73">
              <a:extLst>
                <a:ext uri="{FF2B5EF4-FFF2-40B4-BE49-F238E27FC236}">
                  <a16:creationId xmlns:a16="http://schemas.microsoft.com/office/drawing/2014/main" id="{2170C361-299E-1F43-89AA-D2598FA7629B}"/>
                </a:ext>
              </a:extLst>
            </p:cNvPr>
            <p:cNvSpPr>
              <a:spLocks/>
            </p:cNvSpPr>
            <p:nvPr/>
          </p:nvSpPr>
          <p:spPr bwMode="auto">
            <a:xfrm>
              <a:off x="18684477" y="4790871"/>
              <a:ext cx="77966" cy="59730"/>
            </a:xfrm>
            <a:custGeom>
              <a:avLst/>
              <a:gdLst>
                <a:gd name="T0" fmla="*/ 7 w 14"/>
                <a:gd name="T1" fmla="*/ 0 h 12"/>
                <a:gd name="T2" fmla="*/ 1 w 14"/>
                <a:gd name="T3" fmla="*/ 3 h 12"/>
                <a:gd name="T4" fmla="*/ 3 w 14"/>
                <a:gd name="T5" fmla="*/ 9 h 12"/>
                <a:gd name="T6" fmla="*/ 7 w 14"/>
                <a:gd name="T7" fmla="*/ 11 h 12"/>
                <a:gd name="T8" fmla="*/ 9 w 14"/>
                <a:gd name="T9" fmla="*/ 12 h 12"/>
                <a:gd name="T10" fmla="*/ 9 w 14"/>
                <a:gd name="T11" fmla="*/ 12 h 12"/>
                <a:gd name="T12" fmla="*/ 13 w 14"/>
                <a:gd name="T13" fmla="*/ 10 h 12"/>
                <a:gd name="T14" fmla="*/ 14 w 14"/>
                <a:gd name="T15" fmla="*/ 6 h 12"/>
                <a:gd name="T16" fmla="*/ 7 w 14"/>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2">
                  <a:moveTo>
                    <a:pt x="7" y="0"/>
                  </a:moveTo>
                  <a:cubicBezTo>
                    <a:pt x="4" y="0"/>
                    <a:pt x="2" y="1"/>
                    <a:pt x="1" y="3"/>
                  </a:cubicBezTo>
                  <a:cubicBezTo>
                    <a:pt x="1" y="4"/>
                    <a:pt x="0" y="6"/>
                    <a:pt x="3" y="9"/>
                  </a:cubicBezTo>
                  <a:cubicBezTo>
                    <a:pt x="4" y="10"/>
                    <a:pt x="5" y="10"/>
                    <a:pt x="7" y="11"/>
                  </a:cubicBezTo>
                  <a:cubicBezTo>
                    <a:pt x="8" y="11"/>
                    <a:pt x="9" y="12"/>
                    <a:pt x="9" y="12"/>
                  </a:cubicBezTo>
                  <a:cubicBezTo>
                    <a:pt x="9" y="12"/>
                    <a:pt x="9" y="12"/>
                    <a:pt x="9" y="12"/>
                  </a:cubicBezTo>
                  <a:cubicBezTo>
                    <a:pt x="11" y="12"/>
                    <a:pt x="12" y="11"/>
                    <a:pt x="13" y="10"/>
                  </a:cubicBezTo>
                  <a:cubicBezTo>
                    <a:pt x="14" y="9"/>
                    <a:pt x="14" y="8"/>
                    <a:pt x="14" y="6"/>
                  </a:cubicBezTo>
                  <a:cubicBezTo>
                    <a:pt x="14" y="2"/>
                    <a:pt x="11" y="0"/>
                    <a:pt x="7"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0" name="Freeform 74">
              <a:extLst>
                <a:ext uri="{FF2B5EF4-FFF2-40B4-BE49-F238E27FC236}">
                  <a16:creationId xmlns:a16="http://schemas.microsoft.com/office/drawing/2014/main" id="{4133C237-D2C4-7749-832E-0A62AADDADD7}"/>
                </a:ext>
              </a:extLst>
            </p:cNvPr>
            <p:cNvSpPr>
              <a:spLocks/>
            </p:cNvSpPr>
            <p:nvPr/>
          </p:nvSpPr>
          <p:spPr bwMode="auto">
            <a:xfrm>
              <a:off x="18298748" y="5138053"/>
              <a:ext cx="82070" cy="134393"/>
            </a:xfrm>
            <a:custGeom>
              <a:avLst/>
              <a:gdLst>
                <a:gd name="T0" fmla="*/ 15 w 15"/>
                <a:gd name="T1" fmla="*/ 7 h 27"/>
                <a:gd name="T2" fmla="*/ 8 w 15"/>
                <a:gd name="T3" fmla="*/ 0 h 27"/>
                <a:gd name="T4" fmla="*/ 7 w 15"/>
                <a:gd name="T5" fmla="*/ 0 h 27"/>
                <a:gd name="T6" fmla="*/ 2 w 15"/>
                <a:gd name="T7" fmla="*/ 6 h 27"/>
                <a:gd name="T8" fmla="*/ 1 w 15"/>
                <a:gd name="T9" fmla="*/ 7 h 27"/>
                <a:gd name="T10" fmla="*/ 1 w 15"/>
                <a:gd name="T11" fmla="*/ 8 h 27"/>
                <a:gd name="T12" fmla="*/ 0 w 15"/>
                <a:gd name="T13" fmla="*/ 13 h 27"/>
                <a:gd name="T14" fmla="*/ 0 w 15"/>
                <a:gd name="T15" fmla="*/ 15 h 27"/>
                <a:gd name="T16" fmla="*/ 3 w 15"/>
                <a:gd name="T17" fmla="*/ 25 h 27"/>
                <a:gd name="T18" fmla="*/ 7 w 15"/>
                <a:gd name="T19" fmla="*/ 27 h 27"/>
                <a:gd name="T20" fmla="*/ 10 w 15"/>
                <a:gd name="T21" fmla="*/ 25 h 27"/>
                <a:gd name="T22" fmla="*/ 15 w 15"/>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7">
                  <a:moveTo>
                    <a:pt x="15" y="7"/>
                  </a:moveTo>
                  <a:cubicBezTo>
                    <a:pt x="14" y="4"/>
                    <a:pt x="12" y="0"/>
                    <a:pt x="8" y="0"/>
                  </a:cubicBezTo>
                  <a:cubicBezTo>
                    <a:pt x="7" y="0"/>
                    <a:pt x="7" y="0"/>
                    <a:pt x="7" y="0"/>
                  </a:cubicBezTo>
                  <a:cubicBezTo>
                    <a:pt x="3" y="0"/>
                    <a:pt x="2" y="4"/>
                    <a:pt x="2" y="6"/>
                  </a:cubicBezTo>
                  <a:cubicBezTo>
                    <a:pt x="2" y="6"/>
                    <a:pt x="2" y="7"/>
                    <a:pt x="1" y="7"/>
                  </a:cubicBezTo>
                  <a:cubicBezTo>
                    <a:pt x="1" y="7"/>
                    <a:pt x="1" y="8"/>
                    <a:pt x="1" y="8"/>
                  </a:cubicBezTo>
                  <a:cubicBezTo>
                    <a:pt x="1" y="9"/>
                    <a:pt x="0" y="11"/>
                    <a:pt x="0" y="13"/>
                  </a:cubicBezTo>
                  <a:cubicBezTo>
                    <a:pt x="0" y="14"/>
                    <a:pt x="0" y="14"/>
                    <a:pt x="0" y="15"/>
                  </a:cubicBezTo>
                  <a:cubicBezTo>
                    <a:pt x="1" y="20"/>
                    <a:pt x="1" y="23"/>
                    <a:pt x="3" y="25"/>
                  </a:cubicBezTo>
                  <a:cubicBezTo>
                    <a:pt x="4" y="26"/>
                    <a:pt x="5" y="27"/>
                    <a:pt x="7" y="27"/>
                  </a:cubicBezTo>
                  <a:cubicBezTo>
                    <a:pt x="8" y="27"/>
                    <a:pt x="9" y="26"/>
                    <a:pt x="10" y="25"/>
                  </a:cubicBezTo>
                  <a:cubicBezTo>
                    <a:pt x="14" y="21"/>
                    <a:pt x="15" y="9"/>
                    <a:pt x="15" y="7"/>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1" name="Freeform 75">
              <a:extLst>
                <a:ext uri="{FF2B5EF4-FFF2-40B4-BE49-F238E27FC236}">
                  <a16:creationId xmlns:a16="http://schemas.microsoft.com/office/drawing/2014/main" id="{AB953FAA-FEDA-B04F-BAA8-28F1331D3FB8}"/>
                </a:ext>
              </a:extLst>
            </p:cNvPr>
            <p:cNvSpPr>
              <a:spLocks/>
            </p:cNvSpPr>
            <p:nvPr/>
          </p:nvSpPr>
          <p:spPr bwMode="auto">
            <a:xfrm>
              <a:off x="15851012" y="3486139"/>
              <a:ext cx="769406" cy="625301"/>
            </a:xfrm>
            <a:custGeom>
              <a:avLst/>
              <a:gdLst>
                <a:gd name="T0" fmla="*/ 136 w 141"/>
                <a:gd name="T1" fmla="*/ 61 h 126"/>
                <a:gd name="T2" fmla="*/ 132 w 141"/>
                <a:gd name="T3" fmla="*/ 44 h 126"/>
                <a:gd name="T4" fmla="*/ 115 w 141"/>
                <a:gd name="T5" fmla="*/ 36 h 126"/>
                <a:gd name="T6" fmla="*/ 106 w 141"/>
                <a:gd name="T7" fmla="*/ 30 h 126"/>
                <a:gd name="T8" fmla="*/ 99 w 141"/>
                <a:gd name="T9" fmla="*/ 14 h 126"/>
                <a:gd name="T10" fmla="*/ 84 w 141"/>
                <a:gd name="T11" fmla="*/ 8 h 126"/>
                <a:gd name="T12" fmla="*/ 70 w 141"/>
                <a:gd name="T13" fmla="*/ 2 h 126"/>
                <a:gd name="T14" fmla="*/ 61 w 141"/>
                <a:gd name="T15" fmla="*/ 1 h 126"/>
                <a:gd name="T16" fmla="*/ 56 w 141"/>
                <a:gd name="T17" fmla="*/ 8 h 126"/>
                <a:gd name="T18" fmla="*/ 55 w 141"/>
                <a:gd name="T19" fmla="*/ 20 h 126"/>
                <a:gd name="T20" fmla="*/ 49 w 141"/>
                <a:gd name="T21" fmla="*/ 33 h 126"/>
                <a:gd name="T22" fmla="*/ 38 w 141"/>
                <a:gd name="T23" fmla="*/ 40 h 126"/>
                <a:gd name="T24" fmla="*/ 33 w 141"/>
                <a:gd name="T25" fmla="*/ 45 h 126"/>
                <a:gd name="T26" fmla="*/ 32 w 141"/>
                <a:gd name="T27" fmla="*/ 48 h 126"/>
                <a:gd name="T28" fmla="*/ 25 w 141"/>
                <a:gd name="T29" fmla="*/ 50 h 126"/>
                <a:gd name="T30" fmla="*/ 21 w 141"/>
                <a:gd name="T31" fmla="*/ 57 h 126"/>
                <a:gd name="T32" fmla="*/ 14 w 141"/>
                <a:gd name="T33" fmla="*/ 60 h 126"/>
                <a:gd name="T34" fmla="*/ 9 w 141"/>
                <a:gd name="T35" fmla="*/ 64 h 126"/>
                <a:gd name="T36" fmla="*/ 4 w 141"/>
                <a:gd name="T37" fmla="*/ 81 h 126"/>
                <a:gd name="T38" fmla="*/ 6 w 141"/>
                <a:gd name="T39" fmla="*/ 85 h 126"/>
                <a:gd name="T40" fmla="*/ 10 w 141"/>
                <a:gd name="T41" fmla="*/ 92 h 126"/>
                <a:gd name="T42" fmla="*/ 13 w 141"/>
                <a:gd name="T43" fmla="*/ 103 h 126"/>
                <a:gd name="T44" fmla="*/ 8 w 141"/>
                <a:gd name="T45" fmla="*/ 121 h 126"/>
                <a:gd name="T46" fmla="*/ 17 w 141"/>
                <a:gd name="T47" fmla="*/ 126 h 126"/>
                <a:gd name="T48" fmla="*/ 23 w 141"/>
                <a:gd name="T49" fmla="*/ 125 h 126"/>
                <a:gd name="T50" fmla="*/ 28 w 141"/>
                <a:gd name="T51" fmla="*/ 124 h 126"/>
                <a:gd name="T52" fmla="*/ 36 w 141"/>
                <a:gd name="T53" fmla="*/ 123 h 126"/>
                <a:gd name="T54" fmla="*/ 44 w 141"/>
                <a:gd name="T55" fmla="*/ 126 h 126"/>
                <a:gd name="T56" fmla="*/ 54 w 141"/>
                <a:gd name="T57" fmla="*/ 119 h 126"/>
                <a:gd name="T58" fmla="*/ 59 w 141"/>
                <a:gd name="T59" fmla="*/ 112 h 126"/>
                <a:gd name="T60" fmla="*/ 67 w 141"/>
                <a:gd name="T61" fmla="*/ 104 h 126"/>
                <a:gd name="T62" fmla="*/ 73 w 141"/>
                <a:gd name="T63" fmla="*/ 105 h 126"/>
                <a:gd name="T64" fmla="*/ 85 w 141"/>
                <a:gd name="T65" fmla="*/ 95 h 126"/>
                <a:gd name="T66" fmla="*/ 94 w 141"/>
                <a:gd name="T67" fmla="*/ 93 h 126"/>
                <a:gd name="T68" fmla="*/ 102 w 141"/>
                <a:gd name="T69" fmla="*/ 91 h 126"/>
                <a:gd name="T70" fmla="*/ 111 w 141"/>
                <a:gd name="T71" fmla="*/ 88 h 126"/>
                <a:gd name="T72" fmla="*/ 118 w 141"/>
                <a:gd name="T73" fmla="*/ 86 h 126"/>
                <a:gd name="T74" fmla="*/ 123 w 141"/>
                <a:gd name="T75" fmla="*/ 86 h 126"/>
                <a:gd name="T76" fmla="*/ 140 w 141"/>
                <a:gd name="T77" fmla="*/ 7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1" h="126">
                  <a:moveTo>
                    <a:pt x="137" y="64"/>
                  </a:moveTo>
                  <a:cubicBezTo>
                    <a:pt x="137" y="63"/>
                    <a:pt x="136" y="62"/>
                    <a:pt x="136" y="61"/>
                  </a:cubicBezTo>
                  <a:cubicBezTo>
                    <a:pt x="135" y="59"/>
                    <a:pt x="135" y="56"/>
                    <a:pt x="135" y="54"/>
                  </a:cubicBezTo>
                  <a:cubicBezTo>
                    <a:pt x="134" y="51"/>
                    <a:pt x="134" y="47"/>
                    <a:pt x="132" y="44"/>
                  </a:cubicBezTo>
                  <a:cubicBezTo>
                    <a:pt x="129" y="37"/>
                    <a:pt x="122" y="36"/>
                    <a:pt x="117" y="36"/>
                  </a:cubicBezTo>
                  <a:cubicBezTo>
                    <a:pt x="116" y="36"/>
                    <a:pt x="116" y="36"/>
                    <a:pt x="115" y="36"/>
                  </a:cubicBezTo>
                  <a:cubicBezTo>
                    <a:pt x="114" y="36"/>
                    <a:pt x="114" y="36"/>
                    <a:pt x="113" y="36"/>
                  </a:cubicBezTo>
                  <a:cubicBezTo>
                    <a:pt x="110" y="36"/>
                    <a:pt x="108" y="35"/>
                    <a:pt x="106" y="30"/>
                  </a:cubicBezTo>
                  <a:cubicBezTo>
                    <a:pt x="105" y="28"/>
                    <a:pt x="104" y="27"/>
                    <a:pt x="103" y="25"/>
                  </a:cubicBezTo>
                  <a:cubicBezTo>
                    <a:pt x="102" y="21"/>
                    <a:pt x="100" y="18"/>
                    <a:pt x="99" y="14"/>
                  </a:cubicBezTo>
                  <a:cubicBezTo>
                    <a:pt x="97" y="11"/>
                    <a:pt x="92" y="10"/>
                    <a:pt x="88" y="9"/>
                  </a:cubicBezTo>
                  <a:cubicBezTo>
                    <a:pt x="87" y="8"/>
                    <a:pt x="85" y="8"/>
                    <a:pt x="84" y="8"/>
                  </a:cubicBezTo>
                  <a:cubicBezTo>
                    <a:pt x="82" y="7"/>
                    <a:pt x="80" y="6"/>
                    <a:pt x="78" y="5"/>
                  </a:cubicBezTo>
                  <a:cubicBezTo>
                    <a:pt x="76" y="4"/>
                    <a:pt x="73" y="3"/>
                    <a:pt x="70" y="2"/>
                  </a:cubicBezTo>
                  <a:cubicBezTo>
                    <a:pt x="68" y="1"/>
                    <a:pt x="66" y="0"/>
                    <a:pt x="63" y="0"/>
                  </a:cubicBezTo>
                  <a:cubicBezTo>
                    <a:pt x="62" y="0"/>
                    <a:pt x="61" y="1"/>
                    <a:pt x="61" y="1"/>
                  </a:cubicBezTo>
                  <a:cubicBezTo>
                    <a:pt x="57" y="2"/>
                    <a:pt x="56" y="5"/>
                    <a:pt x="56" y="7"/>
                  </a:cubicBezTo>
                  <a:cubicBezTo>
                    <a:pt x="56" y="7"/>
                    <a:pt x="56" y="8"/>
                    <a:pt x="56" y="8"/>
                  </a:cubicBezTo>
                  <a:cubicBezTo>
                    <a:pt x="55" y="11"/>
                    <a:pt x="55" y="14"/>
                    <a:pt x="56" y="16"/>
                  </a:cubicBezTo>
                  <a:cubicBezTo>
                    <a:pt x="56" y="18"/>
                    <a:pt x="55" y="19"/>
                    <a:pt x="55" y="20"/>
                  </a:cubicBezTo>
                  <a:cubicBezTo>
                    <a:pt x="55" y="22"/>
                    <a:pt x="55" y="23"/>
                    <a:pt x="54" y="24"/>
                  </a:cubicBezTo>
                  <a:cubicBezTo>
                    <a:pt x="54" y="27"/>
                    <a:pt x="51" y="31"/>
                    <a:pt x="49" y="33"/>
                  </a:cubicBezTo>
                  <a:cubicBezTo>
                    <a:pt x="47" y="34"/>
                    <a:pt x="45" y="35"/>
                    <a:pt x="44" y="36"/>
                  </a:cubicBezTo>
                  <a:cubicBezTo>
                    <a:pt x="42" y="37"/>
                    <a:pt x="40" y="39"/>
                    <a:pt x="38" y="40"/>
                  </a:cubicBezTo>
                  <a:cubicBezTo>
                    <a:pt x="38" y="40"/>
                    <a:pt x="38" y="40"/>
                    <a:pt x="38" y="40"/>
                  </a:cubicBezTo>
                  <a:cubicBezTo>
                    <a:pt x="36" y="42"/>
                    <a:pt x="34" y="43"/>
                    <a:pt x="33" y="45"/>
                  </a:cubicBezTo>
                  <a:cubicBezTo>
                    <a:pt x="33" y="46"/>
                    <a:pt x="33" y="46"/>
                    <a:pt x="32" y="47"/>
                  </a:cubicBezTo>
                  <a:cubicBezTo>
                    <a:pt x="32" y="48"/>
                    <a:pt x="32" y="48"/>
                    <a:pt x="32" y="48"/>
                  </a:cubicBezTo>
                  <a:cubicBezTo>
                    <a:pt x="32" y="49"/>
                    <a:pt x="31" y="49"/>
                    <a:pt x="30" y="49"/>
                  </a:cubicBezTo>
                  <a:cubicBezTo>
                    <a:pt x="29" y="49"/>
                    <a:pt x="27" y="49"/>
                    <a:pt x="25" y="50"/>
                  </a:cubicBezTo>
                  <a:cubicBezTo>
                    <a:pt x="24" y="51"/>
                    <a:pt x="23" y="53"/>
                    <a:pt x="22" y="55"/>
                  </a:cubicBezTo>
                  <a:cubicBezTo>
                    <a:pt x="21" y="55"/>
                    <a:pt x="21" y="56"/>
                    <a:pt x="21" y="57"/>
                  </a:cubicBezTo>
                  <a:cubicBezTo>
                    <a:pt x="20" y="57"/>
                    <a:pt x="19" y="58"/>
                    <a:pt x="18" y="58"/>
                  </a:cubicBezTo>
                  <a:cubicBezTo>
                    <a:pt x="17" y="59"/>
                    <a:pt x="16" y="59"/>
                    <a:pt x="14" y="60"/>
                  </a:cubicBezTo>
                  <a:cubicBezTo>
                    <a:pt x="13" y="61"/>
                    <a:pt x="12" y="61"/>
                    <a:pt x="11" y="62"/>
                  </a:cubicBezTo>
                  <a:cubicBezTo>
                    <a:pt x="10" y="63"/>
                    <a:pt x="9" y="63"/>
                    <a:pt x="9" y="64"/>
                  </a:cubicBezTo>
                  <a:cubicBezTo>
                    <a:pt x="5" y="66"/>
                    <a:pt x="1" y="69"/>
                    <a:pt x="0" y="75"/>
                  </a:cubicBezTo>
                  <a:cubicBezTo>
                    <a:pt x="0" y="79"/>
                    <a:pt x="2" y="81"/>
                    <a:pt x="4" y="81"/>
                  </a:cubicBezTo>
                  <a:cubicBezTo>
                    <a:pt x="5" y="82"/>
                    <a:pt x="5" y="82"/>
                    <a:pt x="5" y="83"/>
                  </a:cubicBezTo>
                  <a:cubicBezTo>
                    <a:pt x="6" y="83"/>
                    <a:pt x="6" y="84"/>
                    <a:pt x="6" y="85"/>
                  </a:cubicBezTo>
                  <a:cubicBezTo>
                    <a:pt x="6" y="86"/>
                    <a:pt x="6" y="87"/>
                    <a:pt x="7" y="89"/>
                  </a:cubicBezTo>
                  <a:cubicBezTo>
                    <a:pt x="8" y="90"/>
                    <a:pt x="9" y="91"/>
                    <a:pt x="10" y="92"/>
                  </a:cubicBezTo>
                  <a:cubicBezTo>
                    <a:pt x="10" y="93"/>
                    <a:pt x="10" y="93"/>
                    <a:pt x="11" y="93"/>
                  </a:cubicBezTo>
                  <a:cubicBezTo>
                    <a:pt x="13" y="97"/>
                    <a:pt x="14" y="100"/>
                    <a:pt x="13" y="103"/>
                  </a:cubicBezTo>
                  <a:cubicBezTo>
                    <a:pt x="13" y="106"/>
                    <a:pt x="12" y="110"/>
                    <a:pt x="10" y="113"/>
                  </a:cubicBezTo>
                  <a:cubicBezTo>
                    <a:pt x="9" y="115"/>
                    <a:pt x="7" y="118"/>
                    <a:pt x="8" y="121"/>
                  </a:cubicBezTo>
                  <a:cubicBezTo>
                    <a:pt x="9" y="122"/>
                    <a:pt x="10" y="124"/>
                    <a:pt x="12" y="125"/>
                  </a:cubicBezTo>
                  <a:cubicBezTo>
                    <a:pt x="13" y="126"/>
                    <a:pt x="15" y="126"/>
                    <a:pt x="17" y="126"/>
                  </a:cubicBezTo>
                  <a:cubicBezTo>
                    <a:pt x="17" y="126"/>
                    <a:pt x="17" y="126"/>
                    <a:pt x="17" y="126"/>
                  </a:cubicBezTo>
                  <a:cubicBezTo>
                    <a:pt x="19" y="126"/>
                    <a:pt x="21" y="126"/>
                    <a:pt x="23" y="125"/>
                  </a:cubicBezTo>
                  <a:cubicBezTo>
                    <a:pt x="24" y="125"/>
                    <a:pt x="26" y="124"/>
                    <a:pt x="27" y="124"/>
                  </a:cubicBezTo>
                  <a:cubicBezTo>
                    <a:pt x="28" y="124"/>
                    <a:pt x="28" y="124"/>
                    <a:pt x="28" y="124"/>
                  </a:cubicBezTo>
                  <a:cubicBezTo>
                    <a:pt x="30" y="124"/>
                    <a:pt x="32" y="123"/>
                    <a:pt x="34" y="123"/>
                  </a:cubicBezTo>
                  <a:cubicBezTo>
                    <a:pt x="34" y="123"/>
                    <a:pt x="35" y="123"/>
                    <a:pt x="36" y="123"/>
                  </a:cubicBezTo>
                  <a:cubicBezTo>
                    <a:pt x="36" y="124"/>
                    <a:pt x="37" y="124"/>
                    <a:pt x="38" y="124"/>
                  </a:cubicBezTo>
                  <a:cubicBezTo>
                    <a:pt x="40" y="125"/>
                    <a:pt x="42" y="126"/>
                    <a:pt x="44" y="126"/>
                  </a:cubicBezTo>
                  <a:cubicBezTo>
                    <a:pt x="44" y="126"/>
                    <a:pt x="45" y="126"/>
                    <a:pt x="45" y="126"/>
                  </a:cubicBezTo>
                  <a:cubicBezTo>
                    <a:pt x="50" y="126"/>
                    <a:pt x="52" y="122"/>
                    <a:pt x="54" y="119"/>
                  </a:cubicBezTo>
                  <a:cubicBezTo>
                    <a:pt x="55" y="118"/>
                    <a:pt x="56" y="117"/>
                    <a:pt x="56" y="116"/>
                  </a:cubicBezTo>
                  <a:cubicBezTo>
                    <a:pt x="57" y="114"/>
                    <a:pt x="58" y="113"/>
                    <a:pt x="59" y="112"/>
                  </a:cubicBezTo>
                  <a:cubicBezTo>
                    <a:pt x="61" y="109"/>
                    <a:pt x="63" y="106"/>
                    <a:pt x="66" y="104"/>
                  </a:cubicBezTo>
                  <a:cubicBezTo>
                    <a:pt x="66" y="104"/>
                    <a:pt x="67" y="104"/>
                    <a:pt x="67" y="104"/>
                  </a:cubicBezTo>
                  <a:cubicBezTo>
                    <a:pt x="68" y="105"/>
                    <a:pt x="70" y="105"/>
                    <a:pt x="71" y="105"/>
                  </a:cubicBezTo>
                  <a:cubicBezTo>
                    <a:pt x="72" y="105"/>
                    <a:pt x="72" y="105"/>
                    <a:pt x="73" y="105"/>
                  </a:cubicBezTo>
                  <a:cubicBezTo>
                    <a:pt x="77" y="104"/>
                    <a:pt x="80" y="101"/>
                    <a:pt x="82" y="98"/>
                  </a:cubicBezTo>
                  <a:cubicBezTo>
                    <a:pt x="83" y="97"/>
                    <a:pt x="84" y="96"/>
                    <a:pt x="85" y="95"/>
                  </a:cubicBezTo>
                  <a:cubicBezTo>
                    <a:pt x="86" y="94"/>
                    <a:pt x="87" y="94"/>
                    <a:pt x="89" y="94"/>
                  </a:cubicBezTo>
                  <a:cubicBezTo>
                    <a:pt x="91" y="93"/>
                    <a:pt x="92" y="93"/>
                    <a:pt x="94" y="93"/>
                  </a:cubicBezTo>
                  <a:cubicBezTo>
                    <a:pt x="94" y="93"/>
                    <a:pt x="95" y="92"/>
                    <a:pt x="96" y="92"/>
                  </a:cubicBezTo>
                  <a:cubicBezTo>
                    <a:pt x="98" y="92"/>
                    <a:pt x="100" y="92"/>
                    <a:pt x="102" y="91"/>
                  </a:cubicBezTo>
                  <a:cubicBezTo>
                    <a:pt x="103" y="91"/>
                    <a:pt x="103" y="91"/>
                    <a:pt x="103" y="91"/>
                  </a:cubicBezTo>
                  <a:cubicBezTo>
                    <a:pt x="106" y="90"/>
                    <a:pt x="109" y="89"/>
                    <a:pt x="111" y="88"/>
                  </a:cubicBezTo>
                  <a:cubicBezTo>
                    <a:pt x="113" y="87"/>
                    <a:pt x="114" y="87"/>
                    <a:pt x="115" y="86"/>
                  </a:cubicBezTo>
                  <a:cubicBezTo>
                    <a:pt x="116" y="86"/>
                    <a:pt x="117" y="86"/>
                    <a:pt x="118" y="86"/>
                  </a:cubicBezTo>
                  <a:cubicBezTo>
                    <a:pt x="118" y="86"/>
                    <a:pt x="119" y="86"/>
                    <a:pt x="120" y="86"/>
                  </a:cubicBezTo>
                  <a:cubicBezTo>
                    <a:pt x="121" y="86"/>
                    <a:pt x="122" y="86"/>
                    <a:pt x="123" y="86"/>
                  </a:cubicBezTo>
                  <a:cubicBezTo>
                    <a:pt x="125" y="86"/>
                    <a:pt x="125" y="86"/>
                    <a:pt x="125" y="86"/>
                  </a:cubicBezTo>
                  <a:cubicBezTo>
                    <a:pt x="130" y="86"/>
                    <a:pt x="138" y="86"/>
                    <a:pt x="140" y="79"/>
                  </a:cubicBezTo>
                  <a:cubicBezTo>
                    <a:pt x="141" y="74"/>
                    <a:pt x="139" y="69"/>
                    <a:pt x="137" y="64"/>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2" name="Freeform 76">
              <a:extLst>
                <a:ext uri="{FF2B5EF4-FFF2-40B4-BE49-F238E27FC236}">
                  <a16:creationId xmlns:a16="http://schemas.microsoft.com/office/drawing/2014/main" id="{5406DB68-2672-9B4F-B72B-6F9035387B45}"/>
                </a:ext>
              </a:extLst>
            </p:cNvPr>
            <p:cNvSpPr>
              <a:spLocks/>
            </p:cNvSpPr>
            <p:nvPr/>
          </p:nvSpPr>
          <p:spPr bwMode="auto">
            <a:xfrm>
              <a:off x="18315162" y="5563631"/>
              <a:ext cx="675025" cy="580503"/>
            </a:xfrm>
            <a:custGeom>
              <a:avLst/>
              <a:gdLst>
                <a:gd name="T0" fmla="*/ 116 w 124"/>
                <a:gd name="T1" fmla="*/ 72 h 117"/>
                <a:gd name="T2" fmla="*/ 107 w 124"/>
                <a:gd name="T3" fmla="*/ 67 h 117"/>
                <a:gd name="T4" fmla="*/ 101 w 124"/>
                <a:gd name="T5" fmla="*/ 68 h 117"/>
                <a:gd name="T6" fmla="*/ 98 w 124"/>
                <a:gd name="T7" fmla="*/ 66 h 117"/>
                <a:gd name="T8" fmla="*/ 95 w 124"/>
                <a:gd name="T9" fmla="*/ 60 h 117"/>
                <a:gd name="T10" fmla="*/ 82 w 124"/>
                <a:gd name="T11" fmla="*/ 46 h 117"/>
                <a:gd name="T12" fmla="*/ 78 w 124"/>
                <a:gd name="T13" fmla="*/ 45 h 117"/>
                <a:gd name="T14" fmla="*/ 75 w 124"/>
                <a:gd name="T15" fmla="*/ 44 h 117"/>
                <a:gd name="T16" fmla="*/ 72 w 124"/>
                <a:gd name="T17" fmla="*/ 41 h 117"/>
                <a:gd name="T18" fmla="*/ 58 w 124"/>
                <a:gd name="T19" fmla="*/ 31 h 117"/>
                <a:gd name="T20" fmla="*/ 52 w 124"/>
                <a:gd name="T21" fmla="*/ 28 h 117"/>
                <a:gd name="T22" fmla="*/ 44 w 124"/>
                <a:gd name="T23" fmla="*/ 22 h 117"/>
                <a:gd name="T24" fmla="*/ 39 w 124"/>
                <a:gd name="T25" fmla="*/ 25 h 117"/>
                <a:gd name="T26" fmla="*/ 37 w 124"/>
                <a:gd name="T27" fmla="*/ 20 h 117"/>
                <a:gd name="T28" fmla="*/ 40 w 124"/>
                <a:gd name="T29" fmla="*/ 21 h 117"/>
                <a:gd name="T30" fmla="*/ 42 w 124"/>
                <a:gd name="T31" fmla="*/ 8 h 117"/>
                <a:gd name="T32" fmla="*/ 41 w 124"/>
                <a:gd name="T33" fmla="*/ 6 h 117"/>
                <a:gd name="T34" fmla="*/ 29 w 124"/>
                <a:gd name="T35" fmla="*/ 6 h 117"/>
                <a:gd name="T36" fmla="*/ 27 w 124"/>
                <a:gd name="T37" fmla="*/ 6 h 117"/>
                <a:gd name="T38" fmla="*/ 16 w 124"/>
                <a:gd name="T39" fmla="*/ 23 h 117"/>
                <a:gd name="T40" fmla="*/ 15 w 124"/>
                <a:gd name="T41" fmla="*/ 39 h 117"/>
                <a:gd name="T42" fmla="*/ 15 w 124"/>
                <a:gd name="T43" fmla="*/ 71 h 117"/>
                <a:gd name="T44" fmla="*/ 10 w 124"/>
                <a:gd name="T45" fmla="*/ 81 h 117"/>
                <a:gd name="T46" fmla="*/ 2 w 124"/>
                <a:gd name="T47" fmla="*/ 100 h 117"/>
                <a:gd name="T48" fmla="*/ 21 w 124"/>
                <a:gd name="T49" fmla="*/ 98 h 117"/>
                <a:gd name="T50" fmla="*/ 27 w 124"/>
                <a:gd name="T51" fmla="*/ 95 h 117"/>
                <a:gd name="T52" fmla="*/ 29 w 124"/>
                <a:gd name="T53" fmla="*/ 103 h 117"/>
                <a:gd name="T54" fmla="*/ 30 w 124"/>
                <a:gd name="T55" fmla="*/ 113 h 117"/>
                <a:gd name="T56" fmla="*/ 46 w 124"/>
                <a:gd name="T57" fmla="*/ 112 h 117"/>
                <a:gd name="T58" fmla="*/ 52 w 124"/>
                <a:gd name="T59" fmla="*/ 106 h 117"/>
                <a:gd name="T60" fmla="*/ 56 w 124"/>
                <a:gd name="T61" fmla="*/ 98 h 117"/>
                <a:gd name="T62" fmla="*/ 66 w 124"/>
                <a:gd name="T63" fmla="*/ 83 h 117"/>
                <a:gd name="T64" fmla="*/ 67 w 124"/>
                <a:gd name="T65" fmla="*/ 77 h 117"/>
                <a:gd name="T66" fmla="*/ 71 w 124"/>
                <a:gd name="T67" fmla="*/ 76 h 117"/>
                <a:gd name="T68" fmla="*/ 72 w 124"/>
                <a:gd name="T69" fmla="*/ 79 h 117"/>
                <a:gd name="T70" fmla="*/ 76 w 124"/>
                <a:gd name="T71" fmla="*/ 82 h 117"/>
                <a:gd name="T72" fmla="*/ 81 w 124"/>
                <a:gd name="T73" fmla="*/ 81 h 117"/>
                <a:gd name="T74" fmla="*/ 82 w 124"/>
                <a:gd name="T75" fmla="*/ 81 h 117"/>
                <a:gd name="T76" fmla="*/ 80 w 124"/>
                <a:gd name="T77" fmla="*/ 88 h 117"/>
                <a:gd name="T78" fmla="*/ 90 w 124"/>
                <a:gd name="T79" fmla="*/ 91 h 117"/>
                <a:gd name="T80" fmla="*/ 96 w 124"/>
                <a:gd name="T81" fmla="*/ 93 h 117"/>
                <a:gd name="T82" fmla="*/ 105 w 124"/>
                <a:gd name="T83" fmla="*/ 96 h 117"/>
                <a:gd name="T84" fmla="*/ 124 w 124"/>
                <a:gd name="T85" fmla="*/ 8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17">
                  <a:moveTo>
                    <a:pt x="120" y="75"/>
                  </a:moveTo>
                  <a:cubicBezTo>
                    <a:pt x="119" y="74"/>
                    <a:pt x="118" y="73"/>
                    <a:pt x="116" y="72"/>
                  </a:cubicBezTo>
                  <a:cubicBezTo>
                    <a:pt x="115" y="71"/>
                    <a:pt x="114" y="70"/>
                    <a:pt x="113" y="69"/>
                  </a:cubicBezTo>
                  <a:cubicBezTo>
                    <a:pt x="111" y="67"/>
                    <a:pt x="110" y="67"/>
                    <a:pt x="107" y="67"/>
                  </a:cubicBezTo>
                  <a:cubicBezTo>
                    <a:pt x="106" y="67"/>
                    <a:pt x="104" y="67"/>
                    <a:pt x="103" y="67"/>
                  </a:cubicBezTo>
                  <a:cubicBezTo>
                    <a:pt x="101" y="68"/>
                    <a:pt x="101" y="68"/>
                    <a:pt x="101" y="68"/>
                  </a:cubicBezTo>
                  <a:cubicBezTo>
                    <a:pt x="100" y="68"/>
                    <a:pt x="99" y="68"/>
                    <a:pt x="98" y="68"/>
                  </a:cubicBezTo>
                  <a:cubicBezTo>
                    <a:pt x="98" y="68"/>
                    <a:pt x="98" y="67"/>
                    <a:pt x="98" y="66"/>
                  </a:cubicBezTo>
                  <a:cubicBezTo>
                    <a:pt x="97" y="65"/>
                    <a:pt x="97" y="63"/>
                    <a:pt x="96" y="62"/>
                  </a:cubicBezTo>
                  <a:cubicBezTo>
                    <a:pt x="95" y="61"/>
                    <a:pt x="95" y="60"/>
                    <a:pt x="95" y="60"/>
                  </a:cubicBezTo>
                  <a:cubicBezTo>
                    <a:pt x="94" y="52"/>
                    <a:pt x="90" y="47"/>
                    <a:pt x="83" y="46"/>
                  </a:cubicBezTo>
                  <a:cubicBezTo>
                    <a:pt x="83" y="46"/>
                    <a:pt x="82" y="46"/>
                    <a:pt x="82" y="46"/>
                  </a:cubicBezTo>
                  <a:cubicBezTo>
                    <a:pt x="81" y="46"/>
                    <a:pt x="80" y="46"/>
                    <a:pt x="79" y="46"/>
                  </a:cubicBezTo>
                  <a:cubicBezTo>
                    <a:pt x="79" y="46"/>
                    <a:pt x="79" y="46"/>
                    <a:pt x="78" y="45"/>
                  </a:cubicBezTo>
                  <a:cubicBezTo>
                    <a:pt x="77" y="45"/>
                    <a:pt x="77" y="45"/>
                    <a:pt x="76" y="44"/>
                  </a:cubicBezTo>
                  <a:cubicBezTo>
                    <a:pt x="75" y="44"/>
                    <a:pt x="75" y="44"/>
                    <a:pt x="75" y="44"/>
                  </a:cubicBezTo>
                  <a:cubicBezTo>
                    <a:pt x="73" y="44"/>
                    <a:pt x="73" y="44"/>
                    <a:pt x="73" y="43"/>
                  </a:cubicBezTo>
                  <a:cubicBezTo>
                    <a:pt x="72" y="43"/>
                    <a:pt x="72" y="42"/>
                    <a:pt x="72" y="41"/>
                  </a:cubicBezTo>
                  <a:cubicBezTo>
                    <a:pt x="71" y="40"/>
                    <a:pt x="71" y="38"/>
                    <a:pt x="69" y="37"/>
                  </a:cubicBezTo>
                  <a:cubicBezTo>
                    <a:pt x="68" y="36"/>
                    <a:pt x="64" y="32"/>
                    <a:pt x="58" y="31"/>
                  </a:cubicBezTo>
                  <a:cubicBezTo>
                    <a:pt x="56" y="31"/>
                    <a:pt x="55" y="31"/>
                    <a:pt x="53" y="29"/>
                  </a:cubicBezTo>
                  <a:cubicBezTo>
                    <a:pt x="53" y="28"/>
                    <a:pt x="53" y="28"/>
                    <a:pt x="52" y="28"/>
                  </a:cubicBezTo>
                  <a:cubicBezTo>
                    <a:pt x="51" y="25"/>
                    <a:pt x="49" y="22"/>
                    <a:pt x="45" y="22"/>
                  </a:cubicBezTo>
                  <a:cubicBezTo>
                    <a:pt x="44" y="22"/>
                    <a:pt x="44" y="22"/>
                    <a:pt x="44" y="22"/>
                  </a:cubicBezTo>
                  <a:cubicBezTo>
                    <a:pt x="42" y="22"/>
                    <a:pt x="40" y="24"/>
                    <a:pt x="40" y="24"/>
                  </a:cubicBezTo>
                  <a:cubicBezTo>
                    <a:pt x="39" y="25"/>
                    <a:pt x="39" y="25"/>
                    <a:pt x="39" y="25"/>
                  </a:cubicBezTo>
                  <a:cubicBezTo>
                    <a:pt x="39" y="25"/>
                    <a:pt x="38" y="25"/>
                    <a:pt x="38" y="25"/>
                  </a:cubicBezTo>
                  <a:cubicBezTo>
                    <a:pt x="38" y="25"/>
                    <a:pt x="37" y="22"/>
                    <a:pt x="37" y="20"/>
                  </a:cubicBezTo>
                  <a:cubicBezTo>
                    <a:pt x="38" y="20"/>
                    <a:pt x="39" y="21"/>
                    <a:pt x="40" y="21"/>
                  </a:cubicBezTo>
                  <a:cubicBezTo>
                    <a:pt x="40" y="21"/>
                    <a:pt x="40" y="21"/>
                    <a:pt x="40" y="21"/>
                  </a:cubicBezTo>
                  <a:cubicBezTo>
                    <a:pt x="42" y="21"/>
                    <a:pt x="43" y="20"/>
                    <a:pt x="44" y="19"/>
                  </a:cubicBezTo>
                  <a:cubicBezTo>
                    <a:pt x="48" y="15"/>
                    <a:pt x="43" y="10"/>
                    <a:pt x="42" y="8"/>
                  </a:cubicBezTo>
                  <a:cubicBezTo>
                    <a:pt x="41" y="7"/>
                    <a:pt x="41" y="7"/>
                    <a:pt x="41" y="7"/>
                  </a:cubicBezTo>
                  <a:cubicBezTo>
                    <a:pt x="41" y="7"/>
                    <a:pt x="41" y="6"/>
                    <a:pt x="41" y="6"/>
                  </a:cubicBezTo>
                  <a:cubicBezTo>
                    <a:pt x="40" y="4"/>
                    <a:pt x="39" y="0"/>
                    <a:pt x="35" y="0"/>
                  </a:cubicBezTo>
                  <a:cubicBezTo>
                    <a:pt x="31" y="0"/>
                    <a:pt x="29" y="3"/>
                    <a:pt x="29" y="6"/>
                  </a:cubicBezTo>
                  <a:cubicBezTo>
                    <a:pt x="29" y="6"/>
                    <a:pt x="29" y="6"/>
                    <a:pt x="29" y="6"/>
                  </a:cubicBezTo>
                  <a:cubicBezTo>
                    <a:pt x="28" y="6"/>
                    <a:pt x="28" y="6"/>
                    <a:pt x="27" y="6"/>
                  </a:cubicBezTo>
                  <a:cubicBezTo>
                    <a:pt x="26" y="6"/>
                    <a:pt x="24" y="7"/>
                    <a:pt x="23" y="7"/>
                  </a:cubicBezTo>
                  <a:cubicBezTo>
                    <a:pt x="16" y="11"/>
                    <a:pt x="16" y="19"/>
                    <a:pt x="16" y="23"/>
                  </a:cubicBezTo>
                  <a:cubicBezTo>
                    <a:pt x="16" y="25"/>
                    <a:pt x="16" y="28"/>
                    <a:pt x="16" y="30"/>
                  </a:cubicBezTo>
                  <a:cubicBezTo>
                    <a:pt x="16" y="33"/>
                    <a:pt x="16" y="36"/>
                    <a:pt x="15" y="39"/>
                  </a:cubicBezTo>
                  <a:cubicBezTo>
                    <a:pt x="15" y="45"/>
                    <a:pt x="15" y="49"/>
                    <a:pt x="14" y="54"/>
                  </a:cubicBezTo>
                  <a:cubicBezTo>
                    <a:pt x="13" y="60"/>
                    <a:pt x="13" y="66"/>
                    <a:pt x="15" y="71"/>
                  </a:cubicBezTo>
                  <a:cubicBezTo>
                    <a:pt x="16" y="76"/>
                    <a:pt x="16" y="78"/>
                    <a:pt x="13" y="80"/>
                  </a:cubicBezTo>
                  <a:cubicBezTo>
                    <a:pt x="12" y="80"/>
                    <a:pt x="11" y="81"/>
                    <a:pt x="10" y="81"/>
                  </a:cubicBezTo>
                  <a:cubicBezTo>
                    <a:pt x="6" y="84"/>
                    <a:pt x="1" y="87"/>
                    <a:pt x="0" y="94"/>
                  </a:cubicBezTo>
                  <a:cubicBezTo>
                    <a:pt x="0" y="96"/>
                    <a:pt x="1" y="99"/>
                    <a:pt x="2" y="100"/>
                  </a:cubicBezTo>
                  <a:cubicBezTo>
                    <a:pt x="3" y="101"/>
                    <a:pt x="5" y="102"/>
                    <a:pt x="7" y="102"/>
                  </a:cubicBezTo>
                  <a:cubicBezTo>
                    <a:pt x="12" y="102"/>
                    <a:pt x="17" y="100"/>
                    <a:pt x="21" y="98"/>
                  </a:cubicBezTo>
                  <a:cubicBezTo>
                    <a:pt x="23" y="97"/>
                    <a:pt x="25" y="96"/>
                    <a:pt x="26" y="95"/>
                  </a:cubicBezTo>
                  <a:cubicBezTo>
                    <a:pt x="27" y="95"/>
                    <a:pt x="27" y="95"/>
                    <a:pt x="27" y="95"/>
                  </a:cubicBezTo>
                  <a:cubicBezTo>
                    <a:pt x="27" y="95"/>
                    <a:pt x="27" y="95"/>
                    <a:pt x="27" y="96"/>
                  </a:cubicBezTo>
                  <a:cubicBezTo>
                    <a:pt x="29" y="98"/>
                    <a:pt x="29" y="101"/>
                    <a:pt x="29" y="103"/>
                  </a:cubicBezTo>
                  <a:cubicBezTo>
                    <a:pt x="29" y="104"/>
                    <a:pt x="29" y="105"/>
                    <a:pt x="29" y="105"/>
                  </a:cubicBezTo>
                  <a:cubicBezTo>
                    <a:pt x="29" y="108"/>
                    <a:pt x="29" y="110"/>
                    <a:pt x="30" y="113"/>
                  </a:cubicBezTo>
                  <a:cubicBezTo>
                    <a:pt x="32" y="117"/>
                    <a:pt x="35" y="117"/>
                    <a:pt x="36" y="117"/>
                  </a:cubicBezTo>
                  <a:cubicBezTo>
                    <a:pt x="40" y="117"/>
                    <a:pt x="43" y="114"/>
                    <a:pt x="46" y="112"/>
                  </a:cubicBezTo>
                  <a:cubicBezTo>
                    <a:pt x="47" y="111"/>
                    <a:pt x="47" y="111"/>
                    <a:pt x="47" y="111"/>
                  </a:cubicBezTo>
                  <a:cubicBezTo>
                    <a:pt x="49" y="109"/>
                    <a:pt x="51" y="108"/>
                    <a:pt x="52" y="106"/>
                  </a:cubicBezTo>
                  <a:cubicBezTo>
                    <a:pt x="53" y="104"/>
                    <a:pt x="54" y="102"/>
                    <a:pt x="54" y="101"/>
                  </a:cubicBezTo>
                  <a:cubicBezTo>
                    <a:pt x="55" y="100"/>
                    <a:pt x="55" y="99"/>
                    <a:pt x="56" y="98"/>
                  </a:cubicBezTo>
                  <a:cubicBezTo>
                    <a:pt x="56" y="96"/>
                    <a:pt x="58" y="95"/>
                    <a:pt x="60" y="93"/>
                  </a:cubicBezTo>
                  <a:cubicBezTo>
                    <a:pt x="62" y="91"/>
                    <a:pt x="65" y="88"/>
                    <a:pt x="66" y="83"/>
                  </a:cubicBezTo>
                  <a:cubicBezTo>
                    <a:pt x="66" y="82"/>
                    <a:pt x="66" y="82"/>
                    <a:pt x="66" y="81"/>
                  </a:cubicBezTo>
                  <a:cubicBezTo>
                    <a:pt x="66" y="79"/>
                    <a:pt x="66" y="78"/>
                    <a:pt x="67" y="77"/>
                  </a:cubicBezTo>
                  <a:cubicBezTo>
                    <a:pt x="68" y="76"/>
                    <a:pt x="69" y="75"/>
                    <a:pt x="71" y="75"/>
                  </a:cubicBezTo>
                  <a:cubicBezTo>
                    <a:pt x="71" y="75"/>
                    <a:pt x="71" y="76"/>
                    <a:pt x="71" y="76"/>
                  </a:cubicBezTo>
                  <a:cubicBezTo>
                    <a:pt x="71" y="77"/>
                    <a:pt x="72" y="78"/>
                    <a:pt x="72" y="78"/>
                  </a:cubicBezTo>
                  <a:cubicBezTo>
                    <a:pt x="72" y="78"/>
                    <a:pt x="72" y="79"/>
                    <a:pt x="72" y="79"/>
                  </a:cubicBezTo>
                  <a:cubicBezTo>
                    <a:pt x="72" y="82"/>
                    <a:pt x="72" y="82"/>
                    <a:pt x="72" y="82"/>
                  </a:cubicBezTo>
                  <a:cubicBezTo>
                    <a:pt x="76" y="82"/>
                    <a:pt x="76" y="82"/>
                    <a:pt x="76" y="82"/>
                  </a:cubicBezTo>
                  <a:cubicBezTo>
                    <a:pt x="77" y="82"/>
                    <a:pt x="77" y="82"/>
                    <a:pt x="77" y="82"/>
                  </a:cubicBezTo>
                  <a:cubicBezTo>
                    <a:pt x="78" y="81"/>
                    <a:pt x="80" y="81"/>
                    <a:pt x="81" y="81"/>
                  </a:cubicBezTo>
                  <a:cubicBezTo>
                    <a:pt x="82" y="81"/>
                    <a:pt x="82" y="81"/>
                    <a:pt x="82" y="81"/>
                  </a:cubicBezTo>
                  <a:cubicBezTo>
                    <a:pt x="82" y="81"/>
                    <a:pt x="82" y="81"/>
                    <a:pt x="82" y="81"/>
                  </a:cubicBezTo>
                  <a:cubicBezTo>
                    <a:pt x="82" y="81"/>
                    <a:pt x="82" y="82"/>
                    <a:pt x="81" y="83"/>
                  </a:cubicBezTo>
                  <a:cubicBezTo>
                    <a:pt x="81" y="84"/>
                    <a:pt x="80" y="86"/>
                    <a:pt x="80" y="88"/>
                  </a:cubicBezTo>
                  <a:cubicBezTo>
                    <a:pt x="81" y="90"/>
                    <a:pt x="82" y="92"/>
                    <a:pt x="86" y="92"/>
                  </a:cubicBezTo>
                  <a:cubicBezTo>
                    <a:pt x="87" y="92"/>
                    <a:pt x="89" y="92"/>
                    <a:pt x="90" y="91"/>
                  </a:cubicBezTo>
                  <a:cubicBezTo>
                    <a:pt x="90" y="91"/>
                    <a:pt x="91" y="91"/>
                    <a:pt x="91" y="91"/>
                  </a:cubicBezTo>
                  <a:cubicBezTo>
                    <a:pt x="93" y="91"/>
                    <a:pt x="94" y="92"/>
                    <a:pt x="96" y="93"/>
                  </a:cubicBezTo>
                  <a:cubicBezTo>
                    <a:pt x="97" y="93"/>
                    <a:pt x="98" y="94"/>
                    <a:pt x="99" y="94"/>
                  </a:cubicBezTo>
                  <a:cubicBezTo>
                    <a:pt x="101" y="95"/>
                    <a:pt x="103" y="96"/>
                    <a:pt x="105" y="96"/>
                  </a:cubicBezTo>
                  <a:cubicBezTo>
                    <a:pt x="112" y="96"/>
                    <a:pt x="117" y="90"/>
                    <a:pt x="121" y="86"/>
                  </a:cubicBezTo>
                  <a:cubicBezTo>
                    <a:pt x="122" y="84"/>
                    <a:pt x="124" y="82"/>
                    <a:pt x="124" y="80"/>
                  </a:cubicBezTo>
                  <a:cubicBezTo>
                    <a:pt x="123" y="78"/>
                    <a:pt x="122" y="76"/>
                    <a:pt x="120" y="75"/>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3" name="Freeform 77">
              <a:extLst>
                <a:ext uri="{FF2B5EF4-FFF2-40B4-BE49-F238E27FC236}">
                  <a16:creationId xmlns:a16="http://schemas.microsoft.com/office/drawing/2014/main" id="{31452B47-FD46-EF43-A53A-171ED377F054}"/>
                </a:ext>
              </a:extLst>
            </p:cNvPr>
            <p:cNvSpPr>
              <a:spLocks/>
            </p:cNvSpPr>
            <p:nvPr/>
          </p:nvSpPr>
          <p:spPr bwMode="auto">
            <a:xfrm>
              <a:off x="18532648" y="5539366"/>
              <a:ext cx="147726" cy="113861"/>
            </a:xfrm>
            <a:custGeom>
              <a:avLst/>
              <a:gdLst>
                <a:gd name="T0" fmla="*/ 6 w 27"/>
                <a:gd name="T1" fmla="*/ 14 h 23"/>
                <a:gd name="T2" fmla="*/ 6 w 27"/>
                <a:gd name="T3" fmla="*/ 15 h 23"/>
                <a:gd name="T4" fmla="*/ 10 w 27"/>
                <a:gd name="T5" fmla="*/ 20 h 23"/>
                <a:gd name="T6" fmla="*/ 11 w 27"/>
                <a:gd name="T7" fmla="*/ 21 h 23"/>
                <a:gd name="T8" fmla="*/ 17 w 27"/>
                <a:gd name="T9" fmla="*/ 23 h 23"/>
                <a:gd name="T10" fmla="*/ 18 w 27"/>
                <a:gd name="T11" fmla="*/ 23 h 23"/>
                <a:gd name="T12" fmla="*/ 19 w 27"/>
                <a:gd name="T13" fmla="*/ 23 h 23"/>
                <a:gd name="T14" fmla="*/ 27 w 27"/>
                <a:gd name="T15" fmla="*/ 18 h 23"/>
                <a:gd name="T16" fmla="*/ 27 w 27"/>
                <a:gd name="T17" fmla="*/ 15 h 23"/>
                <a:gd name="T18" fmla="*/ 24 w 27"/>
                <a:gd name="T19" fmla="*/ 15 h 23"/>
                <a:gd name="T20" fmla="*/ 23 w 27"/>
                <a:gd name="T21" fmla="*/ 14 h 23"/>
                <a:gd name="T22" fmla="*/ 21 w 27"/>
                <a:gd name="T23" fmla="*/ 13 h 23"/>
                <a:gd name="T24" fmla="*/ 19 w 27"/>
                <a:gd name="T25" fmla="*/ 13 h 23"/>
                <a:gd name="T26" fmla="*/ 19 w 27"/>
                <a:gd name="T27" fmla="*/ 13 h 23"/>
                <a:gd name="T28" fmla="*/ 18 w 27"/>
                <a:gd name="T29" fmla="*/ 12 h 23"/>
                <a:gd name="T30" fmla="*/ 18 w 27"/>
                <a:gd name="T31" fmla="*/ 10 h 23"/>
                <a:gd name="T32" fmla="*/ 15 w 27"/>
                <a:gd name="T33" fmla="*/ 6 h 23"/>
                <a:gd name="T34" fmla="*/ 14 w 27"/>
                <a:gd name="T35" fmla="*/ 6 h 23"/>
                <a:gd name="T36" fmla="*/ 13 w 27"/>
                <a:gd name="T37" fmla="*/ 4 h 23"/>
                <a:gd name="T38" fmla="*/ 6 w 27"/>
                <a:gd name="T39" fmla="*/ 0 h 23"/>
                <a:gd name="T40" fmla="*/ 4 w 27"/>
                <a:gd name="T41" fmla="*/ 0 h 23"/>
                <a:gd name="T42" fmla="*/ 1 w 27"/>
                <a:gd name="T43" fmla="*/ 3 h 23"/>
                <a:gd name="T44" fmla="*/ 5 w 27"/>
                <a:gd name="T45" fmla="*/ 13 h 23"/>
                <a:gd name="T46" fmla="*/ 6 w 27"/>
                <a:gd name="T47"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23">
                  <a:moveTo>
                    <a:pt x="6" y="14"/>
                  </a:moveTo>
                  <a:cubicBezTo>
                    <a:pt x="6" y="14"/>
                    <a:pt x="6" y="15"/>
                    <a:pt x="6" y="15"/>
                  </a:cubicBezTo>
                  <a:cubicBezTo>
                    <a:pt x="6" y="17"/>
                    <a:pt x="7" y="19"/>
                    <a:pt x="10" y="20"/>
                  </a:cubicBezTo>
                  <a:cubicBezTo>
                    <a:pt x="11" y="21"/>
                    <a:pt x="11" y="21"/>
                    <a:pt x="11" y="21"/>
                  </a:cubicBezTo>
                  <a:cubicBezTo>
                    <a:pt x="12" y="22"/>
                    <a:pt x="14" y="23"/>
                    <a:pt x="17" y="23"/>
                  </a:cubicBezTo>
                  <a:cubicBezTo>
                    <a:pt x="17" y="23"/>
                    <a:pt x="18" y="23"/>
                    <a:pt x="18" y="23"/>
                  </a:cubicBezTo>
                  <a:cubicBezTo>
                    <a:pt x="18" y="23"/>
                    <a:pt x="19" y="23"/>
                    <a:pt x="19" y="23"/>
                  </a:cubicBezTo>
                  <a:cubicBezTo>
                    <a:pt x="21" y="23"/>
                    <a:pt x="27" y="22"/>
                    <a:pt x="27" y="18"/>
                  </a:cubicBezTo>
                  <a:cubicBezTo>
                    <a:pt x="27" y="15"/>
                    <a:pt x="27" y="15"/>
                    <a:pt x="27" y="15"/>
                  </a:cubicBezTo>
                  <a:cubicBezTo>
                    <a:pt x="24" y="15"/>
                    <a:pt x="24" y="15"/>
                    <a:pt x="24" y="15"/>
                  </a:cubicBezTo>
                  <a:cubicBezTo>
                    <a:pt x="24" y="15"/>
                    <a:pt x="23" y="14"/>
                    <a:pt x="23" y="14"/>
                  </a:cubicBezTo>
                  <a:cubicBezTo>
                    <a:pt x="22" y="14"/>
                    <a:pt x="22" y="13"/>
                    <a:pt x="21" y="13"/>
                  </a:cubicBezTo>
                  <a:cubicBezTo>
                    <a:pt x="20" y="13"/>
                    <a:pt x="19" y="13"/>
                    <a:pt x="19" y="13"/>
                  </a:cubicBezTo>
                  <a:cubicBezTo>
                    <a:pt x="19" y="13"/>
                    <a:pt x="19" y="13"/>
                    <a:pt x="19" y="13"/>
                  </a:cubicBezTo>
                  <a:cubicBezTo>
                    <a:pt x="19" y="12"/>
                    <a:pt x="18" y="12"/>
                    <a:pt x="18" y="12"/>
                  </a:cubicBezTo>
                  <a:cubicBezTo>
                    <a:pt x="18" y="11"/>
                    <a:pt x="18" y="10"/>
                    <a:pt x="18" y="10"/>
                  </a:cubicBezTo>
                  <a:cubicBezTo>
                    <a:pt x="17" y="8"/>
                    <a:pt x="16" y="7"/>
                    <a:pt x="15" y="6"/>
                  </a:cubicBezTo>
                  <a:cubicBezTo>
                    <a:pt x="14" y="6"/>
                    <a:pt x="14" y="6"/>
                    <a:pt x="14" y="6"/>
                  </a:cubicBezTo>
                  <a:cubicBezTo>
                    <a:pt x="14" y="6"/>
                    <a:pt x="13" y="5"/>
                    <a:pt x="13" y="4"/>
                  </a:cubicBezTo>
                  <a:cubicBezTo>
                    <a:pt x="11" y="2"/>
                    <a:pt x="9" y="0"/>
                    <a:pt x="6" y="0"/>
                  </a:cubicBezTo>
                  <a:cubicBezTo>
                    <a:pt x="5" y="0"/>
                    <a:pt x="5" y="0"/>
                    <a:pt x="4" y="0"/>
                  </a:cubicBezTo>
                  <a:cubicBezTo>
                    <a:pt x="3" y="1"/>
                    <a:pt x="1" y="2"/>
                    <a:pt x="1" y="3"/>
                  </a:cubicBezTo>
                  <a:cubicBezTo>
                    <a:pt x="0" y="7"/>
                    <a:pt x="3" y="10"/>
                    <a:pt x="5" y="13"/>
                  </a:cubicBezTo>
                  <a:cubicBezTo>
                    <a:pt x="5" y="13"/>
                    <a:pt x="5" y="13"/>
                    <a:pt x="6" y="14"/>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4" name="Freeform 78">
              <a:extLst>
                <a:ext uri="{FF2B5EF4-FFF2-40B4-BE49-F238E27FC236}">
                  <a16:creationId xmlns:a16="http://schemas.microsoft.com/office/drawing/2014/main" id="{4B36B4CF-6D4A-FA42-A0FF-3A11DED653B7}"/>
                </a:ext>
              </a:extLst>
            </p:cNvPr>
            <p:cNvSpPr>
              <a:spLocks/>
            </p:cNvSpPr>
            <p:nvPr/>
          </p:nvSpPr>
          <p:spPr bwMode="auto">
            <a:xfrm>
              <a:off x="18996343" y="4835669"/>
              <a:ext cx="86173" cy="89595"/>
            </a:xfrm>
            <a:custGeom>
              <a:avLst/>
              <a:gdLst>
                <a:gd name="T0" fmla="*/ 16 w 16"/>
                <a:gd name="T1" fmla="*/ 6 h 18"/>
                <a:gd name="T2" fmla="*/ 11 w 16"/>
                <a:gd name="T3" fmla="*/ 1 h 18"/>
                <a:gd name="T4" fmla="*/ 7 w 16"/>
                <a:gd name="T5" fmla="*/ 0 h 18"/>
                <a:gd name="T6" fmla="*/ 1 w 16"/>
                <a:gd name="T7" fmla="*/ 5 h 18"/>
                <a:gd name="T8" fmla="*/ 2 w 16"/>
                <a:gd name="T9" fmla="*/ 13 h 18"/>
                <a:gd name="T10" fmla="*/ 3 w 16"/>
                <a:gd name="T11" fmla="*/ 14 h 18"/>
                <a:gd name="T12" fmla="*/ 8 w 16"/>
                <a:gd name="T13" fmla="*/ 18 h 18"/>
                <a:gd name="T14" fmla="*/ 10 w 16"/>
                <a:gd name="T15" fmla="*/ 18 h 18"/>
                <a:gd name="T16" fmla="*/ 14 w 16"/>
                <a:gd name="T17" fmla="*/ 12 h 18"/>
                <a:gd name="T18" fmla="*/ 15 w 16"/>
                <a:gd name="T19" fmla="*/ 11 h 18"/>
                <a:gd name="T20" fmla="*/ 16 w 16"/>
                <a:gd name="T21"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8">
                  <a:moveTo>
                    <a:pt x="16" y="6"/>
                  </a:moveTo>
                  <a:cubicBezTo>
                    <a:pt x="15" y="4"/>
                    <a:pt x="13" y="2"/>
                    <a:pt x="11" y="1"/>
                  </a:cubicBezTo>
                  <a:cubicBezTo>
                    <a:pt x="10" y="1"/>
                    <a:pt x="9" y="0"/>
                    <a:pt x="7" y="0"/>
                  </a:cubicBezTo>
                  <a:cubicBezTo>
                    <a:pt x="6" y="0"/>
                    <a:pt x="3" y="1"/>
                    <a:pt x="1" y="5"/>
                  </a:cubicBezTo>
                  <a:cubicBezTo>
                    <a:pt x="0" y="8"/>
                    <a:pt x="0" y="10"/>
                    <a:pt x="2" y="13"/>
                  </a:cubicBezTo>
                  <a:cubicBezTo>
                    <a:pt x="3" y="13"/>
                    <a:pt x="3" y="14"/>
                    <a:pt x="3" y="14"/>
                  </a:cubicBezTo>
                  <a:cubicBezTo>
                    <a:pt x="3" y="15"/>
                    <a:pt x="5" y="18"/>
                    <a:pt x="8" y="18"/>
                  </a:cubicBezTo>
                  <a:cubicBezTo>
                    <a:pt x="8" y="18"/>
                    <a:pt x="9" y="18"/>
                    <a:pt x="10" y="18"/>
                  </a:cubicBezTo>
                  <a:cubicBezTo>
                    <a:pt x="12" y="17"/>
                    <a:pt x="13" y="14"/>
                    <a:pt x="14" y="12"/>
                  </a:cubicBezTo>
                  <a:cubicBezTo>
                    <a:pt x="14" y="12"/>
                    <a:pt x="14" y="11"/>
                    <a:pt x="15" y="11"/>
                  </a:cubicBezTo>
                  <a:cubicBezTo>
                    <a:pt x="16" y="9"/>
                    <a:pt x="16" y="8"/>
                    <a:pt x="16" y="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5" name="Freeform 79">
              <a:extLst>
                <a:ext uri="{FF2B5EF4-FFF2-40B4-BE49-F238E27FC236}">
                  <a16:creationId xmlns:a16="http://schemas.microsoft.com/office/drawing/2014/main" id="{AAA8F138-4086-2140-99F1-F451317102B7}"/>
                </a:ext>
              </a:extLst>
            </p:cNvPr>
            <p:cNvSpPr>
              <a:spLocks/>
            </p:cNvSpPr>
            <p:nvPr/>
          </p:nvSpPr>
          <p:spPr bwMode="auto">
            <a:xfrm>
              <a:off x="18858876" y="4800204"/>
              <a:ext cx="121053" cy="203456"/>
            </a:xfrm>
            <a:custGeom>
              <a:avLst/>
              <a:gdLst>
                <a:gd name="T0" fmla="*/ 18 w 22"/>
                <a:gd name="T1" fmla="*/ 25 h 41"/>
                <a:gd name="T2" fmla="*/ 19 w 22"/>
                <a:gd name="T3" fmla="*/ 24 h 41"/>
                <a:gd name="T4" fmla="*/ 19 w 22"/>
                <a:gd name="T5" fmla="*/ 18 h 41"/>
                <a:gd name="T6" fmla="*/ 14 w 22"/>
                <a:gd name="T7" fmla="*/ 15 h 41"/>
                <a:gd name="T8" fmla="*/ 15 w 22"/>
                <a:gd name="T9" fmla="*/ 14 h 41"/>
                <a:gd name="T10" fmla="*/ 16 w 22"/>
                <a:gd name="T11" fmla="*/ 13 h 41"/>
                <a:gd name="T12" fmla="*/ 20 w 22"/>
                <a:gd name="T13" fmla="*/ 9 h 41"/>
                <a:gd name="T14" fmla="*/ 21 w 22"/>
                <a:gd name="T15" fmla="*/ 4 h 41"/>
                <a:gd name="T16" fmla="*/ 16 w 22"/>
                <a:gd name="T17" fmla="*/ 0 h 41"/>
                <a:gd name="T18" fmla="*/ 15 w 22"/>
                <a:gd name="T19" fmla="*/ 0 h 41"/>
                <a:gd name="T20" fmla="*/ 8 w 22"/>
                <a:gd name="T21" fmla="*/ 5 h 41"/>
                <a:gd name="T22" fmla="*/ 8 w 22"/>
                <a:gd name="T23" fmla="*/ 5 h 41"/>
                <a:gd name="T24" fmla="*/ 6 w 22"/>
                <a:gd name="T25" fmla="*/ 13 h 41"/>
                <a:gd name="T26" fmla="*/ 9 w 22"/>
                <a:gd name="T27" fmla="*/ 16 h 41"/>
                <a:gd name="T28" fmla="*/ 7 w 22"/>
                <a:gd name="T29" fmla="*/ 20 h 41"/>
                <a:gd name="T30" fmla="*/ 7 w 22"/>
                <a:gd name="T31" fmla="*/ 22 h 41"/>
                <a:gd name="T32" fmla="*/ 7 w 22"/>
                <a:gd name="T33" fmla="*/ 22 h 41"/>
                <a:gd name="T34" fmla="*/ 5 w 22"/>
                <a:gd name="T35" fmla="*/ 27 h 41"/>
                <a:gd name="T36" fmla="*/ 5 w 22"/>
                <a:gd name="T37" fmla="*/ 27 h 41"/>
                <a:gd name="T38" fmla="*/ 0 w 22"/>
                <a:gd name="T39" fmla="*/ 37 h 41"/>
                <a:gd name="T40" fmla="*/ 3 w 22"/>
                <a:gd name="T41" fmla="*/ 41 h 41"/>
                <a:gd name="T42" fmla="*/ 6 w 22"/>
                <a:gd name="T43" fmla="*/ 41 h 41"/>
                <a:gd name="T44" fmla="*/ 6 w 22"/>
                <a:gd name="T45" fmla="*/ 41 h 41"/>
                <a:gd name="T46" fmla="*/ 18 w 22"/>
                <a:gd name="T47" fmla="*/ 2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41">
                  <a:moveTo>
                    <a:pt x="18" y="25"/>
                  </a:moveTo>
                  <a:cubicBezTo>
                    <a:pt x="19" y="24"/>
                    <a:pt x="19" y="24"/>
                    <a:pt x="19" y="24"/>
                  </a:cubicBezTo>
                  <a:cubicBezTo>
                    <a:pt x="20" y="21"/>
                    <a:pt x="20" y="19"/>
                    <a:pt x="19" y="18"/>
                  </a:cubicBezTo>
                  <a:cubicBezTo>
                    <a:pt x="18" y="16"/>
                    <a:pt x="16" y="15"/>
                    <a:pt x="14" y="15"/>
                  </a:cubicBezTo>
                  <a:cubicBezTo>
                    <a:pt x="14" y="14"/>
                    <a:pt x="15" y="14"/>
                    <a:pt x="15" y="14"/>
                  </a:cubicBezTo>
                  <a:cubicBezTo>
                    <a:pt x="15" y="14"/>
                    <a:pt x="16" y="13"/>
                    <a:pt x="16" y="13"/>
                  </a:cubicBezTo>
                  <a:cubicBezTo>
                    <a:pt x="18" y="12"/>
                    <a:pt x="19" y="11"/>
                    <a:pt x="20" y="9"/>
                  </a:cubicBezTo>
                  <a:cubicBezTo>
                    <a:pt x="21" y="8"/>
                    <a:pt x="22" y="5"/>
                    <a:pt x="21" y="4"/>
                  </a:cubicBezTo>
                  <a:cubicBezTo>
                    <a:pt x="20" y="2"/>
                    <a:pt x="18" y="0"/>
                    <a:pt x="16" y="0"/>
                  </a:cubicBezTo>
                  <a:cubicBezTo>
                    <a:pt x="16" y="0"/>
                    <a:pt x="16" y="0"/>
                    <a:pt x="15" y="0"/>
                  </a:cubicBezTo>
                  <a:cubicBezTo>
                    <a:pt x="12" y="0"/>
                    <a:pt x="9" y="3"/>
                    <a:pt x="8" y="5"/>
                  </a:cubicBezTo>
                  <a:cubicBezTo>
                    <a:pt x="8" y="5"/>
                    <a:pt x="8" y="5"/>
                    <a:pt x="8" y="5"/>
                  </a:cubicBezTo>
                  <a:cubicBezTo>
                    <a:pt x="6" y="7"/>
                    <a:pt x="4" y="10"/>
                    <a:pt x="6" y="13"/>
                  </a:cubicBezTo>
                  <a:cubicBezTo>
                    <a:pt x="6" y="15"/>
                    <a:pt x="8" y="16"/>
                    <a:pt x="9" y="16"/>
                  </a:cubicBezTo>
                  <a:cubicBezTo>
                    <a:pt x="8" y="17"/>
                    <a:pt x="7" y="18"/>
                    <a:pt x="7" y="20"/>
                  </a:cubicBezTo>
                  <a:cubicBezTo>
                    <a:pt x="7" y="21"/>
                    <a:pt x="7" y="21"/>
                    <a:pt x="7" y="22"/>
                  </a:cubicBezTo>
                  <a:cubicBezTo>
                    <a:pt x="7" y="22"/>
                    <a:pt x="7" y="22"/>
                    <a:pt x="7" y="22"/>
                  </a:cubicBezTo>
                  <a:cubicBezTo>
                    <a:pt x="7" y="24"/>
                    <a:pt x="7" y="25"/>
                    <a:pt x="5" y="27"/>
                  </a:cubicBezTo>
                  <a:cubicBezTo>
                    <a:pt x="5" y="27"/>
                    <a:pt x="5" y="27"/>
                    <a:pt x="5" y="27"/>
                  </a:cubicBezTo>
                  <a:cubicBezTo>
                    <a:pt x="2" y="30"/>
                    <a:pt x="0" y="33"/>
                    <a:pt x="0" y="37"/>
                  </a:cubicBezTo>
                  <a:cubicBezTo>
                    <a:pt x="1" y="38"/>
                    <a:pt x="2" y="40"/>
                    <a:pt x="3" y="41"/>
                  </a:cubicBezTo>
                  <a:cubicBezTo>
                    <a:pt x="4" y="41"/>
                    <a:pt x="5" y="41"/>
                    <a:pt x="6" y="41"/>
                  </a:cubicBezTo>
                  <a:cubicBezTo>
                    <a:pt x="6" y="41"/>
                    <a:pt x="6" y="41"/>
                    <a:pt x="6" y="41"/>
                  </a:cubicBezTo>
                  <a:cubicBezTo>
                    <a:pt x="9" y="41"/>
                    <a:pt x="13" y="37"/>
                    <a:pt x="18" y="25"/>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6" name="Freeform 80">
              <a:extLst>
                <a:ext uri="{FF2B5EF4-FFF2-40B4-BE49-F238E27FC236}">
                  <a16:creationId xmlns:a16="http://schemas.microsoft.com/office/drawing/2014/main" id="{6021EA01-B5CC-184F-9F18-BB9CF8DB619D}"/>
                </a:ext>
              </a:extLst>
            </p:cNvPr>
            <p:cNvSpPr>
              <a:spLocks/>
            </p:cNvSpPr>
            <p:nvPr/>
          </p:nvSpPr>
          <p:spPr bwMode="auto">
            <a:xfrm>
              <a:off x="18897859" y="5003660"/>
              <a:ext cx="82070" cy="123194"/>
            </a:xfrm>
            <a:custGeom>
              <a:avLst/>
              <a:gdLst>
                <a:gd name="T0" fmla="*/ 8 w 15"/>
                <a:gd name="T1" fmla="*/ 0 h 25"/>
                <a:gd name="T2" fmla="*/ 5 w 15"/>
                <a:gd name="T3" fmla="*/ 1 h 25"/>
                <a:gd name="T4" fmla="*/ 4 w 15"/>
                <a:gd name="T5" fmla="*/ 7 h 25"/>
                <a:gd name="T6" fmla="*/ 4 w 15"/>
                <a:gd name="T7" fmla="*/ 7 h 25"/>
                <a:gd name="T8" fmla="*/ 4 w 15"/>
                <a:gd name="T9" fmla="*/ 7 h 25"/>
                <a:gd name="T10" fmla="*/ 3 w 15"/>
                <a:gd name="T11" fmla="*/ 12 h 25"/>
                <a:gd name="T12" fmla="*/ 3 w 15"/>
                <a:gd name="T13" fmla="*/ 14 h 25"/>
                <a:gd name="T14" fmla="*/ 1 w 15"/>
                <a:gd name="T15" fmla="*/ 15 h 25"/>
                <a:gd name="T16" fmla="*/ 0 w 15"/>
                <a:gd name="T17" fmla="*/ 19 h 25"/>
                <a:gd name="T18" fmla="*/ 6 w 15"/>
                <a:gd name="T19" fmla="*/ 25 h 25"/>
                <a:gd name="T20" fmla="*/ 11 w 15"/>
                <a:gd name="T21" fmla="*/ 20 h 25"/>
                <a:gd name="T22" fmla="*/ 9 w 15"/>
                <a:gd name="T23" fmla="*/ 15 h 25"/>
                <a:gd name="T24" fmla="*/ 9 w 15"/>
                <a:gd name="T25" fmla="*/ 15 h 25"/>
                <a:gd name="T26" fmla="*/ 11 w 15"/>
                <a:gd name="T27" fmla="*/ 12 h 25"/>
                <a:gd name="T28" fmla="*/ 12 w 15"/>
                <a:gd name="T29" fmla="*/ 11 h 25"/>
                <a:gd name="T30" fmla="*/ 12 w 15"/>
                <a:gd name="T31" fmla="*/ 11 h 25"/>
                <a:gd name="T32" fmla="*/ 15 w 15"/>
                <a:gd name="T33" fmla="*/ 6 h 25"/>
                <a:gd name="T34" fmla="*/ 8 w 15"/>
                <a:gd name="T3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25">
                  <a:moveTo>
                    <a:pt x="8" y="0"/>
                  </a:moveTo>
                  <a:cubicBezTo>
                    <a:pt x="7" y="0"/>
                    <a:pt x="6" y="0"/>
                    <a:pt x="5" y="1"/>
                  </a:cubicBezTo>
                  <a:cubicBezTo>
                    <a:pt x="2" y="3"/>
                    <a:pt x="4" y="6"/>
                    <a:pt x="4" y="7"/>
                  </a:cubicBezTo>
                  <a:cubicBezTo>
                    <a:pt x="4" y="7"/>
                    <a:pt x="4" y="7"/>
                    <a:pt x="4" y="7"/>
                  </a:cubicBezTo>
                  <a:cubicBezTo>
                    <a:pt x="4" y="7"/>
                    <a:pt x="4" y="7"/>
                    <a:pt x="4" y="7"/>
                  </a:cubicBezTo>
                  <a:cubicBezTo>
                    <a:pt x="3" y="8"/>
                    <a:pt x="2" y="10"/>
                    <a:pt x="3" y="12"/>
                  </a:cubicBezTo>
                  <a:cubicBezTo>
                    <a:pt x="3" y="14"/>
                    <a:pt x="3" y="14"/>
                    <a:pt x="3" y="14"/>
                  </a:cubicBezTo>
                  <a:cubicBezTo>
                    <a:pt x="2" y="14"/>
                    <a:pt x="2" y="14"/>
                    <a:pt x="1" y="15"/>
                  </a:cubicBezTo>
                  <a:cubicBezTo>
                    <a:pt x="1" y="16"/>
                    <a:pt x="0" y="17"/>
                    <a:pt x="0" y="19"/>
                  </a:cubicBezTo>
                  <a:cubicBezTo>
                    <a:pt x="1" y="22"/>
                    <a:pt x="3" y="25"/>
                    <a:pt x="6" y="25"/>
                  </a:cubicBezTo>
                  <a:cubicBezTo>
                    <a:pt x="8" y="25"/>
                    <a:pt x="11" y="23"/>
                    <a:pt x="11" y="20"/>
                  </a:cubicBezTo>
                  <a:cubicBezTo>
                    <a:pt x="11" y="18"/>
                    <a:pt x="11" y="16"/>
                    <a:pt x="9" y="15"/>
                  </a:cubicBezTo>
                  <a:cubicBezTo>
                    <a:pt x="9" y="15"/>
                    <a:pt x="9" y="15"/>
                    <a:pt x="9" y="15"/>
                  </a:cubicBezTo>
                  <a:cubicBezTo>
                    <a:pt x="10" y="14"/>
                    <a:pt x="11" y="13"/>
                    <a:pt x="11" y="12"/>
                  </a:cubicBezTo>
                  <a:cubicBezTo>
                    <a:pt x="12" y="12"/>
                    <a:pt x="12" y="11"/>
                    <a:pt x="12" y="11"/>
                  </a:cubicBezTo>
                  <a:cubicBezTo>
                    <a:pt x="12" y="11"/>
                    <a:pt x="12" y="11"/>
                    <a:pt x="12" y="11"/>
                  </a:cubicBezTo>
                  <a:cubicBezTo>
                    <a:pt x="13" y="10"/>
                    <a:pt x="15" y="9"/>
                    <a:pt x="15" y="6"/>
                  </a:cubicBezTo>
                  <a:cubicBezTo>
                    <a:pt x="15" y="3"/>
                    <a:pt x="11" y="0"/>
                    <a:pt x="8" y="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7" name="Freeform 81">
              <a:extLst>
                <a:ext uri="{FF2B5EF4-FFF2-40B4-BE49-F238E27FC236}">
                  <a16:creationId xmlns:a16="http://schemas.microsoft.com/office/drawing/2014/main" id="{0649602E-62BA-974E-BCC7-54C2A9ACF0E6}"/>
                </a:ext>
              </a:extLst>
            </p:cNvPr>
            <p:cNvSpPr>
              <a:spLocks/>
            </p:cNvSpPr>
            <p:nvPr/>
          </p:nvSpPr>
          <p:spPr bwMode="auto">
            <a:xfrm>
              <a:off x="18750133" y="4800204"/>
              <a:ext cx="108743" cy="83996"/>
            </a:xfrm>
            <a:custGeom>
              <a:avLst/>
              <a:gdLst>
                <a:gd name="T0" fmla="*/ 14 w 20"/>
                <a:gd name="T1" fmla="*/ 2 h 17"/>
                <a:gd name="T2" fmla="*/ 12 w 20"/>
                <a:gd name="T3" fmla="*/ 1 h 17"/>
                <a:gd name="T4" fmla="*/ 8 w 20"/>
                <a:gd name="T5" fmla="*/ 0 h 17"/>
                <a:gd name="T6" fmla="*/ 4 w 20"/>
                <a:gd name="T7" fmla="*/ 1 h 17"/>
                <a:gd name="T8" fmla="*/ 1 w 20"/>
                <a:gd name="T9" fmla="*/ 6 h 17"/>
                <a:gd name="T10" fmla="*/ 4 w 20"/>
                <a:gd name="T11" fmla="*/ 12 h 17"/>
                <a:gd name="T12" fmla="*/ 5 w 20"/>
                <a:gd name="T13" fmla="*/ 13 h 17"/>
                <a:gd name="T14" fmla="*/ 5 w 20"/>
                <a:gd name="T15" fmla="*/ 14 h 17"/>
                <a:gd name="T16" fmla="*/ 10 w 20"/>
                <a:gd name="T17" fmla="*/ 17 h 17"/>
                <a:gd name="T18" fmla="*/ 12 w 20"/>
                <a:gd name="T19" fmla="*/ 17 h 17"/>
                <a:gd name="T20" fmla="*/ 14 w 20"/>
                <a:gd name="T21" fmla="*/ 17 h 17"/>
                <a:gd name="T22" fmla="*/ 14 w 20"/>
                <a:gd name="T23" fmla="*/ 15 h 17"/>
                <a:gd name="T24" fmla="*/ 14 w 20"/>
                <a:gd name="T25" fmla="*/ 14 h 17"/>
                <a:gd name="T26" fmla="*/ 14 w 20"/>
                <a:gd name="T27" fmla="*/ 14 h 17"/>
                <a:gd name="T28" fmla="*/ 18 w 20"/>
                <a:gd name="T29" fmla="*/ 12 h 17"/>
                <a:gd name="T30" fmla="*/ 20 w 20"/>
                <a:gd name="T31" fmla="*/ 7 h 17"/>
                <a:gd name="T32" fmla="*/ 14 w 20"/>
                <a:gd name="T33"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7">
                  <a:moveTo>
                    <a:pt x="14" y="2"/>
                  </a:moveTo>
                  <a:cubicBezTo>
                    <a:pt x="14" y="2"/>
                    <a:pt x="13" y="2"/>
                    <a:pt x="12" y="1"/>
                  </a:cubicBezTo>
                  <a:cubicBezTo>
                    <a:pt x="11" y="1"/>
                    <a:pt x="10" y="0"/>
                    <a:pt x="8" y="0"/>
                  </a:cubicBezTo>
                  <a:cubicBezTo>
                    <a:pt x="7" y="0"/>
                    <a:pt x="5" y="1"/>
                    <a:pt x="4" y="1"/>
                  </a:cubicBezTo>
                  <a:cubicBezTo>
                    <a:pt x="3" y="2"/>
                    <a:pt x="1" y="3"/>
                    <a:pt x="1" y="6"/>
                  </a:cubicBezTo>
                  <a:cubicBezTo>
                    <a:pt x="0" y="9"/>
                    <a:pt x="2" y="10"/>
                    <a:pt x="4" y="12"/>
                  </a:cubicBezTo>
                  <a:cubicBezTo>
                    <a:pt x="4" y="12"/>
                    <a:pt x="4" y="13"/>
                    <a:pt x="5" y="13"/>
                  </a:cubicBezTo>
                  <a:cubicBezTo>
                    <a:pt x="5" y="13"/>
                    <a:pt x="5" y="13"/>
                    <a:pt x="5" y="14"/>
                  </a:cubicBezTo>
                  <a:cubicBezTo>
                    <a:pt x="6" y="15"/>
                    <a:pt x="7" y="17"/>
                    <a:pt x="10" y="17"/>
                  </a:cubicBezTo>
                  <a:cubicBezTo>
                    <a:pt x="10" y="17"/>
                    <a:pt x="11" y="17"/>
                    <a:pt x="12" y="17"/>
                  </a:cubicBezTo>
                  <a:cubicBezTo>
                    <a:pt x="14" y="17"/>
                    <a:pt x="14" y="17"/>
                    <a:pt x="14" y="17"/>
                  </a:cubicBezTo>
                  <a:cubicBezTo>
                    <a:pt x="14" y="15"/>
                    <a:pt x="14" y="15"/>
                    <a:pt x="14" y="15"/>
                  </a:cubicBezTo>
                  <a:cubicBezTo>
                    <a:pt x="14" y="14"/>
                    <a:pt x="14" y="14"/>
                    <a:pt x="14" y="14"/>
                  </a:cubicBezTo>
                  <a:cubicBezTo>
                    <a:pt x="14" y="14"/>
                    <a:pt x="14" y="14"/>
                    <a:pt x="14" y="14"/>
                  </a:cubicBezTo>
                  <a:cubicBezTo>
                    <a:pt x="15" y="13"/>
                    <a:pt x="16" y="13"/>
                    <a:pt x="18" y="12"/>
                  </a:cubicBezTo>
                  <a:cubicBezTo>
                    <a:pt x="20" y="10"/>
                    <a:pt x="20" y="8"/>
                    <a:pt x="20" y="7"/>
                  </a:cubicBezTo>
                  <a:cubicBezTo>
                    <a:pt x="19" y="4"/>
                    <a:pt x="17" y="3"/>
                    <a:pt x="14" y="2"/>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8" name="Freeform 83">
              <a:extLst>
                <a:ext uri="{FF2B5EF4-FFF2-40B4-BE49-F238E27FC236}">
                  <a16:creationId xmlns:a16="http://schemas.microsoft.com/office/drawing/2014/main" id="{FB8C77E2-98DE-B94D-8E20-7ABEC840AEAC}"/>
                </a:ext>
              </a:extLst>
            </p:cNvPr>
            <p:cNvSpPr>
              <a:spLocks noEditPoints="1"/>
            </p:cNvSpPr>
            <p:nvPr/>
          </p:nvSpPr>
          <p:spPr bwMode="auto">
            <a:xfrm>
              <a:off x="16608107" y="3336813"/>
              <a:ext cx="420609" cy="451710"/>
            </a:xfrm>
            <a:custGeom>
              <a:avLst/>
              <a:gdLst>
                <a:gd name="T0" fmla="*/ 68 w 77"/>
                <a:gd name="T1" fmla="*/ 49 h 91"/>
                <a:gd name="T2" fmla="*/ 67 w 77"/>
                <a:gd name="T3" fmla="*/ 43 h 91"/>
                <a:gd name="T4" fmla="*/ 67 w 77"/>
                <a:gd name="T5" fmla="*/ 34 h 91"/>
                <a:gd name="T6" fmla="*/ 65 w 77"/>
                <a:gd name="T7" fmla="*/ 21 h 91"/>
                <a:gd name="T8" fmla="*/ 55 w 77"/>
                <a:gd name="T9" fmla="*/ 15 h 91"/>
                <a:gd name="T10" fmla="*/ 55 w 77"/>
                <a:gd name="T11" fmla="*/ 12 h 91"/>
                <a:gd name="T12" fmla="*/ 41 w 77"/>
                <a:gd name="T13" fmla="*/ 0 h 91"/>
                <a:gd name="T14" fmla="*/ 33 w 77"/>
                <a:gd name="T15" fmla="*/ 8 h 91"/>
                <a:gd name="T16" fmla="*/ 28 w 77"/>
                <a:gd name="T17" fmla="*/ 7 h 91"/>
                <a:gd name="T18" fmla="*/ 22 w 77"/>
                <a:gd name="T19" fmla="*/ 19 h 91"/>
                <a:gd name="T20" fmla="*/ 18 w 77"/>
                <a:gd name="T21" fmla="*/ 19 h 91"/>
                <a:gd name="T22" fmla="*/ 9 w 77"/>
                <a:gd name="T23" fmla="*/ 30 h 91"/>
                <a:gd name="T24" fmla="*/ 2 w 77"/>
                <a:gd name="T25" fmla="*/ 32 h 91"/>
                <a:gd name="T26" fmla="*/ 4 w 77"/>
                <a:gd name="T27" fmla="*/ 44 h 91"/>
                <a:gd name="T28" fmla="*/ 10 w 77"/>
                <a:gd name="T29" fmla="*/ 46 h 91"/>
                <a:gd name="T30" fmla="*/ 11 w 77"/>
                <a:gd name="T31" fmla="*/ 54 h 91"/>
                <a:gd name="T32" fmla="*/ 19 w 77"/>
                <a:gd name="T33" fmla="*/ 56 h 91"/>
                <a:gd name="T34" fmla="*/ 21 w 77"/>
                <a:gd name="T35" fmla="*/ 57 h 91"/>
                <a:gd name="T36" fmla="*/ 27 w 77"/>
                <a:gd name="T37" fmla="*/ 61 h 91"/>
                <a:gd name="T38" fmla="*/ 32 w 77"/>
                <a:gd name="T39" fmla="*/ 61 h 91"/>
                <a:gd name="T40" fmla="*/ 40 w 77"/>
                <a:gd name="T41" fmla="*/ 63 h 91"/>
                <a:gd name="T42" fmla="*/ 38 w 77"/>
                <a:gd name="T43" fmla="*/ 66 h 91"/>
                <a:gd name="T44" fmla="*/ 35 w 77"/>
                <a:gd name="T45" fmla="*/ 67 h 91"/>
                <a:gd name="T46" fmla="*/ 30 w 77"/>
                <a:gd name="T47" fmla="*/ 66 h 91"/>
                <a:gd name="T48" fmla="*/ 22 w 77"/>
                <a:gd name="T49" fmla="*/ 68 h 91"/>
                <a:gd name="T50" fmla="*/ 24 w 77"/>
                <a:gd name="T51" fmla="*/ 78 h 91"/>
                <a:gd name="T52" fmla="*/ 43 w 77"/>
                <a:gd name="T53" fmla="*/ 91 h 91"/>
                <a:gd name="T54" fmla="*/ 66 w 77"/>
                <a:gd name="T55" fmla="*/ 85 h 91"/>
                <a:gd name="T56" fmla="*/ 77 w 77"/>
                <a:gd name="T57" fmla="*/ 53 h 91"/>
                <a:gd name="T58" fmla="*/ 50 w 77"/>
                <a:gd name="T59" fmla="*/ 65 h 91"/>
                <a:gd name="T60" fmla="*/ 47 w 77"/>
                <a:gd name="T61" fmla="*/ 61 h 91"/>
                <a:gd name="T62" fmla="*/ 49 w 77"/>
                <a:gd name="T63" fmla="*/ 61 h 91"/>
                <a:gd name="T64" fmla="*/ 56 w 77"/>
                <a:gd name="T65" fmla="*/ 65 h 91"/>
                <a:gd name="T66" fmla="*/ 52 w 77"/>
                <a:gd name="T67" fmla="*/ 67 h 91"/>
                <a:gd name="T68" fmla="*/ 39 w 77"/>
                <a:gd name="T69" fmla="*/ 48 h 91"/>
                <a:gd name="T70" fmla="*/ 37 w 77"/>
                <a:gd name="T71" fmla="*/ 5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 h="91">
                  <a:moveTo>
                    <a:pt x="73" y="51"/>
                  </a:moveTo>
                  <a:cubicBezTo>
                    <a:pt x="71" y="51"/>
                    <a:pt x="70" y="50"/>
                    <a:pt x="68" y="49"/>
                  </a:cubicBezTo>
                  <a:cubicBezTo>
                    <a:pt x="68" y="49"/>
                    <a:pt x="68" y="48"/>
                    <a:pt x="68" y="46"/>
                  </a:cubicBezTo>
                  <a:cubicBezTo>
                    <a:pt x="68" y="45"/>
                    <a:pt x="68" y="44"/>
                    <a:pt x="67" y="43"/>
                  </a:cubicBezTo>
                  <a:cubicBezTo>
                    <a:pt x="67" y="41"/>
                    <a:pt x="67" y="40"/>
                    <a:pt x="67" y="38"/>
                  </a:cubicBezTo>
                  <a:cubicBezTo>
                    <a:pt x="67" y="37"/>
                    <a:pt x="67" y="35"/>
                    <a:pt x="67" y="34"/>
                  </a:cubicBezTo>
                  <a:cubicBezTo>
                    <a:pt x="67" y="33"/>
                    <a:pt x="67" y="32"/>
                    <a:pt x="67" y="31"/>
                  </a:cubicBezTo>
                  <a:cubicBezTo>
                    <a:pt x="66" y="28"/>
                    <a:pt x="66" y="24"/>
                    <a:pt x="65" y="21"/>
                  </a:cubicBezTo>
                  <a:cubicBezTo>
                    <a:pt x="63" y="17"/>
                    <a:pt x="59" y="16"/>
                    <a:pt x="56" y="15"/>
                  </a:cubicBezTo>
                  <a:cubicBezTo>
                    <a:pt x="56" y="15"/>
                    <a:pt x="55" y="15"/>
                    <a:pt x="55" y="15"/>
                  </a:cubicBezTo>
                  <a:cubicBezTo>
                    <a:pt x="55" y="14"/>
                    <a:pt x="55" y="14"/>
                    <a:pt x="55" y="13"/>
                  </a:cubicBezTo>
                  <a:cubicBezTo>
                    <a:pt x="55" y="12"/>
                    <a:pt x="55" y="12"/>
                    <a:pt x="55" y="12"/>
                  </a:cubicBezTo>
                  <a:cubicBezTo>
                    <a:pt x="56" y="7"/>
                    <a:pt x="55" y="5"/>
                    <a:pt x="54" y="4"/>
                  </a:cubicBezTo>
                  <a:cubicBezTo>
                    <a:pt x="51" y="2"/>
                    <a:pt x="46" y="0"/>
                    <a:pt x="41" y="0"/>
                  </a:cubicBezTo>
                  <a:cubicBezTo>
                    <a:pt x="35" y="0"/>
                    <a:pt x="34" y="4"/>
                    <a:pt x="33" y="5"/>
                  </a:cubicBezTo>
                  <a:cubicBezTo>
                    <a:pt x="33" y="6"/>
                    <a:pt x="33" y="7"/>
                    <a:pt x="33" y="8"/>
                  </a:cubicBezTo>
                  <a:cubicBezTo>
                    <a:pt x="33" y="8"/>
                    <a:pt x="33" y="8"/>
                    <a:pt x="32" y="8"/>
                  </a:cubicBezTo>
                  <a:cubicBezTo>
                    <a:pt x="31" y="8"/>
                    <a:pt x="30" y="7"/>
                    <a:pt x="28" y="7"/>
                  </a:cubicBezTo>
                  <a:cubicBezTo>
                    <a:pt x="26" y="7"/>
                    <a:pt x="25" y="8"/>
                    <a:pt x="23" y="9"/>
                  </a:cubicBezTo>
                  <a:cubicBezTo>
                    <a:pt x="21" y="12"/>
                    <a:pt x="20" y="16"/>
                    <a:pt x="22" y="19"/>
                  </a:cubicBezTo>
                  <a:cubicBezTo>
                    <a:pt x="21" y="19"/>
                    <a:pt x="21" y="19"/>
                    <a:pt x="21" y="19"/>
                  </a:cubicBezTo>
                  <a:cubicBezTo>
                    <a:pt x="20" y="19"/>
                    <a:pt x="19" y="19"/>
                    <a:pt x="18" y="19"/>
                  </a:cubicBezTo>
                  <a:cubicBezTo>
                    <a:pt x="11" y="19"/>
                    <a:pt x="11" y="24"/>
                    <a:pt x="10" y="27"/>
                  </a:cubicBezTo>
                  <a:cubicBezTo>
                    <a:pt x="10" y="30"/>
                    <a:pt x="9" y="30"/>
                    <a:pt x="9" y="30"/>
                  </a:cubicBezTo>
                  <a:cubicBezTo>
                    <a:pt x="8" y="30"/>
                    <a:pt x="8" y="30"/>
                    <a:pt x="8" y="30"/>
                  </a:cubicBezTo>
                  <a:cubicBezTo>
                    <a:pt x="6" y="30"/>
                    <a:pt x="4" y="30"/>
                    <a:pt x="2" y="32"/>
                  </a:cubicBezTo>
                  <a:cubicBezTo>
                    <a:pt x="1" y="34"/>
                    <a:pt x="0" y="36"/>
                    <a:pt x="1" y="38"/>
                  </a:cubicBezTo>
                  <a:cubicBezTo>
                    <a:pt x="1" y="41"/>
                    <a:pt x="2" y="43"/>
                    <a:pt x="4" y="44"/>
                  </a:cubicBezTo>
                  <a:cubicBezTo>
                    <a:pt x="6" y="45"/>
                    <a:pt x="7" y="45"/>
                    <a:pt x="9" y="46"/>
                  </a:cubicBezTo>
                  <a:cubicBezTo>
                    <a:pt x="10" y="46"/>
                    <a:pt x="10" y="46"/>
                    <a:pt x="10" y="46"/>
                  </a:cubicBezTo>
                  <a:cubicBezTo>
                    <a:pt x="10" y="46"/>
                    <a:pt x="10" y="47"/>
                    <a:pt x="10" y="47"/>
                  </a:cubicBezTo>
                  <a:cubicBezTo>
                    <a:pt x="10" y="49"/>
                    <a:pt x="9" y="51"/>
                    <a:pt x="11" y="54"/>
                  </a:cubicBezTo>
                  <a:cubicBezTo>
                    <a:pt x="12" y="56"/>
                    <a:pt x="14" y="56"/>
                    <a:pt x="16" y="56"/>
                  </a:cubicBezTo>
                  <a:cubicBezTo>
                    <a:pt x="17" y="56"/>
                    <a:pt x="18" y="56"/>
                    <a:pt x="19" y="56"/>
                  </a:cubicBezTo>
                  <a:cubicBezTo>
                    <a:pt x="19" y="56"/>
                    <a:pt x="20" y="56"/>
                    <a:pt x="20" y="56"/>
                  </a:cubicBezTo>
                  <a:cubicBezTo>
                    <a:pt x="20" y="56"/>
                    <a:pt x="21" y="57"/>
                    <a:pt x="21" y="57"/>
                  </a:cubicBezTo>
                  <a:cubicBezTo>
                    <a:pt x="22" y="58"/>
                    <a:pt x="23" y="60"/>
                    <a:pt x="26" y="61"/>
                  </a:cubicBezTo>
                  <a:cubicBezTo>
                    <a:pt x="27" y="61"/>
                    <a:pt x="27" y="61"/>
                    <a:pt x="27" y="61"/>
                  </a:cubicBezTo>
                  <a:cubicBezTo>
                    <a:pt x="29" y="61"/>
                    <a:pt x="31" y="60"/>
                    <a:pt x="32" y="59"/>
                  </a:cubicBezTo>
                  <a:cubicBezTo>
                    <a:pt x="32" y="61"/>
                    <a:pt x="32" y="61"/>
                    <a:pt x="32" y="61"/>
                  </a:cubicBezTo>
                  <a:cubicBezTo>
                    <a:pt x="34" y="62"/>
                    <a:pt x="34" y="62"/>
                    <a:pt x="34" y="62"/>
                  </a:cubicBezTo>
                  <a:cubicBezTo>
                    <a:pt x="36" y="63"/>
                    <a:pt x="38" y="63"/>
                    <a:pt x="40" y="63"/>
                  </a:cubicBezTo>
                  <a:cubicBezTo>
                    <a:pt x="40" y="63"/>
                    <a:pt x="40" y="63"/>
                    <a:pt x="40" y="63"/>
                  </a:cubicBezTo>
                  <a:cubicBezTo>
                    <a:pt x="39" y="64"/>
                    <a:pt x="39" y="65"/>
                    <a:pt x="38" y="66"/>
                  </a:cubicBezTo>
                  <a:cubicBezTo>
                    <a:pt x="38" y="66"/>
                    <a:pt x="38" y="66"/>
                    <a:pt x="37" y="66"/>
                  </a:cubicBezTo>
                  <a:cubicBezTo>
                    <a:pt x="36" y="67"/>
                    <a:pt x="36" y="67"/>
                    <a:pt x="35" y="67"/>
                  </a:cubicBezTo>
                  <a:cubicBezTo>
                    <a:pt x="34" y="67"/>
                    <a:pt x="32" y="67"/>
                    <a:pt x="31" y="66"/>
                  </a:cubicBezTo>
                  <a:cubicBezTo>
                    <a:pt x="31" y="66"/>
                    <a:pt x="30" y="66"/>
                    <a:pt x="30" y="66"/>
                  </a:cubicBezTo>
                  <a:cubicBezTo>
                    <a:pt x="29" y="66"/>
                    <a:pt x="28" y="65"/>
                    <a:pt x="27" y="65"/>
                  </a:cubicBezTo>
                  <a:cubicBezTo>
                    <a:pt x="25" y="65"/>
                    <a:pt x="23" y="66"/>
                    <a:pt x="22" y="68"/>
                  </a:cubicBezTo>
                  <a:cubicBezTo>
                    <a:pt x="20" y="71"/>
                    <a:pt x="22" y="75"/>
                    <a:pt x="23" y="77"/>
                  </a:cubicBezTo>
                  <a:cubicBezTo>
                    <a:pt x="23" y="78"/>
                    <a:pt x="24" y="78"/>
                    <a:pt x="24" y="78"/>
                  </a:cubicBezTo>
                  <a:cubicBezTo>
                    <a:pt x="28" y="90"/>
                    <a:pt x="36" y="91"/>
                    <a:pt x="43" y="91"/>
                  </a:cubicBezTo>
                  <a:cubicBezTo>
                    <a:pt x="43" y="91"/>
                    <a:pt x="43" y="91"/>
                    <a:pt x="43" y="91"/>
                  </a:cubicBezTo>
                  <a:cubicBezTo>
                    <a:pt x="46" y="91"/>
                    <a:pt x="49" y="91"/>
                    <a:pt x="53" y="90"/>
                  </a:cubicBezTo>
                  <a:cubicBezTo>
                    <a:pt x="57" y="90"/>
                    <a:pt x="61" y="88"/>
                    <a:pt x="66" y="85"/>
                  </a:cubicBezTo>
                  <a:cubicBezTo>
                    <a:pt x="67" y="84"/>
                    <a:pt x="67" y="84"/>
                    <a:pt x="67" y="84"/>
                  </a:cubicBezTo>
                  <a:cubicBezTo>
                    <a:pt x="77" y="53"/>
                    <a:pt x="77" y="53"/>
                    <a:pt x="77" y="53"/>
                  </a:cubicBezTo>
                  <a:lnTo>
                    <a:pt x="73" y="51"/>
                  </a:lnTo>
                  <a:close/>
                  <a:moveTo>
                    <a:pt x="50" y="65"/>
                  </a:moveTo>
                  <a:cubicBezTo>
                    <a:pt x="49" y="64"/>
                    <a:pt x="48" y="62"/>
                    <a:pt x="46" y="62"/>
                  </a:cubicBezTo>
                  <a:cubicBezTo>
                    <a:pt x="46" y="62"/>
                    <a:pt x="47" y="61"/>
                    <a:pt x="47" y="61"/>
                  </a:cubicBezTo>
                  <a:cubicBezTo>
                    <a:pt x="47" y="61"/>
                    <a:pt x="48" y="60"/>
                    <a:pt x="48" y="60"/>
                  </a:cubicBezTo>
                  <a:cubicBezTo>
                    <a:pt x="49" y="61"/>
                    <a:pt x="49" y="61"/>
                    <a:pt x="49" y="61"/>
                  </a:cubicBezTo>
                  <a:cubicBezTo>
                    <a:pt x="50" y="63"/>
                    <a:pt x="51" y="64"/>
                    <a:pt x="54" y="64"/>
                  </a:cubicBezTo>
                  <a:cubicBezTo>
                    <a:pt x="55" y="64"/>
                    <a:pt x="56" y="64"/>
                    <a:pt x="56" y="65"/>
                  </a:cubicBezTo>
                  <a:cubicBezTo>
                    <a:pt x="57" y="65"/>
                    <a:pt x="57" y="65"/>
                    <a:pt x="58" y="65"/>
                  </a:cubicBezTo>
                  <a:cubicBezTo>
                    <a:pt x="56" y="66"/>
                    <a:pt x="54" y="67"/>
                    <a:pt x="52" y="67"/>
                  </a:cubicBezTo>
                  <a:cubicBezTo>
                    <a:pt x="52" y="67"/>
                    <a:pt x="50" y="66"/>
                    <a:pt x="50" y="65"/>
                  </a:cubicBezTo>
                  <a:close/>
                  <a:moveTo>
                    <a:pt x="39" y="48"/>
                  </a:moveTo>
                  <a:cubicBezTo>
                    <a:pt x="39" y="49"/>
                    <a:pt x="39" y="49"/>
                    <a:pt x="38" y="49"/>
                  </a:cubicBezTo>
                  <a:cubicBezTo>
                    <a:pt x="38" y="49"/>
                    <a:pt x="37" y="50"/>
                    <a:pt x="37" y="50"/>
                  </a:cubicBezTo>
                  <a:cubicBezTo>
                    <a:pt x="37" y="49"/>
                    <a:pt x="38" y="49"/>
                    <a:pt x="39" y="48"/>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99" name="Freeform 86">
              <a:extLst>
                <a:ext uri="{FF2B5EF4-FFF2-40B4-BE49-F238E27FC236}">
                  <a16:creationId xmlns:a16="http://schemas.microsoft.com/office/drawing/2014/main" id="{494C8917-A41F-DF40-9427-E38520D06B61}"/>
                </a:ext>
              </a:extLst>
            </p:cNvPr>
            <p:cNvSpPr>
              <a:spLocks/>
            </p:cNvSpPr>
            <p:nvPr/>
          </p:nvSpPr>
          <p:spPr bwMode="auto">
            <a:xfrm>
              <a:off x="16870731" y="3273350"/>
              <a:ext cx="98484" cy="69063"/>
            </a:xfrm>
            <a:custGeom>
              <a:avLst/>
              <a:gdLst>
                <a:gd name="T0" fmla="*/ 17 w 18"/>
                <a:gd name="T1" fmla="*/ 6 h 14"/>
                <a:gd name="T2" fmla="*/ 7 w 18"/>
                <a:gd name="T3" fmla="*/ 0 h 14"/>
                <a:gd name="T4" fmla="*/ 6 w 18"/>
                <a:gd name="T5" fmla="*/ 0 h 14"/>
                <a:gd name="T6" fmla="*/ 1 w 18"/>
                <a:gd name="T7" fmla="*/ 3 h 14"/>
                <a:gd name="T8" fmla="*/ 2 w 18"/>
                <a:gd name="T9" fmla="*/ 8 h 14"/>
                <a:gd name="T10" fmla="*/ 10 w 18"/>
                <a:gd name="T11" fmla="*/ 14 h 14"/>
                <a:gd name="T12" fmla="*/ 11 w 18"/>
                <a:gd name="T13" fmla="*/ 14 h 14"/>
                <a:gd name="T14" fmla="*/ 17 w 18"/>
                <a:gd name="T15" fmla="*/ 11 h 14"/>
                <a:gd name="T16" fmla="*/ 17 w 18"/>
                <a:gd name="T17"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17" y="6"/>
                  </a:moveTo>
                  <a:cubicBezTo>
                    <a:pt x="15" y="3"/>
                    <a:pt x="9" y="1"/>
                    <a:pt x="7" y="0"/>
                  </a:cubicBezTo>
                  <a:cubicBezTo>
                    <a:pt x="6" y="0"/>
                    <a:pt x="6" y="0"/>
                    <a:pt x="6" y="0"/>
                  </a:cubicBezTo>
                  <a:cubicBezTo>
                    <a:pt x="3" y="0"/>
                    <a:pt x="2" y="2"/>
                    <a:pt x="1" y="3"/>
                  </a:cubicBezTo>
                  <a:cubicBezTo>
                    <a:pt x="1" y="4"/>
                    <a:pt x="0" y="6"/>
                    <a:pt x="2" y="8"/>
                  </a:cubicBezTo>
                  <a:cubicBezTo>
                    <a:pt x="3" y="11"/>
                    <a:pt x="7" y="14"/>
                    <a:pt x="10" y="14"/>
                  </a:cubicBezTo>
                  <a:cubicBezTo>
                    <a:pt x="11" y="14"/>
                    <a:pt x="11" y="14"/>
                    <a:pt x="11" y="14"/>
                  </a:cubicBezTo>
                  <a:cubicBezTo>
                    <a:pt x="13" y="14"/>
                    <a:pt x="16" y="13"/>
                    <a:pt x="17" y="11"/>
                  </a:cubicBezTo>
                  <a:cubicBezTo>
                    <a:pt x="18" y="9"/>
                    <a:pt x="18" y="7"/>
                    <a:pt x="17" y="6"/>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200" name="Freeform 88">
              <a:extLst>
                <a:ext uri="{FF2B5EF4-FFF2-40B4-BE49-F238E27FC236}">
                  <a16:creationId xmlns:a16="http://schemas.microsoft.com/office/drawing/2014/main" id="{2FEEA128-8E71-3442-8C27-048514A702D3}"/>
                </a:ext>
              </a:extLst>
            </p:cNvPr>
            <p:cNvSpPr>
              <a:spLocks/>
            </p:cNvSpPr>
            <p:nvPr/>
          </p:nvSpPr>
          <p:spPr bwMode="auto">
            <a:xfrm>
              <a:off x="18255662" y="4785272"/>
              <a:ext cx="96432" cy="69063"/>
            </a:xfrm>
            <a:custGeom>
              <a:avLst/>
              <a:gdLst>
                <a:gd name="T0" fmla="*/ 17 w 18"/>
                <a:gd name="T1" fmla="*/ 7 h 14"/>
                <a:gd name="T2" fmla="*/ 6 w 18"/>
                <a:gd name="T3" fmla="*/ 0 h 14"/>
                <a:gd name="T4" fmla="*/ 2 w 18"/>
                <a:gd name="T5" fmla="*/ 2 h 14"/>
                <a:gd name="T6" fmla="*/ 0 w 18"/>
                <a:gd name="T7" fmla="*/ 7 h 14"/>
                <a:gd name="T8" fmla="*/ 3 w 18"/>
                <a:gd name="T9" fmla="*/ 11 h 14"/>
                <a:gd name="T10" fmla="*/ 5 w 18"/>
                <a:gd name="T11" fmla="*/ 11 h 14"/>
                <a:gd name="T12" fmla="*/ 7 w 18"/>
                <a:gd name="T13" fmla="*/ 11 h 14"/>
                <a:gd name="T14" fmla="*/ 8 w 18"/>
                <a:gd name="T15" fmla="*/ 12 h 14"/>
                <a:gd name="T16" fmla="*/ 13 w 18"/>
                <a:gd name="T17" fmla="*/ 14 h 14"/>
                <a:gd name="T18" fmla="*/ 16 w 18"/>
                <a:gd name="T19" fmla="*/ 13 h 14"/>
                <a:gd name="T20" fmla="*/ 17 w 18"/>
                <a:gd name="T2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4">
                  <a:moveTo>
                    <a:pt x="17" y="7"/>
                  </a:moveTo>
                  <a:cubicBezTo>
                    <a:pt x="16" y="4"/>
                    <a:pt x="11" y="0"/>
                    <a:pt x="6" y="0"/>
                  </a:cubicBezTo>
                  <a:cubicBezTo>
                    <a:pt x="5" y="0"/>
                    <a:pt x="3" y="1"/>
                    <a:pt x="2" y="2"/>
                  </a:cubicBezTo>
                  <a:cubicBezTo>
                    <a:pt x="1" y="3"/>
                    <a:pt x="0" y="5"/>
                    <a:pt x="0" y="7"/>
                  </a:cubicBezTo>
                  <a:cubicBezTo>
                    <a:pt x="0" y="9"/>
                    <a:pt x="1" y="10"/>
                    <a:pt x="3" y="11"/>
                  </a:cubicBezTo>
                  <a:cubicBezTo>
                    <a:pt x="4" y="11"/>
                    <a:pt x="4" y="11"/>
                    <a:pt x="5" y="11"/>
                  </a:cubicBezTo>
                  <a:cubicBezTo>
                    <a:pt x="6" y="11"/>
                    <a:pt x="7" y="11"/>
                    <a:pt x="7" y="11"/>
                  </a:cubicBezTo>
                  <a:cubicBezTo>
                    <a:pt x="8" y="11"/>
                    <a:pt x="8" y="12"/>
                    <a:pt x="8" y="12"/>
                  </a:cubicBezTo>
                  <a:cubicBezTo>
                    <a:pt x="9" y="13"/>
                    <a:pt x="11" y="14"/>
                    <a:pt x="13" y="14"/>
                  </a:cubicBezTo>
                  <a:cubicBezTo>
                    <a:pt x="14" y="14"/>
                    <a:pt x="15" y="13"/>
                    <a:pt x="16" y="13"/>
                  </a:cubicBezTo>
                  <a:cubicBezTo>
                    <a:pt x="18" y="11"/>
                    <a:pt x="18" y="9"/>
                    <a:pt x="17" y="7"/>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201" name="Freeform 90">
              <a:extLst>
                <a:ext uri="{FF2B5EF4-FFF2-40B4-BE49-F238E27FC236}">
                  <a16:creationId xmlns:a16="http://schemas.microsoft.com/office/drawing/2014/main" id="{FC0105F2-6119-C045-A072-25841504CEDA}"/>
                </a:ext>
              </a:extLst>
            </p:cNvPr>
            <p:cNvSpPr>
              <a:spLocks/>
            </p:cNvSpPr>
            <p:nvPr/>
          </p:nvSpPr>
          <p:spPr bwMode="auto">
            <a:xfrm>
              <a:off x="17256460" y="3695195"/>
              <a:ext cx="110794" cy="98928"/>
            </a:xfrm>
            <a:custGeom>
              <a:avLst/>
              <a:gdLst>
                <a:gd name="T0" fmla="*/ 19 w 20"/>
                <a:gd name="T1" fmla="*/ 4 h 20"/>
                <a:gd name="T2" fmla="*/ 12 w 20"/>
                <a:gd name="T3" fmla="*/ 0 h 20"/>
                <a:gd name="T4" fmla="*/ 1 w 20"/>
                <a:gd name="T5" fmla="*/ 10 h 20"/>
                <a:gd name="T6" fmla="*/ 8 w 20"/>
                <a:gd name="T7" fmla="*/ 20 h 20"/>
                <a:gd name="T8" fmla="*/ 11 w 20"/>
                <a:gd name="T9" fmla="*/ 20 h 20"/>
                <a:gd name="T10" fmla="*/ 11 w 20"/>
                <a:gd name="T11" fmla="*/ 20 h 20"/>
                <a:gd name="T12" fmla="*/ 18 w 20"/>
                <a:gd name="T13" fmla="*/ 16 h 20"/>
                <a:gd name="T14" fmla="*/ 19 w 20"/>
                <a:gd name="T15" fmla="*/ 4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0">
                  <a:moveTo>
                    <a:pt x="19" y="4"/>
                  </a:moveTo>
                  <a:cubicBezTo>
                    <a:pt x="17" y="0"/>
                    <a:pt x="14" y="0"/>
                    <a:pt x="12" y="0"/>
                  </a:cubicBezTo>
                  <a:cubicBezTo>
                    <a:pt x="7" y="0"/>
                    <a:pt x="2" y="6"/>
                    <a:pt x="1" y="10"/>
                  </a:cubicBezTo>
                  <a:cubicBezTo>
                    <a:pt x="0" y="15"/>
                    <a:pt x="2" y="18"/>
                    <a:pt x="8" y="20"/>
                  </a:cubicBezTo>
                  <a:cubicBezTo>
                    <a:pt x="9" y="20"/>
                    <a:pt x="10" y="20"/>
                    <a:pt x="11" y="20"/>
                  </a:cubicBezTo>
                  <a:cubicBezTo>
                    <a:pt x="11" y="20"/>
                    <a:pt x="11" y="20"/>
                    <a:pt x="11" y="20"/>
                  </a:cubicBezTo>
                  <a:cubicBezTo>
                    <a:pt x="14" y="20"/>
                    <a:pt x="16" y="19"/>
                    <a:pt x="18" y="16"/>
                  </a:cubicBezTo>
                  <a:cubicBezTo>
                    <a:pt x="20" y="13"/>
                    <a:pt x="20" y="8"/>
                    <a:pt x="19" y="4"/>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202" name="Freeform 92">
              <a:extLst>
                <a:ext uri="{FF2B5EF4-FFF2-40B4-BE49-F238E27FC236}">
                  <a16:creationId xmlns:a16="http://schemas.microsoft.com/office/drawing/2014/main" id="{3C6BACD8-C97A-EC41-8982-C762E0AFA3F7}"/>
                </a:ext>
              </a:extLst>
            </p:cNvPr>
            <p:cNvSpPr>
              <a:spLocks noEditPoints="1"/>
            </p:cNvSpPr>
            <p:nvPr/>
          </p:nvSpPr>
          <p:spPr bwMode="auto">
            <a:xfrm>
              <a:off x="17334426" y="3450674"/>
              <a:ext cx="385729" cy="391980"/>
            </a:xfrm>
            <a:custGeom>
              <a:avLst/>
              <a:gdLst>
                <a:gd name="T0" fmla="*/ 69 w 71"/>
                <a:gd name="T1" fmla="*/ 23 h 79"/>
                <a:gd name="T2" fmla="*/ 60 w 71"/>
                <a:gd name="T3" fmla="*/ 11 h 79"/>
                <a:gd name="T4" fmla="*/ 54 w 71"/>
                <a:gd name="T5" fmla="*/ 12 h 79"/>
                <a:gd name="T6" fmla="*/ 46 w 71"/>
                <a:gd name="T7" fmla="*/ 9 h 79"/>
                <a:gd name="T8" fmla="*/ 41 w 71"/>
                <a:gd name="T9" fmla="*/ 3 h 79"/>
                <a:gd name="T10" fmla="*/ 35 w 71"/>
                <a:gd name="T11" fmla="*/ 5 h 79"/>
                <a:gd name="T12" fmla="*/ 34 w 71"/>
                <a:gd name="T13" fmla="*/ 6 h 79"/>
                <a:gd name="T14" fmla="*/ 31 w 71"/>
                <a:gd name="T15" fmla="*/ 13 h 79"/>
                <a:gd name="T16" fmla="*/ 29 w 71"/>
                <a:gd name="T17" fmla="*/ 13 h 79"/>
                <a:gd name="T18" fmla="*/ 23 w 71"/>
                <a:gd name="T19" fmla="*/ 21 h 79"/>
                <a:gd name="T20" fmla="*/ 19 w 71"/>
                <a:gd name="T21" fmla="*/ 17 h 79"/>
                <a:gd name="T22" fmla="*/ 19 w 71"/>
                <a:gd name="T23" fmla="*/ 9 h 79"/>
                <a:gd name="T24" fmla="*/ 15 w 71"/>
                <a:gd name="T25" fmla="*/ 5 h 79"/>
                <a:gd name="T26" fmla="*/ 11 w 71"/>
                <a:gd name="T27" fmla="*/ 1 h 79"/>
                <a:gd name="T28" fmla="*/ 2 w 71"/>
                <a:gd name="T29" fmla="*/ 3 h 79"/>
                <a:gd name="T30" fmla="*/ 2 w 71"/>
                <a:gd name="T31" fmla="*/ 11 h 79"/>
                <a:gd name="T32" fmla="*/ 2 w 71"/>
                <a:gd name="T33" fmla="*/ 16 h 79"/>
                <a:gd name="T34" fmla="*/ 2 w 71"/>
                <a:gd name="T35" fmla="*/ 23 h 79"/>
                <a:gd name="T36" fmla="*/ 6 w 71"/>
                <a:gd name="T37" fmla="*/ 31 h 79"/>
                <a:gd name="T38" fmla="*/ 10 w 71"/>
                <a:gd name="T39" fmla="*/ 40 h 79"/>
                <a:gd name="T40" fmla="*/ 11 w 71"/>
                <a:gd name="T41" fmla="*/ 41 h 79"/>
                <a:gd name="T42" fmla="*/ 13 w 71"/>
                <a:gd name="T43" fmla="*/ 47 h 79"/>
                <a:gd name="T44" fmla="*/ 19 w 71"/>
                <a:gd name="T45" fmla="*/ 52 h 79"/>
                <a:gd name="T46" fmla="*/ 26 w 71"/>
                <a:gd name="T47" fmla="*/ 51 h 79"/>
                <a:gd name="T48" fmla="*/ 33 w 71"/>
                <a:gd name="T49" fmla="*/ 52 h 79"/>
                <a:gd name="T50" fmla="*/ 39 w 71"/>
                <a:gd name="T51" fmla="*/ 51 h 79"/>
                <a:gd name="T52" fmla="*/ 40 w 71"/>
                <a:gd name="T53" fmla="*/ 51 h 79"/>
                <a:gd name="T54" fmla="*/ 31 w 71"/>
                <a:gd name="T55" fmla="*/ 58 h 79"/>
                <a:gd name="T56" fmla="*/ 31 w 71"/>
                <a:gd name="T57" fmla="*/ 65 h 79"/>
                <a:gd name="T58" fmla="*/ 31 w 71"/>
                <a:gd name="T59" fmla="*/ 71 h 79"/>
                <a:gd name="T60" fmla="*/ 37 w 71"/>
                <a:gd name="T61" fmla="*/ 78 h 79"/>
                <a:gd name="T62" fmla="*/ 41 w 71"/>
                <a:gd name="T63" fmla="*/ 77 h 79"/>
                <a:gd name="T64" fmla="*/ 42 w 71"/>
                <a:gd name="T65" fmla="*/ 77 h 79"/>
                <a:gd name="T66" fmla="*/ 47 w 71"/>
                <a:gd name="T67" fmla="*/ 79 h 79"/>
                <a:gd name="T68" fmla="*/ 53 w 71"/>
                <a:gd name="T69" fmla="*/ 79 h 79"/>
                <a:gd name="T70" fmla="*/ 58 w 71"/>
                <a:gd name="T71" fmla="*/ 78 h 79"/>
                <a:gd name="T72" fmla="*/ 62 w 71"/>
                <a:gd name="T73" fmla="*/ 67 h 79"/>
                <a:gd name="T74" fmla="*/ 63 w 71"/>
                <a:gd name="T75" fmla="*/ 62 h 79"/>
                <a:gd name="T76" fmla="*/ 67 w 71"/>
                <a:gd name="T77" fmla="*/ 51 h 79"/>
                <a:gd name="T78" fmla="*/ 66 w 71"/>
                <a:gd name="T79" fmla="*/ 46 h 79"/>
                <a:gd name="T80" fmla="*/ 69 w 71"/>
                <a:gd name="T81" fmla="*/ 39 h 79"/>
                <a:gd name="T82" fmla="*/ 23 w 71"/>
                <a:gd name="T83" fmla="*/ 25 h 79"/>
                <a:gd name="T84" fmla="*/ 23 w 71"/>
                <a:gd name="T85" fmla="*/ 26 h 79"/>
                <a:gd name="T86" fmla="*/ 23 w 71"/>
                <a:gd name="T87" fmla="*/ 25 h 79"/>
                <a:gd name="T88" fmla="*/ 35 w 71"/>
                <a:gd name="T89" fmla="*/ 16 h 79"/>
                <a:gd name="T90" fmla="*/ 35 w 71"/>
                <a:gd name="T91" fmla="*/ 16 h 79"/>
                <a:gd name="T92" fmla="*/ 40 w 71"/>
                <a:gd name="T93" fmla="*/ 28 h 79"/>
                <a:gd name="T94" fmla="*/ 37 w 71"/>
                <a:gd name="T95" fmla="*/ 22 h 79"/>
                <a:gd name="T96" fmla="*/ 36 w 71"/>
                <a:gd name="T97" fmla="*/ 18 h 79"/>
                <a:gd name="T98" fmla="*/ 40 w 71"/>
                <a:gd name="T99" fmla="*/ 22 h 79"/>
                <a:gd name="T100" fmla="*/ 43 w 71"/>
                <a:gd name="T101" fmla="*/ 3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79">
                  <a:moveTo>
                    <a:pt x="69" y="26"/>
                  </a:moveTo>
                  <a:cubicBezTo>
                    <a:pt x="69" y="25"/>
                    <a:pt x="69" y="24"/>
                    <a:pt x="69" y="23"/>
                  </a:cubicBezTo>
                  <a:cubicBezTo>
                    <a:pt x="68" y="20"/>
                    <a:pt x="68" y="18"/>
                    <a:pt x="67" y="16"/>
                  </a:cubicBezTo>
                  <a:cubicBezTo>
                    <a:pt x="66" y="13"/>
                    <a:pt x="63" y="11"/>
                    <a:pt x="60" y="11"/>
                  </a:cubicBezTo>
                  <a:cubicBezTo>
                    <a:pt x="58" y="11"/>
                    <a:pt x="57" y="11"/>
                    <a:pt x="55" y="12"/>
                  </a:cubicBezTo>
                  <a:cubicBezTo>
                    <a:pt x="55" y="12"/>
                    <a:pt x="54" y="12"/>
                    <a:pt x="54" y="12"/>
                  </a:cubicBezTo>
                  <a:cubicBezTo>
                    <a:pt x="52" y="10"/>
                    <a:pt x="51" y="9"/>
                    <a:pt x="47" y="8"/>
                  </a:cubicBezTo>
                  <a:cubicBezTo>
                    <a:pt x="47" y="8"/>
                    <a:pt x="47" y="9"/>
                    <a:pt x="46" y="9"/>
                  </a:cubicBezTo>
                  <a:cubicBezTo>
                    <a:pt x="47" y="7"/>
                    <a:pt x="46" y="6"/>
                    <a:pt x="46" y="5"/>
                  </a:cubicBezTo>
                  <a:cubicBezTo>
                    <a:pt x="45" y="3"/>
                    <a:pt x="43" y="3"/>
                    <a:pt x="41" y="3"/>
                  </a:cubicBezTo>
                  <a:cubicBezTo>
                    <a:pt x="39" y="3"/>
                    <a:pt x="38" y="3"/>
                    <a:pt x="36" y="4"/>
                  </a:cubicBezTo>
                  <a:cubicBezTo>
                    <a:pt x="36" y="4"/>
                    <a:pt x="36" y="5"/>
                    <a:pt x="35" y="5"/>
                  </a:cubicBezTo>
                  <a:cubicBezTo>
                    <a:pt x="35" y="5"/>
                    <a:pt x="35" y="5"/>
                    <a:pt x="35" y="6"/>
                  </a:cubicBezTo>
                  <a:cubicBezTo>
                    <a:pt x="34" y="6"/>
                    <a:pt x="34" y="6"/>
                    <a:pt x="34" y="6"/>
                  </a:cubicBezTo>
                  <a:cubicBezTo>
                    <a:pt x="33" y="6"/>
                    <a:pt x="32" y="7"/>
                    <a:pt x="31" y="8"/>
                  </a:cubicBezTo>
                  <a:cubicBezTo>
                    <a:pt x="30" y="9"/>
                    <a:pt x="30" y="11"/>
                    <a:pt x="31" y="13"/>
                  </a:cubicBezTo>
                  <a:cubicBezTo>
                    <a:pt x="31" y="13"/>
                    <a:pt x="31" y="13"/>
                    <a:pt x="31" y="13"/>
                  </a:cubicBezTo>
                  <a:cubicBezTo>
                    <a:pt x="31" y="13"/>
                    <a:pt x="30" y="13"/>
                    <a:pt x="29" y="13"/>
                  </a:cubicBezTo>
                  <a:cubicBezTo>
                    <a:pt x="28" y="13"/>
                    <a:pt x="26" y="14"/>
                    <a:pt x="25" y="15"/>
                  </a:cubicBezTo>
                  <a:cubicBezTo>
                    <a:pt x="24" y="16"/>
                    <a:pt x="23" y="19"/>
                    <a:pt x="23" y="21"/>
                  </a:cubicBezTo>
                  <a:cubicBezTo>
                    <a:pt x="23" y="20"/>
                    <a:pt x="23" y="19"/>
                    <a:pt x="22" y="19"/>
                  </a:cubicBezTo>
                  <a:cubicBezTo>
                    <a:pt x="22" y="18"/>
                    <a:pt x="20" y="17"/>
                    <a:pt x="19" y="17"/>
                  </a:cubicBezTo>
                  <a:cubicBezTo>
                    <a:pt x="19" y="17"/>
                    <a:pt x="19" y="16"/>
                    <a:pt x="20" y="16"/>
                  </a:cubicBezTo>
                  <a:cubicBezTo>
                    <a:pt x="20" y="14"/>
                    <a:pt x="20" y="11"/>
                    <a:pt x="19" y="9"/>
                  </a:cubicBezTo>
                  <a:cubicBezTo>
                    <a:pt x="18" y="8"/>
                    <a:pt x="17" y="7"/>
                    <a:pt x="16" y="7"/>
                  </a:cubicBezTo>
                  <a:cubicBezTo>
                    <a:pt x="16" y="6"/>
                    <a:pt x="16" y="6"/>
                    <a:pt x="15" y="5"/>
                  </a:cubicBezTo>
                  <a:cubicBezTo>
                    <a:pt x="15" y="5"/>
                    <a:pt x="15" y="5"/>
                    <a:pt x="15" y="5"/>
                  </a:cubicBezTo>
                  <a:cubicBezTo>
                    <a:pt x="14" y="3"/>
                    <a:pt x="13" y="2"/>
                    <a:pt x="11" y="1"/>
                  </a:cubicBezTo>
                  <a:cubicBezTo>
                    <a:pt x="10" y="1"/>
                    <a:pt x="9" y="0"/>
                    <a:pt x="8" y="0"/>
                  </a:cubicBezTo>
                  <a:cubicBezTo>
                    <a:pt x="5" y="0"/>
                    <a:pt x="3" y="1"/>
                    <a:pt x="2" y="3"/>
                  </a:cubicBezTo>
                  <a:cubicBezTo>
                    <a:pt x="0" y="5"/>
                    <a:pt x="0" y="8"/>
                    <a:pt x="1" y="10"/>
                  </a:cubicBezTo>
                  <a:cubicBezTo>
                    <a:pt x="1" y="11"/>
                    <a:pt x="2" y="11"/>
                    <a:pt x="2" y="11"/>
                  </a:cubicBezTo>
                  <a:cubicBezTo>
                    <a:pt x="2" y="12"/>
                    <a:pt x="2" y="12"/>
                    <a:pt x="2" y="12"/>
                  </a:cubicBezTo>
                  <a:cubicBezTo>
                    <a:pt x="2" y="13"/>
                    <a:pt x="2" y="15"/>
                    <a:pt x="2" y="16"/>
                  </a:cubicBezTo>
                  <a:cubicBezTo>
                    <a:pt x="3" y="17"/>
                    <a:pt x="4" y="18"/>
                    <a:pt x="5" y="19"/>
                  </a:cubicBezTo>
                  <a:cubicBezTo>
                    <a:pt x="3" y="20"/>
                    <a:pt x="2" y="22"/>
                    <a:pt x="2" y="23"/>
                  </a:cubicBezTo>
                  <a:cubicBezTo>
                    <a:pt x="1" y="26"/>
                    <a:pt x="2" y="28"/>
                    <a:pt x="3" y="29"/>
                  </a:cubicBezTo>
                  <a:cubicBezTo>
                    <a:pt x="4" y="30"/>
                    <a:pt x="5" y="31"/>
                    <a:pt x="6" y="31"/>
                  </a:cubicBezTo>
                  <a:cubicBezTo>
                    <a:pt x="6" y="32"/>
                    <a:pt x="5" y="33"/>
                    <a:pt x="6" y="35"/>
                  </a:cubicBezTo>
                  <a:cubicBezTo>
                    <a:pt x="6" y="37"/>
                    <a:pt x="8" y="39"/>
                    <a:pt x="10" y="40"/>
                  </a:cubicBezTo>
                  <a:cubicBezTo>
                    <a:pt x="11" y="40"/>
                    <a:pt x="11" y="40"/>
                    <a:pt x="11" y="40"/>
                  </a:cubicBezTo>
                  <a:cubicBezTo>
                    <a:pt x="11" y="40"/>
                    <a:pt x="11" y="41"/>
                    <a:pt x="11" y="41"/>
                  </a:cubicBezTo>
                  <a:cubicBezTo>
                    <a:pt x="12" y="42"/>
                    <a:pt x="13" y="42"/>
                    <a:pt x="14" y="43"/>
                  </a:cubicBezTo>
                  <a:cubicBezTo>
                    <a:pt x="13" y="44"/>
                    <a:pt x="13" y="45"/>
                    <a:pt x="13" y="47"/>
                  </a:cubicBezTo>
                  <a:cubicBezTo>
                    <a:pt x="14" y="48"/>
                    <a:pt x="15" y="51"/>
                    <a:pt x="18" y="52"/>
                  </a:cubicBezTo>
                  <a:cubicBezTo>
                    <a:pt x="18" y="52"/>
                    <a:pt x="19" y="52"/>
                    <a:pt x="19" y="52"/>
                  </a:cubicBezTo>
                  <a:cubicBezTo>
                    <a:pt x="20" y="52"/>
                    <a:pt x="22" y="52"/>
                    <a:pt x="23" y="52"/>
                  </a:cubicBezTo>
                  <a:cubicBezTo>
                    <a:pt x="24" y="51"/>
                    <a:pt x="25" y="51"/>
                    <a:pt x="26" y="51"/>
                  </a:cubicBezTo>
                  <a:cubicBezTo>
                    <a:pt x="27" y="51"/>
                    <a:pt x="28" y="51"/>
                    <a:pt x="29" y="52"/>
                  </a:cubicBezTo>
                  <a:cubicBezTo>
                    <a:pt x="30" y="52"/>
                    <a:pt x="31" y="52"/>
                    <a:pt x="33" y="52"/>
                  </a:cubicBezTo>
                  <a:cubicBezTo>
                    <a:pt x="34" y="52"/>
                    <a:pt x="35" y="51"/>
                    <a:pt x="37" y="51"/>
                  </a:cubicBezTo>
                  <a:cubicBezTo>
                    <a:pt x="38" y="51"/>
                    <a:pt x="38" y="51"/>
                    <a:pt x="39" y="51"/>
                  </a:cubicBezTo>
                  <a:cubicBezTo>
                    <a:pt x="39" y="51"/>
                    <a:pt x="39" y="51"/>
                    <a:pt x="39" y="51"/>
                  </a:cubicBezTo>
                  <a:cubicBezTo>
                    <a:pt x="40" y="51"/>
                    <a:pt x="40" y="51"/>
                    <a:pt x="40" y="51"/>
                  </a:cubicBezTo>
                  <a:cubicBezTo>
                    <a:pt x="40" y="52"/>
                    <a:pt x="38" y="52"/>
                    <a:pt x="37" y="53"/>
                  </a:cubicBezTo>
                  <a:cubicBezTo>
                    <a:pt x="35" y="54"/>
                    <a:pt x="33" y="55"/>
                    <a:pt x="31" y="58"/>
                  </a:cubicBezTo>
                  <a:cubicBezTo>
                    <a:pt x="30" y="60"/>
                    <a:pt x="31" y="62"/>
                    <a:pt x="31" y="63"/>
                  </a:cubicBezTo>
                  <a:cubicBezTo>
                    <a:pt x="31" y="64"/>
                    <a:pt x="31" y="64"/>
                    <a:pt x="31" y="65"/>
                  </a:cubicBezTo>
                  <a:cubicBezTo>
                    <a:pt x="31" y="66"/>
                    <a:pt x="31" y="67"/>
                    <a:pt x="31" y="68"/>
                  </a:cubicBezTo>
                  <a:cubicBezTo>
                    <a:pt x="31" y="69"/>
                    <a:pt x="31" y="70"/>
                    <a:pt x="31" y="71"/>
                  </a:cubicBezTo>
                  <a:cubicBezTo>
                    <a:pt x="31" y="73"/>
                    <a:pt x="31" y="75"/>
                    <a:pt x="32" y="76"/>
                  </a:cubicBezTo>
                  <a:cubicBezTo>
                    <a:pt x="33" y="77"/>
                    <a:pt x="35" y="78"/>
                    <a:pt x="37" y="78"/>
                  </a:cubicBezTo>
                  <a:cubicBezTo>
                    <a:pt x="38" y="78"/>
                    <a:pt x="39" y="77"/>
                    <a:pt x="40" y="77"/>
                  </a:cubicBezTo>
                  <a:cubicBezTo>
                    <a:pt x="41" y="77"/>
                    <a:pt x="41" y="77"/>
                    <a:pt x="41" y="77"/>
                  </a:cubicBezTo>
                  <a:cubicBezTo>
                    <a:pt x="41" y="77"/>
                    <a:pt x="41" y="77"/>
                    <a:pt x="41" y="77"/>
                  </a:cubicBezTo>
                  <a:cubicBezTo>
                    <a:pt x="41" y="77"/>
                    <a:pt x="42" y="77"/>
                    <a:pt x="42" y="77"/>
                  </a:cubicBezTo>
                  <a:cubicBezTo>
                    <a:pt x="43" y="78"/>
                    <a:pt x="44" y="79"/>
                    <a:pt x="46" y="79"/>
                  </a:cubicBezTo>
                  <a:cubicBezTo>
                    <a:pt x="47" y="79"/>
                    <a:pt x="47" y="79"/>
                    <a:pt x="47" y="79"/>
                  </a:cubicBezTo>
                  <a:cubicBezTo>
                    <a:pt x="48" y="79"/>
                    <a:pt x="49" y="79"/>
                    <a:pt x="50" y="79"/>
                  </a:cubicBezTo>
                  <a:cubicBezTo>
                    <a:pt x="51" y="79"/>
                    <a:pt x="52" y="79"/>
                    <a:pt x="53" y="79"/>
                  </a:cubicBezTo>
                  <a:cubicBezTo>
                    <a:pt x="53" y="79"/>
                    <a:pt x="53" y="79"/>
                    <a:pt x="53" y="79"/>
                  </a:cubicBezTo>
                  <a:cubicBezTo>
                    <a:pt x="55" y="79"/>
                    <a:pt x="57" y="79"/>
                    <a:pt x="58" y="78"/>
                  </a:cubicBezTo>
                  <a:cubicBezTo>
                    <a:pt x="61" y="76"/>
                    <a:pt x="62" y="72"/>
                    <a:pt x="62" y="70"/>
                  </a:cubicBezTo>
                  <a:cubicBezTo>
                    <a:pt x="62" y="69"/>
                    <a:pt x="62" y="68"/>
                    <a:pt x="62" y="67"/>
                  </a:cubicBezTo>
                  <a:cubicBezTo>
                    <a:pt x="62" y="65"/>
                    <a:pt x="62" y="64"/>
                    <a:pt x="62" y="64"/>
                  </a:cubicBezTo>
                  <a:cubicBezTo>
                    <a:pt x="62" y="63"/>
                    <a:pt x="63" y="63"/>
                    <a:pt x="63" y="62"/>
                  </a:cubicBezTo>
                  <a:cubicBezTo>
                    <a:pt x="64" y="62"/>
                    <a:pt x="65" y="61"/>
                    <a:pt x="65" y="60"/>
                  </a:cubicBezTo>
                  <a:cubicBezTo>
                    <a:pt x="68" y="57"/>
                    <a:pt x="67" y="54"/>
                    <a:pt x="67" y="51"/>
                  </a:cubicBezTo>
                  <a:cubicBezTo>
                    <a:pt x="67" y="51"/>
                    <a:pt x="67" y="50"/>
                    <a:pt x="67" y="50"/>
                  </a:cubicBezTo>
                  <a:cubicBezTo>
                    <a:pt x="66" y="48"/>
                    <a:pt x="66" y="47"/>
                    <a:pt x="66" y="46"/>
                  </a:cubicBezTo>
                  <a:cubicBezTo>
                    <a:pt x="67" y="45"/>
                    <a:pt x="67" y="44"/>
                    <a:pt x="68" y="42"/>
                  </a:cubicBezTo>
                  <a:cubicBezTo>
                    <a:pt x="68" y="41"/>
                    <a:pt x="69" y="40"/>
                    <a:pt x="69" y="39"/>
                  </a:cubicBezTo>
                  <a:cubicBezTo>
                    <a:pt x="71" y="34"/>
                    <a:pt x="70" y="30"/>
                    <a:pt x="69" y="26"/>
                  </a:cubicBezTo>
                  <a:close/>
                  <a:moveTo>
                    <a:pt x="23" y="25"/>
                  </a:moveTo>
                  <a:cubicBezTo>
                    <a:pt x="23" y="26"/>
                    <a:pt x="23" y="26"/>
                    <a:pt x="23" y="27"/>
                  </a:cubicBezTo>
                  <a:cubicBezTo>
                    <a:pt x="23" y="27"/>
                    <a:pt x="23" y="26"/>
                    <a:pt x="23" y="26"/>
                  </a:cubicBezTo>
                  <a:cubicBezTo>
                    <a:pt x="23" y="26"/>
                    <a:pt x="23" y="25"/>
                    <a:pt x="23" y="25"/>
                  </a:cubicBezTo>
                  <a:cubicBezTo>
                    <a:pt x="23" y="25"/>
                    <a:pt x="23" y="25"/>
                    <a:pt x="23" y="25"/>
                  </a:cubicBezTo>
                  <a:close/>
                  <a:moveTo>
                    <a:pt x="35" y="16"/>
                  </a:moveTo>
                  <a:cubicBezTo>
                    <a:pt x="35" y="16"/>
                    <a:pt x="35" y="16"/>
                    <a:pt x="35" y="16"/>
                  </a:cubicBezTo>
                  <a:cubicBezTo>
                    <a:pt x="35" y="16"/>
                    <a:pt x="35" y="17"/>
                    <a:pt x="35" y="17"/>
                  </a:cubicBezTo>
                  <a:cubicBezTo>
                    <a:pt x="35" y="17"/>
                    <a:pt x="35" y="16"/>
                    <a:pt x="35" y="16"/>
                  </a:cubicBezTo>
                  <a:close/>
                  <a:moveTo>
                    <a:pt x="43" y="30"/>
                  </a:moveTo>
                  <a:cubicBezTo>
                    <a:pt x="42" y="29"/>
                    <a:pt x="41" y="29"/>
                    <a:pt x="40" y="28"/>
                  </a:cubicBezTo>
                  <a:cubicBezTo>
                    <a:pt x="40" y="27"/>
                    <a:pt x="40" y="27"/>
                    <a:pt x="39" y="26"/>
                  </a:cubicBezTo>
                  <a:cubicBezTo>
                    <a:pt x="38" y="25"/>
                    <a:pt x="37" y="23"/>
                    <a:pt x="37" y="22"/>
                  </a:cubicBezTo>
                  <a:cubicBezTo>
                    <a:pt x="36" y="21"/>
                    <a:pt x="36" y="21"/>
                    <a:pt x="36" y="20"/>
                  </a:cubicBezTo>
                  <a:cubicBezTo>
                    <a:pt x="36" y="20"/>
                    <a:pt x="36" y="19"/>
                    <a:pt x="36" y="18"/>
                  </a:cubicBezTo>
                  <a:cubicBezTo>
                    <a:pt x="36" y="19"/>
                    <a:pt x="36" y="19"/>
                    <a:pt x="36" y="20"/>
                  </a:cubicBezTo>
                  <a:cubicBezTo>
                    <a:pt x="37" y="21"/>
                    <a:pt x="39" y="22"/>
                    <a:pt x="40" y="22"/>
                  </a:cubicBezTo>
                  <a:cubicBezTo>
                    <a:pt x="40" y="23"/>
                    <a:pt x="40" y="23"/>
                    <a:pt x="40" y="23"/>
                  </a:cubicBezTo>
                  <a:cubicBezTo>
                    <a:pt x="43" y="23"/>
                    <a:pt x="43" y="27"/>
                    <a:pt x="43" y="30"/>
                  </a:cubicBezTo>
                  <a:close/>
                </a:path>
              </a:pathLst>
            </a:custGeom>
            <a:grpFill/>
            <a:ln w="4763" cap="rnd">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203" name="Freeform 27">
              <a:extLst>
                <a:ext uri="{FF2B5EF4-FFF2-40B4-BE49-F238E27FC236}">
                  <a16:creationId xmlns:a16="http://schemas.microsoft.com/office/drawing/2014/main" id="{32B5F547-50AA-7940-AD4D-38524B7AFDB0}"/>
                </a:ext>
              </a:extLst>
            </p:cNvPr>
            <p:cNvSpPr>
              <a:spLocks noEditPoints="1"/>
            </p:cNvSpPr>
            <p:nvPr/>
          </p:nvSpPr>
          <p:spPr bwMode="auto">
            <a:xfrm>
              <a:off x="14109676" y="4001313"/>
              <a:ext cx="4704662" cy="2713993"/>
            </a:xfrm>
            <a:custGeom>
              <a:avLst/>
              <a:gdLst>
                <a:gd name="T0" fmla="*/ 834 w 863"/>
                <a:gd name="T1" fmla="*/ 311 h 547"/>
                <a:gd name="T2" fmla="*/ 792 w 863"/>
                <a:gd name="T3" fmla="*/ 284 h 547"/>
                <a:gd name="T4" fmla="*/ 774 w 863"/>
                <a:gd name="T5" fmla="*/ 241 h 547"/>
                <a:gd name="T6" fmla="*/ 848 w 863"/>
                <a:gd name="T7" fmla="*/ 263 h 547"/>
                <a:gd name="T8" fmla="*/ 847 w 863"/>
                <a:gd name="T9" fmla="*/ 195 h 547"/>
                <a:gd name="T10" fmla="*/ 790 w 863"/>
                <a:gd name="T11" fmla="*/ 178 h 547"/>
                <a:gd name="T12" fmla="*/ 735 w 863"/>
                <a:gd name="T13" fmla="*/ 169 h 547"/>
                <a:gd name="T14" fmla="*/ 725 w 863"/>
                <a:gd name="T15" fmla="*/ 129 h 547"/>
                <a:gd name="T16" fmla="*/ 689 w 863"/>
                <a:gd name="T17" fmla="*/ 93 h 547"/>
                <a:gd name="T18" fmla="*/ 665 w 863"/>
                <a:gd name="T19" fmla="*/ 87 h 547"/>
                <a:gd name="T20" fmla="*/ 614 w 863"/>
                <a:gd name="T21" fmla="*/ 63 h 547"/>
                <a:gd name="T22" fmla="*/ 550 w 863"/>
                <a:gd name="T23" fmla="*/ 63 h 547"/>
                <a:gd name="T24" fmla="*/ 523 w 863"/>
                <a:gd name="T25" fmla="*/ 14 h 547"/>
                <a:gd name="T26" fmla="*/ 480 w 863"/>
                <a:gd name="T27" fmla="*/ 95 h 547"/>
                <a:gd name="T28" fmla="*/ 467 w 863"/>
                <a:gd name="T29" fmla="*/ 13 h 547"/>
                <a:gd name="T30" fmla="*/ 446 w 863"/>
                <a:gd name="T31" fmla="*/ 151 h 547"/>
                <a:gd name="T32" fmla="*/ 494 w 863"/>
                <a:gd name="T33" fmla="*/ 169 h 547"/>
                <a:gd name="T34" fmla="*/ 483 w 863"/>
                <a:gd name="T35" fmla="*/ 244 h 547"/>
                <a:gd name="T36" fmla="*/ 462 w 863"/>
                <a:gd name="T37" fmla="*/ 226 h 547"/>
                <a:gd name="T38" fmla="*/ 428 w 863"/>
                <a:gd name="T39" fmla="*/ 227 h 547"/>
                <a:gd name="T40" fmla="*/ 397 w 863"/>
                <a:gd name="T41" fmla="*/ 176 h 547"/>
                <a:gd name="T42" fmla="*/ 394 w 863"/>
                <a:gd name="T43" fmla="*/ 112 h 547"/>
                <a:gd name="T44" fmla="*/ 424 w 863"/>
                <a:gd name="T45" fmla="*/ 35 h 547"/>
                <a:gd name="T46" fmla="*/ 364 w 863"/>
                <a:gd name="T47" fmla="*/ 58 h 547"/>
                <a:gd name="T48" fmla="*/ 346 w 863"/>
                <a:gd name="T49" fmla="*/ 121 h 547"/>
                <a:gd name="T50" fmla="*/ 368 w 863"/>
                <a:gd name="T51" fmla="*/ 186 h 547"/>
                <a:gd name="T52" fmla="*/ 376 w 863"/>
                <a:gd name="T53" fmla="*/ 219 h 547"/>
                <a:gd name="T54" fmla="*/ 348 w 863"/>
                <a:gd name="T55" fmla="*/ 269 h 547"/>
                <a:gd name="T56" fmla="*/ 338 w 863"/>
                <a:gd name="T57" fmla="*/ 226 h 547"/>
                <a:gd name="T58" fmla="*/ 315 w 863"/>
                <a:gd name="T59" fmla="*/ 242 h 547"/>
                <a:gd name="T60" fmla="*/ 293 w 863"/>
                <a:gd name="T61" fmla="*/ 239 h 547"/>
                <a:gd name="T62" fmla="*/ 246 w 863"/>
                <a:gd name="T63" fmla="*/ 229 h 547"/>
                <a:gd name="T64" fmla="*/ 205 w 863"/>
                <a:gd name="T65" fmla="*/ 179 h 547"/>
                <a:gd name="T66" fmla="*/ 188 w 863"/>
                <a:gd name="T67" fmla="*/ 204 h 547"/>
                <a:gd name="T68" fmla="*/ 162 w 863"/>
                <a:gd name="T69" fmla="*/ 247 h 547"/>
                <a:gd name="T70" fmla="*/ 132 w 863"/>
                <a:gd name="T71" fmla="*/ 198 h 547"/>
                <a:gd name="T72" fmla="*/ 81 w 863"/>
                <a:gd name="T73" fmla="*/ 180 h 547"/>
                <a:gd name="T74" fmla="*/ 71 w 863"/>
                <a:gd name="T75" fmla="*/ 129 h 547"/>
                <a:gd name="T76" fmla="*/ 339 w 863"/>
                <a:gd name="T77" fmla="*/ 547 h 547"/>
                <a:gd name="T78" fmla="*/ 370 w 863"/>
                <a:gd name="T79" fmla="*/ 480 h 547"/>
                <a:gd name="T80" fmla="*/ 403 w 863"/>
                <a:gd name="T81" fmla="*/ 448 h 547"/>
                <a:gd name="T82" fmla="*/ 466 w 863"/>
                <a:gd name="T83" fmla="*/ 385 h 547"/>
                <a:gd name="T84" fmla="*/ 489 w 863"/>
                <a:gd name="T85" fmla="*/ 308 h 547"/>
                <a:gd name="T86" fmla="*/ 526 w 863"/>
                <a:gd name="T87" fmla="*/ 303 h 547"/>
                <a:gd name="T88" fmla="*/ 552 w 863"/>
                <a:gd name="T89" fmla="*/ 244 h 547"/>
                <a:gd name="T90" fmla="*/ 538 w 863"/>
                <a:gd name="T91" fmla="*/ 185 h 547"/>
                <a:gd name="T92" fmla="*/ 531 w 863"/>
                <a:gd name="T93" fmla="*/ 170 h 547"/>
                <a:gd name="T94" fmla="*/ 595 w 863"/>
                <a:gd name="T95" fmla="*/ 161 h 547"/>
                <a:gd name="T96" fmla="*/ 613 w 863"/>
                <a:gd name="T97" fmla="*/ 200 h 547"/>
                <a:gd name="T98" fmla="*/ 671 w 863"/>
                <a:gd name="T99" fmla="*/ 215 h 547"/>
                <a:gd name="T100" fmla="*/ 675 w 863"/>
                <a:gd name="T101" fmla="*/ 310 h 547"/>
                <a:gd name="T102" fmla="*/ 621 w 863"/>
                <a:gd name="T103" fmla="*/ 342 h 547"/>
                <a:gd name="T104" fmla="*/ 685 w 863"/>
                <a:gd name="T105" fmla="*/ 353 h 547"/>
                <a:gd name="T106" fmla="*/ 728 w 863"/>
                <a:gd name="T107" fmla="*/ 369 h 547"/>
                <a:gd name="T108" fmla="*/ 776 w 863"/>
                <a:gd name="T109" fmla="*/ 396 h 547"/>
                <a:gd name="T110" fmla="*/ 837 w 863"/>
                <a:gd name="T111" fmla="*/ 378 h 547"/>
                <a:gd name="T112" fmla="*/ 825 w 863"/>
                <a:gd name="T113" fmla="*/ 361 h 547"/>
                <a:gd name="T114" fmla="*/ 493 w 863"/>
                <a:gd name="T115" fmla="*/ 121 h 547"/>
                <a:gd name="T116" fmla="*/ 457 w 863"/>
                <a:gd name="T117" fmla="*/ 345 h 547"/>
                <a:gd name="T118" fmla="*/ 573 w 863"/>
                <a:gd name="T119" fmla="*/ 140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3" h="547">
                  <a:moveTo>
                    <a:pt x="862" y="359"/>
                  </a:moveTo>
                  <a:cubicBezTo>
                    <a:pt x="863" y="356"/>
                    <a:pt x="863" y="352"/>
                    <a:pt x="862" y="349"/>
                  </a:cubicBezTo>
                  <a:cubicBezTo>
                    <a:pt x="860" y="347"/>
                    <a:pt x="859" y="344"/>
                    <a:pt x="856" y="342"/>
                  </a:cubicBezTo>
                  <a:cubicBezTo>
                    <a:pt x="856" y="342"/>
                    <a:pt x="855" y="342"/>
                    <a:pt x="855" y="341"/>
                  </a:cubicBezTo>
                  <a:cubicBezTo>
                    <a:pt x="855" y="341"/>
                    <a:pt x="854" y="341"/>
                    <a:pt x="854" y="340"/>
                  </a:cubicBezTo>
                  <a:cubicBezTo>
                    <a:pt x="854" y="340"/>
                    <a:pt x="855" y="339"/>
                    <a:pt x="856" y="339"/>
                  </a:cubicBezTo>
                  <a:cubicBezTo>
                    <a:pt x="858" y="335"/>
                    <a:pt x="858" y="330"/>
                    <a:pt x="854" y="326"/>
                  </a:cubicBezTo>
                  <a:cubicBezTo>
                    <a:pt x="853" y="324"/>
                    <a:pt x="851" y="324"/>
                    <a:pt x="849" y="323"/>
                  </a:cubicBezTo>
                  <a:cubicBezTo>
                    <a:pt x="848" y="323"/>
                    <a:pt x="847" y="323"/>
                    <a:pt x="847" y="323"/>
                  </a:cubicBezTo>
                  <a:cubicBezTo>
                    <a:pt x="847" y="322"/>
                    <a:pt x="847" y="322"/>
                    <a:pt x="847" y="321"/>
                  </a:cubicBezTo>
                  <a:cubicBezTo>
                    <a:pt x="847" y="320"/>
                    <a:pt x="847" y="318"/>
                    <a:pt x="846" y="316"/>
                  </a:cubicBezTo>
                  <a:cubicBezTo>
                    <a:pt x="845" y="315"/>
                    <a:pt x="842" y="315"/>
                    <a:pt x="841" y="315"/>
                  </a:cubicBezTo>
                  <a:cubicBezTo>
                    <a:pt x="841" y="315"/>
                    <a:pt x="841" y="315"/>
                    <a:pt x="841" y="315"/>
                  </a:cubicBezTo>
                  <a:cubicBezTo>
                    <a:pt x="840" y="315"/>
                    <a:pt x="839" y="315"/>
                    <a:pt x="839" y="315"/>
                  </a:cubicBezTo>
                  <a:cubicBezTo>
                    <a:pt x="838" y="315"/>
                    <a:pt x="838" y="315"/>
                    <a:pt x="838" y="315"/>
                  </a:cubicBezTo>
                  <a:cubicBezTo>
                    <a:pt x="838" y="315"/>
                    <a:pt x="838" y="315"/>
                    <a:pt x="838" y="315"/>
                  </a:cubicBezTo>
                  <a:cubicBezTo>
                    <a:pt x="837" y="315"/>
                    <a:pt x="837" y="314"/>
                    <a:pt x="837" y="313"/>
                  </a:cubicBezTo>
                  <a:cubicBezTo>
                    <a:pt x="836" y="313"/>
                    <a:pt x="835" y="312"/>
                    <a:pt x="834" y="311"/>
                  </a:cubicBezTo>
                  <a:cubicBezTo>
                    <a:pt x="834" y="310"/>
                    <a:pt x="833" y="310"/>
                    <a:pt x="833" y="310"/>
                  </a:cubicBezTo>
                  <a:cubicBezTo>
                    <a:pt x="833" y="310"/>
                    <a:pt x="833" y="310"/>
                    <a:pt x="833" y="310"/>
                  </a:cubicBezTo>
                  <a:cubicBezTo>
                    <a:pt x="833" y="309"/>
                    <a:pt x="834" y="307"/>
                    <a:pt x="834" y="306"/>
                  </a:cubicBezTo>
                  <a:cubicBezTo>
                    <a:pt x="836" y="303"/>
                    <a:pt x="836" y="303"/>
                    <a:pt x="836" y="303"/>
                  </a:cubicBezTo>
                  <a:cubicBezTo>
                    <a:pt x="833" y="302"/>
                    <a:pt x="833" y="302"/>
                    <a:pt x="833" y="302"/>
                  </a:cubicBezTo>
                  <a:cubicBezTo>
                    <a:pt x="831" y="301"/>
                    <a:pt x="830" y="301"/>
                    <a:pt x="829" y="301"/>
                  </a:cubicBezTo>
                  <a:cubicBezTo>
                    <a:pt x="828" y="301"/>
                    <a:pt x="826" y="301"/>
                    <a:pt x="826" y="301"/>
                  </a:cubicBezTo>
                  <a:cubicBezTo>
                    <a:pt x="825" y="301"/>
                    <a:pt x="824" y="301"/>
                    <a:pt x="824" y="301"/>
                  </a:cubicBezTo>
                  <a:cubicBezTo>
                    <a:pt x="824" y="300"/>
                    <a:pt x="824" y="299"/>
                    <a:pt x="824" y="299"/>
                  </a:cubicBezTo>
                  <a:cubicBezTo>
                    <a:pt x="824" y="297"/>
                    <a:pt x="823" y="292"/>
                    <a:pt x="817" y="292"/>
                  </a:cubicBezTo>
                  <a:cubicBezTo>
                    <a:pt x="815" y="292"/>
                    <a:pt x="813" y="293"/>
                    <a:pt x="812" y="294"/>
                  </a:cubicBezTo>
                  <a:cubicBezTo>
                    <a:pt x="811" y="294"/>
                    <a:pt x="810" y="295"/>
                    <a:pt x="810" y="295"/>
                  </a:cubicBezTo>
                  <a:cubicBezTo>
                    <a:pt x="810" y="295"/>
                    <a:pt x="809" y="294"/>
                    <a:pt x="808" y="293"/>
                  </a:cubicBezTo>
                  <a:cubicBezTo>
                    <a:pt x="807" y="292"/>
                    <a:pt x="807" y="291"/>
                    <a:pt x="806" y="290"/>
                  </a:cubicBezTo>
                  <a:cubicBezTo>
                    <a:pt x="804" y="289"/>
                    <a:pt x="801" y="289"/>
                    <a:pt x="800" y="289"/>
                  </a:cubicBezTo>
                  <a:cubicBezTo>
                    <a:pt x="798" y="289"/>
                    <a:pt x="798" y="289"/>
                    <a:pt x="798" y="289"/>
                  </a:cubicBezTo>
                  <a:cubicBezTo>
                    <a:pt x="797" y="289"/>
                    <a:pt x="796" y="289"/>
                    <a:pt x="796" y="289"/>
                  </a:cubicBezTo>
                  <a:cubicBezTo>
                    <a:pt x="794" y="288"/>
                    <a:pt x="793" y="287"/>
                    <a:pt x="792" y="284"/>
                  </a:cubicBezTo>
                  <a:cubicBezTo>
                    <a:pt x="791" y="281"/>
                    <a:pt x="790" y="278"/>
                    <a:pt x="787" y="276"/>
                  </a:cubicBezTo>
                  <a:cubicBezTo>
                    <a:pt x="786" y="276"/>
                    <a:pt x="786" y="276"/>
                    <a:pt x="785" y="276"/>
                  </a:cubicBezTo>
                  <a:cubicBezTo>
                    <a:pt x="785" y="275"/>
                    <a:pt x="785" y="274"/>
                    <a:pt x="785" y="274"/>
                  </a:cubicBezTo>
                  <a:cubicBezTo>
                    <a:pt x="784" y="273"/>
                    <a:pt x="783" y="270"/>
                    <a:pt x="779" y="270"/>
                  </a:cubicBezTo>
                  <a:cubicBezTo>
                    <a:pt x="779" y="270"/>
                    <a:pt x="778" y="270"/>
                    <a:pt x="777" y="270"/>
                  </a:cubicBezTo>
                  <a:cubicBezTo>
                    <a:pt x="776" y="271"/>
                    <a:pt x="775" y="271"/>
                    <a:pt x="775" y="272"/>
                  </a:cubicBezTo>
                  <a:cubicBezTo>
                    <a:pt x="775" y="272"/>
                    <a:pt x="775" y="272"/>
                    <a:pt x="775" y="271"/>
                  </a:cubicBezTo>
                  <a:cubicBezTo>
                    <a:pt x="774" y="270"/>
                    <a:pt x="772" y="270"/>
                    <a:pt x="771" y="268"/>
                  </a:cubicBezTo>
                  <a:cubicBezTo>
                    <a:pt x="771" y="268"/>
                    <a:pt x="771" y="268"/>
                    <a:pt x="770" y="268"/>
                  </a:cubicBezTo>
                  <a:cubicBezTo>
                    <a:pt x="771" y="268"/>
                    <a:pt x="772" y="268"/>
                    <a:pt x="772" y="268"/>
                  </a:cubicBezTo>
                  <a:cubicBezTo>
                    <a:pt x="773" y="268"/>
                    <a:pt x="774" y="268"/>
                    <a:pt x="775" y="268"/>
                  </a:cubicBezTo>
                  <a:cubicBezTo>
                    <a:pt x="777" y="267"/>
                    <a:pt x="779" y="266"/>
                    <a:pt x="780" y="263"/>
                  </a:cubicBezTo>
                  <a:cubicBezTo>
                    <a:pt x="781" y="261"/>
                    <a:pt x="780" y="258"/>
                    <a:pt x="779" y="256"/>
                  </a:cubicBezTo>
                  <a:cubicBezTo>
                    <a:pt x="777" y="253"/>
                    <a:pt x="774" y="252"/>
                    <a:pt x="771" y="251"/>
                  </a:cubicBezTo>
                  <a:cubicBezTo>
                    <a:pt x="768" y="250"/>
                    <a:pt x="766" y="249"/>
                    <a:pt x="765" y="247"/>
                  </a:cubicBezTo>
                  <a:cubicBezTo>
                    <a:pt x="765" y="246"/>
                    <a:pt x="765" y="246"/>
                    <a:pt x="765" y="246"/>
                  </a:cubicBezTo>
                  <a:cubicBezTo>
                    <a:pt x="765" y="244"/>
                    <a:pt x="768" y="243"/>
                    <a:pt x="770" y="243"/>
                  </a:cubicBezTo>
                  <a:cubicBezTo>
                    <a:pt x="772" y="242"/>
                    <a:pt x="773" y="242"/>
                    <a:pt x="774" y="241"/>
                  </a:cubicBezTo>
                  <a:cubicBezTo>
                    <a:pt x="776" y="240"/>
                    <a:pt x="776" y="240"/>
                    <a:pt x="776" y="240"/>
                  </a:cubicBezTo>
                  <a:cubicBezTo>
                    <a:pt x="776" y="240"/>
                    <a:pt x="777" y="240"/>
                    <a:pt x="777" y="239"/>
                  </a:cubicBezTo>
                  <a:cubicBezTo>
                    <a:pt x="777" y="239"/>
                    <a:pt x="777" y="240"/>
                    <a:pt x="779" y="240"/>
                  </a:cubicBezTo>
                  <a:cubicBezTo>
                    <a:pt x="779" y="241"/>
                    <a:pt x="779" y="241"/>
                    <a:pt x="779" y="241"/>
                  </a:cubicBezTo>
                  <a:cubicBezTo>
                    <a:pt x="782" y="243"/>
                    <a:pt x="784" y="245"/>
                    <a:pt x="788" y="247"/>
                  </a:cubicBezTo>
                  <a:cubicBezTo>
                    <a:pt x="789" y="248"/>
                    <a:pt x="789" y="248"/>
                    <a:pt x="790" y="248"/>
                  </a:cubicBezTo>
                  <a:cubicBezTo>
                    <a:pt x="792" y="249"/>
                    <a:pt x="793" y="249"/>
                    <a:pt x="794" y="251"/>
                  </a:cubicBezTo>
                  <a:cubicBezTo>
                    <a:pt x="795" y="251"/>
                    <a:pt x="795" y="251"/>
                    <a:pt x="795" y="251"/>
                  </a:cubicBezTo>
                  <a:cubicBezTo>
                    <a:pt x="797" y="253"/>
                    <a:pt x="799" y="256"/>
                    <a:pt x="802" y="256"/>
                  </a:cubicBezTo>
                  <a:cubicBezTo>
                    <a:pt x="803" y="256"/>
                    <a:pt x="804" y="256"/>
                    <a:pt x="805" y="255"/>
                  </a:cubicBezTo>
                  <a:cubicBezTo>
                    <a:pt x="805" y="258"/>
                    <a:pt x="805" y="261"/>
                    <a:pt x="807" y="262"/>
                  </a:cubicBezTo>
                  <a:cubicBezTo>
                    <a:pt x="809" y="264"/>
                    <a:pt x="812" y="265"/>
                    <a:pt x="814" y="266"/>
                  </a:cubicBezTo>
                  <a:cubicBezTo>
                    <a:pt x="815" y="266"/>
                    <a:pt x="816" y="266"/>
                    <a:pt x="816" y="266"/>
                  </a:cubicBezTo>
                  <a:cubicBezTo>
                    <a:pt x="818" y="267"/>
                    <a:pt x="820" y="268"/>
                    <a:pt x="822" y="270"/>
                  </a:cubicBezTo>
                  <a:cubicBezTo>
                    <a:pt x="826" y="275"/>
                    <a:pt x="830" y="278"/>
                    <a:pt x="838" y="278"/>
                  </a:cubicBezTo>
                  <a:cubicBezTo>
                    <a:pt x="843" y="278"/>
                    <a:pt x="847" y="277"/>
                    <a:pt x="849" y="274"/>
                  </a:cubicBezTo>
                  <a:cubicBezTo>
                    <a:pt x="850" y="272"/>
                    <a:pt x="851" y="270"/>
                    <a:pt x="849" y="266"/>
                  </a:cubicBezTo>
                  <a:cubicBezTo>
                    <a:pt x="848" y="263"/>
                    <a:pt x="848" y="263"/>
                    <a:pt x="848" y="263"/>
                  </a:cubicBezTo>
                  <a:cubicBezTo>
                    <a:pt x="847" y="260"/>
                    <a:pt x="845" y="255"/>
                    <a:pt x="843" y="252"/>
                  </a:cubicBezTo>
                  <a:cubicBezTo>
                    <a:pt x="844" y="252"/>
                    <a:pt x="844" y="252"/>
                    <a:pt x="845" y="252"/>
                  </a:cubicBezTo>
                  <a:cubicBezTo>
                    <a:pt x="846" y="252"/>
                    <a:pt x="846" y="252"/>
                    <a:pt x="847" y="251"/>
                  </a:cubicBezTo>
                  <a:cubicBezTo>
                    <a:pt x="850" y="250"/>
                    <a:pt x="851" y="247"/>
                    <a:pt x="852" y="245"/>
                  </a:cubicBezTo>
                  <a:cubicBezTo>
                    <a:pt x="852" y="244"/>
                    <a:pt x="852" y="243"/>
                    <a:pt x="853" y="242"/>
                  </a:cubicBezTo>
                  <a:cubicBezTo>
                    <a:pt x="855" y="239"/>
                    <a:pt x="855" y="237"/>
                    <a:pt x="853" y="234"/>
                  </a:cubicBezTo>
                  <a:cubicBezTo>
                    <a:pt x="853" y="234"/>
                    <a:pt x="852" y="234"/>
                    <a:pt x="852" y="233"/>
                  </a:cubicBezTo>
                  <a:cubicBezTo>
                    <a:pt x="852" y="233"/>
                    <a:pt x="853" y="232"/>
                    <a:pt x="853" y="231"/>
                  </a:cubicBezTo>
                  <a:cubicBezTo>
                    <a:pt x="854" y="230"/>
                    <a:pt x="855" y="229"/>
                    <a:pt x="854" y="227"/>
                  </a:cubicBezTo>
                  <a:cubicBezTo>
                    <a:pt x="853" y="225"/>
                    <a:pt x="851" y="224"/>
                    <a:pt x="850" y="223"/>
                  </a:cubicBezTo>
                  <a:cubicBezTo>
                    <a:pt x="849" y="223"/>
                    <a:pt x="849" y="223"/>
                    <a:pt x="849" y="223"/>
                  </a:cubicBezTo>
                  <a:cubicBezTo>
                    <a:pt x="848" y="222"/>
                    <a:pt x="848" y="222"/>
                    <a:pt x="847" y="221"/>
                  </a:cubicBezTo>
                  <a:cubicBezTo>
                    <a:pt x="851" y="221"/>
                    <a:pt x="853" y="219"/>
                    <a:pt x="854" y="218"/>
                  </a:cubicBezTo>
                  <a:cubicBezTo>
                    <a:pt x="855" y="215"/>
                    <a:pt x="855" y="213"/>
                    <a:pt x="854" y="211"/>
                  </a:cubicBezTo>
                  <a:cubicBezTo>
                    <a:pt x="854" y="210"/>
                    <a:pt x="854" y="209"/>
                    <a:pt x="854" y="209"/>
                  </a:cubicBezTo>
                  <a:cubicBezTo>
                    <a:pt x="854" y="208"/>
                    <a:pt x="855" y="208"/>
                    <a:pt x="855" y="207"/>
                  </a:cubicBezTo>
                  <a:cubicBezTo>
                    <a:pt x="856" y="205"/>
                    <a:pt x="858" y="200"/>
                    <a:pt x="852" y="197"/>
                  </a:cubicBezTo>
                  <a:cubicBezTo>
                    <a:pt x="850" y="196"/>
                    <a:pt x="848" y="196"/>
                    <a:pt x="847" y="195"/>
                  </a:cubicBezTo>
                  <a:cubicBezTo>
                    <a:pt x="845" y="195"/>
                    <a:pt x="844" y="195"/>
                    <a:pt x="843" y="194"/>
                  </a:cubicBezTo>
                  <a:cubicBezTo>
                    <a:pt x="842" y="194"/>
                    <a:pt x="842" y="194"/>
                    <a:pt x="842" y="194"/>
                  </a:cubicBezTo>
                  <a:cubicBezTo>
                    <a:pt x="840" y="193"/>
                    <a:pt x="839" y="192"/>
                    <a:pt x="837" y="192"/>
                  </a:cubicBezTo>
                  <a:cubicBezTo>
                    <a:pt x="835" y="192"/>
                    <a:pt x="833" y="193"/>
                    <a:pt x="831" y="195"/>
                  </a:cubicBezTo>
                  <a:cubicBezTo>
                    <a:pt x="830" y="196"/>
                    <a:pt x="829" y="197"/>
                    <a:pt x="829" y="198"/>
                  </a:cubicBezTo>
                  <a:cubicBezTo>
                    <a:pt x="827" y="199"/>
                    <a:pt x="826" y="201"/>
                    <a:pt x="825" y="201"/>
                  </a:cubicBezTo>
                  <a:cubicBezTo>
                    <a:pt x="825" y="200"/>
                    <a:pt x="825" y="200"/>
                    <a:pt x="825" y="199"/>
                  </a:cubicBezTo>
                  <a:cubicBezTo>
                    <a:pt x="825" y="196"/>
                    <a:pt x="825" y="193"/>
                    <a:pt x="823" y="191"/>
                  </a:cubicBezTo>
                  <a:cubicBezTo>
                    <a:pt x="822" y="190"/>
                    <a:pt x="821" y="189"/>
                    <a:pt x="819" y="189"/>
                  </a:cubicBezTo>
                  <a:cubicBezTo>
                    <a:pt x="819" y="189"/>
                    <a:pt x="818" y="189"/>
                    <a:pt x="818" y="190"/>
                  </a:cubicBezTo>
                  <a:cubicBezTo>
                    <a:pt x="816" y="190"/>
                    <a:pt x="814" y="191"/>
                    <a:pt x="812" y="193"/>
                  </a:cubicBezTo>
                  <a:cubicBezTo>
                    <a:pt x="811" y="193"/>
                    <a:pt x="810" y="194"/>
                    <a:pt x="810" y="194"/>
                  </a:cubicBezTo>
                  <a:cubicBezTo>
                    <a:pt x="810" y="194"/>
                    <a:pt x="810" y="194"/>
                    <a:pt x="810" y="194"/>
                  </a:cubicBezTo>
                  <a:cubicBezTo>
                    <a:pt x="809" y="194"/>
                    <a:pt x="808" y="193"/>
                    <a:pt x="807" y="191"/>
                  </a:cubicBezTo>
                  <a:cubicBezTo>
                    <a:pt x="806" y="191"/>
                    <a:pt x="806" y="190"/>
                    <a:pt x="805" y="189"/>
                  </a:cubicBezTo>
                  <a:cubicBezTo>
                    <a:pt x="802" y="186"/>
                    <a:pt x="799" y="183"/>
                    <a:pt x="796" y="181"/>
                  </a:cubicBezTo>
                  <a:cubicBezTo>
                    <a:pt x="796" y="181"/>
                    <a:pt x="796" y="181"/>
                    <a:pt x="796" y="181"/>
                  </a:cubicBezTo>
                  <a:cubicBezTo>
                    <a:pt x="795" y="180"/>
                    <a:pt x="793" y="178"/>
                    <a:pt x="790" y="178"/>
                  </a:cubicBezTo>
                  <a:cubicBezTo>
                    <a:pt x="790" y="178"/>
                    <a:pt x="789" y="178"/>
                    <a:pt x="789" y="178"/>
                  </a:cubicBezTo>
                  <a:cubicBezTo>
                    <a:pt x="788" y="179"/>
                    <a:pt x="787" y="179"/>
                    <a:pt x="786" y="180"/>
                  </a:cubicBezTo>
                  <a:cubicBezTo>
                    <a:pt x="785" y="177"/>
                    <a:pt x="785" y="175"/>
                    <a:pt x="783" y="174"/>
                  </a:cubicBezTo>
                  <a:cubicBezTo>
                    <a:pt x="782" y="174"/>
                    <a:pt x="782" y="174"/>
                    <a:pt x="782" y="174"/>
                  </a:cubicBezTo>
                  <a:cubicBezTo>
                    <a:pt x="782" y="174"/>
                    <a:pt x="782" y="174"/>
                    <a:pt x="782" y="174"/>
                  </a:cubicBezTo>
                  <a:cubicBezTo>
                    <a:pt x="780" y="174"/>
                    <a:pt x="778" y="176"/>
                    <a:pt x="776" y="177"/>
                  </a:cubicBezTo>
                  <a:cubicBezTo>
                    <a:pt x="776" y="178"/>
                    <a:pt x="775" y="179"/>
                    <a:pt x="774" y="179"/>
                  </a:cubicBezTo>
                  <a:cubicBezTo>
                    <a:pt x="774" y="179"/>
                    <a:pt x="774" y="179"/>
                    <a:pt x="774" y="179"/>
                  </a:cubicBezTo>
                  <a:cubicBezTo>
                    <a:pt x="773" y="179"/>
                    <a:pt x="773" y="179"/>
                    <a:pt x="772" y="179"/>
                  </a:cubicBezTo>
                  <a:cubicBezTo>
                    <a:pt x="772" y="179"/>
                    <a:pt x="771" y="179"/>
                    <a:pt x="771" y="179"/>
                  </a:cubicBezTo>
                  <a:cubicBezTo>
                    <a:pt x="770" y="179"/>
                    <a:pt x="769" y="180"/>
                    <a:pt x="768" y="180"/>
                  </a:cubicBezTo>
                  <a:cubicBezTo>
                    <a:pt x="767" y="180"/>
                    <a:pt x="767" y="180"/>
                    <a:pt x="766" y="181"/>
                  </a:cubicBezTo>
                  <a:cubicBezTo>
                    <a:pt x="766" y="181"/>
                    <a:pt x="765" y="181"/>
                    <a:pt x="765" y="181"/>
                  </a:cubicBezTo>
                  <a:cubicBezTo>
                    <a:pt x="764" y="181"/>
                    <a:pt x="763" y="181"/>
                    <a:pt x="762" y="180"/>
                  </a:cubicBezTo>
                  <a:cubicBezTo>
                    <a:pt x="762" y="180"/>
                    <a:pt x="761" y="180"/>
                    <a:pt x="760" y="179"/>
                  </a:cubicBezTo>
                  <a:cubicBezTo>
                    <a:pt x="755" y="178"/>
                    <a:pt x="751" y="176"/>
                    <a:pt x="747" y="173"/>
                  </a:cubicBezTo>
                  <a:cubicBezTo>
                    <a:pt x="746" y="173"/>
                    <a:pt x="746" y="173"/>
                    <a:pt x="746" y="173"/>
                  </a:cubicBezTo>
                  <a:cubicBezTo>
                    <a:pt x="742" y="171"/>
                    <a:pt x="738" y="170"/>
                    <a:pt x="735" y="169"/>
                  </a:cubicBezTo>
                  <a:cubicBezTo>
                    <a:pt x="733" y="169"/>
                    <a:pt x="731" y="168"/>
                    <a:pt x="729" y="168"/>
                  </a:cubicBezTo>
                  <a:cubicBezTo>
                    <a:pt x="727" y="167"/>
                    <a:pt x="726" y="165"/>
                    <a:pt x="727" y="163"/>
                  </a:cubicBezTo>
                  <a:cubicBezTo>
                    <a:pt x="727" y="163"/>
                    <a:pt x="728" y="161"/>
                    <a:pt x="728" y="161"/>
                  </a:cubicBezTo>
                  <a:cubicBezTo>
                    <a:pt x="730" y="159"/>
                    <a:pt x="733" y="156"/>
                    <a:pt x="731" y="152"/>
                  </a:cubicBezTo>
                  <a:cubicBezTo>
                    <a:pt x="731" y="151"/>
                    <a:pt x="730" y="151"/>
                    <a:pt x="730" y="150"/>
                  </a:cubicBezTo>
                  <a:cubicBezTo>
                    <a:pt x="731" y="150"/>
                    <a:pt x="733" y="149"/>
                    <a:pt x="734" y="149"/>
                  </a:cubicBezTo>
                  <a:cubicBezTo>
                    <a:pt x="736" y="149"/>
                    <a:pt x="737" y="149"/>
                    <a:pt x="738" y="148"/>
                  </a:cubicBezTo>
                  <a:cubicBezTo>
                    <a:pt x="742" y="147"/>
                    <a:pt x="745" y="143"/>
                    <a:pt x="745" y="140"/>
                  </a:cubicBezTo>
                  <a:cubicBezTo>
                    <a:pt x="745" y="137"/>
                    <a:pt x="743" y="134"/>
                    <a:pt x="740" y="132"/>
                  </a:cubicBezTo>
                  <a:cubicBezTo>
                    <a:pt x="738" y="131"/>
                    <a:pt x="737" y="131"/>
                    <a:pt x="735" y="131"/>
                  </a:cubicBezTo>
                  <a:cubicBezTo>
                    <a:pt x="732" y="131"/>
                    <a:pt x="730" y="132"/>
                    <a:pt x="727" y="133"/>
                  </a:cubicBezTo>
                  <a:cubicBezTo>
                    <a:pt x="725" y="134"/>
                    <a:pt x="724" y="135"/>
                    <a:pt x="722" y="135"/>
                  </a:cubicBezTo>
                  <a:cubicBezTo>
                    <a:pt x="721" y="135"/>
                    <a:pt x="720" y="135"/>
                    <a:pt x="719" y="135"/>
                  </a:cubicBezTo>
                  <a:cubicBezTo>
                    <a:pt x="718" y="135"/>
                    <a:pt x="718" y="135"/>
                    <a:pt x="717" y="135"/>
                  </a:cubicBezTo>
                  <a:cubicBezTo>
                    <a:pt x="717" y="135"/>
                    <a:pt x="717" y="135"/>
                    <a:pt x="717" y="135"/>
                  </a:cubicBezTo>
                  <a:cubicBezTo>
                    <a:pt x="717" y="135"/>
                    <a:pt x="717" y="135"/>
                    <a:pt x="718" y="134"/>
                  </a:cubicBezTo>
                  <a:cubicBezTo>
                    <a:pt x="718" y="132"/>
                    <a:pt x="721" y="129"/>
                    <a:pt x="724" y="129"/>
                  </a:cubicBezTo>
                  <a:cubicBezTo>
                    <a:pt x="724" y="129"/>
                    <a:pt x="725" y="129"/>
                    <a:pt x="725" y="129"/>
                  </a:cubicBezTo>
                  <a:cubicBezTo>
                    <a:pt x="727" y="129"/>
                    <a:pt x="732" y="129"/>
                    <a:pt x="733" y="125"/>
                  </a:cubicBezTo>
                  <a:cubicBezTo>
                    <a:pt x="734" y="121"/>
                    <a:pt x="732" y="117"/>
                    <a:pt x="727" y="112"/>
                  </a:cubicBezTo>
                  <a:cubicBezTo>
                    <a:pt x="725" y="111"/>
                    <a:pt x="717" y="106"/>
                    <a:pt x="712" y="106"/>
                  </a:cubicBezTo>
                  <a:cubicBezTo>
                    <a:pt x="708" y="106"/>
                    <a:pt x="706" y="108"/>
                    <a:pt x="706" y="113"/>
                  </a:cubicBezTo>
                  <a:cubicBezTo>
                    <a:pt x="706" y="113"/>
                    <a:pt x="706" y="114"/>
                    <a:pt x="706" y="115"/>
                  </a:cubicBezTo>
                  <a:cubicBezTo>
                    <a:pt x="706" y="115"/>
                    <a:pt x="705" y="114"/>
                    <a:pt x="705" y="114"/>
                  </a:cubicBezTo>
                  <a:cubicBezTo>
                    <a:pt x="704" y="113"/>
                    <a:pt x="704" y="112"/>
                    <a:pt x="703" y="112"/>
                  </a:cubicBezTo>
                  <a:cubicBezTo>
                    <a:pt x="703" y="111"/>
                    <a:pt x="704" y="109"/>
                    <a:pt x="705" y="109"/>
                  </a:cubicBezTo>
                  <a:cubicBezTo>
                    <a:pt x="705" y="108"/>
                    <a:pt x="706" y="108"/>
                    <a:pt x="706" y="107"/>
                  </a:cubicBezTo>
                  <a:cubicBezTo>
                    <a:pt x="706" y="107"/>
                    <a:pt x="706" y="107"/>
                    <a:pt x="706" y="107"/>
                  </a:cubicBezTo>
                  <a:cubicBezTo>
                    <a:pt x="707" y="105"/>
                    <a:pt x="710" y="101"/>
                    <a:pt x="707" y="97"/>
                  </a:cubicBezTo>
                  <a:cubicBezTo>
                    <a:pt x="705" y="95"/>
                    <a:pt x="702" y="95"/>
                    <a:pt x="701" y="95"/>
                  </a:cubicBezTo>
                  <a:cubicBezTo>
                    <a:pt x="701" y="95"/>
                    <a:pt x="700" y="95"/>
                    <a:pt x="699" y="95"/>
                  </a:cubicBezTo>
                  <a:cubicBezTo>
                    <a:pt x="699" y="95"/>
                    <a:pt x="698" y="95"/>
                    <a:pt x="698" y="95"/>
                  </a:cubicBezTo>
                  <a:cubicBezTo>
                    <a:pt x="697" y="95"/>
                    <a:pt x="697" y="95"/>
                    <a:pt x="697" y="95"/>
                  </a:cubicBezTo>
                  <a:cubicBezTo>
                    <a:pt x="697" y="95"/>
                    <a:pt x="696" y="94"/>
                    <a:pt x="695" y="94"/>
                  </a:cubicBezTo>
                  <a:cubicBezTo>
                    <a:pt x="694" y="93"/>
                    <a:pt x="693" y="92"/>
                    <a:pt x="691" y="92"/>
                  </a:cubicBezTo>
                  <a:cubicBezTo>
                    <a:pt x="690" y="92"/>
                    <a:pt x="690" y="92"/>
                    <a:pt x="689" y="93"/>
                  </a:cubicBezTo>
                  <a:cubicBezTo>
                    <a:pt x="689" y="93"/>
                    <a:pt x="688" y="93"/>
                    <a:pt x="687" y="94"/>
                  </a:cubicBezTo>
                  <a:cubicBezTo>
                    <a:pt x="687" y="93"/>
                    <a:pt x="687" y="93"/>
                    <a:pt x="687" y="93"/>
                  </a:cubicBezTo>
                  <a:cubicBezTo>
                    <a:pt x="685" y="93"/>
                    <a:pt x="685" y="93"/>
                    <a:pt x="685" y="93"/>
                  </a:cubicBezTo>
                  <a:cubicBezTo>
                    <a:pt x="683" y="93"/>
                    <a:pt x="681" y="94"/>
                    <a:pt x="679" y="95"/>
                  </a:cubicBezTo>
                  <a:cubicBezTo>
                    <a:pt x="679" y="95"/>
                    <a:pt x="679" y="95"/>
                    <a:pt x="679" y="95"/>
                  </a:cubicBezTo>
                  <a:cubicBezTo>
                    <a:pt x="678" y="96"/>
                    <a:pt x="677" y="97"/>
                    <a:pt x="676" y="97"/>
                  </a:cubicBezTo>
                  <a:cubicBezTo>
                    <a:pt x="676" y="98"/>
                    <a:pt x="675" y="98"/>
                    <a:pt x="675" y="99"/>
                  </a:cubicBezTo>
                  <a:cubicBezTo>
                    <a:pt x="675" y="99"/>
                    <a:pt x="675" y="98"/>
                    <a:pt x="675" y="98"/>
                  </a:cubicBezTo>
                  <a:cubicBezTo>
                    <a:pt x="675" y="96"/>
                    <a:pt x="675" y="90"/>
                    <a:pt x="670" y="88"/>
                  </a:cubicBezTo>
                  <a:cubicBezTo>
                    <a:pt x="670" y="88"/>
                    <a:pt x="669" y="88"/>
                    <a:pt x="668" y="88"/>
                  </a:cubicBezTo>
                  <a:cubicBezTo>
                    <a:pt x="664" y="88"/>
                    <a:pt x="663" y="92"/>
                    <a:pt x="661" y="95"/>
                  </a:cubicBezTo>
                  <a:cubicBezTo>
                    <a:pt x="661" y="96"/>
                    <a:pt x="661" y="97"/>
                    <a:pt x="661" y="97"/>
                  </a:cubicBezTo>
                  <a:cubicBezTo>
                    <a:pt x="660" y="98"/>
                    <a:pt x="660" y="99"/>
                    <a:pt x="659" y="99"/>
                  </a:cubicBezTo>
                  <a:cubicBezTo>
                    <a:pt x="658" y="101"/>
                    <a:pt x="656" y="104"/>
                    <a:pt x="655" y="104"/>
                  </a:cubicBezTo>
                  <a:cubicBezTo>
                    <a:pt x="654" y="104"/>
                    <a:pt x="654" y="104"/>
                    <a:pt x="654" y="104"/>
                  </a:cubicBezTo>
                  <a:cubicBezTo>
                    <a:pt x="654" y="104"/>
                    <a:pt x="653" y="103"/>
                    <a:pt x="654" y="101"/>
                  </a:cubicBezTo>
                  <a:cubicBezTo>
                    <a:pt x="655" y="98"/>
                    <a:pt x="656" y="97"/>
                    <a:pt x="656" y="96"/>
                  </a:cubicBezTo>
                  <a:cubicBezTo>
                    <a:pt x="659" y="95"/>
                    <a:pt x="663" y="92"/>
                    <a:pt x="665" y="87"/>
                  </a:cubicBezTo>
                  <a:cubicBezTo>
                    <a:pt x="666" y="85"/>
                    <a:pt x="665" y="83"/>
                    <a:pt x="664" y="82"/>
                  </a:cubicBezTo>
                  <a:cubicBezTo>
                    <a:pt x="663" y="80"/>
                    <a:pt x="661" y="79"/>
                    <a:pt x="659" y="78"/>
                  </a:cubicBezTo>
                  <a:cubicBezTo>
                    <a:pt x="659" y="78"/>
                    <a:pt x="658" y="78"/>
                    <a:pt x="658" y="78"/>
                  </a:cubicBezTo>
                  <a:cubicBezTo>
                    <a:pt x="657" y="78"/>
                    <a:pt x="657" y="77"/>
                    <a:pt x="656" y="77"/>
                  </a:cubicBezTo>
                  <a:cubicBezTo>
                    <a:pt x="654" y="76"/>
                    <a:pt x="651" y="74"/>
                    <a:pt x="648" y="74"/>
                  </a:cubicBezTo>
                  <a:cubicBezTo>
                    <a:pt x="647" y="73"/>
                    <a:pt x="646" y="73"/>
                    <a:pt x="645" y="73"/>
                  </a:cubicBezTo>
                  <a:cubicBezTo>
                    <a:pt x="642" y="73"/>
                    <a:pt x="640" y="74"/>
                    <a:pt x="638" y="76"/>
                  </a:cubicBezTo>
                  <a:cubicBezTo>
                    <a:pt x="637" y="78"/>
                    <a:pt x="637" y="80"/>
                    <a:pt x="637" y="82"/>
                  </a:cubicBezTo>
                  <a:cubicBezTo>
                    <a:pt x="637" y="83"/>
                    <a:pt x="637" y="84"/>
                    <a:pt x="637" y="85"/>
                  </a:cubicBezTo>
                  <a:cubicBezTo>
                    <a:pt x="637" y="86"/>
                    <a:pt x="636" y="87"/>
                    <a:pt x="636" y="87"/>
                  </a:cubicBezTo>
                  <a:cubicBezTo>
                    <a:pt x="636" y="87"/>
                    <a:pt x="636" y="86"/>
                    <a:pt x="635" y="86"/>
                  </a:cubicBezTo>
                  <a:cubicBezTo>
                    <a:pt x="634" y="82"/>
                    <a:pt x="632" y="77"/>
                    <a:pt x="627" y="76"/>
                  </a:cubicBezTo>
                  <a:cubicBezTo>
                    <a:pt x="626" y="76"/>
                    <a:pt x="626" y="76"/>
                    <a:pt x="625" y="76"/>
                  </a:cubicBezTo>
                  <a:cubicBezTo>
                    <a:pt x="623" y="76"/>
                    <a:pt x="621" y="77"/>
                    <a:pt x="619" y="78"/>
                  </a:cubicBezTo>
                  <a:cubicBezTo>
                    <a:pt x="619" y="78"/>
                    <a:pt x="618" y="79"/>
                    <a:pt x="617" y="79"/>
                  </a:cubicBezTo>
                  <a:cubicBezTo>
                    <a:pt x="618" y="79"/>
                    <a:pt x="618" y="78"/>
                    <a:pt x="618" y="77"/>
                  </a:cubicBezTo>
                  <a:cubicBezTo>
                    <a:pt x="620" y="75"/>
                    <a:pt x="622" y="72"/>
                    <a:pt x="621" y="70"/>
                  </a:cubicBezTo>
                  <a:cubicBezTo>
                    <a:pt x="621" y="64"/>
                    <a:pt x="616" y="63"/>
                    <a:pt x="614" y="63"/>
                  </a:cubicBezTo>
                  <a:cubicBezTo>
                    <a:pt x="611" y="63"/>
                    <a:pt x="610" y="62"/>
                    <a:pt x="609" y="61"/>
                  </a:cubicBezTo>
                  <a:cubicBezTo>
                    <a:pt x="609" y="60"/>
                    <a:pt x="608" y="59"/>
                    <a:pt x="608" y="58"/>
                  </a:cubicBezTo>
                  <a:cubicBezTo>
                    <a:pt x="608" y="56"/>
                    <a:pt x="607" y="55"/>
                    <a:pt x="607" y="54"/>
                  </a:cubicBezTo>
                  <a:cubicBezTo>
                    <a:pt x="605" y="50"/>
                    <a:pt x="600" y="47"/>
                    <a:pt x="596" y="46"/>
                  </a:cubicBezTo>
                  <a:cubicBezTo>
                    <a:pt x="596" y="46"/>
                    <a:pt x="595" y="46"/>
                    <a:pt x="595" y="46"/>
                  </a:cubicBezTo>
                  <a:cubicBezTo>
                    <a:pt x="594" y="46"/>
                    <a:pt x="593" y="46"/>
                    <a:pt x="593" y="47"/>
                  </a:cubicBezTo>
                  <a:cubicBezTo>
                    <a:pt x="592" y="47"/>
                    <a:pt x="591" y="47"/>
                    <a:pt x="591" y="47"/>
                  </a:cubicBezTo>
                  <a:cubicBezTo>
                    <a:pt x="590" y="47"/>
                    <a:pt x="590" y="47"/>
                    <a:pt x="589" y="47"/>
                  </a:cubicBezTo>
                  <a:cubicBezTo>
                    <a:pt x="588" y="46"/>
                    <a:pt x="587" y="46"/>
                    <a:pt x="586" y="45"/>
                  </a:cubicBezTo>
                  <a:cubicBezTo>
                    <a:pt x="584" y="44"/>
                    <a:pt x="581" y="43"/>
                    <a:pt x="578" y="43"/>
                  </a:cubicBezTo>
                  <a:cubicBezTo>
                    <a:pt x="578" y="43"/>
                    <a:pt x="577" y="43"/>
                    <a:pt x="576" y="44"/>
                  </a:cubicBezTo>
                  <a:cubicBezTo>
                    <a:pt x="572" y="44"/>
                    <a:pt x="568" y="47"/>
                    <a:pt x="564" y="52"/>
                  </a:cubicBezTo>
                  <a:cubicBezTo>
                    <a:pt x="561" y="57"/>
                    <a:pt x="560" y="60"/>
                    <a:pt x="564" y="65"/>
                  </a:cubicBezTo>
                  <a:cubicBezTo>
                    <a:pt x="564" y="65"/>
                    <a:pt x="564" y="65"/>
                    <a:pt x="564" y="65"/>
                  </a:cubicBezTo>
                  <a:cubicBezTo>
                    <a:pt x="563" y="66"/>
                    <a:pt x="562" y="66"/>
                    <a:pt x="561" y="67"/>
                  </a:cubicBezTo>
                  <a:cubicBezTo>
                    <a:pt x="560" y="65"/>
                    <a:pt x="557" y="64"/>
                    <a:pt x="555" y="64"/>
                  </a:cubicBezTo>
                  <a:cubicBezTo>
                    <a:pt x="555" y="64"/>
                    <a:pt x="554" y="64"/>
                    <a:pt x="554" y="63"/>
                  </a:cubicBezTo>
                  <a:cubicBezTo>
                    <a:pt x="553" y="63"/>
                    <a:pt x="551" y="63"/>
                    <a:pt x="550" y="63"/>
                  </a:cubicBezTo>
                  <a:cubicBezTo>
                    <a:pt x="549" y="63"/>
                    <a:pt x="549" y="63"/>
                    <a:pt x="549" y="63"/>
                  </a:cubicBezTo>
                  <a:cubicBezTo>
                    <a:pt x="549" y="63"/>
                    <a:pt x="549" y="63"/>
                    <a:pt x="549" y="63"/>
                  </a:cubicBezTo>
                  <a:cubicBezTo>
                    <a:pt x="545" y="63"/>
                    <a:pt x="544" y="67"/>
                    <a:pt x="544" y="70"/>
                  </a:cubicBezTo>
                  <a:cubicBezTo>
                    <a:pt x="543" y="70"/>
                    <a:pt x="543" y="71"/>
                    <a:pt x="543" y="71"/>
                  </a:cubicBezTo>
                  <a:cubicBezTo>
                    <a:pt x="542" y="74"/>
                    <a:pt x="541" y="76"/>
                    <a:pt x="541" y="77"/>
                  </a:cubicBezTo>
                  <a:cubicBezTo>
                    <a:pt x="540" y="76"/>
                    <a:pt x="540" y="74"/>
                    <a:pt x="540" y="72"/>
                  </a:cubicBezTo>
                  <a:cubicBezTo>
                    <a:pt x="540" y="72"/>
                    <a:pt x="540" y="71"/>
                    <a:pt x="540" y="71"/>
                  </a:cubicBezTo>
                  <a:cubicBezTo>
                    <a:pt x="540" y="70"/>
                    <a:pt x="540" y="69"/>
                    <a:pt x="540" y="69"/>
                  </a:cubicBezTo>
                  <a:cubicBezTo>
                    <a:pt x="540" y="66"/>
                    <a:pt x="539" y="64"/>
                    <a:pt x="540" y="62"/>
                  </a:cubicBezTo>
                  <a:cubicBezTo>
                    <a:pt x="540" y="62"/>
                    <a:pt x="540" y="62"/>
                    <a:pt x="541" y="61"/>
                  </a:cubicBezTo>
                  <a:cubicBezTo>
                    <a:pt x="542" y="60"/>
                    <a:pt x="543" y="60"/>
                    <a:pt x="543" y="58"/>
                  </a:cubicBezTo>
                  <a:cubicBezTo>
                    <a:pt x="547" y="52"/>
                    <a:pt x="543" y="47"/>
                    <a:pt x="541" y="43"/>
                  </a:cubicBezTo>
                  <a:cubicBezTo>
                    <a:pt x="540" y="42"/>
                    <a:pt x="539" y="41"/>
                    <a:pt x="539" y="40"/>
                  </a:cubicBezTo>
                  <a:cubicBezTo>
                    <a:pt x="538" y="38"/>
                    <a:pt x="537" y="37"/>
                    <a:pt x="536" y="36"/>
                  </a:cubicBezTo>
                  <a:cubicBezTo>
                    <a:pt x="535" y="34"/>
                    <a:pt x="534" y="33"/>
                    <a:pt x="533" y="32"/>
                  </a:cubicBezTo>
                  <a:cubicBezTo>
                    <a:pt x="533" y="31"/>
                    <a:pt x="533" y="30"/>
                    <a:pt x="533" y="29"/>
                  </a:cubicBezTo>
                  <a:cubicBezTo>
                    <a:pt x="532" y="28"/>
                    <a:pt x="532" y="27"/>
                    <a:pt x="532" y="26"/>
                  </a:cubicBezTo>
                  <a:cubicBezTo>
                    <a:pt x="531" y="21"/>
                    <a:pt x="527" y="16"/>
                    <a:pt x="523" y="14"/>
                  </a:cubicBezTo>
                  <a:cubicBezTo>
                    <a:pt x="522" y="13"/>
                    <a:pt x="521" y="13"/>
                    <a:pt x="519" y="13"/>
                  </a:cubicBezTo>
                  <a:cubicBezTo>
                    <a:pt x="517" y="13"/>
                    <a:pt x="515" y="14"/>
                    <a:pt x="513" y="15"/>
                  </a:cubicBezTo>
                  <a:cubicBezTo>
                    <a:pt x="512" y="16"/>
                    <a:pt x="511" y="16"/>
                    <a:pt x="510" y="17"/>
                  </a:cubicBezTo>
                  <a:cubicBezTo>
                    <a:pt x="509" y="17"/>
                    <a:pt x="509" y="17"/>
                    <a:pt x="508" y="17"/>
                  </a:cubicBezTo>
                  <a:cubicBezTo>
                    <a:pt x="506" y="18"/>
                    <a:pt x="504" y="18"/>
                    <a:pt x="501" y="20"/>
                  </a:cubicBezTo>
                  <a:cubicBezTo>
                    <a:pt x="496" y="23"/>
                    <a:pt x="491" y="28"/>
                    <a:pt x="487" y="33"/>
                  </a:cubicBezTo>
                  <a:cubicBezTo>
                    <a:pt x="479" y="43"/>
                    <a:pt x="473" y="57"/>
                    <a:pt x="479" y="67"/>
                  </a:cubicBezTo>
                  <a:cubicBezTo>
                    <a:pt x="480" y="68"/>
                    <a:pt x="482" y="70"/>
                    <a:pt x="484" y="71"/>
                  </a:cubicBezTo>
                  <a:cubicBezTo>
                    <a:pt x="485" y="72"/>
                    <a:pt x="488" y="74"/>
                    <a:pt x="489" y="75"/>
                  </a:cubicBezTo>
                  <a:cubicBezTo>
                    <a:pt x="488" y="76"/>
                    <a:pt x="488" y="76"/>
                    <a:pt x="487" y="76"/>
                  </a:cubicBezTo>
                  <a:cubicBezTo>
                    <a:pt x="487" y="76"/>
                    <a:pt x="486" y="77"/>
                    <a:pt x="486" y="77"/>
                  </a:cubicBezTo>
                  <a:cubicBezTo>
                    <a:pt x="484" y="79"/>
                    <a:pt x="481" y="81"/>
                    <a:pt x="479" y="85"/>
                  </a:cubicBezTo>
                  <a:cubicBezTo>
                    <a:pt x="476" y="94"/>
                    <a:pt x="485" y="100"/>
                    <a:pt x="489" y="102"/>
                  </a:cubicBezTo>
                  <a:cubicBezTo>
                    <a:pt x="493" y="105"/>
                    <a:pt x="495" y="106"/>
                    <a:pt x="494" y="110"/>
                  </a:cubicBezTo>
                  <a:cubicBezTo>
                    <a:pt x="494" y="111"/>
                    <a:pt x="494" y="111"/>
                    <a:pt x="494" y="112"/>
                  </a:cubicBezTo>
                  <a:cubicBezTo>
                    <a:pt x="494" y="108"/>
                    <a:pt x="490" y="106"/>
                    <a:pt x="487" y="104"/>
                  </a:cubicBezTo>
                  <a:cubicBezTo>
                    <a:pt x="486" y="103"/>
                    <a:pt x="484" y="102"/>
                    <a:pt x="483" y="101"/>
                  </a:cubicBezTo>
                  <a:cubicBezTo>
                    <a:pt x="482" y="100"/>
                    <a:pt x="481" y="97"/>
                    <a:pt x="480" y="95"/>
                  </a:cubicBezTo>
                  <a:cubicBezTo>
                    <a:pt x="480" y="94"/>
                    <a:pt x="479" y="93"/>
                    <a:pt x="478" y="91"/>
                  </a:cubicBezTo>
                  <a:cubicBezTo>
                    <a:pt x="478" y="90"/>
                    <a:pt x="478" y="90"/>
                    <a:pt x="478" y="90"/>
                  </a:cubicBezTo>
                  <a:cubicBezTo>
                    <a:pt x="476" y="87"/>
                    <a:pt x="475" y="86"/>
                    <a:pt x="475" y="83"/>
                  </a:cubicBezTo>
                  <a:cubicBezTo>
                    <a:pt x="475" y="81"/>
                    <a:pt x="475" y="80"/>
                    <a:pt x="476" y="78"/>
                  </a:cubicBezTo>
                  <a:cubicBezTo>
                    <a:pt x="476" y="73"/>
                    <a:pt x="477" y="68"/>
                    <a:pt x="473" y="62"/>
                  </a:cubicBezTo>
                  <a:cubicBezTo>
                    <a:pt x="473" y="62"/>
                    <a:pt x="472" y="61"/>
                    <a:pt x="472" y="61"/>
                  </a:cubicBezTo>
                  <a:cubicBezTo>
                    <a:pt x="471" y="60"/>
                    <a:pt x="471" y="59"/>
                    <a:pt x="471" y="58"/>
                  </a:cubicBezTo>
                  <a:cubicBezTo>
                    <a:pt x="471" y="55"/>
                    <a:pt x="472" y="51"/>
                    <a:pt x="473" y="49"/>
                  </a:cubicBezTo>
                  <a:cubicBezTo>
                    <a:pt x="474" y="46"/>
                    <a:pt x="475" y="43"/>
                    <a:pt x="477" y="41"/>
                  </a:cubicBezTo>
                  <a:cubicBezTo>
                    <a:pt x="477" y="40"/>
                    <a:pt x="478" y="39"/>
                    <a:pt x="478" y="38"/>
                  </a:cubicBezTo>
                  <a:cubicBezTo>
                    <a:pt x="479" y="36"/>
                    <a:pt x="481" y="33"/>
                    <a:pt x="483" y="31"/>
                  </a:cubicBezTo>
                  <a:cubicBezTo>
                    <a:pt x="483" y="30"/>
                    <a:pt x="484" y="30"/>
                    <a:pt x="485" y="29"/>
                  </a:cubicBezTo>
                  <a:cubicBezTo>
                    <a:pt x="487" y="25"/>
                    <a:pt x="489" y="22"/>
                    <a:pt x="489" y="17"/>
                  </a:cubicBezTo>
                  <a:cubicBezTo>
                    <a:pt x="488" y="14"/>
                    <a:pt x="488" y="14"/>
                    <a:pt x="488" y="14"/>
                  </a:cubicBezTo>
                  <a:cubicBezTo>
                    <a:pt x="486" y="14"/>
                    <a:pt x="486" y="14"/>
                    <a:pt x="486" y="14"/>
                  </a:cubicBezTo>
                  <a:cubicBezTo>
                    <a:pt x="481" y="14"/>
                    <a:pt x="477" y="14"/>
                    <a:pt x="473" y="13"/>
                  </a:cubicBezTo>
                  <a:cubicBezTo>
                    <a:pt x="470" y="13"/>
                    <a:pt x="470" y="13"/>
                    <a:pt x="470" y="13"/>
                  </a:cubicBezTo>
                  <a:cubicBezTo>
                    <a:pt x="469" y="13"/>
                    <a:pt x="468" y="13"/>
                    <a:pt x="467" y="13"/>
                  </a:cubicBezTo>
                  <a:cubicBezTo>
                    <a:pt x="464" y="13"/>
                    <a:pt x="462" y="13"/>
                    <a:pt x="460" y="15"/>
                  </a:cubicBezTo>
                  <a:cubicBezTo>
                    <a:pt x="459" y="16"/>
                    <a:pt x="459" y="16"/>
                    <a:pt x="458" y="17"/>
                  </a:cubicBezTo>
                  <a:cubicBezTo>
                    <a:pt x="455" y="19"/>
                    <a:pt x="451" y="22"/>
                    <a:pt x="449" y="25"/>
                  </a:cubicBezTo>
                  <a:cubicBezTo>
                    <a:pt x="448" y="27"/>
                    <a:pt x="448" y="27"/>
                    <a:pt x="448" y="27"/>
                  </a:cubicBezTo>
                  <a:cubicBezTo>
                    <a:pt x="443" y="36"/>
                    <a:pt x="437" y="44"/>
                    <a:pt x="434" y="54"/>
                  </a:cubicBezTo>
                  <a:cubicBezTo>
                    <a:pt x="430" y="68"/>
                    <a:pt x="426" y="89"/>
                    <a:pt x="428" y="108"/>
                  </a:cubicBezTo>
                  <a:cubicBezTo>
                    <a:pt x="430" y="115"/>
                    <a:pt x="434" y="119"/>
                    <a:pt x="441" y="121"/>
                  </a:cubicBezTo>
                  <a:cubicBezTo>
                    <a:pt x="444" y="122"/>
                    <a:pt x="446" y="122"/>
                    <a:pt x="449" y="122"/>
                  </a:cubicBezTo>
                  <a:cubicBezTo>
                    <a:pt x="450" y="122"/>
                    <a:pt x="450" y="122"/>
                    <a:pt x="450" y="122"/>
                  </a:cubicBezTo>
                  <a:cubicBezTo>
                    <a:pt x="454" y="122"/>
                    <a:pt x="461" y="126"/>
                    <a:pt x="461" y="129"/>
                  </a:cubicBezTo>
                  <a:cubicBezTo>
                    <a:pt x="461" y="129"/>
                    <a:pt x="461" y="129"/>
                    <a:pt x="460" y="129"/>
                  </a:cubicBezTo>
                  <a:cubicBezTo>
                    <a:pt x="458" y="129"/>
                    <a:pt x="453" y="127"/>
                    <a:pt x="452" y="126"/>
                  </a:cubicBezTo>
                  <a:cubicBezTo>
                    <a:pt x="452" y="126"/>
                    <a:pt x="450" y="126"/>
                    <a:pt x="449" y="125"/>
                  </a:cubicBezTo>
                  <a:cubicBezTo>
                    <a:pt x="447" y="124"/>
                    <a:pt x="443" y="123"/>
                    <a:pt x="440" y="123"/>
                  </a:cubicBezTo>
                  <a:cubicBezTo>
                    <a:pt x="438" y="123"/>
                    <a:pt x="437" y="124"/>
                    <a:pt x="436" y="125"/>
                  </a:cubicBezTo>
                  <a:cubicBezTo>
                    <a:pt x="431" y="129"/>
                    <a:pt x="434" y="134"/>
                    <a:pt x="436" y="137"/>
                  </a:cubicBezTo>
                  <a:cubicBezTo>
                    <a:pt x="437" y="138"/>
                    <a:pt x="437" y="139"/>
                    <a:pt x="437" y="139"/>
                  </a:cubicBezTo>
                  <a:cubicBezTo>
                    <a:pt x="439" y="145"/>
                    <a:pt x="442" y="147"/>
                    <a:pt x="446" y="151"/>
                  </a:cubicBezTo>
                  <a:cubicBezTo>
                    <a:pt x="452" y="156"/>
                    <a:pt x="460" y="157"/>
                    <a:pt x="463" y="157"/>
                  </a:cubicBezTo>
                  <a:cubicBezTo>
                    <a:pt x="463" y="157"/>
                    <a:pt x="464" y="157"/>
                    <a:pt x="464" y="157"/>
                  </a:cubicBezTo>
                  <a:cubicBezTo>
                    <a:pt x="466" y="157"/>
                    <a:pt x="468" y="157"/>
                    <a:pt x="469" y="156"/>
                  </a:cubicBezTo>
                  <a:cubicBezTo>
                    <a:pt x="470" y="156"/>
                    <a:pt x="471" y="156"/>
                    <a:pt x="472" y="156"/>
                  </a:cubicBezTo>
                  <a:cubicBezTo>
                    <a:pt x="472" y="156"/>
                    <a:pt x="473" y="156"/>
                    <a:pt x="474" y="158"/>
                  </a:cubicBezTo>
                  <a:cubicBezTo>
                    <a:pt x="475" y="159"/>
                    <a:pt x="475" y="159"/>
                    <a:pt x="475" y="159"/>
                  </a:cubicBezTo>
                  <a:cubicBezTo>
                    <a:pt x="477" y="162"/>
                    <a:pt x="480" y="166"/>
                    <a:pt x="484" y="167"/>
                  </a:cubicBezTo>
                  <a:cubicBezTo>
                    <a:pt x="485" y="167"/>
                    <a:pt x="485" y="167"/>
                    <a:pt x="486" y="167"/>
                  </a:cubicBezTo>
                  <a:cubicBezTo>
                    <a:pt x="488" y="167"/>
                    <a:pt x="489" y="166"/>
                    <a:pt x="491" y="166"/>
                  </a:cubicBezTo>
                  <a:cubicBezTo>
                    <a:pt x="492" y="165"/>
                    <a:pt x="493" y="165"/>
                    <a:pt x="494" y="165"/>
                  </a:cubicBezTo>
                  <a:cubicBezTo>
                    <a:pt x="494" y="165"/>
                    <a:pt x="495" y="165"/>
                    <a:pt x="495" y="165"/>
                  </a:cubicBezTo>
                  <a:cubicBezTo>
                    <a:pt x="498" y="166"/>
                    <a:pt x="498" y="166"/>
                    <a:pt x="498" y="166"/>
                  </a:cubicBezTo>
                  <a:cubicBezTo>
                    <a:pt x="500" y="166"/>
                    <a:pt x="502" y="167"/>
                    <a:pt x="505" y="167"/>
                  </a:cubicBezTo>
                  <a:cubicBezTo>
                    <a:pt x="503" y="167"/>
                    <a:pt x="501" y="168"/>
                    <a:pt x="500" y="168"/>
                  </a:cubicBezTo>
                  <a:cubicBezTo>
                    <a:pt x="499" y="169"/>
                    <a:pt x="499" y="169"/>
                    <a:pt x="498" y="169"/>
                  </a:cubicBezTo>
                  <a:cubicBezTo>
                    <a:pt x="497" y="169"/>
                    <a:pt x="496" y="169"/>
                    <a:pt x="495" y="169"/>
                  </a:cubicBezTo>
                  <a:cubicBezTo>
                    <a:pt x="495" y="169"/>
                    <a:pt x="495" y="169"/>
                    <a:pt x="495" y="169"/>
                  </a:cubicBezTo>
                  <a:cubicBezTo>
                    <a:pt x="495" y="169"/>
                    <a:pt x="494" y="169"/>
                    <a:pt x="494" y="169"/>
                  </a:cubicBezTo>
                  <a:cubicBezTo>
                    <a:pt x="494" y="169"/>
                    <a:pt x="493" y="169"/>
                    <a:pt x="492" y="169"/>
                  </a:cubicBezTo>
                  <a:cubicBezTo>
                    <a:pt x="492" y="169"/>
                    <a:pt x="491" y="169"/>
                    <a:pt x="491" y="169"/>
                  </a:cubicBezTo>
                  <a:cubicBezTo>
                    <a:pt x="487" y="171"/>
                    <a:pt x="487" y="176"/>
                    <a:pt x="488" y="181"/>
                  </a:cubicBezTo>
                  <a:cubicBezTo>
                    <a:pt x="488" y="181"/>
                    <a:pt x="488" y="182"/>
                    <a:pt x="488" y="182"/>
                  </a:cubicBezTo>
                  <a:cubicBezTo>
                    <a:pt x="488" y="186"/>
                    <a:pt x="488" y="190"/>
                    <a:pt x="489" y="193"/>
                  </a:cubicBezTo>
                  <a:cubicBezTo>
                    <a:pt x="490" y="198"/>
                    <a:pt x="494" y="199"/>
                    <a:pt x="497" y="199"/>
                  </a:cubicBezTo>
                  <a:cubicBezTo>
                    <a:pt x="497" y="200"/>
                    <a:pt x="497" y="200"/>
                    <a:pt x="497" y="201"/>
                  </a:cubicBezTo>
                  <a:cubicBezTo>
                    <a:pt x="497" y="201"/>
                    <a:pt x="497" y="202"/>
                    <a:pt x="497" y="203"/>
                  </a:cubicBezTo>
                  <a:cubicBezTo>
                    <a:pt x="497" y="203"/>
                    <a:pt x="497" y="204"/>
                    <a:pt x="497" y="204"/>
                  </a:cubicBezTo>
                  <a:cubicBezTo>
                    <a:pt x="497" y="206"/>
                    <a:pt x="497" y="209"/>
                    <a:pt x="496" y="210"/>
                  </a:cubicBezTo>
                  <a:cubicBezTo>
                    <a:pt x="495" y="210"/>
                    <a:pt x="494" y="211"/>
                    <a:pt x="494" y="211"/>
                  </a:cubicBezTo>
                  <a:cubicBezTo>
                    <a:pt x="492" y="212"/>
                    <a:pt x="489" y="213"/>
                    <a:pt x="488" y="215"/>
                  </a:cubicBezTo>
                  <a:cubicBezTo>
                    <a:pt x="487" y="217"/>
                    <a:pt x="487" y="220"/>
                    <a:pt x="487" y="223"/>
                  </a:cubicBezTo>
                  <a:cubicBezTo>
                    <a:pt x="487" y="224"/>
                    <a:pt x="487" y="225"/>
                    <a:pt x="486" y="226"/>
                  </a:cubicBezTo>
                  <a:cubicBezTo>
                    <a:pt x="486" y="229"/>
                    <a:pt x="486" y="231"/>
                    <a:pt x="486" y="234"/>
                  </a:cubicBezTo>
                  <a:cubicBezTo>
                    <a:pt x="486" y="237"/>
                    <a:pt x="486" y="240"/>
                    <a:pt x="485" y="243"/>
                  </a:cubicBezTo>
                  <a:cubicBezTo>
                    <a:pt x="485" y="243"/>
                    <a:pt x="485" y="243"/>
                    <a:pt x="484" y="243"/>
                  </a:cubicBezTo>
                  <a:cubicBezTo>
                    <a:pt x="484" y="244"/>
                    <a:pt x="484" y="244"/>
                    <a:pt x="483" y="244"/>
                  </a:cubicBezTo>
                  <a:cubicBezTo>
                    <a:pt x="481" y="246"/>
                    <a:pt x="479" y="250"/>
                    <a:pt x="478" y="254"/>
                  </a:cubicBezTo>
                  <a:cubicBezTo>
                    <a:pt x="478" y="255"/>
                    <a:pt x="478" y="257"/>
                    <a:pt x="478" y="258"/>
                  </a:cubicBezTo>
                  <a:cubicBezTo>
                    <a:pt x="478" y="260"/>
                    <a:pt x="478" y="262"/>
                    <a:pt x="478" y="263"/>
                  </a:cubicBezTo>
                  <a:cubicBezTo>
                    <a:pt x="477" y="263"/>
                    <a:pt x="477" y="264"/>
                    <a:pt x="476" y="264"/>
                  </a:cubicBezTo>
                  <a:cubicBezTo>
                    <a:pt x="475" y="264"/>
                    <a:pt x="474" y="265"/>
                    <a:pt x="473" y="266"/>
                  </a:cubicBezTo>
                  <a:cubicBezTo>
                    <a:pt x="472" y="267"/>
                    <a:pt x="471" y="268"/>
                    <a:pt x="471" y="269"/>
                  </a:cubicBezTo>
                  <a:cubicBezTo>
                    <a:pt x="470" y="268"/>
                    <a:pt x="469" y="266"/>
                    <a:pt x="468" y="264"/>
                  </a:cubicBezTo>
                  <a:cubicBezTo>
                    <a:pt x="467" y="262"/>
                    <a:pt x="465" y="260"/>
                    <a:pt x="463" y="258"/>
                  </a:cubicBezTo>
                  <a:cubicBezTo>
                    <a:pt x="463" y="258"/>
                    <a:pt x="463" y="258"/>
                    <a:pt x="463" y="258"/>
                  </a:cubicBezTo>
                  <a:cubicBezTo>
                    <a:pt x="461" y="257"/>
                    <a:pt x="460" y="255"/>
                    <a:pt x="459" y="253"/>
                  </a:cubicBezTo>
                  <a:cubicBezTo>
                    <a:pt x="458" y="251"/>
                    <a:pt x="457" y="251"/>
                    <a:pt x="457" y="250"/>
                  </a:cubicBezTo>
                  <a:cubicBezTo>
                    <a:pt x="457" y="248"/>
                    <a:pt x="457" y="248"/>
                    <a:pt x="457" y="248"/>
                  </a:cubicBezTo>
                  <a:cubicBezTo>
                    <a:pt x="458" y="246"/>
                    <a:pt x="458" y="243"/>
                    <a:pt x="457" y="241"/>
                  </a:cubicBezTo>
                  <a:cubicBezTo>
                    <a:pt x="457" y="240"/>
                    <a:pt x="457" y="240"/>
                    <a:pt x="457" y="240"/>
                  </a:cubicBezTo>
                  <a:cubicBezTo>
                    <a:pt x="457" y="239"/>
                    <a:pt x="456" y="237"/>
                    <a:pt x="456" y="237"/>
                  </a:cubicBezTo>
                  <a:cubicBezTo>
                    <a:pt x="457" y="236"/>
                    <a:pt x="458" y="235"/>
                    <a:pt x="458" y="234"/>
                  </a:cubicBezTo>
                  <a:cubicBezTo>
                    <a:pt x="459" y="233"/>
                    <a:pt x="459" y="233"/>
                    <a:pt x="459" y="233"/>
                  </a:cubicBezTo>
                  <a:cubicBezTo>
                    <a:pt x="461" y="231"/>
                    <a:pt x="462" y="228"/>
                    <a:pt x="462" y="226"/>
                  </a:cubicBezTo>
                  <a:cubicBezTo>
                    <a:pt x="462" y="225"/>
                    <a:pt x="462" y="224"/>
                    <a:pt x="462" y="223"/>
                  </a:cubicBezTo>
                  <a:cubicBezTo>
                    <a:pt x="462" y="220"/>
                    <a:pt x="463" y="216"/>
                    <a:pt x="461" y="212"/>
                  </a:cubicBezTo>
                  <a:cubicBezTo>
                    <a:pt x="460" y="211"/>
                    <a:pt x="459" y="210"/>
                    <a:pt x="459" y="209"/>
                  </a:cubicBezTo>
                  <a:cubicBezTo>
                    <a:pt x="458" y="208"/>
                    <a:pt x="458" y="208"/>
                    <a:pt x="457" y="207"/>
                  </a:cubicBezTo>
                  <a:cubicBezTo>
                    <a:pt x="456" y="205"/>
                    <a:pt x="454" y="204"/>
                    <a:pt x="452" y="202"/>
                  </a:cubicBezTo>
                  <a:cubicBezTo>
                    <a:pt x="452" y="201"/>
                    <a:pt x="451" y="201"/>
                    <a:pt x="450" y="200"/>
                  </a:cubicBezTo>
                  <a:cubicBezTo>
                    <a:pt x="449" y="200"/>
                    <a:pt x="448" y="199"/>
                    <a:pt x="448" y="199"/>
                  </a:cubicBezTo>
                  <a:cubicBezTo>
                    <a:pt x="448" y="198"/>
                    <a:pt x="448" y="198"/>
                    <a:pt x="447" y="197"/>
                  </a:cubicBezTo>
                  <a:cubicBezTo>
                    <a:pt x="446" y="196"/>
                    <a:pt x="444" y="192"/>
                    <a:pt x="441" y="192"/>
                  </a:cubicBezTo>
                  <a:cubicBezTo>
                    <a:pt x="440" y="192"/>
                    <a:pt x="440" y="192"/>
                    <a:pt x="440" y="192"/>
                  </a:cubicBezTo>
                  <a:cubicBezTo>
                    <a:pt x="435" y="193"/>
                    <a:pt x="435" y="197"/>
                    <a:pt x="435" y="199"/>
                  </a:cubicBezTo>
                  <a:cubicBezTo>
                    <a:pt x="435" y="199"/>
                    <a:pt x="434" y="200"/>
                    <a:pt x="434" y="201"/>
                  </a:cubicBezTo>
                  <a:cubicBezTo>
                    <a:pt x="433" y="202"/>
                    <a:pt x="433" y="203"/>
                    <a:pt x="432" y="205"/>
                  </a:cubicBezTo>
                  <a:cubicBezTo>
                    <a:pt x="432" y="206"/>
                    <a:pt x="432" y="206"/>
                    <a:pt x="432" y="206"/>
                  </a:cubicBezTo>
                  <a:cubicBezTo>
                    <a:pt x="432" y="208"/>
                    <a:pt x="432" y="210"/>
                    <a:pt x="432" y="212"/>
                  </a:cubicBezTo>
                  <a:cubicBezTo>
                    <a:pt x="432" y="215"/>
                    <a:pt x="431" y="217"/>
                    <a:pt x="429" y="220"/>
                  </a:cubicBezTo>
                  <a:cubicBezTo>
                    <a:pt x="429" y="221"/>
                    <a:pt x="429" y="222"/>
                    <a:pt x="428" y="223"/>
                  </a:cubicBezTo>
                  <a:cubicBezTo>
                    <a:pt x="428" y="224"/>
                    <a:pt x="428" y="226"/>
                    <a:pt x="428" y="227"/>
                  </a:cubicBezTo>
                  <a:cubicBezTo>
                    <a:pt x="428" y="230"/>
                    <a:pt x="427" y="230"/>
                    <a:pt x="427" y="231"/>
                  </a:cubicBezTo>
                  <a:cubicBezTo>
                    <a:pt x="427" y="231"/>
                    <a:pt x="426" y="230"/>
                    <a:pt x="425" y="222"/>
                  </a:cubicBezTo>
                  <a:cubicBezTo>
                    <a:pt x="425" y="221"/>
                    <a:pt x="425" y="219"/>
                    <a:pt x="426" y="217"/>
                  </a:cubicBezTo>
                  <a:cubicBezTo>
                    <a:pt x="426" y="213"/>
                    <a:pt x="426" y="208"/>
                    <a:pt x="424" y="203"/>
                  </a:cubicBezTo>
                  <a:cubicBezTo>
                    <a:pt x="423" y="202"/>
                    <a:pt x="422" y="201"/>
                    <a:pt x="422" y="200"/>
                  </a:cubicBezTo>
                  <a:cubicBezTo>
                    <a:pt x="421" y="199"/>
                    <a:pt x="420" y="198"/>
                    <a:pt x="419" y="197"/>
                  </a:cubicBezTo>
                  <a:cubicBezTo>
                    <a:pt x="419" y="196"/>
                    <a:pt x="420" y="196"/>
                    <a:pt x="421" y="194"/>
                  </a:cubicBezTo>
                  <a:cubicBezTo>
                    <a:pt x="423" y="193"/>
                    <a:pt x="425" y="191"/>
                    <a:pt x="425" y="188"/>
                  </a:cubicBezTo>
                  <a:cubicBezTo>
                    <a:pt x="425" y="184"/>
                    <a:pt x="421" y="183"/>
                    <a:pt x="418" y="182"/>
                  </a:cubicBezTo>
                  <a:cubicBezTo>
                    <a:pt x="418" y="182"/>
                    <a:pt x="417" y="182"/>
                    <a:pt x="417" y="182"/>
                  </a:cubicBezTo>
                  <a:cubicBezTo>
                    <a:pt x="416" y="181"/>
                    <a:pt x="415" y="181"/>
                    <a:pt x="415" y="181"/>
                  </a:cubicBezTo>
                  <a:cubicBezTo>
                    <a:pt x="414" y="180"/>
                    <a:pt x="412" y="179"/>
                    <a:pt x="411" y="179"/>
                  </a:cubicBezTo>
                  <a:cubicBezTo>
                    <a:pt x="409" y="179"/>
                    <a:pt x="407" y="181"/>
                    <a:pt x="405" y="182"/>
                  </a:cubicBezTo>
                  <a:cubicBezTo>
                    <a:pt x="405" y="183"/>
                    <a:pt x="404" y="183"/>
                    <a:pt x="404" y="183"/>
                  </a:cubicBezTo>
                  <a:cubicBezTo>
                    <a:pt x="404" y="183"/>
                    <a:pt x="403" y="182"/>
                    <a:pt x="403" y="181"/>
                  </a:cubicBezTo>
                  <a:cubicBezTo>
                    <a:pt x="402" y="180"/>
                    <a:pt x="402" y="180"/>
                    <a:pt x="402" y="180"/>
                  </a:cubicBezTo>
                  <a:cubicBezTo>
                    <a:pt x="401" y="179"/>
                    <a:pt x="399" y="178"/>
                    <a:pt x="398" y="177"/>
                  </a:cubicBezTo>
                  <a:cubicBezTo>
                    <a:pt x="398" y="177"/>
                    <a:pt x="397" y="176"/>
                    <a:pt x="397" y="176"/>
                  </a:cubicBezTo>
                  <a:cubicBezTo>
                    <a:pt x="397" y="176"/>
                    <a:pt x="397" y="176"/>
                    <a:pt x="397" y="176"/>
                  </a:cubicBezTo>
                  <a:cubicBezTo>
                    <a:pt x="397" y="176"/>
                    <a:pt x="397" y="176"/>
                    <a:pt x="400" y="175"/>
                  </a:cubicBezTo>
                  <a:cubicBezTo>
                    <a:pt x="401" y="174"/>
                    <a:pt x="403" y="173"/>
                    <a:pt x="405" y="172"/>
                  </a:cubicBezTo>
                  <a:cubicBezTo>
                    <a:pt x="406" y="170"/>
                    <a:pt x="406" y="168"/>
                    <a:pt x="406" y="167"/>
                  </a:cubicBezTo>
                  <a:cubicBezTo>
                    <a:pt x="406" y="166"/>
                    <a:pt x="406" y="165"/>
                    <a:pt x="406" y="165"/>
                  </a:cubicBezTo>
                  <a:cubicBezTo>
                    <a:pt x="406" y="165"/>
                    <a:pt x="407" y="165"/>
                    <a:pt x="408" y="165"/>
                  </a:cubicBezTo>
                  <a:cubicBezTo>
                    <a:pt x="409" y="165"/>
                    <a:pt x="411" y="165"/>
                    <a:pt x="412" y="161"/>
                  </a:cubicBezTo>
                  <a:cubicBezTo>
                    <a:pt x="414" y="157"/>
                    <a:pt x="410" y="154"/>
                    <a:pt x="409" y="153"/>
                  </a:cubicBezTo>
                  <a:cubicBezTo>
                    <a:pt x="407" y="152"/>
                    <a:pt x="407" y="152"/>
                    <a:pt x="406" y="151"/>
                  </a:cubicBezTo>
                  <a:cubicBezTo>
                    <a:pt x="406" y="150"/>
                    <a:pt x="405" y="149"/>
                    <a:pt x="405" y="148"/>
                  </a:cubicBezTo>
                  <a:cubicBezTo>
                    <a:pt x="404" y="147"/>
                    <a:pt x="404" y="146"/>
                    <a:pt x="403" y="145"/>
                  </a:cubicBezTo>
                  <a:cubicBezTo>
                    <a:pt x="403" y="144"/>
                    <a:pt x="403" y="143"/>
                    <a:pt x="403" y="143"/>
                  </a:cubicBezTo>
                  <a:cubicBezTo>
                    <a:pt x="402" y="141"/>
                    <a:pt x="402" y="140"/>
                    <a:pt x="401" y="138"/>
                  </a:cubicBezTo>
                  <a:cubicBezTo>
                    <a:pt x="400" y="137"/>
                    <a:pt x="399" y="137"/>
                    <a:pt x="399" y="136"/>
                  </a:cubicBezTo>
                  <a:cubicBezTo>
                    <a:pt x="398" y="135"/>
                    <a:pt x="397" y="135"/>
                    <a:pt x="397" y="134"/>
                  </a:cubicBezTo>
                  <a:cubicBezTo>
                    <a:pt x="396" y="132"/>
                    <a:pt x="396" y="130"/>
                    <a:pt x="397" y="127"/>
                  </a:cubicBezTo>
                  <a:cubicBezTo>
                    <a:pt x="397" y="125"/>
                    <a:pt x="397" y="124"/>
                    <a:pt x="397" y="123"/>
                  </a:cubicBezTo>
                  <a:cubicBezTo>
                    <a:pt x="397" y="119"/>
                    <a:pt x="396" y="115"/>
                    <a:pt x="394" y="112"/>
                  </a:cubicBezTo>
                  <a:cubicBezTo>
                    <a:pt x="394" y="110"/>
                    <a:pt x="392" y="108"/>
                    <a:pt x="391" y="107"/>
                  </a:cubicBezTo>
                  <a:cubicBezTo>
                    <a:pt x="391" y="106"/>
                    <a:pt x="390" y="105"/>
                    <a:pt x="389" y="104"/>
                  </a:cubicBezTo>
                  <a:cubicBezTo>
                    <a:pt x="389" y="104"/>
                    <a:pt x="389" y="103"/>
                    <a:pt x="388" y="102"/>
                  </a:cubicBezTo>
                  <a:cubicBezTo>
                    <a:pt x="388" y="100"/>
                    <a:pt x="387" y="97"/>
                    <a:pt x="385" y="96"/>
                  </a:cubicBezTo>
                  <a:cubicBezTo>
                    <a:pt x="383" y="94"/>
                    <a:pt x="381" y="94"/>
                    <a:pt x="379" y="93"/>
                  </a:cubicBezTo>
                  <a:cubicBezTo>
                    <a:pt x="379" y="93"/>
                    <a:pt x="379" y="93"/>
                    <a:pt x="378" y="93"/>
                  </a:cubicBezTo>
                  <a:cubicBezTo>
                    <a:pt x="380" y="92"/>
                    <a:pt x="381" y="91"/>
                    <a:pt x="382" y="90"/>
                  </a:cubicBezTo>
                  <a:cubicBezTo>
                    <a:pt x="383" y="89"/>
                    <a:pt x="384" y="88"/>
                    <a:pt x="385" y="87"/>
                  </a:cubicBezTo>
                  <a:cubicBezTo>
                    <a:pt x="386" y="86"/>
                    <a:pt x="387" y="86"/>
                    <a:pt x="388" y="85"/>
                  </a:cubicBezTo>
                  <a:cubicBezTo>
                    <a:pt x="393" y="80"/>
                    <a:pt x="392" y="71"/>
                    <a:pt x="391" y="65"/>
                  </a:cubicBezTo>
                  <a:cubicBezTo>
                    <a:pt x="391" y="64"/>
                    <a:pt x="391" y="64"/>
                    <a:pt x="391" y="64"/>
                  </a:cubicBezTo>
                  <a:cubicBezTo>
                    <a:pt x="391" y="63"/>
                    <a:pt x="391" y="62"/>
                    <a:pt x="391" y="62"/>
                  </a:cubicBezTo>
                  <a:cubicBezTo>
                    <a:pt x="391" y="62"/>
                    <a:pt x="392" y="62"/>
                    <a:pt x="393" y="63"/>
                  </a:cubicBezTo>
                  <a:cubicBezTo>
                    <a:pt x="396" y="63"/>
                    <a:pt x="398" y="64"/>
                    <a:pt x="400" y="64"/>
                  </a:cubicBezTo>
                  <a:cubicBezTo>
                    <a:pt x="405" y="64"/>
                    <a:pt x="409" y="62"/>
                    <a:pt x="412" y="58"/>
                  </a:cubicBezTo>
                  <a:cubicBezTo>
                    <a:pt x="414" y="55"/>
                    <a:pt x="416" y="51"/>
                    <a:pt x="417" y="48"/>
                  </a:cubicBezTo>
                  <a:cubicBezTo>
                    <a:pt x="418" y="45"/>
                    <a:pt x="418" y="43"/>
                    <a:pt x="420" y="41"/>
                  </a:cubicBezTo>
                  <a:cubicBezTo>
                    <a:pt x="421" y="39"/>
                    <a:pt x="422" y="37"/>
                    <a:pt x="424" y="35"/>
                  </a:cubicBezTo>
                  <a:cubicBezTo>
                    <a:pt x="426" y="32"/>
                    <a:pt x="429" y="28"/>
                    <a:pt x="430" y="24"/>
                  </a:cubicBezTo>
                  <a:cubicBezTo>
                    <a:pt x="431" y="20"/>
                    <a:pt x="431" y="17"/>
                    <a:pt x="429" y="15"/>
                  </a:cubicBezTo>
                  <a:cubicBezTo>
                    <a:pt x="426" y="10"/>
                    <a:pt x="418" y="8"/>
                    <a:pt x="411" y="6"/>
                  </a:cubicBezTo>
                  <a:cubicBezTo>
                    <a:pt x="408" y="6"/>
                    <a:pt x="405" y="5"/>
                    <a:pt x="403" y="4"/>
                  </a:cubicBezTo>
                  <a:cubicBezTo>
                    <a:pt x="398" y="1"/>
                    <a:pt x="393" y="0"/>
                    <a:pt x="389" y="0"/>
                  </a:cubicBezTo>
                  <a:cubicBezTo>
                    <a:pt x="386" y="0"/>
                    <a:pt x="384" y="1"/>
                    <a:pt x="382" y="1"/>
                  </a:cubicBezTo>
                  <a:cubicBezTo>
                    <a:pt x="379" y="2"/>
                    <a:pt x="372" y="4"/>
                    <a:pt x="370" y="9"/>
                  </a:cubicBezTo>
                  <a:cubicBezTo>
                    <a:pt x="369" y="10"/>
                    <a:pt x="369" y="13"/>
                    <a:pt x="370" y="16"/>
                  </a:cubicBezTo>
                  <a:cubicBezTo>
                    <a:pt x="369" y="16"/>
                    <a:pt x="368" y="17"/>
                    <a:pt x="368" y="17"/>
                  </a:cubicBezTo>
                  <a:cubicBezTo>
                    <a:pt x="365" y="19"/>
                    <a:pt x="365" y="22"/>
                    <a:pt x="365" y="24"/>
                  </a:cubicBezTo>
                  <a:cubicBezTo>
                    <a:pt x="365" y="25"/>
                    <a:pt x="365" y="25"/>
                    <a:pt x="365" y="25"/>
                  </a:cubicBezTo>
                  <a:cubicBezTo>
                    <a:pt x="365" y="26"/>
                    <a:pt x="365" y="27"/>
                    <a:pt x="365" y="28"/>
                  </a:cubicBezTo>
                  <a:cubicBezTo>
                    <a:pt x="364" y="30"/>
                    <a:pt x="364" y="32"/>
                    <a:pt x="364" y="34"/>
                  </a:cubicBezTo>
                  <a:cubicBezTo>
                    <a:pt x="364" y="36"/>
                    <a:pt x="364" y="37"/>
                    <a:pt x="364" y="39"/>
                  </a:cubicBezTo>
                  <a:cubicBezTo>
                    <a:pt x="364" y="42"/>
                    <a:pt x="365" y="45"/>
                    <a:pt x="364" y="47"/>
                  </a:cubicBezTo>
                  <a:cubicBezTo>
                    <a:pt x="364" y="47"/>
                    <a:pt x="364" y="48"/>
                    <a:pt x="363" y="48"/>
                  </a:cubicBezTo>
                  <a:cubicBezTo>
                    <a:pt x="363" y="50"/>
                    <a:pt x="362" y="52"/>
                    <a:pt x="363" y="55"/>
                  </a:cubicBezTo>
                  <a:cubicBezTo>
                    <a:pt x="363" y="56"/>
                    <a:pt x="363" y="57"/>
                    <a:pt x="364" y="58"/>
                  </a:cubicBezTo>
                  <a:cubicBezTo>
                    <a:pt x="364" y="59"/>
                    <a:pt x="365" y="59"/>
                    <a:pt x="365" y="60"/>
                  </a:cubicBezTo>
                  <a:cubicBezTo>
                    <a:pt x="366" y="64"/>
                    <a:pt x="366" y="68"/>
                    <a:pt x="366" y="73"/>
                  </a:cubicBezTo>
                  <a:cubicBezTo>
                    <a:pt x="366" y="74"/>
                    <a:pt x="366" y="76"/>
                    <a:pt x="366" y="77"/>
                  </a:cubicBezTo>
                  <a:cubicBezTo>
                    <a:pt x="366" y="79"/>
                    <a:pt x="366" y="81"/>
                    <a:pt x="366" y="82"/>
                  </a:cubicBezTo>
                  <a:cubicBezTo>
                    <a:pt x="366" y="83"/>
                    <a:pt x="365" y="83"/>
                    <a:pt x="365" y="84"/>
                  </a:cubicBezTo>
                  <a:cubicBezTo>
                    <a:pt x="364" y="86"/>
                    <a:pt x="363" y="88"/>
                    <a:pt x="365" y="91"/>
                  </a:cubicBezTo>
                  <a:cubicBezTo>
                    <a:pt x="365" y="91"/>
                    <a:pt x="365" y="91"/>
                    <a:pt x="365" y="91"/>
                  </a:cubicBezTo>
                  <a:cubicBezTo>
                    <a:pt x="363" y="92"/>
                    <a:pt x="363" y="94"/>
                    <a:pt x="362" y="95"/>
                  </a:cubicBezTo>
                  <a:cubicBezTo>
                    <a:pt x="362" y="96"/>
                    <a:pt x="362" y="96"/>
                    <a:pt x="362" y="96"/>
                  </a:cubicBezTo>
                  <a:cubicBezTo>
                    <a:pt x="362" y="96"/>
                    <a:pt x="362" y="96"/>
                    <a:pt x="361" y="97"/>
                  </a:cubicBezTo>
                  <a:cubicBezTo>
                    <a:pt x="359" y="97"/>
                    <a:pt x="357" y="98"/>
                    <a:pt x="356" y="100"/>
                  </a:cubicBezTo>
                  <a:cubicBezTo>
                    <a:pt x="355" y="102"/>
                    <a:pt x="355" y="105"/>
                    <a:pt x="356" y="106"/>
                  </a:cubicBezTo>
                  <a:cubicBezTo>
                    <a:pt x="357" y="107"/>
                    <a:pt x="358" y="108"/>
                    <a:pt x="360" y="108"/>
                  </a:cubicBezTo>
                  <a:cubicBezTo>
                    <a:pt x="360" y="108"/>
                    <a:pt x="360" y="108"/>
                    <a:pt x="359" y="108"/>
                  </a:cubicBezTo>
                  <a:cubicBezTo>
                    <a:pt x="359" y="108"/>
                    <a:pt x="359" y="108"/>
                    <a:pt x="358" y="108"/>
                  </a:cubicBezTo>
                  <a:cubicBezTo>
                    <a:pt x="358" y="108"/>
                    <a:pt x="357" y="108"/>
                    <a:pt x="356" y="108"/>
                  </a:cubicBezTo>
                  <a:cubicBezTo>
                    <a:pt x="355" y="108"/>
                    <a:pt x="352" y="108"/>
                    <a:pt x="350" y="110"/>
                  </a:cubicBezTo>
                  <a:cubicBezTo>
                    <a:pt x="348" y="113"/>
                    <a:pt x="347" y="118"/>
                    <a:pt x="346" y="121"/>
                  </a:cubicBezTo>
                  <a:cubicBezTo>
                    <a:pt x="345" y="122"/>
                    <a:pt x="345" y="123"/>
                    <a:pt x="345" y="124"/>
                  </a:cubicBezTo>
                  <a:cubicBezTo>
                    <a:pt x="345" y="124"/>
                    <a:pt x="345" y="125"/>
                    <a:pt x="345" y="125"/>
                  </a:cubicBezTo>
                  <a:cubicBezTo>
                    <a:pt x="343" y="128"/>
                    <a:pt x="341" y="136"/>
                    <a:pt x="347" y="139"/>
                  </a:cubicBezTo>
                  <a:cubicBezTo>
                    <a:pt x="348" y="139"/>
                    <a:pt x="348" y="139"/>
                    <a:pt x="349" y="139"/>
                  </a:cubicBezTo>
                  <a:cubicBezTo>
                    <a:pt x="349" y="139"/>
                    <a:pt x="348" y="140"/>
                    <a:pt x="348" y="140"/>
                  </a:cubicBezTo>
                  <a:cubicBezTo>
                    <a:pt x="346" y="141"/>
                    <a:pt x="345" y="143"/>
                    <a:pt x="344" y="144"/>
                  </a:cubicBezTo>
                  <a:cubicBezTo>
                    <a:pt x="344" y="144"/>
                    <a:pt x="344" y="145"/>
                    <a:pt x="343" y="145"/>
                  </a:cubicBezTo>
                  <a:cubicBezTo>
                    <a:pt x="343" y="146"/>
                    <a:pt x="342" y="146"/>
                    <a:pt x="341" y="148"/>
                  </a:cubicBezTo>
                  <a:cubicBezTo>
                    <a:pt x="340" y="151"/>
                    <a:pt x="340" y="156"/>
                    <a:pt x="340" y="158"/>
                  </a:cubicBezTo>
                  <a:cubicBezTo>
                    <a:pt x="341" y="161"/>
                    <a:pt x="342" y="162"/>
                    <a:pt x="344" y="163"/>
                  </a:cubicBezTo>
                  <a:cubicBezTo>
                    <a:pt x="344" y="164"/>
                    <a:pt x="345" y="164"/>
                    <a:pt x="345" y="165"/>
                  </a:cubicBezTo>
                  <a:cubicBezTo>
                    <a:pt x="345" y="165"/>
                    <a:pt x="345" y="166"/>
                    <a:pt x="345" y="166"/>
                  </a:cubicBezTo>
                  <a:cubicBezTo>
                    <a:pt x="345" y="167"/>
                    <a:pt x="345" y="168"/>
                    <a:pt x="345" y="170"/>
                  </a:cubicBezTo>
                  <a:cubicBezTo>
                    <a:pt x="346" y="172"/>
                    <a:pt x="347" y="173"/>
                    <a:pt x="349" y="174"/>
                  </a:cubicBezTo>
                  <a:cubicBezTo>
                    <a:pt x="351" y="175"/>
                    <a:pt x="353" y="176"/>
                    <a:pt x="355" y="177"/>
                  </a:cubicBezTo>
                  <a:cubicBezTo>
                    <a:pt x="356" y="177"/>
                    <a:pt x="356" y="177"/>
                    <a:pt x="357" y="178"/>
                  </a:cubicBezTo>
                  <a:cubicBezTo>
                    <a:pt x="360" y="179"/>
                    <a:pt x="362" y="181"/>
                    <a:pt x="364" y="182"/>
                  </a:cubicBezTo>
                  <a:cubicBezTo>
                    <a:pt x="365" y="184"/>
                    <a:pt x="367" y="185"/>
                    <a:pt x="368" y="186"/>
                  </a:cubicBezTo>
                  <a:cubicBezTo>
                    <a:pt x="370" y="187"/>
                    <a:pt x="372" y="188"/>
                    <a:pt x="374" y="188"/>
                  </a:cubicBezTo>
                  <a:cubicBezTo>
                    <a:pt x="374" y="188"/>
                    <a:pt x="375" y="188"/>
                    <a:pt x="375" y="188"/>
                  </a:cubicBezTo>
                  <a:cubicBezTo>
                    <a:pt x="376" y="188"/>
                    <a:pt x="377" y="188"/>
                    <a:pt x="378" y="188"/>
                  </a:cubicBezTo>
                  <a:cubicBezTo>
                    <a:pt x="378" y="188"/>
                    <a:pt x="379" y="188"/>
                    <a:pt x="379" y="188"/>
                  </a:cubicBezTo>
                  <a:cubicBezTo>
                    <a:pt x="380" y="188"/>
                    <a:pt x="380" y="188"/>
                    <a:pt x="381" y="188"/>
                  </a:cubicBezTo>
                  <a:cubicBezTo>
                    <a:pt x="381" y="189"/>
                    <a:pt x="380" y="189"/>
                    <a:pt x="379" y="190"/>
                  </a:cubicBezTo>
                  <a:cubicBezTo>
                    <a:pt x="379" y="190"/>
                    <a:pt x="379" y="190"/>
                    <a:pt x="379" y="190"/>
                  </a:cubicBezTo>
                  <a:cubicBezTo>
                    <a:pt x="378" y="190"/>
                    <a:pt x="377" y="189"/>
                    <a:pt x="377" y="189"/>
                  </a:cubicBezTo>
                  <a:cubicBezTo>
                    <a:pt x="376" y="189"/>
                    <a:pt x="375" y="189"/>
                    <a:pt x="374" y="189"/>
                  </a:cubicBezTo>
                  <a:cubicBezTo>
                    <a:pt x="368" y="189"/>
                    <a:pt x="367" y="193"/>
                    <a:pt x="367" y="195"/>
                  </a:cubicBezTo>
                  <a:cubicBezTo>
                    <a:pt x="367" y="196"/>
                    <a:pt x="368" y="197"/>
                    <a:pt x="368" y="198"/>
                  </a:cubicBezTo>
                  <a:cubicBezTo>
                    <a:pt x="368" y="199"/>
                    <a:pt x="368" y="201"/>
                    <a:pt x="368" y="201"/>
                  </a:cubicBezTo>
                  <a:cubicBezTo>
                    <a:pt x="367" y="202"/>
                    <a:pt x="363" y="203"/>
                    <a:pt x="362" y="208"/>
                  </a:cubicBezTo>
                  <a:cubicBezTo>
                    <a:pt x="362" y="211"/>
                    <a:pt x="363" y="214"/>
                    <a:pt x="365" y="216"/>
                  </a:cubicBezTo>
                  <a:cubicBezTo>
                    <a:pt x="367" y="217"/>
                    <a:pt x="368" y="218"/>
                    <a:pt x="369" y="218"/>
                  </a:cubicBezTo>
                  <a:cubicBezTo>
                    <a:pt x="373" y="218"/>
                    <a:pt x="374" y="215"/>
                    <a:pt x="376" y="212"/>
                  </a:cubicBezTo>
                  <a:cubicBezTo>
                    <a:pt x="376" y="213"/>
                    <a:pt x="376" y="214"/>
                    <a:pt x="376" y="214"/>
                  </a:cubicBezTo>
                  <a:cubicBezTo>
                    <a:pt x="376" y="216"/>
                    <a:pt x="376" y="217"/>
                    <a:pt x="376" y="219"/>
                  </a:cubicBezTo>
                  <a:cubicBezTo>
                    <a:pt x="376" y="219"/>
                    <a:pt x="375" y="219"/>
                    <a:pt x="374" y="220"/>
                  </a:cubicBezTo>
                  <a:cubicBezTo>
                    <a:pt x="373" y="221"/>
                    <a:pt x="371" y="223"/>
                    <a:pt x="369" y="225"/>
                  </a:cubicBezTo>
                  <a:cubicBezTo>
                    <a:pt x="367" y="226"/>
                    <a:pt x="366" y="228"/>
                    <a:pt x="365" y="230"/>
                  </a:cubicBezTo>
                  <a:cubicBezTo>
                    <a:pt x="364" y="232"/>
                    <a:pt x="364" y="232"/>
                    <a:pt x="364" y="232"/>
                  </a:cubicBezTo>
                  <a:cubicBezTo>
                    <a:pt x="364" y="232"/>
                    <a:pt x="364" y="232"/>
                    <a:pt x="364" y="233"/>
                  </a:cubicBezTo>
                  <a:cubicBezTo>
                    <a:pt x="363" y="233"/>
                    <a:pt x="363" y="234"/>
                    <a:pt x="363" y="234"/>
                  </a:cubicBezTo>
                  <a:cubicBezTo>
                    <a:pt x="363" y="234"/>
                    <a:pt x="362" y="234"/>
                    <a:pt x="362" y="234"/>
                  </a:cubicBezTo>
                  <a:cubicBezTo>
                    <a:pt x="362" y="234"/>
                    <a:pt x="361" y="234"/>
                    <a:pt x="361" y="234"/>
                  </a:cubicBezTo>
                  <a:cubicBezTo>
                    <a:pt x="360" y="234"/>
                    <a:pt x="360" y="234"/>
                    <a:pt x="359" y="234"/>
                  </a:cubicBezTo>
                  <a:cubicBezTo>
                    <a:pt x="357" y="234"/>
                    <a:pt x="356" y="234"/>
                    <a:pt x="354" y="235"/>
                  </a:cubicBezTo>
                  <a:cubicBezTo>
                    <a:pt x="351" y="237"/>
                    <a:pt x="349" y="239"/>
                    <a:pt x="347" y="242"/>
                  </a:cubicBezTo>
                  <a:cubicBezTo>
                    <a:pt x="347" y="242"/>
                    <a:pt x="347" y="242"/>
                    <a:pt x="347" y="242"/>
                  </a:cubicBezTo>
                  <a:cubicBezTo>
                    <a:pt x="344" y="247"/>
                    <a:pt x="345" y="251"/>
                    <a:pt x="346" y="254"/>
                  </a:cubicBezTo>
                  <a:cubicBezTo>
                    <a:pt x="346" y="255"/>
                    <a:pt x="346" y="255"/>
                    <a:pt x="346" y="255"/>
                  </a:cubicBezTo>
                  <a:cubicBezTo>
                    <a:pt x="347" y="256"/>
                    <a:pt x="347" y="257"/>
                    <a:pt x="347" y="259"/>
                  </a:cubicBezTo>
                  <a:cubicBezTo>
                    <a:pt x="347" y="259"/>
                    <a:pt x="348" y="260"/>
                    <a:pt x="348" y="260"/>
                  </a:cubicBezTo>
                  <a:cubicBezTo>
                    <a:pt x="348" y="262"/>
                    <a:pt x="348" y="263"/>
                    <a:pt x="349" y="265"/>
                  </a:cubicBezTo>
                  <a:cubicBezTo>
                    <a:pt x="349" y="267"/>
                    <a:pt x="349" y="268"/>
                    <a:pt x="348" y="269"/>
                  </a:cubicBezTo>
                  <a:cubicBezTo>
                    <a:pt x="348" y="270"/>
                    <a:pt x="348" y="270"/>
                    <a:pt x="348" y="270"/>
                  </a:cubicBezTo>
                  <a:cubicBezTo>
                    <a:pt x="348" y="270"/>
                    <a:pt x="348" y="270"/>
                    <a:pt x="347" y="270"/>
                  </a:cubicBezTo>
                  <a:cubicBezTo>
                    <a:pt x="347" y="270"/>
                    <a:pt x="346" y="269"/>
                    <a:pt x="345" y="269"/>
                  </a:cubicBezTo>
                  <a:cubicBezTo>
                    <a:pt x="345" y="268"/>
                    <a:pt x="344" y="268"/>
                    <a:pt x="344" y="268"/>
                  </a:cubicBezTo>
                  <a:cubicBezTo>
                    <a:pt x="343" y="268"/>
                    <a:pt x="342" y="268"/>
                    <a:pt x="342" y="267"/>
                  </a:cubicBezTo>
                  <a:cubicBezTo>
                    <a:pt x="342" y="267"/>
                    <a:pt x="342" y="266"/>
                    <a:pt x="342" y="265"/>
                  </a:cubicBezTo>
                  <a:cubicBezTo>
                    <a:pt x="342" y="264"/>
                    <a:pt x="342" y="264"/>
                    <a:pt x="342" y="263"/>
                  </a:cubicBezTo>
                  <a:cubicBezTo>
                    <a:pt x="342" y="262"/>
                    <a:pt x="341" y="260"/>
                    <a:pt x="340" y="259"/>
                  </a:cubicBezTo>
                  <a:cubicBezTo>
                    <a:pt x="340" y="258"/>
                    <a:pt x="340" y="257"/>
                    <a:pt x="340" y="257"/>
                  </a:cubicBezTo>
                  <a:cubicBezTo>
                    <a:pt x="340" y="255"/>
                    <a:pt x="340" y="254"/>
                    <a:pt x="341" y="252"/>
                  </a:cubicBezTo>
                  <a:cubicBezTo>
                    <a:pt x="341" y="251"/>
                    <a:pt x="341" y="250"/>
                    <a:pt x="341" y="249"/>
                  </a:cubicBezTo>
                  <a:cubicBezTo>
                    <a:pt x="341" y="249"/>
                    <a:pt x="341" y="248"/>
                    <a:pt x="342" y="247"/>
                  </a:cubicBezTo>
                  <a:cubicBezTo>
                    <a:pt x="342" y="246"/>
                    <a:pt x="343" y="245"/>
                    <a:pt x="344" y="244"/>
                  </a:cubicBezTo>
                  <a:cubicBezTo>
                    <a:pt x="346" y="242"/>
                    <a:pt x="348" y="240"/>
                    <a:pt x="348" y="236"/>
                  </a:cubicBezTo>
                  <a:cubicBezTo>
                    <a:pt x="348" y="234"/>
                    <a:pt x="347" y="233"/>
                    <a:pt x="346" y="231"/>
                  </a:cubicBezTo>
                  <a:cubicBezTo>
                    <a:pt x="345" y="230"/>
                    <a:pt x="343" y="229"/>
                    <a:pt x="341" y="229"/>
                  </a:cubicBezTo>
                  <a:cubicBezTo>
                    <a:pt x="340" y="229"/>
                    <a:pt x="340" y="229"/>
                    <a:pt x="340" y="229"/>
                  </a:cubicBezTo>
                  <a:cubicBezTo>
                    <a:pt x="339" y="228"/>
                    <a:pt x="339" y="227"/>
                    <a:pt x="338" y="226"/>
                  </a:cubicBezTo>
                  <a:cubicBezTo>
                    <a:pt x="337" y="226"/>
                    <a:pt x="336" y="226"/>
                    <a:pt x="335" y="226"/>
                  </a:cubicBezTo>
                  <a:cubicBezTo>
                    <a:pt x="335" y="226"/>
                    <a:pt x="334" y="226"/>
                    <a:pt x="334" y="226"/>
                  </a:cubicBezTo>
                  <a:cubicBezTo>
                    <a:pt x="334" y="225"/>
                    <a:pt x="334" y="224"/>
                    <a:pt x="334" y="224"/>
                  </a:cubicBezTo>
                  <a:cubicBezTo>
                    <a:pt x="332" y="222"/>
                    <a:pt x="331" y="221"/>
                    <a:pt x="330" y="220"/>
                  </a:cubicBezTo>
                  <a:cubicBezTo>
                    <a:pt x="329" y="220"/>
                    <a:pt x="329" y="220"/>
                    <a:pt x="329" y="220"/>
                  </a:cubicBezTo>
                  <a:cubicBezTo>
                    <a:pt x="329" y="220"/>
                    <a:pt x="328" y="219"/>
                    <a:pt x="328" y="219"/>
                  </a:cubicBezTo>
                  <a:cubicBezTo>
                    <a:pt x="327" y="219"/>
                    <a:pt x="327" y="218"/>
                    <a:pt x="326" y="217"/>
                  </a:cubicBezTo>
                  <a:cubicBezTo>
                    <a:pt x="325" y="217"/>
                    <a:pt x="323" y="217"/>
                    <a:pt x="322" y="217"/>
                  </a:cubicBezTo>
                  <a:cubicBezTo>
                    <a:pt x="320" y="217"/>
                    <a:pt x="318" y="218"/>
                    <a:pt x="316" y="219"/>
                  </a:cubicBezTo>
                  <a:cubicBezTo>
                    <a:pt x="316" y="219"/>
                    <a:pt x="315" y="219"/>
                    <a:pt x="315" y="220"/>
                  </a:cubicBezTo>
                  <a:cubicBezTo>
                    <a:pt x="315" y="220"/>
                    <a:pt x="315" y="220"/>
                    <a:pt x="314" y="220"/>
                  </a:cubicBezTo>
                  <a:cubicBezTo>
                    <a:pt x="314" y="220"/>
                    <a:pt x="314" y="220"/>
                    <a:pt x="313" y="220"/>
                  </a:cubicBezTo>
                  <a:cubicBezTo>
                    <a:pt x="313" y="220"/>
                    <a:pt x="312" y="220"/>
                    <a:pt x="312" y="220"/>
                  </a:cubicBezTo>
                  <a:cubicBezTo>
                    <a:pt x="310" y="220"/>
                    <a:pt x="308" y="220"/>
                    <a:pt x="307" y="221"/>
                  </a:cubicBezTo>
                  <a:cubicBezTo>
                    <a:pt x="304" y="224"/>
                    <a:pt x="305" y="228"/>
                    <a:pt x="305" y="230"/>
                  </a:cubicBezTo>
                  <a:cubicBezTo>
                    <a:pt x="305" y="231"/>
                    <a:pt x="305" y="231"/>
                    <a:pt x="305" y="231"/>
                  </a:cubicBezTo>
                  <a:cubicBezTo>
                    <a:pt x="306" y="233"/>
                    <a:pt x="306" y="238"/>
                    <a:pt x="310" y="240"/>
                  </a:cubicBezTo>
                  <a:cubicBezTo>
                    <a:pt x="312" y="241"/>
                    <a:pt x="313" y="242"/>
                    <a:pt x="315" y="242"/>
                  </a:cubicBezTo>
                  <a:cubicBezTo>
                    <a:pt x="317" y="242"/>
                    <a:pt x="319" y="241"/>
                    <a:pt x="320" y="241"/>
                  </a:cubicBezTo>
                  <a:cubicBezTo>
                    <a:pt x="321" y="241"/>
                    <a:pt x="321" y="241"/>
                    <a:pt x="321" y="241"/>
                  </a:cubicBezTo>
                  <a:cubicBezTo>
                    <a:pt x="322" y="241"/>
                    <a:pt x="322" y="241"/>
                    <a:pt x="322" y="241"/>
                  </a:cubicBezTo>
                  <a:cubicBezTo>
                    <a:pt x="322" y="241"/>
                    <a:pt x="322" y="241"/>
                    <a:pt x="322" y="241"/>
                  </a:cubicBezTo>
                  <a:cubicBezTo>
                    <a:pt x="322" y="241"/>
                    <a:pt x="322" y="242"/>
                    <a:pt x="322" y="242"/>
                  </a:cubicBezTo>
                  <a:cubicBezTo>
                    <a:pt x="323" y="243"/>
                    <a:pt x="323" y="244"/>
                    <a:pt x="324" y="246"/>
                  </a:cubicBezTo>
                  <a:cubicBezTo>
                    <a:pt x="324" y="247"/>
                    <a:pt x="324" y="247"/>
                    <a:pt x="324" y="248"/>
                  </a:cubicBezTo>
                  <a:cubicBezTo>
                    <a:pt x="324" y="249"/>
                    <a:pt x="322" y="250"/>
                    <a:pt x="321" y="250"/>
                  </a:cubicBezTo>
                  <a:cubicBezTo>
                    <a:pt x="320" y="250"/>
                    <a:pt x="320" y="250"/>
                    <a:pt x="320" y="250"/>
                  </a:cubicBezTo>
                  <a:cubicBezTo>
                    <a:pt x="319" y="249"/>
                    <a:pt x="318" y="248"/>
                    <a:pt x="317" y="247"/>
                  </a:cubicBezTo>
                  <a:cubicBezTo>
                    <a:pt x="317" y="246"/>
                    <a:pt x="316" y="244"/>
                    <a:pt x="314" y="243"/>
                  </a:cubicBezTo>
                  <a:cubicBezTo>
                    <a:pt x="313" y="242"/>
                    <a:pt x="310" y="241"/>
                    <a:pt x="308" y="241"/>
                  </a:cubicBezTo>
                  <a:cubicBezTo>
                    <a:pt x="305" y="241"/>
                    <a:pt x="303" y="242"/>
                    <a:pt x="301" y="243"/>
                  </a:cubicBezTo>
                  <a:cubicBezTo>
                    <a:pt x="300" y="243"/>
                    <a:pt x="300" y="243"/>
                    <a:pt x="300" y="243"/>
                  </a:cubicBezTo>
                  <a:cubicBezTo>
                    <a:pt x="299" y="243"/>
                    <a:pt x="299" y="244"/>
                    <a:pt x="298" y="244"/>
                  </a:cubicBezTo>
                  <a:cubicBezTo>
                    <a:pt x="298" y="244"/>
                    <a:pt x="298" y="244"/>
                    <a:pt x="298" y="244"/>
                  </a:cubicBezTo>
                  <a:cubicBezTo>
                    <a:pt x="297" y="243"/>
                    <a:pt x="297" y="242"/>
                    <a:pt x="296" y="242"/>
                  </a:cubicBezTo>
                  <a:cubicBezTo>
                    <a:pt x="295" y="241"/>
                    <a:pt x="294" y="240"/>
                    <a:pt x="293" y="239"/>
                  </a:cubicBezTo>
                  <a:cubicBezTo>
                    <a:pt x="291" y="238"/>
                    <a:pt x="290" y="238"/>
                    <a:pt x="289" y="238"/>
                  </a:cubicBezTo>
                  <a:cubicBezTo>
                    <a:pt x="288" y="238"/>
                    <a:pt x="288" y="238"/>
                    <a:pt x="288" y="238"/>
                  </a:cubicBezTo>
                  <a:cubicBezTo>
                    <a:pt x="287" y="238"/>
                    <a:pt x="287" y="238"/>
                    <a:pt x="287" y="238"/>
                  </a:cubicBezTo>
                  <a:cubicBezTo>
                    <a:pt x="286" y="238"/>
                    <a:pt x="285" y="237"/>
                    <a:pt x="284" y="237"/>
                  </a:cubicBezTo>
                  <a:cubicBezTo>
                    <a:pt x="282" y="236"/>
                    <a:pt x="281" y="236"/>
                    <a:pt x="279" y="236"/>
                  </a:cubicBezTo>
                  <a:cubicBezTo>
                    <a:pt x="278" y="236"/>
                    <a:pt x="278" y="236"/>
                    <a:pt x="277" y="236"/>
                  </a:cubicBezTo>
                  <a:cubicBezTo>
                    <a:pt x="274" y="236"/>
                    <a:pt x="271" y="236"/>
                    <a:pt x="269" y="237"/>
                  </a:cubicBezTo>
                  <a:cubicBezTo>
                    <a:pt x="268" y="237"/>
                    <a:pt x="267" y="237"/>
                    <a:pt x="267" y="237"/>
                  </a:cubicBezTo>
                  <a:cubicBezTo>
                    <a:pt x="265" y="238"/>
                    <a:pt x="264" y="238"/>
                    <a:pt x="262" y="238"/>
                  </a:cubicBezTo>
                  <a:cubicBezTo>
                    <a:pt x="262" y="238"/>
                    <a:pt x="261" y="238"/>
                    <a:pt x="261" y="237"/>
                  </a:cubicBezTo>
                  <a:cubicBezTo>
                    <a:pt x="260" y="236"/>
                    <a:pt x="260" y="236"/>
                    <a:pt x="258" y="235"/>
                  </a:cubicBezTo>
                  <a:cubicBezTo>
                    <a:pt x="257" y="234"/>
                    <a:pt x="256" y="234"/>
                    <a:pt x="255" y="234"/>
                  </a:cubicBezTo>
                  <a:cubicBezTo>
                    <a:pt x="254" y="234"/>
                    <a:pt x="254" y="234"/>
                    <a:pt x="254" y="234"/>
                  </a:cubicBezTo>
                  <a:cubicBezTo>
                    <a:pt x="254" y="237"/>
                    <a:pt x="254" y="237"/>
                    <a:pt x="254" y="237"/>
                  </a:cubicBezTo>
                  <a:cubicBezTo>
                    <a:pt x="254" y="234"/>
                    <a:pt x="254" y="234"/>
                    <a:pt x="254" y="234"/>
                  </a:cubicBezTo>
                  <a:cubicBezTo>
                    <a:pt x="252" y="234"/>
                    <a:pt x="251" y="234"/>
                    <a:pt x="250" y="232"/>
                  </a:cubicBezTo>
                  <a:cubicBezTo>
                    <a:pt x="249" y="231"/>
                    <a:pt x="249" y="231"/>
                    <a:pt x="248" y="230"/>
                  </a:cubicBezTo>
                  <a:cubicBezTo>
                    <a:pt x="247" y="230"/>
                    <a:pt x="247" y="229"/>
                    <a:pt x="246" y="229"/>
                  </a:cubicBezTo>
                  <a:cubicBezTo>
                    <a:pt x="246" y="229"/>
                    <a:pt x="246" y="229"/>
                    <a:pt x="246" y="229"/>
                  </a:cubicBezTo>
                  <a:cubicBezTo>
                    <a:pt x="246" y="228"/>
                    <a:pt x="245" y="227"/>
                    <a:pt x="245" y="227"/>
                  </a:cubicBezTo>
                  <a:cubicBezTo>
                    <a:pt x="244" y="226"/>
                    <a:pt x="244" y="226"/>
                    <a:pt x="244" y="226"/>
                  </a:cubicBezTo>
                  <a:cubicBezTo>
                    <a:pt x="243" y="222"/>
                    <a:pt x="241" y="218"/>
                    <a:pt x="236" y="218"/>
                  </a:cubicBezTo>
                  <a:cubicBezTo>
                    <a:pt x="235" y="218"/>
                    <a:pt x="235" y="218"/>
                    <a:pt x="234" y="218"/>
                  </a:cubicBezTo>
                  <a:cubicBezTo>
                    <a:pt x="233" y="218"/>
                    <a:pt x="231" y="219"/>
                    <a:pt x="229" y="219"/>
                  </a:cubicBezTo>
                  <a:cubicBezTo>
                    <a:pt x="228" y="219"/>
                    <a:pt x="227" y="218"/>
                    <a:pt x="227" y="218"/>
                  </a:cubicBezTo>
                  <a:cubicBezTo>
                    <a:pt x="226" y="218"/>
                    <a:pt x="225" y="215"/>
                    <a:pt x="225" y="214"/>
                  </a:cubicBezTo>
                  <a:cubicBezTo>
                    <a:pt x="225" y="213"/>
                    <a:pt x="225" y="213"/>
                    <a:pt x="225" y="213"/>
                  </a:cubicBezTo>
                  <a:cubicBezTo>
                    <a:pt x="224" y="211"/>
                    <a:pt x="223" y="209"/>
                    <a:pt x="222" y="207"/>
                  </a:cubicBezTo>
                  <a:cubicBezTo>
                    <a:pt x="220" y="205"/>
                    <a:pt x="218" y="205"/>
                    <a:pt x="217" y="205"/>
                  </a:cubicBezTo>
                  <a:cubicBezTo>
                    <a:pt x="217" y="205"/>
                    <a:pt x="217" y="204"/>
                    <a:pt x="217" y="204"/>
                  </a:cubicBezTo>
                  <a:cubicBezTo>
                    <a:pt x="217" y="204"/>
                    <a:pt x="217" y="202"/>
                    <a:pt x="217" y="201"/>
                  </a:cubicBezTo>
                  <a:cubicBezTo>
                    <a:pt x="217" y="201"/>
                    <a:pt x="217" y="201"/>
                    <a:pt x="217" y="201"/>
                  </a:cubicBezTo>
                  <a:cubicBezTo>
                    <a:pt x="217" y="199"/>
                    <a:pt x="217" y="198"/>
                    <a:pt x="218" y="197"/>
                  </a:cubicBezTo>
                  <a:cubicBezTo>
                    <a:pt x="218" y="194"/>
                    <a:pt x="219" y="190"/>
                    <a:pt x="217" y="185"/>
                  </a:cubicBezTo>
                  <a:cubicBezTo>
                    <a:pt x="216" y="184"/>
                    <a:pt x="214" y="179"/>
                    <a:pt x="208" y="179"/>
                  </a:cubicBezTo>
                  <a:cubicBezTo>
                    <a:pt x="207" y="179"/>
                    <a:pt x="206" y="179"/>
                    <a:pt x="205" y="179"/>
                  </a:cubicBezTo>
                  <a:cubicBezTo>
                    <a:pt x="203" y="179"/>
                    <a:pt x="200" y="179"/>
                    <a:pt x="197" y="179"/>
                  </a:cubicBezTo>
                  <a:cubicBezTo>
                    <a:pt x="194" y="180"/>
                    <a:pt x="193" y="180"/>
                    <a:pt x="191" y="182"/>
                  </a:cubicBezTo>
                  <a:cubicBezTo>
                    <a:pt x="190" y="182"/>
                    <a:pt x="189" y="182"/>
                    <a:pt x="188" y="182"/>
                  </a:cubicBezTo>
                  <a:cubicBezTo>
                    <a:pt x="187" y="182"/>
                    <a:pt x="185" y="182"/>
                    <a:pt x="184" y="182"/>
                  </a:cubicBezTo>
                  <a:cubicBezTo>
                    <a:pt x="182" y="181"/>
                    <a:pt x="180" y="181"/>
                    <a:pt x="179" y="181"/>
                  </a:cubicBezTo>
                  <a:cubicBezTo>
                    <a:pt x="178" y="181"/>
                    <a:pt x="177" y="181"/>
                    <a:pt x="176" y="181"/>
                  </a:cubicBezTo>
                  <a:cubicBezTo>
                    <a:pt x="176" y="181"/>
                    <a:pt x="174" y="182"/>
                    <a:pt x="173" y="183"/>
                  </a:cubicBezTo>
                  <a:cubicBezTo>
                    <a:pt x="172" y="184"/>
                    <a:pt x="172" y="184"/>
                    <a:pt x="171" y="185"/>
                  </a:cubicBezTo>
                  <a:cubicBezTo>
                    <a:pt x="171" y="185"/>
                    <a:pt x="171" y="185"/>
                    <a:pt x="170" y="185"/>
                  </a:cubicBezTo>
                  <a:cubicBezTo>
                    <a:pt x="168" y="186"/>
                    <a:pt x="166" y="187"/>
                    <a:pt x="165" y="190"/>
                  </a:cubicBezTo>
                  <a:cubicBezTo>
                    <a:pt x="163" y="194"/>
                    <a:pt x="166" y="199"/>
                    <a:pt x="167" y="200"/>
                  </a:cubicBezTo>
                  <a:cubicBezTo>
                    <a:pt x="167" y="201"/>
                    <a:pt x="167" y="201"/>
                    <a:pt x="167" y="201"/>
                  </a:cubicBezTo>
                  <a:cubicBezTo>
                    <a:pt x="168" y="202"/>
                    <a:pt x="170" y="204"/>
                    <a:pt x="171" y="205"/>
                  </a:cubicBezTo>
                  <a:cubicBezTo>
                    <a:pt x="172" y="205"/>
                    <a:pt x="174" y="205"/>
                    <a:pt x="175" y="205"/>
                  </a:cubicBezTo>
                  <a:cubicBezTo>
                    <a:pt x="178" y="205"/>
                    <a:pt x="180" y="204"/>
                    <a:pt x="181" y="201"/>
                  </a:cubicBezTo>
                  <a:cubicBezTo>
                    <a:pt x="181" y="201"/>
                    <a:pt x="182" y="199"/>
                    <a:pt x="183" y="199"/>
                  </a:cubicBezTo>
                  <a:cubicBezTo>
                    <a:pt x="183" y="199"/>
                    <a:pt x="183" y="199"/>
                    <a:pt x="183" y="199"/>
                  </a:cubicBezTo>
                  <a:cubicBezTo>
                    <a:pt x="183" y="200"/>
                    <a:pt x="184" y="203"/>
                    <a:pt x="188" y="204"/>
                  </a:cubicBezTo>
                  <a:cubicBezTo>
                    <a:pt x="191" y="204"/>
                    <a:pt x="194" y="202"/>
                    <a:pt x="196" y="200"/>
                  </a:cubicBezTo>
                  <a:cubicBezTo>
                    <a:pt x="197" y="200"/>
                    <a:pt x="198" y="199"/>
                    <a:pt x="199" y="199"/>
                  </a:cubicBezTo>
                  <a:cubicBezTo>
                    <a:pt x="201" y="198"/>
                    <a:pt x="203" y="197"/>
                    <a:pt x="205" y="197"/>
                  </a:cubicBezTo>
                  <a:cubicBezTo>
                    <a:pt x="205" y="196"/>
                    <a:pt x="206" y="196"/>
                    <a:pt x="207" y="196"/>
                  </a:cubicBezTo>
                  <a:cubicBezTo>
                    <a:pt x="207" y="196"/>
                    <a:pt x="207" y="196"/>
                    <a:pt x="207" y="196"/>
                  </a:cubicBezTo>
                  <a:cubicBezTo>
                    <a:pt x="207" y="198"/>
                    <a:pt x="201" y="200"/>
                    <a:pt x="198" y="202"/>
                  </a:cubicBezTo>
                  <a:cubicBezTo>
                    <a:pt x="197" y="202"/>
                    <a:pt x="196" y="203"/>
                    <a:pt x="196" y="203"/>
                  </a:cubicBezTo>
                  <a:cubicBezTo>
                    <a:pt x="193" y="204"/>
                    <a:pt x="190" y="205"/>
                    <a:pt x="187" y="205"/>
                  </a:cubicBezTo>
                  <a:cubicBezTo>
                    <a:pt x="183" y="205"/>
                    <a:pt x="179" y="206"/>
                    <a:pt x="176" y="208"/>
                  </a:cubicBezTo>
                  <a:cubicBezTo>
                    <a:pt x="166" y="213"/>
                    <a:pt x="168" y="219"/>
                    <a:pt x="169" y="224"/>
                  </a:cubicBezTo>
                  <a:cubicBezTo>
                    <a:pt x="170" y="226"/>
                    <a:pt x="170" y="228"/>
                    <a:pt x="170" y="230"/>
                  </a:cubicBezTo>
                  <a:cubicBezTo>
                    <a:pt x="171" y="231"/>
                    <a:pt x="171" y="233"/>
                    <a:pt x="170" y="235"/>
                  </a:cubicBezTo>
                  <a:cubicBezTo>
                    <a:pt x="170" y="236"/>
                    <a:pt x="170" y="238"/>
                    <a:pt x="170" y="241"/>
                  </a:cubicBezTo>
                  <a:cubicBezTo>
                    <a:pt x="170" y="242"/>
                    <a:pt x="170" y="243"/>
                    <a:pt x="171" y="244"/>
                  </a:cubicBezTo>
                  <a:cubicBezTo>
                    <a:pt x="171" y="246"/>
                    <a:pt x="172" y="248"/>
                    <a:pt x="171" y="249"/>
                  </a:cubicBezTo>
                  <a:cubicBezTo>
                    <a:pt x="171" y="250"/>
                    <a:pt x="168" y="250"/>
                    <a:pt x="166" y="250"/>
                  </a:cubicBezTo>
                  <a:cubicBezTo>
                    <a:pt x="164" y="250"/>
                    <a:pt x="163" y="250"/>
                    <a:pt x="163" y="250"/>
                  </a:cubicBezTo>
                  <a:cubicBezTo>
                    <a:pt x="163" y="250"/>
                    <a:pt x="162" y="249"/>
                    <a:pt x="162" y="247"/>
                  </a:cubicBezTo>
                  <a:cubicBezTo>
                    <a:pt x="162" y="246"/>
                    <a:pt x="162" y="245"/>
                    <a:pt x="162" y="244"/>
                  </a:cubicBezTo>
                  <a:cubicBezTo>
                    <a:pt x="163" y="244"/>
                    <a:pt x="163" y="244"/>
                    <a:pt x="164" y="243"/>
                  </a:cubicBezTo>
                  <a:cubicBezTo>
                    <a:pt x="167" y="242"/>
                    <a:pt x="169" y="237"/>
                    <a:pt x="168" y="233"/>
                  </a:cubicBezTo>
                  <a:cubicBezTo>
                    <a:pt x="168" y="230"/>
                    <a:pt x="166" y="227"/>
                    <a:pt x="164" y="226"/>
                  </a:cubicBezTo>
                  <a:cubicBezTo>
                    <a:pt x="162" y="225"/>
                    <a:pt x="160" y="225"/>
                    <a:pt x="159" y="225"/>
                  </a:cubicBezTo>
                  <a:cubicBezTo>
                    <a:pt x="158" y="224"/>
                    <a:pt x="158" y="224"/>
                    <a:pt x="158" y="224"/>
                  </a:cubicBezTo>
                  <a:cubicBezTo>
                    <a:pt x="157" y="224"/>
                    <a:pt x="158" y="221"/>
                    <a:pt x="158" y="220"/>
                  </a:cubicBezTo>
                  <a:cubicBezTo>
                    <a:pt x="158" y="218"/>
                    <a:pt x="159" y="216"/>
                    <a:pt x="158" y="214"/>
                  </a:cubicBezTo>
                  <a:cubicBezTo>
                    <a:pt x="157" y="210"/>
                    <a:pt x="154" y="209"/>
                    <a:pt x="152" y="209"/>
                  </a:cubicBezTo>
                  <a:cubicBezTo>
                    <a:pt x="151" y="209"/>
                    <a:pt x="150" y="207"/>
                    <a:pt x="149" y="207"/>
                  </a:cubicBezTo>
                  <a:cubicBezTo>
                    <a:pt x="149" y="206"/>
                    <a:pt x="149" y="205"/>
                    <a:pt x="149" y="204"/>
                  </a:cubicBezTo>
                  <a:cubicBezTo>
                    <a:pt x="149" y="202"/>
                    <a:pt x="149" y="198"/>
                    <a:pt x="146" y="196"/>
                  </a:cubicBezTo>
                  <a:cubicBezTo>
                    <a:pt x="145" y="196"/>
                    <a:pt x="144" y="196"/>
                    <a:pt x="143" y="196"/>
                  </a:cubicBezTo>
                  <a:cubicBezTo>
                    <a:pt x="143" y="196"/>
                    <a:pt x="143" y="196"/>
                    <a:pt x="142" y="196"/>
                  </a:cubicBezTo>
                  <a:cubicBezTo>
                    <a:pt x="141" y="196"/>
                    <a:pt x="141" y="196"/>
                    <a:pt x="140" y="196"/>
                  </a:cubicBezTo>
                  <a:cubicBezTo>
                    <a:pt x="138" y="196"/>
                    <a:pt x="137" y="196"/>
                    <a:pt x="136" y="196"/>
                  </a:cubicBezTo>
                  <a:cubicBezTo>
                    <a:pt x="135" y="197"/>
                    <a:pt x="135" y="197"/>
                    <a:pt x="135" y="197"/>
                  </a:cubicBezTo>
                  <a:cubicBezTo>
                    <a:pt x="134" y="198"/>
                    <a:pt x="133" y="198"/>
                    <a:pt x="132" y="198"/>
                  </a:cubicBezTo>
                  <a:cubicBezTo>
                    <a:pt x="131" y="198"/>
                    <a:pt x="131" y="198"/>
                    <a:pt x="130" y="198"/>
                  </a:cubicBezTo>
                  <a:cubicBezTo>
                    <a:pt x="127" y="198"/>
                    <a:pt x="124" y="197"/>
                    <a:pt x="121" y="197"/>
                  </a:cubicBezTo>
                  <a:cubicBezTo>
                    <a:pt x="120" y="197"/>
                    <a:pt x="120" y="196"/>
                    <a:pt x="119" y="196"/>
                  </a:cubicBezTo>
                  <a:cubicBezTo>
                    <a:pt x="118" y="196"/>
                    <a:pt x="116" y="196"/>
                    <a:pt x="115" y="195"/>
                  </a:cubicBezTo>
                  <a:cubicBezTo>
                    <a:pt x="113" y="195"/>
                    <a:pt x="113" y="195"/>
                    <a:pt x="113" y="195"/>
                  </a:cubicBezTo>
                  <a:cubicBezTo>
                    <a:pt x="112" y="195"/>
                    <a:pt x="110" y="195"/>
                    <a:pt x="109" y="194"/>
                  </a:cubicBezTo>
                  <a:cubicBezTo>
                    <a:pt x="108" y="194"/>
                    <a:pt x="106" y="194"/>
                    <a:pt x="105" y="193"/>
                  </a:cubicBezTo>
                  <a:cubicBezTo>
                    <a:pt x="103" y="193"/>
                    <a:pt x="101" y="192"/>
                    <a:pt x="99" y="191"/>
                  </a:cubicBezTo>
                  <a:cubicBezTo>
                    <a:pt x="98" y="191"/>
                    <a:pt x="98" y="191"/>
                    <a:pt x="98" y="191"/>
                  </a:cubicBezTo>
                  <a:cubicBezTo>
                    <a:pt x="97" y="191"/>
                    <a:pt x="97" y="191"/>
                    <a:pt x="96" y="191"/>
                  </a:cubicBezTo>
                  <a:cubicBezTo>
                    <a:pt x="96" y="190"/>
                    <a:pt x="96" y="190"/>
                    <a:pt x="96" y="190"/>
                  </a:cubicBezTo>
                  <a:cubicBezTo>
                    <a:pt x="95" y="189"/>
                    <a:pt x="95" y="188"/>
                    <a:pt x="93" y="187"/>
                  </a:cubicBezTo>
                  <a:cubicBezTo>
                    <a:pt x="92" y="186"/>
                    <a:pt x="92" y="186"/>
                    <a:pt x="91" y="186"/>
                  </a:cubicBezTo>
                  <a:cubicBezTo>
                    <a:pt x="91" y="186"/>
                    <a:pt x="90" y="186"/>
                    <a:pt x="90" y="185"/>
                  </a:cubicBezTo>
                  <a:cubicBezTo>
                    <a:pt x="89" y="185"/>
                    <a:pt x="89" y="185"/>
                    <a:pt x="88" y="184"/>
                  </a:cubicBezTo>
                  <a:cubicBezTo>
                    <a:pt x="88" y="184"/>
                    <a:pt x="87" y="183"/>
                    <a:pt x="86" y="182"/>
                  </a:cubicBezTo>
                  <a:cubicBezTo>
                    <a:pt x="84" y="182"/>
                    <a:pt x="83" y="181"/>
                    <a:pt x="81" y="181"/>
                  </a:cubicBezTo>
                  <a:cubicBezTo>
                    <a:pt x="81" y="180"/>
                    <a:pt x="81" y="180"/>
                    <a:pt x="81" y="180"/>
                  </a:cubicBezTo>
                  <a:cubicBezTo>
                    <a:pt x="78" y="179"/>
                    <a:pt x="76" y="178"/>
                    <a:pt x="75" y="177"/>
                  </a:cubicBezTo>
                  <a:cubicBezTo>
                    <a:pt x="78" y="176"/>
                    <a:pt x="79" y="173"/>
                    <a:pt x="79" y="172"/>
                  </a:cubicBezTo>
                  <a:cubicBezTo>
                    <a:pt x="80" y="171"/>
                    <a:pt x="80" y="171"/>
                    <a:pt x="82" y="170"/>
                  </a:cubicBezTo>
                  <a:cubicBezTo>
                    <a:pt x="84" y="170"/>
                    <a:pt x="85" y="170"/>
                    <a:pt x="87" y="170"/>
                  </a:cubicBezTo>
                  <a:cubicBezTo>
                    <a:pt x="89" y="170"/>
                    <a:pt x="91" y="170"/>
                    <a:pt x="92" y="171"/>
                  </a:cubicBezTo>
                  <a:cubicBezTo>
                    <a:pt x="93" y="171"/>
                    <a:pt x="93" y="171"/>
                    <a:pt x="94" y="171"/>
                  </a:cubicBezTo>
                  <a:cubicBezTo>
                    <a:pt x="97" y="171"/>
                    <a:pt x="100" y="169"/>
                    <a:pt x="101" y="166"/>
                  </a:cubicBezTo>
                  <a:cubicBezTo>
                    <a:pt x="103" y="164"/>
                    <a:pt x="102" y="161"/>
                    <a:pt x="101" y="159"/>
                  </a:cubicBezTo>
                  <a:cubicBezTo>
                    <a:pt x="100" y="159"/>
                    <a:pt x="100" y="158"/>
                    <a:pt x="100" y="158"/>
                  </a:cubicBezTo>
                  <a:cubicBezTo>
                    <a:pt x="100" y="154"/>
                    <a:pt x="98" y="150"/>
                    <a:pt x="96" y="148"/>
                  </a:cubicBezTo>
                  <a:cubicBezTo>
                    <a:pt x="95" y="147"/>
                    <a:pt x="95" y="145"/>
                    <a:pt x="94" y="144"/>
                  </a:cubicBezTo>
                  <a:cubicBezTo>
                    <a:pt x="94" y="143"/>
                    <a:pt x="94" y="143"/>
                    <a:pt x="94" y="143"/>
                  </a:cubicBezTo>
                  <a:cubicBezTo>
                    <a:pt x="93" y="141"/>
                    <a:pt x="90" y="134"/>
                    <a:pt x="85" y="132"/>
                  </a:cubicBezTo>
                  <a:cubicBezTo>
                    <a:pt x="84" y="131"/>
                    <a:pt x="82" y="131"/>
                    <a:pt x="81" y="131"/>
                  </a:cubicBezTo>
                  <a:cubicBezTo>
                    <a:pt x="79" y="131"/>
                    <a:pt x="77" y="131"/>
                    <a:pt x="76" y="131"/>
                  </a:cubicBezTo>
                  <a:cubicBezTo>
                    <a:pt x="75" y="132"/>
                    <a:pt x="75" y="132"/>
                    <a:pt x="75" y="132"/>
                  </a:cubicBezTo>
                  <a:cubicBezTo>
                    <a:pt x="74" y="132"/>
                    <a:pt x="73" y="131"/>
                    <a:pt x="72" y="130"/>
                  </a:cubicBezTo>
                  <a:cubicBezTo>
                    <a:pt x="71" y="129"/>
                    <a:pt x="71" y="129"/>
                    <a:pt x="71" y="129"/>
                  </a:cubicBezTo>
                  <a:cubicBezTo>
                    <a:pt x="70" y="128"/>
                    <a:pt x="68" y="127"/>
                    <a:pt x="67" y="126"/>
                  </a:cubicBezTo>
                  <a:cubicBezTo>
                    <a:pt x="65" y="124"/>
                    <a:pt x="63" y="123"/>
                    <a:pt x="61" y="121"/>
                  </a:cubicBezTo>
                  <a:cubicBezTo>
                    <a:pt x="59" y="118"/>
                    <a:pt x="57" y="116"/>
                    <a:pt x="56" y="113"/>
                  </a:cubicBezTo>
                  <a:cubicBezTo>
                    <a:pt x="55" y="110"/>
                    <a:pt x="53" y="106"/>
                    <a:pt x="49" y="102"/>
                  </a:cubicBezTo>
                  <a:cubicBezTo>
                    <a:pt x="46" y="100"/>
                    <a:pt x="44" y="99"/>
                    <a:pt x="42" y="98"/>
                  </a:cubicBezTo>
                  <a:cubicBezTo>
                    <a:pt x="41" y="97"/>
                    <a:pt x="41" y="97"/>
                    <a:pt x="41" y="97"/>
                  </a:cubicBezTo>
                  <a:cubicBezTo>
                    <a:pt x="40" y="97"/>
                    <a:pt x="40" y="96"/>
                    <a:pt x="39" y="95"/>
                  </a:cubicBezTo>
                  <a:cubicBezTo>
                    <a:pt x="39" y="94"/>
                    <a:pt x="39" y="94"/>
                    <a:pt x="39" y="94"/>
                  </a:cubicBezTo>
                  <a:cubicBezTo>
                    <a:pt x="37" y="91"/>
                    <a:pt x="35" y="89"/>
                    <a:pt x="34" y="86"/>
                  </a:cubicBezTo>
                  <a:cubicBezTo>
                    <a:pt x="32" y="80"/>
                    <a:pt x="32" y="80"/>
                    <a:pt x="32" y="80"/>
                  </a:cubicBezTo>
                  <a:cubicBezTo>
                    <a:pt x="0" y="142"/>
                    <a:pt x="0" y="142"/>
                    <a:pt x="0" y="142"/>
                  </a:cubicBezTo>
                  <a:cubicBezTo>
                    <a:pt x="63" y="257"/>
                    <a:pt x="63" y="257"/>
                    <a:pt x="63" y="257"/>
                  </a:cubicBezTo>
                  <a:cubicBezTo>
                    <a:pt x="74" y="287"/>
                    <a:pt x="101" y="288"/>
                    <a:pt x="103" y="288"/>
                  </a:cubicBezTo>
                  <a:cubicBezTo>
                    <a:pt x="115" y="319"/>
                    <a:pt x="115" y="319"/>
                    <a:pt x="115" y="319"/>
                  </a:cubicBezTo>
                  <a:cubicBezTo>
                    <a:pt x="228" y="374"/>
                    <a:pt x="228" y="374"/>
                    <a:pt x="228" y="374"/>
                  </a:cubicBezTo>
                  <a:cubicBezTo>
                    <a:pt x="224" y="384"/>
                    <a:pt x="215" y="434"/>
                    <a:pt x="200" y="526"/>
                  </a:cubicBezTo>
                  <a:cubicBezTo>
                    <a:pt x="199" y="529"/>
                    <a:pt x="199" y="529"/>
                    <a:pt x="199" y="529"/>
                  </a:cubicBezTo>
                  <a:cubicBezTo>
                    <a:pt x="339" y="547"/>
                    <a:pt x="339" y="547"/>
                    <a:pt x="339" y="547"/>
                  </a:cubicBezTo>
                  <a:cubicBezTo>
                    <a:pt x="339" y="545"/>
                    <a:pt x="339" y="545"/>
                    <a:pt x="339" y="545"/>
                  </a:cubicBezTo>
                  <a:cubicBezTo>
                    <a:pt x="340" y="543"/>
                    <a:pt x="340" y="541"/>
                    <a:pt x="341" y="540"/>
                  </a:cubicBezTo>
                  <a:cubicBezTo>
                    <a:pt x="341" y="538"/>
                    <a:pt x="342" y="537"/>
                    <a:pt x="342" y="535"/>
                  </a:cubicBezTo>
                  <a:cubicBezTo>
                    <a:pt x="342" y="535"/>
                    <a:pt x="343" y="534"/>
                    <a:pt x="343" y="534"/>
                  </a:cubicBezTo>
                  <a:cubicBezTo>
                    <a:pt x="343" y="533"/>
                    <a:pt x="343" y="533"/>
                    <a:pt x="343" y="532"/>
                  </a:cubicBezTo>
                  <a:cubicBezTo>
                    <a:pt x="343" y="531"/>
                    <a:pt x="344" y="531"/>
                    <a:pt x="344" y="530"/>
                  </a:cubicBezTo>
                  <a:cubicBezTo>
                    <a:pt x="345" y="529"/>
                    <a:pt x="346" y="528"/>
                    <a:pt x="346" y="526"/>
                  </a:cubicBezTo>
                  <a:cubicBezTo>
                    <a:pt x="347" y="525"/>
                    <a:pt x="348" y="524"/>
                    <a:pt x="348" y="522"/>
                  </a:cubicBezTo>
                  <a:cubicBezTo>
                    <a:pt x="349" y="519"/>
                    <a:pt x="351" y="516"/>
                    <a:pt x="353" y="514"/>
                  </a:cubicBezTo>
                  <a:cubicBezTo>
                    <a:pt x="353" y="514"/>
                    <a:pt x="353" y="513"/>
                    <a:pt x="354" y="513"/>
                  </a:cubicBezTo>
                  <a:cubicBezTo>
                    <a:pt x="354" y="512"/>
                    <a:pt x="355" y="512"/>
                    <a:pt x="356" y="510"/>
                  </a:cubicBezTo>
                  <a:cubicBezTo>
                    <a:pt x="357" y="509"/>
                    <a:pt x="357" y="507"/>
                    <a:pt x="357" y="506"/>
                  </a:cubicBezTo>
                  <a:cubicBezTo>
                    <a:pt x="357" y="506"/>
                    <a:pt x="357" y="505"/>
                    <a:pt x="357" y="505"/>
                  </a:cubicBezTo>
                  <a:cubicBezTo>
                    <a:pt x="357" y="504"/>
                    <a:pt x="357" y="503"/>
                    <a:pt x="357" y="502"/>
                  </a:cubicBezTo>
                  <a:cubicBezTo>
                    <a:pt x="357" y="500"/>
                    <a:pt x="357" y="497"/>
                    <a:pt x="358" y="496"/>
                  </a:cubicBezTo>
                  <a:cubicBezTo>
                    <a:pt x="360" y="494"/>
                    <a:pt x="362" y="492"/>
                    <a:pt x="364" y="490"/>
                  </a:cubicBezTo>
                  <a:cubicBezTo>
                    <a:pt x="366" y="487"/>
                    <a:pt x="366" y="487"/>
                    <a:pt x="366" y="487"/>
                  </a:cubicBezTo>
                  <a:cubicBezTo>
                    <a:pt x="368" y="485"/>
                    <a:pt x="370" y="484"/>
                    <a:pt x="370" y="480"/>
                  </a:cubicBezTo>
                  <a:cubicBezTo>
                    <a:pt x="370" y="479"/>
                    <a:pt x="370" y="478"/>
                    <a:pt x="370" y="477"/>
                  </a:cubicBezTo>
                  <a:cubicBezTo>
                    <a:pt x="370" y="477"/>
                    <a:pt x="370" y="477"/>
                    <a:pt x="370" y="476"/>
                  </a:cubicBezTo>
                  <a:cubicBezTo>
                    <a:pt x="370" y="476"/>
                    <a:pt x="370" y="476"/>
                    <a:pt x="371" y="476"/>
                  </a:cubicBezTo>
                  <a:cubicBezTo>
                    <a:pt x="372" y="476"/>
                    <a:pt x="374" y="475"/>
                    <a:pt x="375" y="473"/>
                  </a:cubicBezTo>
                  <a:cubicBezTo>
                    <a:pt x="376" y="472"/>
                    <a:pt x="376" y="471"/>
                    <a:pt x="376" y="469"/>
                  </a:cubicBezTo>
                  <a:cubicBezTo>
                    <a:pt x="376" y="469"/>
                    <a:pt x="377" y="468"/>
                    <a:pt x="377" y="468"/>
                  </a:cubicBezTo>
                  <a:cubicBezTo>
                    <a:pt x="377" y="468"/>
                    <a:pt x="378" y="467"/>
                    <a:pt x="378" y="467"/>
                  </a:cubicBezTo>
                  <a:cubicBezTo>
                    <a:pt x="379" y="466"/>
                    <a:pt x="380" y="465"/>
                    <a:pt x="381" y="463"/>
                  </a:cubicBezTo>
                  <a:cubicBezTo>
                    <a:pt x="382" y="462"/>
                    <a:pt x="382" y="462"/>
                    <a:pt x="382" y="461"/>
                  </a:cubicBezTo>
                  <a:cubicBezTo>
                    <a:pt x="383" y="460"/>
                    <a:pt x="383" y="459"/>
                    <a:pt x="385" y="457"/>
                  </a:cubicBezTo>
                  <a:cubicBezTo>
                    <a:pt x="385" y="457"/>
                    <a:pt x="385" y="457"/>
                    <a:pt x="386" y="456"/>
                  </a:cubicBezTo>
                  <a:cubicBezTo>
                    <a:pt x="387" y="456"/>
                    <a:pt x="388" y="455"/>
                    <a:pt x="388" y="453"/>
                  </a:cubicBezTo>
                  <a:cubicBezTo>
                    <a:pt x="389" y="454"/>
                    <a:pt x="391" y="454"/>
                    <a:pt x="392" y="454"/>
                  </a:cubicBezTo>
                  <a:cubicBezTo>
                    <a:pt x="394" y="454"/>
                    <a:pt x="396" y="453"/>
                    <a:pt x="396" y="449"/>
                  </a:cubicBezTo>
                  <a:cubicBezTo>
                    <a:pt x="396" y="448"/>
                    <a:pt x="396" y="448"/>
                    <a:pt x="396" y="447"/>
                  </a:cubicBezTo>
                  <a:cubicBezTo>
                    <a:pt x="397" y="447"/>
                    <a:pt x="397" y="447"/>
                    <a:pt x="398" y="447"/>
                  </a:cubicBezTo>
                  <a:cubicBezTo>
                    <a:pt x="398" y="447"/>
                    <a:pt x="399" y="447"/>
                    <a:pt x="399" y="447"/>
                  </a:cubicBezTo>
                  <a:cubicBezTo>
                    <a:pt x="401" y="448"/>
                    <a:pt x="402" y="448"/>
                    <a:pt x="403" y="448"/>
                  </a:cubicBezTo>
                  <a:cubicBezTo>
                    <a:pt x="405" y="448"/>
                    <a:pt x="407" y="447"/>
                    <a:pt x="408" y="446"/>
                  </a:cubicBezTo>
                  <a:cubicBezTo>
                    <a:pt x="409" y="445"/>
                    <a:pt x="409" y="444"/>
                    <a:pt x="410" y="443"/>
                  </a:cubicBezTo>
                  <a:cubicBezTo>
                    <a:pt x="410" y="443"/>
                    <a:pt x="410" y="443"/>
                    <a:pt x="410" y="443"/>
                  </a:cubicBezTo>
                  <a:cubicBezTo>
                    <a:pt x="411" y="442"/>
                    <a:pt x="411" y="442"/>
                    <a:pt x="412" y="442"/>
                  </a:cubicBezTo>
                  <a:cubicBezTo>
                    <a:pt x="413" y="441"/>
                    <a:pt x="413" y="441"/>
                    <a:pt x="413" y="441"/>
                  </a:cubicBezTo>
                  <a:cubicBezTo>
                    <a:pt x="415" y="440"/>
                    <a:pt x="418" y="438"/>
                    <a:pt x="418" y="434"/>
                  </a:cubicBezTo>
                  <a:cubicBezTo>
                    <a:pt x="419" y="431"/>
                    <a:pt x="419" y="428"/>
                    <a:pt x="418" y="426"/>
                  </a:cubicBezTo>
                  <a:cubicBezTo>
                    <a:pt x="417" y="423"/>
                    <a:pt x="416" y="420"/>
                    <a:pt x="414" y="418"/>
                  </a:cubicBezTo>
                  <a:cubicBezTo>
                    <a:pt x="414" y="418"/>
                    <a:pt x="414" y="418"/>
                    <a:pt x="415" y="418"/>
                  </a:cubicBezTo>
                  <a:cubicBezTo>
                    <a:pt x="415" y="418"/>
                    <a:pt x="415" y="418"/>
                    <a:pt x="415" y="418"/>
                  </a:cubicBezTo>
                  <a:cubicBezTo>
                    <a:pt x="419" y="418"/>
                    <a:pt x="424" y="416"/>
                    <a:pt x="427" y="413"/>
                  </a:cubicBezTo>
                  <a:cubicBezTo>
                    <a:pt x="428" y="411"/>
                    <a:pt x="429" y="408"/>
                    <a:pt x="430" y="405"/>
                  </a:cubicBezTo>
                  <a:cubicBezTo>
                    <a:pt x="431" y="399"/>
                    <a:pt x="432" y="397"/>
                    <a:pt x="434" y="397"/>
                  </a:cubicBezTo>
                  <a:cubicBezTo>
                    <a:pt x="435" y="397"/>
                    <a:pt x="435" y="397"/>
                    <a:pt x="435" y="397"/>
                  </a:cubicBezTo>
                  <a:cubicBezTo>
                    <a:pt x="437" y="397"/>
                    <a:pt x="438" y="398"/>
                    <a:pt x="441" y="399"/>
                  </a:cubicBezTo>
                  <a:cubicBezTo>
                    <a:pt x="443" y="400"/>
                    <a:pt x="446" y="401"/>
                    <a:pt x="449" y="401"/>
                  </a:cubicBezTo>
                  <a:cubicBezTo>
                    <a:pt x="451" y="401"/>
                    <a:pt x="452" y="401"/>
                    <a:pt x="453" y="400"/>
                  </a:cubicBezTo>
                  <a:cubicBezTo>
                    <a:pt x="461" y="398"/>
                    <a:pt x="464" y="391"/>
                    <a:pt x="466" y="385"/>
                  </a:cubicBezTo>
                  <a:cubicBezTo>
                    <a:pt x="468" y="380"/>
                    <a:pt x="471" y="375"/>
                    <a:pt x="474" y="370"/>
                  </a:cubicBezTo>
                  <a:cubicBezTo>
                    <a:pt x="474" y="369"/>
                    <a:pt x="474" y="369"/>
                    <a:pt x="474" y="369"/>
                  </a:cubicBezTo>
                  <a:cubicBezTo>
                    <a:pt x="476" y="367"/>
                    <a:pt x="478" y="364"/>
                    <a:pt x="479" y="360"/>
                  </a:cubicBezTo>
                  <a:cubicBezTo>
                    <a:pt x="479" y="359"/>
                    <a:pt x="480" y="358"/>
                    <a:pt x="480" y="357"/>
                  </a:cubicBezTo>
                  <a:cubicBezTo>
                    <a:pt x="480" y="356"/>
                    <a:pt x="480" y="356"/>
                    <a:pt x="480" y="355"/>
                  </a:cubicBezTo>
                  <a:cubicBezTo>
                    <a:pt x="480" y="355"/>
                    <a:pt x="480" y="355"/>
                    <a:pt x="480" y="355"/>
                  </a:cubicBezTo>
                  <a:cubicBezTo>
                    <a:pt x="480" y="353"/>
                    <a:pt x="481" y="351"/>
                    <a:pt x="479" y="349"/>
                  </a:cubicBezTo>
                  <a:cubicBezTo>
                    <a:pt x="478" y="348"/>
                    <a:pt x="478" y="347"/>
                    <a:pt x="477" y="347"/>
                  </a:cubicBezTo>
                  <a:cubicBezTo>
                    <a:pt x="478" y="346"/>
                    <a:pt x="478" y="345"/>
                    <a:pt x="479" y="343"/>
                  </a:cubicBezTo>
                  <a:cubicBezTo>
                    <a:pt x="479" y="343"/>
                    <a:pt x="479" y="342"/>
                    <a:pt x="479" y="342"/>
                  </a:cubicBezTo>
                  <a:cubicBezTo>
                    <a:pt x="479" y="341"/>
                    <a:pt x="479" y="341"/>
                    <a:pt x="480" y="340"/>
                  </a:cubicBezTo>
                  <a:cubicBezTo>
                    <a:pt x="482" y="339"/>
                    <a:pt x="484" y="337"/>
                    <a:pt x="486" y="335"/>
                  </a:cubicBezTo>
                  <a:cubicBezTo>
                    <a:pt x="487" y="333"/>
                    <a:pt x="488" y="331"/>
                    <a:pt x="488" y="328"/>
                  </a:cubicBezTo>
                  <a:cubicBezTo>
                    <a:pt x="488" y="327"/>
                    <a:pt x="488" y="326"/>
                    <a:pt x="489" y="325"/>
                  </a:cubicBezTo>
                  <a:cubicBezTo>
                    <a:pt x="489" y="324"/>
                    <a:pt x="490" y="324"/>
                    <a:pt x="491" y="323"/>
                  </a:cubicBezTo>
                  <a:cubicBezTo>
                    <a:pt x="493" y="322"/>
                    <a:pt x="495" y="320"/>
                    <a:pt x="496" y="316"/>
                  </a:cubicBezTo>
                  <a:cubicBezTo>
                    <a:pt x="496" y="313"/>
                    <a:pt x="495" y="310"/>
                    <a:pt x="492" y="309"/>
                  </a:cubicBezTo>
                  <a:cubicBezTo>
                    <a:pt x="491" y="308"/>
                    <a:pt x="490" y="308"/>
                    <a:pt x="489" y="308"/>
                  </a:cubicBezTo>
                  <a:cubicBezTo>
                    <a:pt x="488" y="308"/>
                    <a:pt x="488" y="308"/>
                    <a:pt x="487" y="307"/>
                  </a:cubicBezTo>
                  <a:cubicBezTo>
                    <a:pt x="486" y="307"/>
                    <a:pt x="485" y="306"/>
                    <a:pt x="484" y="305"/>
                  </a:cubicBezTo>
                  <a:cubicBezTo>
                    <a:pt x="482" y="303"/>
                    <a:pt x="482" y="302"/>
                    <a:pt x="482" y="302"/>
                  </a:cubicBezTo>
                  <a:cubicBezTo>
                    <a:pt x="483" y="302"/>
                    <a:pt x="485" y="302"/>
                    <a:pt x="486" y="302"/>
                  </a:cubicBezTo>
                  <a:cubicBezTo>
                    <a:pt x="487" y="302"/>
                    <a:pt x="487" y="302"/>
                    <a:pt x="487" y="302"/>
                  </a:cubicBezTo>
                  <a:cubicBezTo>
                    <a:pt x="488" y="302"/>
                    <a:pt x="489" y="302"/>
                    <a:pt x="490" y="302"/>
                  </a:cubicBezTo>
                  <a:cubicBezTo>
                    <a:pt x="491" y="302"/>
                    <a:pt x="492" y="301"/>
                    <a:pt x="493" y="301"/>
                  </a:cubicBezTo>
                  <a:cubicBezTo>
                    <a:pt x="495" y="301"/>
                    <a:pt x="496" y="300"/>
                    <a:pt x="498" y="300"/>
                  </a:cubicBezTo>
                  <a:cubicBezTo>
                    <a:pt x="499" y="305"/>
                    <a:pt x="502" y="312"/>
                    <a:pt x="509" y="313"/>
                  </a:cubicBezTo>
                  <a:cubicBezTo>
                    <a:pt x="510" y="313"/>
                    <a:pt x="510" y="313"/>
                    <a:pt x="510" y="313"/>
                  </a:cubicBezTo>
                  <a:cubicBezTo>
                    <a:pt x="510" y="313"/>
                    <a:pt x="511" y="313"/>
                    <a:pt x="511" y="313"/>
                  </a:cubicBezTo>
                  <a:cubicBezTo>
                    <a:pt x="513" y="313"/>
                    <a:pt x="514" y="313"/>
                    <a:pt x="516" y="311"/>
                  </a:cubicBezTo>
                  <a:cubicBezTo>
                    <a:pt x="517" y="310"/>
                    <a:pt x="517" y="309"/>
                    <a:pt x="517" y="308"/>
                  </a:cubicBezTo>
                  <a:cubicBezTo>
                    <a:pt x="517" y="308"/>
                    <a:pt x="517" y="308"/>
                    <a:pt x="517" y="308"/>
                  </a:cubicBezTo>
                  <a:cubicBezTo>
                    <a:pt x="518" y="308"/>
                    <a:pt x="519" y="309"/>
                    <a:pt x="520" y="309"/>
                  </a:cubicBezTo>
                  <a:cubicBezTo>
                    <a:pt x="521" y="309"/>
                    <a:pt x="521" y="309"/>
                    <a:pt x="522" y="309"/>
                  </a:cubicBezTo>
                  <a:cubicBezTo>
                    <a:pt x="523" y="308"/>
                    <a:pt x="525" y="307"/>
                    <a:pt x="526" y="305"/>
                  </a:cubicBezTo>
                  <a:cubicBezTo>
                    <a:pt x="526" y="304"/>
                    <a:pt x="526" y="304"/>
                    <a:pt x="526" y="303"/>
                  </a:cubicBezTo>
                  <a:cubicBezTo>
                    <a:pt x="527" y="304"/>
                    <a:pt x="528" y="304"/>
                    <a:pt x="528" y="304"/>
                  </a:cubicBezTo>
                  <a:cubicBezTo>
                    <a:pt x="529" y="305"/>
                    <a:pt x="530" y="305"/>
                    <a:pt x="531" y="305"/>
                  </a:cubicBezTo>
                  <a:cubicBezTo>
                    <a:pt x="535" y="305"/>
                    <a:pt x="537" y="301"/>
                    <a:pt x="538" y="299"/>
                  </a:cubicBezTo>
                  <a:cubicBezTo>
                    <a:pt x="539" y="298"/>
                    <a:pt x="539" y="297"/>
                    <a:pt x="540" y="297"/>
                  </a:cubicBezTo>
                  <a:cubicBezTo>
                    <a:pt x="541" y="296"/>
                    <a:pt x="541" y="295"/>
                    <a:pt x="542" y="294"/>
                  </a:cubicBezTo>
                  <a:cubicBezTo>
                    <a:pt x="542" y="293"/>
                    <a:pt x="543" y="293"/>
                    <a:pt x="543" y="292"/>
                  </a:cubicBezTo>
                  <a:cubicBezTo>
                    <a:pt x="544" y="292"/>
                    <a:pt x="545" y="291"/>
                    <a:pt x="545" y="291"/>
                  </a:cubicBezTo>
                  <a:cubicBezTo>
                    <a:pt x="547" y="290"/>
                    <a:pt x="549" y="289"/>
                    <a:pt x="550" y="286"/>
                  </a:cubicBezTo>
                  <a:cubicBezTo>
                    <a:pt x="551" y="285"/>
                    <a:pt x="551" y="284"/>
                    <a:pt x="552" y="283"/>
                  </a:cubicBezTo>
                  <a:cubicBezTo>
                    <a:pt x="552" y="281"/>
                    <a:pt x="552" y="280"/>
                    <a:pt x="553" y="280"/>
                  </a:cubicBezTo>
                  <a:cubicBezTo>
                    <a:pt x="553" y="279"/>
                    <a:pt x="554" y="279"/>
                    <a:pt x="555" y="278"/>
                  </a:cubicBezTo>
                  <a:cubicBezTo>
                    <a:pt x="556" y="278"/>
                    <a:pt x="558" y="277"/>
                    <a:pt x="559" y="276"/>
                  </a:cubicBezTo>
                  <a:cubicBezTo>
                    <a:pt x="562" y="272"/>
                    <a:pt x="562" y="268"/>
                    <a:pt x="561" y="264"/>
                  </a:cubicBezTo>
                  <a:cubicBezTo>
                    <a:pt x="561" y="263"/>
                    <a:pt x="561" y="262"/>
                    <a:pt x="561" y="261"/>
                  </a:cubicBezTo>
                  <a:cubicBezTo>
                    <a:pt x="561" y="261"/>
                    <a:pt x="561" y="260"/>
                    <a:pt x="561" y="260"/>
                  </a:cubicBezTo>
                  <a:cubicBezTo>
                    <a:pt x="562" y="259"/>
                    <a:pt x="562" y="257"/>
                    <a:pt x="561" y="255"/>
                  </a:cubicBezTo>
                  <a:cubicBezTo>
                    <a:pt x="560" y="253"/>
                    <a:pt x="558" y="251"/>
                    <a:pt x="556" y="248"/>
                  </a:cubicBezTo>
                  <a:cubicBezTo>
                    <a:pt x="555" y="247"/>
                    <a:pt x="554" y="246"/>
                    <a:pt x="552" y="244"/>
                  </a:cubicBezTo>
                  <a:cubicBezTo>
                    <a:pt x="551" y="242"/>
                    <a:pt x="550" y="241"/>
                    <a:pt x="549" y="239"/>
                  </a:cubicBezTo>
                  <a:cubicBezTo>
                    <a:pt x="548" y="238"/>
                    <a:pt x="547" y="237"/>
                    <a:pt x="547" y="235"/>
                  </a:cubicBezTo>
                  <a:cubicBezTo>
                    <a:pt x="547" y="234"/>
                    <a:pt x="546" y="232"/>
                    <a:pt x="545" y="231"/>
                  </a:cubicBezTo>
                  <a:cubicBezTo>
                    <a:pt x="545" y="230"/>
                    <a:pt x="544" y="229"/>
                    <a:pt x="543" y="228"/>
                  </a:cubicBezTo>
                  <a:cubicBezTo>
                    <a:pt x="542" y="227"/>
                    <a:pt x="540" y="224"/>
                    <a:pt x="540" y="223"/>
                  </a:cubicBezTo>
                  <a:cubicBezTo>
                    <a:pt x="540" y="223"/>
                    <a:pt x="540" y="223"/>
                    <a:pt x="540" y="223"/>
                  </a:cubicBezTo>
                  <a:cubicBezTo>
                    <a:pt x="540" y="223"/>
                    <a:pt x="541" y="223"/>
                    <a:pt x="541" y="223"/>
                  </a:cubicBezTo>
                  <a:cubicBezTo>
                    <a:pt x="542" y="223"/>
                    <a:pt x="543" y="223"/>
                    <a:pt x="544" y="223"/>
                  </a:cubicBezTo>
                  <a:cubicBezTo>
                    <a:pt x="546" y="223"/>
                    <a:pt x="547" y="222"/>
                    <a:pt x="549" y="221"/>
                  </a:cubicBezTo>
                  <a:cubicBezTo>
                    <a:pt x="550" y="220"/>
                    <a:pt x="551" y="218"/>
                    <a:pt x="553" y="217"/>
                  </a:cubicBezTo>
                  <a:cubicBezTo>
                    <a:pt x="555" y="214"/>
                    <a:pt x="556" y="212"/>
                    <a:pt x="556" y="209"/>
                  </a:cubicBezTo>
                  <a:cubicBezTo>
                    <a:pt x="556" y="203"/>
                    <a:pt x="552" y="203"/>
                    <a:pt x="550" y="203"/>
                  </a:cubicBezTo>
                  <a:cubicBezTo>
                    <a:pt x="549" y="203"/>
                    <a:pt x="549" y="203"/>
                    <a:pt x="548" y="202"/>
                  </a:cubicBezTo>
                  <a:cubicBezTo>
                    <a:pt x="548" y="202"/>
                    <a:pt x="548" y="202"/>
                    <a:pt x="548" y="202"/>
                  </a:cubicBezTo>
                  <a:cubicBezTo>
                    <a:pt x="549" y="200"/>
                    <a:pt x="552" y="197"/>
                    <a:pt x="551" y="193"/>
                  </a:cubicBezTo>
                  <a:cubicBezTo>
                    <a:pt x="551" y="192"/>
                    <a:pt x="550" y="190"/>
                    <a:pt x="548" y="189"/>
                  </a:cubicBezTo>
                  <a:cubicBezTo>
                    <a:pt x="546" y="188"/>
                    <a:pt x="544" y="187"/>
                    <a:pt x="542" y="187"/>
                  </a:cubicBezTo>
                  <a:cubicBezTo>
                    <a:pt x="540" y="187"/>
                    <a:pt x="539" y="186"/>
                    <a:pt x="538" y="185"/>
                  </a:cubicBezTo>
                  <a:cubicBezTo>
                    <a:pt x="537" y="185"/>
                    <a:pt x="536" y="184"/>
                    <a:pt x="536" y="184"/>
                  </a:cubicBezTo>
                  <a:cubicBezTo>
                    <a:pt x="535" y="183"/>
                    <a:pt x="534" y="181"/>
                    <a:pt x="533" y="180"/>
                  </a:cubicBezTo>
                  <a:cubicBezTo>
                    <a:pt x="532" y="180"/>
                    <a:pt x="532" y="180"/>
                    <a:pt x="532" y="180"/>
                  </a:cubicBezTo>
                  <a:cubicBezTo>
                    <a:pt x="532" y="180"/>
                    <a:pt x="532" y="179"/>
                    <a:pt x="532" y="179"/>
                  </a:cubicBezTo>
                  <a:cubicBezTo>
                    <a:pt x="533" y="176"/>
                    <a:pt x="533" y="174"/>
                    <a:pt x="532" y="173"/>
                  </a:cubicBezTo>
                  <a:cubicBezTo>
                    <a:pt x="531" y="172"/>
                    <a:pt x="530" y="170"/>
                    <a:pt x="526" y="170"/>
                  </a:cubicBezTo>
                  <a:cubicBezTo>
                    <a:pt x="523" y="170"/>
                    <a:pt x="520" y="171"/>
                    <a:pt x="519" y="172"/>
                  </a:cubicBezTo>
                  <a:cubicBezTo>
                    <a:pt x="518" y="173"/>
                    <a:pt x="517" y="173"/>
                    <a:pt x="516" y="173"/>
                  </a:cubicBezTo>
                  <a:cubicBezTo>
                    <a:pt x="515" y="173"/>
                    <a:pt x="515" y="173"/>
                    <a:pt x="514" y="173"/>
                  </a:cubicBezTo>
                  <a:cubicBezTo>
                    <a:pt x="513" y="172"/>
                    <a:pt x="513" y="172"/>
                    <a:pt x="512" y="171"/>
                  </a:cubicBezTo>
                  <a:cubicBezTo>
                    <a:pt x="511" y="170"/>
                    <a:pt x="510" y="169"/>
                    <a:pt x="508" y="168"/>
                  </a:cubicBezTo>
                  <a:cubicBezTo>
                    <a:pt x="508" y="168"/>
                    <a:pt x="508" y="168"/>
                    <a:pt x="507" y="168"/>
                  </a:cubicBezTo>
                  <a:cubicBezTo>
                    <a:pt x="509" y="168"/>
                    <a:pt x="510" y="168"/>
                    <a:pt x="511" y="168"/>
                  </a:cubicBezTo>
                  <a:cubicBezTo>
                    <a:pt x="513" y="168"/>
                    <a:pt x="516" y="168"/>
                    <a:pt x="518" y="167"/>
                  </a:cubicBezTo>
                  <a:cubicBezTo>
                    <a:pt x="519" y="167"/>
                    <a:pt x="520" y="167"/>
                    <a:pt x="520" y="167"/>
                  </a:cubicBezTo>
                  <a:cubicBezTo>
                    <a:pt x="521" y="167"/>
                    <a:pt x="522" y="167"/>
                    <a:pt x="524" y="168"/>
                  </a:cubicBezTo>
                  <a:cubicBezTo>
                    <a:pt x="525" y="168"/>
                    <a:pt x="526" y="169"/>
                    <a:pt x="526" y="169"/>
                  </a:cubicBezTo>
                  <a:cubicBezTo>
                    <a:pt x="528" y="170"/>
                    <a:pt x="530" y="170"/>
                    <a:pt x="531" y="170"/>
                  </a:cubicBezTo>
                  <a:cubicBezTo>
                    <a:pt x="535" y="170"/>
                    <a:pt x="538" y="168"/>
                    <a:pt x="540" y="165"/>
                  </a:cubicBezTo>
                  <a:cubicBezTo>
                    <a:pt x="543" y="162"/>
                    <a:pt x="547" y="160"/>
                    <a:pt x="551" y="160"/>
                  </a:cubicBezTo>
                  <a:cubicBezTo>
                    <a:pt x="552" y="160"/>
                    <a:pt x="554" y="161"/>
                    <a:pt x="555" y="161"/>
                  </a:cubicBezTo>
                  <a:cubicBezTo>
                    <a:pt x="557" y="161"/>
                    <a:pt x="558" y="162"/>
                    <a:pt x="560" y="162"/>
                  </a:cubicBezTo>
                  <a:cubicBezTo>
                    <a:pt x="563" y="163"/>
                    <a:pt x="567" y="165"/>
                    <a:pt x="571" y="165"/>
                  </a:cubicBezTo>
                  <a:cubicBezTo>
                    <a:pt x="573" y="165"/>
                    <a:pt x="575" y="164"/>
                    <a:pt x="577" y="164"/>
                  </a:cubicBezTo>
                  <a:cubicBezTo>
                    <a:pt x="581" y="162"/>
                    <a:pt x="582" y="159"/>
                    <a:pt x="582" y="157"/>
                  </a:cubicBezTo>
                  <a:cubicBezTo>
                    <a:pt x="583" y="152"/>
                    <a:pt x="579" y="147"/>
                    <a:pt x="578" y="146"/>
                  </a:cubicBezTo>
                  <a:cubicBezTo>
                    <a:pt x="579" y="146"/>
                    <a:pt x="579" y="147"/>
                    <a:pt x="580" y="147"/>
                  </a:cubicBezTo>
                  <a:cubicBezTo>
                    <a:pt x="582" y="147"/>
                    <a:pt x="583" y="148"/>
                    <a:pt x="585" y="148"/>
                  </a:cubicBezTo>
                  <a:cubicBezTo>
                    <a:pt x="585" y="148"/>
                    <a:pt x="586" y="148"/>
                    <a:pt x="586" y="148"/>
                  </a:cubicBezTo>
                  <a:cubicBezTo>
                    <a:pt x="587" y="147"/>
                    <a:pt x="587" y="147"/>
                    <a:pt x="588" y="147"/>
                  </a:cubicBezTo>
                  <a:cubicBezTo>
                    <a:pt x="588" y="147"/>
                    <a:pt x="589" y="148"/>
                    <a:pt x="589" y="148"/>
                  </a:cubicBezTo>
                  <a:cubicBezTo>
                    <a:pt x="589" y="148"/>
                    <a:pt x="589" y="148"/>
                    <a:pt x="589" y="148"/>
                  </a:cubicBezTo>
                  <a:cubicBezTo>
                    <a:pt x="589" y="148"/>
                    <a:pt x="589" y="148"/>
                    <a:pt x="589" y="150"/>
                  </a:cubicBezTo>
                  <a:cubicBezTo>
                    <a:pt x="589" y="150"/>
                    <a:pt x="589" y="151"/>
                    <a:pt x="589" y="151"/>
                  </a:cubicBezTo>
                  <a:cubicBezTo>
                    <a:pt x="589" y="153"/>
                    <a:pt x="588" y="157"/>
                    <a:pt x="591" y="160"/>
                  </a:cubicBezTo>
                  <a:cubicBezTo>
                    <a:pt x="592" y="160"/>
                    <a:pt x="594" y="161"/>
                    <a:pt x="595" y="161"/>
                  </a:cubicBezTo>
                  <a:cubicBezTo>
                    <a:pt x="596" y="161"/>
                    <a:pt x="597" y="161"/>
                    <a:pt x="598" y="160"/>
                  </a:cubicBezTo>
                  <a:cubicBezTo>
                    <a:pt x="599" y="160"/>
                    <a:pt x="599" y="160"/>
                    <a:pt x="600" y="160"/>
                  </a:cubicBezTo>
                  <a:cubicBezTo>
                    <a:pt x="600" y="160"/>
                    <a:pt x="600" y="160"/>
                    <a:pt x="600" y="160"/>
                  </a:cubicBezTo>
                  <a:cubicBezTo>
                    <a:pt x="600" y="160"/>
                    <a:pt x="600" y="160"/>
                    <a:pt x="600" y="160"/>
                  </a:cubicBezTo>
                  <a:cubicBezTo>
                    <a:pt x="600" y="160"/>
                    <a:pt x="600" y="160"/>
                    <a:pt x="600" y="160"/>
                  </a:cubicBezTo>
                  <a:cubicBezTo>
                    <a:pt x="600" y="160"/>
                    <a:pt x="601" y="161"/>
                    <a:pt x="601" y="162"/>
                  </a:cubicBezTo>
                  <a:cubicBezTo>
                    <a:pt x="601" y="163"/>
                    <a:pt x="601" y="163"/>
                    <a:pt x="601" y="163"/>
                  </a:cubicBezTo>
                  <a:cubicBezTo>
                    <a:pt x="601" y="167"/>
                    <a:pt x="603" y="168"/>
                    <a:pt x="606" y="168"/>
                  </a:cubicBezTo>
                  <a:cubicBezTo>
                    <a:pt x="606" y="168"/>
                    <a:pt x="607" y="169"/>
                    <a:pt x="607" y="169"/>
                  </a:cubicBezTo>
                  <a:cubicBezTo>
                    <a:pt x="608" y="169"/>
                    <a:pt x="608" y="170"/>
                    <a:pt x="609" y="170"/>
                  </a:cubicBezTo>
                  <a:cubicBezTo>
                    <a:pt x="610" y="171"/>
                    <a:pt x="611" y="173"/>
                    <a:pt x="613" y="174"/>
                  </a:cubicBezTo>
                  <a:cubicBezTo>
                    <a:pt x="615" y="174"/>
                    <a:pt x="617" y="174"/>
                    <a:pt x="618" y="174"/>
                  </a:cubicBezTo>
                  <a:cubicBezTo>
                    <a:pt x="620" y="174"/>
                    <a:pt x="621" y="174"/>
                    <a:pt x="622" y="175"/>
                  </a:cubicBezTo>
                  <a:cubicBezTo>
                    <a:pt x="623" y="177"/>
                    <a:pt x="623" y="178"/>
                    <a:pt x="623" y="179"/>
                  </a:cubicBezTo>
                  <a:cubicBezTo>
                    <a:pt x="623" y="179"/>
                    <a:pt x="622" y="180"/>
                    <a:pt x="622" y="181"/>
                  </a:cubicBezTo>
                  <a:cubicBezTo>
                    <a:pt x="621" y="181"/>
                    <a:pt x="620" y="181"/>
                    <a:pt x="619" y="182"/>
                  </a:cubicBezTo>
                  <a:cubicBezTo>
                    <a:pt x="617" y="182"/>
                    <a:pt x="614" y="183"/>
                    <a:pt x="612" y="187"/>
                  </a:cubicBezTo>
                  <a:cubicBezTo>
                    <a:pt x="611" y="190"/>
                    <a:pt x="611" y="197"/>
                    <a:pt x="613" y="200"/>
                  </a:cubicBezTo>
                  <a:cubicBezTo>
                    <a:pt x="614" y="202"/>
                    <a:pt x="616" y="203"/>
                    <a:pt x="618" y="203"/>
                  </a:cubicBezTo>
                  <a:cubicBezTo>
                    <a:pt x="619" y="203"/>
                    <a:pt x="621" y="203"/>
                    <a:pt x="622" y="202"/>
                  </a:cubicBezTo>
                  <a:cubicBezTo>
                    <a:pt x="626" y="199"/>
                    <a:pt x="628" y="195"/>
                    <a:pt x="630" y="192"/>
                  </a:cubicBezTo>
                  <a:cubicBezTo>
                    <a:pt x="631" y="189"/>
                    <a:pt x="633" y="187"/>
                    <a:pt x="635" y="185"/>
                  </a:cubicBezTo>
                  <a:cubicBezTo>
                    <a:pt x="636" y="185"/>
                    <a:pt x="638" y="184"/>
                    <a:pt x="638" y="184"/>
                  </a:cubicBezTo>
                  <a:cubicBezTo>
                    <a:pt x="638" y="184"/>
                    <a:pt x="638" y="185"/>
                    <a:pt x="638" y="185"/>
                  </a:cubicBezTo>
                  <a:cubicBezTo>
                    <a:pt x="638" y="187"/>
                    <a:pt x="638" y="188"/>
                    <a:pt x="638" y="189"/>
                  </a:cubicBezTo>
                  <a:cubicBezTo>
                    <a:pt x="638" y="192"/>
                    <a:pt x="639" y="194"/>
                    <a:pt x="641" y="197"/>
                  </a:cubicBezTo>
                  <a:cubicBezTo>
                    <a:pt x="643" y="198"/>
                    <a:pt x="646" y="201"/>
                    <a:pt x="649" y="201"/>
                  </a:cubicBezTo>
                  <a:cubicBezTo>
                    <a:pt x="650" y="201"/>
                    <a:pt x="650" y="201"/>
                    <a:pt x="650" y="201"/>
                  </a:cubicBezTo>
                  <a:cubicBezTo>
                    <a:pt x="650" y="201"/>
                    <a:pt x="650" y="201"/>
                    <a:pt x="650" y="201"/>
                  </a:cubicBezTo>
                  <a:cubicBezTo>
                    <a:pt x="652" y="201"/>
                    <a:pt x="652" y="200"/>
                    <a:pt x="653" y="200"/>
                  </a:cubicBezTo>
                  <a:cubicBezTo>
                    <a:pt x="653" y="205"/>
                    <a:pt x="656" y="207"/>
                    <a:pt x="657" y="207"/>
                  </a:cubicBezTo>
                  <a:cubicBezTo>
                    <a:pt x="658" y="208"/>
                    <a:pt x="659" y="208"/>
                    <a:pt x="660" y="208"/>
                  </a:cubicBezTo>
                  <a:cubicBezTo>
                    <a:pt x="661" y="208"/>
                    <a:pt x="662" y="208"/>
                    <a:pt x="663" y="207"/>
                  </a:cubicBezTo>
                  <a:cubicBezTo>
                    <a:pt x="664" y="207"/>
                    <a:pt x="664" y="207"/>
                    <a:pt x="665" y="207"/>
                  </a:cubicBezTo>
                  <a:cubicBezTo>
                    <a:pt x="665" y="207"/>
                    <a:pt x="665" y="207"/>
                    <a:pt x="665" y="207"/>
                  </a:cubicBezTo>
                  <a:cubicBezTo>
                    <a:pt x="667" y="208"/>
                    <a:pt x="669" y="212"/>
                    <a:pt x="671" y="215"/>
                  </a:cubicBezTo>
                  <a:cubicBezTo>
                    <a:pt x="672" y="217"/>
                    <a:pt x="673" y="219"/>
                    <a:pt x="675" y="221"/>
                  </a:cubicBezTo>
                  <a:cubicBezTo>
                    <a:pt x="677" y="223"/>
                    <a:pt x="677" y="223"/>
                    <a:pt x="677" y="223"/>
                  </a:cubicBezTo>
                  <a:cubicBezTo>
                    <a:pt x="679" y="226"/>
                    <a:pt x="682" y="229"/>
                    <a:pt x="684" y="233"/>
                  </a:cubicBezTo>
                  <a:cubicBezTo>
                    <a:pt x="685" y="236"/>
                    <a:pt x="687" y="241"/>
                    <a:pt x="686" y="244"/>
                  </a:cubicBezTo>
                  <a:cubicBezTo>
                    <a:pt x="686" y="245"/>
                    <a:pt x="685" y="246"/>
                    <a:pt x="684" y="248"/>
                  </a:cubicBezTo>
                  <a:cubicBezTo>
                    <a:pt x="682" y="250"/>
                    <a:pt x="680" y="252"/>
                    <a:pt x="680" y="256"/>
                  </a:cubicBezTo>
                  <a:cubicBezTo>
                    <a:pt x="680" y="258"/>
                    <a:pt x="680" y="260"/>
                    <a:pt x="682" y="262"/>
                  </a:cubicBezTo>
                  <a:cubicBezTo>
                    <a:pt x="680" y="262"/>
                    <a:pt x="678" y="263"/>
                    <a:pt x="677" y="265"/>
                  </a:cubicBezTo>
                  <a:cubicBezTo>
                    <a:pt x="676" y="266"/>
                    <a:pt x="675" y="268"/>
                    <a:pt x="675" y="269"/>
                  </a:cubicBezTo>
                  <a:cubicBezTo>
                    <a:pt x="675" y="270"/>
                    <a:pt x="674" y="271"/>
                    <a:pt x="674" y="271"/>
                  </a:cubicBezTo>
                  <a:cubicBezTo>
                    <a:pt x="673" y="273"/>
                    <a:pt x="672" y="275"/>
                    <a:pt x="671" y="277"/>
                  </a:cubicBezTo>
                  <a:cubicBezTo>
                    <a:pt x="669" y="281"/>
                    <a:pt x="666" y="285"/>
                    <a:pt x="667" y="290"/>
                  </a:cubicBezTo>
                  <a:cubicBezTo>
                    <a:pt x="669" y="296"/>
                    <a:pt x="674" y="298"/>
                    <a:pt x="678" y="300"/>
                  </a:cubicBezTo>
                  <a:cubicBezTo>
                    <a:pt x="681" y="302"/>
                    <a:pt x="684" y="303"/>
                    <a:pt x="686" y="305"/>
                  </a:cubicBezTo>
                  <a:cubicBezTo>
                    <a:pt x="686" y="306"/>
                    <a:pt x="686" y="306"/>
                    <a:pt x="686" y="307"/>
                  </a:cubicBezTo>
                  <a:cubicBezTo>
                    <a:pt x="686" y="307"/>
                    <a:pt x="684" y="308"/>
                    <a:pt x="681" y="309"/>
                  </a:cubicBezTo>
                  <a:cubicBezTo>
                    <a:pt x="680" y="309"/>
                    <a:pt x="680" y="309"/>
                    <a:pt x="679" y="309"/>
                  </a:cubicBezTo>
                  <a:cubicBezTo>
                    <a:pt x="678" y="310"/>
                    <a:pt x="676" y="310"/>
                    <a:pt x="675" y="310"/>
                  </a:cubicBezTo>
                  <a:cubicBezTo>
                    <a:pt x="672" y="312"/>
                    <a:pt x="671" y="314"/>
                    <a:pt x="669" y="315"/>
                  </a:cubicBezTo>
                  <a:cubicBezTo>
                    <a:pt x="669" y="316"/>
                    <a:pt x="668" y="317"/>
                    <a:pt x="668" y="317"/>
                  </a:cubicBezTo>
                  <a:cubicBezTo>
                    <a:pt x="667" y="318"/>
                    <a:pt x="666" y="319"/>
                    <a:pt x="665" y="320"/>
                  </a:cubicBezTo>
                  <a:cubicBezTo>
                    <a:pt x="664" y="321"/>
                    <a:pt x="664" y="321"/>
                    <a:pt x="664" y="321"/>
                  </a:cubicBezTo>
                  <a:cubicBezTo>
                    <a:pt x="662" y="322"/>
                    <a:pt x="659" y="323"/>
                    <a:pt x="655" y="323"/>
                  </a:cubicBezTo>
                  <a:cubicBezTo>
                    <a:pt x="655" y="323"/>
                    <a:pt x="655" y="323"/>
                    <a:pt x="655" y="323"/>
                  </a:cubicBezTo>
                  <a:cubicBezTo>
                    <a:pt x="652" y="323"/>
                    <a:pt x="649" y="322"/>
                    <a:pt x="645" y="322"/>
                  </a:cubicBezTo>
                  <a:cubicBezTo>
                    <a:pt x="642" y="321"/>
                    <a:pt x="638" y="321"/>
                    <a:pt x="634" y="321"/>
                  </a:cubicBezTo>
                  <a:cubicBezTo>
                    <a:pt x="632" y="321"/>
                    <a:pt x="630" y="321"/>
                    <a:pt x="628" y="321"/>
                  </a:cubicBezTo>
                  <a:cubicBezTo>
                    <a:pt x="626" y="322"/>
                    <a:pt x="626" y="322"/>
                    <a:pt x="626" y="322"/>
                  </a:cubicBezTo>
                  <a:cubicBezTo>
                    <a:pt x="626" y="324"/>
                    <a:pt x="626" y="324"/>
                    <a:pt x="626" y="324"/>
                  </a:cubicBezTo>
                  <a:cubicBezTo>
                    <a:pt x="625" y="325"/>
                    <a:pt x="625" y="325"/>
                    <a:pt x="625" y="325"/>
                  </a:cubicBezTo>
                  <a:cubicBezTo>
                    <a:pt x="625" y="326"/>
                    <a:pt x="625" y="328"/>
                    <a:pt x="626" y="329"/>
                  </a:cubicBezTo>
                  <a:cubicBezTo>
                    <a:pt x="626" y="331"/>
                    <a:pt x="627" y="332"/>
                    <a:pt x="628" y="332"/>
                  </a:cubicBezTo>
                  <a:cubicBezTo>
                    <a:pt x="628" y="332"/>
                    <a:pt x="628" y="332"/>
                    <a:pt x="628" y="332"/>
                  </a:cubicBezTo>
                  <a:cubicBezTo>
                    <a:pt x="629" y="334"/>
                    <a:pt x="629" y="334"/>
                    <a:pt x="628" y="335"/>
                  </a:cubicBezTo>
                  <a:cubicBezTo>
                    <a:pt x="627" y="335"/>
                    <a:pt x="627" y="336"/>
                    <a:pt x="626" y="336"/>
                  </a:cubicBezTo>
                  <a:cubicBezTo>
                    <a:pt x="625" y="337"/>
                    <a:pt x="623" y="338"/>
                    <a:pt x="621" y="342"/>
                  </a:cubicBezTo>
                  <a:cubicBezTo>
                    <a:pt x="621" y="343"/>
                    <a:pt x="621" y="343"/>
                    <a:pt x="621" y="344"/>
                  </a:cubicBezTo>
                  <a:cubicBezTo>
                    <a:pt x="621" y="345"/>
                    <a:pt x="621" y="345"/>
                    <a:pt x="620" y="346"/>
                  </a:cubicBezTo>
                  <a:cubicBezTo>
                    <a:pt x="620" y="347"/>
                    <a:pt x="620" y="347"/>
                    <a:pt x="620" y="347"/>
                  </a:cubicBezTo>
                  <a:cubicBezTo>
                    <a:pt x="619" y="349"/>
                    <a:pt x="619" y="350"/>
                    <a:pt x="619" y="352"/>
                  </a:cubicBezTo>
                  <a:cubicBezTo>
                    <a:pt x="619" y="353"/>
                    <a:pt x="620" y="354"/>
                    <a:pt x="620" y="355"/>
                  </a:cubicBezTo>
                  <a:cubicBezTo>
                    <a:pt x="620" y="358"/>
                    <a:pt x="620" y="361"/>
                    <a:pt x="624" y="365"/>
                  </a:cubicBezTo>
                  <a:cubicBezTo>
                    <a:pt x="627" y="369"/>
                    <a:pt x="632" y="371"/>
                    <a:pt x="637" y="372"/>
                  </a:cubicBezTo>
                  <a:cubicBezTo>
                    <a:pt x="638" y="373"/>
                    <a:pt x="639" y="373"/>
                    <a:pt x="640" y="373"/>
                  </a:cubicBezTo>
                  <a:cubicBezTo>
                    <a:pt x="644" y="373"/>
                    <a:pt x="647" y="371"/>
                    <a:pt x="649" y="370"/>
                  </a:cubicBezTo>
                  <a:cubicBezTo>
                    <a:pt x="650" y="369"/>
                    <a:pt x="651" y="369"/>
                    <a:pt x="652" y="368"/>
                  </a:cubicBezTo>
                  <a:cubicBezTo>
                    <a:pt x="655" y="367"/>
                    <a:pt x="658" y="365"/>
                    <a:pt x="662" y="362"/>
                  </a:cubicBezTo>
                  <a:cubicBezTo>
                    <a:pt x="664" y="360"/>
                    <a:pt x="665" y="358"/>
                    <a:pt x="665" y="357"/>
                  </a:cubicBezTo>
                  <a:cubicBezTo>
                    <a:pt x="666" y="356"/>
                    <a:pt x="666" y="355"/>
                    <a:pt x="666" y="355"/>
                  </a:cubicBezTo>
                  <a:cubicBezTo>
                    <a:pt x="667" y="355"/>
                    <a:pt x="667" y="355"/>
                    <a:pt x="667" y="355"/>
                  </a:cubicBezTo>
                  <a:cubicBezTo>
                    <a:pt x="668" y="355"/>
                    <a:pt x="669" y="355"/>
                    <a:pt x="670" y="356"/>
                  </a:cubicBezTo>
                  <a:cubicBezTo>
                    <a:pt x="671" y="356"/>
                    <a:pt x="671" y="356"/>
                    <a:pt x="671" y="356"/>
                  </a:cubicBezTo>
                  <a:cubicBezTo>
                    <a:pt x="673" y="356"/>
                    <a:pt x="675" y="357"/>
                    <a:pt x="676" y="357"/>
                  </a:cubicBezTo>
                  <a:cubicBezTo>
                    <a:pt x="680" y="357"/>
                    <a:pt x="684" y="355"/>
                    <a:pt x="685" y="353"/>
                  </a:cubicBezTo>
                  <a:cubicBezTo>
                    <a:pt x="686" y="351"/>
                    <a:pt x="686" y="350"/>
                    <a:pt x="685" y="348"/>
                  </a:cubicBezTo>
                  <a:cubicBezTo>
                    <a:pt x="686" y="347"/>
                    <a:pt x="686" y="347"/>
                    <a:pt x="686" y="347"/>
                  </a:cubicBezTo>
                  <a:cubicBezTo>
                    <a:pt x="687" y="348"/>
                    <a:pt x="688" y="350"/>
                    <a:pt x="691" y="351"/>
                  </a:cubicBezTo>
                  <a:cubicBezTo>
                    <a:pt x="691" y="351"/>
                    <a:pt x="691" y="351"/>
                    <a:pt x="691" y="351"/>
                  </a:cubicBezTo>
                  <a:cubicBezTo>
                    <a:pt x="692" y="351"/>
                    <a:pt x="692" y="351"/>
                    <a:pt x="692" y="351"/>
                  </a:cubicBezTo>
                  <a:cubicBezTo>
                    <a:pt x="695" y="351"/>
                    <a:pt x="696" y="348"/>
                    <a:pt x="697" y="347"/>
                  </a:cubicBezTo>
                  <a:cubicBezTo>
                    <a:pt x="697" y="346"/>
                    <a:pt x="697" y="346"/>
                    <a:pt x="697" y="346"/>
                  </a:cubicBezTo>
                  <a:cubicBezTo>
                    <a:pt x="698" y="346"/>
                    <a:pt x="698" y="347"/>
                    <a:pt x="698" y="348"/>
                  </a:cubicBezTo>
                  <a:cubicBezTo>
                    <a:pt x="699" y="348"/>
                    <a:pt x="699" y="348"/>
                    <a:pt x="699" y="348"/>
                  </a:cubicBezTo>
                  <a:cubicBezTo>
                    <a:pt x="700" y="350"/>
                    <a:pt x="702" y="352"/>
                    <a:pt x="703" y="353"/>
                  </a:cubicBezTo>
                  <a:cubicBezTo>
                    <a:pt x="704" y="354"/>
                    <a:pt x="704" y="354"/>
                    <a:pt x="705" y="355"/>
                  </a:cubicBezTo>
                  <a:cubicBezTo>
                    <a:pt x="707" y="357"/>
                    <a:pt x="709" y="358"/>
                    <a:pt x="711" y="359"/>
                  </a:cubicBezTo>
                  <a:cubicBezTo>
                    <a:pt x="713" y="360"/>
                    <a:pt x="713" y="360"/>
                    <a:pt x="713" y="360"/>
                  </a:cubicBezTo>
                  <a:cubicBezTo>
                    <a:pt x="715" y="361"/>
                    <a:pt x="716" y="362"/>
                    <a:pt x="717" y="364"/>
                  </a:cubicBezTo>
                  <a:cubicBezTo>
                    <a:pt x="717" y="364"/>
                    <a:pt x="717" y="364"/>
                    <a:pt x="717" y="364"/>
                  </a:cubicBezTo>
                  <a:cubicBezTo>
                    <a:pt x="719" y="367"/>
                    <a:pt x="721" y="368"/>
                    <a:pt x="724" y="368"/>
                  </a:cubicBezTo>
                  <a:cubicBezTo>
                    <a:pt x="724" y="368"/>
                    <a:pt x="725" y="368"/>
                    <a:pt x="726" y="368"/>
                  </a:cubicBezTo>
                  <a:cubicBezTo>
                    <a:pt x="727" y="368"/>
                    <a:pt x="727" y="368"/>
                    <a:pt x="728" y="369"/>
                  </a:cubicBezTo>
                  <a:cubicBezTo>
                    <a:pt x="729" y="369"/>
                    <a:pt x="731" y="370"/>
                    <a:pt x="733" y="370"/>
                  </a:cubicBezTo>
                  <a:cubicBezTo>
                    <a:pt x="733" y="370"/>
                    <a:pt x="733" y="370"/>
                    <a:pt x="733" y="370"/>
                  </a:cubicBezTo>
                  <a:cubicBezTo>
                    <a:pt x="734" y="370"/>
                    <a:pt x="735" y="370"/>
                    <a:pt x="737" y="370"/>
                  </a:cubicBezTo>
                  <a:cubicBezTo>
                    <a:pt x="739" y="370"/>
                    <a:pt x="740" y="370"/>
                    <a:pt x="742" y="370"/>
                  </a:cubicBezTo>
                  <a:cubicBezTo>
                    <a:pt x="741" y="371"/>
                    <a:pt x="741" y="371"/>
                    <a:pt x="740" y="372"/>
                  </a:cubicBezTo>
                  <a:cubicBezTo>
                    <a:pt x="738" y="374"/>
                    <a:pt x="736" y="377"/>
                    <a:pt x="736" y="380"/>
                  </a:cubicBezTo>
                  <a:cubicBezTo>
                    <a:pt x="736" y="381"/>
                    <a:pt x="737" y="383"/>
                    <a:pt x="739" y="384"/>
                  </a:cubicBezTo>
                  <a:cubicBezTo>
                    <a:pt x="741" y="386"/>
                    <a:pt x="742" y="388"/>
                    <a:pt x="744" y="390"/>
                  </a:cubicBezTo>
                  <a:cubicBezTo>
                    <a:pt x="746" y="392"/>
                    <a:pt x="748" y="392"/>
                    <a:pt x="751" y="392"/>
                  </a:cubicBezTo>
                  <a:cubicBezTo>
                    <a:pt x="752" y="392"/>
                    <a:pt x="753" y="392"/>
                    <a:pt x="754" y="392"/>
                  </a:cubicBezTo>
                  <a:cubicBezTo>
                    <a:pt x="755" y="392"/>
                    <a:pt x="756" y="392"/>
                    <a:pt x="757" y="392"/>
                  </a:cubicBezTo>
                  <a:cubicBezTo>
                    <a:pt x="757" y="392"/>
                    <a:pt x="758" y="392"/>
                    <a:pt x="758" y="392"/>
                  </a:cubicBezTo>
                  <a:cubicBezTo>
                    <a:pt x="759" y="393"/>
                    <a:pt x="759" y="394"/>
                    <a:pt x="758" y="395"/>
                  </a:cubicBezTo>
                  <a:cubicBezTo>
                    <a:pt x="758" y="396"/>
                    <a:pt x="758" y="397"/>
                    <a:pt x="759" y="398"/>
                  </a:cubicBezTo>
                  <a:cubicBezTo>
                    <a:pt x="759" y="402"/>
                    <a:pt x="763" y="407"/>
                    <a:pt x="769" y="407"/>
                  </a:cubicBezTo>
                  <a:cubicBezTo>
                    <a:pt x="770" y="407"/>
                    <a:pt x="770" y="407"/>
                    <a:pt x="771" y="407"/>
                  </a:cubicBezTo>
                  <a:cubicBezTo>
                    <a:pt x="776" y="405"/>
                    <a:pt x="776" y="401"/>
                    <a:pt x="776" y="399"/>
                  </a:cubicBezTo>
                  <a:cubicBezTo>
                    <a:pt x="775" y="397"/>
                    <a:pt x="776" y="396"/>
                    <a:pt x="776" y="396"/>
                  </a:cubicBezTo>
                  <a:cubicBezTo>
                    <a:pt x="777" y="396"/>
                    <a:pt x="779" y="395"/>
                    <a:pt x="781" y="395"/>
                  </a:cubicBezTo>
                  <a:cubicBezTo>
                    <a:pt x="783" y="395"/>
                    <a:pt x="784" y="395"/>
                    <a:pt x="785" y="395"/>
                  </a:cubicBezTo>
                  <a:cubicBezTo>
                    <a:pt x="786" y="396"/>
                    <a:pt x="788" y="398"/>
                    <a:pt x="789" y="399"/>
                  </a:cubicBezTo>
                  <a:cubicBezTo>
                    <a:pt x="792" y="401"/>
                    <a:pt x="795" y="403"/>
                    <a:pt x="798" y="404"/>
                  </a:cubicBezTo>
                  <a:cubicBezTo>
                    <a:pt x="801" y="405"/>
                    <a:pt x="803" y="405"/>
                    <a:pt x="806" y="405"/>
                  </a:cubicBezTo>
                  <a:cubicBezTo>
                    <a:pt x="808" y="405"/>
                    <a:pt x="809" y="405"/>
                    <a:pt x="811" y="405"/>
                  </a:cubicBezTo>
                  <a:cubicBezTo>
                    <a:pt x="812" y="405"/>
                    <a:pt x="813" y="405"/>
                    <a:pt x="814" y="405"/>
                  </a:cubicBezTo>
                  <a:cubicBezTo>
                    <a:pt x="814" y="405"/>
                    <a:pt x="814" y="405"/>
                    <a:pt x="815" y="405"/>
                  </a:cubicBezTo>
                  <a:cubicBezTo>
                    <a:pt x="817" y="405"/>
                    <a:pt x="819" y="405"/>
                    <a:pt x="822" y="405"/>
                  </a:cubicBezTo>
                  <a:cubicBezTo>
                    <a:pt x="823" y="405"/>
                    <a:pt x="823" y="405"/>
                    <a:pt x="823" y="405"/>
                  </a:cubicBezTo>
                  <a:cubicBezTo>
                    <a:pt x="823" y="405"/>
                    <a:pt x="824" y="405"/>
                    <a:pt x="824" y="405"/>
                  </a:cubicBezTo>
                  <a:cubicBezTo>
                    <a:pt x="826" y="405"/>
                    <a:pt x="827" y="405"/>
                    <a:pt x="828" y="405"/>
                  </a:cubicBezTo>
                  <a:cubicBezTo>
                    <a:pt x="829" y="405"/>
                    <a:pt x="830" y="404"/>
                    <a:pt x="831" y="404"/>
                  </a:cubicBezTo>
                  <a:cubicBezTo>
                    <a:pt x="832" y="404"/>
                    <a:pt x="835" y="405"/>
                    <a:pt x="836" y="405"/>
                  </a:cubicBezTo>
                  <a:cubicBezTo>
                    <a:pt x="839" y="406"/>
                    <a:pt x="842" y="407"/>
                    <a:pt x="845" y="407"/>
                  </a:cubicBezTo>
                  <a:cubicBezTo>
                    <a:pt x="848" y="407"/>
                    <a:pt x="850" y="406"/>
                    <a:pt x="851" y="404"/>
                  </a:cubicBezTo>
                  <a:cubicBezTo>
                    <a:pt x="853" y="403"/>
                    <a:pt x="853" y="400"/>
                    <a:pt x="853" y="398"/>
                  </a:cubicBezTo>
                  <a:cubicBezTo>
                    <a:pt x="853" y="389"/>
                    <a:pt x="844" y="382"/>
                    <a:pt x="837" y="378"/>
                  </a:cubicBezTo>
                  <a:cubicBezTo>
                    <a:pt x="834" y="377"/>
                    <a:pt x="832" y="376"/>
                    <a:pt x="829" y="375"/>
                  </a:cubicBezTo>
                  <a:cubicBezTo>
                    <a:pt x="824" y="373"/>
                    <a:pt x="820" y="371"/>
                    <a:pt x="816" y="368"/>
                  </a:cubicBezTo>
                  <a:cubicBezTo>
                    <a:pt x="814" y="367"/>
                    <a:pt x="812" y="367"/>
                    <a:pt x="810" y="366"/>
                  </a:cubicBezTo>
                  <a:cubicBezTo>
                    <a:pt x="809" y="366"/>
                    <a:pt x="808" y="366"/>
                    <a:pt x="807" y="365"/>
                  </a:cubicBezTo>
                  <a:cubicBezTo>
                    <a:pt x="803" y="364"/>
                    <a:pt x="798" y="361"/>
                    <a:pt x="794" y="359"/>
                  </a:cubicBezTo>
                  <a:cubicBezTo>
                    <a:pt x="793" y="358"/>
                    <a:pt x="791" y="357"/>
                    <a:pt x="790" y="357"/>
                  </a:cubicBezTo>
                  <a:cubicBezTo>
                    <a:pt x="788" y="355"/>
                    <a:pt x="786" y="354"/>
                    <a:pt x="785" y="353"/>
                  </a:cubicBezTo>
                  <a:cubicBezTo>
                    <a:pt x="785" y="352"/>
                    <a:pt x="785" y="352"/>
                    <a:pt x="785" y="352"/>
                  </a:cubicBezTo>
                  <a:cubicBezTo>
                    <a:pt x="786" y="352"/>
                    <a:pt x="788" y="353"/>
                    <a:pt x="789" y="353"/>
                  </a:cubicBezTo>
                  <a:cubicBezTo>
                    <a:pt x="791" y="354"/>
                    <a:pt x="792" y="354"/>
                    <a:pt x="793" y="354"/>
                  </a:cubicBezTo>
                  <a:cubicBezTo>
                    <a:pt x="794" y="354"/>
                    <a:pt x="795" y="354"/>
                    <a:pt x="796" y="354"/>
                  </a:cubicBezTo>
                  <a:cubicBezTo>
                    <a:pt x="797" y="354"/>
                    <a:pt x="797" y="354"/>
                    <a:pt x="798" y="354"/>
                  </a:cubicBezTo>
                  <a:cubicBezTo>
                    <a:pt x="799" y="354"/>
                    <a:pt x="799" y="354"/>
                    <a:pt x="800" y="354"/>
                  </a:cubicBezTo>
                  <a:cubicBezTo>
                    <a:pt x="801" y="354"/>
                    <a:pt x="802" y="354"/>
                    <a:pt x="802" y="355"/>
                  </a:cubicBezTo>
                  <a:cubicBezTo>
                    <a:pt x="806" y="355"/>
                    <a:pt x="809" y="357"/>
                    <a:pt x="812" y="358"/>
                  </a:cubicBezTo>
                  <a:cubicBezTo>
                    <a:pt x="815" y="359"/>
                    <a:pt x="817" y="360"/>
                    <a:pt x="819" y="361"/>
                  </a:cubicBezTo>
                  <a:cubicBezTo>
                    <a:pt x="820" y="361"/>
                    <a:pt x="821" y="362"/>
                    <a:pt x="822" y="362"/>
                  </a:cubicBezTo>
                  <a:cubicBezTo>
                    <a:pt x="823" y="362"/>
                    <a:pt x="824" y="361"/>
                    <a:pt x="825" y="361"/>
                  </a:cubicBezTo>
                  <a:cubicBezTo>
                    <a:pt x="826" y="361"/>
                    <a:pt x="827" y="361"/>
                    <a:pt x="827" y="361"/>
                  </a:cubicBezTo>
                  <a:cubicBezTo>
                    <a:pt x="827" y="361"/>
                    <a:pt x="828" y="361"/>
                    <a:pt x="828" y="361"/>
                  </a:cubicBezTo>
                  <a:cubicBezTo>
                    <a:pt x="828" y="361"/>
                    <a:pt x="829" y="362"/>
                    <a:pt x="830" y="362"/>
                  </a:cubicBezTo>
                  <a:cubicBezTo>
                    <a:pt x="831" y="363"/>
                    <a:pt x="832" y="365"/>
                    <a:pt x="834" y="365"/>
                  </a:cubicBezTo>
                  <a:cubicBezTo>
                    <a:pt x="835" y="366"/>
                    <a:pt x="836" y="366"/>
                    <a:pt x="838" y="366"/>
                  </a:cubicBezTo>
                  <a:cubicBezTo>
                    <a:pt x="838" y="366"/>
                    <a:pt x="839" y="366"/>
                    <a:pt x="840" y="366"/>
                  </a:cubicBezTo>
                  <a:cubicBezTo>
                    <a:pt x="841" y="366"/>
                    <a:pt x="842" y="366"/>
                    <a:pt x="842" y="366"/>
                  </a:cubicBezTo>
                  <a:cubicBezTo>
                    <a:pt x="843" y="366"/>
                    <a:pt x="843" y="366"/>
                    <a:pt x="843" y="366"/>
                  </a:cubicBezTo>
                  <a:cubicBezTo>
                    <a:pt x="844" y="366"/>
                    <a:pt x="845" y="366"/>
                    <a:pt x="846" y="367"/>
                  </a:cubicBezTo>
                  <a:cubicBezTo>
                    <a:pt x="847" y="367"/>
                    <a:pt x="847" y="367"/>
                    <a:pt x="847" y="367"/>
                  </a:cubicBezTo>
                  <a:cubicBezTo>
                    <a:pt x="848" y="368"/>
                    <a:pt x="848" y="368"/>
                    <a:pt x="849" y="368"/>
                  </a:cubicBezTo>
                  <a:cubicBezTo>
                    <a:pt x="850" y="369"/>
                    <a:pt x="851" y="369"/>
                    <a:pt x="852" y="370"/>
                  </a:cubicBezTo>
                  <a:cubicBezTo>
                    <a:pt x="854" y="371"/>
                    <a:pt x="855" y="371"/>
                    <a:pt x="857" y="371"/>
                  </a:cubicBezTo>
                  <a:cubicBezTo>
                    <a:pt x="859" y="371"/>
                    <a:pt x="861" y="370"/>
                    <a:pt x="862" y="367"/>
                  </a:cubicBezTo>
                  <a:cubicBezTo>
                    <a:pt x="863" y="365"/>
                    <a:pt x="862" y="362"/>
                    <a:pt x="861" y="360"/>
                  </a:cubicBezTo>
                  <a:cubicBezTo>
                    <a:pt x="861" y="360"/>
                    <a:pt x="861" y="360"/>
                    <a:pt x="862" y="359"/>
                  </a:cubicBezTo>
                  <a:close/>
                  <a:moveTo>
                    <a:pt x="493" y="120"/>
                  </a:moveTo>
                  <a:cubicBezTo>
                    <a:pt x="493" y="120"/>
                    <a:pt x="493" y="121"/>
                    <a:pt x="493" y="121"/>
                  </a:cubicBezTo>
                  <a:cubicBezTo>
                    <a:pt x="492" y="120"/>
                    <a:pt x="490" y="120"/>
                    <a:pt x="489" y="120"/>
                  </a:cubicBezTo>
                  <a:cubicBezTo>
                    <a:pt x="489" y="120"/>
                    <a:pt x="489" y="120"/>
                    <a:pt x="489" y="120"/>
                  </a:cubicBezTo>
                  <a:cubicBezTo>
                    <a:pt x="490" y="120"/>
                    <a:pt x="490" y="120"/>
                    <a:pt x="490" y="120"/>
                  </a:cubicBezTo>
                  <a:cubicBezTo>
                    <a:pt x="492" y="118"/>
                    <a:pt x="493" y="116"/>
                    <a:pt x="494" y="115"/>
                  </a:cubicBezTo>
                  <a:cubicBezTo>
                    <a:pt x="494" y="116"/>
                    <a:pt x="493" y="120"/>
                    <a:pt x="493" y="120"/>
                  </a:cubicBezTo>
                  <a:close/>
                  <a:moveTo>
                    <a:pt x="457" y="346"/>
                  </a:moveTo>
                  <a:cubicBezTo>
                    <a:pt x="452" y="346"/>
                    <a:pt x="448" y="345"/>
                    <a:pt x="445" y="342"/>
                  </a:cubicBezTo>
                  <a:cubicBezTo>
                    <a:pt x="444" y="341"/>
                    <a:pt x="444" y="341"/>
                    <a:pt x="444" y="341"/>
                  </a:cubicBezTo>
                  <a:cubicBezTo>
                    <a:pt x="443" y="340"/>
                    <a:pt x="442" y="339"/>
                    <a:pt x="441" y="338"/>
                  </a:cubicBezTo>
                  <a:cubicBezTo>
                    <a:pt x="440" y="336"/>
                    <a:pt x="439" y="335"/>
                    <a:pt x="438" y="333"/>
                  </a:cubicBezTo>
                  <a:cubicBezTo>
                    <a:pt x="437" y="331"/>
                    <a:pt x="435" y="330"/>
                    <a:pt x="433" y="329"/>
                  </a:cubicBezTo>
                  <a:cubicBezTo>
                    <a:pt x="431" y="328"/>
                    <a:pt x="430" y="327"/>
                    <a:pt x="428" y="326"/>
                  </a:cubicBezTo>
                  <a:cubicBezTo>
                    <a:pt x="430" y="326"/>
                    <a:pt x="433" y="326"/>
                    <a:pt x="435" y="327"/>
                  </a:cubicBezTo>
                  <a:cubicBezTo>
                    <a:pt x="437" y="328"/>
                    <a:pt x="439" y="329"/>
                    <a:pt x="440" y="330"/>
                  </a:cubicBezTo>
                  <a:cubicBezTo>
                    <a:pt x="443" y="332"/>
                    <a:pt x="445" y="334"/>
                    <a:pt x="447" y="336"/>
                  </a:cubicBezTo>
                  <a:cubicBezTo>
                    <a:pt x="448" y="338"/>
                    <a:pt x="450" y="340"/>
                    <a:pt x="453" y="342"/>
                  </a:cubicBezTo>
                  <a:cubicBezTo>
                    <a:pt x="453" y="342"/>
                    <a:pt x="454" y="342"/>
                    <a:pt x="454" y="343"/>
                  </a:cubicBezTo>
                  <a:cubicBezTo>
                    <a:pt x="455" y="344"/>
                    <a:pt x="456" y="345"/>
                    <a:pt x="457" y="345"/>
                  </a:cubicBezTo>
                  <a:cubicBezTo>
                    <a:pt x="458" y="346"/>
                    <a:pt x="458" y="346"/>
                    <a:pt x="458" y="346"/>
                  </a:cubicBezTo>
                  <a:cubicBezTo>
                    <a:pt x="458" y="346"/>
                    <a:pt x="458" y="346"/>
                    <a:pt x="458" y="346"/>
                  </a:cubicBezTo>
                  <a:cubicBezTo>
                    <a:pt x="458" y="346"/>
                    <a:pt x="458" y="346"/>
                    <a:pt x="457" y="346"/>
                  </a:cubicBezTo>
                  <a:close/>
                  <a:moveTo>
                    <a:pt x="567" y="79"/>
                  </a:moveTo>
                  <a:cubicBezTo>
                    <a:pt x="566" y="78"/>
                    <a:pt x="566" y="78"/>
                    <a:pt x="566" y="78"/>
                  </a:cubicBezTo>
                  <a:cubicBezTo>
                    <a:pt x="565" y="77"/>
                    <a:pt x="564" y="76"/>
                    <a:pt x="563" y="75"/>
                  </a:cubicBezTo>
                  <a:cubicBezTo>
                    <a:pt x="563" y="75"/>
                    <a:pt x="563" y="75"/>
                    <a:pt x="563" y="74"/>
                  </a:cubicBezTo>
                  <a:cubicBezTo>
                    <a:pt x="563" y="74"/>
                    <a:pt x="564" y="74"/>
                    <a:pt x="564" y="74"/>
                  </a:cubicBezTo>
                  <a:cubicBezTo>
                    <a:pt x="567" y="75"/>
                    <a:pt x="572" y="79"/>
                    <a:pt x="573" y="81"/>
                  </a:cubicBezTo>
                  <a:cubicBezTo>
                    <a:pt x="573" y="82"/>
                    <a:pt x="573" y="82"/>
                    <a:pt x="573" y="82"/>
                  </a:cubicBezTo>
                  <a:cubicBezTo>
                    <a:pt x="573" y="82"/>
                    <a:pt x="573" y="82"/>
                    <a:pt x="572" y="82"/>
                  </a:cubicBezTo>
                  <a:cubicBezTo>
                    <a:pt x="571" y="82"/>
                    <a:pt x="569" y="81"/>
                    <a:pt x="567" y="79"/>
                  </a:cubicBezTo>
                  <a:close/>
                  <a:moveTo>
                    <a:pt x="573" y="140"/>
                  </a:moveTo>
                  <a:cubicBezTo>
                    <a:pt x="573" y="140"/>
                    <a:pt x="574" y="140"/>
                    <a:pt x="574" y="140"/>
                  </a:cubicBezTo>
                  <a:cubicBezTo>
                    <a:pt x="574" y="140"/>
                    <a:pt x="574" y="140"/>
                    <a:pt x="574" y="140"/>
                  </a:cubicBezTo>
                  <a:cubicBezTo>
                    <a:pt x="575" y="140"/>
                    <a:pt x="575" y="141"/>
                    <a:pt x="575" y="142"/>
                  </a:cubicBezTo>
                  <a:cubicBezTo>
                    <a:pt x="575" y="142"/>
                    <a:pt x="576" y="143"/>
                    <a:pt x="576" y="144"/>
                  </a:cubicBezTo>
                  <a:cubicBezTo>
                    <a:pt x="575" y="143"/>
                    <a:pt x="574" y="142"/>
                    <a:pt x="573" y="140"/>
                  </a:cubicBezTo>
                  <a:close/>
                  <a:moveTo>
                    <a:pt x="739" y="259"/>
                  </a:moveTo>
                  <a:cubicBezTo>
                    <a:pt x="739" y="260"/>
                    <a:pt x="738" y="261"/>
                    <a:pt x="736" y="261"/>
                  </a:cubicBezTo>
                  <a:cubicBezTo>
                    <a:pt x="736" y="261"/>
                    <a:pt x="735" y="261"/>
                    <a:pt x="735" y="261"/>
                  </a:cubicBezTo>
                  <a:cubicBezTo>
                    <a:pt x="734" y="261"/>
                    <a:pt x="732" y="261"/>
                    <a:pt x="732" y="261"/>
                  </a:cubicBezTo>
                  <a:cubicBezTo>
                    <a:pt x="731" y="261"/>
                    <a:pt x="731" y="261"/>
                    <a:pt x="730" y="261"/>
                  </a:cubicBezTo>
                  <a:cubicBezTo>
                    <a:pt x="726" y="263"/>
                    <a:pt x="723" y="268"/>
                    <a:pt x="720" y="273"/>
                  </a:cubicBezTo>
                  <a:cubicBezTo>
                    <a:pt x="719" y="273"/>
                    <a:pt x="719" y="273"/>
                    <a:pt x="719" y="273"/>
                  </a:cubicBezTo>
                  <a:cubicBezTo>
                    <a:pt x="720" y="271"/>
                    <a:pt x="720" y="270"/>
                    <a:pt x="719" y="267"/>
                  </a:cubicBezTo>
                  <a:cubicBezTo>
                    <a:pt x="717" y="262"/>
                    <a:pt x="714" y="259"/>
                    <a:pt x="710" y="258"/>
                  </a:cubicBezTo>
                  <a:cubicBezTo>
                    <a:pt x="712" y="254"/>
                    <a:pt x="713" y="250"/>
                    <a:pt x="713" y="246"/>
                  </a:cubicBezTo>
                  <a:cubicBezTo>
                    <a:pt x="716" y="247"/>
                    <a:pt x="719" y="249"/>
                    <a:pt x="723" y="250"/>
                  </a:cubicBezTo>
                  <a:cubicBezTo>
                    <a:pt x="725" y="250"/>
                    <a:pt x="727" y="251"/>
                    <a:pt x="729" y="251"/>
                  </a:cubicBezTo>
                  <a:cubicBezTo>
                    <a:pt x="731" y="251"/>
                    <a:pt x="734" y="251"/>
                    <a:pt x="736" y="252"/>
                  </a:cubicBezTo>
                  <a:cubicBezTo>
                    <a:pt x="738" y="253"/>
                    <a:pt x="739" y="255"/>
                    <a:pt x="740" y="257"/>
                  </a:cubicBezTo>
                  <a:cubicBezTo>
                    <a:pt x="740" y="258"/>
                    <a:pt x="740" y="259"/>
                    <a:pt x="739" y="259"/>
                  </a:cubicBezTo>
                  <a:close/>
                </a:path>
              </a:pathLst>
            </a:custGeom>
            <a:grpFill/>
            <a:ln w="4763" cap="rnd">
              <a:solidFill>
                <a:schemeClr val="bg1"/>
              </a:solidFill>
              <a:prstDash val="solid"/>
              <a:round/>
              <a:headEnd/>
              <a:tailEnd/>
            </a:ln>
          </p:spPr>
          <p:txBody>
            <a:bodyPr vert="horz" wrap="square" lIns="91424" tIns="45712" rIns="91424" bIns="45712" numCol="1" anchor="t" anchorCtr="0" compatLnSpc="1">
              <a:prstTxWarp prst="textNoShape">
                <a:avLst/>
              </a:prstTxWarp>
            </a:bodyPr>
            <a:lstStyle/>
            <a:p>
              <a:endParaRPr lang="en-US" sz="675" dirty="0">
                <a:latin typeface="Lato Regular" charset="0"/>
              </a:endParaRPr>
            </a:p>
          </p:txBody>
        </p:sp>
        <p:sp>
          <p:nvSpPr>
            <p:cNvPr id="204" name="Freeform 66">
              <a:extLst>
                <a:ext uri="{FF2B5EF4-FFF2-40B4-BE49-F238E27FC236}">
                  <a16:creationId xmlns:a16="http://schemas.microsoft.com/office/drawing/2014/main" id="{ECFEBDFE-5CCF-1343-965E-9D2D3EFBDEA0}"/>
                </a:ext>
              </a:extLst>
            </p:cNvPr>
            <p:cNvSpPr>
              <a:spLocks/>
            </p:cNvSpPr>
            <p:nvPr/>
          </p:nvSpPr>
          <p:spPr bwMode="auto">
            <a:xfrm>
              <a:off x="15718247" y="7338739"/>
              <a:ext cx="3106348" cy="2881984"/>
            </a:xfrm>
            <a:custGeom>
              <a:avLst/>
              <a:gdLst>
                <a:gd name="T0" fmla="*/ 559 w 570"/>
                <a:gd name="T1" fmla="*/ 394 h 581"/>
                <a:gd name="T2" fmla="*/ 526 w 570"/>
                <a:gd name="T3" fmla="*/ 405 h 581"/>
                <a:gd name="T4" fmla="*/ 491 w 570"/>
                <a:gd name="T5" fmla="*/ 395 h 581"/>
                <a:gd name="T6" fmla="*/ 440 w 570"/>
                <a:gd name="T7" fmla="*/ 385 h 581"/>
                <a:gd name="T8" fmla="*/ 410 w 570"/>
                <a:gd name="T9" fmla="*/ 340 h 581"/>
                <a:gd name="T10" fmla="*/ 384 w 570"/>
                <a:gd name="T11" fmla="*/ 194 h 581"/>
                <a:gd name="T12" fmla="*/ 380 w 570"/>
                <a:gd name="T13" fmla="*/ 198 h 581"/>
                <a:gd name="T14" fmla="*/ 354 w 570"/>
                <a:gd name="T15" fmla="*/ 176 h 581"/>
                <a:gd name="T16" fmla="*/ 337 w 570"/>
                <a:gd name="T17" fmla="*/ 165 h 581"/>
                <a:gd name="T18" fmla="*/ 318 w 570"/>
                <a:gd name="T19" fmla="*/ 142 h 581"/>
                <a:gd name="T20" fmla="*/ 316 w 570"/>
                <a:gd name="T21" fmla="*/ 132 h 581"/>
                <a:gd name="T22" fmla="*/ 315 w 570"/>
                <a:gd name="T23" fmla="*/ 115 h 581"/>
                <a:gd name="T24" fmla="*/ 310 w 570"/>
                <a:gd name="T25" fmla="*/ 95 h 581"/>
                <a:gd name="T26" fmla="*/ 309 w 570"/>
                <a:gd name="T27" fmla="*/ 73 h 581"/>
                <a:gd name="T28" fmla="*/ 296 w 570"/>
                <a:gd name="T29" fmla="*/ 54 h 581"/>
                <a:gd name="T30" fmla="*/ 282 w 570"/>
                <a:gd name="T31" fmla="*/ 54 h 581"/>
                <a:gd name="T32" fmla="*/ 269 w 570"/>
                <a:gd name="T33" fmla="*/ 51 h 581"/>
                <a:gd name="T34" fmla="*/ 246 w 570"/>
                <a:gd name="T35" fmla="*/ 56 h 581"/>
                <a:gd name="T36" fmla="*/ 238 w 570"/>
                <a:gd name="T37" fmla="*/ 51 h 581"/>
                <a:gd name="T38" fmla="*/ 226 w 570"/>
                <a:gd name="T39" fmla="*/ 42 h 581"/>
                <a:gd name="T40" fmla="*/ 208 w 570"/>
                <a:gd name="T41" fmla="*/ 36 h 581"/>
                <a:gd name="T42" fmla="*/ 193 w 570"/>
                <a:gd name="T43" fmla="*/ 30 h 581"/>
                <a:gd name="T44" fmla="*/ 177 w 570"/>
                <a:gd name="T45" fmla="*/ 13 h 581"/>
                <a:gd name="T46" fmla="*/ 161 w 570"/>
                <a:gd name="T47" fmla="*/ 1 h 581"/>
                <a:gd name="T48" fmla="*/ 0 w 570"/>
                <a:gd name="T49" fmla="*/ 288 h 581"/>
                <a:gd name="T50" fmla="*/ 6 w 570"/>
                <a:gd name="T51" fmla="*/ 297 h 581"/>
                <a:gd name="T52" fmla="*/ 47 w 570"/>
                <a:gd name="T53" fmla="*/ 322 h 581"/>
                <a:gd name="T54" fmla="*/ 69 w 570"/>
                <a:gd name="T55" fmla="*/ 337 h 581"/>
                <a:gd name="T56" fmla="*/ 87 w 570"/>
                <a:gd name="T57" fmla="*/ 346 h 581"/>
                <a:gd name="T58" fmla="*/ 121 w 570"/>
                <a:gd name="T59" fmla="*/ 345 h 581"/>
                <a:gd name="T60" fmla="*/ 160 w 570"/>
                <a:gd name="T61" fmla="*/ 332 h 581"/>
                <a:gd name="T62" fmla="*/ 182 w 570"/>
                <a:gd name="T63" fmla="*/ 310 h 581"/>
                <a:gd name="T64" fmla="*/ 208 w 570"/>
                <a:gd name="T65" fmla="*/ 316 h 581"/>
                <a:gd name="T66" fmla="*/ 227 w 570"/>
                <a:gd name="T67" fmla="*/ 325 h 581"/>
                <a:gd name="T68" fmla="*/ 243 w 570"/>
                <a:gd name="T69" fmla="*/ 348 h 581"/>
                <a:gd name="T70" fmla="*/ 266 w 570"/>
                <a:gd name="T71" fmla="*/ 346 h 581"/>
                <a:gd name="T72" fmla="*/ 275 w 570"/>
                <a:gd name="T73" fmla="*/ 370 h 581"/>
                <a:gd name="T74" fmla="*/ 282 w 570"/>
                <a:gd name="T75" fmla="*/ 389 h 581"/>
                <a:gd name="T76" fmla="*/ 327 w 570"/>
                <a:gd name="T77" fmla="*/ 413 h 581"/>
                <a:gd name="T78" fmla="*/ 385 w 570"/>
                <a:gd name="T79" fmla="*/ 418 h 581"/>
                <a:gd name="T80" fmla="*/ 393 w 570"/>
                <a:gd name="T81" fmla="*/ 421 h 581"/>
                <a:gd name="T82" fmla="*/ 415 w 570"/>
                <a:gd name="T83" fmla="*/ 448 h 581"/>
                <a:gd name="T84" fmla="*/ 414 w 570"/>
                <a:gd name="T85" fmla="*/ 460 h 581"/>
                <a:gd name="T86" fmla="*/ 398 w 570"/>
                <a:gd name="T87" fmla="*/ 458 h 581"/>
                <a:gd name="T88" fmla="*/ 384 w 570"/>
                <a:gd name="T89" fmla="*/ 447 h 581"/>
                <a:gd name="T90" fmla="*/ 365 w 570"/>
                <a:gd name="T91" fmla="*/ 441 h 581"/>
                <a:gd name="T92" fmla="*/ 374 w 570"/>
                <a:gd name="T93" fmla="*/ 471 h 581"/>
                <a:gd name="T94" fmla="*/ 370 w 570"/>
                <a:gd name="T95" fmla="*/ 495 h 581"/>
                <a:gd name="T96" fmla="*/ 360 w 570"/>
                <a:gd name="T97" fmla="*/ 530 h 581"/>
                <a:gd name="T98" fmla="*/ 363 w 570"/>
                <a:gd name="T99" fmla="*/ 551 h 581"/>
                <a:gd name="T100" fmla="*/ 340 w 570"/>
                <a:gd name="T101" fmla="*/ 577 h 581"/>
                <a:gd name="T102" fmla="*/ 386 w 570"/>
                <a:gd name="T103" fmla="*/ 555 h 581"/>
                <a:gd name="T104" fmla="*/ 409 w 570"/>
                <a:gd name="T105" fmla="*/ 547 h 581"/>
                <a:gd name="T106" fmla="*/ 439 w 570"/>
                <a:gd name="T107" fmla="*/ 535 h 581"/>
                <a:gd name="T108" fmla="*/ 457 w 570"/>
                <a:gd name="T109" fmla="*/ 512 h 581"/>
                <a:gd name="T110" fmla="*/ 441 w 570"/>
                <a:gd name="T111" fmla="*/ 502 h 581"/>
                <a:gd name="T112" fmla="*/ 492 w 570"/>
                <a:gd name="T113" fmla="*/ 477 h 581"/>
                <a:gd name="T114" fmla="*/ 521 w 570"/>
                <a:gd name="T115" fmla="*/ 460 h 581"/>
                <a:gd name="T116" fmla="*/ 570 w 570"/>
                <a:gd name="T117" fmla="*/ 416 h 5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0" h="581">
                  <a:moveTo>
                    <a:pt x="569" y="413"/>
                  </a:moveTo>
                  <a:cubicBezTo>
                    <a:pt x="568" y="411"/>
                    <a:pt x="568" y="410"/>
                    <a:pt x="567" y="408"/>
                  </a:cubicBezTo>
                  <a:cubicBezTo>
                    <a:pt x="567" y="408"/>
                    <a:pt x="566" y="405"/>
                    <a:pt x="566" y="404"/>
                  </a:cubicBezTo>
                  <a:cubicBezTo>
                    <a:pt x="565" y="399"/>
                    <a:pt x="563" y="396"/>
                    <a:pt x="561" y="395"/>
                  </a:cubicBezTo>
                  <a:cubicBezTo>
                    <a:pt x="560" y="394"/>
                    <a:pt x="560" y="394"/>
                    <a:pt x="559" y="394"/>
                  </a:cubicBezTo>
                  <a:cubicBezTo>
                    <a:pt x="556" y="394"/>
                    <a:pt x="553" y="395"/>
                    <a:pt x="550" y="397"/>
                  </a:cubicBezTo>
                  <a:cubicBezTo>
                    <a:pt x="547" y="397"/>
                    <a:pt x="544" y="398"/>
                    <a:pt x="542" y="399"/>
                  </a:cubicBezTo>
                  <a:cubicBezTo>
                    <a:pt x="537" y="400"/>
                    <a:pt x="533" y="401"/>
                    <a:pt x="529" y="403"/>
                  </a:cubicBezTo>
                  <a:cubicBezTo>
                    <a:pt x="528" y="404"/>
                    <a:pt x="527" y="405"/>
                    <a:pt x="526" y="405"/>
                  </a:cubicBezTo>
                  <a:cubicBezTo>
                    <a:pt x="526" y="405"/>
                    <a:pt x="526" y="405"/>
                    <a:pt x="526" y="405"/>
                  </a:cubicBezTo>
                  <a:cubicBezTo>
                    <a:pt x="523" y="407"/>
                    <a:pt x="521" y="408"/>
                    <a:pt x="518" y="408"/>
                  </a:cubicBezTo>
                  <a:cubicBezTo>
                    <a:pt x="516" y="408"/>
                    <a:pt x="514" y="407"/>
                    <a:pt x="511" y="406"/>
                  </a:cubicBezTo>
                  <a:cubicBezTo>
                    <a:pt x="508" y="405"/>
                    <a:pt x="506" y="403"/>
                    <a:pt x="504" y="401"/>
                  </a:cubicBezTo>
                  <a:cubicBezTo>
                    <a:pt x="500" y="398"/>
                    <a:pt x="496" y="395"/>
                    <a:pt x="492" y="395"/>
                  </a:cubicBezTo>
                  <a:cubicBezTo>
                    <a:pt x="491" y="395"/>
                    <a:pt x="491" y="395"/>
                    <a:pt x="491" y="395"/>
                  </a:cubicBezTo>
                  <a:cubicBezTo>
                    <a:pt x="487" y="395"/>
                    <a:pt x="481" y="397"/>
                    <a:pt x="476" y="398"/>
                  </a:cubicBezTo>
                  <a:cubicBezTo>
                    <a:pt x="473" y="398"/>
                    <a:pt x="470" y="399"/>
                    <a:pt x="468" y="399"/>
                  </a:cubicBezTo>
                  <a:cubicBezTo>
                    <a:pt x="466" y="400"/>
                    <a:pt x="464" y="400"/>
                    <a:pt x="462" y="400"/>
                  </a:cubicBezTo>
                  <a:cubicBezTo>
                    <a:pt x="451" y="400"/>
                    <a:pt x="447" y="394"/>
                    <a:pt x="441" y="386"/>
                  </a:cubicBezTo>
                  <a:cubicBezTo>
                    <a:pt x="440" y="385"/>
                    <a:pt x="440" y="385"/>
                    <a:pt x="440" y="385"/>
                  </a:cubicBezTo>
                  <a:cubicBezTo>
                    <a:pt x="439" y="383"/>
                    <a:pt x="438" y="382"/>
                    <a:pt x="436" y="380"/>
                  </a:cubicBezTo>
                  <a:cubicBezTo>
                    <a:pt x="434" y="377"/>
                    <a:pt x="432" y="375"/>
                    <a:pt x="430" y="373"/>
                  </a:cubicBezTo>
                  <a:cubicBezTo>
                    <a:pt x="427" y="371"/>
                    <a:pt x="425" y="369"/>
                    <a:pt x="423" y="366"/>
                  </a:cubicBezTo>
                  <a:cubicBezTo>
                    <a:pt x="422" y="365"/>
                    <a:pt x="421" y="364"/>
                    <a:pt x="420" y="363"/>
                  </a:cubicBezTo>
                  <a:cubicBezTo>
                    <a:pt x="415" y="355"/>
                    <a:pt x="411" y="351"/>
                    <a:pt x="410" y="340"/>
                  </a:cubicBezTo>
                  <a:cubicBezTo>
                    <a:pt x="410" y="336"/>
                    <a:pt x="410" y="332"/>
                    <a:pt x="409" y="328"/>
                  </a:cubicBezTo>
                  <a:cubicBezTo>
                    <a:pt x="409" y="327"/>
                    <a:pt x="408" y="325"/>
                    <a:pt x="408" y="324"/>
                  </a:cubicBezTo>
                  <a:cubicBezTo>
                    <a:pt x="401" y="278"/>
                    <a:pt x="395" y="232"/>
                    <a:pt x="390" y="194"/>
                  </a:cubicBezTo>
                  <a:cubicBezTo>
                    <a:pt x="384" y="194"/>
                    <a:pt x="384" y="194"/>
                    <a:pt x="384" y="194"/>
                  </a:cubicBezTo>
                  <a:cubicBezTo>
                    <a:pt x="384" y="194"/>
                    <a:pt x="384" y="194"/>
                    <a:pt x="384" y="194"/>
                  </a:cubicBezTo>
                  <a:cubicBezTo>
                    <a:pt x="384" y="195"/>
                    <a:pt x="384" y="195"/>
                    <a:pt x="384" y="196"/>
                  </a:cubicBezTo>
                  <a:cubicBezTo>
                    <a:pt x="384" y="197"/>
                    <a:pt x="384" y="197"/>
                    <a:pt x="384" y="197"/>
                  </a:cubicBezTo>
                  <a:cubicBezTo>
                    <a:pt x="384" y="198"/>
                    <a:pt x="383" y="200"/>
                    <a:pt x="383" y="201"/>
                  </a:cubicBezTo>
                  <a:cubicBezTo>
                    <a:pt x="382" y="200"/>
                    <a:pt x="382" y="200"/>
                    <a:pt x="381" y="199"/>
                  </a:cubicBezTo>
                  <a:cubicBezTo>
                    <a:pt x="380" y="199"/>
                    <a:pt x="380" y="198"/>
                    <a:pt x="380" y="198"/>
                  </a:cubicBezTo>
                  <a:cubicBezTo>
                    <a:pt x="377" y="196"/>
                    <a:pt x="374" y="195"/>
                    <a:pt x="371" y="195"/>
                  </a:cubicBezTo>
                  <a:cubicBezTo>
                    <a:pt x="369" y="195"/>
                    <a:pt x="368" y="195"/>
                    <a:pt x="366" y="196"/>
                  </a:cubicBezTo>
                  <a:cubicBezTo>
                    <a:pt x="366" y="195"/>
                    <a:pt x="366" y="195"/>
                    <a:pt x="366" y="195"/>
                  </a:cubicBezTo>
                  <a:cubicBezTo>
                    <a:pt x="367" y="192"/>
                    <a:pt x="367" y="189"/>
                    <a:pt x="364" y="185"/>
                  </a:cubicBezTo>
                  <a:cubicBezTo>
                    <a:pt x="362" y="181"/>
                    <a:pt x="358" y="178"/>
                    <a:pt x="354" y="176"/>
                  </a:cubicBezTo>
                  <a:cubicBezTo>
                    <a:pt x="350" y="173"/>
                    <a:pt x="345" y="170"/>
                    <a:pt x="341" y="168"/>
                  </a:cubicBezTo>
                  <a:cubicBezTo>
                    <a:pt x="340" y="167"/>
                    <a:pt x="340" y="167"/>
                    <a:pt x="340" y="167"/>
                  </a:cubicBezTo>
                  <a:cubicBezTo>
                    <a:pt x="339" y="167"/>
                    <a:pt x="338" y="166"/>
                    <a:pt x="337" y="166"/>
                  </a:cubicBezTo>
                  <a:cubicBezTo>
                    <a:pt x="337" y="166"/>
                    <a:pt x="336" y="166"/>
                    <a:pt x="336" y="166"/>
                  </a:cubicBezTo>
                  <a:cubicBezTo>
                    <a:pt x="336" y="166"/>
                    <a:pt x="337" y="165"/>
                    <a:pt x="337" y="165"/>
                  </a:cubicBezTo>
                  <a:cubicBezTo>
                    <a:pt x="339" y="158"/>
                    <a:pt x="332" y="153"/>
                    <a:pt x="327" y="149"/>
                  </a:cubicBezTo>
                  <a:cubicBezTo>
                    <a:pt x="326" y="148"/>
                    <a:pt x="325" y="148"/>
                    <a:pt x="325" y="147"/>
                  </a:cubicBezTo>
                  <a:cubicBezTo>
                    <a:pt x="324" y="146"/>
                    <a:pt x="322" y="145"/>
                    <a:pt x="321" y="144"/>
                  </a:cubicBezTo>
                  <a:cubicBezTo>
                    <a:pt x="320" y="144"/>
                    <a:pt x="320" y="144"/>
                    <a:pt x="320" y="144"/>
                  </a:cubicBezTo>
                  <a:cubicBezTo>
                    <a:pt x="320" y="143"/>
                    <a:pt x="319" y="143"/>
                    <a:pt x="318" y="142"/>
                  </a:cubicBezTo>
                  <a:cubicBezTo>
                    <a:pt x="318" y="142"/>
                    <a:pt x="317" y="142"/>
                    <a:pt x="317" y="141"/>
                  </a:cubicBezTo>
                  <a:cubicBezTo>
                    <a:pt x="317" y="141"/>
                    <a:pt x="317" y="140"/>
                    <a:pt x="316" y="140"/>
                  </a:cubicBezTo>
                  <a:cubicBezTo>
                    <a:pt x="316" y="138"/>
                    <a:pt x="316" y="138"/>
                    <a:pt x="316" y="138"/>
                  </a:cubicBezTo>
                  <a:cubicBezTo>
                    <a:pt x="316" y="136"/>
                    <a:pt x="316" y="135"/>
                    <a:pt x="316" y="133"/>
                  </a:cubicBezTo>
                  <a:cubicBezTo>
                    <a:pt x="316" y="133"/>
                    <a:pt x="316" y="133"/>
                    <a:pt x="316" y="132"/>
                  </a:cubicBezTo>
                  <a:cubicBezTo>
                    <a:pt x="316" y="131"/>
                    <a:pt x="317" y="131"/>
                    <a:pt x="317" y="130"/>
                  </a:cubicBezTo>
                  <a:cubicBezTo>
                    <a:pt x="318" y="127"/>
                    <a:pt x="318" y="123"/>
                    <a:pt x="317" y="120"/>
                  </a:cubicBezTo>
                  <a:cubicBezTo>
                    <a:pt x="317" y="120"/>
                    <a:pt x="316" y="119"/>
                    <a:pt x="316" y="119"/>
                  </a:cubicBezTo>
                  <a:cubicBezTo>
                    <a:pt x="316" y="118"/>
                    <a:pt x="316" y="118"/>
                    <a:pt x="316" y="118"/>
                  </a:cubicBezTo>
                  <a:cubicBezTo>
                    <a:pt x="315" y="117"/>
                    <a:pt x="315" y="116"/>
                    <a:pt x="315" y="115"/>
                  </a:cubicBezTo>
                  <a:cubicBezTo>
                    <a:pt x="315" y="115"/>
                    <a:pt x="315" y="115"/>
                    <a:pt x="315" y="115"/>
                  </a:cubicBezTo>
                  <a:cubicBezTo>
                    <a:pt x="315" y="113"/>
                    <a:pt x="315" y="111"/>
                    <a:pt x="315" y="109"/>
                  </a:cubicBezTo>
                  <a:cubicBezTo>
                    <a:pt x="315" y="108"/>
                    <a:pt x="315" y="106"/>
                    <a:pt x="315" y="104"/>
                  </a:cubicBezTo>
                  <a:cubicBezTo>
                    <a:pt x="315" y="102"/>
                    <a:pt x="315" y="100"/>
                    <a:pt x="314" y="98"/>
                  </a:cubicBezTo>
                  <a:cubicBezTo>
                    <a:pt x="313" y="96"/>
                    <a:pt x="311" y="95"/>
                    <a:pt x="310" y="95"/>
                  </a:cubicBezTo>
                  <a:cubicBezTo>
                    <a:pt x="309" y="95"/>
                    <a:pt x="309" y="95"/>
                    <a:pt x="309" y="95"/>
                  </a:cubicBezTo>
                  <a:cubicBezTo>
                    <a:pt x="307" y="94"/>
                    <a:pt x="307" y="89"/>
                    <a:pt x="307" y="87"/>
                  </a:cubicBezTo>
                  <a:cubicBezTo>
                    <a:pt x="307" y="85"/>
                    <a:pt x="307" y="84"/>
                    <a:pt x="307" y="84"/>
                  </a:cubicBezTo>
                  <a:cubicBezTo>
                    <a:pt x="307" y="82"/>
                    <a:pt x="308" y="79"/>
                    <a:pt x="308" y="77"/>
                  </a:cubicBezTo>
                  <a:cubicBezTo>
                    <a:pt x="309" y="76"/>
                    <a:pt x="309" y="74"/>
                    <a:pt x="309" y="73"/>
                  </a:cubicBezTo>
                  <a:cubicBezTo>
                    <a:pt x="310" y="70"/>
                    <a:pt x="309" y="68"/>
                    <a:pt x="309" y="67"/>
                  </a:cubicBezTo>
                  <a:cubicBezTo>
                    <a:pt x="308" y="66"/>
                    <a:pt x="308" y="65"/>
                    <a:pt x="308" y="64"/>
                  </a:cubicBezTo>
                  <a:cubicBezTo>
                    <a:pt x="308" y="64"/>
                    <a:pt x="308" y="64"/>
                    <a:pt x="308" y="64"/>
                  </a:cubicBezTo>
                  <a:cubicBezTo>
                    <a:pt x="308" y="62"/>
                    <a:pt x="307" y="59"/>
                    <a:pt x="305" y="57"/>
                  </a:cubicBezTo>
                  <a:cubicBezTo>
                    <a:pt x="302" y="55"/>
                    <a:pt x="299" y="54"/>
                    <a:pt x="296" y="54"/>
                  </a:cubicBezTo>
                  <a:cubicBezTo>
                    <a:pt x="295" y="54"/>
                    <a:pt x="294" y="54"/>
                    <a:pt x="292" y="55"/>
                  </a:cubicBezTo>
                  <a:cubicBezTo>
                    <a:pt x="292" y="55"/>
                    <a:pt x="291" y="55"/>
                    <a:pt x="291" y="55"/>
                  </a:cubicBezTo>
                  <a:cubicBezTo>
                    <a:pt x="289" y="55"/>
                    <a:pt x="288" y="55"/>
                    <a:pt x="287" y="54"/>
                  </a:cubicBezTo>
                  <a:cubicBezTo>
                    <a:pt x="286" y="54"/>
                    <a:pt x="286" y="54"/>
                    <a:pt x="285" y="54"/>
                  </a:cubicBezTo>
                  <a:cubicBezTo>
                    <a:pt x="284" y="54"/>
                    <a:pt x="283" y="54"/>
                    <a:pt x="282" y="54"/>
                  </a:cubicBezTo>
                  <a:cubicBezTo>
                    <a:pt x="281" y="54"/>
                    <a:pt x="280" y="54"/>
                    <a:pt x="279" y="54"/>
                  </a:cubicBezTo>
                  <a:cubicBezTo>
                    <a:pt x="278" y="54"/>
                    <a:pt x="276" y="54"/>
                    <a:pt x="276" y="54"/>
                  </a:cubicBezTo>
                  <a:cubicBezTo>
                    <a:pt x="275" y="54"/>
                    <a:pt x="275" y="54"/>
                    <a:pt x="275" y="53"/>
                  </a:cubicBezTo>
                  <a:cubicBezTo>
                    <a:pt x="274" y="53"/>
                    <a:pt x="273" y="52"/>
                    <a:pt x="272" y="52"/>
                  </a:cubicBezTo>
                  <a:cubicBezTo>
                    <a:pt x="271" y="51"/>
                    <a:pt x="270" y="51"/>
                    <a:pt x="269" y="51"/>
                  </a:cubicBezTo>
                  <a:cubicBezTo>
                    <a:pt x="267" y="51"/>
                    <a:pt x="266" y="51"/>
                    <a:pt x="265" y="52"/>
                  </a:cubicBezTo>
                  <a:cubicBezTo>
                    <a:pt x="262" y="52"/>
                    <a:pt x="259" y="53"/>
                    <a:pt x="256" y="54"/>
                  </a:cubicBezTo>
                  <a:cubicBezTo>
                    <a:pt x="254" y="55"/>
                    <a:pt x="252" y="55"/>
                    <a:pt x="250" y="56"/>
                  </a:cubicBezTo>
                  <a:cubicBezTo>
                    <a:pt x="249" y="56"/>
                    <a:pt x="247" y="56"/>
                    <a:pt x="246" y="56"/>
                  </a:cubicBezTo>
                  <a:cubicBezTo>
                    <a:pt x="246" y="56"/>
                    <a:pt x="246" y="56"/>
                    <a:pt x="246" y="56"/>
                  </a:cubicBezTo>
                  <a:cubicBezTo>
                    <a:pt x="246" y="56"/>
                    <a:pt x="246" y="56"/>
                    <a:pt x="246" y="56"/>
                  </a:cubicBezTo>
                  <a:cubicBezTo>
                    <a:pt x="245" y="56"/>
                    <a:pt x="245" y="56"/>
                    <a:pt x="245" y="56"/>
                  </a:cubicBezTo>
                  <a:cubicBezTo>
                    <a:pt x="245" y="55"/>
                    <a:pt x="244" y="54"/>
                    <a:pt x="243" y="53"/>
                  </a:cubicBezTo>
                  <a:cubicBezTo>
                    <a:pt x="242" y="53"/>
                    <a:pt x="241" y="52"/>
                    <a:pt x="239" y="52"/>
                  </a:cubicBezTo>
                  <a:cubicBezTo>
                    <a:pt x="239" y="51"/>
                    <a:pt x="239" y="51"/>
                    <a:pt x="238" y="51"/>
                  </a:cubicBezTo>
                  <a:cubicBezTo>
                    <a:pt x="238" y="51"/>
                    <a:pt x="238" y="51"/>
                    <a:pt x="237" y="51"/>
                  </a:cubicBezTo>
                  <a:cubicBezTo>
                    <a:pt x="237" y="51"/>
                    <a:pt x="237" y="51"/>
                    <a:pt x="237" y="51"/>
                  </a:cubicBezTo>
                  <a:cubicBezTo>
                    <a:pt x="237" y="50"/>
                    <a:pt x="237" y="48"/>
                    <a:pt x="235" y="46"/>
                  </a:cubicBezTo>
                  <a:cubicBezTo>
                    <a:pt x="233" y="45"/>
                    <a:pt x="230" y="43"/>
                    <a:pt x="227" y="42"/>
                  </a:cubicBezTo>
                  <a:cubicBezTo>
                    <a:pt x="227" y="42"/>
                    <a:pt x="226" y="42"/>
                    <a:pt x="226" y="42"/>
                  </a:cubicBezTo>
                  <a:cubicBezTo>
                    <a:pt x="225" y="41"/>
                    <a:pt x="225" y="41"/>
                    <a:pt x="224" y="41"/>
                  </a:cubicBezTo>
                  <a:cubicBezTo>
                    <a:pt x="224" y="41"/>
                    <a:pt x="224" y="41"/>
                    <a:pt x="224" y="41"/>
                  </a:cubicBezTo>
                  <a:cubicBezTo>
                    <a:pt x="223" y="40"/>
                    <a:pt x="222" y="39"/>
                    <a:pt x="221" y="39"/>
                  </a:cubicBezTo>
                  <a:cubicBezTo>
                    <a:pt x="217" y="38"/>
                    <a:pt x="213" y="37"/>
                    <a:pt x="209" y="36"/>
                  </a:cubicBezTo>
                  <a:cubicBezTo>
                    <a:pt x="208" y="36"/>
                    <a:pt x="208" y="36"/>
                    <a:pt x="208" y="36"/>
                  </a:cubicBezTo>
                  <a:cubicBezTo>
                    <a:pt x="207" y="35"/>
                    <a:pt x="207" y="35"/>
                    <a:pt x="207" y="35"/>
                  </a:cubicBezTo>
                  <a:cubicBezTo>
                    <a:pt x="205" y="34"/>
                    <a:pt x="204" y="33"/>
                    <a:pt x="201" y="32"/>
                  </a:cubicBezTo>
                  <a:cubicBezTo>
                    <a:pt x="200" y="31"/>
                    <a:pt x="199" y="31"/>
                    <a:pt x="198" y="31"/>
                  </a:cubicBezTo>
                  <a:cubicBezTo>
                    <a:pt x="197" y="31"/>
                    <a:pt x="196" y="31"/>
                    <a:pt x="196" y="31"/>
                  </a:cubicBezTo>
                  <a:cubicBezTo>
                    <a:pt x="195" y="31"/>
                    <a:pt x="194" y="31"/>
                    <a:pt x="193" y="30"/>
                  </a:cubicBezTo>
                  <a:cubicBezTo>
                    <a:pt x="192" y="30"/>
                    <a:pt x="192" y="29"/>
                    <a:pt x="191" y="29"/>
                  </a:cubicBezTo>
                  <a:cubicBezTo>
                    <a:pt x="190" y="29"/>
                    <a:pt x="190" y="29"/>
                    <a:pt x="190" y="29"/>
                  </a:cubicBezTo>
                  <a:cubicBezTo>
                    <a:pt x="190" y="28"/>
                    <a:pt x="187" y="27"/>
                    <a:pt x="187" y="26"/>
                  </a:cubicBezTo>
                  <a:cubicBezTo>
                    <a:pt x="186" y="24"/>
                    <a:pt x="185" y="22"/>
                    <a:pt x="184" y="19"/>
                  </a:cubicBezTo>
                  <a:cubicBezTo>
                    <a:pt x="182" y="17"/>
                    <a:pt x="180" y="15"/>
                    <a:pt x="177" y="13"/>
                  </a:cubicBezTo>
                  <a:cubicBezTo>
                    <a:pt x="177" y="13"/>
                    <a:pt x="176" y="12"/>
                    <a:pt x="175" y="12"/>
                  </a:cubicBezTo>
                  <a:cubicBezTo>
                    <a:pt x="174" y="12"/>
                    <a:pt x="173" y="11"/>
                    <a:pt x="172" y="11"/>
                  </a:cubicBezTo>
                  <a:cubicBezTo>
                    <a:pt x="172" y="10"/>
                    <a:pt x="171" y="9"/>
                    <a:pt x="170" y="8"/>
                  </a:cubicBezTo>
                  <a:cubicBezTo>
                    <a:pt x="169" y="7"/>
                    <a:pt x="167" y="6"/>
                    <a:pt x="166" y="5"/>
                  </a:cubicBezTo>
                  <a:cubicBezTo>
                    <a:pt x="165" y="4"/>
                    <a:pt x="163" y="2"/>
                    <a:pt x="161" y="1"/>
                  </a:cubicBezTo>
                  <a:cubicBezTo>
                    <a:pt x="159" y="0"/>
                    <a:pt x="159" y="0"/>
                    <a:pt x="159" y="0"/>
                  </a:cubicBezTo>
                  <a:cubicBezTo>
                    <a:pt x="157" y="2"/>
                    <a:pt x="157" y="2"/>
                    <a:pt x="157" y="2"/>
                  </a:cubicBezTo>
                  <a:cubicBezTo>
                    <a:pt x="137" y="23"/>
                    <a:pt x="37" y="133"/>
                    <a:pt x="12" y="151"/>
                  </a:cubicBezTo>
                  <a:cubicBezTo>
                    <a:pt x="11" y="152"/>
                    <a:pt x="11" y="152"/>
                    <a:pt x="11" y="152"/>
                  </a:cubicBezTo>
                  <a:cubicBezTo>
                    <a:pt x="0" y="288"/>
                    <a:pt x="0" y="288"/>
                    <a:pt x="0" y="288"/>
                  </a:cubicBezTo>
                  <a:cubicBezTo>
                    <a:pt x="3" y="289"/>
                    <a:pt x="3" y="289"/>
                    <a:pt x="3" y="289"/>
                  </a:cubicBezTo>
                  <a:cubicBezTo>
                    <a:pt x="4" y="289"/>
                    <a:pt x="4" y="289"/>
                    <a:pt x="5" y="289"/>
                  </a:cubicBezTo>
                  <a:cubicBezTo>
                    <a:pt x="5" y="289"/>
                    <a:pt x="6" y="289"/>
                    <a:pt x="6" y="292"/>
                  </a:cubicBezTo>
                  <a:cubicBezTo>
                    <a:pt x="6" y="292"/>
                    <a:pt x="6" y="293"/>
                    <a:pt x="6" y="293"/>
                  </a:cubicBezTo>
                  <a:cubicBezTo>
                    <a:pt x="6" y="295"/>
                    <a:pt x="6" y="296"/>
                    <a:pt x="6" y="297"/>
                  </a:cubicBezTo>
                  <a:cubicBezTo>
                    <a:pt x="7" y="298"/>
                    <a:pt x="7" y="300"/>
                    <a:pt x="7" y="301"/>
                  </a:cubicBezTo>
                  <a:cubicBezTo>
                    <a:pt x="7" y="307"/>
                    <a:pt x="7" y="315"/>
                    <a:pt x="15" y="319"/>
                  </a:cubicBezTo>
                  <a:cubicBezTo>
                    <a:pt x="22" y="322"/>
                    <a:pt x="30" y="324"/>
                    <a:pt x="38" y="324"/>
                  </a:cubicBezTo>
                  <a:cubicBezTo>
                    <a:pt x="38" y="324"/>
                    <a:pt x="39" y="324"/>
                    <a:pt x="40" y="324"/>
                  </a:cubicBezTo>
                  <a:cubicBezTo>
                    <a:pt x="42" y="324"/>
                    <a:pt x="45" y="323"/>
                    <a:pt x="47" y="322"/>
                  </a:cubicBezTo>
                  <a:cubicBezTo>
                    <a:pt x="49" y="321"/>
                    <a:pt x="50" y="320"/>
                    <a:pt x="52" y="320"/>
                  </a:cubicBezTo>
                  <a:cubicBezTo>
                    <a:pt x="53" y="320"/>
                    <a:pt x="54" y="320"/>
                    <a:pt x="54" y="321"/>
                  </a:cubicBezTo>
                  <a:cubicBezTo>
                    <a:pt x="57" y="322"/>
                    <a:pt x="62" y="327"/>
                    <a:pt x="64" y="331"/>
                  </a:cubicBezTo>
                  <a:cubicBezTo>
                    <a:pt x="64" y="331"/>
                    <a:pt x="64" y="331"/>
                    <a:pt x="64" y="331"/>
                  </a:cubicBezTo>
                  <a:cubicBezTo>
                    <a:pt x="64" y="333"/>
                    <a:pt x="65" y="335"/>
                    <a:pt x="69" y="337"/>
                  </a:cubicBezTo>
                  <a:cubicBezTo>
                    <a:pt x="69" y="337"/>
                    <a:pt x="70" y="337"/>
                    <a:pt x="70" y="337"/>
                  </a:cubicBezTo>
                  <a:cubicBezTo>
                    <a:pt x="72" y="337"/>
                    <a:pt x="73" y="337"/>
                    <a:pt x="74" y="336"/>
                  </a:cubicBezTo>
                  <a:cubicBezTo>
                    <a:pt x="75" y="336"/>
                    <a:pt x="76" y="335"/>
                    <a:pt x="77" y="335"/>
                  </a:cubicBezTo>
                  <a:cubicBezTo>
                    <a:pt x="78" y="336"/>
                    <a:pt x="80" y="337"/>
                    <a:pt x="82" y="340"/>
                  </a:cubicBezTo>
                  <a:cubicBezTo>
                    <a:pt x="83" y="342"/>
                    <a:pt x="85" y="344"/>
                    <a:pt x="87" y="346"/>
                  </a:cubicBezTo>
                  <a:cubicBezTo>
                    <a:pt x="89" y="347"/>
                    <a:pt x="91" y="348"/>
                    <a:pt x="93" y="348"/>
                  </a:cubicBezTo>
                  <a:cubicBezTo>
                    <a:pt x="98" y="348"/>
                    <a:pt x="101" y="345"/>
                    <a:pt x="104" y="343"/>
                  </a:cubicBezTo>
                  <a:cubicBezTo>
                    <a:pt x="107" y="342"/>
                    <a:pt x="108" y="341"/>
                    <a:pt x="110" y="341"/>
                  </a:cubicBezTo>
                  <a:cubicBezTo>
                    <a:pt x="111" y="341"/>
                    <a:pt x="113" y="342"/>
                    <a:pt x="115" y="342"/>
                  </a:cubicBezTo>
                  <a:cubicBezTo>
                    <a:pt x="116" y="343"/>
                    <a:pt x="118" y="344"/>
                    <a:pt x="121" y="345"/>
                  </a:cubicBezTo>
                  <a:cubicBezTo>
                    <a:pt x="127" y="348"/>
                    <a:pt x="136" y="352"/>
                    <a:pt x="142" y="352"/>
                  </a:cubicBezTo>
                  <a:cubicBezTo>
                    <a:pt x="148" y="352"/>
                    <a:pt x="150" y="349"/>
                    <a:pt x="152" y="347"/>
                  </a:cubicBezTo>
                  <a:cubicBezTo>
                    <a:pt x="153" y="345"/>
                    <a:pt x="154" y="342"/>
                    <a:pt x="154" y="339"/>
                  </a:cubicBezTo>
                  <a:cubicBezTo>
                    <a:pt x="155" y="336"/>
                    <a:pt x="155" y="334"/>
                    <a:pt x="157" y="333"/>
                  </a:cubicBezTo>
                  <a:cubicBezTo>
                    <a:pt x="158" y="333"/>
                    <a:pt x="159" y="332"/>
                    <a:pt x="160" y="332"/>
                  </a:cubicBezTo>
                  <a:cubicBezTo>
                    <a:pt x="161" y="331"/>
                    <a:pt x="163" y="330"/>
                    <a:pt x="165" y="329"/>
                  </a:cubicBezTo>
                  <a:cubicBezTo>
                    <a:pt x="166" y="328"/>
                    <a:pt x="166" y="328"/>
                    <a:pt x="166" y="328"/>
                  </a:cubicBezTo>
                  <a:cubicBezTo>
                    <a:pt x="168" y="326"/>
                    <a:pt x="170" y="324"/>
                    <a:pt x="172" y="322"/>
                  </a:cubicBezTo>
                  <a:cubicBezTo>
                    <a:pt x="173" y="321"/>
                    <a:pt x="173" y="319"/>
                    <a:pt x="174" y="318"/>
                  </a:cubicBezTo>
                  <a:cubicBezTo>
                    <a:pt x="177" y="313"/>
                    <a:pt x="179" y="310"/>
                    <a:pt x="182" y="310"/>
                  </a:cubicBezTo>
                  <a:cubicBezTo>
                    <a:pt x="183" y="310"/>
                    <a:pt x="184" y="311"/>
                    <a:pt x="186" y="311"/>
                  </a:cubicBezTo>
                  <a:cubicBezTo>
                    <a:pt x="187" y="312"/>
                    <a:pt x="188" y="313"/>
                    <a:pt x="189" y="313"/>
                  </a:cubicBezTo>
                  <a:cubicBezTo>
                    <a:pt x="193" y="314"/>
                    <a:pt x="197" y="315"/>
                    <a:pt x="201" y="316"/>
                  </a:cubicBezTo>
                  <a:cubicBezTo>
                    <a:pt x="202" y="316"/>
                    <a:pt x="202" y="316"/>
                    <a:pt x="202" y="316"/>
                  </a:cubicBezTo>
                  <a:cubicBezTo>
                    <a:pt x="204" y="316"/>
                    <a:pt x="206" y="316"/>
                    <a:pt x="208" y="316"/>
                  </a:cubicBezTo>
                  <a:cubicBezTo>
                    <a:pt x="209" y="316"/>
                    <a:pt x="210" y="316"/>
                    <a:pt x="212" y="316"/>
                  </a:cubicBezTo>
                  <a:cubicBezTo>
                    <a:pt x="213" y="316"/>
                    <a:pt x="214" y="316"/>
                    <a:pt x="215" y="316"/>
                  </a:cubicBezTo>
                  <a:cubicBezTo>
                    <a:pt x="216" y="316"/>
                    <a:pt x="218" y="316"/>
                    <a:pt x="219" y="316"/>
                  </a:cubicBezTo>
                  <a:cubicBezTo>
                    <a:pt x="223" y="317"/>
                    <a:pt x="224" y="319"/>
                    <a:pt x="227" y="325"/>
                  </a:cubicBezTo>
                  <a:cubicBezTo>
                    <a:pt x="227" y="325"/>
                    <a:pt x="227" y="325"/>
                    <a:pt x="227" y="325"/>
                  </a:cubicBezTo>
                  <a:cubicBezTo>
                    <a:pt x="227" y="326"/>
                    <a:pt x="227" y="327"/>
                    <a:pt x="227" y="328"/>
                  </a:cubicBezTo>
                  <a:cubicBezTo>
                    <a:pt x="228" y="329"/>
                    <a:pt x="228" y="330"/>
                    <a:pt x="228" y="332"/>
                  </a:cubicBezTo>
                  <a:cubicBezTo>
                    <a:pt x="229" y="333"/>
                    <a:pt x="230" y="334"/>
                    <a:pt x="231" y="336"/>
                  </a:cubicBezTo>
                  <a:cubicBezTo>
                    <a:pt x="231" y="336"/>
                    <a:pt x="232" y="337"/>
                    <a:pt x="232" y="337"/>
                  </a:cubicBezTo>
                  <a:cubicBezTo>
                    <a:pt x="235" y="341"/>
                    <a:pt x="238" y="346"/>
                    <a:pt x="243" y="348"/>
                  </a:cubicBezTo>
                  <a:cubicBezTo>
                    <a:pt x="245" y="349"/>
                    <a:pt x="247" y="349"/>
                    <a:pt x="250" y="349"/>
                  </a:cubicBezTo>
                  <a:cubicBezTo>
                    <a:pt x="252" y="349"/>
                    <a:pt x="254" y="349"/>
                    <a:pt x="257" y="348"/>
                  </a:cubicBezTo>
                  <a:cubicBezTo>
                    <a:pt x="258" y="348"/>
                    <a:pt x="258" y="348"/>
                    <a:pt x="259" y="347"/>
                  </a:cubicBezTo>
                  <a:cubicBezTo>
                    <a:pt x="261" y="346"/>
                    <a:pt x="264" y="345"/>
                    <a:pt x="265" y="345"/>
                  </a:cubicBezTo>
                  <a:cubicBezTo>
                    <a:pt x="265" y="345"/>
                    <a:pt x="266" y="345"/>
                    <a:pt x="266" y="346"/>
                  </a:cubicBezTo>
                  <a:cubicBezTo>
                    <a:pt x="266" y="346"/>
                    <a:pt x="266" y="346"/>
                    <a:pt x="266" y="346"/>
                  </a:cubicBezTo>
                  <a:cubicBezTo>
                    <a:pt x="265" y="347"/>
                    <a:pt x="265" y="347"/>
                    <a:pt x="265" y="348"/>
                  </a:cubicBezTo>
                  <a:cubicBezTo>
                    <a:pt x="263" y="353"/>
                    <a:pt x="264" y="358"/>
                    <a:pt x="266" y="363"/>
                  </a:cubicBezTo>
                  <a:cubicBezTo>
                    <a:pt x="267" y="366"/>
                    <a:pt x="270" y="367"/>
                    <a:pt x="272" y="368"/>
                  </a:cubicBezTo>
                  <a:cubicBezTo>
                    <a:pt x="274" y="369"/>
                    <a:pt x="275" y="369"/>
                    <a:pt x="275" y="370"/>
                  </a:cubicBezTo>
                  <a:cubicBezTo>
                    <a:pt x="275" y="371"/>
                    <a:pt x="275" y="371"/>
                    <a:pt x="274" y="373"/>
                  </a:cubicBezTo>
                  <a:cubicBezTo>
                    <a:pt x="272" y="375"/>
                    <a:pt x="270" y="378"/>
                    <a:pt x="272" y="382"/>
                  </a:cubicBezTo>
                  <a:cubicBezTo>
                    <a:pt x="273" y="386"/>
                    <a:pt x="277" y="386"/>
                    <a:pt x="279" y="387"/>
                  </a:cubicBezTo>
                  <a:cubicBezTo>
                    <a:pt x="280" y="387"/>
                    <a:pt x="282" y="387"/>
                    <a:pt x="282" y="387"/>
                  </a:cubicBezTo>
                  <a:cubicBezTo>
                    <a:pt x="282" y="387"/>
                    <a:pt x="282" y="388"/>
                    <a:pt x="282" y="389"/>
                  </a:cubicBezTo>
                  <a:cubicBezTo>
                    <a:pt x="282" y="390"/>
                    <a:pt x="281" y="391"/>
                    <a:pt x="281" y="392"/>
                  </a:cubicBezTo>
                  <a:cubicBezTo>
                    <a:pt x="282" y="398"/>
                    <a:pt x="285" y="403"/>
                    <a:pt x="292" y="406"/>
                  </a:cubicBezTo>
                  <a:cubicBezTo>
                    <a:pt x="302" y="410"/>
                    <a:pt x="312" y="411"/>
                    <a:pt x="322" y="413"/>
                  </a:cubicBezTo>
                  <a:cubicBezTo>
                    <a:pt x="325" y="413"/>
                    <a:pt x="325" y="413"/>
                    <a:pt x="325" y="413"/>
                  </a:cubicBezTo>
                  <a:cubicBezTo>
                    <a:pt x="325" y="413"/>
                    <a:pt x="326" y="413"/>
                    <a:pt x="327" y="413"/>
                  </a:cubicBezTo>
                  <a:cubicBezTo>
                    <a:pt x="331" y="413"/>
                    <a:pt x="335" y="412"/>
                    <a:pt x="339" y="411"/>
                  </a:cubicBezTo>
                  <a:cubicBezTo>
                    <a:pt x="342" y="409"/>
                    <a:pt x="345" y="408"/>
                    <a:pt x="348" y="408"/>
                  </a:cubicBezTo>
                  <a:cubicBezTo>
                    <a:pt x="349" y="408"/>
                    <a:pt x="349" y="408"/>
                    <a:pt x="350" y="408"/>
                  </a:cubicBezTo>
                  <a:cubicBezTo>
                    <a:pt x="355" y="409"/>
                    <a:pt x="361" y="411"/>
                    <a:pt x="366" y="413"/>
                  </a:cubicBezTo>
                  <a:cubicBezTo>
                    <a:pt x="372" y="416"/>
                    <a:pt x="378" y="418"/>
                    <a:pt x="385" y="418"/>
                  </a:cubicBezTo>
                  <a:cubicBezTo>
                    <a:pt x="385" y="418"/>
                    <a:pt x="386" y="418"/>
                    <a:pt x="387" y="418"/>
                  </a:cubicBezTo>
                  <a:cubicBezTo>
                    <a:pt x="388" y="418"/>
                    <a:pt x="389" y="417"/>
                    <a:pt x="390" y="417"/>
                  </a:cubicBezTo>
                  <a:cubicBezTo>
                    <a:pt x="391" y="417"/>
                    <a:pt x="391" y="417"/>
                    <a:pt x="391" y="417"/>
                  </a:cubicBezTo>
                  <a:cubicBezTo>
                    <a:pt x="391" y="417"/>
                    <a:pt x="391" y="417"/>
                    <a:pt x="392" y="417"/>
                  </a:cubicBezTo>
                  <a:cubicBezTo>
                    <a:pt x="392" y="418"/>
                    <a:pt x="393" y="419"/>
                    <a:pt x="393" y="421"/>
                  </a:cubicBezTo>
                  <a:cubicBezTo>
                    <a:pt x="393" y="422"/>
                    <a:pt x="393" y="425"/>
                    <a:pt x="394" y="426"/>
                  </a:cubicBezTo>
                  <a:cubicBezTo>
                    <a:pt x="396" y="428"/>
                    <a:pt x="399" y="433"/>
                    <a:pt x="403" y="435"/>
                  </a:cubicBezTo>
                  <a:cubicBezTo>
                    <a:pt x="405" y="436"/>
                    <a:pt x="406" y="437"/>
                    <a:pt x="408" y="437"/>
                  </a:cubicBezTo>
                  <a:cubicBezTo>
                    <a:pt x="410" y="437"/>
                    <a:pt x="411" y="438"/>
                    <a:pt x="412" y="439"/>
                  </a:cubicBezTo>
                  <a:cubicBezTo>
                    <a:pt x="414" y="441"/>
                    <a:pt x="416" y="445"/>
                    <a:pt x="415" y="448"/>
                  </a:cubicBezTo>
                  <a:cubicBezTo>
                    <a:pt x="415" y="448"/>
                    <a:pt x="415" y="448"/>
                    <a:pt x="415" y="448"/>
                  </a:cubicBezTo>
                  <a:cubicBezTo>
                    <a:pt x="414" y="448"/>
                    <a:pt x="411" y="449"/>
                    <a:pt x="410" y="452"/>
                  </a:cubicBezTo>
                  <a:cubicBezTo>
                    <a:pt x="409" y="455"/>
                    <a:pt x="411" y="457"/>
                    <a:pt x="413" y="458"/>
                  </a:cubicBezTo>
                  <a:cubicBezTo>
                    <a:pt x="413" y="458"/>
                    <a:pt x="413" y="459"/>
                    <a:pt x="413" y="459"/>
                  </a:cubicBezTo>
                  <a:cubicBezTo>
                    <a:pt x="413" y="459"/>
                    <a:pt x="414" y="460"/>
                    <a:pt x="414" y="460"/>
                  </a:cubicBezTo>
                  <a:cubicBezTo>
                    <a:pt x="414" y="460"/>
                    <a:pt x="414" y="461"/>
                    <a:pt x="414" y="461"/>
                  </a:cubicBezTo>
                  <a:cubicBezTo>
                    <a:pt x="414" y="461"/>
                    <a:pt x="414" y="461"/>
                    <a:pt x="414" y="462"/>
                  </a:cubicBezTo>
                  <a:cubicBezTo>
                    <a:pt x="414" y="464"/>
                    <a:pt x="414" y="464"/>
                    <a:pt x="413" y="464"/>
                  </a:cubicBezTo>
                  <a:cubicBezTo>
                    <a:pt x="412" y="464"/>
                    <a:pt x="409" y="462"/>
                    <a:pt x="407" y="461"/>
                  </a:cubicBezTo>
                  <a:cubicBezTo>
                    <a:pt x="404" y="460"/>
                    <a:pt x="401" y="458"/>
                    <a:pt x="398" y="458"/>
                  </a:cubicBezTo>
                  <a:cubicBezTo>
                    <a:pt x="396" y="458"/>
                    <a:pt x="396" y="458"/>
                    <a:pt x="396" y="458"/>
                  </a:cubicBezTo>
                  <a:cubicBezTo>
                    <a:pt x="394" y="458"/>
                    <a:pt x="393" y="458"/>
                    <a:pt x="393" y="457"/>
                  </a:cubicBezTo>
                  <a:cubicBezTo>
                    <a:pt x="392" y="456"/>
                    <a:pt x="391" y="455"/>
                    <a:pt x="391" y="454"/>
                  </a:cubicBezTo>
                  <a:cubicBezTo>
                    <a:pt x="390" y="452"/>
                    <a:pt x="388" y="450"/>
                    <a:pt x="386" y="448"/>
                  </a:cubicBezTo>
                  <a:cubicBezTo>
                    <a:pt x="385" y="448"/>
                    <a:pt x="385" y="447"/>
                    <a:pt x="384" y="447"/>
                  </a:cubicBezTo>
                  <a:cubicBezTo>
                    <a:pt x="383" y="446"/>
                    <a:pt x="383" y="446"/>
                    <a:pt x="383" y="445"/>
                  </a:cubicBezTo>
                  <a:cubicBezTo>
                    <a:pt x="382" y="445"/>
                    <a:pt x="382" y="445"/>
                    <a:pt x="382" y="444"/>
                  </a:cubicBezTo>
                  <a:cubicBezTo>
                    <a:pt x="382" y="443"/>
                    <a:pt x="382" y="442"/>
                    <a:pt x="381" y="440"/>
                  </a:cubicBezTo>
                  <a:cubicBezTo>
                    <a:pt x="380" y="438"/>
                    <a:pt x="377" y="437"/>
                    <a:pt x="374" y="437"/>
                  </a:cubicBezTo>
                  <a:cubicBezTo>
                    <a:pt x="371" y="437"/>
                    <a:pt x="367" y="438"/>
                    <a:pt x="365" y="441"/>
                  </a:cubicBezTo>
                  <a:cubicBezTo>
                    <a:pt x="364" y="443"/>
                    <a:pt x="364" y="445"/>
                    <a:pt x="364" y="447"/>
                  </a:cubicBezTo>
                  <a:cubicBezTo>
                    <a:pt x="365" y="450"/>
                    <a:pt x="368" y="451"/>
                    <a:pt x="370" y="452"/>
                  </a:cubicBezTo>
                  <a:cubicBezTo>
                    <a:pt x="371" y="453"/>
                    <a:pt x="372" y="454"/>
                    <a:pt x="372" y="454"/>
                  </a:cubicBezTo>
                  <a:cubicBezTo>
                    <a:pt x="375" y="457"/>
                    <a:pt x="380" y="464"/>
                    <a:pt x="376" y="468"/>
                  </a:cubicBezTo>
                  <a:cubicBezTo>
                    <a:pt x="376" y="469"/>
                    <a:pt x="375" y="470"/>
                    <a:pt x="374" y="471"/>
                  </a:cubicBezTo>
                  <a:cubicBezTo>
                    <a:pt x="371" y="473"/>
                    <a:pt x="368" y="475"/>
                    <a:pt x="368" y="479"/>
                  </a:cubicBezTo>
                  <a:cubicBezTo>
                    <a:pt x="367" y="481"/>
                    <a:pt x="368" y="483"/>
                    <a:pt x="368" y="485"/>
                  </a:cubicBezTo>
                  <a:cubicBezTo>
                    <a:pt x="368" y="485"/>
                    <a:pt x="369" y="486"/>
                    <a:pt x="369" y="486"/>
                  </a:cubicBezTo>
                  <a:cubicBezTo>
                    <a:pt x="369" y="488"/>
                    <a:pt x="369" y="490"/>
                    <a:pt x="370" y="491"/>
                  </a:cubicBezTo>
                  <a:cubicBezTo>
                    <a:pt x="370" y="492"/>
                    <a:pt x="370" y="494"/>
                    <a:pt x="370" y="495"/>
                  </a:cubicBezTo>
                  <a:cubicBezTo>
                    <a:pt x="371" y="498"/>
                    <a:pt x="371" y="502"/>
                    <a:pt x="371" y="506"/>
                  </a:cubicBezTo>
                  <a:cubicBezTo>
                    <a:pt x="371" y="508"/>
                    <a:pt x="371" y="508"/>
                    <a:pt x="371" y="508"/>
                  </a:cubicBezTo>
                  <a:cubicBezTo>
                    <a:pt x="372" y="513"/>
                    <a:pt x="370" y="519"/>
                    <a:pt x="367" y="524"/>
                  </a:cubicBezTo>
                  <a:cubicBezTo>
                    <a:pt x="366" y="525"/>
                    <a:pt x="365" y="528"/>
                    <a:pt x="364" y="529"/>
                  </a:cubicBezTo>
                  <a:cubicBezTo>
                    <a:pt x="362" y="529"/>
                    <a:pt x="361" y="530"/>
                    <a:pt x="360" y="530"/>
                  </a:cubicBezTo>
                  <a:cubicBezTo>
                    <a:pt x="357" y="531"/>
                    <a:pt x="354" y="532"/>
                    <a:pt x="351" y="536"/>
                  </a:cubicBezTo>
                  <a:cubicBezTo>
                    <a:pt x="349" y="540"/>
                    <a:pt x="345" y="548"/>
                    <a:pt x="349" y="553"/>
                  </a:cubicBezTo>
                  <a:cubicBezTo>
                    <a:pt x="351" y="554"/>
                    <a:pt x="352" y="555"/>
                    <a:pt x="354" y="555"/>
                  </a:cubicBezTo>
                  <a:cubicBezTo>
                    <a:pt x="356" y="555"/>
                    <a:pt x="358" y="554"/>
                    <a:pt x="360" y="553"/>
                  </a:cubicBezTo>
                  <a:cubicBezTo>
                    <a:pt x="361" y="552"/>
                    <a:pt x="363" y="551"/>
                    <a:pt x="363" y="551"/>
                  </a:cubicBezTo>
                  <a:cubicBezTo>
                    <a:pt x="363" y="551"/>
                    <a:pt x="363" y="551"/>
                    <a:pt x="363" y="551"/>
                  </a:cubicBezTo>
                  <a:cubicBezTo>
                    <a:pt x="363" y="554"/>
                    <a:pt x="356" y="560"/>
                    <a:pt x="354" y="561"/>
                  </a:cubicBezTo>
                  <a:cubicBezTo>
                    <a:pt x="353" y="561"/>
                    <a:pt x="352" y="561"/>
                    <a:pt x="351" y="561"/>
                  </a:cubicBezTo>
                  <a:cubicBezTo>
                    <a:pt x="349" y="562"/>
                    <a:pt x="346" y="562"/>
                    <a:pt x="344" y="564"/>
                  </a:cubicBezTo>
                  <a:cubicBezTo>
                    <a:pt x="340" y="567"/>
                    <a:pt x="338" y="573"/>
                    <a:pt x="340" y="577"/>
                  </a:cubicBezTo>
                  <a:cubicBezTo>
                    <a:pt x="341" y="580"/>
                    <a:pt x="343" y="581"/>
                    <a:pt x="347" y="581"/>
                  </a:cubicBezTo>
                  <a:cubicBezTo>
                    <a:pt x="348" y="581"/>
                    <a:pt x="349" y="581"/>
                    <a:pt x="350" y="581"/>
                  </a:cubicBezTo>
                  <a:cubicBezTo>
                    <a:pt x="357" y="579"/>
                    <a:pt x="366" y="574"/>
                    <a:pt x="373" y="568"/>
                  </a:cubicBezTo>
                  <a:cubicBezTo>
                    <a:pt x="374" y="566"/>
                    <a:pt x="376" y="564"/>
                    <a:pt x="378" y="563"/>
                  </a:cubicBezTo>
                  <a:cubicBezTo>
                    <a:pt x="381" y="560"/>
                    <a:pt x="383" y="557"/>
                    <a:pt x="386" y="555"/>
                  </a:cubicBezTo>
                  <a:cubicBezTo>
                    <a:pt x="387" y="553"/>
                    <a:pt x="389" y="552"/>
                    <a:pt x="390" y="550"/>
                  </a:cubicBezTo>
                  <a:cubicBezTo>
                    <a:pt x="393" y="547"/>
                    <a:pt x="395" y="545"/>
                    <a:pt x="399" y="544"/>
                  </a:cubicBezTo>
                  <a:cubicBezTo>
                    <a:pt x="399" y="543"/>
                    <a:pt x="400" y="543"/>
                    <a:pt x="401" y="543"/>
                  </a:cubicBezTo>
                  <a:cubicBezTo>
                    <a:pt x="402" y="543"/>
                    <a:pt x="403" y="544"/>
                    <a:pt x="405" y="545"/>
                  </a:cubicBezTo>
                  <a:cubicBezTo>
                    <a:pt x="406" y="546"/>
                    <a:pt x="407" y="547"/>
                    <a:pt x="409" y="547"/>
                  </a:cubicBezTo>
                  <a:cubicBezTo>
                    <a:pt x="410" y="548"/>
                    <a:pt x="411" y="548"/>
                    <a:pt x="412" y="548"/>
                  </a:cubicBezTo>
                  <a:cubicBezTo>
                    <a:pt x="416" y="548"/>
                    <a:pt x="419" y="545"/>
                    <a:pt x="421" y="543"/>
                  </a:cubicBezTo>
                  <a:cubicBezTo>
                    <a:pt x="422" y="542"/>
                    <a:pt x="423" y="541"/>
                    <a:pt x="423" y="541"/>
                  </a:cubicBezTo>
                  <a:cubicBezTo>
                    <a:pt x="425" y="539"/>
                    <a:pt x="428" y="538"/>
                    <a:pt x="431" y="538"/>
                  </a:cubicBezTo>
                  <a:cubicBezTo>
                    <a:pt x="433" y="537"/>
                    <a:pt x="436" y="536"/>
                    <a:pt x="439" y="535"/>
                  </a:cubicBezTo>
                  <a:cubicBezTo>
                    <a:pt x="440" y="534"/>
                    <a:pt x="442" y="533"/>
                    <a:pt x="444" y="533"/>
                  </a:cubicBezTo>
                  <a:cubicBezTo>
                    <a:pt x="448" y="531"/>
                    <a:pt x="453" y="530"/>
                    <a:pt x="456" y="526"/>
                  </a:cubicBezTo>
                  <a:cubicBezTo>
                    <a:pt x="457" y="524"/>
                    <a:pt x="458" y="523"/>
                    <a:pt x="458" y="522"/>
                  </a:cubicBezTo>
                  <a:cubicBezTo>
                    <a:pt x="458" y="522"/>
                    <a:pt x="458" y="521"/>
                    <a:pt x="458" y="521"/>
                  </a:cubicBezTo>
                  <a:cubicBezTo>
                    <a:pt x="458" y="518"/>
                    <a:pt x="459" y="515"/>
                    <a:pt x="457" y="512"/>
                  </a:cubicBezTo>
                  <a:cubicBezTo>
                    <a:pt x="456" y="511"/>
                    <a:pt x="454" y="510"/>
                    <a:pt x="452" y="510"/>
                  </a:cubicBezTo>
                  <a:cubicBezTo>
                    <a:pt x="450" y="510"/>
                    <a:pt x="448" y="510"/>
                    <a:pt x="446" y="511"/>
                  </a:cubicBezTo>
                  <a:cubicBezTo>
                    <a:pt x="444" y="511"/>
                    <a:pt x="442" y="511"/>
                    <a:pt x="440" y="511"/>
                  </a:cubicBezTo>
                  <a:cubicBezTo>
                    <a:pt x="438" y="511"/>
                    <a:pt x="437" y="511"/>
                    <a:pt x="437" y="510"/>
                  </a:cubicBezTo>
                  <a:cubicBezTo>
                    <a:pt x="435" y="508"/>
                    <a:pt x="437" y="506"/>
                    <a:pt x="441" y="502"/>
                  </a:cubicBezTo>
                  <a:cubicBezTo>
                    <a:pt x="442" y="501"/>
                    <a:pt x="442" y="500"/>
                    <a:pt x="443" y="500"/>
                  </a:cubicBezTo>
                  <a:cubicBezTo>
                    <a:pt x="450" y="492"/>
                    <a:pt x="455" y="488"/>
                    <a:pt x="464" y="485"/>
                  </a:cubicBezTo>
                  <a:cubicBezTo>
                    <a:pt x="466" y="484"/>
                    <a:pt x="469" y="482"/>
                    <a:pt x="472" y="481"/>
                  </a:cubicBezTo>
                  <a:cubicBezTo>
                    <a:pt x="476" y="478"/>
                    <a:pt x="481" y="475"/>
                    <a:pt x="485" y="475"/>
                  </a:cubicBezTo>
                  <a:cubicBezTo>
                    <a:pt x="487" y="475"/>
                    <a:pt x="490" y="476"/>
                    <a:pt x="492" y="477"/>
                  </a:cubicBezTo>
                  <a:cubicBezTo>
                    <a:pt x="495" y="479"/>
                    <a:pt x="499" y="480"/>
                    <a:pt x="502" y="480"/>
                  </a:cubicBezTo>
                  <a:cubicBezTo>
                    <a:pt x="505" y="480"/>
                    <a:pt x="507" y="479"/>
                    <a:pt x="509" y="477"/>
                  </a:cubicBezTo>
                  <a:cubicBezTo>
                    <a:pt x="513" y="475"/>
                    <a:pt x="513" y="472"/>
                    <a:pt x="513" y="469"/>
                  </a:cubicBezTo>
                  <a:cubicBezTo>
                    <a:pt x="514" y="468"/>
                    <a:pt x="514" y="466"/>
                    <a:pt x="515" y="465"/>
                  </a:cubicBezTo>
                  <a:cubicBezTo>
                    <a:pt x="516" y="463"/>
                    <a:pt x="519" y="461"/>
                    <a:pt x="521" y="460"/>
                  </a:cubicBezTo>
                  <a:cubicBezTo>
                    <a:pt x="524" y="458"/>
                    <a:pt x="527" y="456"/>
                    <a:pt x="529" y="454"/>
                  </a:cubicBezTo>
                  <a:cubicBezTo>
                    <a:pt x="531" y="451"/>
                    <a:pt x="534" y="448"/>
                    <a:pt x="536" y="445"/>
                  </a:cubicBezTo>
                  <a:cubicBezTo>
                    <a:pt x="537" y="443"/>
                    <a:pt x="539" y="441"/>
                    <a:pt x="540" y="439"/>
                  </a:cubicBezTo>
                  <a:cubicBezTo>
                    <a:pt x="548" y="429"/>
                    <a:pt x="556" y="420"/>
                    <a:pt x="567" y="417"/>
                  </a:cubicBezTo>
                  <a:cubicBezTo>
                    <a:pt x="570" y="416"/>
                    <a:pt x="570" y="416"/>
                    <a:pt x="570" y="416"/>
                  </a:cubicBezTo>
                  <a:lnTo>
                    <a:pt x="569" y="413"/>
                  </a:lnTo>
                  <a:close/>
                </a:path>
              </a:pathLst>
            </a:custGeom>
            <a:solidFill>
              <a:schemeClr val="accent1"/>
            </a:solidFill>
            <a:ln w="4763" cap="rnd">
              <a:solidFill>
                <a:schemeClr val="bg1"/>
              </a:solidFill>
              <a:prstDash val="solid"/>
              <a:round/>
              <a:headEnd/>
              <a:tailEnd/>
            </a:ln>
          </p:spPr>
          <p:txBody>
            <a:bodyPr vert="horz" wrap="square" lIns="91424" tIns="45712" rIns="91424" bIns="45712" numCol="1" anchor="t" anchorCtr="0" compatLnSpc="1">
              <a:prstTxWarp prst="textNoShape">
                <a:avLst/>
              </a:prstTxWarp>
            </a:bodyPr>
            <a:lstStyle/>
            <a:p>
              <a:endParaRPr lang="en-US" sz="675" dirty="0">
                <a:latin typeface="Lato Regular" charset="0"/>
              </a:endParaRPr>
            </a:p>
          </p:txBody>
        </p:sp>
      </p:grpSp>
      <p:grpSp>
        <p:nvGrpSpPr>
          <p:cNvPr id="252" name="Group 251">
            <a:extLst>
              <a:ext uri="{FF2B5EF4-FFF2-40B4-BE49-F238E27FC236}">
                <a16:creationId xmlns:a16="http://schemas.microsoft.com/office/drawing/2014/main" id="{CD0ABB23-6D54-144C-832B-434FD854D21C}"/>
              </a:ext>
            </a:extLst>
          </p:cNvPr>
          <p:cNvGrpSpPr/>
          <p:nvPr/>
        </p:nvGrpSpPr>
        <p:grpSpPr>
          <a:xfrm>
            <a:off x="6875484" y="2144436"/>
            <a:ext cx="1246973" cy="765548"/>
            <a:chOff x="6719087" y="5314824"/>
            <a:chExt cx="3325262" cy="2041460"/>
          </a:xfrm>
        </p:grpSpPr>
        <p:sp>
          <p:nvSpPr>
            <p:cNvPr id="258" name="Rectangle 257">
              <a:extLst>
                <a:ext uri="{FF2B5EF4-FFF2-40B4-BE49-F238E27FC236}">
                  <a16:creationId xmlns:a16="http://schemas.microsoft.com/office/drawing/2014/main" id="{48773EC6-65C0-9B41-BE06-E8B376837E97}"/>
                </a:ext>
              </a:extLst>
            </p:cNvPr>
            <p:cNvSpPr/>
            <p:nvPr/>
          </p:nvSpPr>
          <p:spPr>
            <a:xfrm>
              <a:off x="6719087" y="5314824"/>
              <a:ext cx="3325262" cy="2041460"/>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solidFill>
                  <a:schemeClr val="bg2"/>
                </a:solidFill>
              </a:endParaRPr>
            </a:p>
          </p:txBody>
        </p:sp>
        <p:grpSp>
          <p:nvGrpSpPr>
            <p:cNvPr id="259" name="Group 258">
              <a:extLst>
                <a:ext uri="{FF2B5EF4-FFF2-40B4-BE49-F238E27FC236}">
                  <a16:creationId xmlns:a16="http://schemas.microsoft.com/office/drawing/2014/main" id="{19A74720-C44F-7247-BDE9-24ACC6AB7675}"/>
                </a:ext>
              </a:extLst>
            </p:cNvPr>
            <p:cNvGrpSpPr/>
            <p:nvPr/>
          </p:nvGrpSpPr>
          <p:grpSpPr>
            <a:xfrm>
              <a:off x="6891418" y="5658893"/>
              <a:ext cx="2874649" cy="1366026"/>
              <a:chOff x="20367925" y="7771565"/>
              <a:chExt cx="2874649" cy="1366026"/>
            </a:xfrm>
          </p:grpSpPr>
          <p:sp>
            <p:nvSpPr>
              <p:cNvPr id="260" name="Subtitle 2">
                <a:extLst>
                  <a:ext uri="{FF2B5EF4-FFF2-40B4-BE49-F238E27FC236}">
                    <a16:creationId xmlns:a16="http://schemas.microsoft.com/office/drawing/2014/main" id="{06256346-D24C-1F43-929F-849D69BD7293}"/>
                  </a:ext>
                </a:extLst>
              </p:cNvPr>
              <p:cNvSpPr txBox="1">
                <a:spLocks/>
              </p:cNvSpPr>
              <p:nvPr/>
            </p:nvSpPr>
            <p:spPr>
              <a:xfrm>
                <a:off x="20367925" y="8417895"/>
                <a:ext cx="2874649" cy="719696"/>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1050" dirty="0">
                    <a:solidFill>
                      <a:schemeClr val="bg2"/>
                    </a:solidFill>
                    <a:latin typeface="Roboto Light" panose="02000000000000000000" pitchFamily="2" charset="0"/>
                    <a:ea typeface="Roboto Light" panose="02000000000000000000" pitchFamily="2" charset="0"/>
                    <a:cs typeface="Poppins Light" pitchFamily="2" charset="77"/>
                  </a:rPr>
                  <a:t>Write your title.</a:t>
                </a:r>
                <a:endParaRPr lang="en-US" sz="1050" dirty="0">
                  <a:solidFill>
                    <a:schemeClr val="bg2"/>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261" name="Rectangle 260">
                <a:extLst>
                  <a:ext uri="{FF2B5EF4-FFF2-40B4-BE49-F238E27FC236}">
                    <a16:creationId xmlns:a16="http://schemas.microsoft.com/office/drawing/2014/main" id="{89A4D20E-56C7-DA43-80A2-512D0D5BA80B}"/>
                  </a:ext>
                </a:extLst>
              </p:cNvPr>
              <p:cNvSpPr/>
              <p:nvPr/>
            </p:nvSpPr>
            <p:spPr>
              <a:xfrm>
                <a:off x="20479570" y="7771565"/>
                <a:ext cx="2651358" cy="523221"/>
              </a:xfrm>
              <a:prstGeom prst="rect">
                <a:avLst/>
              </a:prstGeom>
            </p:spPr>
            <p:txBody>
              <a:bodyPr wrap="square">
                <a:spAutoFit/>
              </a:bodyPr>
              <a:lstStyle/>
              <a:p>
                <a:pPr algn="ctr"/>
                <a:r>
                  <a:rPr lang="en-US" sz="675" dirty="0">
                    <a:solidFill>
                      <a:schemeClr val="bg2"/>
                    </a:solidFill>
                    <a:latin typeface="Roboto" panose="02000000000000000000" pitchFamily="2" charset="0"/>
                    <a:ea typeface="Roboto" panose="02000000000000000000" pitchFamily="2" charset="0"/>
                    <a:cs typeface="Lato Light" panose="020F0502020204030203" pitchFamily="34" charset="0"/>
                  </a:rPr>
                  <a:t>+120</a:t>
                </a:r>
              </a:p>
            </p:txBody>
          </p:sp>
        </p:grpSp>
      </p:grpSp>
      <p:grpSp>
        <p:nvGrpSpPr>
          <p:cNvPr id="253" name="Group 252">
            <a:extLst>
              <a:ext uri="{FF2B5EF4-FFF2-40B4-BE49-F238E27FC236}">
                <a16:creationId xmlns:a16="http://schemas.microsoft.com/office/drawing/2014/main" id="{C26A53B2-B68A-E749-9FF6-CD21F6A8416F}"/>
              </a:ext>
            </a:extLst>
          </p:cNvPr>
          <p:cNvGrpSpPr/>
          <p:nvPr/>
        </p:nvGrpSpPr>
        <p:grpSpPr>
          <a:xfrm>
            <a:off x="4642318" y="3067833"/>
            <a:ext cx="1246973" cy="765548"/>
            <a:chOff x="6719087" y="5314824"/>
            <a:chExt cx="3325262" cy="2041460"/>
          </a:xfrm>
        </p:grpSpPr>
        <p:sp>
          <p:nvSpPr>
            <p:cNvPr id="254" name="Rectangle 253">
              <a:extLst>
                <a:ext uri="{FF2B5EF4-FFF2-40B4-BE49-F238E27FC236}">
                  <a16:creationId xmlns:a16="http://schemas.microsoft.com/office/drawing/2014/main" id="{4F2D1D16-70F5-4247-BEAB-57FBC5E15A22}"/>
                </a:ext>
              </a:extLst>
            </p:cNvPr>
            <p:cNvSpPr/>
            <p:nvPr/>
          </p:nvSpPr>
          <p:spPr>
            <a:xfrm>
              <a:off x="6719087" y="5314824"/>
              <a:ext cx="3325262" cy="2041460"/>
            </a:xfrm>
            <a:prstGeom prst="rect">
              <a:avLst/>
            </a:prstGeom>
            <a:solidFill>
              <a:schemeClr val="tx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bg2"/>
                </a:solidFill>
              </a:endParaRPr>
            </a:p>
          </p:txBody>
        </p:sp>
        <p:grpSp>
          <p:nvGrpSpPr>
            <p:cNvPr id="255" name="Group 254">
              <a:extLst>
                <a:ext uri="{FF2B5EF4-FFF2-40B4-BE49-F238E27FC236}">
                  <a16:creationId xmlns:a16="http://schemas.microsoft.com/office/drawing/2014/main" id="{4977FC7D-9B62-6B4A-8C35-332A88B33401}"/>
                </a:ext>
              </a:extLst>
            </p:cNvPr>
            <p:cNvGrpSpPr/>
            <p:nvPr/>
          </p:nvGrpSpPr>
          <p:grpSpPr>
            <a:xfrm>
              <a:off x="6891418" y="5658893"/>
              <a:ext cx="2874649" cy="1366026"/>
              <a:chOff x="20367925" y="7771565"/>
              <a:chExt cx="2874649" cy="1366026"/>
            </a:xfrm>
          </p:grpSpPr>
          <p:sp>
            <p:nvSpPr>
              <p:cNvPr id="256" name="Subtitle 2">
                <a:extLst>
                  <a:ext uri="{FF2B5EF4-FFF2-40B4-BE49-F238E27FC236}">
                    <a16:creationId xmlns:a16="http://schemas.microsoft.com/office/drawing/2014/main" id="{4CA85EB1-878B-8249-8B3E-2FB7F1C2B4F8}"/>
                  </a:ext>
                </a:extLst>
              </p:cNvPr>
              <p:cNvSpPr txBox="1">
                <a:spLocks/>
              </p:cNvSpPr>
              <p:nvPr/>
            </p:nvSpPr>
            <p:spPr>
              <a:xfrm>
                <a:off x="20367925" y="8417895"/>
                <a:ext cx="2874649" cy="719696"/>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612"/>
                  </a:lnSpc>
                </a:pPr>
                <a:r>
                  <a:rPr lang="en-US" sz="1050" dirty="0">
                    <a:solidFill>
                      <a:schemeClr val="bg2"/>
                    </a:solidFill>
                    <a:latin typeface="Roboto Light" panose="02000000000000000000" pitchFamily="2" charset="0"/>
                    <a:ea typeface="Roboto Light" panose="02000000000000000000" pitchFamily="2" charset="0"/>
                    <a:cs typeface="Poppins Light" pitchFamily="2" charset="77"/>
                  </a:rPr>
                  <a:t>Write your title.</a:t>
                </a:r>
                <a:endParaRPr lang="en-US" sz="1050" dirty="0">
                  <a:solidFill>
                    <a:schemeClr val="bg2"/>
                  </a:solidFill>
                  <a:latin typeface="Roboto Light" panose="02000000000000000000" pitchFamily="2" charset="0"/>
                  <a:ea typeface="Roboto Light" panose="02000000000000000000" pitchFamily="2" charset="0"/>
                  <a:cs typeface="Lato Light" panose="020F0502020204030203" pitchFamily="34" charset="0"/>
                </a:endParaRPr>
              </a:p>
            </p:txBody>
          </p:sp>
          <p:sp>
            <p:nvSpPr>
              <p:cNvPr id="257" name="Rectangle 256">
                <a:extLst>
                  <a:ext uri="{FF2B5EF4-FFF2-40B4-BE49-F238E27FC236}">
                    <a16:creationId xmlns:a16="http://schemas.microsoft.com/office/drawing/2014/main" id="{20CABF58-D888-FF46-B756-F43F6DE3A7A4}"/>
                  </a:ext>
                </a:extLst>
              </p:cNvPr>
              <p:cNvSpPr/>
              <p:nvPr/>
            </p:nvSpPr>
            <p:spPr>
              <a:xfrm>
                <a:off x="20479570" y="7771565"/>
                <a:ext cx="2651358" cy="523221"/>
              </a:xfrm>
              <a:prstGeom prst="rect">
                <a:avLst/>
              </a:prstGeom>
            </p:spPr>
            <p:txBody>
              <a:bodyPr wrap="square">
                <a:spAutoFit/>
              </a:bodyPr>
              <a:lstStyle/>
              <a:p>
                <a:pPr algn="ctr"/>
                <a:r>
                  <a:rPr lang="en-US" sz="675" dirty="0">
                    <a:solidFill>
                      <a:schemeClr val="bg2"/>
                    </a:solidFill>
                    <a:latin typeface="Roboto" panose="02000000000000000000" pitchFamily="2" charset="0"/>
                    <a:ea typeface="Roboto" panose="02000000000000000000" pitchFamily="2" charset="0"/>
                    <a:cs typeface="Lato Light" panose="020F0502020204030203" pitchFamily="34" charset="0"/>
                  </a:rPr>
                  <a:t>+2345</a:t>
                </a:r>
              </a:p>
            </p:txBody>
          </p:sp>
        </p:grpSp>
      </p:grpSp>
      <p:sp>
        <p:nvSpPr>
          <p:cNvPr id="2" name="Text Placeholder 5">
            <a:extLst>
              <a:ext uri="{FF2B5EF4-FFF2-40B4-BE49-F238E27FC236}">
                <a16:creationId xmlns:a16="http://schemas.microsoft.com/office/drawing/2014/main" id="{780035F5-4FC9-B437-C852-19CD9E57ECFB}"/>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accent1"/>
                </a:solidFill>
              </a:rPr>
              <a:t>Canada Editable Map</a:t>
            </a:r>
          </a:p>
        </p:txBody>
      </p:sp>
      <p:grpSp>
        <p:nvGrpSpPr>
          <p:cNvPr id="3" name="Group 2">
            <a:extLst>
              <a:ext uri="{FF2B5EF4-FFF2-40B4-BE49-F238E27FC236}">
                <a16:creationId xmlns:a16="http://schemas.microsoft.com/office/drawing/2014/main" id="{4B1D15F1-4B51-F846-ECAF-0AA72FEA7B13}"/>
              </a:ext>
            </a:extLst>
          </p:cNvPr>
          <p:cNvGrpSpPr/>
          <p:nvPr/>
        </p:nvGrpSpPr>
        <p:grpSpPr>
          <a:xfrm>
            <a:off x="667288" y="2111744"/>
            <a:ext cx="3242410" cy="1826659"/>
            <a:chOff x="5363008" y="2111744"/>
            <a:chExt cx="3242410" cy="1826659"/>
          </a:xfrm>
        </p:grpSpPr>
        <p:sp>
          <p:nvSpPr>
            <p:cNvPr id="4" name="Oval 3">
              <a:extLst>
                <a:ext uri="{FF2B5EF4-FFF2-40B4-BE49-F238E27FC236}">
                  <a16:creationId xmlns:a16="http://schemas.microsoft.com/office/drawing/2014/main" id="{A27EF7D6-4ECC-D42C-7EAE-31649E589673}"/>
                </a:ext>
              </a:extLst>
            </p:cNvPr>
            <p:cNvSpPr/>
            <p:nvPr/>
          </p:nvSpPr>
          <p:spPr>
            <a:xfrm>
              <a:off x="5363008" y="2129877"/>
              <a:ext cx="611272" cy="6112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5" name="Group 4">
              <a:extLst>
                <a:ext uri="{FF2B5EF4-FFF2-40B4-BE49-F238E27FC236}">
                  <a16:creationId xmlns:a16="http://schemas.microsoft.com/office/drawing/2014/main" id="{953B2EE0-D05D-6264-FC73-975D4C24965F}"/>
                </a:ext>
              </a:extLst>
            </p:cNvPr>
            <p:cNvGrpSpPr/>
            <p:nvPr/>
          </p:nvGrpSpPr>
          <p:grpSpPr>
            <a:xfrm>
              <a:off x="6059773" y="2111744"/>
              <a:ext cx="2545645" cy="657077"/>
              <a:chOff x="1739385" y="6662633"/>
              <a:chExt cx="6788387" cy="1752204"/>
            </a:xfrm>
          </p:grpSpPr>
          <p:sp>
            <p:nvSpPr>
              <p:cNvPr id="12" name="Subtitle 2">
                <a:extLst>
                  <a:ext uri="{FF2B5EF4-FFF2-40B4-BE49-F238E27FC236}">
                    <a16:creationId xmlns:a16="http://schemas.microsoft.com/office/drawing/2014/main" id="{CC79D842-9CD8-F5FC-A93B-332D4D7D2EF2}"/>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3" name="Rectangle 12">
                <a:extLst>
                  <a:ext uri="{FF2B5EF4-FFF2-40B4-BE49-F238E27FC236}">
                    <a16:creationId xmlns:a16="http://schemas.microsoft.com/office/drawing/2014/main" id="{6647DC36-2363-C47C-8BFE-86ADC4694D74}"/>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sp>
          <p:nvSpPr>
            <p:cNvPr id="6" name="Oval 5">
              <a:extLst>
                <a:ext uri="{FF2B5EF4-FFF2-40B4-BE49-F238E27FC236}">
                  <a16:creationId xmlns:a16="http://schemas.microsoft.com/office/drawing/2014/main" id="{7BA697AE-8EC3-B845-9805-343B6D9D168A}"/>
                </a:ext>
              </a:extLst>
            </p:cNvPr>
            <p:cNvSpPr/>
            <p:nvPr/>
          </p:nvSpPr>
          <p:spPr>
            <a:xfrm>
              <a:off x="5363008" y="3291171"/>
              <a:ext cx="611272" cy="61127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7" name="Shape 2808">
              <a:extLst>
                <a:ext uri="{FF2B5EF4-FFF2-40B4-BE49-F238E27FC236}">
                  <a16:creationId xmlns:a16="http://schemas.microsoft.com/office/drawing/2014/main" id="{C07F7194-F952-73C8-CF44-53EA4E706487}"/>
                </a:ext>
              </a:extLst>
            </p:cNvPr>
            <p:cNvSpPr/>
            <p:nvPr/>
          </p:nvSpPr>
          <p:spPr>
            <a:xfrm>
              <a:off x="5506546" y="2269207"/>
              <a:ext cx="330923" cy="330923"/>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chemeClr val="tx2"/>
                </a:solidFill>
              </a:endParaRPr>
            </a:p>
          </p:txBody>
        </p:sp>
        <p:sp>
          <p:nvSpPr>
            <p:cNvPr id="8" name="Shape 2944">
              <a:extLst>
                <a:ext uri="{FF2B5EF4-FFF2-40B4-BE49-F238E27FC236}">
                  <a16:creationId xmlns:a16="http://schemas.microsoft.com/office/drawing/2014/main" id="{CD7BDE2D-424E-9767-3FD0-8859D8474A98}"/>
                </a:ext>
              </a:extLst>
            </p:cNvPr>
            <p:cNvSpPr/>
            <p:nvPr/>
          </p:nvSpPr>
          <p:spPr>
            <a:xfrm>
              <a:off x="5503183" y="3431345"/>
              <a:ext cx="330923" cy="33092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4284" tIns="14284" rIns="14284" bIns="14284" anchor="ctr"/>
            <a:lstStyle/>
            <a:p>
              <a:pPr algn="ct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latin typeface="Montserrat" pitchFamily="2" charset="77"/>
              </a:endParaRPr>
            </a:p>
          </p:txBody>
        </p:sp>
        <p:grpSp>
          <p:nvGrpSpPr>
            <p:cNvPr id="9" name="Group 8">
              <a:extLst>
                <a:ext uri="{FF2B5EF4-FFF2-40B4-BE49-F238E27FC236}">
                  <a16:creationId xmlns:a16="http://schemas.microsoft.com/office/drawing/2014/main" id="{E6741996-6AE9-64EE-F1D0-0A20005C5A44}"/>
                </a:ext>
              </a:extLst>
            </p:cNvPr>
            <p:cNvGrpSpPr/>
            <p:nvPr/>
          </p:nvGrpSpPr>
          <p:grpSpPr>
            <a:xfrm>
              <a:off x="6059773" y="3281326"/>
              <a:ext cx="2545645" cy="657077"/>
              <a:chOff x="1739385" y="6662633"/>
              <a:chExt cx="6788387" cy="1752204"/>
            </a:xfrm>
          </p:grpSpPr>
          <p:sp>
            <p:nvSpPr>
              <p:cNvPr id="10" name="Subtitle 2">
                <a:extLst>
                  <a:ext uri="{FF2B5EF4-FFF2-40B4-BE49-F238E27FC236}">
                    <a16:creationId xmlns:a16="http://schemas.microsoft.com/office/drawing/2014/main" id="{7AB6CAC5-BB4F-A106-F11B-E455AB2DC2D0}"/>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1" name="Rectangle 10">
                <a:extLst>
                  <a:ext uri="{FF2B5EF4-FFF2-40B4-BE49-F238E27FC236}">
                    <a16:creationId xmlns:a16="http://schemas.microsoft.com/office/drawing/2014/main" id="{1E60A59F-7090-A032-D303-06DAD1EF7109}"/>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grpSp>
    </p:spTree>
    <p:extLst>
      <p:ext uri="{BB962C8B-B14F-4D97-AF65-F5344CB8AC3E}">
        <p14:creationId xmlns:p14="http://schemas.microsoft.com/office/powerpoint/2010/main" val="22985347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
            <a:extLst>
              <a:ext uri="{FF2B5EF4-FFF2-40B4-BE49-F238E27FC236}">
                <a16:creationId xmlns:a16="http://schemas.microsoft.com/office/drawing/2014/main" id="{38EB82C4-9904-1646-8194-0B70DD75DE0D}"/>
              </a:ext>
            </a:extLst>
          </p:cNvPr>
          <p:cNvGrpSpPr>
            <a:grpSpLocks noChangeAspect="1"/>
          </p:cNvGrpSpPr>
          <p:nvPr/>
        </p:nvGrpSpPr>
        <p:grpSpPr bwMode="auto">
          <a:xfrm>
            <a:off x="4447384" y="1535606"/>
            <a:ext cx="3707750" cy="2666567"/>
            <a:chOff x="-9" y="5"/>
            <a:chExt cx="5769" cy="4314"/>
          </a:xfrm>
          <a:solidFill>
            <a:srgbClr val="EFF1F8"/>
          </a:solidFill>
        </p:grpSpPr>
        <p:sp>
          <p:nvSpPr>
            <p:cNvPr id="46" name="Freeform 5">
              <a:extLst>
                <a:ext uri="{FF2B5EF4-FFF2-40B4-BE49-F238E27FC236}">
                  <a16:creationId xmlns:a16="http://schemas.microsoft.com/office/drawing/2014/main" id="{68AC3502-E1EE-8C4A-94E3-AD53E741FE82}"/>
                </a:ext>
              </a:extLst>
            </p:cNvPr>
            <p:cNvSpPr>
              <a:spLocks/>
            </p:cNvSpPr>
            <p:nvPr/>
          </p:nvSpPr>
          <p:spPr bwMode="auto">
            <a:xfrm>
              <a:off x="3679" y="4064"/>
              <a:ext cx="312" cy="255"/>
            </a:xfrm>
            <a:custGeom>
              <a:avLst/>
              <a:gdLst>
                <a:gd name="T0" fmla="*/ 553 w 673"/>
                <a:gd name="T1" fmla="*/ 13 h 550"/>
                <a:gd name="T2" fmla="*/ 520 w 673"/>
                <a:gd name="T3" fmla="*/ 52 h 550"/>
                <a:gd name="T4" fmla="*/ 454 w 673"/>
                <a:gd name="T5" fmla="*/ 35 h 550"/>
                <a:gd name="T6" fmla="*/ 411 w 673"/>
                <a:gd name="T7" fmla="*/ 61 h 550"/>
                <a:gd name="T8" fmla="*/ 358 w 673"/>
                <a:gd name="T9" fmla="*/ 78 h 550"/>
                <a:gd name="T10" fmla="*/ 319 w 673"/>
                <a:gd name="T11" fmla="*/ 70 h 550"/>
                <a:gd name="T12" fmla="*/ 284 w 673"/>
                <a:gd name="T13" fmla="*/ 48 h 550"/>
                <a:gd name="T14" fmla="*/ 260 w 673"/>
                <a:gd name="T15" fmla="*/ 89 h 550"/>
                <a:gd name="T16" fmla="*/ 232 w 673"/>
                <a:gd name="T17" fmla="*/ 111 h 550"/>
                <a:gd name="T18" fmla="*/ 160 w 673"/>
                <a:gd name="T19" fmla="*/ 102 h 550"/>
                <a:gd name="T20" fmla="*/ 175 w 673"/>
                <a:gd name="T21" fmla="*/ 148 h 550"/>
                <a:gd name="T22" fmla="*/ 120 w 673"/>
                <a:gd name="T23" fmla="*/ 185 h 550"/>
                <a:gd name="T24" fmla="*/ 53 w 673"/>
                <a:gd name="T25" fmla="*/ 246 h 550"/>
                <a:gd name="T26" fmla="*/ 20 w 673"/>
                <a:gd name="T27" fmla="*/ 280 h 550"/>
                <a:gd name="T28" fmla="*/ 33 w 673"/>
                <a:gd name="T29" fmla="*/ 317 h 550"/>
                <a:gd name="T30" fmla="*/ 33 w 673"/>
                <a:gd name="T31" fmla="*/ 387 h 550"/>
                <a:gd name="T32" fmla="*/ 55 w 673"/>
                <a:gd name="T33" fmla="*/ 437 h 550"/>
                <a:gd name="T34" fmla="*/ 81 w 673"/>
                <a:gd name="T35" fmla="*/ 476 h 550"/>
                <a:gd name="T36" fmla="*/ 138 w 673"/>
                <a:gd name="T37" fmla="*/ 498 h 550"/>
                <a:gd name="T38" fmla="*/ 219 w 673"/>
                <a:gd name="T39" fmla="*/ 500 h 550"/>
                <a:gd name="T40" fmla="*/ 341 w 673"/>
                <a:gd name="T41" fmla="*/ 534 h 550"/>
                <a:gd name="T42" fmla="*/ 374 w 673"/>
                <a:gd name="T43" fmla="*/ 476 h 550"/>
                <a:gd name="T44" fmla="*/ 459 w 673"/>
                <a:gd name="T45" fmla="*/ 426 h 550"/>
                <a:gd name="T46" fmla="*/ 507 w 673"/>
                <a:gd name="T47" fmla="*/ 395 h 550"/>
                <a:gd name="T48" fmla="*/ 568 w 673"/>
                <a:gd name="T49" fmla="*/ 356 h 550"/>
                <a:gd name="T50" fmla="*/ 551 w 673"/>
                <a:gd name="T51" fmla="*/ 306 h 550"/>
                <a:gd name="T52" fmla="*/ 592 w 673"/>
                <a:gd name="T53" fmla="*/ 272 h 550"/>
                <a:gd name="T54" fmla="*/ 572 w 673"/>
                <a:gd name="T55" fmla="*/ 228 h 550"/>
                <a:gd name="T56" fmla="*/ 633 w 673"/>
                <a:gd name="T57" fmla="*/ 156 h 550"/>
                <a:gd name="T58" fmla="*/ 671 w 673"/>
                <a:gd name="T59" fmla="*/ 124 h 550"/>
                <a:gd name="T60" fmla="*/ 649 w 673"/>
                <a:gd name="T61" fmla="*/ 43 h 550"/>
                <a:gd name="T62" fmla="*/ 590 w 673"/>
                <a:gd name="T63" fmla="*/ 31 h 550"/>
                <a:gd name="T64" fmla="*/ 553 w 673"/>
                <a:gd name="T65" fmla="*/ 13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73" h="550">
                  <a:moveTo>
                    <a:pt x="553" y="13"/>
                  </a:moveTo>
                  <a:cubicBezTo>
                    <a:pt x="553" y="13"/>
                    <a:pt x="540" y="59"/>
                    <a:pt x="520" y="52"/>
                  </a:cubicBezTo>
                  <a:cubicBezTo>
                    <a:pt x="500" y="44"/>
                    <a:pt x="476" y="33"/>
                    <a:pt x="454" y="35"/>
                  </a:cubicBezTo>
                  <a:cubicBezTo>
                    <a:pt x="433" y="37"/>
                    <a:pt x="426" y="46"/>
                    <a:pt x="411" y="61"/>
                  </a:cubicBezTo>
                  <a:cubicBezTo>
                    <a:pt x="395" y="76"/>
                    <a:pt x="378" y="85"/>
                    <a:pt x="358" y="78"/>
                  </a:cubicBezTo>
                  <a:cubicBezTo>
                    <a:pt x="339" y="70"/>
                    <a:pt x="330" y="85"/>
                    <a:pt x="319" y="70"/>
                  </a:cubicBezTo>
                  <a:cubicBezTo>
                    <a:pt x="308" y="55"/>
                    <a:pt x="297" y="35"/>
                    <a:pt x="284" y="48"/>
                  </a:cubicBezTo>
                  <a:cubicBezTo>
                    <a:pt x="271" y="61"/>
                    <a:pt x="258" y="68"/>
                    <a:pt x="260" y="89"/>
                  </a:cubicBezTo>
                  <a:cubicBezTo>
                    <a:pt x="262" y="109"/>
                    <a:pt x="245" y="119"/>
                    <a:pt x="232" y="111"/>
                  </a:cubicBezTo>
                  <a:cubicBezTo>
                    <a:pt x="219" y="104"/>
                    <a:pt x="162" y="83"/>
                    <a:pt x="160" y="102"/>
                  </a:cubicBezTo>
                  <a:cubicBezTo>
                    <a:pt x="157" y="120"/>
                    <a:pt x="194" y="135"/>
                    <a:pt x="175" y="148"/>
                  </a:cubicBezTo>
                  <a:cubicBezTo>
                    <a:pt x="155" y="161"/>
                    <a:pt x="140" y="178"/>
                    <a:pt x="120" y="185"/>
                  </a:cubicBezTo>
                  <a:cubicBezTo>
                    <a:pt x="101" y="193"/>
                    <a:pt x="72" y="230"/>
                    <a:pt x="53" y="246"/>
                  </a:cubicBezTo>
                  <a:cubicBezTo>
                    <a:pt x="33" y="263"/>
                    <a:pt x="0" y="261"/>
                    <a:pt x="20" y="280"/>
                  </a:cubicBezTo>
                  <a:cubicBezTo>
                    <a:pt x="39" y="298"/>
                    <a:pt x="44" y="296"/>
                    <a:pt x="33" y="317"/>
                  </a:cubicBezTo>
                  <a:cubicBezTo>
                    <a:pt x="22" y="337"/>
                    <a:pt x="35" y="371"/>
                    <a:pt x="33" y="387"/>
                  </a:cubicBezTo>
                  <a:cubicBezTo>
                    <a:pt x="31" y="404"/>
                    <a:pt x="48" y="413"/>
                    <a:pt x="55" y="437"/>
                  </a:cubicBezTo>
                  <a:cubicBezTo>
                    <a:pt x="61" y="461"/>
                    <a:pt x="50" y="459"/>
                    <a:pt x="81" y="476"/>
                  </a:cubicBezTo>
                  <a:cubicBezTo>
                    <a:pt x="112" y="493"/>
                    <a:pt x="103" y="484"/>
                    <a:pt x="138" y="498"/>
                  </a:cubicBezTo>
                  <a:cubicBezTo>
                    <a:pt x="173" y="513"/>
                    <a:pt x="197" y="487"/>
                    <a:pt x="219" y="500"/>
                  </a:cubicBezTo>
                  <a:cubicBezTo>
                    <a:pt x="240" y="513"/>
                    <a:pt x="332" y="550"/>
                    <a:pt x="341" y="534"/>
                  </a:cubicBezTo>
                  <a:cubicBezTo>
                    <a:pt x="350" y="517"/>
                    <a:pt x="341" y="476"/>
                    <a:pt x="374" y="476"/>
                  </a:cubicBezTo>
                  <a:cubicBezTo>
                    <a:pt x="406" y="476"/>
                    <a:pt x="452" y="441"/>
                    <a:pt x="459" y="426"/>
                  </a:cubicBezTo>
                  <a:cubicBezTo>
                    <a:pt x="465" y="411"/>
                    <a:pt x="489" y="395"/>
                    <a:pt x="507" y="395"/>
                  </a:cubicBezTo>
                  <a:cubicBezTo>
                    <a:pt x="524" y="395"/>
                    <a:pt x="588" y="371"/>
                    <a:pt x="568" y="356"/>
                  </a:cubicBezTo>
                  <a:cubicBezTo>
                    <a:pt x="548" y="341"/>
                    <a:pt x="531" y="309"/>
                    <a:pt x="551" y="306"/>
                  </a:cubicBezTo>
                  <a:cubicBezTo>
                    <a:pt x="570" y="302"/>
                    <a:pt x="609" y="283"/>
                    <a:pt x="592" y="272"/>
                  </a:cubicBezTo>
                  <a:cubicBezTo>
                    <a:pt x="575" y="261"/>
                    <a:pt x="531" y="267"/>
                    <a:pt x="572" y="228"/>
                  </a:cubicBezTo>
                  <a:cubicBezTo>
                    <a:pt x="614" y="189"/>
                    <a:pt x="609" y="159"/>
                    <a:pt x="633" y="156"/>
                  </a:cubicBezTo>
                  <a:cubicBezTo>
                    <a:pt x="658" y="152"/>
                    <a:pt x="673" y="156"/>
                    <a:pt x="671" y="124"/>
                  </a:cubicBezTo>
                  <a:cubicBezTo>
                    <a:pt x="668" y="93"/>
                    <a:pt x="668" y="52"/>
                    <a:pt x="649" y="43"/>
                  </a:cubicBezTo>
                  <a:cubicBezTo>
                    <a:pt x="629" y="33"/>
                    <a:pt x="599" y="41"/>
                    <a:pt x="590" y="31"/>
                  </a:cubicBezTo>
                  <a:cubicBezTo>
                    <a:pt x="581" y="22"/>
                    <a:pt x="555" y="0"/>
                    <a:pt x="553" y="1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47" name="Freeform 6">
              <a:extLst>
                <a:ext uri="{FF2B5EF4-FFF2-40B4-BE49-F238E27FC236}">
                  <a16:creationId xmlns:a16="http://schemas.microsoft.com/office/drawing/2014/main" id="{83BBB421-F486-624F-8121-43655E805DD3}"/>
                </a:ext>
              </a:extLst>
            </p:cNvPr>
            <p:cNvSpPr>
              <a:spLocks/>
            </p:cNvSpPr>
            <p:nvPr/>
          </p:nvSpPr>
          <p:spPr bwMode="auto">
            <a:xfrm>
              <a:off x="-9" y="633"/>
              <a:ext cx="2307" cy="1593"/>
            </a:xfrm>
            <a:custGeom>
              <a:avLst/>
              <a:gdLst>
                <a:gd name="T0" fmla="*/ 4317 w 4981"/>
                <a:gd name="T1" fmla="*/ 2284 h 3440"/>
                <a:gd name="T2" fmla="*/ 4622 w 4981"/>
                <a:gd name="T3" fmla="*/ 2061 h 3440"/>
                <a:gd name="T4" fmla="*/ 4946 w 4981"/>
                <a:gd name="T5" fmla="*/ 1850 h 3440"/>
                <a:gd name="T6" fmla="*/ 4930 w 4981"/>
                <a:gd name="T7" fmla="*/ 1693 h 3440"/>
                <a:gd name="T8" fmla="*/ 4812 w 4981"/>
                <a:gd name="T9" fmla="*/ 1470 h 3440"/>
                <a:gd name="T10" fmla="*/ 4636 w 4981"/>
                <a:gd name="T11" fmla="*/ 1342 h 3440"/>
                <a:gd name="T12" fmla="*/ 4488 w 4981"/>
                <a:gd name="T13" fmla="*/ 1228 h 3440"/>
                <a:gd name="T14" fmla="*/ 4082 w 4981"/>
                <a:gd name="T15" fmla="*/ 1137 h 3440"/>
                <a:gd name="T16" fmla="*/ 3931 w 4981"/>
                <a:gd name="T17" fmla="*/ 906 h 3440"/>
                <a:gd name="T18" fmla="*/ 3984 w 4981"/>
                <a:gd name="T19" fmla="*/ 684 h 3440"/>
                <a:gd name="T20" fmla="*/ 3787 w 4981"/>
                <a:gd name="T21" fmla="*/ 408 h 3440"/>
                <a:gd name="T22" fmla="*/ 3607 w 4981"/>
                <a:gd name="T23" fmla="*/ 314 h 3440"/>
                <a:gd name="T24" fmla="*/ 3476 w 4981"/>
                <a:gd name="T25" fmla="*/ 141 h 3440"/>
                <a:gd name="T26" fmla="*/ 3472 w 4981"/>
                <a:gd name="T27" fmla="*/ 7 h 3440"/>
                <a:gd name="T28" fmla="*/ 3233 w 4981"/>
                <a:gd name="T29" fmla="*/ 27 h 3440"/>
                <a:gd name="T30" fmla="*/ 3096 w 4981"/>
                <a:gd name="T31" fmla="*/ 155 h 3440"/>
                <a:gd name="T32" fmla="*/ 2965 w 4981"/>
                <a:gd name="T33" fmla="*/ 333 h 3440"/>
                <a:gd name="T34" fmla="*/ 2876 w 4981"/>
                <a:gd name="T35" fmla="*/ 497 h 3440"/>
                <a:gd name="T36" fmla="*/ 2726 w 4981"/>
                <a:gd name="T37" fmla="*/ 478 h 3440"/>
                <a:gd name="T38" fmla="*/ 2359 w 4981"/>
                <a:gd name="T39" fmla="*/ 536 h 3440"/>
                <a:gd name="T40" fmla="*/ 2224 w 4981"/>
                <a:gd name="T41" fmla="*/ 781 h 3440"/>
                <a:gd name="T42" fmla="*/ 2175 w 4981"/>
                <a:gd name="T43" fmla="*/ 850 h 3440"/>
                <a:gd name="T44" fmla="*/ 2008 w 4981"/>
                <a:gd name="T45" fmla="*/ 809 h 3440"/>
                <a:gd name="T46" fmla="*/ 1710 w 4981"/>
                <a:gd name="T47" fmla="*/ 836 h 3440"/>
                <a:gd name="T48" fmla="*/ 1759 w 4981"/>
                <a:gd name="T49" fmla="*/ 1017 h 3440"/>
                <a:gd name="T50" fmla="*/ 1775 w 4981"/>
                <a:gd name="T51" fmla="*/ 1290 h 3440"/>
                <a:gd name="T52" fmla="*/ 1674 w 4981"/>
                <a:gd name="T53" fmla="*/ 1378 h 3440"/>
                <a:gd name="T54" fmla="*/ 1559 w 4981"/>
                <a:gd name="T55" fmla="*/ 1562 h 3440"/>
                <a:gd name="T56" fmla="*/ 1287 w 4981"/>
                <a:gd name="T57" fmla="*/ 1623 h 3440"/>
                <a:gd name="T58" fmla="*/ 1051 w 4981"/>
                <a:gd name="T59" fmla="*/ 1715 h 3440"/>
                <a:gd name="T60" fmla="*/ 760 w 4981"/>
                <a:gd name="T61" fmla="*/ 1768 h 3440"/>
                <a:gd name="T62" fmla="*/ 563 w 4981"/>
                <a:gd name="T63" fmla="*/ 1787 h 3440"/>
                <a:gd name="T64" fmla="*/ 370 w 4981"/>
                <a:gd name="T65" fmla="*/ 1723 h 3440"/>
                <a:gd name="T66" fmla="*/ 180 w 4981"/>
                <a:gd name="T67" fmla="*/ 1768 h 3440"/>
                <a:gd name="T68" fmla="*/ 42 w 4981"/>
                <a:gd name="T69" fmla="*/ 1934 h 3440"/>
                <a:gd name="T70" fmla="*/ 23 w 4981"/>
                <a:gd name="T71" fmla="*/ 2093 h 3440"/>
                <a:gd name="T72" fmla="*/ 232 w 4981"/>
                <a:gd name="T73" fmla="*/ 2199 h 3440"/>
                <a:gd name="T74" fmla="*/ 190 w 4981"/>
                <a:gd name="T75" fmla="*/ 2415 h 3440"/>
                <a:gd name="T76" fmla="*/ 105 w 4981"/>
                <a:gd name="T77" fmla="*/ 2454 h 3440"/>
                <a:gd name="T78" fmla="*/ 53 w 4981"/>
                <a:gd name="T79" fmla="*/ 2535 h 3440"/>
                <a:gd name="T80" fmla="*/ 219 w 4981"/>
                <a:gd name="T81" fmla="*/ 2595 h 3440"/>
                <a:gd name="T82" fmla="*/ 307 w 4981"/>
                <a:gd name="T83" fmla="*/ 2806 h 3440"/>
                <a:gd name="T84" fmla="*/ 442 w 4981"/>
                <a:gd name="T85" fmla="*/ 2962 h 3440"/>
                <a:gd name="T86" fmla="*/ 717 w 4981"/>
                <a:gd name="T87" fmla="*/ 3144 h 3440"/>
                <a:gd name="T88" fmla="*/ 861 w 4981"/>
                <a:gd name="T89" fmla="*/ 3385 h 3440"/>
                <a:gd name="T90" fmla="*/ 1054 w 4981"/>
                <a:gd name="T91" fmla="*/ 3422 h 3440"/>
                <a:gd name="T92" fmla="*/ 1241 w 4981"/>
                <a:gd name="T93" fmla="*/ 3196 h 3440"/>
                <a:gd name="T94" fmla="*/ 1547 w 4981"/>
                <a:gd name="T95" fmla="*/ 3325 h 3440"/>
                <a:gd name="T96" fmla="*/ 1779 w 4981"/>
                <a:gd name="T97" fmla="*/ 3247 h 3440"/>
                <a:gd name="T98" fmla="*/ 2063 w 4981"/>
                <a:gd name="T99" fmla="*/ 3348 h 3440"/>
                <a:gd name="T100" fmla="*/ 2355 w 4981"/>
                <a:gd name="T101" fmla="*/ 3325 h 3440"/>
                <a:gd name="T102" fmla="*/ 2823 w 4981"/>
                <a:gd name="T103" fmla="*/ 3221 h 3440"/>
                <a:gd name="T104" fmla="*/ 3303 w 4981"/>
                <a:gd name="T105" fmla="*/ 3314 h 3440"/>
                <a:gd name="T106" fmla="*/ 3657 w 4981"/>
                <a:gd name="T107" fmla="*/ 3310 h 3440"/>
                <a:gd name="T108" fmla="*/ 3683 w 4981"/>
                <a:gd name="T109" fmla="*/ 3162 h 3440"/>
                <a:gd name="T110" fmla="*/ 3640 w 4981"/>
                <a:gd name="T111" fmla="*/ 2988 h 3440"/>
                <a:gd name="T112" fmla="*/ 3701 w 4981"/>
                <a:gd name="T113" fmla="*/ 2721 h 3440"/>
                <a:gd name="T114" fmla="*/ 4129 w 4981"/>
                <a:gd name="T115" fmla="*/ 2651 h 3440"/>
                <a:gd name="T116" fmla="*/ 4380 w 4981"/>
                <a:gd name="T117" fmla="*/ 2630 h 3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81" h="3440">
                  <a:moveTo>
                    <a:pt x="4343" y="2565"/>
                  </a:moveTo>
                  <a:cubicBezTo>
                    <a:pt x="4365" y="2536"/>
                    <a:pt x="4347" y="2491"/>
                    <a:pt x="4343" y="2454"/>
                  </a:cubicBezTo>
                  <a:cubicBezTo>
                    <a:pt x="4339" y="2417"/>
                    <a:pt x="4317" y="2350"/>
                    <a:pt x="4317" y="2284"/>
                  </a:cubicBezTo>
                  <a:cubicBezTo>
                    <a:pt x="4317" y="2217"/>
                    <a:pt x="4391" y="2195"/>
                    <a:pt x="4430" y="2191"/>
                  </a:cubicBezTo>
                  <a:cubicBezTo>
                    <a:pt x="4470" y="2187"/>
                    <a:pt x="4500" y="2180"/>
                    <a:pt x="4513" y="2143"/>
                  </a:cubicBezTo>
                  <a:cubicBezTo>
                    <a:pt x="4526" y="2106"/>
                    <a:pt x="4592" y="2095"/>
                    <a:pt x="4622" y="2061"/>
                  </a:cubicBezTo>
                  <a:cubicBezTo>
                    <a:pt x="4653" y="2028"/>
                    <a:pt x="4701" y="2035"/>
                    <a:pt x="4745" y="2006"/>
                  </a:cubicBezTo>
                  <a:cubicBezTo>
                    <a:pt x="4788" y="1976"/>
                    <a:pt x="4841" y="1987"/>
                    <a:pt x="4911" y="1965"/>
                  </a:cubicBezTo>
                  <a:cubicBezTo>
                    <a:pt x="4981" y="1943"/>
                    <a:pt x="4933" y="1895"/>
                    <a:pt x="4946" y="1850"/>
                  </a:cubicBezTo>
                  <a:cubicBezTo>
                    <a:pt x="4951" y="1831"/>
                    <a:pt x="4965" y="1812"/>
                    <a:pt x="4978" y="1797"/>
                  </a:cubicBezTo>
                  <a:cubicBezTo>
                    <a:pt x="4972" y="1792"/>
                    <a:pt x="4980" y="1784"/>
                    <a:pt x="4976" y="1765"/>
                  </a:cubicBezTo>
                  <a:cubicBezTo>
                    <a:pt x="4970" y="1734"/>
                    <a:pt x="4947" y="1718"/>
                    <a:pt x="4930" y="1693"/>
                  </a:cubicBezTo>
                  <a:cubicBezTo>
                    <a:pt x="4914" y="1668"/>
                    <a:pt x="4891" y="1681"/>
                    <a:pt x="4885" y="1631"/>
                  </a:cubicBezTo>
                  <a:cubicBezTo>
                    <a:pt x="4878" y="1581"/>
                    <a:pt x="4852" y="1551"/>
                    <a:pt x="4845" y="1523"/>
                  </a:cubicBezTo>
                  <a:cubicBezTo>
                    <a:pt x="4839" y="1495"/>
                    <a:pt x="4852" y="1495"/>
                    <a:pt x="4812" y="1470"/>
                  </a:cubicBezTo>
                  <a:cubicBezTo>
                    <a:pt x="4773" y="1445"/>
                    <a:pt x="4803" y="1442"/>
                    <a:pt x="4796" y="1409"/>
                  </a:cubicBezTo>
                  <a:cubicBezTo>
                    <a:pt x="4790" y="1376"/>
                    <a:pt x="4757" y="1387"/>
                    <a:pt x="4721" y="1384"/>
                  </a:cubicBezTo>
                  <a:cubicBezTo>
                    <a:pt x="4685" y="1381"/>
                    <a:pt x="4675" y="1362"/>
                    <a:pt x="4636" y="1342"/>
                  </a:cubicBezTo>
                  <a:cubicBezTo>
                    <a:pt x="4596" y="1323"/>
                    <a:pt x="4629" y="1328"/>
                    <a:pt x="4596" y="1301"/>
                  </a:cubicBezTo>
                  <a:cubicBezTo>
                    <a:pt x="4563" y="1273"/>
                    <a:pt x="4560" y="1278"/>
                    <a:pt x="4524" y="1276"/>
                  </a:cubicBezTo>
                  <a:cubicBezTo>
                    <a:pt x="4488" y="1273"/>
                    <a:pt x="4495" y="1251"/>
                    <a:pt x="4488" y="1228"/>
                  </a:cubicBezTo>
                  <a:cubicBezTo>
                    <a:pt x="4482" y="1206"/>
                    <a:pt x="4452" y="1206"/>
                    <a:pt x="4416" y="1184"/>
                  </a:cubicBezTo>
                  <a:cubicBezTo>
                    <a:pt x="4380" y="1162"/>
                    <a:pt x="4252" y="1167"/>
                    <a:pt x="4210" y="1164"/>
                  </a:cubicBezTo>
                  <a:cubicBezTo>
                    <a:pt x="4167" y="1162"/>
                    <a:pt x="4147" y="1145"/>
                    <a:pt x="4082" y="1137"/>
                  </a:cubicBezTo>
                  <a:cubicBezTo>
                    <a:pt x="4016" y="1128"/>
                    <a:pt x="4056" y="1120"/>
                    <a:pt x="3957" y="1095"/>
                  </a:cubicBezTo>
                  <a:cubicBezTo>
                    <a:pt x="3859" y="1070"/>
                    <a:pt x="3885" y="1031"/>
                    <a:pt x="3879" y="1003"/>
                  </a:cubicBezTo>
                  <a:cubicBezTo>
                    <a:pt x="3872" y="975"/>
                    <a:pt x="3889" y="936"/>
                    <a:pt x="3931" y="906"/>
                  </a:cubicBezTo>
                  <a:cubicBezTo>
                    <a:pt x="3974" y="875"/>
                    <a:pt x="3974" y="850"/>
                    <a:pt x="3948" y="814"/>
                  </a:cubicBezTo>
                  <a:cubicBezTo>
                    <a:pt x="3921" y="778"/>
                    <a:pt x="3948" y="781"/>
                    <a:pt x="3977" y="753"/>
                  </a:cubicBezTo>
                  <a:cubicBezTo>
                    <a:pt x="4007" y="725"/>
                    <a:pt x="3990" y="714"/>
                    <a:pt x="3984" y="684"/>
                  </a:cubicBezTo>
                  <a:cubicBezTo>
                    <a:pt x="3977" y="653"/>
                    <a:pt x="3964" y="625"/>
                    <a:pt x="3928" y="595"/>
                  </a:cubicBezTo>
                  <a:cubicBezTo>
                    <a:pt x="3892" y="564"/>
                    <a:pt x="3885" y="481"/>
                    <a:pt x="3875" y="444"/>
                  </a:cubicBezTo>
                  <a:cubicBezTo>
                    <a:pt x="3866" y="408"/>
                    <a:pt x="3830" y="408"/>
                    <a:pt x="3787" y="408"/>
                  </a:cubicBezTo>
                  <a:cubicBezTo>
                    <a:pt x="3744" y="408"/>
                    <a:pt x="3751" y="369"/>
                    <a:pt x="3731" y="347"/>
                  </a:cubicBezTo>
                  <a:cubicBezTo>
                    <a:pt x="3712" y="325"/>
                    <a:pt x="3689" y="344"/>
                    <a:pt x="3653" y="364"/>
                  </a:cubicBezTo>
                  <a:cubicBezTo>
                    <a:pt x="3617" y="383"/>
                    <a:pt x="3626" y="358"/>
                    <a:pt x="3607" y="314"/>
                  </a:cubicBezTo>
                  <a:cubicBezTo>
                    <a:pt x="3587" y="269"/>
                    <a:pt x="3577" y="283"/>
                    <a:pt x="3564" y="239"/>
                  </a:cubicBezTo>
                  <a:cubicBezTo>
                    <a:pt x="3551" y="194"/>
                    <a:pt x="3499" y="203"/>
                    <a:pt x="3469" y="189"/>
                  </a:cubicBezTo>
                  <a:cubicBezTo>
                    <a:pt x="3440" y="175"/>
                    <a:pt x="3450" y="175"/>
                    <a:pt x="3476" y="141"/>
                  </a:cubicBezTo>
                  <a:cubicBezTo>
                    <a:pt x="3502" y="108"/>
                    <a:pt x="3450" y="108"/>
                    <a:pt x="3430" y="91"/>
                  </a:cubicBezTo>
                  <a:cubicBezTo>
                    <a:pt x="3410" y="75"/>
                    <a:pt x="3417" y="72"/>
                    <a:pt x="3453" y="50"/>
                  </a:cubicBezTo>
                  <a:cubicBezTo>
                    <a:pt x="3467" y="41"/>
                    <a:pt x="3471" y="24"/>
                    <a:pt x="3472" y="7"/>
                  </a:cubicBezTo>
                  <a:cubicBezTo>
                    <a:pt x="3467" y="9"/>
                    <a:pt x="3462" y="9"/>
                    <a:pt x="3436" y="11"/>
                  </a:cubicBezTo>
                  <a:cubicBezTo>
                    <a:pt x="3391" y="14"/>
                    <a:pt x="3351" y="25"/>
                    <a:pt x="3341" y="14"/>
                  </a:cubicBezTo>
                  <a:cubicBezTo>
                    <a:pt x="3332" y="2"/>
                    <a:pt x="3233" y="0"/>
                    <a:pt x="3233" y="27"/>
                  </a:cubicBezTo>
                  <a:cubicBezTo>
                    <a:pt x="3233" y="55"/>
                    <a:pt x="3256" y="58"/>
                    <a:pt x="3227" y="91"/>
                  </a:cubicBezTo>
                  <a:cubicBezTo>
                    <a:pt x="3197" y="125"/>
                    <a:pt x="3201" y="128"/>
                    <a:pt x="3171" y="139"/>
                  </a:cubicBezTo>
                  <a:cubicBezTo>
                    <a:pt x="3142" y="150"/>
                    <a:pt x="3125" y="158"/>
                    <a:pt x="3096" y="155"/>
                  </a:cubicBezTo>
                  <a:cubicBezTo>
                    <a:pt x="3066" y="153"/>
                    <a:pt x="3053" y="128"/>
                    <a:pt x="3027" y="158"/>
                  </a:cubicBezTo>
                  <a:cubicBezTo>
                    <a:pt x="3001" y="189"/>
                    <a:pt x="2965" y="236"/>
                    <a:pt x="2965" y="264"/>
                  </a:cubicBezTo>
                  <a:cubicBezTo>
                    <a:pt x="2965" y="292"/>
                    <a:pt x="2965" y="305"/>
                    <a:pt x="2965" y="333"/>
                  </a:cubicBezTo>
                  <a:cubicBezTo>
                    <a:pt x="2965" y="361"/>
                    <a:pt x="2955" y="367"/>
                    <a:pt x="2968" y="392"/>
                  </a:cubicBezTo>
                  <a:cubicBezTo>
                    <a:pt x="2981" y="417"/>
                    <a:pt x="2981" y="419"/>
                    <a:pt x="2965" y="442"/>
                  </a:cubicBezTo>
                  <a:cubicBezTo>
                    <a:pt x="2948" y="464"/>
                    <a:pt x="2893" y="494"/>
                    <a:pt x="2876" y="497"/>
                  </a:cubicBezTo>
                  <a:cubicBezTo>
                    <a:pt x="2860" y="500"/>
                    <a:pt x="2824" y="494"/>
                    <a:pt x="2814" y="511"/>
                  </a:cubicBezTo>
                  <a:cubicBezTo>
                    <a:pt x="2804" y="528"/>
                    <a:pt x="2778" y="517"/>
                    <a:pt x="2768" y="508"/>
                  </a:cubicBezTo>
                  <a:cubicBezTo>
                    <a:pt x="2758" y="500"/>
                    <a:pt x="2762" y="478"/>
                    <a:pt x="2726" y="478"/>
                  </a:cubicBezTo>
                  <a:cubicBezTo>
                    <a:pt x="2690" y="478"/>
                    <a:pt x="2621" y="489"/>
                    <a:pt x="2588" y="456"/>
                  </a:cubicBezTo>
                  <a:cubicBezTo>
                    <a:pt x="2555" y="422"/>
                    <a:pt x="2460" y="330"/>
                    <a:pt x="2444" y="400"/>
                  </a:cubicBezTo>
                  <a:cubicBezTo>
                    <a:pt x="2427" y="469"/>
                    <a:pt x="2382" y="503"/>
                    <a:pt x="2359" y="536"/>
                  </a:cubicBezTo>
                  <a:cubicBezTo>
                    <a:pt x="2336" y="570"/>
                    <a:pt x="2319" y="589"/>
                    <a:pt x="2293" y="631"/>
                  </a:cubicBezTo>
                  <a:cubicBezTo>
                    <a:pt x="2267" y="672"/>
                    <a:pt x="2290" y="689"/>
                    <a:pt x="2260" y="711"/>
                  </a:cubicBezTo>
                  <a:cubicBezTo>
                    <a:pt x="2231" y="734"/>
                    <a:pt x="2178" y="759"/>
                    <a:pt x="2224" y="781"/>
                  </a:cubicBezTo>
                  <a:cubicBezTo>
                    <a:pt x="2270" y="803"/>
                    <a:pt x="2293" y="823"/>
                    <a:pt x="2273" y="845"/>
                  </a:cubicBezTo>
                  <a:cubicBezTo>
                    <a:pt x="2254" y="867"/>
                    <a:pt x="2247" y="917"/>
                    <a:pt x="2224" y="884"/>
                  </a:cubicBezTo>
                  <a:cubicBezTo>
                    <a:pt x="2201" y="850"/>
                    <a:pt x="2205" y="842"/>
                    <a:pt x="2175" y="850"/>
                  </a:cubicBezTo>
                  <a:cubicBezTo>
                    <a:pt x="2146" y="859"/>
                    <a:pt x="2113" y="859"/>
                    <a:pt x="2106" y="836"/>
                  </a:cubicBezTo>
                  <a:cubicBezTo>
                    <a:pt x="2100" y="814"/>
                    <a:pt x="2113" y="784"/>
                    <a:pt x="2077" y="797"/>
                  </a:cubicBezTo>
                  <a:cubicBezTo>
                    <a:pt x="2041" y="811"/>
                    <a:pt x="2038" y="809"/>
                    <a:pt x="2008" y="809"/>
                  </a:cubicBezTo>
                  <a:cubicBezTo>
                    <a:pt x="1979" y="809"/>
                    <a:pt x="1949" y="836"/>
                    <a:pt x="1913" y="817"/>
                  </a:cubicBezTo>
                  <a:cubicBezTo>
                    <a:pt x="1877" y="797"/>
                    <a:pt x="1854" y="828"/>
                    <a:pt x="1825" y="828"/>
                  </a:cubicBezTo>
                  <a:cubicBezTo>
                    <a:pt x="1795" y="828"/>
                    <a:pt x="1713" y="814"/>
                    <a:pt x="1710" y="836"/>
                  </a:cubicBezTo>
                  <a:cubicBezTo>
                    <a:pt x="1707" y="859"/>
                    <a:pt x="1694" y="881"/>
                    <a:pt x="1733" y="886"/>
                  </a:cubicBezTo>
                  <a:cubicBezTo>
                    <a:pt x="1772" y="892"/>
                    <a:pt x="1821" y="895"/>
                    <a:pt x="1798" y="925"/>
                  </a:cubicBezTo>
                  <a:cubicBezTo>
                    <a:pt x="1775" y="956"/>
                    <a:pt x="1756" y="973"/>
                    <a:pt x="1759" y="1017"/>
                  </a:cubicBezTo>
                  <a:cubicBezTo>
                    <a:pt x="1762" y="1062"/>
                    <a:pt x="1746" y="1089"/>
                    <a:pt x="1766" y="1145"/>
                  </a:cubicBezTo>
                  <a:cubicBezTo>
                    <a:pt x="1785" y="1201"/>
                    <a:pt x="1782" y="1209"/>
                    <a:pt x="1782" y="1237"/>
                  </a:cubicBezTo>
                  <a:cubicBezTo>
                    <a:pt x="1782" y="1265"/>
                    <a:pt x="1759" y="1256"/>
                    <a:pt x="1775" y="1290"/>
                  </a:cubicBezTo>
                  <a:cubicBezTo>
                    <a:pt x="1792" y="1323"/>
                    <a:pt x="1779" y="1337"/>
                    <a:pt x="1759" y="1323"/>
                  </a:cubicBezTo>
                  <a:cubicBezTo>
                    <a:pt x="1739" y="1309"/>
                    <a:pt x="1716" y="1306"/>
                    <a:pt x="1707" y="1328"/>
                  </a:cubicBezTo>
                  <a:cubicBezTo>
                    <a:pt x="1697" y="1351"/>
                    <a:pt x="1707" y="1376"/>
                    <a:pt x="1674" y="1378"/>
                  </a:cubicBezTo>
                  <a:cubicBezTo>
                    <a:pt x="1641" y="1381"/>
                    <a:pt x="1621" y="1390"/>
                    <a:pt x="1625" y="1429"/>
                  </a:cubicBezTo>
                  <a:cubicBezTo>
                    <a:pt x="1628" y="1467"/>
                    <a:pt x="1648" y="1492"/>
                    <a:pt x="1625" y="1523"/>
                  </a:cubicBezTo>
                  <a:cubicBezTo>
                    <a:pt x="1602" y="1554"/>
                    <a:pt x="1602" y="1565"/>
                    <a:pt x="1559" y="1562"/>
                  </a:cubicBezTo>
                  <a:cubicBezTo>
                    <a:pt x="1517" y="1559"/>
                    <a:pt x="1513" y="1590"/>
                    <a:pt x="1481" y="1593"/>
                  </a:cubicBezTo>
                  <a:cubicBezTo>
                    <a:pt x="1448" y="1595"/>
                    <a:pt x="1395" y="1581"/>
                    <a:pt x="1369" y="1595"/>
                  </a:cubicBezTo>
                  <a:cubicBezTo>
                    <a:pt x="1343" y="1609"/>
                    <a:pt x="1323" y="1623"/>
                    <a:pt x="1287" y="1623"/>
                  </a:cubicBezTo>
                  <a:cubicBezTo>
                    <a:pt x="1251" y="1623"/>
                    <a:pt x="1241" y="1626"/>
                    <a:pt x="1209" y="1643"/>
                  </a:cubicBezTo>
                  <a:cubicBezTo>
                    <a:pt x="1176" y="1659"/>
                    <a:pt x="1150" y="1676"/>
                    <a:pt x="1124" y="1701"/>
                  </a:cubicBezTo>
                  <a:cubicBezTo>
                    <a:pt x="1097" y="1726"/>
                    <a:pt x="1074" y="1734"/>
                    <a:pt x="1051" y="1715"/>
                  </a:cubicBezTo>
                  <a:cubicBezTo>
                    <a:pt x="1028" y="1695"/>
                    <a:pt x="933" y="1732"/>
                    <a:pt x="920" y="1704"/>
                  </a:cubicBezTo>
                  <a:cubicBezTo>
                    <a:pt x="907" y="1676"/>
                    <a:pt x="868" y="1640"/>
                    <a:pt x="835" y="1676"/>
                  </a:cubicBezTo>
                  <a:cubicBezTo>
                    <a:pt x="802" y="1712"/>
                    <a:pt x="776" y="1737"/>
                    <a:pt x="760" y="1768"/>
                  </a:cubicBezTo>
                  <a:cubicBezTo>
                    <a:pt x="743" y="1798"/>
                    <a:pt x="691" y="1840"/>
                    <a:pt x="671" y="1812"/>
                  </a:cubicBezTo>
                  <a:cubicBezTo>
                    <a:pt x="652" y="1784"/>
                    <a:pt x="658" y="1782"/>
                    <a:pt x="632" y="1787"/>
                  </a:cubicBezTo>
                  <a:cubicBezTo>
                    <a:pt x="606" y="1793"/>
                    <a:pt x="573" y="1826"/>
                    <a:pt x="563" y="1787"/>
                  </a:cubicBezTo>
                  <a:cubicBezTo>
                    <a:pt x="553" y="1748"/>
                    <a:pt x="563" y="1709"/>
                    <a:pt x="537" y="1706"/>
                  </a:cubicBezTo>
                  <a:cubicBezTo>
                    <a:pt x="511" y="1704"/>
                    <a:pt x="475" y="1757"/>
                    <a:pt x="455" y="1734"/>
                  </a:cubicBezTo>
                  <a:cubicBezTo>
                    <a:pt x="436" y="1712"/>
                    <a:pt x="380" y="1698"/>
                    <a:pt x="370" y="1723"/>
                  </a:cubicBezTo>
                  <a:cubicBezTo>
                    <a:pt x="360" y="1748"/>
                    <a:pt x="344" y="1754"/>
                    <a:pt x="321" y="1754"/>
                  </a:cubicBezTo>
                  <a:cubicBezTo>
                    <a:pt x="298" y="1754"/>
                    <a:pt x="301" y="1784"/>
                    <a:pt x="268" y="1782"/>
                  </a:cubicBezTo>
                  <a:cubicBezTo>
                    <a:pt x="236" y="1779"/>
                    <a:pt x="213" y="1743"/>
                    <a:pt x="180" y="1768"/>
                  </a:cubicBezTo>
                  <a:cubicBezTo>
                    <a:pt x="147" y="1793"/>
                    <a:pt x="128" y="1793"/>
                    <a:pt x="128" y="1837"/>
                  </a:cubicBezTo>
                  <a:cubicBezTo>
                    <a:pt x="128" y="1882"/>
                    <a:pt x="147" y="1890"/>
                    <a:pt x="101" y="1896"/>
                  </a:cubicBezTo>
                  <a:cubicBezTo>
                    <a:pt x="55" y="1901"/>
                    <a:pt x="39" y="1904"/>
                    <a:pt x="42" y="1934"/>
                  </a:cubicBezTo>
                  <a:cubicBezTo>
                    <a:pt x="46" y="1965"/>
                    <a:pt x="0" y="1965"/>
                    <a:pt x="33" y="1987"/>
                  </a:cubicBezTo>
                  <a:cubicBezTo>
                    <a:pt x="65" y="2009"/>
                    <a:pt x="75" y="2015"/>
                    <a:pt x="49" y="2037"/>
                  </a:cubicBezTo>
                  <a:cubicBezTo>
                    <a:pt x="23" y="2060"/>
                    <a:pt x="19" y="2068"/>
                    <a:pt x="23" y="2093"/>
                  </a:cubicBezTo>
                  <a:cubicBezTo>
                    <a:pt x="26" y="2118"/>
                    <a:pt x="49" y="2165"/>
                    <a:pt x="72" y="2146"/>
                  </a:cubicBezTo>
                  <a:cubicBezTo>
                    <a:pt x="95" y="2126"/>
                    <a:pt x="88" y="2115"/>
                    <a:pt x="141" y="2132"/>
                  </a:cubicBezTo>
                  <a:cubicBezTo>
                    <a:pt x="193" y="2148"/>
                    <a:pt x="219" y="2168"/>
                    <a:pt x="232" y="2199"/>
                  </a:cubicBezTo>
                  <a:cubicBezTo>
                    <a:pt x="245" y="2229"/>
                    <a:pt x="203" y="2226"/>
                    <a:pt x="206" y="2265"/>
                  </a:cubicBezTo>
                  <a:cubicBezTo>
                    <a:pt x="209" y="2304"/>
                    <a:pt x="242" y="2335"/>
                    <a:pt x="216" y="2357"/>
                  </a:cubicBezTo>
                  <a:cubicBezTo>
                    <a:pt x="190" y="2379"/>
                    <a:pt x="180" y="2379"/>
                    <a:pt x="190" y="2415"/>
                  </a:cubicBezTo>
                  <a:cubicBezTo>
                    <a:pt x="200" y="2451"/>
                    <a:pt x="229" y="2479"/>
                    <a:pt x="196" y="2496"/>
                  </a:cubicBezTo>
                  <a:cubicBezTo>
                    <a:pt x="164" y="2513"/>
                    <a:pt x="150" y="2527"/>
                    <a:pt x="128" y="2499"/>
                  </a:cubicBezTo>
                  <a:cubicBezTo>
                    <a:pt x="114" y="2482"/>
                    <a:pt x="113" y="2466"/>
                    <a:pt x="105" y="2454"/>
                  </a:cubicBezTo>
                  <a:cubicBezTo>
                    <a:pt x="92" y="2456"/>
                    <a:pt x="80" y="2456"/>
                    <a:pt x="73" y="2456"/>
                  </a:cubicBezTo>
                  <a:cubicBezTo>
                    <a:pt x="55" y="2456"/>
                    <a:pt x="63" y="2479"/>
                    <a:pt x="52" y="2498"/>
                  </a:cubicBezTo>
                  <a:cubicBezTo>
                    <a:pt x="47" y="2506"/>
                    <a:pt x="49" y="2522"/>
                    <a:pt x="53" y="2535"/>
                  </a:cubicBezTo>
                  <a:cubicBezTo>
                    <a:pt x="56" y="2536"/>
                    <a:pt x="59" y="2536"/>
                    <a:pt x="62" y="2536"/>
                  </a:cubicBezTo>
                  <a:cubicBezTo>
                    <a:pt x="93" y="2536"/>
                    <a:pt x="106" y="2547"/>
                    <a:pt x="141" y="2565"/>
                  </a:cubicBezTo>
                  <a:cubicBezTo>
                    <a:pt x="176" y="2584"/>
                    <a:pt x="176" y="2580"/>
                    <a:pt x="219" y="2595"/>
                  </a:cubicBezTo>
                  <a:cubicBezTo>
                    <a:pt x="263" y="2610"/>
                    <a:pt x="245" y="2654"/>
                    <a:pt x="272" y="2658"/>
                  </a:cubicBezTo>
                  <a:cubicBezTo>
                    <a:pt x="298" y="2662"/>
                    <a:pt x="307" y="2677"/>
                    <a:pt x="333" y="2721"/>
                  </a:cubicBezTo>
                  <a:cubicBezTo>
                    <a:pt x="359" y="2766"/>
                    <a:pt x="328" y="2784"/>
                    <a:pt x="307" y="2806"/>
                  </a:cubicBezTo>
                  <a:cubicBezTo>
                    <a:pt x="285" y="2829"/>
                    <a:pt x="302" y="2836"/>
                    <a:pt x="320" y="2862"/>
                  </a:cubicBezTo>
                  <a:cubicBezTo>
                    <a:pt x="337" y="2888"/>
                    <a:pt x="337" y="2914"/>
                    <a:pt x="377" y="2914"/>
                  </a:cubicBezTo>
                  <a:cubicBezTo>
                    <a:pt x="416" y="2914"/>
                    <a:pt x="407" y="2918"/>
                    <a:pt x="442" y="2962"/>
                  </a:cubicBezTo>
                  <a:cubicBezTo>
                    <a:pt x="477" y="3007"/>
                    <a:pt x="538" y="3025"/>
                    <a:pt x="582" y="3055"/>
                  </a:cubicBezTo>
                  <a:cubicBezTo>
                    <a:pt x="626" y="3084"/>
                    <a:pt x="669" y="3073"/>
                    <a:pt x="722" y="3073"/>
                  </a:cubicBezTo>
                  <a:cubicBezTo>
                    <a:pt x="774" y="3073"/>
                    <a:pt x="713" y="3129"/>
                    <a:pt x="717" y="3144"/>
                  </a:cubicBezTo>
                  <a:cubicBezTo>
                    <a:pt x="722" y="3158"/>
                    <a:pt x="730" y="3214"/>
                    <a:pt x="726" y="3255"/>
                  </a:cubicBezTo>
                  <a:cubicBezTo>
                    <a:pt x="722" y="3296"/>
                    <a:pt x="752" y="3310"/>
                    <a:pt x="774" y="3333"/>
                  </a:cubicBezTo>
                  <a:cubicBezTo>
                    <a:pt x="796" y="3355"/>
                    <a:pt x="822" y="3362"/>
                    <a:pt x="861" y="3385"/>
                  </a:cubicBezTo>
                  <a:cubicBezTo>
                    <a:pt x="870" y="3389"/>
                    <a:pt x="874" y="3394"/>
                    <a:pt x="875" y="3399"/>
                  </a:cubicBezTo>
                  <a:cubicBezTo>
                    <a:pt x="901" y="3404"/>
                    <a:pt x="929" y="3410"/>
                    <a:pt x="949" y="3418"/>
                  </a:cubicBezTo>
                  <a:cubicBezTo>
                    <a:pt x="992" y="3436"/>
                    <a:pt x="1027" y="3440"/>
                    <a:pt x="1054" y="3422"/>
                  </a:cubicBezTo>
                  <a:cubicBezTo>
                    <a:pt x="1080" y="3403"/>
                    <a:pt x="1075" y="3396"/>
                    <a:pt x="1084" y="3366"/>
                  </a:cubicBezTo>
                  <a:cubicBezTo>
                    <a:pt x="1093" y="3336"/>
                    <a:pt x="1145" y="3303"/>
                    <a:pt x="1180" y="3270"/>
                  </a:cubicBezTo>
                  <a:cubicBezTo>
                    <a:pt x="1215" y="3236"/>
                    <a:pt x="1198" y="3155"/>
                    <a:pt x="1241" y="3196"/>
                  </a:cubicBezTo>
                  <a:cubicBezTo>
                    <a:pt x="1285" y="3236"/>
                    <a:pt x="1290" y="3251"/>
                    <a:pt x="1324" y="3255"/>
                  </a:cubicBezTo>
                  <a:cubicBezTo>
                    <a:pt x="1359" y="3259"/>
                    <a:pt x="1438" y="3247"/>
                    <a:pt x="1460" y="3281"/>
                  </a:cubicBezTo>
                  <a:cubicBezTo>
                    <a:pt x="1482" y="3314"/>
                    <a:pt x="1504" y="3351"/>
                    <a:pt x="1547" y="3325"/>
                  </a:cubicBezTo>
                  <a:cubicBezTo>
                    <a:pt x="1591" y="3299"/>
                    <a:pt x="1604" y="3247"/>
                    <a:pt x="1648" y="3244"/>
                  </a:cubicBezTo>
                  <a:cubicBezTo>
                    <a:pt x="1691" y="3240"/>
                    <a:pt x="1691" y="3210"/>
                    <a:pt x="1713" y="3236"/>
                  </a:cubicBezTo>
                  <a:cubicBezTo>
                    <a:pt x="1735" y="3262"/>
                    <a:pt x="1718" y="3240"/>
                    <a:pt x="1779" y="3247"/>
                  </a:cubicBezTo>
                  <a:cubicBezTo>
                    <a:pt x="1840" y="3255"/>
                    <a:pt x="1875" y="3255"/>
                    <a:pt x="1901" y="3273"/>
                  </a:cubicBezTo>
                  <a:cubicBezTo>
                    <a:pt x="1927" y="3292"/>
                    <a:pt x="1923" y="3325"/>
                    <a:pt x="1975" y="3333"/>
                  </a:cubicBezTo>
                  <a:cubicBezTo>
                    <a:pt x="2028" y="3340"/>
                    <a:pt x="2041" y="3325"/>
                    <a:pt x="2063" y="3348"/>
                  </a:cubicBezTo>
                  <a:cubicBezTo>
                    <a:pt x="2085" y="3370"/>
                    <a:pt x="2111" y="3381"/>
                    <a:pt x="2150" y="3351"/>
                  </a:cubicBezTo>
                  <a:cubicBezTo>
                    <a:pt x="2189" y="3322"/>
                    <a:pt x="2202" y="3322"/>
                    <a:pt x="2255" y="3322"/>
                  </a:cubicBezTo>
                  <a:cubicBezTo>
                    <a:pt x="2307" y="3322"/>
                    <a:pt x="2316" y="3318"/>
                    <a:pt x="2355" y="3325"/>
                  </a:cubicBezTo>
                  <a:cubicBezTo>
                    <a:pt x="2395" y="3333"/>
                    <a:pt x="2412" y="3336"/>
                    <a:pt x="2460" y="3307"/>
                  </a:cubicBezTo>
                  <a:cubicBezTo>
                    <a:pt x="2508" y="3277"/>
                    <a:pt x="2543" y="3233"/>
                    <a:pt x="2604" y="3236"/>
                  </a:cubicBezTo>
                  <a:cubicBezTo>
                    <a:pt x="2665" y="3240"/>
                    <a:pt x="2783" y="3247"/>
                    <a:pt x="2823" y="3221"/>
                  </a:cubicBezTo>
                  <a:cubicBezTo>
                    <a:pt x="2862" y="3196"/>
                    <a:pt x="2862" y="3181"/>
                    <a:pt x="2932" y="3192"/>
                  </a:cubicBezTo>
                  <a:cubicBezTo>
                    <a:pt x="3002" y="3203"/>
                    <a:pt x="3146" y="3247"/>
                    <a:pt x="3194" y="3273"/>
                  </a:cubicBezTo>
                  <a:cubicBezTo>
                    <a:pt x="3242" y="3299"/>
                    <a:pt x="3255" y="3322"/>
                    <a:pt x="3303" y="3314"/>
                  </a:cubicBezTo>
                  <a:cubicBezTo>
                    <a:pt x="3351" y="3307"/>
                    <a:pt x="3377" y="3292"/>
                    <a:pt x="3430" y="3314"/>
                  </a:cubicBezTo>
                  <a:cubicBezTo>
                    <a:pt x="3482" y="3336"/>
                    <a:pt x="3491" y="3362"/>
                    <a:pt x="3583" y="3340"/>
                  </a:cubicBezTo>
                  <a:cubicBezTo>
                    <a:pt x="3675" y="3318"/>
                    <a:pt x="3618" y="3310"/>
                    <a:pt x="3657" y="3310"/>
                  </a:cubicBezTo>
                  <a:cubicBezTo>
                    <a:pt x="3696" y="3310"/>
                    <a:pt x="3723" y="3292"/>
                    <a:pt x="3661" y="3277"/>
                  </a:cubicBezTo>
                  <a:cubicBezTo>
                    <a:pt x="3600" y="3262"/>
                    <a:pt x="3574" y="3244"/>
                    <a:pt x="3609" y="3207"/>
                  </a:cubicBezTo>
                  <a:cubicBezTo>
                    <a:pt x="3644" y="3170"/>
                    <a:pt x="3640" y="3181"/>
                    <a:pt x="3683" y="3162"/>
                  </a:cubicBezTo>
                  <a:cubicBezTo>
                    <a:pt x="3727" y="3144"/>
                    <a:pt x="3705" y="3129"/>
                    <a:pt x="3718" y="3110"/>
                  </a:cubicBezTo>
                  <a:cubicBezTo>
                    <a:pt x="3731" y="3092"/>
                    <a:pt x="3766" y="3084"/>
                    <a:pt x="3740" y="3051"/>
                  </a:cubicBezTo>
                  <a:cubicBezTo>
                    <a:pt x="3714" y="3018"/>
                    <a:pt x="3648" y="3018"/>
                    <a:pt x="3640" y="2988"/>
                  </a:cubicBezTo>
                  <a:cubicBezTo>
                    <a:pt x="3631" y="2958"/>
                    <a:pt x="3548" y="2969"/>
                    <a:pt x="3548" y="2921"/>
                  </a:cubicBezTo>
                  <a:cubicBezTo>
                    <a:pt x="3548" y="2873"/>
                    <a:pt x="3522" y="2814"/>
                    <a:pt x="3570" y="2784"/>
                  </a:cubicBezTo>
                  <a:cubicBezTo>
                    <a:pt x="3618" y="2754"/>
                    <a:pt x="3631" y="2714"/>
                    <a:pt x="3701" y="2721"/>
                  </a:cubicBezTo>
                  <a:cubicBezTo>
                    <a:pt x="3771" y="2729"/>
                    <a:pt x="3784" y="2717"/>
                    <a:pt x="3867" y="2714"/>
                  </a:cubicBezTo>
                  <a:cubicBezTo>
                    <a:pt x="3950" y="2710"/>
                    <a:pt x="3950" y="2677"/>
                    <a:pt x="4011" y="2673"/>
                  </a:cubicBezTo>
                  <a:cubicBezTo>
                    <a:pt x="4072" y="2669"/>
                    <a:pt x="4081" y="2647"/>
                    <a:pt x="4129" y="2651"/>
                  </a:cubicBezTo>
                  <a:cubicBezTo>
                    <a:pt x="4177" y="2654"/>
                    <a:pt x="4216" y="2677"/>
                    <a:pt x="4238" y="2647"/>
                  </a:cubicBezTo>
                  <a:cubicBezTo>
                    <a:pt x="4260" y="2617"/>
                    <a:pt x="4260" y="2588"/>
                    <a:pt x="4295" y="2617"/>
                  </a:cubicBezTo>
                  <a:cubicBezTo>
                    <a:pt x="4315" y="2634"/>
                    <a:pt x="4346" y="2633"/>
                    <a:pt x="4380" y="2630"/>
                  </a:cubicBezTo>
                  <a:cubicBezTo>
                    <a:pt x="4351" y="2567"/>
                    <a:pt x="4325" y="2590"/>
                    <a:pt x="4343" y="2565"/>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48" name="Freeform 7">
              <a:extLst>
                <a:ext uri="{FF2B5EF4-FFF2-40B4-BE49-F238E27FC236}">
                  <a16:creationId xmlns:a16="http://schemas.microsoft.com/office/drawing/2014/main" id="{D1B4BC0E-E150-5243-992C-6C3756864F9C}"/>
                </a:ext>
              </a:extLst>
            </p:cNvPr>
            <p:cNvSpPr>
              <a:spLocks/>
            </p:cNvSpPr>
            <p:nvPr/>
          </p:nvSpPr>
          <p:spPr bwMode="auto">
            <a:xfrm>
              <a:off x="271" y="2094"/>
              <a:ext cx="2249" cy="1097"/>
            </a:xfrm>
            <a:custGeom>
              <a:avLst/>
              <a:gdLst>
                <a:gd name="T0" fmla="*/ 4405 w 4857"/>
                <a:gd name="T1" fmla="*/ 1256 h 2368"/>
                <a:gd name="T2" fmla="*/ 4222 w 4857"/>
                <a:gd name="T3" fmla="*/ 1404 h 2368"/>
                <a:gd name="T4" fmla="*/ 4032 w 4857"/>
                <a:gd name="T5" fmla="*/ 1381 h 2368"/>
                <a:gd name="T6" fmla="*/ 3838 w 4857"/>
                <a:gd name="T7" fmla="*/ 1190 h 2368"/>
                <a:gd name="T8" fmla="*/ 3484 w 4857"/>
                <a:gd name="T9" fmla="*/ 1142 h 2368"/>
                <a:gd name="T10" fmla="*/ 3239 w 4857"/>
                <a:gd name="T11" fmla="*/ 1084 h 2368"/>
                <a:gd name="T12" fmla="*/ 2996 w 4857"/>
                <a:gd name="T13" fmla="*/ 984 h 2368"/>
                <a:gd name="T14" fmla="*/ 2787 w 4857"/>
                <a:gd name="T15" fmla="*/ 856 h 2368"/>
                <a:gd name="T16" fmla="*/ 2665 w 4857"/>
                <a:gd name="T17" fmla="*/ 620 h 2368"/>
                <a:gd name="T18" fmla="*/ 2737 w 4857"/>
                <a:gd name="T19" fmla="*/ 514 h 2368"/>
                <a:gd name="T20" fmla="*/ 2764 w 4857"/>
                <a:gd name="T21" fmla="*/ 339 h 2368"/>
                <a:gd name="T22" fmla="*/ 2718 w 4857"/>
                <a:gd name="T23" fmla="*/ 225 h 2368"/>
                <a:gd name="T24" fmla="*/ 2699 w 4857"/>
                <a:gd name="T25" fmla="*/ 159 h 2368"/>
                <a:gd name="T26" fmla="*/ 2219 w 4857"/>
                <a:gd name="T27" fmla="*/ 66 h 2368"/>
                <a:gd name="T28" fmla="*/ 1751 w 4857"/>
                <a:gd name="T29" fmla="*/ 170 h 2368"/>
                <a:gd name="T30" fmla="*/ 1459 w 4857"/>
                <a:gd name="T31" fmla="*/ 193 h 2368"/>
                <a:gd name="T32" fmla="*/ 1175 w 4857"/>
                <a:gd name="T33" fmla="*/ 92 h 2368"/>
                <a:gd name="T34" fmla="*/ 943 w 4857"/>
                <a:gd name="T35" fmla="*/ 170 h 2368"/>
                <a:gd name="T36" fmla="*/ 637 w 4857"/>
                <a:gd name="T37" fmla="*/ 41 h 2368"/>
                <a:gd name="T38" fmla="*/ 450 w 4857"/>
                <a:gd name="T39" fmla="*/ 267 h 2368"/>
                <a:gd name="T40" fmla="*/ 201 w 4857"/>
                <a:gd name="T41" fmla="*/ 304 h 2368"/>
                <a:gd name="T42" fmla="*/ 205 w 4857"/>
                <a:gd name="T43" fmla="*/ 493 h 2368"/>
                <a:gd name="T44" fmla="*/ 275 w 4857"/>
                <a:gd name="T45" fmla="*/ 689 h 2368"/>
                <a:gd name="T46" fmla="*/ 96 w 4857"/>
                <a:gd name="T47" fmla="*/ 678 h 2368"/>
                <a:gd name="T48" fmla="*/ 52 w 4857"/>
                <a:gd name="T49" fmla="*/ 837 h 2368"/>
                <a:gd name="T50" fmla="*/ 78 w 4857"/>
                <a:gd name="T51" fmla="*/ 975 h 2368"/>
                <a:gd name="T52" fmla="*/ 205 w 4857"/>
                <a:gd name="T53" fmla="*/ 1097 h 2368"/>
                <a:gd name="T54" fmla="*/ 406 w 4857"/>
                <a:gd name="T55" fmla="*/ 1275 h 2368"/>
                <a:gd name="T56" fmla="*/ 550 w 4857"/>
                <a:gd name="T57" fmla="*/ 1379 h 2368"/>
                <a:gd name="T58" fmla="*/ 768 w 4857"/>
                <a:gd name="T59" fmla="*/ 1445 h 2368"/>
                <a:gd name="T60" fmla="*/ 1039 w 4857"/>
                <a:gd name="T61" fmla="*/ 1731 h 2368"/>
                <a:gd name="T62" fmla="*/ 1175 w 4857"/>
                <a:gd name="T63" fmla="*/ 1809 h 2368"/>
                <a:gd name="T64" fmla="*/ 1380 w 4857"/>
                <a:gd name="T65" fmla="*/ 1923 h 2368"/>
                <a:gd name="T66" fmla="*/ 1511 w 4857"/>
                <a:gd name="T67" fmla="*/ 2012 h 2368"/>
                <a:gd name="T68" fmla="*/ 1651 w 4857"/>
                <a:gd name="T69" fmla="*/ 2105 h 2368"/>
                <a:gd name="T70" fmla="*/ 1856 w 4857"/>
                <a:gd name="T71" fmla="*/ 2164 h 2368"/>
                <a:gd name="T72" fmla="*/ 2131 w 4857"/>
                <a:gd name="T73" fmla="*/ 2172 h 2368"/>
                <a:gd name="T74" fmla="*/ 2245 w 4857"/>
                <a:gd name="T75" fmla="*/ 2316 h 2368"/>
                <a:gd name="T76" fmla="*/ 2586 w 4857"/>
                <a:gd name="T77" fmla="*/ 2127 h 2368"/>
                <a:gd name="T78" fmla="*/ 2795 w 4857"/>
                <a:gd name="T79" fmla="*/ 2227 h 2368"/>
                <a:gd name="T80" fmla="*/ 2983 w 4857"/>
                <a:gd name="T81" fmla="*/ 2309 h 2368"/>
                <a:gd name="T82" fmla="*/ 3241 w 4857"/>
                <a:gd name="T83" fmla="*/ 2268 h 2368"/>
                <a:gd name="T84" fmla="*/ 3538 w 4857"/>
                <a:gd name="T85" fmla="*/ 2101 h 2368"/>
                <a:gd name="T86" fmla="*/ 3914 w 4857"/>
                <a:gd name="T87" fmla="*/ 2057 h 2368"/>
                <a:gd name="T88" fmla="*/ 4154 w 4857"/>
                <a:gd name="T89" fmla="*/ 2001 h 2368"/>
                <a:gd name="T90" fmla="*/ 4211 w 4857"/>
                <a:gd name="T91" fmla="*/ 2094 h 2368"/>
                <a:gd name="T92" fmla="*/ 4246 w 4857"/>
                <a:gd name="T93" fmla="*/ 2220 h 2368"/>
                <a:gd name="T94" fmla="*/ 4447 w 4857"/>
                <a:gd name="T95" fmla="*/ 2220 h 2368"/>
                <a:gd name="T96" fmla="*/ 4594 w 4857"/>
                <a:gd name="T97" fmla="*/ 2315 h 2368"/>
                <a:gd name="T98" fmla="*/ 4722 w 4857"/>
                <a:gd name="T99" fmla="*/ 2268 h 2368"/>
                <a:gd name="T100" fmla="*/ 4770 w 4857"/>
                <a:gd name="T101" fmla="*/ 2072 h 2368"/>
                <a:gd name="T102" fmla="*/ 4822 w 4857"/>
                <a:gd name="T103" fmla="*/ 1820 h 2368"/>
                <a:gd name="T104" fmla="*/ 4730 w 4857"/>
                <a:gd name="T105" fmla="*/ 1564 h 2368"/>
                <a:gd name="T106" fmla="*/ 4704 w 4857"/>
                <a:gd name="T107" fmla="*/ 1367 h 2368"/>
                <a:gd name="T108" fmla="*/ 4481 w 4857"/>
                <a:gd name="T109" fmla="*/ 1186 h 2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57" h="2368">
                  <a:moveTo>
                    <a:pt x="4418" y="1148"/>
                  </a:moveTo>
                  <a:cubicBezTo>
                    <a:pt x="4385" y="1153"/>
                    <a:pt x="4402" y="1187"/>
                    <a:pt x="4415" y="1198"/>
                  </a:cubicBezTo>
                  <a:cubicBezTo>
                    <a:pt x="4428" y="1209"/>
                    <a:pt x="4418" y="1226"/>
                    <a:pt x="4405" y="1256"/>
                  </a:cubicBezTo>
                  <a:cubicBezTo>
                    <a:pt x="4392" y="1287"/>
                    <a:pt x="4392" y="1306"/>
                    <a:pt x="4366" y="1323"/>
                  </a:cubicBezTo>
                  <a:cubicBezTo>
                    <a:pt x="4339" y="1340"/>
                    <a:pt x="4343" y="1340"/>
                    <a:pt x="4303" y="1395"/>
                  </a:cubicBezTo>
                  <a:cubicBezTo>
                    <a:pt x="4264" y="1451"/>
                    <a:pt x="4244" y="1417"/>
                    <a:pt x="4222" y="1404"/>
                  </a:cubicBezTo>
                  <a:cubicBezTo>
                    <a:pt x="4199" y="1390"/>
                    <a:pt x="4199" y="1387"/>
                    <a:pt x="4166" y="1409"/>
                  </a:cubicBezTo>
                  <a:cubicBezTo>
                    <a:pt x="4133" y="1431"/>
                    <a:pt x="4127" y="1420"/>
                    <a:pt x="4104" y="1404"/>
                  </a:cubicBezTo>
                  <a:cubicBezTo>
                    <a:pt x="4081" y="1387"/>
                    <a:pt x="4068" y="1384"/>
                    <a:pt x="4032" y="1381"/>
                  </a:cubicBezTo>
                  <a:cubicBezTo>
                    <a:pt x="3995" y="1379"/>
                    <a:pt x="4012" y="1359"/>
                    <a:pt x="4002" y="1315"/>
                  </a:cubicBezTo>
                  <a:cubicBezTo>
                    <a:pt x="3992" y="1270"/>
                    <a:pt x="3943" y="1276"/>
                    <a:pt x="3920" y="1262"/>
                  </a:cubicBezTo>
                  <a:cubicBezTo>
                    <a:pt x="3897" y="1248"/>
                    <a:pt x="3881" y="1226"/>
                    <a:pt x="3838" y="1190"/>
                  </a:cubicBezTo>
                  <a:cubicBezTo>
                    <a:pt x="3796" y="1153"/>
                    <a:pt x="3740" y="1173"/>
                    <a:pt x="3701" y="1165"/>
                  </a:cubicBezTo>
                  <a:cubicBezTo>
                    <a:pt x="3661" y="1156"/>
                    <a:pt x="3648" y="1153"/>
                    <a:pt x="3609" y="1156"/>
                  </a:cubicBezTo>
                  <a:cubicBezTo>
                    <a:pt x="3570" y="1159"/>
                    <a:pt x="3537" y="1151"/>
                    <a:pt x="3484" y="1142"/>
                  </a:cubicBezTo>
                  <a:cubicBezTo>
                    <a:pt x="3432" y="1134"/>
                    <a:pt x="3435" y="1139"/>
                    <a:pt x="3393" y="1106"/>
                  </a:cubicBezTo>
                  <a:cubicBezTo>
                    <a:pt x="3350" y="1073"/>
                    <a:pt x="3344" y="1109"/>
                    <a:pt x="3301" y="1120"/>
                  </a:cubicBezTo>
                  <a:cubicBezTo>
                    <a:pt x="3258" y="1131"/>
                    <a:pt x="3258" y="1106"/>
                    <a:pt x="3239" y="1084"/>
                  </a:cubicBezTo>
                  <a:cubicBezTo>
                    <a:pt x="3219" y="1062"/>
                    <a:pt x="3193" y="1053"/>
                    <a:pt x="3173" y="1031"/>
                  </a:cubicBezTo>
                  <a:cubicBezTo>
                    <a:pt x="3154" y="1009"/>
                    <a:pt x="3111" y="1020"/>
                    <a:pt x="3078" y="1012"/>
                  </a:cubicBezTo>
                  <a:cubicBezTo>
                    <a:pt x="3045" y="1003"/>
                    <a:pt x="3016" y="1003"/>
                    <a:pt x="2996" y="984"/>
                  </a:cubicBezTo>
                  <a:cubicBezTo>
                    <a:pt x="2977" y="964"/>
                    <a:pt x="2914" y="975"/>
                    <a:pt x="2862" y="967"/>
                  </a:cubicBezTo>
                  <a:cubicBezTo>
                    <a:pt x="2810" y="959"/>
                    <a:pt x="2819" y="934"/>
                    <a:pt x="2816" y="906"/>
                  </a:cubicBezTo>
                  <a:cubicBezTo>
                    <a:pt x="2813" y="878"/>
                    <a:pt x="2806" y="875"/>
                    <a:pt x="2787" y="856"/>
                  </a:cubicBezTo>
                  <a:cubicBezTo>
                    <a:pt x="2767" y="836"/>
                    <a:pt x="2754" y="800"/>
                    <a:pt x="2747" y="773"/>
                  </a:cubicBezTo>
                  <a:cubicBezTo>
                    <a:pt x="2741" y="745"/>
                    <a:pt x="2711" y="709"/>
                    <a:pt x="2678" y="684"/>
                  </a:cubicBezTo>
                  <a:cubicBezTo>
                    <a:pt x="2646" y="659"/>
                    <a:pt x="2662" y="645"/>
                    <a:pt x="2665" y="620"/>
                  </a:cubicBezTo>
                  <a:cubicBezTo>
                    <a:pt x="2669" y="595"/>
                    <a:pt x="2656" y="564"/>
                    <a:pt x="2656" y="542"/>
                  </a:cubicBezTo>
                  <a:cubicBezTo>
                    <a:pt x="2656" y="520"/>
                    <a:pt x="2685" y="525"/>
                    <a:pt x="2708" y="533"/>
                  </a:cubicBezTo>
                  <a:cubicBezTo>
                    <a:pt x="2731" y="542"/>
                    <a:pt x="2737" y="531"/>
                    <a:pt x="2737" y="514"/>
                  </a:cubicBezTo>
                  <a:cubicBezTo>
                    <a:pt x="2737" y="497"/>
                    <a:pt x="2734" y="481"/>
                    <a:pt x="2721" y="456"/>
                  </a:cubicBezTo>
                  <a:cubicBezTo>
                    <a:pt x="2708" y="431"/>
                    <a:pt x="2734" y="420"/>
                    <a:pt x="2751" y="389"/>
                  </a:cubicBezTo>
                  <a:cubicBezTo>
                    <a:pt x="2767" y="358"/>
                    <a:pt x="2741" y="358"/>
                    <a:pt x="2764" y="339"/>
                  </a:cubicBezTo>
                  <a:cubicBezTo>
                    <a:pt x="2787" y="319"/>
                    <a:pt x="2793" y="303"/>
                    <a:pt x="2793" y="283"/>
                  </a:cubicBezTo>
                  <a:cubicBezTo>
                    <a:pt x="2793" y="264"/>
                    <a:pt x="2783" y="256"/>
                    <a:pt x="2760" y="247"/>
                  </a:cubicBezTo>
                  <a:cubicBezTo>
                    <a:pt x="2737" y="239"/>
                    <a:pt x="2728" y="247"/>
                    <a:pt x="2718" y="225"/>
                  </a:cubicBezTo>
                  <a:cubicBezTo>
                    <a:pt x="2708" y="203"/>
                    <a:pt x="2767" y="214"/>
                    <a:pt x="2787" y="186"/>
                  </a:cubicBezTo>
                  <a:cubicBezTo>
                    <a:pt x="2794" y="176"/>
                    <a:pt x="2794" y="162"/>
                    <a:pt x="2792" y="149"/>
                  </a:cubicBezTo>
                  <a:cubicBezTo>
                    <a:pt x="2760" y="144"/>
                    <a:pt x="2736" y="154"/>
                    <a:pt x="2699" y="159"/>
                  </a:cubicBezTo>
                  <a:cubicBezTo>
                    <a:pt x="2651" y="167"/>
                    <a:pt x="2638" y="144"/>
                    <a:pt x="2590" y="118"/>
                  </a:cubicBezTo>
                  <a:cubicBezTo>
                    <a:pt x="2542" y="92"/>
                    <a:pt x="2398" y="48"/>
                    <a:pt x="2328" y="37"/>
                  </a:cubicBezTo>
                  <a:cubicBezTo>
                    <a:pt x="2258" y="26"/>
                    <a:pt x="2258" y="41"/>
                    <a:pt x="2219" y="66"/>
                  </a:cubicBezTo>
                  <a:cubicBezTo>
                    <a:pt x="2179" y="92"/>
                    <a:pt x="2061" y="85"/>
                    <a:pt x="2000" y="81"/>
                  </a:cubicBezTo>
                  <a:cubicBezTo>
                    <a:pt x="1939" y="78"/>
                    <a:pt x="1904" y="122"/>
                    <a:pt x="1856" y="152"/>
                  </a:cubicBezTo>
                  <a:cubicBezTo>
                    <a:pt x="1808" y="181"/>
                    <a:pt x="1791" y="178"/>
                    <a:pt x="1751" y="170"/>
                  </a:cubicBezTo>
                  <a:cubicBezTo>
                    <a:pt x="1712" y="163"/>
                    <a:pt x="1703" y="167"/>
                    <a:pt x="1651" y="167"/>
                  </a:cubicBezTo>
                  <a:cubicBezTo>
                    <a:pt x="1598" y="167"/>
                    <a:pt x="1585" y="167"/>
                    <a:pt x="1546" y="196"/>
                  </a:cubicBezTo>
                  <a:cubicBezTo>
                    <a:pt x="1507" y="226"/>
                    <a:pt x="1481" y="215"/>
                    <a:pt x="1459" y="193"/>
                  </a:cubicBezTo>
                  <a:cubicBezTo>
                    <a:pt x="1437" y="170"/>
                    <a:pt x="1424" y="185"/>
                    <a:pt x="1371" y="178"/>
                  </a:cubicBezTo>
                  <a:cubicBezTo>
                    <a:pt x="1319" y="170"/>
                    <a:pt x="1323" y="137"/>
                    <a:pt x="1297" y="118"/>
                  </a:cubicBezTo>
                  <a:cubicBezTo>
                    <a:pt x="1271" y="100"/>
                    <a:pt x="1236" y="100"/>
                    <a:pt x="1175" y="92"/>
                  </a:cubicBezTo>
                  <a:cubicBezTo>
                    <a:pt x="1114" y="85"/>
                    <a:pt x="1131" y="107"/>
                    <a:pt x="1109" y="81"/>
                  </a:cubicBezTo>
                  <a:cubicBezTo>
                    <a:pt x="1087" y="55"/>
                    <a:pt x="1087" y="85"/>
                    <a:pt x="1044" y="89"/>
                  </a:cubicBezTo>
                  <a:cubicBezTo>
                    <a:pt x="1000" y="92"/>
                    <a:pt x="987" y="144"/>
                    <a:pt x="943" y="170"/>
                  </a:cubicBezTo>
                  <a:cubicBezTo>
                    <a:pt x="900" y="196"/>
                    <a:pt x="878" y="159"/>
                    <a:pt x="856" y="126"/>
                  </a:cubicBezTo>
                  <a:cubicBezTo>
                    <a:pt x="834" y="92"/>
                    <a:pt x="755" y="104"/>
                    <a:pt x="720" y="100"/>
                  </a:cubicBezTo>
                  <a:cubicBezTo>
                    <a:pt x="686" y="96"/>
                    <a:pt x="681" y="81"/>
                    <a:pt x="637" y="41"/>
                  </a:cubicBezTo>
                  <a:cubicBezTo>
                    <a:pt x="594" y="0"/>
                    <a:pt x="611" y="81"/>
                    <a:pt x="576" y="115"/>
                  </a:cubicBezTo>
                  <a:cubicBezTo>
                    <a:pt x="541" y="148"/>
                    <a:pt x="489" y="181"/>
                    <a:pt x="480" y="211"/>
                  </a:cubicBezTo>
                  <a:cubicBezTo>
                    <a:pt x="471" y="241"/>
                    <a:pt x="476" y="248"/>
                    <a:pt x="450" y="267"/>
                  </a:cubicBezTo>
                  <a:cubicBezTo>
                    <a:pt x="423" y="285"/>
                    <a:pt x="388" y="281"/>
                    <a:pt x="345" y="263"/>
                  </a:cubicBezTo>
                  <a:cubicBezTo>
                    <a:pt x="325" y="255"/>
                    <a:pt x="297" y="249"/>
                    <a:pt x="271" y="244"/>
                  </a:cubicBezTo>
                  <a:cubicBezTo>
                    <a:pt x="276" y="263"/>
                    <a:pt x="238" y="283"/>
                    <a:pt x="201" y="304"/>
                  </a:cubicBezTo>
                  <a:cubicBezTo>
                    <a:pt x="153" y="330"/>
                    <a:pt x="214" y="352"/>
                    <a:pt x="236" y="374"/>
                  </a:cubicBezTo>
                  <a:cubicBezTo>
                    <a:pt x="257" y="396"/>
                    <a:pt x="236" y="411"/>
                    <a:pt x="201" y="422"/>
                  </a:cubicBezTo>
                  <a:cubicBezTo>
                    <a:pt x="166" y="433"/>
                    <a:pt x="170" y="467"/>
                    <a:pt x="205" y="493"/>
                  </a:cubicBezTo>
                  <a:cubicBezTo>
                    <a:pt x="240" y="519"/>
                    <a:pt x="231" y="530"/>
                    <a:pt x="262" y="545"/>
                  </a:cubicBezTo>
                  <a:cubicBezTo>
                    <a:pt x="292" y="559"/>
                    <a:pt x="284" y="578"/>
                    <a:pt x="262" y="597"/>
                  </a:cubicBezTo>
                  <a:cubicBezTo>
                    <a:pt x="240" y="615"/>
                    <a:pt x="275" y="641"/>
                    <a:pt x="275" y="689"/>
                  </a:cubicBezTo>
                  <a:cubicBezTo>
                    <a:pt x="275" y="737"/>
                    <a:pt x="227" y="715"/>
                    <a:pt x="205" y="708"/>
                  </a:cubicBezTo>
                  <a:cubicBezTo>
                    <a:pt x="183" y="700"/>
                    <a:pt x="174" y="723"/>
                    <a:pt x="144" y="730"/>
                  </a:cubicBezTo>
                  <a:cubicBezTo>
                    <a:pt x="113" y="737"/>
                    <a:pt x="105" y="708"/>
                    <a:pt x="96" y="678"/>
                  </a:cubicBezTo>
                  <a:cubicBezTo>
                    <a:pt x="87" y="648"/>
                    <a:pt x="43" y="652"/>
                    <a:pt x="22" y="671"/>
                  </a:cubicBezTo>
                  <a:cubicBezTo>
                    <a:pt x="0" y="689"/>
                    <a:pt x="13" y="730"/>
                    <a:pt x="26" y="756"/>
                  </a:cubicBezTo>
                  <a:cubicBezTo>
                    <a:pt x="39" y="782"/>
                    <a:pt x="65" y="811"/>
                    <a:pt x="52" y="837"/>
                  </a:cubicBezTo>
                  <a:cubicBezTo>
                    <a:pt x="39" y="863"/>
                    <a:pt x="30" y="867"/>
                    <a:pt x="52" y="900"/>
                  </a:cubicBezTo>
                  <a:cubicBezTo>
                    <a:pt x="74" y="934"/>
                    <a:pt x="35" y="938"/>
                    <a:pt x="39" y="960"/>
                  </a:cubicBezTo>
                  <a:cubicBezTo>
                    <a:pt x="43" y="982"/>
                    <a:pt x="70" y="989"/>
                    <a:pt x="78" y="975"/>
                  </a:cubicBezTo>
                  <a:cubicBezTo>
                    <a:pt x="87" y="960"/>
                    <a:pt x="109" y="967"/>
                    <a:pt x="122" y="978"/>
                  </a:cubicBezTo>
                  <a:cubicBezTo>
                    <a:pt x="135" y="989"/>
                    <a:pt x="148" y="1049"/>
                    <a:pt x="153" y="1071"/>
                  </a:cubicBezTo>
                  <a:cubicBezTo>
                    <a:pt x="157" y="1093"/>
                    <a:pt x="188" y="1112"/>
                    <a:pt x="205" y="1097"/>
                  </a:cubicBezTo>
                  <a:cubicBezTo>
                    <a:pt x="222" y="1082"/>
                    <a:pt x="244" y="1112"/>
                    <a:pt x="266" y="1138"/>
                  </a:cubicBezTo>
                  <a:cubicBezTo>
                    <a:pt x="288" y="1164"/>
                    <a:pt x="327" y="1201"/>
                    <a:pt x="340" y="1230"/>
                  </a:cubicBezTo>
                  <a:cubicBezTo>
                    <a:pt x="354" y="1260"/>
                    <a:pt x="406" y="1264"/>
                    <a:pt x="406" y="1275"/>
                  </a:cubicBezTo>
                  <a:cubicBezTo>
                    <a:pt x="406" y="1286"/>
                    <a:pt x="445" y="1304"/>
                    <a:pt x="467" y="1327"/>
                  </a:cubicBezTo>
                  <a:cubicBezTo>
                    <a:pt x="489" y="1349"/>
                    <a:pt x="493" y="1342"/>
                    <a:pt x="493" y="1390"/>
                  </a:cubicBezTo>
                  <a:cubicBezTo>
                    <a:pt x="493" y="1438"/>
                    <a:pt x="541" y="1397"/>
                    <a:pt x="550" y="1379"/>
                  </a:cubicBezTo>
                  <a:cubicBezTo>
                    <a:pt x="559" y="1360"/>
                    <a:pt x="611" y="1345"/>
                    <a:pt x="637" y="1319"/>
                  </a:cubicBezTo>
                  <a:cubicBezTo>
                    <a:pt x="664" y="1293"/>
                    <a:pt x="672" y="1356"/>
                    <a:pt x="694" y="1390"/>
                  </a:cubicBezTo>
                  <a:cubicBezTo>
                    <a:pt x="716" y="1423"/>
                    <a:pt x="729" y="1397"/>
                    <a:pt x="768" y="1445"/>
                  </a:cubicBezTo>
                  <a:cubicBezTo>
                    <a:pt x="808" y="1493"/>
                    <a:pt x="812" y="1464"/>
                    <a:pt x="856" y="1505"/>
                  </a:cubicBezTo>
                  <a:cubicBezTo>
                    <a:pt x="900" y="1545"/>
                    <a:pt x="939" y="1564"/>
                    <a:pt x="974" y="1582"/>
                  </a:cubicBezTo>
                  <a:cubicBezTo>
                    <a:pt x="1009" y="1601"/>
                    <a:pt x="1017" y="1694"/>
                    <a:pt x="1039" y="1731"/>
                  </a:cubicBezTo>
                  <a:cubicBezTo>
                    <a:pt x="1061" y="1768"/>
                    <a:pt x="1109" y="1723"/>
                    <a:pt x="1135" y="1690"/>
                  </a:cubicBezTo>
                  <a:cubicBezTo>
                    <a:pt x="1162" y="1657"/>
                    <a:pt x="1170" y="1712"/>
                    <a:pt x="1170" y="1723"/>
                  </a:cubicBezTo>
                  <a:cubicBezTo>
                    <a:pt x="1170" y="1734"/>
                    <a:pt x="1175" y="1783"/>
                    <a:pt x="1175" y="1809"/>
                  </a:cubicBezTo>
                  <a:cubicBezTo>
                    <a:pt x="1175" y="1834"/>
                    <a:pt x="1236" y="1849"/>
                    <a:pt x="1271" y="1860"/>
                  </a:cubicBezTo>
                  <a:cubicBezTo>
                    <a:pt x="1306" y="1872"/>
                    <a:pt x="1310" y="1905"/>
                    <a:pt x="1358" y="1901"/>
                  </a:cubicBezTo>
                  <a:cubicBezTo>
                    <a:pt x="1406" y="1897"/>
                    <a:pt x="1389" y="1912"/>
                    <a:pt x="1380" y="1923"/>
                  </a:cubicBezTo>
                  <a:cubicBezTo>
                    <a:pt x="1371" y="1935"/>
                    <a:pt x="1398" y="1957"/>
                    <a:pt x="1398" y="1972"/>
                  </a:cubicBezTo>
                  <a:cubicBezTo>
                    <a:pt x="1398" y="1986"/>
                    <a:pt x="1441" y="2001"/>
                    <a:pt x="1459" y="1990"/>
                  </a:cubicBezTo>
                  <a:cubicBezTo>
                    <a:pt x="1476" y="1979"/>
                    <a:pt x="1494" y="1998"/>
                    <a:pt x="1511" y="2012"/>
                  </a:cubicBezTo>
                  <a:cubicBezTo>
                    <a:pt x="1529" y="2027"/>
                    <a:pt x="1559" y="2023"/>
                    <a:pt x="1555" y="2061"/>
                  </a:cubicBezTo>
                  <a:cubicBezTo>
                    <a:pt x="1594" y="2142"/>
                    <a:pt x="1598" y="2094"/>
                    <a:pt x="1612" y="2072"/>
                  </a:cubicBezTo>
                  <a:cubicBezTo>
                    <a:pt x="1625" y="2049"/>
                    <a:pt x="1633" y="2075"/>
                    <a:pt x="1651" y="2105"/>
                  </a:cubicBezTo>
                  <a:cubicBezTo>
                    <a:pt x="1668" y="2135"/>
                    <a:pt x="1725" y="2094"/>
                    <a:pt x="1747" y="2079"/>
                  </a:cubicBezTo>
                  <a:cubicBezTo>
                    <a:pt x="1769" y="2064"/>
                    <a:pt x="1782" y="2101"/>
                    <a:pt x="1786" y="2116"/>
                  </a:cubicBezTo>
                  <a:cubicBezTo>
                    <a:pt x="1791" y="2131"/>
                    <a:pt x="1843" y="2142"/>
                    <a:pt x="1856" y="2164"/>
                  </a:cubicBezTo>
                  <a:cubicBezTo>
                    <a:pt x="1869" y="2187"/>
                    <a:pt x="1895" y="2187"/>
                    <a:pt x="1948" y="2172"/>
                  </a:cubicBezTo>
                  <a:cubicBezTo>
                    <a:pt x="2000" y="2157"/>
                    <a:pt x="1992" y="2190"/>
                    <a:pt x="2040" y="2194"/>
                  </a:cubicBezTo>
                  <a:cubicBezTo>
                    <a:pt x="2088" y="2198"/>
                    <a:pt x="2079" y="2172"/>
                    <a:pt x="2131" y="2172"/>
                  </a:cubicBezTo>
                  <a:cubicBezTo>
                    <a:pt x="2184" y="2172"/>
                    <a:pt x="2179" y="2172"/>
                    <a:pt x="2214" y="2146"/>
                  </a:cubicBezTo>
                  <a:cubicBezTo>
                    <a:pt x="2249" y="2120"/>
                    <a:pt x="2267" y="2168"/>
                    <a:pt x="2284" y="2205"/>
                  </a:cubicBezTo>
                  <a:cubicBezTo>
                    <a:pt x="2302" y="2242"/>
                    <a:pt x="2241" y="2264"/>
                    <a:pt x="2245" y="2316"/>
                  </a:cubicBezTo>
                  <a:cubicBezTo>
                    <a:pt x="2249" y="2368"/>
                    <a:pt x="2337" y="2283"/>
                    <a:pt x="2350" y="2264"/>
                  </a:cubicBezTo>
                  <a:cubicBezTo>
                    <a:pt x="2363" y="2246"/>
                    <a:pt x="2420" y="2194"/>
                    <a:pt x="2446" y="2164"/>
                  </a:cubicBezTo>
                  <a:cubicBezTo>
                    <a:pt x="2472" y="2135"/>
                    <a:pt x="2542" y="2142"/>
                    <a:pt x="2586" y="2127"/>
                  </a:cubicBezTo>
                  <a:cubicBezTo>
                    <a:pt x="2629" y="2112"/>
                    <a:pt x="2647" y="2153"/>
                    <a:pt x="2660" y="2175"/>
                  </a:cubicBezTo>
                  <a:cubicBezTo>
                    <a:pt x="2673" y="2198"/>
                    <a:pt x="2664" y="2198"/>
                    <a:pt x="2704" y="2198"/>
                  </a:cubicBezTo>
                  <a:cubicBezTo>
                    <a:pt x="2743" y="2198"/>
                    <a:pt x="2773" y="2205"/>
                    <a:pt x="2795" y="2227"/>
                  </a:cubicBezTo>
                  <a:cubicBezTo>
                    <a:pt x="2817" y="2250"/>
                    <a:pt x="2861" y="2246"/>
                    <a:pt x="2874" y="2224"/>
                  </a:cubicBezTo>
                  <a:cubicBezTo>
                    <a:pt x="2887" y="2201"/>
                    <a:pt x="2922" y="2227"/>
                    <a:pt x="2966" y="2253"/>
                  </a:cubicBezTo>
                  <a:cubicBezTo>
                    <a:pt x="3009" y="2279"/>
                    <a:pt x="2974" y="2287"/>
                    <a:pt x="2983" y="2309"/>
                  </a:cubicBezTo>
                  <a:cubicBezTo>
                    <a:pt x="2992" y="2331"/>
                    <a:pt x="3057" y="2339"/>
                    <a:pt x="3071" y="2316"/>
                  </a:cubicBezTo>
                  <a:cubicBezTo>
                    <a:pt x="3084" y="2294"/>
                    <a:pt x="3114" y="2305"/>
                    <a:pt x="3140" y="2320"/>
                  </a:cubicBezTo>
                  <a:cubicBezTo>
                    <a:pt x="3167" y="2335"/>
                    <a:pt x="3223" y="2305"/>
                    <a:pt x="3241" y="2268"/>
                  </a:cubicBezTo>
                  <a:cubicBezTo>
                    <a:pt x="3258" y="2231"/>
                    <a:pt x="3237" y="2227"/>
                    <a:pt x="3285" y="2220"/>
                  </a:cubicBezTo>
                  <a:cubicBezTo>
                    <a:pt x="3333" y="2213"/>
                    <a:pt x="3341" y="2179"/>
                    <a:pt x="3376" y="2138"/>
                  </a:cubicBezTo>
                  <a:cubicBezTo>
                    <a:pt x="3411" y="2098"/>
                    <a:pt x="3481" y="2112"/>
                    <a:pt x="3538" y="2101"/>
                  </a:cubicBezTo>
                  <a:cubicBezTo>
                    <a:pt x="3595" y="2090"/>
                    <a:pt x="3630" y="2038"/>
                    <a:pt x="3700" y="1990"/>
                  </a:cubicBezTo>
                  <a:cubicBezTo>
                    <a:pt x="3769" y="1942"/>
                    <a:pt x="3796" y="2005"/>
                    <a:pt x="3813" y="2016"/>
                  </a:cubicBezTo>
                  <a:cubicBezTo>
                    <a:pt x="3831" y="2027"/>
                    <a:pt x="3887" y="2031"/>
                    <a:pt x="3914" y="2057"/>
                  </a:cubicBezTo>
                  <a:cubicBezTo>
                    <a:pt x="3940" y="2083"/>
                    <a:pt x="3949" y="2035"/>
                    <a:pt x="3975" y="2009"/>
                  </a:cubicBezTo>
                  <a:cubicBezTo>
                    <a:pt x="4001" y="1983"/>
                    <a:pt x="4023" y="1975"/>
                    <a:pt x="4058" y="1960"/>
                  </a:cubicBezTo>
                  <a:cubicBezTo>
                    <a:pt x="4093" y="1946"/>
                    <a:pt x="4132" y="1975"/>
                    <a:pt x="4154" y="2001"/>
                  </a:cubicBezTo>
                  <a:cubicBezTo>
                    <a:pt x="4176" y="2027"/>
                    <a:pt x="4132" y="2027"/>
                    <a:pt x="4119" y="2061"/>
                  </a:cubicBezTo>
                  <a:cubicBezTo>
                    <a:pt x="4106" y="2094"/>
                    <a:pt x="4154" y="2086"/>
                    <a:pt x="4167" y="2064"/>
                  </a:cubicBezTo>
                  <a:cubicBezTo>
                    <a:pt x="4180" y="2042"/>
                    <a:pt x="4202" y="2064"/>
                    <a:pt x="4211" y="2094"/>
                  </a:cubicBezTo>
                  <a:cubicBezTo>
                    <a:pt x="4219" y="2124"/>
                    <a:pt x="4228" y="2127"/>
                    <a:pt x="4206" y="2150"/>
                  </a:cubicBezTo>
                  <a:cubicBezTo>
                    <a:pt x="4184" y="2172"/>
                    <a:pt x="4167" y="2168"/>
                    <a:pt x="4158" y="2205"/>
                  </a:cubicBezTo>
                  <a:cubicBezTo>
                    <a:pt x="4149" y="2242"/>
                    <a:pt x="4228" y="2205"/>
                    <a:pt x="4246" y="2220"/>
                  </a:cubicBezTo>
                  <a:cubicBezTo>
                    <a:pt x="4263" y="2235"/>
                    <a:pt x="4285" y="2253"/>
                    <a:pt x="4320" y="2250"/>
                  </a:cubicBezTo>
                  <a:cubicBezTo>
                    <a:pt x="4355" y="2246"/>
                    <a:pt x="4346" y="2242"/>
                    <a:pt x="4385" y="2268"/>
                  </a:cubicBezTo>
                  <a:cubicBezTo>
                    <a:pt x="4425" y="2294"/>
                    <a:pt x="4425" y="2246"/>
                    <a:pt x="4447" y="2220"/>
                  </a:cubicBezTo>
                  <a:cubicBezTo>
                    <a:pt x="4468" y="2194"/>
                    <a:pt x="4495" y="2209"/>
                    <a:pt x="4508" y="2235"/>
                  </a:cubicBezTo>
                  <a:cubicBezTo>
                    <a:pt x="4521" y="2261"/>
                    <a:pt x="4530" y="2250"/>
                    <a:pt x="4564" y="2272"/>
                  </a:cubicBezTo>
                  <a:cubicBezTo>
                    <a:pt x="4585" y="2285"/>
                    <a:pt x="4590" y="2296"/>
                    <a:pt x="4594" y="2315"/>
                  </a:cubicBezTo>
                  <a:cubicBezTo>
                    <a:pt x="4599" y="2309"/>
                    <a:pt x="4605" y="2302"/>
                    <a:pt x="4613" y="2294"/>
                  </a:cubicBezTo>
                  <a:cubicBezTo>
                    <a:pt x="4656" y="2246"/>
                    <a:pt x="4639" y="2290"/>
                    <a:pt x="4674" y="2305"/>
                  </a:cubicBezTo>
                  <a:cubicBezTo>
                    <a:pt x="4709" y="2320"/>
                    <a:pt x="4717" y="2301"/>
                    <a:pt x="4722" y="2268"/>
                  </a:cubicBezTo>
                  <a:cubicBezTo>
                    <a:pt x="4726" y="2235"/>
                    <a:pt x="4713" y="2183"/>
                    <a:pt x="4713" y="2142"/>
                  </a:cubicBezTo>
                  <a:cubicBezTo>
                    <a:pt x="4713" y="2101"/>
                    <a:pt x="4726" y="2124"/>
                    <a:pt x="4770" y="2112"/>
                  </a:cubicBezTo>
                  <a:cubicBezTo>
                    <a:pt x="4813" y="2101"/>
                    <a:pt x="4770" y="2112"/>
                    <a:pt x="4770" y="2072"/>
                  </a:cubicBezTo>
                  <a:cubicBezTo>
                    <a:pt x="4770" y="2031"/>
                    <a:pt x="4796" y="2053"/>
                    <a:pt x="4827" y="2035"/>
                  </a:cubicBezTo>
                  <a:cubicBezTo>
                    <a:pt x="4857" y="2016"/>
                    <a:pt x="4827" y="2001"/>
                    <a:pt x="4818" y="1968"/>
                  </a:cubicBezTo>
                  <a:cubicBezTo>
                    <a:pt x="4809" y="1935"/>
                    <a:pt x="4827" y="1857"/>
                    <a:pt x="4822" y="1820"/>
                  </a:cubicBezTo>
                  <a:cubicBezTo>
                    <a:pt x="4818" y="1783"/>
                    <a:pt x="4822" y="1771"/>
                    <a:pt x="4818" y="1731"/>
                  </a:cubicBezTo>
                  <a:cubicBezTo>
                    <a:pt x="4813" y="1690"/>
                    <a:pt x="4796" y="1660"/>
                    <a:pt x="4792" y="1631"/>
                  </a:cubicBezTo>
                  <a:cubicBezTo>
                    <a:pt x="4787" y="1601"/>
                    <a:pt x="4752" y="1594"/>
                    <a:pt x="4730" y="1564"/>
                  </a:cubicBezTo>
                  <a:cubicBezTo>
                    <a:pt x="4709" y="1534"/>
                    <a:pt x="4744" y="1542"/>
                    <a:pt x="4792" y="1531"/>
                  </a:cubicBezTo>
                  <a:cubicBezTo>
                    <a:pt x="4840" y="1519"/>
                    <a:pt x="4774" y="1475"/>
                    <a:pt x="4744" y="1449"/>
                  </a:cubicBezTo>
                  <a:cubicBezTo>
                    <a:pt x="4713" y="1423"/>
                    <a:pt x="4709" y="1408"/>
                    <a:pt x="4704" y="1367"/>
                  </a:cubicBezTo>
                  <a:cubicBezTo>
                    <a:pt x="4700" y="1327"/>
                    <a:pt x="4656" y="1312"/>
                    <a:pt x="4647" y="1264"/>
                  </a:cubicBezTo>
                  <a:cubicBezTo>
                    <a:pt x="4639" y="1215"/>
                    <a:pt x="4608" y="1230"/>
                    <a:pt x="4582" y="1227"/>
                  </a:cubicBezTo>
                  <a:cubicBezTo>
                    <a:pt x="4556" y="1223"/>
                    <a:pt x="4516" y="1193"/>
                    <a:pt x="4481" y="1186"/>
                  </a:cubicBezTo>
                  <a:cubicBezTo>
                    <a:pt x="4454" y="1180"/>
                    <a:pt x="4462" y="1168"/>
                    <a:pt x="4478" y="1157"/>
                  </a:cubicBezTo>
                  <a:cubicBezTo>
                    <a:pt x="4460" y="1150"/>
                    <a:pt x="4440" y="1144"/>
                    <a:pt x="4418" y="1148"/>
                  </a:cubicBezTo>
                  <a:close/>
                </a:path>
              </a:pathLst>
            </a:custGeom>
            <a:solidFill>
              <a:schemeClr val="accent1"/>
            </a:solid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49" name="Freeform 8">
              <a:extLst>
                <a:ext uri="{FF2B5EF4-FFF2-40B4-BE49-F238E27FC236}">
                  <a16:creationId xmlns:a16="http://schemas.microsoft.com/office/drawing/2014/main" id="{C12774A3-BE1E-D642-A07D-D5E0373CE24F}"/>
                </a:ext>
              </a:extLst>
            </p:cNvPr>
            <p:cNvSpPr>
              <a:spLocks/>
            </p:cNvSpPr>
            <p:nvPr/>
          </p:nvSpPr>
          <p:spPr bwMode="auto">
            <a:xfrm>
              <a:off x="1496" y="1832"/>
              <a:ext cx="1455" cy="934"/>
            </a:xfrm>
            <a:custGeom>
              <a:avLst/>
              <a:gdLst>
                <a:gd name="T0" fmla="*/ 3054 w 3142"/>
                <a:gd name="T1" fmla="*/ 771 h 2018"/>
                <a:gd name="T2" fmla="*/ 2993 w 3142"/>
                <a:gd name="T3" fmla="*/ 656 h 2018"/>
                <a:gd name="T4" fmla="*/ 2875 w 3142"/>
                <a:gd name="T5" fmla="*/ 478 h 2018"/>
                <a:gd name="T6" fmla="*/ 2652 w 3142"/>
                <a:gd name="T7" fmla="*/ 396 h 2018"/>
                <a:gd name="T8" fmla="*/ 2460 w 3142"/>
                <a:gd name="T9" fmla="*/ 204 h 2018"/>
                <a:gd name="T10" fmla="*/ 2298 w 3142"/>
                <a:gd name="T11" fmla="*/ 200 h 2018"/>
                <a:gd name="T12" fmla="*/ 2023 w 3142"/>
                <a:gd name="T13" fmla="*/ 152 h 2018"/>
                <a:gd name="T14" fmla="*/ 1700 w 3142"/>
                <a:gd name="T15" fmla="*/ 185 h 2018"/>
                <a:gd name="T16" fmla="*/ 1482 w 3142"/>
                <a:gd name="T17" fmla="*/ 118 h 2018"/>
                <a:gd name="T18" fmla="*/ 1206 w 3142"/>
                <a:gd name="T19" fmla="*/ 40 h 2018"/>
                <a:gd name="T20" fmla="*/ 988 w 3142"/>
                <a:gd name="T21" fmla="*/ 59 h 2018"/>
                <a:gd name="T22" fmla="*/ 761 w 3142"/>
                <a:gd name="T23" fmla="*/ 85 h 2018"/>
                <a:gd name="T24" fmla="*/ 451 w 3142"/>
                <a:gd name="T25" fmla="*/ 133 h 2018"/>
                <a:gd name="T26" fmla="*/ 298 w 3142"/>
                <a:gd name="T27" fmla="*/ 333 h 2018"/>
                <a:gd name="T28" fmla="*/ 490 w 3142"/>
                <a:gd name="T29" fmla="*/ 463 h 2018"/>
                <a:gd name="T30" fmla="*/ 433 w 3142"/>
                <a:gd name="T31" fmla="*/ 574 h 2018"/>
                <a:gd name="T32" fmla="*/ 411 w 3142"/>
                <a:gd name="T33" fmla="*/ 689 h 2018"/>
                <a:gd name="T34" fmla="*/ 333 w 3142"/>
                <a:gd name="T35" fmla="*/ 752 h 2018"/>
                <a:gd name="T36" fmla="*/ 146 w 3142"/>
                <a:gd name="T37" fmla="*/ 716 h 2018"/>
                <a:gd name="T38" fmla="*/ 72 w 3142"/>
                <a:gd name="T39" fmla="*/ 792 h 2018"/>
                <a:gd name="T40" fmla="*/ 147 w 3142"/>
                <a:gd name="T41" fmla="*/ 850 h 2018"/>
                <a:gd name="T42" fmla="*/ 105 w 3142"/>
                <a:gd name="T43" fmla="*/ 956 h 2018"/>
                <a:gd name="T44" fmla="*/ 91 w 3142"/>
                <a:gd name="T45" fmla="*/ 1081 h 2018"/>
                <a:gd name="T46" fmla="*/ 10 w 3142"/>
                <a:gd name="T47" fmla="*/ 1109 h 2018"/>
                <a:gd name="T48" fmla="*/ 32 w 3142"/>
                <a:gd name="T49" fmla="*/ 1251 h 2018"/>
                <a:gd name="T50" fmla="*/ 141 w 3142"/>
                <a:gd name="T51" fmla="*/ 1423 h 2018"/>
                <a:gd name="T52" fmla="*/ 216 w 3142"/>
                <a:gd name="T53" fmla="*/ 1534 h 2018"/>
                <a:gd name="T54" fmla="*/ 432 w 3142"/>
                <a:gd name="T55" fmla="*/ 1579 h 2018"/>
                <a:gd name="T56" fmla="*/ 593 w 3142"/>
                <a:gd name="T57" fmla="*/ 1651 h 2018"/>
                <a:gd name="T58" fmla="*/ 747 w 3142"/>
                <a:gd name="T59" fmla="*/ 1673 h 2018"/>
                <a:gd name="T60" fmla="*/ 963 w 3142"/>
                <a:gd name="T61" fmla="*/ 1723 h 2018"/>
                <a:gd name="T62" fmla="*/ 1192 w 3142"/>
                <a:gd name="T63" fmla="*/ 1757 h 2018"/>
                <a:gd name="T64" fmla="*/ 1356 w 3142"/>
                <a:gd name="T65" fmla="*/ 1882 h 2018"/>
                <a:gd name="T66" fmla="*/ 1458 w 3142"/>
                <a:gd name="T67" fmla="*/ 1971 h 2018"/>
                <a:gd name="T68" fmla="*/ 1576 w 3142"/>
                <a:gd name="T69" fmla="*/ 1971 h 2018"/>
                <a:gd name="T70" fmla="*/ 1720 w 3142"/>
                <a:gd name="T71" fmla="*/ 1890 h 2018"/>
                <a:gd name="T72" fmla="*/ 1769 w 3142"/>
                <a:gd name="T73" fmla="*/ 1765 h 2018"/>
                <a:gd name="T74" fmla="*/ 1832 w 3142"/>
                <a:gd name="T75" fmla="*/ 1724 h 2018"/>
                <a:gd name="T76" fmla="*/ 1853 w 3142"/>
                <a:gd name="T77" fmla="*/ 1631 h 2018"/>
                <a:gd name="T78" fmla="*/ 2036 w 3142"/>
                <a:gd name="T79" fmla="*/ 1586 h 2018"/>
                <a:gd name="T80" fmla="*/ 2189 w 3142"/>
                <a:gd name="T81" fmla="*/ 1597 h 2018"/>
                <a:gd name="T82" fmla="*/ 2347 w 3142"/>
                <a:gd name="T83" fmla="*/ 1597 h 2018"/>
                <a:gd name="T84" fmla="*/ 2499 w 3142"/>
                <a:gd name="T85" fmla="*/ 1738 h 2018"/>
                <a:gd name="T86" fmla="*/ 2661 w 3142"/>
                <a:gd name="T87" fmla="*/ 1686 h 2018"/>
                <a:gd name="T88" fmla="*/ 2805 w 3142"/>
                <a:gd name="T89" fmla="*/ 1649 h 2018"/>
                <a:gd name="T90" fmla="*/ 2949 w 3142"/>
                <a:gd name="T91" fmla="*/ 1656 h 2018"/>
                <a:gd name="T92" fmla="*/ 3011 w 3142"/>
                <a:gd name="T93" fmla="*/ 1530 h 2018"/>
                <a:gd name="T94" fmla="*/ 2831 w 3142"/>
                <a:gd name="T95" fmla="*/ 1441 h 2018"/>
                <a:gd name="T96" fmla="*/ 2661 w 3142"/>
                <a:gd name="T97" fmla="*/ 1323 h 2018"/>
                <a:gd name="T98" fmla="*/ 2818 w 3142"/>
                <a:gd name="T99" fmla="*/ 1382 h 2018"/>
                <a:gd name="T100" fmla="*/ 2884 w 3142"/>
                <a:gd name="T101" fmla="*/ 1234 h 2018"/>
                <a:gd name="T102" fmla="*/ 2976 w 3142"/>
                <a:gd name="T103" fmla="*/ 1115 h 2018"/>
                <a:gd name="T104" fmla="*/ 3032 w 3142"/>
                <a:gd name="T105" fmla="*/ 1026 h 2018"/>
                <a:gd name="T106" fmla="*/ 3089 w 3142"/>
                <a:gd name="T107" fmla="*/ 997 h 2018"/>
                <a:gd name="T108" fmla="*/ 3085 w 3142"/>
                <a:gd name="T109" fmla="*/ 823 h 2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42" h="2018">
                  <a:moveTo>
                    <a:pt x="3085" y="823"/>
                  </a:moveTo>
                  <a:cubicBezTo>
                    <a:pt x="3054" y="797"/>
                    <a:pt x="3054" y="789"/>
                    <a:pt x="3054" y="771"/>
                  </a:cubicBezTo>
                  <a:cubicBezTo>
                    <a:pt x="3054" y="752"/>
                    <a:pt x="3063" y="726"/>
                    <a:pt x="3032" y="708"/>
                  </a:cubicBezTo>
                  <a:cubicBezTo>
                    <a:pt x="2962" y="682"/>
                    <a:pt x="2976" y="678"/>
                    <a:pt x="2993" y="656"/>
                  </a:cubicBezTo>
                  <a:cubicBezTo>
                    <a:pt x="3011" y="633"/>
                    <a:pt x="2980" y="604"/>
                    <a:pt x="2971" y="574"/>
                  </a:cubicBezTo>
                  <a:cubicBezTo>
                    <a:pt x="2962" y="545"/>
                    <a:pt x="2901" y="530"/>
                    <a:pt x="2875" y="478"/>
                  </a:cubicBezTo>
                  <a:cubicBezTo>
                    <a:pt x="2849" y="426"/>
                    <a:pt x="2796" y="489"/>
                    <a:pt x="2762" y="496"/>
                  </a:cubicBezTo>
                  <a:cubicBezTo>
                    <a:pt x="2727" y="504"/>
                    <a:pt x="2679" y="426"/>
                    <a:pt x="2652" y="396"/>
                  </a:cubicBezTo>
                  <a:cubicBezTo>
                    <a:pt x="2626" y="367"/>
                    <a:pt x="2547" y="348"/>
                    <a:pt x="2499" y="330"/>
                  </a:cubicBezTo>
                  <a:cubicBezTo>
                    <a:pt x="2451" y="311"/>
                    <a:pt x="2464" y="244"/>
                    <a:pt x="2460" y="204"/>
                  </a:cubicBezTo>
                  <a:cubicBezTo>
                    <a:pt x="2456" y="163"/>
                    <a:pt x="2403" y="207"/>
                    <a:pt x="2360" y="226"/>
                  </a:cubicBezTo>
                  <a:cubicBezTo>
                    <a:pt x="2316" y="244"/>
                    <a:pt x="2303" y="229"/>
                    <a:pt x="2298" y="200"/>
                  </a:cubicBezTo>
                  <a:cubicBezTo>
                    <a:pt x="2294" y="170"/>
                    <a:pt x="2224" y="170"/>
                    <a:pt x="2141" y="126"/>
                  </a:cubicBezTo>
                  <a:cubicBezTo>
                    <a:pt x="2058" y="81"/>
                    <a:pt x="2050" y="122"/>
                    <a:pt x="2023" y="152"/>
                  </a:cubicBezTo>
                  <a:cubicBezTo>
                    <a:pt x="1997" y="181"/>
                    <a:pt x="1910" y="144"/>
                    <a:pt x="1844" y="133"/>
                  </a:cubicBezTo>
                  <a:cubicBezTo>
                    <a:pt x="1779" y="122"/>
                    <a:pt x="1770" y="159"/>
                    <a:pt x="1700" y="185"/>
                  </a:cubicBezTo>
                  <a:cubicBezTo>
                    <a:pt x="1630" y="211"/>
                    <a:pt x="1639" y="215"/>
                    <a:pt x="1595" y="207"/>
                  </a:cubicBezTo>
                  <a:cubicBezTo>
                    <a:pt x="1552" y="200"/>
                    <a:pt x="1517" y="166"/>
                    <a:pt x="1482" y="118"/>
                  </a:cubicBezTo>
                  <a:cubicBezTo>
                    <a:pt x="1447" y="70"/>
                    <a:pt x="1420" y="96"/>
                    <a:pt x="1368" y="92"/>
                  </a:cubicBezTo>
                  <a:cubicBezTo>
                    <a:pt x="1316" y="89"/>
                    <a:pt x="1263" y="48"/>
                    <a:pt x="1206" y="40"/>
                  </a:cubicBezTo>
                  <a:cubicBezTo>
                    <a:pt x="1150" y="33"/>
                    <a:pt x="1080" y="59"/>
                    <a:pt x="1045" y="29"/>
                  </a:cubicBezTo>
                  <a:cubicBezTo>
                    <a:pt x="1010" y="0"/>
                    <a:pt x="1010" y="29"/>
                    <a:pt x="988" y="59"/>
                  </a:cubicBezTo>
                  <a:cubicBezTo>
                    <a:pt x="966" y="89"/>
                    <a:pt x="927" y="66"/>
                    <a:pt x="879" y="63"/>
                  </a:cubicBezTo>
                  <a:cubicBezTo>
                    <a:pt x="831" y="59"/>
                    <a:pt x="822" y="81"/>
                    <a:pt x="761" y="85"/>
                  </a:cubicBezTo>
                  <a:cubicBezTo>
                    <a:pt x="700" y="89"/>
                    <a:pt x="700" y="122"/>
                    <a:pt x="617" y="126"/>
                  </a:cubicBezTo>
                  <a:cubicBezTo>
                    <a:pt x="534" y="129"/>
                    <a:pt x="521" y="141"/>
                    <a:pt x="451" y="133"/>
                  </a:cubicBezTo>
                  <a:cubicBezTo>
                    <a:pt x="381" y="126"/>
                    <a:pt x="368" y="166"/>
                    <a:pt x="320" y="196"/>
                  </a:cubicBezTo>
                  <a:cubicBezTo>
                    <a:pt x="272" y="226"/>
                    <a:pt x="298" y="285"/>
                    <a:pt x="298" y="333"/>
                  </a:cubicBezTo>
                  <a:cubicBezTo>
                    <a:pt x="298" y="381"/>
                    <a:pt x="381" y="370"/>
                    <a:pt x="390" y="400"/>
                  </a:cubicBezTo>
                  <a:cubicBezTo>
                    <a:pt x="398" y="430"/>
                    <a:pt x="464" y="430"/>
                    <a:pt x="490" y="463"/>
                  </a:cubicBezTo>
                  <a:cubicBezTo>
                    <a:pt x="516" y="496"/>
                    <a:pt x="481" y="504"/>
                    <a:pt x="468" y="522"/>
                  </a:cubicBezTo>
                  <a:cubicBezTo>
                    <a:pt x="455" y="541"/>
                    <a:pt x="477" y="556"/>
                    <a:pt x="433" y="574"/>
                  </a:cubicBezTo>
                  <a:cubicBezTo>
                    <a:pt x="390" y="593"/>
                    <a:pt x="394" y="582"/>
                    <a:pt x="359" y="619"/>
                  </a:cubicBezTo>
                  <a:cubicBezTo>
                    <a:pt x="324" y="656"/>
                    <a:pt x="350" y="674"/>
                    <a:pt x="411" y="689"/>
                  </a:cubicBezTo>
                  <a:cubicBezTo>
                    <a:pt x="473" y="704"/>
                    <a:pt x="446" y="722"/>
                    <a:pt x="407" y="722"/>
                  </a:cubicBezTo>
                  <a:cubicBezTo>
                    <a:pt x="368" y="722"/>
                    <a:pt x="425" y="730"/>
                    <a:pt x="333" y="752"/>
                  </a:cubicBezTo>
                  <a:cubicBezTo>
                    <a:pt x="241" y="774"/>
                    <a:pt x="232" y="748"/>
                    <a:pt x="180" y="726"/>
                  </a:cubicBezTo>
                  <a:cubicBezTo>
                    <a:pt x="167" y="721"/>
                    <a:pt x="156" y="718"/>
                    <a:pt x="146" y="716"/>
                  </a:cubicBezTo>
                  <a:cubicBezTo>
                    <a:pt x="148" y="729"/>
                    <a:pt x="148" y="743"/>
                    <a:pt x="141" y="753"/>
                  </a:cubicBezTo>
                  <a:cubicBezTo>
                    <a:pt x="121" y="781"/>
                    <a:pt x="62" y="770"/>
                    <a:pt x="72" y="792"/>
                  </a:cubicBezTo>
                  <a:cubicBezTo>
                    <a:pt x="82" y="814"/>
                    <a:pt x="91" y="806"/>
                    <a:pt x="114" y="814"/>
                  </a:cubicBezTo>
                  <a:cubicBezTo>
                    <a:pt x="137" y="823"/>
                    <a:pt x="147" y="831"/>
                    <a:pt x="147" y="850"/>
                  </a:cubicBezTo>
                  <a:cubicBezTo>
                    <a:pt x="147" y="870"/>
                    <a:pt x="141" y="886"/>
                    <a:pt x="118" y="906"/>
                  </a:cubicBezTo>
                  <a:cubicBezTo>
                    <a:pt x="95" y="925"/>
                    <a:pt x="121" y="925"/>
                    <a:pt x="105" y="956"/>
                  </a:cubicBezTo>
                  <a:cubicBezTo>
                    <a:pt x="88" y="987"/>
                    <a:pt x="62" y="998"/>
                    <a:pt x="75" y="1023"/>
                  </a:cubicBezTo>
                  <a:cubicBezTo>
                    <a:pt x="88" y="1048"/>
                    <a:pt x="91" y="1064"/>
                    <a:pt x="91" y="1081"/>
                  </a:cubicBezTo>
                  <a:cubicBezTo>
                    <a:pt x="91" y="1098"/>
                    <a:pt x="85" y="1109"/>
                    <a:pt x="62" y="1100"/>
                  </a:cubicBezTo>
                  <a:cubicBezTo>
                    <a:pt x="39" y="1092"/>
                    <a:pt x="10" y="1087"/>
                    <a:pt x="10" y="1109"/>
                  </a:cubicBezTo>
                  <a:cubicBezTo>
                    <a:pt x="10" y="1131"/>
                    <a:pt x="23" y="1162"/>
                    <a:pt x="19" y="1187"/>
                  </a:cubicBezTo>
                  <a:cubicBezTo>
                    <a:pt x="16" y="1212"/>
                    <a:pt x="0" y="1226"/>
                    <a:pt x="32" y="1251"/>
                  </a:cubicBezTo>
                  <a:cubicBezTo>
                    <a:pt x="65" y="1276"/>
                    <a:pt x="95" y="1312"/>
                    <a:pt x="101" y="1340"/>
                  </a:cubicBezTo>
                  <a:cubicBezTo>
                    <a:pt x="108" y="1367"/>
                    <a:pt x="121" y="1403"/>
                    <a:pt x="141" y="1423"/>
                  </a:cubicBezTo>
                  <a:cubicBezTo>
                    <a:pt x="160" y="1442"/>
                    <a:pt x="167" y="1445"/>
                    <a:pt x="170" y="1473"/>
                  </a:cubicBezTo>
                  <a:cubicBezTo>
                    <a:pt x="173" y="1501"/>
                    <a:pt x="164" y="1526"/>
                    <a:pt x="216" y="1534"/>
                  </a:cubicBezTo>
                  <a:cubicBezTo>
                    <a:pt x="268" y="1542"/>
                    <a:pt x="331" y="1531"/>
                    <a:pt x="350" y="1551"/>
                  </a:cubicBezTo>
                  <a:cubicBezTo>
                    <a:pt x="370" y="1570"/>
                    <a:pt x="399" y="1570"/>
                    <a:pt x="432" y="1579"/>
                  </a:cubicBezTo>
                  <a:cubicBezTo>
                    <a:pt x="465" y="1587"/>
                    <a:pt x="508" y="1576"/>
                    <a:pt x="527" y="1598"/>
                  </a:cubicBezTo>
                  <a:cubicBezTo>
                    <a:pt x="547" y="1620"/>
                    <a:pt x="573" y="1629"/>
                    <a:pt x="593" y="1651"/>
                  </a:cubicBezTo>
                  <a:cubicBezTo>
                    <a:pt x="612" y="1673"/>
                    <a:pt x="612" y="1698"/>
                    <a:pt x="655" y="1687"/>
                  </a:cubicBezTo>
                  <a:cubicBezTo>
                    <a:pt x="698" y="1676"/>
                    <a:pt x="704" y="1640"/>
                    <a:pt x="747" y="1673"/>
                  </a:cubicBezTo>
                  <a:cubicBezTo>
                    <a:pt x="789" y="1706"/>
                    <a:pt x="786" y="1701"/>
                    <a:pt x="838" y="1709"/>
                  </a:cubicBezTo>
                  <a:cubicBezTo>
                    <a:pt x="891" y="1718"/>
                    <a:pt x="924" y="1726"/>
                    <a:pt x="963" y="1723"/>
                  </a:cubicBezTo>
                  <a:cubicBezTo>
                    <a:pt x="1002" y="1720"/>
                    <a:pt x="1015" y="1723"/>
                    <a:pt x="1055" y="1732"/>
                  </a:cubicBezTo>
                  <a:cubicBezTo>
                    <a:pt x="1094" y="1740"/>
                    <a:pt x="1150" y="1720"/>
                    <a:pt x="1192" y="1757"/>
                  </a:cubicBezTo>
                  <a:cubicBezTo>
                    <a:pt x="1235" y="1793"/>
                    <a:pt x="1251" y="1815"/>
                    <a:pt x="1274" y="1829"/>
                  </a:cubicBezTo>
                  <a:cubicBezTo>
                    <a:pt x="1297" y="1843"/>
                    <a:pt x="1346" y="1837"/>
                    <a:pt x="1356" y="1882"/>
                  </a:cubicBezTo>
                  <a:cubicBezTo>
                    <a:pt x="1366" y="1926"/>
                    <a:pt x="1349" y="1946"/>
                    <a:pt x="1386" y="1948"/>
                  </a:cubicBezTo>
                  <a:cubicBezTo>
                    <a:pt x="1422" y="1951"/>
                    <a:pt x="1435" y="1954"/>
                    <a:pt x="1458" y="1971"/>
                  </a:cubicBezTo>
                  <a:cubicBezTo>
                    <a:pt x="1481" y="1987"/>
                    <a:pt x="1487" y="1998"/>
                    <a:pt x="1520" y="1976"/>
                  </a:cubicBezTo>
                  <a:cubicBezTo>
                    <a:pt x="1553" y="1954"/>
                    <a:pt x="1553" y="1957"/>
                    <a:pt x="1576" y="1971"/>
                  </a:cubicBezTo>
                  <a:cubicBezTo>
                    <a:pt x="1598" y="1984"/>
                    <a:pt x="1618" y="2018"/>
                    <a:pt x="1657" y="1962"/>
                  </a:cubicBezTo>
                  <a:cubicBezTo>
                    <a:pt x="1697" y="1907"/>
                    <a:pt x="1693" y="1907"/>
                    <a:pt x="1720" y="1890"/>
                  </a:cubicBezTo>
                  <a:cubicBezTo>
                    <a:pt x="1746" y="1873"/>
                    <a:pt x="1746" y="1854"/>
                    <a:pt x="1759" y="1823"/>
                  </a:cubicBezTo>
                  <a:cubicBezTo>
                    <a:pt x="1772" y="1793"/>
                    <a:pt x="1782" y="1776"/>
                    <a:pt x="1769" y="1765"/>
                  </a:cubicBezTo>
                  <a:cubicBezTo>
                    <a:pt x="1756" y="1754"/>
                    <a:pt x="1739" y="1720"/>
                    <a:pt x="1772" y="1715"/>
                  </a:cubicBezTo>
                  <a:cubicBezTo>
                    <a:pt x="1794" y="1711"/>
                    <a:pt x="1814" y="1717"/>
                    <a:pt x="1832" y="1724"/>
                  </a:cubicBezTo>
                  <a:cubicBezTo>
                    <a:pt x="1837" y="1721"/>
                    <a:pt x="1843" y="1718"/>
                    <a:pt x="1849" y="1716"/>
                  </a:cubicBezTo>
                  <a:cubicBezTo>
                    <a:pt x="1875" y="1705"/>
                    <a:pt x="1840" y="1645"/>
                    <a:pt x="1853" y="1631"/>
                  </a:cubicBezTo>
                  <a:cubicBezTo>
                    <a:pt x="1866" y="1616"/>
                    <a:pt x="1879" y="1605"/>
                    <a:pt x="1918" y="1586"/>
                  </a:cubicBezTo>
                  <a:cubicBezTo>
                    <a:pt x="1958" y="1568"/>
                    <a:pt x="2015" y="1586"/>
                    <a:pt x="2036" y="1586"/>
                  </a:cubicBezTo>
                  <a:cubicBezTo>
                    <a:pt x="2058" y="1586"/>
                    <a:pt x="2102" y="1590"/>
                    <a:pt x="2124" y="1571"/>
                  </a:cubicBezTo>
                  <a:cubicBezTo>
                    <a:pt x="2146" y="1553"/>
                    <a:pt x="2163" y="1571"/>
                    <a:pt x="2189" y="1597"/>
                  </a:cubicBezTo>
                  <a:cubicBezTo>
                    <a:pt x="2215" y="1623"/>
                    <a:pt x="2233" y="1605"/>
                    <a:pt x="2264" y="1631"/>
                  </a:cubicBezTo>
                  <a:cubicBezTo>
                    <a:pt x="2294" y="1656"/>
                    <a:pt x="2316" y="1616"/>
                    <a:pt x="2347" y="1597"/>
                  </a:cubicBezTo>
                  <a:cubicBezTo>
                    <a:pt x="2377" y="1579"/>
                    <a:pt x="2399" y="1608"/>
                    <a:pt x="2412" y="1638"/>
                  </a:cubicBezTo>
                  <a:cubicBezTo>
                    <a:pt x="2425" y="1668"/>
                    <a:pt x="2469" y="1705"/>
                    <a:pt x="2499" y="1738"/>
                  </a:cubicBezTo>
                  <a:cubicBezTo>
                    <a:pt x="2530" y="1771"/>
                    <a:pt x="2574" y="1768"/>
                    <a:pt x="2626" y="1768"/>
                  </a:cubicBezTo>
                  <a:cubicBezTo>
                    <a:pt x="2679" y="1768"/>
                    <a:pt x="2661" y="1716"/>
                    <a:pt x="2661" y="1686"/>
                  </a:cubicBezTo>
                  <a:cubicBezTo>
                    <a:pt x="2661" y="1656"/>
                    <a:pt x="2705" y="1631"/>
                    <a:pt x="2735" y="1608"/>
                  </a:cubicBezTo>
                  <a:cubicBezTo>
                    <a:pt x="2766" y="1586"/>
                    <a:pt x="2779" y="1616"/>
                    <a:pt x="2805" y="1649"/>
                  </a:cubicBezTo>
                  <a:cubicBezTo>
                    <a:pt x="2831" y="1682"/>
                    <a:pt x="2862" y="1656"/>
                    <a:pt x="2888" y="1627"/>
                  </a:cubicBezTo>
                  <a:cubicBezTo>
                    <a:pt x="2914" y="1597"/>
                    <a:pt x="2932" y="1631"/>
                    <a:pt x="2949" y="1656"/>
                  </a:cubicBezTo>
                  <a:cubicBezTo>
                    <a:pt x="2967" y="1682"/>
                    <a:pt x="2997" y="1649"/>
                    <a:pt x="2997" y="1619"/>
                  </a:cubicBezTo>
                  <a:cubicBezTo>
                    <a:pt x="2997" y="1590"/>
                    <a:pt x="3015" y="1575"/>
                    <a:pt x="3011" y="1530"/>
                  </a:cubicBezTo>
                  <a:cubicBezTo>
                    <a:pt x="3006" y="1486"/>
                    <a:pt x="2971" y="1504"/>
                    <a:pt x="2928" y="1501"/>
                  </a:cubicBezTo>
                  <a:cubicBezTo>
                    <a:pt x="2884" y="1497"/>
                    <a:pt x="2853" y="1475"/>
                    <a:pt x="2831" y="1441"/>
                  </a:cubicBezTo>
                  <a:cubicBezTo>
                    <a:pt x="2810" y="1408"/>
                    <a:pt x="2753" y="1423"/>
                    <a:pt x="2696" y="1416"/>
                  </a:cubicBezTo>
                  <a:cubicBezTo>
                    <a:pt x="2639" y="1408"/>
                    <a:pt x="2644" y="1367"/>
                    <a:pt x="2661" y="1323"/>
                  </a:cubicBezTo>
                  <a:cubicBezTo>
                    <a:pt x="2679" y="1278"/>
                    <a:pt x="2692" y="1319"/>
                    <a:pt x="2722" y="1353"/>
                  </a:cubicBezTo>
                  <a:cubicBezTo>
                    <a:pt x="2753" y="1386"/>
                    <a:pt x="2779" y="1371"/>
                    <a:pt x="2818" y="1382"/>
                  </a:cubicBezTo>
                  <a:cubicBezTo>
                    <a:pt x="2858" y="1393"/>
                    <a:pt x="2866" y="1375"/>
                    <a:pt x="2875" y="1341"/>
                  </a:cubicBezTo>
                  <a:cubicBezTo>
                    <a:pt x="2884" y="1308"/>
                    <a:pt x="2888" y="1282"/>
                    <a:pt x="2884" y="1234"/>
                  </a:cubicBezTo>
                  <a:cubicBezTo>
                    <a:pt x="2879" y="1186"/>
                    <a:pt x="2932" y="1208"/>
                    <a:pt x="2958" y="1182"/>
                  </a:cubicBezTo>
                  <a:cubicBezTo>
                    <a:pt x="2984" y="1156"/>
                    <a:pt x="2997" y="1134"/>
                    <a:pt x="2976" y="1115"/>
                  </a:cubicBezTo>
                  <a:cubicBezTo>
                    <a:pt x="2954" y="1097"/>
                    <a:pt x="2976" y="1063"/>
                    <a:pt x="2993" y="1067"/>
                  </a:cubicBezTo>
                  <a:cubicBezTo>
                    <a:pt x="3011" y="1071"/>
                    <a:pt x="3024" y="1060"/>
                    <a:pt x="3032" y="1026"/>
                  </a:cubicBezTo>
                  <a:cubicBezTo>
                    <a:pt x="3041" y="993"/>
                    <a:pt x="3032" y="1026"/>
                    <a:pt x="3059" y="1045"/>
                  </a:cubicBezTo>
                  <a:cubicBezTo>
                    <a:pt x="3085" y="1063"/>
                    <a:pt x="3089" y="1012"/>
                    <a:pt x="3089" y="997"/>
                  </a:cubicBezTo>
                  <a:cubicBezTo>
                    <a:pt x="3089" y="982"/>
                    <a:pt x="3107" y="967"/>
                    <a:pt x="3124" y="926"/>
                  </a:cubicBezTo>
                  <a:cubicBezTo>
                    <a:pt x="3142" y="886"/>
                    <a:pt x="3115" y="848"/>
                    <a:pt x="3085" y="82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50" name="Freeform 9">
              <a:extLst>
                <a:ext uri="{FF2B5EF4-FFF2-40B4-BE49-F238E27FC236}">
                  <a16:creationId xmlns:a16="http://schemas.microsoft.com/office/drawing/2014/main" id="{D81DA8F5-D2D9-B840-8FCD-5F87B9327CBC}"/>
                </a:ext>
              </a:extLst>
            </p:cNvPr>
            <p:cNvSpPr>
              <a:spLocks/>
            </p:cNvSpPr>
            <p:nvPr/>
          </p:nvSpPr>
          <p:spPr bwMode="auto">
            <a:xfrm>
              <a:off x="4417" y="5"/>
              <a:ext cx="1343" cy="1064"/>
            </a:xfrm>
            <a:custGeom>
              <a:avLst/>
              <a:gdLst>
                <a:gd name="T0" fmla="*/ 2816 w 2901"/>
                <a:gd name="T1" fmla="*/ 823 h 2299"/>
                <a:gd name="T2" fmla="*/ 2595 w 2901"/>
                <a:gd name="T3" fmla="*/ 966 h 2299"/>
                <a:gd name="T4" fmla="*/ 2459 w 2901"/>
                <a:gd name="T5" fmla="*/ 1101 h 2299"/>
                <a:gd name="T6" fmla="*/ 2172 w 2901"/>
                <a:gd name="T7" fmla="*/ 1175 h 2299"/>
                <a:gd name="T8" fmla="*/ 2095 w 2901"/>
                <a:gd name="T9" fmla="*/ 1030 h 2299"/>
                <a:gd name="T10" fmla="*/ 1971 w 2901"/>
                <a:gd name="T11" fmla="*/ 915 h 2299"/>
                <a:gd name="T12" fmla="*/ 1823 w 2901"/>
                <a:gd name="T13" fmla="*/ 855 h 2299"/>
                <a:gd name="T14" fmla="*/ 1589 w 2901"/>
                <a:gd name="T15" fmla="*/ 817 h 2299"/>
                <a:gd name="T16" fmla="*/ 1344 w 2901"/>
                <a:gd name="T17" fmla="*/ 713 h 2299"/>
                <a:gd name="T18" fmla="*/ 1154 w 2901"/>
                <a:gd name="T19" fmla="*/ 491 h 2299"/>
                <a:gd name="T20" fmla="*/ 1073 w 2901"/>
                <a:gd name="T21" fmla="*/ 352 h 2299"/>
                <a:gd name="T22" fmla="*/ 954 w 2901"/>
                <a:gd name="T23" fmla="*/ 188 h 2299"/>
                <a:gd name="T24" fmla="*/ 814 w 2901"/>
                <a:gd name="T25" fmla="*/ 82 h 2299"/>
                <a:gd name="T26" fmla="*/ 641 w 2901"/>
                <a:gd name="T27" fmla="*/ 75 h 2299"/>
                <a:gd name="T28" fmla="*/ 330 w 2901"/>
                <a:gd name="T29" fmla="*/ 32 h 2299"/>
                <a:gd name="T30" fmla="*/ 64 w 2901"/>
                <a:gd name="T31" fmla="*/ 131 h 2299"/>
                <a:gd name="T32" fmla="*/ 99 w 2901"/>
                <a:gd name="T33" fmla="*/ 248 h 2299"/>
                <a:gd name="T34" fmla="*/ 210 w 2901"/>
                <a:gd name="T35" fmla="*/ 370 h 2299"/>
                <a:gd name="T36" fmla="*/ 348 w 2901"/>
                <a:gd name="T37" fmla="*/ 403 h 2299"/>
                <a:gd name="T38" fmla="*/ 623 w 2901"/>
                <a:gd name="T39" fmla="*/ 576 h 2299"/>
                <a:gd name="T40" fmla="*/ 920 w 2901"/>
                <a:gd name="T41" fmla="*/ 505 h 2299"/>
                <a:gd name="T42" fmla="*/ 970 w 2901"/>
                <a:gd name="T43" fmla="*/ 724 h 2299"/>
                <a:gd name="T44" fmla="*/ 961 w 2901"/>
                <a:gd name="T45" fmla="*/ 1069 h 2299"/>
                <a:gd name="T46" fmla="*/ 911 w 2901"/>
                <a:gd name="T47" fmla="*/ 1289 h 2299"/>
                <a:gd name="T48" fmla="*/ 835 w 2901"/>
                <a:gd name="T49" fmla="*/ 1269 h 2299"/>
                <a:gd name="T50" fmla="*/ 605 w 2901"/>
                <a:gd name="T51" fmla="*/ 1563 h 2299"/>
                <a:gd name="T52" fmla="*/ 721 w 2901"/>
                <a:gd name="T53" fmla="*/ 1730 h 2299"/>
                <a:gd name="T54" fmla="*/ 813 w 2901"/>
                <a:gd name="T55" fmla="*/ 1775 h 2299"/>
                <a:gd name="T56" fmla="*/ 766 w 2901"/>
                <a:gd name="T57" fmla="*/ 1889 h 2299"/>
                <a:gd name="T58" fmla="*/ 934 w 2901"/>
                <a:gd name="T59" fmla="*/ 1865 h 2299"/>
                <a:gd name="T60" fmla="*/ 1114 w 2901"/>
                <a:gd name="T61" fmla="*/ 2027 h 2299"/>
                <a:gd name="T62" fmla="*/ 1330 w 2901"/>
                <a:gd name="T63" fmla="*/ 1982 h 2299"/>
                <a:gd name="T64" fmla="*/ 1520 w 2901"/>
                <a:gd name="T65" fmla="*/ 1990 h 2299"/>
                <a:gd name="T66" fmla="*/ 1651 w 2901"/>
                <a:gd name="T67" fmla="*/ 2118 h 2299"/>
                <a:gd name="T68" fmla="*/ 1868 w 2901"/>
                <a:gd name="T69" fmla="*/ 2210 h 2299"/>
                <a:gd name="T70" fmla="*/ 1914 w 2901"/>
                <a:gd name="T71" fmla="*/ 2071 h 2299"/>
                <a:gd name="T72" fmla="*/ 1976 w 2901"/>
                <a:gd name="T73" fmla="*/ 2205 h 2299"/>
                <a:gd name="T74" fmla="*/ 2156 w 2901"/>
                <a:gd name="T75" fmla="*/ 2255 h 2299"/>
                <a:gd name="T76" fmla="*/ 2284 w 2901"/>
                <a:gd name="T77" fmla="*/ 2138 h 2299"/>
                <a:gd name="T78" fmla="*/ 2431 w 2901"/>
                <a:gd name="T79" fmla="*/ 2205 h 2299"/>
                <a:gd name="T80" fmla="*/ 2507 w 2901"/>
                <a:gd name="T81" fmla="*/ 1988 h 2299"/>
                <a:gd name="T82" fmla="*/ 2515 w 2901"/>
                <a:gd name="T83" fmla="*/ 1808 h 2299"/>
                <a:gd name="T84" fmla="*/ 2733 w 2901"/>
                <a:gd name="T85" fmla="*/ 1728 h 2299"/>
                <a:gd name="T86" fmla="*/ 2800 w 2901"/>
                <a:gd name="T87" fmla="*/ 1657 h 2299"/>
                <a:gd name="T88" fmla="*/ 2824 w 2901"/>
                <a:gd name="T89" fmla="*/ 1501 h 2299"/>
                <a:gd name="T90" fmla="*/ 2857 w 2901"/>
                <a:gd name="T91" fmla="*/ 1357 h 2299"/>
                <a:gd name="T92" fmla="*/ 2834 w 2901"/>
                <a:gd name="T93" fmla="*/ 1193 h 2299"/>
                <a:gd name="T94" fmla="*/ 2870 w 2901"/>
                <a:gd name="T95" fmla="*/ 1063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01" h="2299">
                  <a:moveTo>
                    <a:pt x="2867" y="958"/>
                  </a:moveTo>
                  <a:cubicBezTo>
                    <a:pt x="2834" y="938"/>
                    <a:pt x="2815" y="941"/>
                    <a:pt x="2819" y="905"/>
                  </a:cubicBezTo>
                  <a:cubicBezTo>
                    <a:pt x="2824" y="869"/>
                    <a:pt x="2841" y="823"/>
                    <a:pt x="2816" y="823"/>
                  </a:cubicBezTo>
                  <a:cubicBezTo>
                    <a:pt x="2792" y="823"/>
                    <a:pt x="2754" y="840"/>
                    <a:pt x="2728" y="859"/>
                  </a:cubicBezTo>
                  <a:cubicBezTo>
                    <a:pt x="2701" y="879"/>
                    <a:pt x="2665" y="895"/>
                    <a:pt x="2647" y="919"/>
                  </a:cubicBezTo>
                  <a:cubicBezTo>
                    <a:pt x="2629" y="942"/>
                    <a:pt x="2624" y="966"/>
                    <a:pt x="2595" y="966"/>
                  </a:cubicBezTo>
                  <a:cubicBezTo>
                    <a:pt x="2566" y="966"/>
                    <a:pt x="2538" y="976"/>
                    <a:pt x="2525" y="998"/>
                  </a:cubicBezTo>
                  <a:cubicBezTo>
                    <a:pt x="2511" y="1020"/>
                    <a:pt x="2475" y="1056"/>
                    <a:pt x="2479" y="1077"/>
                  </a:cubicBezTo>
                  <a:cubicBezTo>
                    <a:pt x="2482" y="1098"/>
                    <a:pt x="2485" y="1091"/>
                    <a:pt x="2459" y="1101"/>
                  </a:cubicBezTo>
                  <a:cubicBezTo>
                    <a:pt x="2433" y="1111"/>
                    <a:pt x="2377" y="1127"/>
                    <a:pt x="2351" y="1140"/>
                  </a:cubicBezTo>
                  <a:cubicBezTo>
                    <a:pt x="2325" y="1152"/>
                    <a:pt x="2258" y="1138"/>
                    <a:pt x="2238" y="1163"/>
                  </a:cubicBezTo>
                  <a:cubicBezTo>
                    <a:pt x="2218" y="1189"/>
                    <a:pt x="2194" y="1200"/>
                    <a:pt x="2172" y="1175"/>
                  </a:cubicBezTo>
                  <a:cubicBezTo>
                    <a:pt x="2151" y="1150"/>
                    <a:pt x="2140" y="1122"/>
                    <a:pt x="2113" y="1109"/>
                  </a:cubicBezTo>
                  <a:cubicBezTo>
                    <a:pt x="2087" y="1097"/>
                    <a:pt x="2076" y="1098"/>
                    <a:pt x="2090" y="1080"/>
                  </a:cubicBezTo>
                  <a:cubicBezTo>
                    <a:pt x="2105" y="1062"/>
                    <a:pt x="2113" y="1047"/>
                    <a:pt x="2095" y="1030"/>
                  </a:cubicBezTo>
                  <a:cubicBezTo>
                    <a:pt x="2077" y="1013"/>
                    <a:pt x="2035" y="1002"/>
                    <a:pt x="2035" y="977"/>
                  </a:cubicBezTo>
                  <a:cubicBezTo>
                    <a:pt x="2035" y="952"/>
                    <a:pt x="2036" y="926"/>
                    <a:pt x="2022" y="916"/>
                  </a:cubicBezTo>
                  <a:cubicBezTo>
                    <a:pt x="2007" y="906"/>
                    <a:pt x="1979" y="895"/>
                    <a:pt x="1971" y="915"/>
                  </a:cubicBezTo>
                  <a:cubicBezTo>
                    <a:pt x="1963" y="934"/>
                    <a:pt x="1964" y="934"/>
                    <a:pt x="1928" y="919"/>
                  </a:cubicBezTo>
                  <a:cubicBezTo>
                    <a:pt x="1892" y="904"/>
                    <a:pt x="1874" y="898"/>
                    <a:pt x="1863" y="888"/>
                  </a:cubicBezTo>
                  <a:cubicBezTo>
                    <a:pt x="1851" y="879"/>
                    <a:pt x="1828" y="865"/>
                    <a:pt x="1823" y="855"/>
                  </a:cubicBezTo>
                  <a:cubicBezTo>
                    <a:pt x="1819" y="845"/>
                    <a:pt x="1786" y="812"/>
                    <a:pt x="1763" y="829"/>
                  </a:cubicBezTo>
                  <a:cubicBezTo>
                    <a:pt x="1740" y="845"/>
                    <a:pt x="1715" y="863"/>
                    <a:pt x="1684" y="851"/>
                  </a:cubicBezTo>
                  <a:cubicBezTo>
                    <a:pt x="1653" y="838"/>
                    <a:pt x="1612" y="802"/>
                    <a:pt x="1589" y="817"/>
                  </a:cubicBezTo>
                  <a:cubicBezTo>
                    <a:pt x="1566" y="833"/>
                    <a:pt x="1479" y="873"/>
                    <a:pt x="1452" y="852"/>
                  </a:cubicBezTo>
                  <a:cubicBezTo>
                    <a:pt x="1424" y="831"/>
                    <a:pt x="1362" y="833"/>
                    <a:pt x="1362" y="792"/>
                  </a:cubicBezTo>
                  <a:cubicBezTo>
                    <a:pt x="1362" y="752"/>
                    <a:pt x="1378" y="733"/>
                    <a:pt x="1344" y="713"/>
                  </a:cubicBezTo>
                  <a:cubicBezTo>
                    <a:pt x="1309" y="694"/>
                    <a:pt x="1293" y="677"/>
                    <a:pt x="1291" y="655"/>
                  </a:cubicBezTo>
                  <a:cubicBezTo>
                    <a:pt x="1289" y="633"/>
                    <a:pt x="1276" y="596"/>
                    <a:pt x="1258" y="584"/>
                  </a:cubicBezTo>
                  <a:cubicBezTo>
                    <a:pt x="1240" y="571"/>
                    <a:pt x="1149" y="507"/>
                    <a:pt x="1154" y="491"/>
                  </a:cubicBezTo>
                  <a:cubicBezTo>
                    <a:pt x="1158" y="474"/>
                    <a:pt x="1176" y="462"/>
                    <a:pt x="1152" y="444"/>
                  </a:cubicBezTo>
                  <a:cubicBezTo>
                    <a:pt x="1127" y="425"/>
                    <a:pt x="1093" y="417"/>
                    <a:pt x="1093" y="399"/>
                  </a:cubicBezTo>
                  <a:cubicBezTo>
                    <a:pt x="1093" y="381"/>
                    <a:pt x="1103" y="366"/>
                    <a:pt x="1073" y="352"/>
                  </a:cubicBezTo>
                  <a:cubicBezTo>
                    <a:pt x="1044" y="338"/>
                    <a:pt x="1029" y="328"/>
                    <a:pt x="1029" y="298"/>
                  </a:cubicBezTo>
                  <a:cubicBezTo>
                    <a:pt x="1029" y="267"/>
                    <a:pt x="1004" y="256"/>
                    <a:pt x="991" y="245"/>
                  </a:cubicBezTo>
                  <a:cubicBezTo>
                    <a:pt x="978" y="234"/>
                    <a:pt x="985" y="204"/>
                    <a:pt x="954" y="188"/>
                  </a:cubicBezTo>
                  <a:cubicBezTo>
                    <a:pt x="923" y="171"/>
                    <a:pt x="896" y="181"/>
                    <a:pt x="896" y="159"/>
                  </a:cubicBezTo>
                  <a:cubicBezTo>
                    <a:pt x="896" y="136"/>
                    <a:pt x="900" y="121"/>
                    <a:pt x="870" y="111"/>
                  </a:cubicBezTo>
                  <a:cubicBezTo>
                    <a:pt x="841" y="102"/>
                    <a:pt x="826" y="97"/>
                    <a:pt x="814" y="82"/>
                  </a:cubicBezTo>
                  <a:cubicBezTo>
                    <a:pt x="803" y="67"/>
                    <a:pt x="773" y="56"/>
                    <a:pt x="759" y="49"/>
                  </a:cubicBezTo>
                  <a:cubicBezTo>
                    <a:pt x="744" y="42"/>
                    <a:pt x="724" y="32"/>
                    <a:pt x="711" y="39"/>
                  </a:cubicBezTo>
                  <a:cubicBezTo>
                    <a:pt x="698" y="46"/>
                    <a:pt x="669" y="72"/>
                    <a:pt x="641" y="75"/>
                  </a:cubicBezTo>
                  <a:cubicBezTo>
                    <a:pt x="613" y="78"/>
                    <a:pt x="569" y="56"/>
                    <a:pt x="539" y="42"/>
                  </a:cubicBezTo>
                  <a:cubicBezTo>
                    <a:pt x="510" y="28"/>
                    <a:pt x="447" y="0"/>
                    <a:pt x="426" y="6"/>
                  </a:cubicBezTo>
                  <a:cubicBezTo>
                    <a:pt x="405" y="11"/>
                    <a:pt x="344" y="17"/>
                    <a:pt x="330" y="32"/>
                  </a:cubicBezTo>
                  <a:cubicBezTo>
                    <a:pt x="315" y="47"/>
                    <a:pt x="285" y="67"/>
                    <a:pt x="246" y="68"/>
                  </a:cubicBezTo>
                  <a:cubicBezTo>
                    <a:pt x="207" y="70"/>
                    <a:pt x="164" y="68"/>
                    <a:pt x="138" y="88"/>
                  </a:cubicBezTo>
                  <a:cubicBezTo>
                    <a:pt x="112" y="107"/>
                    <a:pt x="97" y="120"/>
                    <a:pt x="64" y="131"/>
                  </a:cubicBezTo>
                  <a:cubicBezTo>
                    <a:pt x="56" y="134"/>
                    <a:pt x="46" y="136"/>
                    <a:pt x="36" y="137"/>
                  </a:cubicBezTo>
                  <a:cubicBezTo>
                    <a:pt x="45" y="150"/>
                    <a:pt x="55" y="162"/>
                    <a:pt x="66" y="170"/>
                  </a:cubicBezTo>
                  <a:cubicBezTo>
                    <a:pt x="105" y="198"/>
                    <a:pt x="131" y="209"/>
                    <a:pt x="99" y="248"/>
                  </a:cubicBezTo>
                  <a:cubicBezTo>
                    <a:pt x="66" y="286"/>
                    <a:pt x="0" y="342"/>
                    <a:pt x="66" y="353"/>
                  </a:cubicBezTo>
                  <a:cubicBezTo>
                    <a:pt x="131" y="364"/>
                    <a:pt x="138" y="353"/>
                    <a:pt x="164" y="387"/>
                  </a:cubicBezTo>
                  <a:cubicBezTo>
                    <a:pt x="190" y="420"/>
                    <a:pt x="210" y="403"/>
                    <a:pt x="210" y="370"/>
                  </a:cubicBezTo>
                  <a:cubicBezTo>
                    <a:pt x="210" y="336"/>
                    <a:pt x="236" y="309"/>
                    <a:pt x="256" y="336"/>
                  </a:cubicBezTo>
                  <a:cubicBezTo>
                    <a:pt x="275" y="364"/>
                    <a:pt x="282" y="375"/>
                    <a:pt x="308" y="375"/>
                  </a:cubicBezTo>
                  <a:cubicBezTo>
                    <a:pt x="334" y="375"/>
                    <a:pt x="348" y="353"/>
                    <a:pt x="348" y="403"/>
                  </a:cubicBezTo>
                  <a:cubicBezTo>
                    <a:pt x="348" y="453"/>
                    <a:pt x="361" y="492"/>
                    <a:pt x="367" y="526"/>
                  </a:cubicBezTo>
                  <a:cubicBezTo>
                    <a:pt x="374" y="559"/>
                    <a:pt x="400" y="598"/>
                    <a:pt x="452" y="603"/>
                  </a:cubicBezTo>
                  <a:cubicBezTo>
                    <a:pt x="505" y="609"/>
                    <a:pt x="570" y="587"/>
                    <a:pt x="623" y="576"/>
                  </a:cubicBezTo>
                  <a:cubicBezTo>
                    <a:pt x="675" y="564"/>
                    <a:pt x="701" y="581"/>
                    <a:pt x="741" y="542"/>
                  </a:cubicBezTo>
                  <a:cubicBezTo>
                    <a:pt x="780" y="503"/>
                    <a:pt x="773" y="448"/>
                    <a:pt x="839" y="453"/>
                  </a:cubicBezTo>
                  <a:cubicBezTo>
                    <a:pt x="905" y="459"/>
                    <a:pt x="878" y="474"/>
                    <a:pt x="920" y="505"/>
                  </a:cubicBezTo>
                  <a:cubicBezTo>
                    <a:pt x="961" y="537"/>
                    <a:pt x="1007" y="546"/>
                    <a:pt x="1009" y="574"/>
                  </a:cubicBezTo>
                  <a:cubicBezTo>
                    <a:pt x="1012" y="602"/>
                    <a:pt x="963" y="620"/>
                    <a:pt x="981" y="648"/>
                  </a:cubicBezTo>
                  <a:cubicBezTo>
                    <a:pt x="998" y="676"/>
                    <a:pt x="983" y="705"/>
                    <a:pt x="970" y="724"/>
                  </a:cubicBezTo>
                  <a:cubicBezTo>
                    <a:pt x="957" y="742"/>
                    <a:pt x="933" y="789"/>
                    <a:pt x="937" y="831"/>
                  </a:cubicBezTo>
                  <a:cubicBezTo>
                    <a:pt x="942" y="874"/>
                    <a:pt x="931" y="920"/>
                    <a:pt x="955" y="948"/>
                  </a:cubicBezTo>
                  <a:cubicBezTo>
                    <a:pt x="979" y="976"/>
                    <a:pt x="990" y="1050"/>
                    <a:pt x="961" y="1069"/>
                  </a:cubicBezTo>
                  <a:cubicBezTo>
                    <a:pt x="933" y="1087"/>
                    <a:pt x="911" y="1094"/>
                    <a:pt x="911" y="1119"/>
                  </a:cubicBezTo>
                  <a:cubicBezTo>
                    <a:pt x="911" y="1143"/>
                    <a:pt x="891" y="1174"/>
                    <a:pt x="896" y="1204"/>
                  </a:cubicBezTo>
                  <a:cubicBezTo>
                    <a:pt x="900" y="1233"/>
                    <a:pt x="896" y="1269"/>
                    <a:pt x="911" y="1289"/>
                  </a:cubicBezTo>
                  <a:cubicBezTo>
                    <a:pt x="926" y="1309"/>
                    <a:pt x="933" y="1367"/>
                    <a:pt x="911" y="1356"/>
                  </a:cubicBezTo>
                  <a:cubicBezTo>
                    <a:pt x="889" y="1345"/>
                    <a:pt x="867" y="1335"/>
                    <a:pt x="861" y="1309"/>
                  </a:cubicBezTo>
                  <a:cubicBezTo>
                    <a:pt x="854" y="1283"/>
                    <a:pt x="861" y="1239"/>
                    <a:pt x="835" y="1269"/>
                  </a:cubicBezTo>
                  <a:cubicBezTo>
                    <a:pt x="808" y="1298"/>
                    <a:pt x="806" y="1326"/>
                    <a:pt x="771" y="1365"/>
                  </a:cubicBezTo>
                  <a:cubicBezTo>
                    <a:pt x="736" y="1404"/>
                    <a:pt x="686" y="1452"/>
                    <a:pt x="666" y="1484"/>
                  </a:cubicBezTo>
                  <a:cubicBezTo>
                    <a:pt x="647" y="1515"/>
                    <a:pt x="629" y="1545"/>
                    <a:pt x="605" y="1563"/>
                  </a:cubicBezTo>
                  <a:cubicBezTo>
                    <a:pt x="581" y="1582"/>
                    <a:pt x="562" y="1624"/>
                    <a:pt x="579" y="1645"/>
                  </a:cubicBezTo>
                  <a:cubicBezTo>
                    <a:pt x="597" y="1665"/>
                    <a:pt x="640" y="1684"/>
                    <a:pt x="658" y="1699"/>
                  </a:cubicBezTo>
                  <a:cubicBezTo>
                    <a:pt x="675" y="1713"/>
                    <a:pt x="673" y="1721"/>
                    <a:pt x="721" y="1730"/>
                  </a:cubicBezTo>
                  <a:cubicBezTo>
                    <a:pt x="769" y="1739"/>
                    <a:pt x="776" y="1750"/>
                    <a:pt x="806" y="1732"/>
                  </a:cubicBezTo>
                  <a:cubicBezTo>
                    <a:pt x="837" y="1713"/>
                    <a:pt x="843" y="1712"/>
                    <a:pt x="843" y="1728"/>
                  </a:cubicBezTo>
                  <a:cubicBezTo>
                    <a:pt x="843" y="1745"/>
                    <a:pt x="835" y="1767"/>
                    <a:pt x="813" y="1775"/>
                  </a:cubicBezTo>
                  <a:cubicBezTo>
                    <a:pt x="791" y="1782"/>
                    <a:pt x="736" y="1776"/>
                    <a:pt x="730" y="1799"/>
                  </a:cubicBezTo>
                  <a:cubicBezTo>
                    <a:pt x="723" y="1821"/>
                    <a:pt x="712" y="1849"/>
                    <a:pt x="728" y="1864"/>
                  </a:cubicBezTo>
                  <a:cubicBezTo>
                    <a:pt x="739" y="1875"/>
                    <a:pt x="763" y="1878"/>
                    <a:pt x="766" y="1889"/>
                  </a:cubicBezTo>
                  <a:cubicBezTo>
                    <a:pt x="776" y="1887"/>
                    <a:pt x="789" y="1883"/>
                    <a:pt x="806" y="1879"/>
                  </a:cubicBezTo>
                  <a:cubicBezTo>
                    <a:pt x="852" y="1868"/>
                    <a:pt x="849" y="1854"/>
                    <a:pt x="878" y="1854"/>
                  </a:cubicBezTo>
                  <a:cubicBezTo>
                    <a:pt x="908" y="1854"/>
                    <a:pt x="918" y="1838"/>
                    <a:pt x="934" y="1865"/>
                  </a:cubicBezTo>
                  <a:cubicBezTo>
                    <a:pt x="950" y="1893"/>
                    <a:pt x="937" y="1932"/>
                    <a:pt x="970" y="1949"/>
                  </a:cubicBezTo>
                  <a:cubicBezTo>
                    <a:pt x="1003" y="1965"/>
                    <a:pt x="1000" y="1979"/>
                    <a:pt x="1039" y="2007"/>
                  </a:cubicBezTo>
                  <a:cubicBezTo>
                    <a:pt x="1078" y="2035"/>
                    <a:pt x="1085" y="2041"/>
                    <a:pt x="1114" y="2027"/>
                  </a:cubicBezTo>
                  <a:cubicBezTo>
                    <a:pt x="1144" y="2013"/>
                    <a:pt x="1144" y="1988"/>
                    <a:pt x="1176" y="1999"/>
                  </a:cubicBezTo>
                  <a:cubicBezTo>
                    <a:pt x="1209" y="2010"/>
                    <a:pt x="1212" y="2021"/>
                    <a:pt x="1242" y="2004"/>
                  </a:cubicBezTo>
                  <a:cubicBezTo>
                    <a:pt x="1271" y="1988"/>
                    <a:pt x="1304" y="1952"/>
                    <a:pt x="1330" y="1982"/>
                  </a:cubicBezTo>
                  <a:cubicBezTo>
                    <a:pt x="1357" y="2013"/>
                    <a:pt x="1334" y="2021"/>
                    <a:pt x="1383" y="2024"/>
                  </a:cubicBezTo>
                  <a:cubicBezTo>
                    <a:pt x="1432" y="2027"/>
                    <a:pt x="1435" y="2038"/>
                    <a:pt x="1455" y="2018"/>
                  </a:cubicBezTo>
                  <a:cubicBezTo>
                    <a:pt x="1475" y="1999"/>
                    <a:pt x="1475" y="1985"/>
                    <a:pt x="1520" y="1990"/>
                  </a:cubicBezTo>
                  <a:cubicBezTo>
                    <a:pt x="1566" y="1996"/>
                    <a:pt x="1609" y="2013"/>
                    <a:pt x="1625" y="2027"/>
                  </a:cubicBezTo>
                  <a:cubicBezTo>
                    <a:pt x="1642" y="2041"/>
                    <a:pt x="1632" y="2054"/>
                    <a:pt x="1619" y="2077"/>
                  </a:cubicBezTo>
                  <a:cubicBezTo>
                    <a:pt x="1606" y="2099"/>
                    <a:pt x="1619" y="2116"/>
                    <a:pt x="1651" y="2118"/>
                  </a:cubicBezTo>
                  <a:cubicBezTo>
                    <a:pt x="1684" y="2121"/>
                    <a:pt x="1737" y="2077"/>
                    <a:pt x="1746" y="2107"/>
                  </a:cubicBezTo>
                  <a:cubicBezTo>
                    <a:pt x="1756" y="2138"/>
                    <a:pt x="1766" y="2166"/>
                    <a:pt x="1796" y="2188"/>
                  </a:cubicBezTo>
                  <a:cubicBezTo>
                    <a:pt x="1825" y="2210"/>
                    <a:pt x="1851" y="2210"/>
                    <a:pt x="1868" y="2210"/>
                  </a:cubicBezTo>
                  <a:cubicBezTo>
                    <a:pt x="1884" y="2210"/>
                    <a:pt x="1907" y="2199"/>
                    <a:pt x="1891" y="2180"/>
                  </a:cubicBezTo>
                  <a:cubicBezTo>
                    <a:pt x="1874" y="2160"/>
                    <a:pt x="1851" y="2149"/>
                    <a:pt x="1855" y="2118"/>
                  </a:cubicBezTo>
                  <a:cubicBezTo>
                    <a:pt x="1858" y="2088"/>
                    <a:pt x="1874" y="2068"/>
                    <a:pt x="1914" y="2071"/>
                  </a:cubicBezTo>
                  <a:cubicBezTo>
                    <a:pt x="1953" y="2074"/>
                    <a:pt x="1943" y="2082"/>
                    <a:pt x="1943" y="2107"/>
                  </a:cubicBezTo>
                  <a:cubicBezTo>
                    <a:pt x="1943" y="2132"/>
                    <a:pt x="1923" y="2149"/>
                    <a:pt x="1946" y="2166"/>
                  </a:cubicBezTo>
                  <a:cubicBezTo>
                    <a:pt x="1969" y="2182"/>
                    <a:pt x="1976" y="2185"/>
                    <a:pt x="1976" y="2205"/>
                  </a:cubicBezTo>
                  <a:cubicBezTo>
                    <a:pt x="1976" y="2224"/>
                    <a:pt x="2041" y="2221"/>
                    <a:pt x="2054" y="2252"/>
                  </a:cubicBezTo>
                  <a:cubicBezTo>
                    <a:pt x="2068" y="2282"/>
                    <a:pt x="2081" y="2299"/>
                    <a:pt x="2110" y="2296"/>
                  </a:cubicBezTo>
                  <a:cubicBezTo>
                    <a:pt x="2140" y="2293"/>
                    <a:pt x="2159" y="2288"/>
                    <a:pt x="2156" y="2255"/>
                  </a:cubicBezTo>
                  <a:cubicBezTo>
                    <a:pt x="2153" y="2221"/>
                    <a:pt x="2136" y="2207"/>
                    <a:pt x="2169" y="2199"/>
                  </a:cubicBezTo>
                  <a:cubicBezTo>
                    <a:pt x="2202" y="2191"/>
                    <a:pt x="2228" y="2196"/>
                    <a:pt x="2241" y="2168"/>
                  </a:cubicBezTo>
                  <a:cubicBezTo>
                    <a:pt x="2254" y="2141"/>
                    <a:pt x="2274" y="2110"/>
                    <a:pt x="2284" y="2138"/>
                  </a:cubicBezTo>
                  <a:cubicBezTo>
                    <a:pt x="2294" y="2166"/>
                    <a:pt x="2297" y="2177"/>
                    <a:pt x="2330" y="2152"/>
                  </a:cubicBezTo>
                  <a:cubicBezTo>
                    <a:pt x="2362" y="2127"/>
                    <a:pt x="2336" y="2096"/>
                    <a:pt x="2376" y="2152"/>
                  </a:cubicBezTo>
                  <a:cubicBezTo>
                    <a:pt x="2415" y="2207"/>
                    <a:pt x="2395" y="2202"/>
                    <a:pt x="2431" y="2205"/>
                  </a:cubicBezTo>
                  <a:cubicBezTo>
                    <a:pt x="2460" y="2207"/>
                    <a:pt x="2517" y="2214"/>
                    <a:pt x="2587" y="2205"/>
                  </a:cubicBezTo>
                  <a:cubicBezTo>
                    <a:pt x="2577" y="2174"/>
                    <a:pt x="2552" y="2158"/>
                    <a:pt x="2552" y="2128"/>
                  </a:cubicBezTo>
                  <a:cubicBezTo>
                    <a:pt x="2552" y="2095"/>
                    <a:pt x="2539" y="2018"/>
                    <a:pt x="2507" y="1988"/>
                  </a:cubicBezTo>
                  <a:cubicBezTo>
                    <a:pt x="2474" y="1957"/>
                    <a:pt x="2457" y="1927"/>
                    <a:pt x="2438" y="1908"/>
                  </a:cubicBezTo>
                  <a:cubicBezTo>
                    <a:pt x="2418" y="1890"/>
                    <a:pt x="2405" y="1863"/>
                    <a:pt x="2436" y="1854"/>
                  </a:cubicBezTo>
                  <a:cubicBezTo>
                    <a:pt x="2467" y="1846"/>
                    <a:pt x="2510" y="1835"/>
                    <a:pt x="2515" y="1808"/>
                  </a:cubicBezTo>
                  <a:cubicBezTo>
                    <a:pt x="2520" y="1782"/>
                    <a:pt x="2533" y="1715"/>
                    <a:pt x="2559" y="1718"/>
                  </a:cubicBezTo>
                  <a:cubicBezTo>
                    <a:pt x="2585" y="1721"/>
                    <a:pt x="2621" y="1736"/>
                    <a:pt x="2661" y="1735"/>
                  </a:cubicBezTo>
                  <a:cubicBezTo>
                    <a:pt x="2700" y="1733"/>
                    <a:pt x="2718" y="1738"/>
                    <a:pt x="2733" y="1728"/>
                  </a:cubicBezTo>
                  <a:cubicBezTo>
                    <a:pt x="2747" y="1718"/>
                    <a:pt x="2751" y="1722"/>
                    <a:pt x="2760" y="1726"/>
                  </a:cubicBezTo>
                  <a:cubicBezTo>
                    <a:pt x="2770" y="1731"/>
                    <a:pt x="2806" y="1735"/>
                    <a:pt x="2810" y="1722"/>
                  </a:cubicBezTo>
                  <a:cubicBezTo>
                    <a:pt x="2813" y="1710"/>
                    <a:pt x="2811" y="1672"/>
                    <a:pt x="2800" y="1657"/>
                  </a:cubicBezTo>
                  <a:cubicBezTo>
                    <a:pt x="2788" y="1642"/>
                    <a:pt x="2775" y="1617"/>
                    <a:pt x="2795" y="1603"/>
                  </a:cubicBezTo>
                  <a:cubicBezTo>
                    <a:pt x="2815" y="1589"/>
                    <a:pt x="2847" y="1560"/>
                    <a:pt x="2831" y="1542"/>
                  </a:cubicBezTo>
                  <a:cubicBezTo>
                    <a:pt x="2815" y="1523"/>
                    <a:pt x="2805" y="1512"/>
                    <a:pt x="2824" y="1501"/>
                  </a:cubicBezTo>
                  <a:cubicBezTo>
                    <a:pt x="2844" y="1490"/>
                    <a:pt x="2857" y="1482"/>
                    <a:pt x="2851" y="1465"/>
                  </a:cubicBezTo>
                  <a:cubicBezTo>
                    <a:pt x="2844" y="1448"/>
                    <a:pt x="2813" y="1430"/>
                    <a:pt x="2839" y="1415"/>
                  </a:cubicBezTo>
                  <a:cubicBezTo>
                    <a:pt x="2865" y="1400"/>
                    <a:pt x="2877" y="1380"/>
                    <a:pt x="2857" y="1357"/>
                  </a:cubicBezTo>
                  <a:cubicBezTo>
                    <a:pt x="2837" y="1333"/>
                    <a:pt x="2811" y="1326"/>
                    <a:pt x="2836" y="1308"/>
                  </a:cubicBezTo>
                  <a:cubicBezTo>
                    <a:pt x="2860" y="1290"/>
                    <a:pt x="2851" y="1266"/>
                    <a:pt x="2836" y="1247"/>
                  </a:cubicBezTo>
                  <a:cubicBezTo>
                    <a:pt x="2821" y="1227"/>
                    <a:pt x="2826" y="1211"/>
                    <a:pt x="2834" y="1193"/>
                  </a:cubicBezTo>
                  <a:cubicBezTo>
                    <a:pt x="2842" y="1175"/>
                    <a:pt x="2859" y="1163"/>
                    <a:pt x="2841" y="1148"/>
                  </a:cubicBezTo>
                  <a:cubicBezTo>
                    <a:pt x="2823" y="1133"/>
                    <a:pt x="2810" y="1104"/>
                    <a:pt x="2828" y="1088"/>
                  </a:cubicBezTo>
                  <a:cubicBezTo>
                    <a:pt x="2846" y="1073"/>
                    <a:pt x="2854" y="1065"/>
                    <a:pt x="2870" y="1063"/>
                  </a:cubicBezTo>
                  <a:cubicBezTo>
                    <a:pt x="2887" y="1062"/>
                    <a:pt x="2901" y="1036"/>
                    <a:pt x="2901" y="1013"/>
                  </a:cubicBezTo>
                  <a:cubicBezTo>
                    <a:pt x="2901" y="991"/>
                    <a:pt x="2900" y="977"/>
                    <a:pt x="2867" y="958"/>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51" name="Freeform 10">
              <a:extLst>
                <a:ext uri="{FF2B5EF4-FFF2-40B4-BE49-F238E27FC236}">
                  <a16:creationId xmlns:a16="http://schemas.microsoft.com/office/drawing/2014/main" id="{B16F2BA5-CC51-1342-90DC-81A411821BA6}"/>
                </a:ext>
              </a:extLst>
            </p:cNvPr>
            <p:cNvSpPr>
              <a:spLocks/>
            </p:cNvSpPr>
            <p:nvPr/>
          </p:nvSpPr>
          <p:spPr bwMode="auto">
            <a:xfrm>
              <a:off x="4491" y="1174"/>
              <a:ext cx="677" cy="606"/>
            </a:xfrm>
            <a:custGeom>
              <a:avLst/>
              <a:gdLst>
                <a:gd name="T0" fmla="*/ 1410 w 1462"/>
                <a:gd name="T1" fmla="*/ 456 h 1310"/>
                <a:gd name="T2" fmla="*/ 1321 w 1462"/>
                <a:gd name="T3" fmla="*/ 328 h 1310"/>
                <a:gd name="T4" fmla="*/ 1288 w 1462"/>
                <a:gd name="T5" fmla="*/ 242 h 1310"/>
                <a:gd name="T6" fmla="*/ 1187 w 1462"/>
                <a:gd name="T7" fmla="*/ 148 h 1310"/>
                <a:gd name="T8" fmla="*/ 1125 w 1462"/>
                <a:gd name="T9" fmla="*/ 78 h 1310"/>
                <a:gd name="T10" fmla="*/ 1056 w 1462"/>
                <a:gd name="T11" fmla="*/ 117 h 1310"/>
                <a:gd name="T12" fmla="*/ 1013 w 1462"/>
                <a:gd name="T13" fmla="*/ 61 h 1310"/>
                <a:gd name="T14" fmla="*/ 935 w 1462"/>
                <a:gd name="T15" fmla="*/ 31 h 1310"/>
                <a:gd name="T16" fmla="*/ 895 w 1462"/>
                <a:gd name="T17" fmla="*/ 22 h 1310"/>
                <a:gd name="T18" fmla="*/ 886 w 1462"/>
                <a:gd name="T19" fmla="*/ 47 h 1310"/>
                <a:gd name="T20" fmla="*/ 891 w 1462"/>
                <a:gd name="T21" fmla="*/ 57 h 1310"/>
                <a:gd name="T22" fmla="*/ 873 w 1462"/>
                <a:gd name="T23" fmla="*/ 127 h 1310"/>
                <a:gd name="T24" fmla="*/ 817 w 1462"/>
                <a:gd name="T25" fmla="*/ 172 h 1310"/>
                <a:gd name="T26" fmla="*/ 775 w 1462"/>
                <a:gd name="T27" fmla="*/ 227 h 1310"/>
                <a:gd name="T28" fmla="*/ 718 w 1462"/>
                <a:gd name="T29" fmla="*/ 236 h 1310"/>
                <a:gd name="T30" fmla="*/ 668 w 1462"/>
                <a:gd name="T31" fmla="*/ 227 h 1310"/>
                <a:gd name="T32" fmla="*/ 640 w 1462"/>
                <a:gd name="T33" fmla="*/ 327 h 1310"/>
                <a:gd name="T34" fmla="*/ 557 w 1462"/>
                <a:gd name="T35" fmla="*/ 316 h 1310"/>
                <a:gd name="T36" fmla="*/ 493 w 1462"/>
                <a:gd name="T37" fmla="*/ 338 h 1310"/>
                <a:gd name="T38" fmla="*/ 454 w 1462"/>
                <a:gd name="T39" fmla="*/ 355 h 1310"/>
                <a:gd name="T40" fmla="*/ 413 w 1462"/>
                <a:gd name="T41" fmla="*/ 414 h 1310"/>
                <a:gd name="T42" fmla="*/ 356 w 1462"/>
                <a:gd name="T43" fmla="*/ 444 h 1310"/>
                <a:gd name="T44" fmla="*/ 290 w 1462"/>
                <a:gd name="T45" fmla="*/ 520 h 1310"/>
                <a:gd name="T46" fmla="*/ 233 w 1462"/>
                <a:gd name="T47" fmla="*/ 583 h 1310"/>
                <a:gd name="T48" fmla="*/ 179 w 1462"/>
                <a:gd name="T49" fmla="*/ 505 h 1310"/>
                <a:gd name="T50" fmla="*/ 107 w 1462"/>
                <a:gd name="T51" fmla="*/ 461 h 1310"/>
                <a:gd name="T52" fmla="*/ 65 w 1462"/>
                <a:gd name="T53" fmla="*/ 468 h 1310"/>
                <a:gd name="T54" fmla="*/ 61 w 1462"/>
                <a:gd name="T55" fmla="*/ 516 h 1310"/>
                <a:gd name="T56" fmla="*/ 78 w 1462"/>
                <a:gd name="T57" fmla="*/ 555 h 1310"/>
                <a:gd name="T58" fmla="*/ 94 w 1462"/>
                <a:gd name="T59" fmla="*/ 633 h 1310"/>
                <a:gd name="T60" fmla="*/ 107 w 1462"/>
                <a:gd name="T61" fmla="*/ 705 h 1310"/>
                <a:gd name="T62" fmla="*/ 54 w 1462"/>
                <a:gd name="T63" fmla="*/ 791 h 1310"/>
                <a:gd name="T64" fmla="*/ 24 w 1462"/>
                <a:gd name="T65" fmla="*/ 854 h 1310"/>
                <a:gd name="T66" fmla="*/ 94 w 1462"/>
                <a:gd name="T67" fmla="*/ 894 h 1310"/>
                <a:gd name="T68" fmla="*/ 198 w 1462"/>
                <a:gd name="T69" fmla="*/ 930 h 1310"/>
                <a:gd name="T70" fmla="*/ 295 w 1462"/>
                <a:gd name="T71" fmla="*/ 1052 h 1310"/>
                <a:gd name="T72" fmla="*/ 415 w 1462"/>
                <a:gd name="T73" fmla="*/ 928 h 1310"/>
                <a:gd name="T74" fmla="*/ 550 w 1462"/>
                <a:gd name="T75" fmla="*/ 757 h 1310"/>
                <a:gd name="T76" fmla="*/ 716 w 1462"/>
                <a:gd name="T77" fmla="*/ 791 h 1310"/>
                <a:gd name="T78" fmla="*/ 764 w 1462"/>
                <a:gd name="T79" fmla="*/ 872 h 1310"/>
                <a:gd name="T80" fmla="*/ 672 w 1462"/>
                <a:gd name="T81" fmla="*/ 991 h 1310"/>
                <a:gd name="T82" fmla="*/ 633 w 1462"/>
                <a:gd name="T83" fmla="*/ 1091 h 1310"/>
                <a:gd name="T84" fmla="*/ 699 w 1462"/>
                <a:gd name="T85" fmla="*/ 1139 h 1310"/>
                <a:gd name="T86" fmla="*/ 725 w 1462"/>
                <a:gd name="T87" fmla="*/ 1161 h 1310"/>
                <a:gd name="T88" fmla="*/ 664 w 1462"/>
                <a:gd name="T89" fmla="*/ 1228 h 1310"/>
                <a:gd name="T90" fmla="*/ 620 w 1462"/>
                <a:gd name="T91" fmla="*/ 1284 h 1310"/>
                <a:gd name="T92" fmla="*/ 712 w 1462"/>
                <a:gd name="T93" fmla="*/ 1269 h 1310"/>
                <a:gd name="T94" fmla="*/ 830 w 1462"/>
                <a:gd name="T95" fmla="*/ 1161 h 1310"/>
                <a:gd name="T96" fmla="*/ 956 w 1462"/>
                <a:gd name="T97" fmla="*/ 1028 h 1310"/>
                <a:gd name="T98" fmla="*/ 1061 w 1462"/>
                <a:gd name="T99" fmla="*/ 965 h 1310"/>
                <a:gd name="T100" fmla="*/ 1170 w 1462"/>
                <a:gd name="T101" fmla="*/ 920 h 1310"/>
                <a:gd name="T102" fmla="*/ 1239 w 1462"/>
                <a:gd name="T103" fmla="*/ 884 h 1310"/>
                <a:gd name="T104" fmla="*/ 1262 w 1462"/>
                <a:gd name="T105" fmla="*/ 802 h 1310"/>
                <a:gd name="T106" fmla="*/ 1411 w 1462"/>
                <a:gd name="T107" fmla="*/ 657 h 1310"/>
                <a:gd name="T108" fmla="*/ 1460 w 1462"/>
                <a:gd name="T109" fmla="*/ 630 h 1310"/>
                <a:gd name="T110" fmla="*/ 1462 w 1462"/>
                <a:gd name="T111" fmla="*/ 528 h 1310"/>
                <a:gd name="T112" fmla="*/ 1410 w 1462"/>
                <a:gd name="T113" fmla="*/ 456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62" h="1310">
                  <a:moveTo>
                    <a:pt x="1410" y="456"/>
                  </a:moveTo>
                  <a:cubicBezTo>
                    <a:pt x="1374" y="428"/>
                    <a:pt x="1321" y="384"/>
                    <a:pt x="1321" y="328"/>
                  </a:cubicBezTo>
                  <a:cubicBezTo>
                    <a:pt x="1321" y="273"/>
                    <a:pt x="1324" y="275"/>
                    <a:pt x="1288" y="242"/>
                  </a:cubicBezTo>
                  <a:cubicBezTo>
                    <a:pt x="1252" y="209"/>
                    <a:pt x="1213" y="195"/>
                    <a:pt x="1187" y="148"/>
                  </a:cubicBezTo>
                  <a:cubicBezTo>
                    <a:pt x="1161" y="100"/>
                    <a:pt x="1144" y="78"/>
                    <a:pt x="1125" y="78"/>
                  </a:cubicBezTo>
                  <a:cubicBezTo>
                    <a:pt x="1105" y="78"/>
                    <a:pt x="1098" y="173"/>
                    <a:pt x="1056" y="117"/>
                  </a:cubicBezTo>
                  <a:cubicBezTo>
                    <a:pt x="1013" y="61"/>
                    <a:pt x="1056" y="67"/>
                    <a:pt x="1013" y="61"/>
                  </a:cubicBezTo>
                  <a:cubicBezTo>
                    <a:pt x="971" y="56"/>
                    <a:pt x="957" y="47"/>
                    <a:pt x="935" y="31"/>
                  </a:cubicBezTo>
                  <a:cubicBezTo>
                    <a:pt x="912" y="14"/>
                    <a:pt x="908" y="0"/>
                    <a:pt x="895" y="22"/>
                  </a:cubicBezTo>
                  <a:cubicBezTo>
                    <a:pt x="890" y="31"/>
                    <a:pt x="888" y="40"/>
                    <a:pt x="886" y="47"/>
                  </a:cubicBezTo>
                  <a:cubicBezTo>
                    <a:pt x="888" y="49"/>
                    <a:pt x="890" y="52"/>
                    <a:pt x="891" y="57"/>
                  </a:cubicBezTo>
                  <a:cubicBezTo>
                    <a:pt x="895" y="81"/>
                    <a:pt x="908" y="105"/>
                    <a:pt x="873" y="127"/>
                  </a:cubicBezTo>
                  <a:cubicBezTo>
                    <a:pt x="838" y="149"/>
                    <a:pt x="817" y="140"/>
                    <a:pt x="817" y="172"/>
                  </a:cubicBezTo>
                  <a:cubicBezTo>
                    <a:pt x="817" y="203"/>
                    <a:pt x="797" y="222"/>
                    <a:pt x="775" y="227"/>
                  </a:cubicBezTo>
                  <a:cubicBezTo>
                    <a:pt x="753" y="233"/>
                    <a:pt x="734" y="246"/>
                    <a:pt x="718" y="236"/>
                  </a:cubicBezTo>
                  <a:cubicBezTo>
                    <a:pt x="703" y="227"/>
                    <a:pt x="675" y="211"/>
                    <a:pt x="668" y="227"/>
                  </a:cubicBezTo>
                  <a:cubicBezTo>
                    <a:pt x="662" y="244"/>
                    <a:pt x="681" y="331"/>
                    <a:pt x="640" y="327"/>
                  </a:cubicBezTo>
                  <a:cubicBezTo>
                    <a:pt x="598" y="324"/>
                    <a:pt x="576" y="285"/>
                    <a:pt x="557" y="316"/>
                  </a:cubicBezTo>
                  <a:cubicBezTo>
                    <a:pt x="537" y="348"/>
                    <a:pt x="513" y="338"/>
                    <a:pt x="493" y="338"/>
                  </a:cubicBezTo>
                  <a:cubicBezTo>
                    <a:pt x="474" y="338"/>
                    <a:pt x="458" y="331"/>
                    <a:pt x="454" y="355"/>
                  </a:cubicBezTo>
                  <a:cubicBezTo>
                    <a:pt x="450" y="379"/>
                    <a:pt x="441" y="401"/>
                    <a:pt x="413" y="414"/>
                  </a:cubicBezTo>
                  <a:cubicBezTo>
                    <a:pt x="384" y="427"/>
                    <a:pt x="373" y="424"/>
                    <a:pt x="356" y="444"/>
                  </a:cubicBezTo>
                  <a:cubicBezTo>
                    <a:pt x="338" y="464"/>
                    <a:pt x="297" y="494"/>
                    <a:pt x="290" y="520"/>
                  </a:cubicBezTo>
                  <a:cubicBezTo>
                    <a:pt x="284" y="546"/>
                    <a:pt x="260" y="620"/>
                    <a:pt x="233" y="583"/>
                  </a:cubicBezTo>
                  <a:cubicBezTo>
                    <a:pt x="207" y="546"/>
                    <a:pt x="209" y="535"/>
                    <a:pt x="179" y="505"/>
                  </a:cubicBezTo>
                  <a:cubicBezTo>
                    <a:pt x="148" y="476"/>
                    <a:pt x="124" y="487"/>
                    <a:pt x="107" y="461"/>
                  </a:cubicBezTo>
                  <a:cubicBezTo>
                    <a:pt x="89" y="435"/>
                    <a:pt x="72" y="453"/>
                    <a:pt x="65" y="468"/>
                  </a:cubicBezTo>
                  <a:cubicBezTo>
                    <a:pt x="59" y="483"/>
                    <a:pt x="35" y="503"/>
                    <a:pt x="61" y="516"/>
                  </a:cubicBezTo>
                  <a:cubicBezTo>
                    <a:pt x="87" y="529"/>
                    <a:pt x="78" y="539"/>
                    <a:pt x="78" y="555"/>
                  </a:cubicBezTo>
                  <a:cubicBezTo>
                    <a:pt x="78" y="572"/>
                    <a:pt x="70" y="600"/>
                    <a:pt x="94" y="633"/>
                  </a:cubicBezTo>
                  <a:cubicBezTo>
                    <a:pt x="118" y="666"/>
                    <a:pt x="129" y="681"/>
                    <a:pt x="107" y="705"/>
                  </a:cubicBezTo>
                  <a:cubicBezTo>
                    <a:pt x="85" y="729"/>
                    <a:pt x="59" y="763"/>
                    <a:pt x="54" y="791"/>
                  </a:cubicBezTo>
                  <a:cubicBezTo>
                    <a:pt x="50" y="818"/>
                    <a:pt x="0" y="818"/>
                    <a:pt x="24" y="854"/>
                  </a:cubicBezTo>
                  <a:cubicBezTo>
                    <a:pt x="48" y="889"/>
                    <a:pt x="63" y="891"/>
                    <a:pt x="94" y="894"/>
                  </a:cubicBezTo>
                  <a:cubicBezTo>
                    <a:pt x="124" y="898"/>
                    <a:pt x="190" y="907"/>
                    <a:pt x="198" y="930"/>
                  </a:cubicBezTo>
                  <a:cubicBezTo>
                    <a:pt x="206" y="949"/>
                    <a:pt x="264" y="1009"/>
                    <a:pt x="295" y="1052"/>
                  </a:cubicBezTo>
                  <a:cubicBezTo>
                    <a:pt x="330" y="1027"/>
                    <a:pt x="369" y="991"/>
                    <a:pt x="415" y="928"/>
                  </a:cubicBezTo>
                  <a:cubicBezTo>
                    <a:pt x="485" y="831"/>
                    <a:pt x="445" y="754"/>
                    <a:pt x="550" y="757"/>
                  </a:cubicBezTo>
                  <a:cubicBezTo>
                    <a:pt x="655" y="761"/>
                    <a:pt x="694" y="761"/>
                    <a:pt x="716" y="791"/>
                  </a:cubicBezTo>
                  <a:cubicBezTo>
                    <a:pt x="738" y="820"/>
                    <a:pt x="808" y="817"/>
                    <a:pt x="764" y="872"/>
                  </a:cubicBezTo>
                  <a:cubicBezTo>
                    <a:pt x="720" y="928"/>
                    <a:pt x="694" y="972"/>
                    <a:pt x="672" y="991"/>
                  </a:cubicBezTo>
                  <a:cubicBezTo>
                    <a:pt x="651" y="1009"/>
                    <a:pt x="594" y="1065"/>
                    <a:pt x="633" y="1091"/>
                  </a:cubicBezTo>
                  <a:cubicBezTo>
                    <a:pt x="672" y="1117"/>
                    <a:pt x="655" y="1135"/>
                    <a:pt x="699" y="1139"/>
                  </a:cubicBezTo>
                  <a:cubicBezTo>
                    <a:pt x="742" y="1143"/>
                    <a:pt x="738" y="1117"/>
                    <a:pt x="725" y="1161"/>
                  </a:cubicBezTo>
                  <a:cubicBezTo>
                    <a:pt x="712" y="1206"/>
                    <a:pt x="720" y="1213"/>
                    <a:pt x="664" y="1228"/>
                  </a:cubicBezTo>
                  <a:cubicBezTo>
                    <a:pt x="607" y="1243"/>
                    <a:pt x="616" y="1258"/>
                    <a:pt x="620" y="1284"/>
                  </a:cubicBezTo>
                  <a:cubicBezTo>
                    <a:pt x="624" y="1310"/>
                    <a:pt x="668" y="1295"/>
                    <a:pt x="712" y="1269"/>
                  </a:cubicBezTo>
                  <a:cubicBezTo>
                    <a:pt x="755" y="1243"/>
                    <a:pt x="803" y="1206"/>
                    <a:pt x="830" y="1161"/>
                  </a:cubicBezTo>
                  <a:cubicBezTo>
                    <a:pt x="856" y="1117"/>
                    <a:pt x="895" y="1057"/>
                    <a:pt x="956" y="1028"/>
                  </a:cubicBezTo>
                  <a:cubicBezTo>
                    <a:pt x="1018" y="998"/>
                    <a:pt x="1009" y="987"/>
                    <a:pt x="1061" y="965"/>
                  </a:cubicBezTo>
                  <a:cubicBezTo>
                    <a:pt x="1114" y="943"/>
                    <a:pt x="1127" y="935"/>
                    <a:pt x="1170" y="920"/>
                  </a:cubicBezTo>
                  <a:cubicBezTo>
                    <a:pt x="1202" y="909"/>
                    <a:pt x="1216" y="885"/>
                    <a:pt x="1239" y="884"/>
                  </a:cubicBezTo>
                  <a:cubicBezTo>
                    <a:pt x="1240" y="852"/>
                    <a:pt x="1245" y="812"/>
                    <a:pt x="1262" y="802"/>
                  </a:cubicBezTo>
                  <a:cubicBezTo>
                    <a:pt x="1293" y="783"/>
                    <a:pt x="1358" y="683"/>
                    <a:pt x="1411" y="657"/>
                  </a:cubicBezTo>
                  <a:cubicBezTo>
                    <a:pt x="1425" y="650"/>
                    <a:pt x="1443" y="640"/>
                    <a:pt x="1460" y="630"/>
                  </a:cubicBezTo>
                  <a:cubicBezTo>
                    <a:pt x="1461" y="592"/>
                    <a:pt x="1462" y="543"/>
                    <a:pt x="1462" y="528"/>
                  </a:cubicBezTo>
                  <a:cubicBezTo>
                    <a:pt x="1462" y="503"/>
                    <a:pt x="1446" y="484"/>
                    <a:pt x="1410" y="45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52" name="Freeform 11">
              <a:extLst>
                <a:ext uri="{FF2B5EF4-FFF2-40B4-BE49-F238E27FC236}">
                  <a16:creationId xmlns:a16="http://schemas.microsoft.com/office/drawing/2014/main" id="{21D937CE-AB73-AD45-9163-F9EC9FDA249F}"/>
                </a:ext>
              </a:extLst>
            </p:cNvPr>
            <p:cNvSpPr>
              <a:spLocks/>
            </p:cNvSpPr>
            <p:nvPr/>
          </p:nvSpPr>
          <p:spPr bwMode="auto">
            <a:xfrm>
              <a:off x="4637" y="856"/>
              <a:ext cx="985" cy="609"/>
            </a:xfrm>
            <a:custGeom>
              <a:avLst/>
              <a:gdLst>
                <a:gd name="T0" fmla="*/ 2111 w 2127"/>
                <a:gd name="T1" fmla="*/ 367 h 1316"/>
                <a:gd name="T2" fmla="*/ 1900 w 2127"/>
                <a:gd name="T3" fmla="*/ 314 h 1316"/>
                <a:gd name="T4" fmla="*/ 1808 w 2127"/>
                <a:gd name="T5" fmla="*/ 300 h 1316"/>
                <a:gd name="T6" fmla="*/ 1693 w 2127"/>
                <a:gd name="T7" fmla="*/ 361 h 1316"/>
                <a:gd name="T8" fmla="*/ 1634 w 2127"/>
                <a:gd name="T9" fmla="*/ 458 h 1316"/>
                <a:gd name="T10" fmla="*/ 1500 w 2127"/>
                <a:gd name="T11" fmla="*/ 367 h 1316"/>
                <a:gd name="T12" fmla="*/ 1467 w 2127"/>
                <a:gd name="T13" fmla="*/ 269 h 1316"/>
                <a:gd name="T14" fmla="*/ 1379 w 2127"/>
                <a:gd name="T15" fmla="*/ 280 h 1316"/>
                <a:gd name="T16" fmla="*/ 1392 w 2127"/>
                <a:gd name="T17" fmla="*/ 372 h 1316"/>
                <a:gd name="T18" fmla="*/ 1270 w 2127"/>
                <a:gd name="T19" fmla="*/ 269 h 1316"/>
                <a:gd name="T20" fmla="*/ 1143 w 2127"/>
                <a:gd name="T21" fmla="*/ 239 h 1316"/>
                <a:gd name="T22" fmla="*/ 1044 w 2127"/>
                <a:gd name="T23" fmla="*/ 152 h 1316"/>
                <a:gd name="T24" fmla="*/ 907 w 2127"/>
                <a:gd name="T25" fmla="*/ 186 h 1316"/>
                <a:gd name="T26" fmla="*/ 766 w 2127"/>
                <a:gd name="T27" fmla="*/ 166 h 1316"/>
                <a:gd name="T28" fmla="*/ 638 w 2127"/>
                <a:gd name="T29" fmla="*/ 189 h 1316"/>
                <a:gd name="T30" fmla="*/ 494 w 2127"/>
                <a:gd name="T31" fmla="*/ 111 h 1316"/>
                <a:gd name="T32" fmla="*/ 402 w 2127"/>
                <a:gd name="T33" fmla="*/ 16 h 1316"/>
                <a:gd name="T34" fmla="*/ 290 w 2127"/>
                <a:gd name="T35" fmla="*/ 51 h 1316"/>
                <a:gd name="T36" fmla="*/ 245 w 2127"/>
                <a:gd name="T37" fmla="*/ 114 h 1316"/>
                <a:gd name="T38" fmla="*/ 160 w 2127"/>
                <a:gd name="T39" fmla="*/ 157 h 1316"/>
                <a:gd name="T40" fmla="*/ 64 w 2127"/>
                <a:gd name="T41" fmla="*/ 146 h 1316"/>
                <a:gd name="T42" fmla="*/ 103 w 2127"/>
                <a:gd name="T43" fmla="*/ 239 h 1316"/>
                <a:gd name="T44" fmla="*/ 177 w 2127"/>
                <a:gd name="T45" fmla="*/ 316 h 1316"/>
                <a:gd name="T46" fmla="*/ 180 w 2127"/>
                <a:gd name="T47" fmla="*/ 478 h 1316"/>
                <a:gd name="T48" fmla="*/ 271 w 2127"/>
                <a:gd name="T49" fmla="*/ 569 h 1316"/>
                <a:gd name="T50" fmla="*/ 404 w 2127"/>
                <a:gd name="T51" fmla="*/ 493 h 1316"/>
                <a:gd name="T52" fmla="*/ 512 w 2127"/>
                <a:gd name="T53" fmla="*/ 637 h 1316"/>
                <a:gd name="T54" fmla="*/ 570 w 2127"/>
                <a:gd name="T55" fmla="*/ 733 h 1316"/>
                <a:gd name="T56" fmla="*/ 619 w 2127"/>
                <a:gd name="T57" fmla="*/ 717 h 1316"/>
                <a:gd name="T58" fmla="*/ 740 w 2127"/>
                <a:gd name="T59" fmla="*/ 803 h 1316"/>
                <a:gd name="T60" fmla="*/ 871 w 2127"/>
                <a:gd name="T61" fmla="*/ 834 h 1316"/>
                <a:gd name="T62" fmla="*/ 1005 w 2127"/>
                <a:gd name="T63" fmla="*/ 1014 h 1316"/>
                <a:gd name="T64" fmla="*/ 1146 w 2127"/>
                <a:gd name="T65" fmla="*/ 1214 h 1316"/>
                <a:gd name="T66" fmla="*/ 1243 w 2127"/>
                <a:gd name="T67" fmla="*/ 1228 h 1316"/>
                <a:gd name="T68" fmla="*/ 1339 w 2127"/>
                <a:gd name="T69" fmla="*/ 995 h 1316"/>
                <a:gd name="T70" fmla="*/ 1470 w 2127"/>
                <a:gd name="T71" fmla="*/ 1039 h 1316"/>
                <a:gd name="T72" fmla="*/ 1552 w 2127"/>
                <a:gd name="T73" fmla="*/ 1039 h 1316"/>
                <a:gd name="T74" fmla="*/ 1647 w 2127"/>
                <a:gd name="T75" fmla="*/ 1017 h 1316"/>
                <a:gd name="T76" fmla="*/ 1587 w 2127"/>
                <a:gd name="T77" fmla="*/ 911 h 1316"/>
                <a:gd name="T78" fmla="*/ 1693 w 2127"/>
                <a:gd name="T79" fmla="*/ 846 h 1316"/>
                <a:gd name="T80" fmla="*/ 1811 w 2127"/>
                <a:gd name="T81" fmla="*/ 714 h 1316"/>
                <a:gd name="T82" fmla="*/ 1862 w 2127"/>
                <a:gd name="T83" fmla="*/ 588 h 1316"/>
                <a:gd name="T84" fmla="*/ 1978 w 2127"/>
                <a:gd name="T85" fmla="*/ 596 h 1316"/>
                <a:gd name="T86" fmla="*/ 2127 w 2127"/>
                <a:gd name="T87" fmla="*/ 489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27" h="1316">
                  <a:moveTo>
                    <a:pt x="2114" y="376"/>
                  </a:moveTo>
                  <a:cubicBezTo>
                    <a:pt x="2113" y="373"/>
                    <a:pt x="2112" y="370"/>
                    <a:pt x="2111" y="367"/>
                  </a:cubicBezTo>
                  <a:cubicBezTo>
                    <a:pt x="2041" y="376"/>
                    <a:pt x="1984" y="369"/>
                    <a:pt x="1955" y="367"/>
                  </a:cubicBezTo>
                  <a:cubicBezTo>
                    <a:pt x="1919" y="364"/>
                    <a:pt x="1939" y="369"/>
                    <a:pt x="1900" y="314"/>
                  </a:cubicBezTo>
                  <a:cubicBezTo>
                    <a:pt x="1860" y="258"/>
                    <a:pt x="1886" y="289"/>
                    <a:pt x="1854" y="314"/>
                  </a:cubicBezTo>
                  <a:cubicBezTo>
                    <a:pt x="1821" y="339"/>
                    <a:pt x="1818" y="328"/>
                    <a:pt x="1808" y="300"/>
                  </a:cubicBezTo>
                  <a:cubicBezTo>
                    <a:pt x="1798" y="272"/>
                    <a:pt x="1778" y="303"/>
                    <a:pt x="1765" y="330"/>
                  </a:cubicBezTo>
                  <a:cubicBezTo>
                    <a:pt x="1752" y="358"/>
                    <a:pt x="1726" y="353"/>
                    <a:pt x="1693" y="361"/>
                  </a:cubicBezTo>
                  <a:cubicBezTo>
                    <a:pt x="1660" y="369"/>
                    <a:pt x="1677" y="383"/>
                    <a:pt x="1680" y="417"/>
                  </a:cubicBezTo>
                  <a:cubicBezTo>
                    <a:pt x="1683" y="450"/>
                    <a:pt x="1664" y="455"/>
                    <a:pt x="1634" y="458"/>
                  </a:cubicBezTo>
                  <a:cubicBezTo>
                    <a:pt x="1605" y="461"/>
                    <a:pt x="1592" y="444"/>
                    <a:pt x="1578" y="414"/>
                  </a:cubicBezTo>
                  <a:cubicBezTo>
                    <a:pt x="1565" y="383"/>
                    <a:pt x="1500" y="386"/>
                    <a:pt x="1500" y="367"/>
                  </a:cubicBezTo>
                  <a:cubicBezTo>
                    <a:pt x="1500" y="347"/>
                    <a:pt x="1493" y="344"/>
                    <a:pt x="1470" y="328"/>
                  </a:cubicBezTo>
                  <a:cubicBezTo>
                    <a:pt x="1447" y="311"/>
                    <a:pt x="1467" y="294"/>
                    <a:pt x="1467" y="269"/>
                  </a:cubicBezTo>
                  <a:cubicBezTo>
                    <a:pt x="1467" y="244"/>
                    <a:pt x="1477" y="236"/>
                    <a:pt x="1438" y="233"/>
                  </a:cubicBezTo>
                  <a:cubicBezTo>
                    <a:pt x="1398" y="230"/>
                    <a:pt x="1382" y="250"/>
                    <a:pt x="1379" y="280"/>
                  </a:cubicBezTo>
                  <a:cubicBezTo>
                    <a:pt x="1375" y="311"/>
                    <a:pt x="1398" y="322"/>
                    <a:pt x="1415" y="342"/>
                  </a:cubicBezTo>
                  <a:cubicBezTo>
                    <a:pt x="1431" y="361"/>
                    <a:pt x="1408" y="372"/>
                    <a:pt x="1392" y="372"/>
                  </a:cubicBezTo>
                  <a:cubicBezTo>
                    <a:pt x="1375" y="372"/>
                    <a:pt x="1349" y="372"/>
                    <a:pt x="1320" y="350"/>
                  </a:cubicBezTo>
                  <a:cubicBezTo>
                    <a:pt x="1290" y="328"/>
                    <a:pt x="1280" y="300"/>
                    <a:pt x="1270" y="269"/>
                  </a:cubicBezTo>
                  <a:cubicBezTo>
                    <a:pt x="1261" y="239"/>
                    <a:pt x="1208" y="283"/>
                    <a:pt x="1175" y="280"/>
                  </a:cubicBezTo>
                  <a:cubicBezTo>
                    <a:pt x="1143" y="278"/>
                    <a:pt x="1130" y="261"/>
                    <a:pt x="1143" y="239"/>
                  </a:cubicBezTo>
                  <a:cubicBezTo>
                    <a:pt x="1156" y="216"/>
                    <a:pt x="1166" y="203"/>
                    <a:pt x="1149" y="189"/>
                  </a:cubicBezTo>
                  <a:cubicBezTo>
                    <a:pt x="1133" y="175"/>
                    <a:pt x="1090" y="158"/>
                    <a:pt x="1044" y="152"/>
                  </a:cubicBezTo>
                  <a:cubicBezTo>
                    <a:pt x="999" y="147"/>
                    <a:pt x="999" y="161"/>
                    <a:pt x="979" y="180"/>
                  </a:cubicBezTo>
                  <a:cubicBezTo>
                    <a:pt x="959" y="200"/>
                    <a:pt x="956" y="189"/>
                    <a:pt x="907" y="186"/>
                  </a:cubicBezTo>
                  <a:cubicBezTo>
                    <a:pt x="858" y="183"/>
                    <a:pt x="881" y="175"/>
                    <a:pt x="854" y="144"/>
                  </a:cubicBezTo>
                  <a:cubicBezTo>
                    <a:pt x="828" y="114"/>
                    <a:pt x="795" y="150"/>
                    <a:pt x="766" y="166"/>
                  </a:cubicBezTo>
                  <a:cubicBezTo>
                    <a:pt x="736" y="183"/>
                    <a:pt x="733" y="172"/>
                    <a:pt x="700" y="161"/>
                  </a:cubicBezTo>
                  <a:cubicBezTo>
                    <a:pt x="668" y="150"/>
                    <a:pt x="668" y="175"/>
                    <a:pt x="638" y="189"/>
                  </a:cubicBezTo>
                  <a:cubicBezTo>
                    <a:pt x="609" y="203"/>
                    <a:pt x="602" y="197"/>
                    <a:pt x="563" y="169"/>
                  </a:cubicBezTo>
                  <a:cubicBezTo>
                    <a:pt x="524" y="141"/>
                    <a:pt x="527" y="127"/>
                    <a:pt x="494" y="111"/>
                  </a:cubicBezTo>
                  <a:cubicBezTo>
                    <a:pt x="461" y="94"/>
                    <a:pt x="474" y="55"/>
                    <a:pt x="458" y="27"/>
                  </a:cubicBezTo>
                  <a:cubicBezTo>
                    <a:pt x="442" y="0"/>
                    <a:pt x="432" y="16"/>
                    <a:pt x="402" y="16"/>
                  </a:cubicBezTo>
                  <a:cubicBezTo>
                    <a:pt x="373" y="16"/>
                    <a:pt x="376" y="30"/>
                    <a:pt x="330" y="41"/>
                  </a:cubicBezTo>
                  <a:cubicBezTo>
                    <a:pt x="313" y="45"/>
                    <a:pt x="300" y="49"/>
                    <a:pt x="290" y="51"/>
                  </a:cubicBezTo>
                  <a:cubicBezTo>
                    <a:pt x="291" y="55"/>
                    <a:pt x="290" y="59"/>
                    <a:pt x="287" y="64"/>
                  </a:cubicBezTo>
                  <a:cubicBezTo>
                    <a:pt x="271" y="89"/>
                    <a:pt x="243" y="81"/>
                    <a:pt x="245" y="114"/>
                  </a:cubicBezTo>
                  <a:cubicBezTo>
                    <a:pt x="247" y="148"/>
                    <a:pt x="265" y="213"/>
                    <a:pt x="221" y="189"/>
                  </a:cubicBezTo>
                  <a:cubicBezTo>
                    <a:pt x="177" y="165"/>
                    <a:pt x="180" y="139"/>
                    <a:pt x="160" y="157"/>
                  </a:cubicBezTo>
                  <a:cubicBezTo>
                    <a:pt x="140" y="176"/>
                    <a:pt x="142" y="183"/>
                    <a:pt x="116" y="170"/>
                  </a:cubicBezTo>
                  <a:cubicBezTo>
                    <a:pt x="90" y="157"/>
                    <a:pt x="73" y="131"/>
                    <a:pt x="64" y="146"/>
                  </a:cubicBezTo>
                  <a:cubicBezTo>
                    <a:pt x="55" y="161"/>
                    <a:pt x="0" y="215"/>
                    <a:pt x="35" y="226"/>
                  </a:cubicBezTo>
                  <a:cubicBezTo>
                    <a:pt x="70" y="237"/>
                    <a:pt x="99" y="211"/>
                    <a:pt x="103" y="239"/>
                  </a:cubicBezTo>
                  <a:cubicBezTo>
                    <a:pt x="107" y="266"/>
                    <a:pt x="110" y="266"/>
                    <a:pt x="134" y="278"/>
                  </a:cubicBezTo>
                  <a:cubicBezTo>
                    <a:pt x="158" y="289"/>
                    <a:pt x="180" y="292"/>
                    <a:pt x="177" y="316"/>
                  </a:cubicBezTo>
                  <a:cubicBezTo>
                    <a:pt x="175" y="341"/>
                    <a:pt x="136" y="392"/>
                    <a:pt x="147" y="420"/>
                  </a:cubicBezTo>
                  <a:cubicBezTo>
                    <a:pt x="158" y="448"/>
                    <a:pt x="169" y="457"/>
                    <a:pt x="180" y="478"/>
                  </a:cubicBezTo>
                  <a:cubicBezTo>
                    <a:pt x="190" y="498"/>
                    <a:pt x="219" y="502"/>
                    <a:pt x="225" y="535"/>
                  </a:cubicBezTo>
                  <a:cubicBezTo>
                    <a:pt x="232" y="569"/>
                    <a:pt x="236" y="593"/>
                    <a:pt x="271" y="569"/>
                  </a:cubicBezTo>
                  <a:cubicBezTo>
                    <a:pt x="306" y="544"/>
                    <a:pt x="341" y="537"/>
                    <a:pt x="352" y="515"/>
                  </a:cubicBezTo>
                  <a:cubicBezTo>
                    <a:pt x="363" y="493"/>
                    <a:pt x="398" y="463"/>
                    <a:pt x="404" y="493"/>
                  </a:cubicBezTo>
                  <a:cubicBezTo>
                    <a:pt x="411" y="522"/>
                    <a:pt x="463" y="531"/>
                    <a:pt x="468" y="567"/>
                  </a:cubicBezTo>
                  <a:cubicBezTo>
                    <a:pt x="472" y="602"/>
                    <a:pt x="498" y="607"/>
                    <a:pt x="512" y="637"/>
                  </a:cubicBezTo>
                  <a:cubicBezTo>
                    <a:pt x="525" y="667"/>
                    <a:pt x="503" y="721"/>
                    <a:pt x="522" y="730"/>
                  </a:cubicBezTo>
                  <a:cubicBezTo>
                    <a:pt x="538" y="737"/>
                    <a:pt x="560" y="726"/>
                    <a:pt x="570" y="733"/>
                  </a:cubicBezTo>
                  <a:cubicBezTo>
                    <a:pt x="572" y="726"/>
                    <a:pt x="574" y="717"/>
                    <a:pt x="579" y="708"/>
                  </a:cubicBezTo>
                  <a:cubicBezTo>
                    <a:pt x="592" y="686"/>
                    <a:pt x="596" y="700"/>
                    <a:pt x="619" y="717"/>
                  </a:cubicBezTo>
                  <a:cubicBezTo>
                    <a:pt x="641" y="733"/>
                    <a:pt x="655" y="742"/>
                    <a:pt x="697" y="747"/>
                  </a:cubicBezTo>
                  <a:cubicBezTo>
                    <a:pt x="740" y="753"/>
                    <a:pt x="697" y="747"/>
                    <a:pt x="740" y="803"/>
                  </a:cubicBezTo>
                  <a:cubicBezTo>
                    <a:pt x="782" y="859"/>
                    <a:pt x="789" y="764"/>
                    <a:pt x="809" y="764"/>
                  </a:cubicBezTo>
                  <a:cubicBezTo>
                    <a:pt x="828" y="764"/>
                    <a:pt x="845" y="786"/>
                    <a:pt x="871" y="834"/>
                  </a:cubicBezTo>
                  <a:cubicBezTo>
                    <a:pt x="897" y="881"/>
                    <a:pt x="936" y="895"/>
                    <a:pt x="972" y="928"/>
                  </a:cubicBezTo>
                  <a:cubicBezTo>
                    <a:pt x="1008" y="961"/>
                    <a:pt x="1005" y="959"/>
                    <a:pt x="1005" y="1014"/>
                  </a:cubicBezTo>
                  <a:cubicBezTo>
                    <a:pt x="1005" y="1070"/>
                    <a:pt x="1058" y="1114"/>
                    <a:pt x="1094" y="1142"/>
                  </a:cubicBezTo>
                  <a:cubicBezTo>
                    <a:pt x="1130" y="1170"/>
                    <a:pt x="1146" y="1189"/>
                    <a:pt x="1146" y="1214"/>
                  </a:cubicBezTo>
                  <a:cubicBezTo>
                    <a:pt x="1146" y="1229"/>
                    <a:pt x="1145" y="1278"/>
                    <a:pt x="1144" y="1316"/>
                  </a:cubicBezTo>
                  <a:cubicBezTo>
                    <a:pt x="1188" y="1289"/>
                    <a:pt x="1234" y="1255"/>
                    <a:pt x="1243" y="1228"/>
                  </a:cubicBezTo>
                  <a:cubicBezTo>
                    <a:pt x="1256" y="1191"/>
                    <a:pt x="1296" y="1139"/>
                    <a:pt x="1300" y="1106"/>
                  </a:cubicBezTo>
                  <a:cubicBezTo>
                    <a:pt x="1304" y="1073"/>
                    <a:pt x="1313" y="995"/>
                    <a:pt x="1339" y="995"/>
                  </a:cubicBezTo>
                  <a:cubicBezTo>
                    <a:pt x="1365" y="995"/>
                    <a:pt x="1392" y="1002"/>
                    <a:pt x="1409" y="1021"/>
                  </a:cubicBezTo>
                  <a:cubicBezTo>
                    <a:pt x="1427" y="1039"/>
                    <a:pt x="1440" y="1043"/>
                    <a:pt x="1470" y="1039"/>
                  </a:cubicBezTo>
                  <a:cubicBezTo>
                    <a:pt x="1501" y="1036"/>
                    <a:pt x="1492" y="1024"/>
                    <a:pt x="1515" y="1039"/>
                  </a:cubicBezTo>
                  <a:cubicBezTo>
                    <a:pt x="1537" y="1055"/>
                    <a:pt x="1544" y="1048"/>
                    <a:pt x="1552" y="1039"/>
                  </a:cubicBezTo>
                  <a:cubicBezTo>
                    <a:pt x="1560" y="1031"/>
                    <a:pt x="1580" y="1010"/>
                    <a:pt x="1595" y="1021"/>
                  </a:cubicBezTo>
                  <a:cubicBezTo>
                    <a:pt x="1610" y="1032"/>
                    <a:pt x="1639" y="1043"/>
                    <a:pt x="1647" y="1017"/>
                  </a:cubicBezTo>
                  <a:cubicBezTo>
                    <a:pt x="1655" y="991"/>
                    <a:pt x="1672" y="975"/>
                    <a:pt x="1649" y="960"/>
                  </a:cubicBezTo>
                  <a:cubicBezTo>
                    <a:pt x="1626" y="945"/>
                    <a:pt x="1587" y="936"/>
                    <a:pt x="1587" y="911"/>
                  </a:cubicBezTo>
                  <a:cubicBezTo>
                    <a:pt x="1587" y="886"/>
                    <a:pt x="1585" y="853"/>
                    <a:pt x="1613" y="854"/>
                  </a:cubicBezTo>
                  <a:cubicBezTo>
                    <a:pt x="1641" y="856"/>
                    <a:pt x="1657" y="863"/>
                    <a:pt x="1693" y="846"/>
                  </a:cubicBezTo>
                  <a:cubicBezTo>
                    <a:pt x="1729" y="829"/>
                    <a:pt x="1752" y="842"/>
                    <a:pt x="1773" y="802"/>
                  </a:cubicBezTo>
                  <a:cubicBezTo>
                    <a:pt x="1795" y="761"/>
                    <a:pt x="1777" y="722"/>
                    <a:pt x="1811" y="714"/>
                  </a:cubicBezTo>
                  <a:cubicBezTo>
                    <a:pt x="1845" y="706"/>
                    <a:pt x="1890" y="693"/>
                    <a:pt x="1881" y="667"/>
                  </a:cubicBezTo>
                  <a:cubicBezTo>
                    <a:pt x="1873" y="640"/>
                    <a:pt x="1859" y="604"/>
                    <a:pt x="1862" y="588"/>
                  </a:cubicBezTo>
                  <a:cubicBezTo>
                    <a:pt x="1865" y="571"/>
                    <a:pt x="1883" y="522"/>
                    <a:pt x="1922" y="546"/>
                  </a:cubicBezTo>
                  <a:cubicBezTo>
                    <a:pt x="1962" y="569"/>
                    <a:pt x="1937" y="586"/>
                    <a:pt x="1978" y="596"/>
                  </a:cubicBezTo>
                  <a:cubicBezTo>
                    <a:pt x="2019" y="606"/>
                    <a:pt x="1998" y="572"/>
                    <a:pt x="2034" y="553"/>
                  </a:cubicBezTo>
                  <a:cubicBezTo>
                    <a:pt x="2070" y="533"/>
                    <a:pt x="2127" y="526"/>
                    <a:pt x="2127" y="489"/>
                  </a:cubicBezTo>
                  <a:cubicBezTo>
                    <a:pt x="2127" y="451"/>
                    <a:pt x="2122" y="414"/>
                    <a:pt x="2114" y="37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1" name="Freeform 12">
              <a:extLst>
                <a:ext uri="{FF2B5EF4-FFF2-40B4-BE49-F238E27FC236}">
                  <a16:creationId xmlns:a16="http://schemas.microsoft.com/office/drawing/2014/main" id="{3C63BC8C-8ABD-3D4A-9E61-DCF0082F990B}"/>
                </a:ext>
              </a:extLst>
            </p:cNvPr>
            <p:cNvSpPr>
              <a:spLocks/>
            </p:cNvSpPr>
            <p:nvPr/>
          </p:nvSpPr>
          <p:spPr bwMode="auto">
            <a:xfrm>
              <a:off x="2375" y="68"/>
              <a:ext cx="2536" cy="2030"/>
            </a:xfrm>
            <a:custGeom>
              <a:avLst/>
              <a:gdLst>
                <a:gd name="T0" fmla="*/ 318 w 5477"/>
                <a:gd name="T1" fmla="*/ 3541 h 4382"/>
                <a:gd name="T2" fmla="*/ 498 w 5477"/>
                <a:gd name="T3" fmla="*/ 3760 h 4382"/>
                <a:gd name="T4" fmla="*/ 1096 w 5477"/>
                <a:gd name="T5" fmla="*/ 4000 h 4382"/>
                <a:gd name="T6" fmla="*/ 1349 w 5477"/>
                <a:gd name="T7" fmla="*/ 4245 h 4382"/>
                <a:gd name="T8" fmla="*/ 1817 w 5477"/>
                <a:gd name="T9" fmla="*/ 4278 h 4382"/>
                <a:gd name="T10" fmla="*/ 2000 w 5477"/>
                <a:gd name="T11" fmla="*/ 3871 h 4382"/>
                <a:gd name="T12" fmla="*/ 2166 w 5477"/>
                <a:gd name="T13" fmla="*/ 4182 h 4382"/>
                <a:gd name="T14" fmla="*/ 2516 w 5477"/>
                <a:gd name="T15" fmla="*/ 4204 h 4382"/>
                <a:gd name="T16" fmla="*/ 2765 w 5477"/>
                <a:gd name="T17" fmla="*/ 3860 h 4382"/>
                <a:gd name="T18" fmla="*/ 3057 w 5477"/>
                <a:gd name="T19" fmla="*/ 3737 h 4382"/>
                <a:gd name="T20" fmla="*/ 3385 w 5477"/>
                <a:gd name="T21" fmla="*/ 3504 h 4382"/>
                <a:gd name="T22" fmla="*/ 3547 w 5477"/>
                <a:gd name="T23" fmla="*/ 3352 h 4382"/>
                <a:gd name="T24" fmla="*/ 3625 w 5477"/>
                <a:gd name="T25" fmla="*/ 3059 h 4382"/>
                <a:gd name="T26" fmla="*/ 4005 w 5477"/>
                <a:gd name="T27" fmla="*/ 3029 h 4382"/>
                <a:gd name="T28" fmla="*/ 4237 w 5477"/>
                <a:gd name="T29" fmla="*/ 2837 h 4382"/>
                <a:gd name="T30" fmla="*/ 4477 w 5477"/>
                <a:gd name="T31" fmla="*/ 3129 h 4382"/>
                <a:gd name="T32" fmla="*/ 4647 w 5477"/>
                <a:gd name="T33" fmla="*/ 2942 h 4382"/>
                <a:gd name="T34" fmla="*/ 4802 w 5477"/>
                <a:gd name="T35" fmla="*/ 2970 h 4382"/>
                <a:gd name="T36" fmla="*/ 5062 w 5477"/>
                <a:gd name="T37" fmla="*/ 2725 h 4382"/>
                <a:gd name="T38" fmla="*/ 5344 w 5477"/>
                <a:gd name="T39" fmla="*/ 2614 h 4382"/>
                <a:gd name="T40" fmla="*/ 5397 w 5477"/>
                <a:gd name="T41" fmla="*/ 2338 h 4382"/>
                <a:gd name="T42" fmla="*/ 5110 w 5477"/>
                <a:gd name="T43" fmla="*/ 2236 h 4382"/>
                <a:gd name="T44" fmla="*/ 4988 w 5477"/>
                <a:gd name="T45" fmla="*/ 1940 h 4382"/>
                <a:gd name="T46" fmla="*/ 5106 w 5477"/>
                <a:gd name="T47" fmla="*/ 1890 h 4382"/>
                <a:gd name="T48" fmla="*/ 5222 w 5477"/>
                <a:gd name="T49" fmla="*/ 1638 h 4382"/>
                <a:gd name="T50" fmla="*/ 4988 w 5477"/>
                <a:gd name="T51" fmla="*/ 1508 h 4382"/>
                <a:gd name="T52" fmla="*/ 5270 w 5477"/>
                <a:gd name="T53" fmla="*/ 1172 h 4382"/>
                <a:gd name="T54" fmla="*/ 5370 w 5477"/>
                <a:gd name="T55" fmla="*/ 932 h 4382"/>
                <a:gd name="T56" fmla="*/ 5418 w 5477"/>
                <a:gd name="T57" fmla="*/ 437 h 4382"/>
                <a:gd name="T58" fmla="*/ 4861 w 5477"/>
                <a:gd name="T59" fmla="*/ 466 h 4382"/>
                <a:gd name="T60" fmla="*/ 4619 w 5477"/>
                <a:gd name="T61" fmla="*/ 233 h 4382"/>
                <a:gd name="T62" fmla="*/ 4445 w 5477"/>
                <a:gd name="T63" fmla="*/ 0 h 4382"/>
                <a:gd name="T64" fmla="*/ 4370 w 5477"/>
                <a:gd name="T65" fmla="*/ 226 h 4382"/>
                <a:gd name="T66" fmla="*/ 4303 w 5477"/>
                <a:gd name="T67" fmla="*/ 541 h 4382"/>
                <a:gd name="T68" fmla="*/ 4239 w 5477"/>
                <a:gd name="T69" fmla="*/ 747 h 4382"/>
                <a:gd name="T70" fmla="*/ 4144 w 5477"/>
                <a:gd name="T71" fmla="*/ 957 h 4382"/>
                <a:gd name="T72" fmla="*/ 3764 w 5477"/>
                <a:gd name="T73" fmla="*/ 1100 h 4382"/>
                <a:gd name="T74" fmla="*/ 3630 w 5477"/>
                <a:gd name="T75" fmla="*/ 1506 h 4382"/>
                <a:gd name="T76" fmla="*/ 3970 w 5477"/>
                <a:gd name="T77" fmla="*/ 1564 h 4382"/>
                <a:gd name="T78" fmla="*/ 4314 w 5477"/>
                <a:gd name="T79" fmla="*/ 1498 h 4382"/>
                <a:gd name="T80" fmla="*/ 4429 w 5477"/>
                <a:gd name="T81" fmla="*/ 1778 h 4382"/>
                <a:gd name="T82" fmla="*/ 4108 w 5477"/>
                <a:gd name="T83" fmla="*/ 1831 h 4382"/>
                <a:gd name="T84" fmla="*/ 3843 w 5477"/>
                <a:gd name="T85" fmla="*/ 2098 h 4382"/>
                <a:gd name="T86" fmla="*/ 3361 w 5477"/>
                <a:gd name="T87" fmla="*/ 2387 h 4382"/>
                <a:gd name="T88" fmla="*/ 2945 w 5477"/>
                <a:gd name="T89" fmla="*/ 2498 h 4382"/>
                <a:gd name="T90" fmla="*/ 2883 w 5477"/>
                <a:gd name="T91" fmla="*/ 2807 h 4382"/>
                <a:gd name="T92" fmla="*/ 2381 w 5477"/>
                <a:gd name="T93" fmla="*/ 3068 h 4382"/>
                <a:gd name="T94" fmla="*/ 1756 w 5477"/>
                <a:gd name="T95" fmla="*/ 3241 h 4382"/>
                <a:gd name="T96" fmla="*/ 1372 w 5477"/>
                <a:gd name="T97" fmla="*/ 3280 h 4382"/>
                <a:gd name="T98" fmla="*/ 753 w 5477"/>
                <a:gd name="T99" fmla="*/ 3085 h 4382"/>
                <a:gd name="T100" fmla="*/ 137 w 5477"/>
                <a:gd name="T101" fmla="*/ 3043 h 4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77" h="4382">
                  <a:moveTo>
                    <a:pt x="26" y="3270"/>
                  </a:moveTo>
                  <a:cubicBezTo>
                    <a:pt x="0" y="3300"/>
                    <a:pt x="21" y="3322"/>
                    <a:pt x="21" y="3356"/>
                  </a:cubicBezTo>
                  <a:cubicBezTo>
                    <a:pt x="21" y="3389"/>
                    <a:pt x="61" y="3422"/>
                    <a:pt x="78" y="3459"/>
                  </a:cubicBezTo>
                  <a:cubicBezTo>
                    <a:pt x="96" y="3496"/>
                    <a:pt x="135" y="3519"/>
                    <a:pt x="187" y="3570"/>
                  </a:cubicBezTo>
                  <a:cubicBezTo>
                    <a:pt x="240" y="3622"/>
                    <a:pt x="292" y="3574"/>
                    <a:pt x="318" y="3541"/>
                  </a:cubicBezTo>
                  <a:cubicBezTo>
                    <a:pt x="345" y="3507"/>
                    <a:pt x="349" y="3500"/>
                    <a:pt x="375" y="3493"/>
                  </a:cubicBezTo>
                  <a:cubicBezTo>
                    <a:pt x="401" y="3485"/>
                    <a:pt x="546" y="3485"/>
                    <a:pt x="607" y="3507"/>
                  </a:cubicBezTo>
                  <a:cubicBezTo>
                    <a:pt x="668" y="3530"/>
                    <a:pt x="659" y="3567"/>
                    <a:pt x="655" y="3608"/>
                  </a:cubicBezTo>
                  <a:cubicBezTo>
                    <a:pt x="650" y="3648"/>
                    <a:pt x="607" y="3656"/>
                    <a:pt x="572" y="3667"/>
                  </a:cubicBezTo>
                  <a:cubicBezTo>
                    <a:pt x="537" y="3678"/>
                    <a:pt x="502" y="3741"/>
                    <a:pt x="498" y="3760"/>
                  </a:cubicBezTo>
                  <a:cubicBezTo>
                    <a:pt x="493" y="3778"/>
                    <a:pt x="581" y="3789"/>
                    <a:pt x="616" y="3826"/>
                  </a:cubicBezTo>
                  <a:cubicBezTo>
                    <a:pt x="650" y="3863"/>
                    <a:pt x="672" y="3848"/>
                    <a:pt x="720" y="3848"/>
                  </a:cubicBezTo>
                  <a:cubicBezTo>
                    <a:pt x="768" y="3848"/>
                    <a:pt x="733" y="3926"/>
                    <a:pt x="764" y="3963"/>
                  </a:cubicBezTo>
                  <a:cubicBezTo>
                    <a:pt x="795" y="4000"/>
                    <a:pt x="830" y="3982"/>
                    <a:pt x="891" y="4012"/>
                  </a:cubicBezTo>
                  <a:cubicBezTo>
                    <a:pt x="952" y="4041"/>
                    <a:pt x="1026" y="4015"/>
                    <a:pt x="1096" y="4000"/>
                  </a:cubicBezTo>
                  <a:cubicBezTo>
                    <a:pt x="1166" y="3986"/>
                    <a:pt x="1231" y="3904"/>
                    <a:pt x="1271" y="3871"/>
                  </a:cubicBezTo>
                  <a:cubicBezTo>
                    <a:pt x="1310" y="3837"/>
                    <a:pt x="1393" y="3874"/>
                    <a:pt x="1437" y="3904"/>
                  </a:cubicBezTo>
                  <a:cubicBezTo>
                    <a:pt x="1480" y="3934"/>
                    <a:pt x="1480" y="3974"/>
                    <a:pt x="1476" y="4034"/>
                  </a:cubicBezTo>
                  <a:cubicBezTo>
                    <a:pt x="1472" y="4093"/>
                    <a:pt x="1428" y="4119"/>
                    <a:pt x="1380" y="4134"/>
                  </a:cubicBezTo>
                  <a:cubicBezTo>
                    <a:pt x="1332" y="4149"/>
                    <a:pt x="1362" y="4201"/>
                    <a:pt x="1349" y="4245"/>
                  </a:cubicBezTo>
                  <a:cubicBezTo>
                    <a:pt x="1336" y="4290"/>
                    <a:pt x="1380" y="4293"/>
                    <a:pt x="1419" y="4323"/>
                  </a:cubicBezTo>
                  <a:cubicBezTo>
                    <a:pt x="1459" y="4353"/>
                    <a:pt x="1459" y="4382"/>
                    <a:pt x="1502" y="4375"/>
                  </a:cubicBezTo>
                  <a:cubicBezTo>
                    <a:pt x="1546" y="4367"/>
                    <a:pt x="1528" y="4330"/>
                    <a:pt x="1581" y="4345"/>
                  </a:cubicBezTo>
                  <a:cubicBezTo>
                    <a:pt x="1633" y="4360"/>
                    <a:pt x="1690" y="4315"/>
                    <a:pt x="1708" y="4282"/>
                  </a:cubicBezTo>
                  <a:cubicBezTo>
                    <a:pt x="1725" y="4249"/>
                    <a:pt x="1764" y="4282"/>
                    <a:pt x="1817" y="4278"/>
                  </a:cubicBezTo>
                  <a:cubicBezTo>
                    <a:pt x="1869" y="4275"/>
                    <a:pt x="1852" y="4208"/>
                    <a:pt x="1830" y="4197"/>
                  </a:cubicBezTo>
                  <a:cubicBezTo>
                    <a:pt x="1808" y="4186"/>
                    <a:pt x="1830" y="4138"/>
                    <a:pt x="1856" y="4112"/>
                  </a:cubicBezTo>
                  <a:cubicBezTo>
                    <a:pt x="1882" y="4086"/>
                    <a:pt x="1860" y="4037"/>
                    <a:pt x="1856" y="4004"/>
                  </a:cubicBezTo>
                  <a:cubicBezTo>
                    <a:pt x="1852" y="3971"/>
                    <a:pt x="1887" y="3960"/>
                    <a:pt x="1913" y="3923"/>
                  </a:cubicBezTo>
                  <a:cubicBezTo>
                    <a:pt x="1939" y="3886"/>
                    <a:pt x="1974" y="3889"/>
                    <a:pt x="2000" y="3871"/>
                  </a:cubicBezTo>
                  <a:cubicBezTo>
                    <a:pt x="2026" y="3852"/>
                    <a:pt x="2044" y="3889"/>
                    <a:pt x="2061" y="3904"/>
                  </a:cubicBezTo>
                  <a:cubicBezTo>
                    <a:pt x="2079" y="3919"/>
                    <a:pt x="2101" y="3949"/>
                    <a:pt x="2088" y="3978"/>
                  </a:cubicBezTo>
                  <a:cubicBezTo>
                    <a:pt x="2075" y="4008"/>
                    <a:pt x="2048" y="4023"/>
                    <a:pt x="2022" y="4049"/>
                  </a:cubicBezTo>
                  <a:cubicBezTo>
                    <a:pt x="1996" y="4075"/>
                    <a:pt x="2000" y="4134"/>
                    <a:pt x="2040" y="4160"/>
                  </a:cubicBezTo>
                  <a:cubicBezTo>
                    <a:pt x="2079" y="4186"/>
                    <a:pt x="2092" y="4160"/>
                    <a:pt x="2166" y="4182"/>
                  </a:cubicBezTo>
                  <a:cubicBezTo>
                    <a:pt x="2240" y="4204"/>
                    <a:pt x="2223" y="4252"/>
                    <a:pt x="2249" y="4252"/>
                  </a:cubicBezTo>
                  <a:cubicBezTo>
                    <a:pt x="2275" y="4252"/>
                    <a:pt x="2323" y="4264"/>
                    <a:pt x="2341" y="4241"/>
                  </a:cubicBezTo>
                  <a:cubicBezTo>
                    <a:pt x="2358" y="4219"/>
                    <a:pt x="2389" y="4252"/>
                    <a:pt x="2415" y="4278"/>
                  </a:cubicBezTo>
                  <a:cubicBezTo>
                    <a:pt x="2441" y="4304"/>
                    <a:pt x="2463" y="4256"/>
                    <a:pt x="2494" y="4256"/>
                  </a:cubicBezTo>
                  <a:cubicBezTo>
                    <a:pt x="2524" y="4256"/>
                    <a:pt x="2516" y="4241"/>
                    <a:pt x="2516" y="4204"/>
                  </a:cubicBezTo>
                  <a:cubicBezTo>
                    <a:pt x="2516" y="4167"/>
                    <a:pt x="2546" y="4156"/>
                    <a:pt x="2564" y="4130"/>
                  </a:cubicBezTo>
                  <a:cubicBezTo>
                    <a:pt x="2581" y="4104"/>
                    <a:pt x="2616" y="4082"/>
                    <a:pt x="2629" y="4052"/>
                  </a:cubicBezTo>
                  <a:cubicBezTo>
                    <a:pt x="2642" y="4023"/>
                    <a:pt x="2629" y="4023"/>
                    <a:pt x="2699" y="4015"/>
                  </a:cubicBezTo>
                  <a:cubicBezTo>
                    <a:pt x="2769" y="4008"/>
                    <a:pt x="2712" y="3960"/>
                    <a:pt x="2708" y="3923"/>
                  </a:cubicBezTo>
                  <a:cubicBezTo>
                    <a:pt x="2704" y="3886"/>
                    <a:pt x="2738" y="3882"/>
                    <a:pt x="2765" y="3860"/>
                  </a:cubicBezTo>
                  <a:cubicBezTo>
                    <a:pt x="2791" y="3837"/>
                    <a:pt x="2782" y="3823"/>
                    <a:pt x="2782" y="3797"/>
                  </a:cubicBezTo>
                  <a:cubicBezTo>
                    <a:pt x="2782" y="3771"/>
                    <a:pt x="2839" y="3811"/>
                    <a:pt x="2861" y="3826"/>
                  </a:cubicBezTo>
                  <a:cubicBezTo>
                    <a:pt x="2883" y="3841"/>
                    <a:pt x="2904" y="3830"/>
                    <a:pt x="2939" y="3774"/>
                  </a:cubicBezTo>
                  <a:cubicBezTo>
                    <a:pt x="2974" y="3719"/>
                    <a:pt x="2974" y="3774"/>
                    <a:pt x="3018" y="3793"/>
                  </a:cubicBezTo>
                  <a:cubicBezTo>
                    <a:pt x="3062" y="3811"/>
                    <a:pt x="3057" y="3774"/>
                    <a:pt x="3057" y="3737"/>
                  </a:cubicBezTo>
                  <a:cubicBezTo>
                    <a:pt x="3057" y="3700"/>
                    <a:pt x="3097" y="3726"/>
                    <a:pt x="3110" y="3734"/>
                  </a:cubicBezTo>
                  <a:cubicBezTo>
                    <a:pt x="3123" y="3741"/>
                    <a:pt x="3153" y="3722"/>
                    <a:pt x="3162" y="3697"/>
                  </a:cubicBezTo>
                  <a:cubicBezTo>
                    <a:pt x="3171" y="3671"/>
                    <a:pt x="3197" y="3589"/>
                    <a:pt x="3215" y="3563"/>
                  </a:cubicBezTo>
                  <a:cubicBezTo>
                    <a:pt x="3232" y="3537"/>
                    <a:pt x="3284" y="3548"/>
                    <a:pt x="3319" y="3563"/>
                  </a:cubicBezTo>
                  <a:cubicBezTo>
                    <a:pt x="3354" y="3578"/>
                    <a:pt x="3372" y="3530"/>
                    <a:pt x="3385" y="3504"/>
                  </a:cubicBezTo>
                  <a:cubicBezTo>
                    <a:pt x="3398" y="3478"/>
                    <a:pt x="3420" y="3500"/>
                    <a:pt x="3442" y="3519"/>
                  </a:cubicBezTo>
                  <a:cubicBezTo>
                    <a:pt x="3464" y="3537"/>
                    <a:pt x="3499" y="3515"/>
                    <a:pt x="3503" y="3489"/>
                  </a:cubicBezTo>
                  <a:cubicBezTo>
                    <a:pt x="3507" y="3463"/>
                    <a:pt x="3542" y="3478"/>
                    <a:pt x="3577" y="3470"/>
                  </a:cubicBezTo>
                  <a:cubicBezTo>
                    <a:pt x="3612" y="3463"/>
                    <a:pt x="3590" y="3411"/>
                    <a:pt x="3595" y="3396"/>
                  </a:cubicBezTo>
                  <a:cubicBezTo>
                    <a:pt x="3599" y="3381"/>
                    <a:pt x="3564" y="3381"/>
                    <a:pt x="3547" y="3352"/>
                  </a:cubicBezTo>
                  <a:cubicBezTo>
                    <a:pt x="3529" y="3322"/>
                    <a:pt x="3516" y="3311"/>
                    <a:pt x="3538" y="3300"/>
                  </a:cubicBezTo>
                  <a:cubicBezTo>
                    <a:pt x="3560" y="3289"/>
                    <a:pt x="3533" y="3270"/>
                    <a:pt x="3538" y="3233"/>
                  </a:cubicBezTo>
                  <a:cubicBezTo>
                    <a:pt x="3542" y="3196"/>
                    <a:pt x="3538" y="3189"/>
                    <a:pt x="3555" y="3185"/>
                  </a:cubicBezTo>
                  <a:cubicBezTo>
                    <a:pt x="3573" y="3181"/>
                    <a:pt x="3590" y="3159"/>
                    <a:pt x="3590" y="3129"/>
                  </a:cubicBezTo>
                  <a:cubicBezTo>
                    <a:pt x="3590" y="3100"/>
                    <a:pt x="3595" y="3089"/>
                    <a:pt x="3625" y="3059"/>
                  </a:cubicBezTo>
                  <a:cubicBezTo>
                    <a:pt x="3656" y="3029"/>
                    <a:pt x="3678" y="3026"/>
                    <a:pt x="3708" y="3048"/>
                  </a:cubicBezTo>
                  <a:cubicBezTo>
                    <a:pt x="3739" y="3070"/>
                    <a:pt x="3699" y="3129"/>
                    <a:pt x="3739" y="3166"/>
                  </a:cubicBezTo>
                  <a:cubicBezTo>
                    <a:pt x="3778" y="3204"/>
                    <a:pt x="3826" y="3118"/>
                    <a:pt x="3857" y="3085"/>
                  </a:cubicBezTo>
                  <a:cubicBezTo>
                    <a:pt x="3887" y="3052"/>
                    <a:pt x="3909" y="3048"/>
                    <a:pt x="3935" y="3070"/>
                  </a:cubicBezTo>
                  <a:cubicBezTo>
                    <a:pt x="3962" y="3092"/>
                    <a:pt x="3979" y="3066"/>
                    <a:pt x="4005" y="3029"/>
                  </a:cubicBezTo>
                  <a:cubicBezTo>
                    <a:pt x="4031" y="2992"/>
                    <a:pt x="4058" y="3018"/>
                    <a:pt x="4084" y="3033"/>
                  </a:cubicBezTo>
                  <a:cubicBezTo>
                    <a:pt x="4110" y="3048"/>
                    <a:pt x="4123" y="3018"/>
                    <a:pt x="4119" y="2996"/>
                  </a:cubicBezTo>
                  <a:cubicBezTo>
                    <a:pt x="4114" y="2974"/>
                    <a:pt x="4097" y="2959"/>
                    <a:pt x="4093" y="2929"/>
                  </a:cubicBezTo>
                  <a:cubicBezTo>
                    <a:pt x="4088" y="2900"/>
                    <a:pt x="4119" y="2885"/>
                    <a:pt x="4184" y="2870"/>
                  </a:cubicBezTo>
                  <a:cubicBezTo>
                    <a:pt x="4250" y="2855"/>
                    <a:pt x="4184" y="2870"/>
                    <a:pt x="4237" y="2837"/>
                  </a:cubicBezTo>
                  <a:cubicBezTo>
                    <a:pt x="4289" y="2803"/>
                    <a:pt x="4311" y="2855"/>
                    <a:pt x="4311" y="2855"/>
                  </a:cubicBezTo>
                  <a:cubicBezTo>
                    <a:pt x="4311" y="2855"/>
                    <a:pt x="4350" y="2914"/>
                    <a:pt x="4377" y="2929"/>
                  </a:cubicBezTo>
                  <a:cubicBezTo>
                    <a:pt x="4403" y="2944"/>
                    <a:pt x="4394" y="2959"/>
                    <a:pt x="4394" y="2992"/>
                  </a:cubicBezTo>
                  <a:cubicBezTo>
                    <a:pt x="4394" y="3026"/>
                    <a:pt x="4394" y="3037"/>
                    <a:pt x="4425" y="3052"/>
                  </a:cubicBezTo>
                  <a:cubicBezTo>
                    <a:pt x="4455" y="3066"/>
                    <a:pt x="4442" y="3103"/>
                    <a:pt x="4477" y="3129"/>
                  </a:cubicBezTo>
                  <a:cubicBezTo>
                    <a:pt x="4512" y="3155"/>
                    <a:pt x="4543" y="3129"/>
                    <a:pt x="4582" y="3129"/>
                  </a:cubicBezTo>
                  <a:cubicBezTo>
                    <a:pt x="4599" y="3129"/>
                    <a:pt x="4627" y="3126"/>
                    <a:pt x="4652" y="3122"/>
                  </a:cubicBezTo>
                  <a:cubicBezTo>
                    <a:pt x="4659" y="3111"/>
                    <a:pt x="4668" y="3101"/>
                    <a:pt x="4676" y="3092"/>
                  </a:cubicBezTo>
                  <a:cubicBezTo>
                    <a:pt x="4698" y="3068"/>
                    <a:pt x="4687" y="3053"/>
                    <a:pt x="4663" y="3020"/>
                  </a:cubicBezTo>
                  <a:cubicBezTo>
                    <a:pt x="4639" y="2987"/>
                    <a:pt x="4647" y="2959"/>
                    <a:pt x="4647" y="2942"/>
                  </a:cubicBezTo>
                  <a:cubicBezTo>
                    <a:pt x="4647" y="2926"/>
                    <a:pt x="4656" y="2916"/>
                    <a:pt x="4630" y="2903"/>
                  </a:cubicBezTo>
                  <a:cubicBezTo>
                    <a:pt x="4604" y="2890"/>
                    <a:pt x="4628" y="2870"/>
                    <a:pt x="4634" y="2855"/>
                  </a:cubicBezTo>
                  <a:cubicBezTo>
                    <a:pt x="4641" y="2840"/>
                    <a:pt x="4658" y="2822"/>
                    <a:pt x="4676" y="2848"/>
                  </a:cubicBezTo>
                  <a:cubicBezTo>
                    <a:pt x="4693" y="2874"/>
                    <a:pt x="4717" y="2863"/>
                    <a:pt x="4748" y="2892"/>
                  </a:cubicBezTo>
                  <a:cubicBezTo>
                    <a:pt x="4778" y="2922"/>
                    <a:pt x="4776" y="2933"/>
                    <a:pt x="4802" y="2970"/>
                  </a:cubicBezTo>
                  <a:cubicBezTo>
                    <a:pt x="4829" y="3007"/>
                    <a:pt x="4853" y="2933"/>
                    <a:pt x="4859" y="2907"/>
                  </a:cubicBezTo>
                  <a:cubicBezTo>
                    <a:pt x="4866" y="2881"/>
                    <a:pt x="4907" y="2851"/>
                    <a:pt x="4925" y="2831"/>
                  </a:cubicBezTo>
                  <a:cubicBezTo>
                    <a:pt x="4942" y="2811"/>
                    <a:pt x="4953" y="2814"/>
                    <a:pt x="4982" y="2801"/>
                  </a:cubicBezTo>
                  <a:cubicBezTo>
                    <a:pt x="5010" y="2788"/>
                    <a:pt x="5019" y="2766"/>
                    <a:pt x="5023" y="2742"/>
                  </a:cubicBezTo>
                  <a:cubicBezTo>
                    <a:pt x="5027" y="2718"/>
                    <a:pt x="5043" y="2725"/>
                    <a:pt x="5062" y="2725"/>
                  </a:cubicBezTo>
                  <a:cubicBezTo>
                    <a:pt x="5082" y="2725"/>
                    <a:pt x="5106" y="2735"/>
                    <a:pt x="5126" y="2703"/>
                  </a:cubicBezTo>
                  <a:cubicBezTo>
                    <a:pt x="5145" y="2672"/>
                    <a:pt x="5167" y="2711"/>
                    <a:pt x="5209" y="2714"/>
                  </a:cubicBezTo>
                  <a:cubicBezTo>
                    <a:pt x="5250" y="2718"/>
                    <a:pt x="5231" y="2631"/>
                    <a:pt x="5237" y="2614"/>
                  </a:cubicBezTo>
                  <a:cubicBezTo>
                    <a:pt x="5244" y="2598"/>
                    <a:pt x="5272" y="2614"/>
                    <a:pt x="5287" y="2623"/>
                  </a:cubicBezTo>
                  <a:cubicBezTo>
                    <a:pt x="5303" y="2633"/>
                    <a:pt x="5322" y="2620"/>
                    <a:pt x="5344" y="2614"/>
                  </a:cubicBezTo>
                  <a:cubicBezTo>
                    <a:pt x="5366" y="2609"/>
                    <a:pt x="5386" y="2590"/>
                    <a:pt x="5386" y="2559"/>
                  </a:cubicBezTo>
                  <a:cubicBezTo>
                    <a:pt x="5386" y="2527"/>
                    <a:pt x="5407" y="2536"/>
                    <a:pt x="5442" y="2514"/>
                  </a:cubicBezTo>
                  <a:cubicBezTo>
                    <a:pt x="5477" y="2492"/>
                    <a:pt x="5464" y="2468"/>
                    <a:pt x="5460" y="2444"/>
                  </a:cubicBezTo>
                  <a:cubicBezTo>
                    <a:pt x="5455" y="2420"/>
                    <a:pt x="5427" y="2440"/>
                    <a:pt x="5407" y="2431"/>
                  </a:cubicBezTo>
                  <a:cubicBezTo>
                    <a:pt x="5388" y="2422"/>
                    <a:pt x="5410" y="2368"/>
                    <a:pt x="5397" y="2338"/>
                  </a:cubicBezTo>
                  <a:cubicBezTo>
                    <a:pt x="5383" y="2308"/>
                    <a:pt x="5357" y="2303"/>
                    <a:pt x="5353" y="2268"/>
                  </a:cubicBezTo>
                  <a:cubicBezTo>
                    <a:pt x="5348" y="2232"/>
                    <a:pt x="5296" y="2223"/>
                    <a:pt x="5289" y="2194"/>
                  </a:cubicBezTo>
                  <a:cubicBezTo>
                    <a:pt x="5283" y="2164"/>
                    <a:pt x="5248" y="2194"/>
                    <a:pt x="5237" y="2216"/>
                  </a:cubicBezTo>
                  <a:cubicBezTo>
                    <a:pt x="5226" y="2238"/>
                    <a:pt x="5191" y="2245"/>
                    <a:pt x="5156" y="2270"/>
                  </a:cubicBezTo>
                  <a:cubicBezTo>
                    <a:pt x="5121" y="2294"/>
                    <a:pt x="5117" y="2270"/>
                    <a:pt x="5110" y="2236"/>
                  </a:cubicBezTo>
                  <a:cubicBezTo>
                    <a:pt x="5104" y="2203"/>
                    <a:pt x="5075" y="2199"/>
                    <a:pt x="5065" y="2179"/>
                  </a:cubicBezTo>
                  <a:cubicBezTo>
                    <a:pt x="5054" y="2158"/>
                    <a:pt x="5043" y="2149"/>
                    <a:pt x="5032" y="2121"/>
                  </a:cubicBezTo>
                  <a:cubicBezTo>
                    <a:pt x="5021" y="2093"/>
                    <a:pt x="5060" y="2042"/>
                    <a:pt x="5062" y="2017"/>
                  </a:cubicBezTo>
                  <a:cubicBezTo>
                    <a:pt x="5065" y="1993"/>
                    <a:pt x="5043" y="1990"/>
                    <a:pt x="5019" y="1979"/>
                  </a:cubicBezTo>
                  <a:cubicBezTo>
                    <a:pt x="4995" y="1967"/>
                    <a:pt x="4992" y="1967"/>
                    <a:pt x="4988" y="1940"/>
                  </a:cubicBezTo>
                  <a:cubicBezTo>
                    <a:pt x="4984" y="1912"/>
                    <a:pt x="4955" y="1938"/>
                    <a:pt x="4920" y="1927"/>
                  </a:cubicBezTo>
                  <a:cubicBezTo>
                    <a:pt x="4885" y="1916"/>
                    <a:pt x="4940" y="1862"/>
                    <a:pt x="4949" y="1847"/>
                  </a:cubicBezTo>
                  <a:cubicBezTo>
                    <a:pt x="4958" y="1832"/>
                    <a:pt x="4975" y="1858"/>
                    <a:pt x="5001" y="1871"/>
                  </a:cubicBezTo>
                  <a:cubicBezTo>
                    <a:pt x="5027" y="1884"/>
                    <a:pt x="5025" y="1877"/>
                    <a:pt x="5045" y="1858"/>
                  </a:cubicBezTo>
                  <a:cubicBezTo>
                    <a:pt x="5065" y="1840"/>
                    <a:pt x="5062" y="1866"/>
                    <a:pt x="5106" y="1890"/>
                  </a:cubicBezTo>
                  <a:cubicBezTo>
                    <a:pt x="5150" y="1914"/>
                    <a:pt x="5132" y="1849"/>
                    <a:pt x="5130" y="1815"/>
                  </a:cubicBezTo>
                  <a:cubicBezTo>
                    <a:pt x="5128" y="1782"/>
                    <a:pt x="5156" y="1790"/>
                    <a:pt x="5172" y="1765"/>
                  </a:cubicBezTo>
                  <a:cubicBezTo>
                    <a:pt x="5187" y="1741"/>
                    <a:pt x="5152" y="1741"/>
                    <a:pt x="5137" y="1727"/>
                  </a:cubicBezTo>
                  <a:cubicBezTo>
                    <a:pt x="5121" y="1712"/>
                    <a:pt x="5132" y="1684"/>
                    <a:pt x="5139" y="1662"/>
                  </a:cubicBezTo>
                  <a:cubicBezTo>
                    <a:pt x="5145" y="1639"/>
                    <a:pt x="5200" y="1645"/>
                    <a:pt x="5222" y="1638"/>
                  </a:cubicBezTo>
                  <a:cubicBezTo>
                    <a:pt x="5244" y="1630"/>
                    <a:pt x="5252" y="1608"/>
                    <a:pt x="5252" y="1591"/>
                  </a:cubicBezTo>
                  <a:cubicBezTo>
                    <a:pt x="5252" y="1575"/>
                    <a:pt x="5246" y="1576"/>
                    <a:pt x="5215" y="1595"/>
                  </a:cubicBezTo>
                  <a:cubicBezTo>
                    <a:pt x="5185" y="1613"/>
                    <a:pt x="5178" y="1602"/>
                    <a:pt x="5130" y="1593"/>
                  </a:cubicBezTo>
                  <a:cubicBezTo>
                    <a:pt x="5082" y="1584"/>
                    <a:pt x="5084" y="1576"/>
                    <a:pt x="5067" y="1562"/>
                  </a:cubicBezTo>
                  <a:cubicBezTo>
                    <a:pt x="5049" y="1547"/>
                    <a:pt x="5006" y="1528"/>
                    <a:pt x="4988" y="1508"/>
                  </a:cubicBezTo>
                  <a:cubicBezTo>
                    <a:pt x="4971" y="1487"/>
                    <a:pt x="4990" y="1445"/>
                    <a:pt x="5014" y="1426"/>
                  </a:cubicBezTo>
                  <a:cubicBezTo>
                    <a:pt x="5038" y="1408"/>
                    <a:pt x="5056" y="1378"/>
                    <a:pt x="5075" y="1347"/>
                  </a:cubicBezTo>
                  <a:cubicBezTo>
                    <a:pt x="5095" y="1315"/>
                    <a:pt x="5145" y="1267"/>
                    <a:pt x="5180" y="1228"/>
                  </a:cubicBezTo>
                  <a:cubicBezTo>
                    <a:pt x="5215" y="1189"/>
                    <a:pt x="5217" y="1161"/>
                    <a:pt x="5244" y="1132"/>
                  </a:cubicBezTo>
                  <a:cubicBezTo>
                    <a:pt x="5270" y="1102"/>
                    <a:pt x="5263" y="1146"/>
                    <a:pt x="5270" y="1172"/>
                  </a:cubicBezTo>
                  <a:cubicBezTo>
                    <a:pt x="5276" y="1198"/>
                    <a:pt x="5298" y="1208"/>
                    <a:pt x="5320" y="1219"/>
                  </a:cubicBezTo>
                  <a:cubicBezTo>
                    <a:pt x="5342" y="1230"/>
                    <a:pt x="5335" y="1172"/>
                    <a:pt x="5320" y="1152"/>
                  </a:cubicBezTo>
                  <a:cubicBezTo>
                    <a:pt x="5305" y="1132"/>
                    <a:pt x="5309" y="1096"/>
                    <a:pt x="5305" y="1067"/>
                  </a:cubicBezTo>
                  <a:cubicBezTo>
                    <a:pt x="5300" y="1037"/>
                    <a:pt x="5320" y="1006"/>
                    <a:pt x="5320" y="982"/>
                  </a:cubicBezTo>
                  <a:cubicBezTo>
                    <a:pt x="5320" y="957"/>
                    <a:pt x="5342" y="950"/>
                    <a:pt x="5370" y="932"/>
                  </a:cubicBezTo>
                  <a:cubicBezTo>
                    <a:pt x="5399" y="913"/>
                    <a:pt x="5388" y="839"/>
                    <a:pt x="5364" y="811"/>
                  </a:cubicBezTo>
                  <a:cubicBezTo>
                    <a:pt x="5340" y="783"/>
                    <a:pt x="5351" y="737"/>
                    <a:pt x="5346" y="694"/>
                  </a:cubicBezTo>
                  <a:cubicBezTo>
                    <a:pt x="5342" y="652"/>
                    <a:pt x="5366" y="605"/>
                    <a:pt x="5379" y="587"/>
                  </a:cubicBezTo>
                  <a:cubicBezTo>
                    <a:pt x="5392" y="568"/>
                    <a:pt x="5407" y="539"/>
                    <a:pt x="5390" y="511"/>
                  </a:cubicBezTo>
                  <a:cubicBezTo>
                    <a:pt x="5372" y="483"/>
                    <a:pt x="5421" y="465"/>
                    <a:pt x="5418" y="437"/>
                  </a:cubicBezTo>
                  <a:cubicBezTo>
                    <a:pt x="5416" y="409"/>
                    <a:pt x="5370" y="400"/>
                    <a:pt x="5329" y="368"/>
                  </a:cubicBezTo>
                  <a:cubicBezTo>
                    <a:pt x="5287" y="337"/>
                    <a:pt x="5314" y="322"/>
                    <a:pt x="5248" y="316"/>
                  </a:cubicBezTo>
                  <a:cubicBezTo>
                    <a:pt x="5182" y="311"/>
                    <a:pt x="5189" y="366"/>
                    <a:pt x="5150" y="405"/>
                  </a:cubicBezTo>
                  <a:cubicBezTo>
                    <a:pt x="5110" y="444"/>
                    <a:pt x="5084" y="427"/>
                    <a:pt x="5032" y="439"/>
                  </a:cubicBezTo>
                  <a:cubicBezTo>
                    <a:pt x="4979" y="450"/>
                    <a:pt x="4914" y="472"/>
                    <a:pt x="4861" y="466"/>
                  </a:cubicBezTo>
                  <a:cubicBezTo>
                    <a:pt x="4809" y="461"/>
                    <a:pt x="4783" y="422"/>
                    <a:pt x="4776" y="389"/>
                  </a:cubicBezTo>
                  <a:cubicBezTo>
                    <a:pt x="4770" y="355"/>
                    <a:pt x="4757" y="316"/>
                    <a:pt x="4757" y="266"/>
                  </a:cubicBezTo>
                  <a:cubicBezTo>
                    <a:pt x="4757" y="216"/>
                    <a:pt x="4743" y="238"/>
                    <a:pt x="4717" y="238"/>
                  </a:cubicBezTo>
                  <a:cubicBezTo>
                    <a:pt x="4691" y="238"/>
                    <a:pt x="4684" y="227"/>
                    <a:pt x="4665" y="199"/>
                  </a:cubicBezTo>
                  <a:cubicBezTo>
                    <a:pt x="4645" y="172"/>
                    <a:pt x="4619" y="199"/>
                    <a:pt x="4619" y="233"/>
                  </a:cubicBezTo>
                  <a:cubicBezTo>
                    <a:pt x="4619" y="266"/>
                    <a:pt x="4599" y="283"/>
                    <a:pt x="4573" y="250"/>
                  </a:cubicBezTo>
                  <a:cubicBezTo>
                    <a:pt x="4547" y="216"/>
                    <a:pt x="4540" y="227"/>
                    <a:pt x="4475" y="216"/>
                  </a:cubicBezTo>
                  <a:cubicBezTo>
                    <a:pt x="4409" y="205"/>
                    <a:pt x="4475" y="149"/>
                    <a:pt x="4508" y="111"/>
                  </a:cubicBezTo>
                  <a:cubicBezTo>
                    <a:pt x="4540" y="72"/>
                    <a:pt x="4514" y="61"/>
                    <a:pt x="4475" y="33"/>
                  </a:cubicBezTo>
                  <a:cubicBezTo>
                    <a:pt x="4464" y="25"/>
                    <a:pt x="4454" y="13"/>
                    <a:pt x="4445" y="0"/>
                  </a:cubicBezTo>
                  <a:cubicBezTo>
                    <a:pt x="4418" y="4"/>
                    <a:pt x="4389" y="5"/>
                    <a:pt x="4375" y="22"/>
                  </a:cubicBezTo>
                  <a:cubicBezTo>
                    <a:pt x="4355" y="44"/>
                    <a:pt x="4301" y="126"/>
                    <a:pt x="4280" y="147"/>
                  </a:cubicBezTo>
                  <a:cubicBezTo>
                    <a:pt x="4259" y="168"/>
                    <a:pt x="4231" y="179"/>
                    <a:pt x="4242" y="201"/>
                  </a:cubicBezTo>
                  <a:cubicBezTo>
                    <a:pt x="4254" y="223"/>
                    <a:pt x="4270" y="241"/>
                    <a:pt x="4291" y="226"/>
                  </a:cubicBezTo>
                  <a:cubicBezTo>
                    <a:pt x="4313" y="211"/>
                    <a:pt x="4360" y="198"/>
                    <a:pt x="4370" y="226"/>
                  </a:cubicBezTo>
                  <a:cubicBezTo>
                    <a:pt x="4380" y="254"/>
                    <a:pt x="4370" y="248"/>
                    <a:pt x="4372" y="269"/>
                  </a:cubicBezTo>
                  <a:cubicBezTo>
                    <a:pt x="4373" y="290"/>
                    <a:pt x="4399" y="291"/>
                    <a:pt x="4408" y="315"/>
                  </a:cubicBezTo>
                  <a:cubicBezTo>
                    <a:pt x="4416" y="338"/>
                    <a:pt x="4409" y="376"/>
                    <a:pt x="4396" y="393"/>
                  </a:cubicBezTo>
                  <a:cubicBezTo>
                    <a:pt x="4383" y="409"/>
                    <a:pt x="4332" y="437"/>
                    <a:pt x="4319" y="465"/>
                  </a:cubicBezTo>
                  <a:cubicBezTo>
                    <a:pt x="4306" y="493"/>
                    <a:pt x="4301" y="528"/>
                    <a:pt x="4303" y="541"/>
                  </a:cubicBezTo>
                  <a:cubicBezTo>
                    <a:pt x="4304" y="555"/>
                    <a:pt x="4303" y="565"/>
                    <a:pt x="4288" y="573"/>
                  </a:cubicBezTo>
                  <a:cubicBezTo>
                    <a:pt x="4273" y="582"/>
                    <a:pt x="4270" y="594"/>
                    <a:pt x="4277" y="615"/>
                  </a:cubicBezTo>
                  <a:cubicBezTo>
                    <a:pt x="4283" y="636"/>
                    <a:pt x="4277" y="644"/>
                    <a:pt x="4264" y="655"/>
                  </a:cubicBezTo>
                  <a:cubicBezTo>
                    <a:pt x="4250" y="667"/>
                    <a:pt x="4249" y="673"/>
                    <a:pt x="4254" y="696"/>
                  </a:cubicBezTo>
                  <a:cubicBezTo>
                    <a:pt x="4259" y="718"/>
                    <a:pt x="4254" y="730"/>
                    <a:pt x="4239" y="747"/>
                  </a:cubicBezTo>
                  <a:cubicBezTo>
                    <a:pt x="4224" y="764"/>
                    <a:pt x="4209" y="780"/>
                    <a:pt x="4211" y="799"/>
                  </a:cubicBezTo>
                  <a:cubicBezTo>
                    <a:pt x="4213" y="817"/>
                    <a:pt x="4205" y="826"/>
                    <a:pt x="4218" y="837"/>
                  </a:cubicBezTo>
                  <a:cubicBezTo>
                    <a:pt x="4231" y="849"/>
                    <a:pt x="4249" y="840"/>
                    <a:pt x="4252" y="867"/>
                  </a:cubicBezTo>
                  <a:cubicBezTo>
                    <a:pt x="4255" y="893"/>
                    <a:pt x="4247" y="918"/>
                    <a:pt x="4223" y="928"/>
                  </a:cubicBezTo>
                  <a:cubicBezTo>
                    <a:pt x="4198" y="938"/>
                    <a:pt x="4162" y="938"/>
                    <a:pt x="4144" y="957"/>
                  </a:cubicBezTo>
                  <a:cubicBezTo>
                    <a:pt x="4126" y="976"/>
                    <a:pt x="4069" y="1024"/>
                    <a:pt x="4047" y="1047"/>
                  </a:cubicBezTo>
                  <a:cubicBezTo>
                    <a:pt x="4026" y="1071"/>
                    <a:pt x="4011" y="1111"/>
                    <a:pt x="3957" y="1090"/>
                  </a:cubicBezTo>
                  <a:cubicBezTo>
                    <a:pt x="3903" y="1070"/>
                    <a:pt x="3938" y="1056"/>
                    <a:pt x="3888" y="1058"/>
                  </a:cubicBezTo>
                  <a:cubicBezTo>
                    <a:pt x="3850" y="1061"/>
                    <a:pt x="3806" y="1053"/>
                    <a:pt x="3777" y="1036"/>
                  </a:cubicBezTo>
                  <a:cubicBezTo>
                    <a:pt x="3771" y="1061"/>
                    <a:pt x="3765" y="1086"/>
                    <a:pt x="3764" y="1100"/>
                  </a:cubicBezTo>
                  <a:cubicBezTo>
                    <a:pt x="3761" y="1134"/>
                    <a:pt x="3738" y="1181"/>
                    <a:pt x="3725" y="1225"/>
                  </a:cubicBezTo>
                  <a:cubicBezTo>
                    <a:pt x="3711" y="1270"/>
                    <a:pt x="3705" y="1298"/>
                    <a:pt x="3695" y="1339"/>
                  </a:cubicBezTo>
                  <a:cubicBezTo>
                    <a:pt x="3685" y="1381"/>
                    <a:pt x="3675" y="1384"/>
                    <a:pt x="3675" y="1423"/>
                  </a:cubicBezTo>
                  <a:cubicBezTo>
                    <a:pt x="3675" y="1462"/>
                    <a:pt x="3666" y="1462"/>
                    <a:pt x="3636" y="1459"/>
                  </a:cubicBezTo>
                  <a:cubicBezTo>
                    <a:pt x="3607" y="1456"/>
                    <a:pt x="3623" y="1487"/>
                    <a:pt x="3630" y="1506"/>
                  </a:cubicBezTo>
                  <a:cubicBezTo>
                    <a:pt x="3636" y="1525"/>
                    <a:pt x="3649" y="1550"/>
                    <a:pt x="3682" y="1581"/>
                  </a:cubicBezTo>
                  <a:cubicBezTo>
                    <a:pt x="3715" y="1612"/>
                    <a:pt x="3725" y="1584"/>
                    <a:pt x="3751" y="1559"/>
                  </a:cubicBezTo>
                  <a:cubicBezTo>
                    <a:pt x="3777" y="1534"/>
                    <a:pt x="3787" y="1537"/>
                    <a:pt x="3810" y="1545"/>
                  </a:cubicBezTo>
                  <a:cubicBezTo>
                    <a:pt x="3833" y="1553"/>
                    <a:pt x="3872" y="1523"/>
                    <a:pt x="3892" y="1520"/>
                  </a:cubicBezTo>
                  <a:cubicBezTo>
                    <a:pt x="3911" y="1517"/>
                    <a:pt x="3951" y="1545"/>
                    <a:pt x="3970" y="1564"/>
                  </a:cubicBezTo>
                  <a:cubicBezTo>
                    <a:pt x="3990" y="1584"/>
                    <a:pt x="4016" y="1564"/>
                    <a:pt x="4016" y="1553"/>
                  </a:cubicBezTo>
                  <a:cubicBezTo>
                    <a:pt x="4016" y="1542"/>
                    <a:pt x="4042" y="1492"/>
                    <a:pt x="4055" y="1467"/>
                  </a:cubicBezTo>
                  <a:cubicBezTo>
                    <a:pt x="4069" y="1442"/>
                    <a:pt x="4101" y="1453"/>
                    <a:pt x="4134" y="1445"/>
                  </a:cubicBezTo>
                  <a:cubicBezTo>
                    <a:pt x="4167" y="1437"/>
                    <a:pt x="4213" y="1450"/>
                    <a:pt x="4223" y="1467"/>
                  </a:cubicBezTo>
                  <a:cubicBezTo>
                    <a:pt x="4232" y="1484"/>
                    <a:pt x="4291" y="1500"/>
                    <a:pt x="4314" y="1498"/>
                  </a:cubicBezTo>
                  <a:cubicBezTo>
                    <a:pt x="4337" y="1495"/>
                    <a:pt x="4344" y="1523"/>
                    <a:pt x="4344" y="1542"/>
                  </a:cubicBezTo>
                  <a:cubicBezTo>
                    <a:pt x="4344" y="1562"/>
                    <a:pt x="4399" y="1564"/>
                    <a:pt x="4439" y="1592"/>
                  </a:cubicBezTo>
                  <a:cubicBezTo>
                    <a:pt x="4478" y="1620"/>
                    <a:pt x="4481" y="1637"/>
                    <a:pt x="4511" y="1659"/>
                  </a:cubicBezTo>
                  <a:cubicBezTo>
                    <a:pt x="4540" y="1681"/>
                    <a:pt x="4544" y="1717"/>
                    <a:pt x="4527" y="1748"/>
                  </a:cubicBezTo>
                  <a:cubicBezTo>
                    <a:pt x="4511" y="1778"/>
                    <a:pt x="4491" y="1778"/>
                    <a:pt x="4429" y="1778"/>
                  </a:cubicBezTo>
                  <a:cubicBezTo>
                    <a:pt x="4367" y="1778"/>
                    <a:pt x="4373" y="1778"/>
                    <a:pt x="4360" y="1762"/>
                  </a:cubicBezTo>
                  <a:cubicBezTo>
                    <a:pt x="4347" y="1745"/>
                    <a:pt x="4311" y="1773"/>
                    <a:pt x="4311" y="1773"/>
                  </a:cubicBezTo>
                  <a:cubicBezTo>
                    <a:pt x="4311" y="1773"/>
                    <a:pt x="4282" y="1776"/>
                    <a:pt x="4229" y="1767"/>
                  </a:cubicBezTo>
                  <a:cubicBezTo>
                    <a:pt x="4177" y="1759"/>
                    <a:pt x="4183" y="1795"/>
                    <a:pt x="4147" y="1826"/>
                  </a:cubicBezTo>
                  <a:cubicBezTo>
                    <a:pt x="4111" y="1856"/>
                    <a:pt x="4114" y="1853"/>
                    <a:pt x="4108" y="1831"/>
                  </a:cubicBezTo>
                  <a:cubicBezTo>
                    <a:pt x="4101" y="1809"/>
                    <a:pt x="4055" y="1840"/>
                    <a:pt x="4052" y="1879"/>
                  </a:cubicBezTo>
                  <a:cubicBezTo>
                    <a:pt x="4049" y="1917"/>
                    <a:pt x="4036" y="1898"/>
                    <a:pt x="3980" y="1898"/>
                  </a:cubicBezTo>
                  <a:cubicBezTo>
                    <a:pt x="3924" y="1898"/>
                    <a:pt x="3977" y="1920"/>
                    <a:pt x="3918" y="1954"/>
                  </a:cubicBezTo>
                  <a:cubicBezTo>
                    <a:pt x="3859" y="1987"/>
                    <a:pt x="3852" y="2023"/>
                    <a:pt x="3865" y="2051"/>
                  </a:cubicBezTo>
                  <a:cubicBezTo>
                    <a:pt x="3879" y="2079"/>
                    <a:pt x="3885" y="2081"/>
                    <a:pt x="3843" y="2098"/>
                  </a:cubicBezTo>
                  <a:cubicBezTo>
                    <a:pt x="3800" y="2115"/>
                    <a:pt x="3813" y="2143"/>
                    <a:pt x="3748" y="2179"/>
                  </a:cubicBezTo>
                  <a:cubicBezTo>
                    <a:pt x="3682" y="2215"/>
                    <a:pt x="3646" y="2201"/>
                    <a:pt x="3594" y="2198"/>
                  </a:cubicBezTo>
                  <a:cubicBezTo>
                    <a:pt x="3541" y="2195"/>
                    <a:pt x="3551" y="2234"/>
                    <a:pt x="3518" y="2268"/>
                  </a:cubicBezTo>
                  <a:cubicBezTo>
                    <a:pt x="3485" y="2301"/>
                    <a:pt x="3505" y="2315"/>
                    <a:pt x="3453" y="2332"/>
                  </a:cubicBezTo>
                  <a:cubicBezTo>
                    <a:pt x="3400" y="2348"/>
                    <a:pt x="3410" y="2368"/>
                    <a:pt x="3361" y="2387"/>
                  </a:cubicBezTo>
                  <a:cubicBezTo>
                    <a:pt x="3312" y="2407"/>
                    <a:pt x="3266" y="2398"/>
                    <a:pt x="3227" y="2393"/>
                  </a:cubicBezTo>
                  <a:cubicBezTo>
                    <a:pt x="3187" y="2387"/>
                    <a:pt x="3174" y="2387"/>
                    <a:pt x="3148" y="2357"/>
                  </a:cubicBezTo>
                  <a:cubicBezTo>
                    <a:pt x="3122" y="2326"/>
                    <a:pt x="3105" y="2343"/>
                    <a:pt x="3060" y="2343"/>
                  </a:cubicBezTo>
                  <a:cubicBezTo>
                    <a:pt x="3014" y="2343"/>
                    <a:pt x="2991" y="2373"/>
                    <a:pt x="2981" y="2401"/>
                  </a:cubicBezTo>
                  <a:cubicBezTo>
                    <a:pt x="2971" y="2429"/>
                    <a:pt x="2965" y="2457"/>
                    <a:pt x="2945" y="2498"/>
                  </a:cubicBezTo>
                  <a:cubicBezTo>
                    <a:pt x="2925" y="2540"/>
                    <a:pt x="2945" y="2529"/>
                    <a:pt x="2961" y="2571"/>
                  </a:cubicBezTo>
                  <a:cubicBezTo>
                    <a:pt x="2978" y="2612"/>
                    <a:pt x="3004" y="2601"/>
                    <a:pt x="3037" y="2623"/>
                  </a:cubicBezTo>
                  <a:cubicBezTo>
                    <a:pt x="3069" y="2646"/>
                    <a:pt x="3073" y="2654"/>
                    <a:pt x="3063" y="2682"/>
                  </a:cubicBezTo>
                  <a:cubicBezTo>
                    <a:pt x="3053" y="2710"/>
                    <a:pt x="3007" y="2729"/>
                    <a:pt x="2974" y="2749"/>
                  </a:cubicBezTo>
                  <a:cubicBezTo>
                    <a:pt x="2942" y="2768"/>
                    <a:pt x="2915" y="2785"/>
                    <a:pt x="2883" y="2807"/>
                  </a:cubicBezTo>
                  <a:cubicBezTo>
                    <a:pt x="2850" y="2829"/>
                    <a:pt x="2850" y="2865"/>
                    <a:pt x="2804" y="2921"/>
                  </a:cubicBezTo>
                  <a:cubicBezTo>
                    <a:pt x="2758" y="2977"/>
                    <a:pt x="2758" y="2982"/>
                    <a:pt x="2702" y="2993"/>
                  </a:cubicBezTo>
                  <a:cubicBezTo>
                    <a:pt x="2647" y="3004"/>
                    <a:pt x="2657" y="3007"/>
                    <a:pt x="2614" y="3038"/>
                  </a:cubicBezTo>
                  <a:cubicBezTo>
                    <a:pt x="2571" y="3068"/>
                    <a:pt x="2529" y="3049"/>
                    <a:pt x="2483" y="3068"/>
                  </a:cubicBezTo>
                  <a:cubicBezTo>
                    <a:pt x="2437" y="3088"/>
                    <a:pt x="2414" y="3079"/>
                    <a:pt x="2381" y="3068"/>
                  </a:cubicBezTo>
                  <a:cubicBezTo>
                    <a:pt x="2349" y="3057"/>
                    <a:pt x="2332" y="3071"/>
                    <a:pt x="2306" y="3079"/>
                  </a:cubicBezTo>
                  <a:cubicBezTo>
                    <a:pt x="2280" y="3088"/>
                    <a:pt x="2234" y="3091"/>
                    <a:pt x="2178" y="3079"/>
                  </a:cubicBezTo>
                  <a:cubicBezTo>
                    <a:pt x="2123" y="3068"/>
                    <a:pt x="2149" y="3082"/>
                    <a:pt x="2116" y="3104"/>
                  </a:cubicBezTo>
                  <a:cubicBezTo>
                    <a:pt x="2083" y="3127"/>
                    <a:pt x="2070" y="3124"/>
                    <a:pt x="1992" y="3135"/>
                  </a:cubicBezTo>
                  <a:cubicBezTo>
                    <a:pt x="1913" y="3146"/>
                    <a:pt x="1824" y="3213"/>
                    <a:pt x="1756" y="3241"/>
                  </a:cubicBezTo>
                  <a:cubicBezTo>
                    <a:pt x="1687" y="3268"/>
                    <a:pt x="1713" y="3280"/>
                    <a:pt x="1661" y="3327"/>
                  </a:cubicBezTo>
                  <a:cubicBezTo>
                    <a:pt x="1608" y="3374"/>
                    <a:pt x="1592" y="3332"/>
                    <a:pt x="1553" y="3324"/>
                  </a:cubicBezTo>
                  <a:cubicBezTo>
                    <a:pt x="1513" y="3316"/>
                    <a:pt x="1543" y="3299"/>
                    <a:pt x="1536" y="3260"/>
                  </a:cubicBezTo>
                  <a:cubicBezTo>
                    <a:pt x="1530" y="3221"/>
                    <a:pt x="1494" y="3257"/>
                    <a:pt x="1467" y="3271"/>
                  </a:cubicBezTo>
                  <a:cubicBezTo>
                    <a:pt x="1441" y="3285"/>
                    <a:pt x="1405" y="3280"/>
                    <a:pt x="1372" y="3280"/>
                  </a:cubicBezTo>
                  <a:cubicBezTo>
                    <a:pt x="1340" y="3280"/>
                    <a:pt x="1245" y="3243"/>
                    <a:pt x="1215" y="3229"/>
                  </a:cubicBezTo>
                  <a:cubicBezTo>
                    <a:pt x="1186" y="3216"/>
                    <a:pt x="1123" y="3210"/>
                    <a:pt x="1051" y="3191"/>
                  </a:cubicBezTo>
                  <a:cubicBezTo>
                    <a:pt x="979" y="3171"/>
                    <a:pt x="1025" y="3152"/>
                    <a:pt x="989" y="3118"/>
                  </a:cubicBezTo>
                  <a:cubicBezTo>
                    <a:pt x="953" y="3085"/>
                    <a:pt x="907" y="3096"/>
                    <a:pt x="861" y="3093"/>
                  </a:cubicBezTo>
                  <a:cubicBezTo>
                    <a:pt x="815" y="3091"/>
                    <a:pt x="799" y="3091"/>
                    <a:pt x="753" y="3085"/>
                  </a:cubicBezTo>
                  <a:cubicBezTo>
                    <a:pt x="707" y="3079"/>
                    <a:pt x="707" y="3074"/>
                    <a:pt x="648" y="3057"/>
                  </a:cubicBezTo>
                  <a:cubicBezTo>
                    <a:pt x="589" y="3040"/>
                    <a:pt x="543" y="3071"/>
                    <a:pt x="491" y="3088"/>
                  </a:cubicBezTo>
                  <a:cubicBezTo>
                    <a:pt x="439" y="3104"/>
                    <a:pt x="435" y="3085"/>
                    <a:pt x="380" y="3082"/>
                  </a:cubicBezTo>
                  <a:cubicBezTo>
                    <a:pt x="324" y="3079"/>
                    <a:pt x="294" y="3077"/>
                    <a:pt x="245" y="3071"/>
                  </a:cubicBezTo>
                  <a:cubicBezTo>
                    <a:pt x="196" y="3065"/>
                    <a:pt x="173" y="3071"/>
                    <a:pt x="137" y="3043"/>
                  </a:cubicBezTo>
                  <a:cubicBezTo>
                    <a:pt x="101" y="3015"/>
                    <a:pt x="82" y="3049"/>
                    <a:pt x="59" y="3054"/>
                  </a:cubicBezTo>
                  <a:cubicBezTo>
                    <a:pt x="45" y="3058"/>
                    <a:pt x="34" y="3057"/>
                    <a:pt x="18" y="3050"/>
                  </a:cubicBezTo>
                  <a:cubicBezTo>
                    <a:pt x="19" y="3100"/>
                    <a:pt x="34" y="3164"/>
                    <a:pt x="43" y="3189"/>
                  </a:cubicBezTo>
                  <a:cubicBezTo>
                    <a:pt x="56" y="3222"/>
                    <a:pt x="52" y="3241"/>
                    <a:pt x="26" y="3270"/>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2" name="Freeform 13">
              <a:extLst>
                <a:ext uri="{FF2B5EF4-FFF2-40B4-BE49-F238E27FC236}">
                  <a16:creationId xmlns:a16="http://schemas.microsoft.com/office/drawing/2014/main" id="{7E2F814D-EDAF-7542-A12D-F9953D0FBE96}"/>
                </a:ext>
              </a:extLst>
            </p:cNvPr>
            <p:cNvSpPr>
              <a:spLocks/>
            </p:cNvSpPr>
            <p:nvPr/>
          </p:nvSpPr>
          <p:spPr bwMode="auto">
            <a:xfrm>
              <a:off x="3796" y="3407"/>
              <a:ext cx="875" cy="659"/>
            </a:xfrm>
            <a:custGeom>
              <a:avLst/>
              <a:gdLst>
                <a:gd name="T0" fmla="*/ 1778 w 1889"/>
                <a:gd name="T1" fmla="*/ 152 h 1423"/>
                <a:gd name="T2" fmla="*/ 1673 w 1889"/>
                <a:gd name="T3" fmla="*/ 115 h 1423"/>
                <a:gd name="T4" fmla="*/ 1507 w 1889"/>
                <a:gd name="T5" fmla="*/ 82 h 1423"/>
                <a:gd name="T6" fmla="*/ 1385 w 1889"/>
                <a:gd name="T7" fmla="*/ 134 h 1423"/>
                <a:gd name="T8" fmla="*/ 1127 w 1889"/>
                <a:gd name="T9" fmla="*/ 215 h 1423"/>
                <a:gd name="T10" fmla="*/ 1210 w 1889"/>
                <a:gd name="T11" fmla="*/ 59 h 1423"/>
                <a:gd name="T12" fmla="*/ 1127 w 1889"/>
                <a:gd name="T13" fmla="*/ 22 h 1423"/>
                <a:gd name="T14" fmla="*/ 1012 w 1889"/>
                <a:gd name="T15" fmla="*/ 3 h 1423"/>
                <a:gd name="T16" fmla="*/ 861 w 1889"/>
                <a:gd name="T17" fmla="*/ 28 h 1423"/>
                <a:gd name="T18" fmla="*/ 758 w 1889"/>
                <a:gd name="T19" fmla="*/ 56 h 1423"/>
                <a:gd name="T20" fmla="*/ 686 w 1889"/>
                <a:gd name="T21" fmla="*/ 126 h 1423"/>
                <a:gd name="T22" fmla="*/ 570 w 1889"/>
                <a:gd name="T23" fmla="*/ 193 h 1423"/>
                <a:gd name="T24" fmla="*/ 520 w 1889"/>
                <a:gd name="T25" fmla="*/ 263 h 1423"/>
                <a:gd name="T26" fmla="*/ 536 w 1889"/>
                <a:gd name="T27" fmla="*/ 356 h 1423"/>
                <a:gd name="T28" fmla="*/ 444 w 1889"/>
                <a:gd name="T29" fmla="*/ 514 h 1423"/>
                <a:gd name="T30" fmla="*/ 383 w 1889"/>
                <a:gd name="T31" fmla="*/ 743 h 1423"/>
                <a:gd name="T32" fmla="*/ 267 w 1889"/>
                <a:gd name="T33" fmla="*/ 853 h 1423"/>
                <a:gd name="T34" fmla="*/ 190 w 1889"/>
                <a:gd name="T35" fmla="*/ 912 h 1423"/>
                <a:gd name="T36" fmla="*/ 83 w 1889"/>
                <a:gd name="T37" fmla="*/ 997 h 1423"/>
                <a:gd name="T38" fmla="*/ 29 w 1889"/>
                <a:gd name="T39" fmla="*/ 1064 h 1423"/>
                <a:gd name="T40" fmla="*/ 44 w 1889"/>
                <a:gd name="T41" fmla="*/ 1116 h 1423"/>
                <a:gd name="T42" fmla="*/ 22 w 1889"/>
                <a:gd name="T43" fmla="*/ 1223 h 1423"/>
                <a:gd name="T44" fmla="*/ 70 w 1889"/>
                <a:gd name="T45" fmla="*/ 1353 h 1423"/>
                <a:gd name="T46" fmla="*/ 254 w 1889"/>
                <a:gd name="T47" fmla="*/ 1375 h 1423"/>
                <a:gd name="T48" fmla="*/ 201 w 1889"/>
                <a:gd name="T49" fmla="*/ 1249 h 1423"/>
                <a:gd name="T50" fmla="*/ 232 w 1889"/>
                <a:gd name="T51" fmla="*/ 1157 h 1423"/>
                <a:gd name="T52" fmla="*/ 346 w 1889"/>
                <a:gd name="T53" fmla="*/ 1097 h 1423"/>
                <a:gd name="T54" fmla="*/ 564 w 1889"/>
                <a:gd name="T55" fmla="*/ 1019 h 1423"/>
                <a:gd name="T56" fmla="*/ 743 w 1889"/>
                <a:gd name="T57" fmla="*/ 971 h 1423"/>
                <a:gd name="T58" fmla="*/ 883 w 1889"/>
                <a:gd name="T59" fmla="*/ 897 h 1423"/>
                <a:gd name="T60" fmla="*/ 1014 w 1889"/>
                <a:gd name="T61" fmla="*/ 827 h 1423"/>
                <a:gd name="T62" fmla="*/ 979 w 1889"/>
                <a:gd name="T63" fmla="*/ 693 h 1423"/>
                <a:gd name="T64" fmla="*/ 1088 w 1889"/>
                <a:gd name="T65" fmla="*/ 730 h 1423"/>
                <a:gd name="T66" fmla="*/ 1237 w 1889"/>
                <a:gd name="T67" fmla="*/ 738 h 1423"/>
                <a:gd name="T68" fmla="*/ 1328 w 1889"/>
                <a:gd name="T69" fmla="*/ 686 h 1423"/>
                <a:gd name="T70" fmla="*/ 1473 w 1889"/>
                <a:gd name="T71" fmla="*/ 634 h 1423"/>
                <a:gd name="T72" fmla="*/ 1538 w 1889"/>
                <a:gd name="T73" fmla="*/ 597 h 1423"/>
                <a:gd name="T74" fmla="*/ 1748 w 1889"/>
                <a:gd name="T75" fmla="*/ 556 h 1423"/>
                <a:gd name="T76" fmla="*/ 1835 w 1889"/>
                <a:gd name="T77" fmla="*/ 423 h 1423"/>
                <a:gd name="T78" fmla="*/ 1839 w 1889"/>
                <a:gd name="T79" fmla="*/ 267 h 1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9" h="1423">
                  <a:moveTo>
                    <a:pt x="1839" y="267"/>
                  </a:moveTo>
                  <a:cubicBezTo>
                    <a:pt x="1844" y="211"/>
                    <a:pt x="1787" y="182"/>
                    <a:pt x="1778" y="152"/>
                  </a:cubicBezTo>
                  <a:cubicBezTo>
                    <a:pt x="1770" y="123"/>
                    <a:pt x="1765" y="100"/>
                    <a:pt x="1743" y="119"/>
                  </a:cubicBezTo>
                  <a:cubicBezTo>
                    <a:pt x="1722" y="137"/>
                    <a:pt x="1687" y="134"/>
                    <a:pt x="1673" y="115"/>
                  </a:cubicBezTo>
                  <a:cubicBezTo>
                    <a:pt x="1660" y="97"/>
                    <a:pt x="1639" y="78"/>
                    <a:pt x="1617" y="82"/>
                  </a:cubicBezTo>
                  <a:cubicBezTo>
                    <a:pt x="1595" y="85"/>
                    <a:pt x="1521" y="52"/>
                    <a:pt x="1507" y="82"/>
                  </a:cubicBezTo>
                  <a:cubicBezTo>
                    <a:pt x="1494" y="111"/>
                    <a:pt x="1521" y="189"/>
                    <a:pt x="1486" y="174"/>
                  </a:cubicBezTo>
                  <a:cubicBezTo>
                    <a:pt x="1451" y="160"/>
                    <a:pt x="1420" y="104"/>
                    <a:pt x="1385" y="134"/>
                  </a:cubicBezTo>
                  <a:cubicBezTo>
                    <a:pt x="1350" y="163"/>
                    <a:pt x="1298" y="152"/>
                    <a:pt x="1254" y="186"/>
                  </a:cubicBezTo>
                  <a:cubicBezTo>
                    <a:pt x="1210" y="219"/>
                    <a:pt x="1162" y="245"/>
                    <a:pt x="1127" y="215"/>
                  </a:cubicBezTo>
                  <a:cubicBezTo>
                    <a:pt x="1093" y="186"/>
                    <a:pt x="1084" y="152"/>
                    <a:pt x="1132" y="126"/>
                  </a:cubicBezTo>
                  <a:cubicBezTo>
                    <a:pt x="1180" y="100"/>
                    <a:pt x="1206" y="82"/>
                    <a:pt x="1210" y="59"/>
                  </a:cubicBezTo>
                  <a:cubicBezTo>
                    <a:pt x="1215" y="37"/>
                    <a:pt x="1206" y="22"/>
                    <a:pt x="1189" y="11"/>
                  </a:cubicBezTo>
                  <a:cubicBezTo>
                    <a:pt x="1171" y="0"/>
                    <a:pt x="1167" y="0"/>
                    <a:pt x="1127" y="22"/>
                  </a:cubicBezTo>
                  <a:cubicBezTo>
                    <a:pt x="1088" y="45"/>
                    <a:pt x="1044" y="52"/>
                    <a:pt x="1031" y="30"/>
                  </a:cubicBezTo>
                  <a:cubicBezTo>
                    <a:pt x="1026" y="22"/>
                    <a:pt x="1019" y="13"/>
                    <a:pt x="1012" y="3"/>
                  </a:cubicBezTo>
                  <a:cubicBezTo>
                    <a:pt x="983" y="24"/>
                    <a:pt x="958" y="34"/>
                    <a:pt x="929" y="45"/>
                  </a:cubicBezTo>
                  <a:cubicBezTo>
                    <a:pt x="892" y="58"/>
                    <a:pt x="887" y="41"/>
                    <a:pt x="861" y="28"/>
                  </a:cubicBezTo>
                  <a:cubicBezTo>
                    <a:pt x="835" y="15"/>
                    <a:pt x="839" y="6"/>
                    <a:pt x="819" y="8"/>
                  </a:cubicBezTo>
                  <a:cubicBezTo>
                    <a:pt x="800" y="9"/>
                    <a:pt x="791" y="41"/>
                    <a:pt x="758" y="56"/>
                  </a:cubicBezTo>
                  <a:cubicBezTo>
                    <a:pt x="726" y="71"/>
                    <a:pt x="780" y="80"/>
                    <a:pt x="765" y="132"/>
                  </a:cubicBezTo>
                  <a:cubicBezTo>
                    <a:pt x="750" y="184"/>
                    <a:pt x="741" y="152"/>
                    <a:pt x="686" y="126"/>
                  </a:cubicBezTo>
                  <a:cubicBezTo>
                    <a:pt x="632" y="100"/>
                    <a:pt x="610" y="119"/>
                    <a:pt x="575" y="132"/>
                  </a:cubicBezTo>
                  <a:cubicBezTo>
                    <a:pt x="540" y="145"/>
                    <a:pt x="560" y="163"/>
                    <a:pt x="570" y="193"/>
                  </a:cubicBezTo>
                  <a:cubicBezTo>
                    <a:pt x="581" y="223"/>
                    <a:pt x="573" y="221"/>
                    <a:pt x="553" y="223"/>
                  </a:cubicBezTo>
                  <a:cubicBezTo>
                    <a:pt x="503" y="226"/>
                    <a:pt x="529" y="234"/>
                    <a:pt x="520" y="263"/>
                  </a:cubicBezTo>
                  <a:cubicBezTo>
                    <a:pt x="512" y="293"/>
                    <a:pt x="538" y="289"/>
                    <a:pt x="549" y="313"/>
                  </a:cubicBezTo>
                  <a:cubicBezTo>
                    <a:pt x="560" y="337"/>
                    <a:pt x="557" y="343"/>
                    <a:pt x="536" y="356"/>
                  </a:cubicBezTo>
                  <a:cubicBezTo>
                    <a:pt x="514" y="369"/>
                    <a:pt x="522" y="391"/>
                    <a:pt x="520" y="432"/>
                  </a:cubicBezTo>
                  <a:cubicBezTo>
                    <a:pt x="518" y="473"/>
                    <a:pt x="498" y="462"/>
                    <a:pt x="444" y="514"/>
                  </a:cubicBezTo>
                  <a:cubicBezTo>
                    <a:pt x="389" y="565"/>
                    <a:pt x="411" y="636"/>
                    <a:pt x="422" y="669"/>
                  </a:cubicBezTo>
                  <a:cubicBezTo>
                    <a:pt x="433" y="703"/>
                    <a:pt x="407" y="714"/>
                    <a:pt x="383" y="743"/>
                  </a:cubicBezTo>
                  <a:cubicBezTo>
                    <a:pt x="359" y="773"/>
                    <a:pt x="297" y="797"/>
                    <a:pt x="276" y="804"/>
                  </a:cubicBezTo>
                  <a:cubicBezTo>
                    <a:pt x="254" y="812"/>
                    <a:pt x="252" y="830"/>
                    <a:pt x="267" y="853"/>
                  </a:cubicBezTo>
                  <a:cubicBezTo>
                    <a:pt x="282" y="875"/>
                    <a:pt x="267" y="875"/>
                    <a:pt x="256" y="899"/>
                  </a:cubicBezTo>
                  <a:cubicBezTo>
                    <a:pt x="245" y="923"/>
                    <a:pt x="223" y="929"/>
                    <a:pt x="190" y="912"/>
                  </a:cubicBezTo>
                  <a:cubicBezTo>
                    <a:pt x="158" y="895"/>
                    <a:pt x="173" y="925"/>
                    <a:pt x="173" y="968"/>
                  </a:cubicBezTo>
                  <a:cubicBezTo>
                    <a:pt x="173" y="1010"/>
                    <a:pt x="114" y="997"/>
                    <a:pt x="83" y="997"/>
                  </a:cubicBezTo>
                  <a:cubicBezTo>
                    <a:pt x="53" y="997"/>
                    <a:pt x="68" y="1006"/>
                    <a:pt x="68" y="1027"/>
                  </a:cubicBezTo>
                  <a:cubicBezTo>
                    <a:pt x="68" y="1047"/>
                    <a:pt x="51" y="1055"/>
                    <a:pt x="29" y="1064"/>
                  </a:cubicBezTo>
                  <a:cubicBezTo>
                    <a:pt x="19" y="1068"/>
                    <a:pt x="12" y="1080"/>
                    <a:pt x="6" y="1092"/>
                  </a:cubicBezTo>
                  <a:cubicBezTo>
                    <a:pt x="11" y="1116"/>
                    <a:pt x="21" y="1116"/>
                    <a:pt x="44" y="1116"/>
                  </a:cubicBezTo>
                  <a:cubicBezTo>
                    <a:pt x="70" y="1116"/>
                    <a:pt x="92" y="1108"/>
                    <a:pt x="57" y="1145"/>
                  </a:cubicBezTo>
                  <a:cubicBezTo>
                    <a:pt x="22" y="1183"/>
                    <a:pt x="18" y="1190"/>
                    <a:pt x="22" y="1223"/>
                  </a:cubicBezTo>
                  <a:cubicBezTo>
                    <a:pt x="27" y="1257"/>
                    <a:pt x="0" y="1279"/>
                    <a:pt x="44" y="1301"/>
                  </a:cubicBezTo>
                  <a:cubicBezTo>
                    <a:pt x="88" y="1323"/>
                    <a:pt x="44" y="1309"/>
                    <a:pt x="70" y="1353"/>
                  </a:cubicBezTo>
                  <a:cubicBezTo>
                    <a:pt x="97" y="1398"/>
                    <a:pt x="40" y="1394"/>
                    <a:pt x="123" y="1398"/>
                  </a:cubicBezTo>
                  <a:cubicBezTo>
                    <a:pt x="206" y="1401"/>
                    <a:pt x="241" y="1423"/>
                    <a:pt x="254" y="1375"/>
                  </a:cubicBezTo>
                  <a:cubicBezTo>
                    <a:pt x="267" y="1327"/>
                    <a:pt x="197" y="1305"/>
                    <a:pt x="210" y="1286"/>
                  </a:cubicBezTo>
                  <a:cubicBezTo>
                    <a:pt x="223" y="1268"/>
                    <a:pt x="245" y="1246"/>
                    <a:pt x="201" y="1249"/>
                  </a:cubicBezTo>
                  <a:cubicBezTo>
                    <a:pt x="158" y="1253"/>
                    <a:pt x="132" y="1242"/>
                    <a:pt x="162" y="1216"/>
                  </a:cubicBezTo>
                  <a:cubicBezTo>
                    <a:pt x="193" y="1190"/>
                    <a:pt x="193" y="1153"/>
                    <a:pt x="232" y="1157"/>
                  </a:cubicBezTo>
                  <a:cubicBezTo>
                    <a:pt x="271" y="1160"/>
                    <a:pt x="267" y="1153"/>
                    <a:pt x="284" y="1131"/>
                  </a:cubicBezTo>
                  <a:cubicBezTo>
                    <a:pt x="302" y="1108"/>
                    <a:pt x="315" y="1097"/>
                    <a:pt x="346" y="1097"/>
                  </a:cubicBezTo>
                  <a:cubicBezTo>
                    <a:pt x="376" y="1097"/>
                    <a:pt x="450" y="1060"/>
                    <a:pt x="481" y="1057"/>
                  </a:cubicBezTo>
                  <a:cubicBezTo>
                    <a:pt x="512" y="1053"/>
                    <a:pt x="551" y="1060"/>
                    <a:pt x="564" y="1019"/>
                  </a:cubicBezTo>
                  <a:cubicBezTo>
                    <a:pt x="577" y="979"/>
                    <a:pt x="625" y="949"/>
                    <a:pt x="651" y="964"/>
                  </a:cubicBezTo>
                  <a:cubicBezTo>
                    <a:pt x="678" y="979"/>
                    <a:pt x="734" y="1008"/>
                    <a:pt x="743" y="971"/>
                  </a:cubicBezTo>
                  <a:cubicBezTo>
                    <a:pt x="752" y="934"/>
                    <a:pt x="787" y="971"/>
                    <a:pt x="822" y="942"/>
                  </a:cubicBezTo>
                  <a:cubicBezTo>
                    <a:pt x="857" y="912"/>
                    <a:pt x="878" y="938"/>
                    <a:pt x="883" y="897"/>
                  </a:cubicBezTo>
                  <a:cubicBezTo>
                    <a:pt x="887" y="856"/>
                    <a:pt x="922" y="853"/>
                    <a:pt x="935" y="864"/>
                  </a:cubicBezTo>
                  <a:cubicBezTo>
                    <a:pt x="948" y="875"/>
                    <a:pt x="992" y="849"/>
                    <a:pt x="1014" y="827"/>
                  </a:cubicBezTo>
                  <a:cubicBezTo>
                    <a:pt x="1036" y="804"/>
                    <a:pt x="1079" y="804"/>
                    <a:pt x="1040" y="764"/>
                  </a:cubicBezTo>
                  <a:cubicBezTo>
                    <a:pt x="1001" y="723"/>
                    <a:pt x="996" y="730"/>
                    <a:pt x="979" y="693"/>
                  </a:cubicBezTo>
                  <a:cubicBezTo>
                    <a:pt x="961" y="656"/>
                    <a:pt x="940" y="615"/>
                    <a:pt x="996" y="641"/>
                  </a:cubicBezTo>
                  <a:cubicBezTo>
                    <a:pt x="1053" y="667"/>
                    <a:pt x="1075" y="701"/>
                    <a:pt x="1088" y="730"/>
                  </a:cubicBezTo>
                  <a:cubicBezTo>
                    <a:pt x="1101" y="760"/>
                    <a:pt x="1175" y="790"/>
                    <a:pt x="1206" y="764"/>
                  </a:cubicBezTo>
                  <a:cubicBezTo>
                    <a:pt x="1237" y="738"/>
                    <a:pt x="1197" y="749"/>
                    <a:pt x="1237" y="738"/>
                  </a:cubicBezTo>
                  <a:cubicBezTo>
                    <a:pt x="1276" y="727"/>
                    <a:pt x="1285" y="716"/>
                    <a:pt x="1289" y="686"/>
                  </a:cubicBezTo>
                  <a:cubicBezTo>
                    <a:pt x="1293" y="656"/>
                    <a:pt x="1298" y="667"/>
                    <a:pt x="1328" y="686"/>
                  </a:cubicBezTo>
                  <a:cubicBezTo>
                    <a:pt x="1359" y="704"/>
                    <a:pt x="1363" y="686"/>
                    <a:pt x="1385" y="664"/>
                  </a:cubicBezTo>
                  <a:cubicBezTo>
                    <a:pt x="1407" y="641"/>
                    <a:pt x="1468" y="615"/>
                    <a:pt x="1473" y="634"/>
                  </a:cubicBezTo>
                  <a:cubicBezTo>
                    <a:pt x="1477" y="653"/>
                    <a:pt x="1560" y="660"/>
                    <a:pt x="1538" y="641"/>
                  </a:cubicBezTo>
                  <a:cubicBezTo>
                    <a:pt x="1516" y="623"/>
                    <a:pt x="1507" y="582"/>
                    <a:pt x="1538" y="597"/>
                  </a:cubicBezTo>
                  <a:cubicBezTo>
                    <a:pt x="1569" y="612"/>
                    <a:pt x="1586" y="638"/>
                    <a:pt x="1647" y="604"/>
                  </a:cubicBezTo>
                  <a:cubicBezTo>
                    <a:pt x="1708" y="571"/>
                    <a:pt x="1735" y="556"/>
                    <a:pt x="1748" y="556"/>
                  </a:cubicBezTo>
                  <a:cubicBezTo>
                    <a:pt x="1761" y="556"/>
                    <a:pt x="1778" y="526"/>
                    <a:pt x="1778" y="504"/>
                  </a:cubicBezTo>
                  <a:cubicBezTo>
                    <a:pt x="1778" y="482"/>
                    <a:pt x="1826" y="460"/>
                    <a:pt x="1835" y="423"/>
                  </a:cubicBezTo>
                  <a:cubicBezTo>
                    <a:pt x="1841" y="398"/>
                    <a:pt x="1861" y="375"/>
                    <a:pt x="1889" y="354"/>
                  </a:cubicBezTo>
                  <a:cubicBezTo>
                    <a:pt x="1864" y="331"/>
                    <a:pt x="1837" y="298"/>
                    <a:pt x="1839" y="267"/>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3" name="Freeform 14">
              <a:extLst>
                <a:ext uri="{FF2B5EF4-FFF2-40B4-BE49-F238E27FC236}">
                  <a16:creationId xmlns:a16="http://schemas.microsoft.com/office/drawing/2014/main" id="{5A375998-998C-7B45-A428-151ACD64FF4A}"/>
                </a:ext>
              </a:extLst>
            </p:cNvPr>
            <p:cNvSpPr>
              <a:spLocks/>
            </p:cNvSpPr>
            <p:nvPr/>
          </p:nvSpPr>
          <p:spPr bwMode="auto">
            <a:xfrm>
              <a:off x="3625" y="2903"/>
              <a:ext cx="665" cy="641"/>
            </a:xfrm>
            <a:custGeom>
              <a:avLst/>
              <a:gdLst>
                <a:gd name="T0" fmla="*/ 1367 w 1437"/>
                <a:gd name="T1" fmla="*/ 819 h 1384"/>
                <a:gd name="T2" fmla="*/ 1289 w 1437"/>
                <a:gd name="T3" fmla="*/ 678 h 1384"/>
                <a:gd name="T4" fmla="*/ 1236 w 1437"/>
                <a:gd name="T5" fmla="*/ 492 h 1384"/>
                <a:gd name="T6" fmla="*/ 1306 w 1437"/>
                <a:gd name="T7" fmla="*/ 277 h 1384"/>
                <a:gd name="T8" fmla="*/ 1175 w 1437"/>
                <a:gd name="T9" fmla="*/ 148 h 1384"/>
                <a:gd name="T10" fmla="*/ 1092 w 1437"/>
                <a:gd name="T11" fmla="*/ 48 h 1384"/>
                <a:gd name="T12" fmla="*/ 992 w 1437"/>
                <a:gd name="T13" fmla="*/ 59 h 1384"/>
                <a:gd name="T14" fmla="*/ 900 w 1437"/>
                <a:gd name="T15" fmla="*/ 77 h 1384"/>
                <a:gd name="T16" fmla="*/ 708 w 1437"/>
                <a:gd name="T17" fmla="*/ 29 h 1384"/>
                <a:gd name="T18" fmla="*/ 472 w 1437"/>
                <a:gd name="T19" fmla="*/ 0 h 1384"/>
                <a:gd name="T20" fmla="*/ 398 w 1437"/>
                <a:gd name="T21" fmla="*/ 133 h 1384"/>
                <a:gd name="T22" fmla="*/ 236 w 1437"/>
                <a:gd name="T23" fmla="*/ 100 h 1384"/>
                <a:gd name="T24" fmla="*/ 96 w 1437"/>
                <a:gd name="T25" fmla="*/ 281 h 1384"/>
                <a:gd name="T26" fmla="*/ 118 w 1437"/>
                <a:gd name="T27" fmla="*/ 470 h 1384"/>
                <a:gd name="T28" fmla="*/ 153 w 1437"/>
                <a:gd name="T29" fmla="*/ 615 h 1384"/>
                <a:gd name="T30" fmla="*/ 57 w 1437"/>
                <a:gd name="T31" fmla="*/ 756 h 1384"/>
                <a:gd name="T32" fmla="*/ 109 w 1437"/>
                <a:gd name="T33" fmla="*/ 782 h 1384"/>
                <a:gd name="T34" fmla="*/ 188 w 1437"/>
                <a:gd name="T35" fmla="*/ 863 h 1384"/>
                <a:gd name="T36" fmla="*/ 184 w 1437"/>
                <a:gd name="T37" fmla="*/ 941 h 1384"/>
                <a:gd name="T38" fmla="*/ 214 w 1437"/>
                <a:gd name="T39" fmla="*/ 1042 h 1384"/>
                <a:gd name="T40" fmla="*/ 318 w 1437"/>
                <a:gd name="T41" fmla="*/ 1042 h 1384"/>
                <a:gd name="T42" fmla="*/ 442 w 1437"/>
                <a:gd name="T43" fmla="*/ 1036 h 1384"/>
                <a:gd name="T44" fmla="*/ 531 w 1437"/>
                <a:gd name="T45" fmla="*/ 959 h 1384"/>
                <a:gd name="T46" fmla="*/ 629 w 1437"/>
                <a:gd name="T47" fmla="*/ 934 h 1384"/>
                <a:gd name="T48" fmla="*/ 668 w 1437"/>
                <a:gd name="T49" fmla="*/ 1039 h 1384"/>
                <a:gd name="T50" fmla="*/ 672 w 1437"/>
                <a:gd name="T51" fmla="*/ 1189 h 1384"/>
                <a:gd name="T52" fmla="*/ 747 w 1437"/>
                <a:gd name="T53" fmla="*/ 1267 h 1384"/>
                <a:gd name="T54" fmla="*/ 849 w 1437"/>
                <a:gd name="T55" fmla="*/ 1320 h 1384"/>
                <a:gd name="T56" fmla="*/ 924 w 1437"/>
                <a:gd name="T57" fmla="*/ 1312 h 1384"/>
                <a:gd name="T58" fmla="*/ 946 w 1437"/>
                <a:gd name="T59" fmla="*/ 1221 h 1384"/>
                <a:gd name="T60" fmla="*/ 1136 w 1437"/>
                <a:gd name="T61" fmla="*/ 1221 h 1384"/>
                <a:gd name="T62" fmla="*/ 1190 w 1437"/>
                <a:gd name="T63" fmla="*/ 1097 h 1384"/>
                <a:gd name="T64" fmla="*/ 1300 w 1437"/>
                <a:gd name="T65" fmla="*/ 1134 h 1384"/>
                <a:gd name="T66" fmla="*/ 1363 w 1437"/>
                <a:gd name="T67" fmla="*/ 1030 h 1384"/>
                <a:gd name="T68" fmla="*/ 1411 w 1437"/>
                <a:gd name="T69" fmla="*/ 885 h 1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37" h="1384">
                  <a:moveTo>
                    <a:pt x="1411" y="885"/>
                  </a:moveTo>
                  <a:cubicBezTo>
                    <a:pt x="1385" y="863"/>
                    <a:pt x="1389" y="841"/>
                    <a:pt x="1367" y="819"/>
                  </a:cubicBezTo>
                  <a:cubicBezTo>
                    <a:pt x="1346" y="796"/>
                    <a:pt x="1302" y="793"/>
                    <a:pt x="1302" y="756"/>
                  </a:cubicBezTo>
                  <a:cubicBezTo>
                    <a:pt x="1302" y="719"/>
                    <a:pt x="1289" y="711"/>
                    <a:pt x="1289" y="678"/>
                  </a:cubicBezTo>
                  <a:cubicBezTo>
                    <a:pt x="1289" y="644"/>
                    <a:pt x="1271" y="656"/>
                    <a:pt x="1241" y="615"/>
                  </a:cubicBezTo>
                  <a:cubicBezTo>
                    <a:pt x="1210" y="574"/>
                    <a:pt x="1193" y="530"/>
                    <a:pt x="1236" y="492"/>
                  </a:cubicBezTo>
                  <a:cubicBezTo>
                    <a:pt x="1280" y="455"/>
                    <a:pt x="1332" y="429"/>
                    <a:pt x="1337" y="381"/>
                  </a:cubicBezTo>
                  <a:cubicBezTo>
                    <a:pt x="1341" y="333"/>
                    <a:pt x="1298" y="296"/>
                    <a:pt x="1306" y="277"/>
                  </a:cubicBezTo>
                  <a:cubicBezTo>
                    <a:pt x="1315" y="259"/>
                    <a:pt x="1302" y="229"/>
                    <a:pt x="1276" y="207"/>
                  </a:cubicBezTo>
                  <a:cubicBezTo>
                    <a:pt x="1249" y="185"/>
                    <a:pt x="1175" y="203"/>
                    <a:pt x="1175" y="148"/>
                  </a:cubicBezTo>
                  <a:cubicBezTo>
                    <a:pt x="1175" y="92"/>
                    <a:pt x="1206" y="66"/>
                    <a:pt x="1166" y="44"/>
                  </a:cubicBezTo>
                  <a:cubicBezTo>
                    <a:pt x="1127" y="22"/>
                    <a:pt x="1123" y="14"/>
                    <a:pt x="1092" y="48"/>
                  </a:cubicBezTo>
                  <a:cubicBezTo>
                    <a:pt x="1062" y="81"/>
                    <a:pt x="1075" y="133"/>
                    <a:pt x="1031" y="111"/>
                  </a:cubicBezTo>
                  <a:cubicBezTo>
                    <a:pt x="987" y="88"/>
                    <a:pt x="974" y="70"/>
                    <a:pt x="992" y="59"/>
                  </a:cubicBezTo>
                  <a:cubicBezTo>
                    <a:pt x="1009" y="48"/>
                    <a:pt x="1000" y="14"/>
                    <a:pt x="970" y="25"/>
                  </a:cubicBezTo>
                  <a:cubicBezTo>
                    <a:pt x="939" y="37"/>
                    <a:pt x="948" y="59"/>
                    <a:pt x="900" y="77"/>
                  </a:cubicBezTo>
                  <a:cubicBezTo>
                    <a:pt x="852" y="96"/>
                    <a:pt x="821" y="111"/>
                    <a:pt x="791" y="81"/>
                  </a:cubicBezTo>
                  <a:cubicBezTo>
                    <a:pt x="760" y="51"/>
                    <a:pt x="778" y="18"/>
                    <a:pt x="708" y="29"/>
                  </a:cubicBezTo>
                  <a:cubicBezTo>
                    <a:pt x="638" y="40"/>
                    <a:pt x="603" y="37"/>
                    <a:pt x="577" y="22"/>
                  </a:cubicBezTo>
                  <a:cubicBezTo>
                    <a:pt x="551" y="7"/>
                    <a:pt x="511" y="0"/>
                    <a:pt x="472" y="0"/>
                  </a:cubicBezTo>
                  <a:cubicBezTo>
                    <a:pt x="433" y="0"/>
                    <a:pt x="350" y="11"/>
                    <a:pt x="380" y="40"/>
                  </a:cubicBezTo>
                  <a:cubicBezTo>
                    <a:pt x="411" y="70"/>
                    <a:pt x="446" y="137"/>
                    <a:pt x="398" y="133"/>
                  </a:cubicBezTo>
                  <a:cubicBezTo>
                    <a:pt x="350" y="129"/>
                    <a:pt x="337" y="107"/>
                    <a:pt x="315" y="126"/>
                  </a:cubicBezTo>
                  <a:cubicBezTo>
                    <a:pt x="293" y="144"/>
                    <a:pt x="275" y="81"/>
                    <a:pt x="236" y="100"/>
                  </a:cubicBezTo>
                  <a:cubicBezTo>
                    <a:pt x="197" y="118"/>
                    <a:pt x="144" y="137"/>
                    <a:pt x="127" y="174"/>
                  </a:cubicBezTo>
                  <a:cubicBezTo>
                    <a:pt x="109" y="211"/>
                    <a:pt x="96" y="229"/>
                    <a:pt x="96" y="281"/>
                  </a:cubicBezTo>
                  <a:cubicBezTo>
                    <a:pt x="96" y="333"/>
                    <a:pt x="105" y="385"/>
                    <a:pt x="122" y="411"/>
                  </a:cubicBezTo>
                  <a:cubicBezTo>
                    <a:pt x="140" y="437"/>
                    <a:pt x="92" y="441"/>
                    <a:pt x="118" y="470"/>
                  </a:cubicBezTo>
                  <a:cubicBezTo>
                    <a:pt x="144" y="500"/>
                    <a:pt x="153" y="496"/>
                    <a:pt x="140" y="533"/>
                  </a:cubicBezTo>
                  <a:cubicBezTo>
                    <a:pt x="127" y="570"/>
                    <a:pt x="131" y="581"/>
                    <a:pt x="153" y="615"/>
                  </a:cubicBezTo>
                  <a:cubicBezTo>
                    <a:pt x="175" y="648"/>
                    <a:pt x="201" y="681"/>
                    <a:pt x="166" y="689"/>
                  </a:cubicBezTo>
                  <a:cubicBezTo>
                    <a:pt x="131" y="696"/>
                    <a:pt x="79" y="730"/>
                    <a:pt x="57" y="756"/>
                  </a:cubicBezTo>
                  <a:cubicBezTo>
                    <a:pt x="35" y="782"/>
                    <a:pt x="0" y="789"/>
                    <a:pt x="39" y="804"/>
                  </a:cubicBezTo>
                  <a:cubicBezTo>
                    <a:pt x="79" y="819"/>
                    <a:pt x="66" y="774"/>
                    <a:pt x="109" y="782"/>
                  </a:cubicBezTo>
                  <a:cubicBezTo>
                    <a:pt x="153" y="789"/>
                    <a:pt x="197" y="752"/>
                    <a:pt x="201" y="796"/>
                  </a:cubicBezTo>
                  <a:cubicBezTo>
                    <a:pt x="205" y="841"/>
                    <a:pt x="210" y="852"/>
                    <a:pt x="188" y="863"/>
                  </a:cubicBezTo>
                  <a:cubicBezTo>
                    <a:pt x="166" y="874"/>
                    <a:pt x="184" y="889"/>
                    <a:pt x="197" y="908"/>
                  </a:cubicBezTo>
                  <a:cubicBezTo>
                    <a:pt x="210" y="926"/>
                    <a:pt x="201" y="919"/>
                    <a:pt x="184" y="941"/>
                  </a:cubicBezTo>
                  <a:cubicBezTo>
                    <a:pt x="166" y="963"/>
                    <a:pt x="192" y="1004"/>
                    <a:pt x="201" y="1015"/>
                  </a:cubicBezTo>
                  <a:cubicBezTo>
                    <a:pt x="205" y="1020"/>
                    <a:pt x="211" y="1030"/>
                    <a:pt x="214" y="1042"/>
                  </a:cubicBezTo>
                  <a:cubicBezTo>
                    <a:pt x="238" y="1043"/>
                    <a:pt x="262" y="1046"/>
                    <a:pt x="269" y="1059"/>
                  </a:cubicBezTo>
                  <a:cubicBezTo>
                    <a:pt x="282" y="1084"/>
                    <a:pt x="315" y="1070"/>
                    <a:pt x="318" y="1042"/>
                  </a:cubicBezTo>
                  <a:cubicBezTo>
                    <a:pt x="321" y="1014"/>
                    <a:pt x="347" y="945"/>
                    <a:pt x="377" y="992"/>
                  </a:cubicBezTo>
                  <a:cubicBezTo>
                    <a:pt x="406" y="1039"/>
                    <a:pt x="357" y="1050"/>
                    <a:pt x="442" y="1036"/>
                  </a:cubicBezTo>
                  <a:cubicBezTo>
                    <a:pt x="478" y="997"/>
                    <a:pt x="482" y="1011"/>
                    <a:pt x="488" y="984"/>
                  </a:cubicBezTo>
                  <a:cubicBezTo>
                    <a:pt x="495" y="956"/>
                    <a:pt x="505" y="953"/>
                    <a:pt x="531" y="959"/>
                  </a:cubicBezTo>
                  <a:cubicBezTo>
                    <a:pt x="557" y="964"/>
                    <a:pt x="567" y="967"/>
                    <a:pt x="580" y="956"/>
                  </a:cubicBezTo>
                  <a:cubicBezTo>
                    <a:pt x="593" y="945"/>
                    <a:pt x="596" y="922"/>
                    <a:pt x="629" y="934"/>
                  </a:cubicBezTo>
                  <a:cubicBezTo>
                    <a:pt x="662" y="945"/>
                    <a:pt x="688" y="942"/>
                    <a:pt x="672" y="972"/>
                  </a:cubicBezTo>
                  <a:cubicBezTo>
                    <a:pt x="655" y="1003"/>
                    <a:pt x="636" y="1039"/>
                    <a:pt x="668" y="1039"/>
                  </a:cubicBezTo>
                  <a:cubicBezTo>
                    <a:pt x="701" y="1039"/>
                    <a:pt x="714" y="1034"/>
                    <a:pt x="711" y="1067"/>
                  </a:cubicBezTo>
                  <a:cubicBezTo>
                    <a:pt x="708" y="1100"/>
                    <a:pt x="731" y="1145"/>
                    <a:pt x="672" y="1189"/>
                  </a:cubicBezTo>
                  <a:cubicBezTo>
                    <a:pt x="613" y="1234"/>
                    <a:pt x="613" y="1253"/>
                    <a:pt x="659" y="1253"/>
                  </a:cubicBezTo>
                  <a:cubicBezTo>
                    <a:pt x="705" y="1253"/>
                    <a:pt x="737" y="1237"/>
                    <a:pt x="747" y="1267"/>
                  </a:cubicBezTo>
                  <a:cubicBezTo>
                    <a:pt x="757" y="1298"/>
                    <a:pt x="754" y="1384"/>
                    <a:pt x="793" y="1353"/>
                  </a:cubicBezTo>
                  <a:cubicBezTo>
                    <a:pt x="832" y="1323"/>
                    <a:pt x="822" y="1314"/>
                    <a:pt x="849" y="1320"/>
                  </a:cubicBezTo>
                  <a:cubicBezTo>
                    <a:pt x="868" y="1324"/>
                    <a:pt x="866" y="1313"/>
                    <a:pt x="892" y="1322"/>
                  </a:cubicBezTo>
                  <a:cubicBezTo>
                    <a:pt x="893" y="1316"/>
                    <a:pt x="900" y="1313"/>
                    <a:pt x="924" y="1312"/>
                  </a:cubicBezTo>
                  <a:cubicBezTo>
                    <a:pt x="944" y="1310"/>
                    <a:pt x="952" y="1312"/>
                    <a:pt x="941" y="1282"/>
                  </a:cubicBezTo>
                  <a:cubicBezTo>
                    <a:pt x="931" y="1252"/>
                    <a:pt x="911" y="1234"/>
                    <a:pt x="946" y="1221"/>
                  </a:cubicBezTo>
                  <a:cubicBezTo>
                    <a:pt x="981" y="1208"/>
                    <a:pt x="1003" y="1189"/>
                    <a:pt x="1057" y="1215"/>
                  </a:cubicBezTo>
                  <a:cubicBezTo>
                    <a:pt x="1112" y="1241"/>
                    <a:pt x="1121" y="1273"/>
                    <a:pt x="1136" y="1221"/>
                  </a:cubicBezTo>
                  <a:cubicBezTo>
                    <a:pt x="1151" y="1169"/>
                    <a:pt x="1097" y="1160"/>
                    <a:pt x="1129" y="1145"/>
                  </a:cubicBezTo>
                  <a:cubicBezTo>
                    <a:pt x="1162" y="1130"/>
                    <a:pt x="1171" y="1098"/>
                    <a:pt x="1190" y="1097"/>
                  </a:cubicBezTo>
                  <a:cubicBezTo>
                    <a:pt x="1210" y="1095"/>
                    <a:pt x="1206" y="1104"/>
                    <a:pt x="1232" y="1117"/>
                  </a:cubicBezTo>
                  <a:cubicBezTo>
                    <a:pt x="1258" y="1130"/>
                    <a:pt x="1263" y="1147"/>
                    <a:pt x="1300" y="1134"/>
                  </a:cubicBezTo>
                  <a:cubicBezTo>
                    <a:pt x="1329" y="1123"/>
                    <a:pt x="1354" y="1113"/>
                    <a:pt x="1383" y="1092"/>
                  </a:cubicBezTo>
                  <a:cubicBezTo>
                    <a:pt x="1371" y="1075"/>
                    <a:pt x="1360" y="1055"/>
                    <a:pt x="1363" y="1030"/>
                  </a:cubicBezTo>
                  <a:cubicBezTo>
                    <a:pt x="1367" y="989"/>
                    <a:pt x="1337" y="971"/>
                    <a:pt x="1385" y="937"/>
                  </a:cubicBezTo>
                  <a:cubicBezTo>
                    <a:pt x="1433" y="904"/>
                    <a:pt x="1437" y="908"/>
                    <a:pt x="1411" y="885"/>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4" name="Freeform 15">
              <a:extLst>
                <a:ext uri="{FF2B5EF4-FFF2-40B4-BE49-F238E27FC236}">
                  <a16:creationId xmlns:a16="http://schemas.microsoft.com/office/drawing/2014/main" id="{7059D3D3-D560-9D4C-81BE-BB79AF2C5084}"/>
                </a:ext>
              </a:extLst>
            </p:cNvPr>
            <p:cNvSpPr>
              <a:spLocks/>
            </p:cNvSpPr>
            <p:nvPr/>
          </p:nvSpPr>
          <p:spPr bwMode="auto">
            <a:xfrm>
              <a:off x="2302" y="3034"/>
              <a:ext cx="1049" cy="967"/>
            </a:xfrm>
            <a:custGeom>
              <a:avLst/>
              <a:gdLst>
                <a:gd name="T0" fmla="*/ 2228 w 2266"/>
                <a:gd name="T1" fmla="*/ 1313 h 2088"/>
                <a:gd name="T2" fmla="*/ 2073 w 2266"/>
                <a:gd name="T3" fmla="*/ 1311 h 2088"/>
                <a:gd name="T4" fmla="*/ 1891 w 2266"/>
                <a:gd name="T5" fmla="*/ 1218 h 2088"/>
                <a:gd name="T6" fmla="*/ 1828 w 2266"/>
                <a:gd name="T7" fmla="*/ 1154 h 2088"/>
                <a:gd name="T8" fmla="*/ 1774 w 2266"/>
                <a:gd name="T9" fmla="*/ 939 h 2088"/>
                <a:gd name="T10" fmla="*/ 1831 w 2266"/>
                <a:gd name="T11" fmla="*/ 709 h 2088"/>
                <a:gd name="T12" fmla="*/ 1686 w 2266"/>
                <a:gd name="T13" fmla="*/ 690 h 2088"/>
                <a:gd name="T14" fmla="*/ 1608 w 2266"/>
                <a:gd name="T15" fmla="*/ 579 h 2088"/>
                <a:gd name="T16" fmla="*/ 1717 w 2266"/>
                <a:gd name="T17" fmla="*/ 509 h 2088"/>
                <a:gd name="T18" fmla="*/ 1957 w 2266"/>
                <a:gd name="T19" fmla="*/ 475 h 2088"/>
                <a:gd name="T20" fmla="*/ 1909 w 2266"/>
                <a:gd name="T21" fmla="*/ 312 h 2088"/>
                <a:gd name="T22" fmla="*/ 1743 w 2266"/>
                <a:gd name="T23" fmla="*/ 249 h 2088"/>
                <a:gd name="T24" fmla="*/ 1617 w 2266"/>
                <a:gd name="T25" fmla="*/ 205 h 2088"/>
                <a:gd name="T26" fmla="*/ 1516 w 2266"/>
                <a:gd name="T27" fmla="*/ 405 h 2088"/>
                <a:gd name="T28" fmla="*/ 1411 w 2266"/>
                <a:gd name="T29" fmla="*/ 635 h 2088"/>
                <a:gd name="T30" fmla="*/ 1280 w 2266"/>
                <a:gd name="T31" fmla="*/ 757 h 2088"/>
                <a:gd name="T32" fmla="*/ 1036 w 2266"/>
                <a:gd name="T33" fmla="*/ 709 h 2088"/>
                <a:gd name="T34" fmla="*/ 848 w 2266"/>
                <a:gd name="T35" fmla="*/ 397 h 2088"/>
                <a:gd name="T36" fmla="*/ 673 w 2266"/>
                <a:gd name="T37" fmla="*/ 190 h 2088"/>
                <a:gd name="T38" fmla="*/ 472 w 2266"/>
                <a:gd name="T39" fmla="*/ 223 h 2088"/>
                <a:gd name="T40" fmla="*/ 442 w 2266"/>
                <a:gd name="T41" fmla="*/ 5 h 2088"/>
                <a:gd name="T42" fmla="*/ 328 w 2266"/>
                <a:gd name="T43" fmla="*/ 112 h 2088"/>
                <a:gd name="T44" fmla="*/ 228 w 2266"/>
                <a:gd name="T45" fmla="*/ 264 h 2088"/>
                <a:gd name="T46" fmla="*/ 241 w 2266"/>
                <a:gd name="T47" fmla="*/ 409 h 2088"/>
                <a:gd name="T48" fmla="*/ 354 w 2266"/>
                <a:gd name="T49" fmla="*/ 546 h 2088"/>
                <a:gd name="T50" fmla="*/ 337 w 2266"/>
                <a:gd name="T51" fmla="*/ 861 h 2088"/>
                <a:gd name="T52" fmla="*/ 158 w 2266"/>
                <a:gd name="T53" fmla="*/ 1005 h 2088"/>
                <a:gd name="T54" fmla="*/ 31 w 2266"/>
                <a:gd name="T55" fmla="*/ 1213 h 2088"/>
                <a:gd name="T56" fmla="*/ 136 w 2266"/>
                <a:gd name="T57" fmla="*/ 1302 h 2088"/>
                <a:gd name="T58" fmla="*/ 332 w 2266"/>
                <a:gd name="T59" fmla="*/ 1343 h 2088"/>
                <a:gd name="T60" fmla="*/ 376 w 2266"/>
                <a:gd name="T61" fmla="*/ 1535 h 2088"/>
                <a:gd name="T62" fmla="*/ 503 w 2266"/>
                <a:gd name="T63" fmla="*/ 1635 h 2088"/>
                <a:gd name="T64" fmla="*/ 533 w 2266"/>
                <a:gd name="T65" fmla="*/ 1821 h 2088"/>
                <a:gd name="T66" fmla="*/ 660 w 2266"/>
                <a:gd name="T67" fmla="*/ 1932 h 2088"/>
                <a:gd name="T68" fmla="*/ 787 w 2266"/>
                <a:gd name="T69" fmla="*/ 1991 h 2088"/>
                <a:gd name="T70" fmla="*/ 988 w 2266"/>
                <a:gd name="T71" fmla="*/ 2047 h 2088"/>
                <a:gd name="T72" fmla="*/ 1114 w 2266"/>
                <a:gd name="T73" fmla="*/ 1995 h 2088"/>
                <a:gd name="T74" fmla="*/ 1075 w 2266"/>
                <a:gd name="T75" fmla="*/ 1743 h 2088"/>
                <a:gd name="T76" fmla="*/ 1206 w 2266"/>
                <a:gd name="T77" fmla="*/ 1750 h 2088"/>
                <a:gd name="T78" fmla="*/ 1433 w 2266"/>
                <a:gd name="T79" fmla="*/ 1728 h 2088"/>
                <a:gd name="T80" fmla="*/ 1603 w 2266"/>
                <a:gd name="T81" fmla="*/ 1650 h 2088"/>
                <a:gd name="T82" fmla="*/ 1783 w 2266"/>
                <a:gd name="T83" fmla="*/ 1658 h 2088"/>
                <a:gd name="T84" fmla="*/ 1918 w 2266"/>
                <a:gd name="T85" fmla="*/ 1558 h 2088"/>
                <a:gd name="T86" fmla="*/ 2093 w 2266"/>
                <a:gd name="T87" fmla="*/ 1528 h 2088"/>
                <a:gd name="T88" fmla="*/ 2240 w 2266"/>
                <a:gd name="T89" fmla="*/ 1453 h 2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66" h="2088">
                  <a:moveTo>
                    <a:pt x="2240" y="1453"/>
                  </a:moveTo>
                  <a:cubicBezTo>
                    <a:pt x="2266" y="1442"/>
                    <a:pt x="2264" y="1420"/>
                    <a:pt x="2263" y="1388"/>
                  </a:cubicBezTo>
                  <a:cubicBezTo>
                    <a:pt x="2261" y="1356"/>
                    <a:pt x="2251" y="1342"/>
                    <a:pt x="2228" y="1313"/>
                  </a:cubicBezTo>
                  <a:cubicBezTo>
                    <a:pt x="2205" y="1283"/>
                    <a:pt x="2192" y="1315"/>
                    <a:pt x="2164" y="1321"/>
                  </a:cubicBezTo>
                  <a:cubicBezTo>
                    <a:pt x="2136" y="1326"/>
                    <a:pt x="2131" y="1314"/>
                    <a:pt x="2115" y="1296"/>
                  </a:cubicBezTo>
                  <a:cubicBezTo>
                    <a:pt x="2099" y="1278"/>
                    <a:pt x="2097" y="1287"/>
                    <a:pt x="2073" y="1311"/>
                  </a:cubicBezTo>
                  <a:cubicBezTo>
                    <a:pt x="2048" y="1335"/>
                    <a:pt x="2004" y="1296"/>
                    <a:pt x="1996" y="1283"/>
                  </a:cubicBezTo>
                  <a:cubicBezTo>
                    <a:pt x="1987" y="1271"/>
                    <a:pt x="1982" y="1261"/>
                    <a:pt x="1976" y="1235"/>
                  </a:cubicBezTo>
                  <a:cubicBezTo>
                    <a:pt x="1969" y="1208"/>
                    <a:pt x="1915" y="1219"/>
                    <a:pt x="1891" y="1218"/>
                  </a:cubicBezTo>
                  <a:cubicBezTo>
                    <a:pt x="1866" y="1217"/>
                    <a:pt x="1873" y="1218"/>
                    <a:pt x="1866" y="1239"/>
                  </a:cubicBezTo>
                  <a:cubicBezTo>
                    <a:pt x="1860" y="1260"/>
                    <a:pt x="1838" y="1250"/>
                    <a:pt x="1819" y="1205"/>
                  </a:cubicBezTo>
                  <a:cubicBezTo>
                    <a:pt x="1810" y="1186"/>
                    <a:pt x="1817" y="1168"/>
                    <a:pt x="1828" y="1154"/>
                  </a:cubicBezTo>
                  <a:cubicBezTo>
                    <a:pt x="1813" y="1145"/>
                    <a:pt x="1809" y="1131"/>
                    <a:pt x="1831" y="1113"/>
                  </a:cubicBezTo>
                  <a:cubicBezTo>
                    <a:pt x="1870" y="1079"/>
                    <a:pt x="1883" y="1035"/>
                    <a:pt x="1857" y="1013"/>
                  </a:cubicBezTo>
                  <a:cubicBezTo>
                    <a:pt x="1831" y="991"/>
                    <a:pt x="1774" y="965"/>
                    <a:pt x="1774" y="939"/>
                  </a:cubicBezTo>
                  <a:cubicBezTo>
                    <a:pt x="1774" y="913"/>
                    <a:pt x="1739" y="887"/>
                    <a:pt x="1774" y="842"/>
                  </a:cubicBezTo>
                  <a:cubicBezTo>
                    <a:pt x="1809" y="798"/>
                    <a:pt x="1813" y="798"/>
                    <a:pt x="1831" y="776"/>
                  </a:cubicBezTo>
                  <a:cubicBezTo>
                    <a:pt x="1848" y="753"/>
                    <a:pt x="1848" y="724"/>
                    <a:pt x="1831" y="709"/>
                  </a:cubicBezTo>
                  <a:cubicBezTo>
                    <a:pt x="1813" y="694"/>
                    <a:pt x="1809" y="668"/>
                    <a:pt x="1783" y="664"/>
                  </a:cubicBezTo>
                  <a:cubicBezTo>
                    <a:pt x="1756" y="661"/>
                    <a:pt x="1739" y="698"/>
                    <a:pt x="1726" y="687"/>
                  </a:cubicBezTo>
                  <a:cubicBezTo>
                    <a:pt x="1713" y="675"/>
                    <a:pt x="1686" y="668"/>
                    <a:pt x="1686" y="690"/>
                  </a:cubicBezTo>
                  <a:cubicBezTo>
                    <a:pt x="1686" y="713"/>
                    <a:pt x="1652" y="709"/>
                    <a:pt x="1625" y="690"/>
                  </a:cubicBezTo>
                  <a:cubicBezTo>
                    <a:pt x="1599" y="672"/>
                    <a:pt x="1582" y="627"/>
                    <a:pt x="1603" y="616"/>
                  </a:cubicBezTo>
                  <a:cubicBezTo>
                    <a:pt x="1625" y="605"/>
                    <a:pt x="1634" y="601"/>
                    <a:pt x="1608" y="579"/>
                  </a:cubicBezTo>
                  <a:cubicBezTo>
                    <a:pt x="1582" y="557"/>
                    <a:pt x="1573" y="579"/>
                    <a:pt x="1608" y="535"/>
                  </a:cubicBezTo>
                  <a:cubicBezTo>
                    <a:pt x="1643" y="490"/>
                    <a:pt x="1652" y="446"/>
                    <a:pt x="1669" y="479"/>
                  </a:cubicBezTo>
                  <a:cubicBezTo>
                    <a:pt x="1686" y="512"/>
                    <a:pt x="1686" y="538"/>
                    <a:pt x="1717" y="509"/>
                  </a:cubicBezTo>
                  <a:cubicBezTo>
                    <a:pt x="1748" y="479"/>
                    <a:pt x="1682" y="464"/>
                    <a:pt x="1748" y="479"/>
                  </a:cubicBezTo>
                  <a:cubicBezTo>
                    <a:pt x="1813" y="494"/>
                    <a:pt x="1818" y="498"/>
                    <a:pt x="1866" y="490"/>
                  </a:cubicBezTo>
                  <a:cubicBezTo>
                    <a:pt x="1914" y="483"/>
                    <a:pt x="1931" y="479"/>
                    <a:pt x="1957" y="475"/>
                  </a:cubicBezTo>
                  <a:cubicBezTo>
                    <a:pt x="1984" y="472"/>
                    <a:pt x="1988" y="409"/>
                    <a:pt x="1992" y="379"/>
                  </a:cubicBezTo>
                  <a:cubicBezTo>
                    <a:pt x="1997" y="349"/>
                    <a:pt x="1984" y="320"/>
                    <a:pt x="1966" y="312"/>
                  </a:cubicBezTo>
                  <a:cubicBezTo>
                    <a:pt x="1949" y="305"/>
                    <a:pt x="1922" y="290"/>
                    <a:pt x="1909" y="312"/>
                  </a:cubicBezTo>
                  <a:cubicBezTo>
                    <a:pt x="1896" y="334"/>
                    <a:pt x="1857" y="368"/>
                    <a:pt x="1818" y="360"/>
                  </a:cubicBezTo>
                  <a:cubicBezTo>
                    <a:pt x="1778" y="353"/>
                    <a:pt x="1735" y="334"/>
                    <a:pt x="1756" y="316"/>
                  </a:cubicBezTo>
                  <a:cubicBezTo>
                    <a:pt x="1778" y="297"/>
                    <a:pt x="1765" y="268"/>
                    <a:pt x="1743" y="249"/>
                  </a:cubicBezTo>
                  <a:cubicBezTo>
                    <a:pt x="1721" y="231"/>
                    <a:pt x="1721" y="212"/>
                    <a:pt x="1730" y="201"/>
                  </a:cubicBezTo>
                  <a:cubicBezTo>
                    <a:pt x="1739" y="190"/>
                    <a:pt x="1761" y="160"/>
                    <a:pt x="1717" y="164"/>
                  </a:cubicBezTo>
                  <a:cubicBezTo>
                    <a:pt x="1673" y="168"/>
                    <a:pt x="1577" y="179"/>
                    <a:pt x="1617" y="205"/>
                  </a:cubicBezTo>
                  <a:cubicBezTo>
                    <a:pt x="1656" y="231"/>
                    <a:pt x="1643" y="257"/>
                    <a:pt x="1608" y="264"/>
                  </a:cubicBezTo>
                  <a:cubicBezTo>
                    <a:pt x="1573" y="271"/>
                    <a:pt x="1503" y="290"/>
                    <a:pt x="1525" y="316"/>
                  </a:cubicBezTo>
                  <a:cubicBezTo>
                    <a:pt x="1547" y="342"/>
                    <a:pt x="1542" y="379"/>
                    <a:pt x="1516" y="405"/>
                  </a:cubicBezTo>
                  <a:cubicBezTo>
                    <a:pt x="1490" y="431"/>
                    <a:pt x="1477" y="486"/>
                    <a:pt x="1437" y="490"/>
                  </a:cubicBezTo>
                  <a:cubicBezTo>
                    <a:pt x="1398" y="494"/>
                    <a:pt x="1389" y="516"/>
                    <a:pt x="1394" y="549"/>
                  </a:cubicBezTo>
                  <a:cubicBezTo>
                    <a:pt x="1398" y="583"/>
                    <a:pt x="1385" y="594"/>
                    <a:pt x="1411" y="635"/>
                  </a:cubicBezTo>
                  <a:cubicBezTo>
                    <a:pt x="1437" y="675"/>
                    <a:pt x="1442" y="727"/>
                    <a:pt x="1411" y="753"/>
                  </a:cubicBezTo>
                  <a:cubicBezTo>
                    <a:pt x="1381" y="779"/>
                    <a:pt x="1337" y="787"/>
                    <a:pt x="1333" y="776"/>
                  </a:cubicBezTo>
                  <a:cubicBezTo>
                    <a:pt x="1328" y="764"/>
                    <a:pt x="1315" y="720"/>
                    <a:pt x="1280" y="757"/>
                  </a:cubicBezTo>
                  <a:cubicBezTo>
                    <a:pt x="1245" y="794"/>
                    <a:pt x="1197" y="827"/>
                    <a:pt x="1158" y="824"/>
                  </a:cubicBezTo>
                  <a:cubicBezTo>
                    <a:pt x="1119" y="820"/>
                    <a:pt x="1071" y="790"/>
                    <a:pt x="1066" y="779"/>
                  </a:cubicBezTo>
                  <a:cubicBezTo>
                    <a:pt x="1062" y="768"/>
                    <a:pt x="1075" y="731"/>
                    <a:pt x="1036" y="709"/>
                  </a:cubicBezTo>
                  <a:cubicBezTo>
                    <a:pt x="996" y="687"/>
                    <a:pt x="1040" y="642"/>
                    <a:pt x="996" y="612"/>
                  </a:cubicBezTo>
                  <a:cubicBezTo>
                    <a:pt x="953" y="583"/>
                    <a:pt x="961" y="568"/>
                    <a:pt x="948" y="527"/>
                  </a:cubicBezTo>
                  <a:cubicBezTo>
                    <a:pt x="935" y="486"/>
                    <a:pt x="878" y="427"/>
                    <a:pt x="848" y="397"/>
                  </a:cubicBezTo>
                  <a:cubicBezTo>
                    <a:pt x="817" y="368"/>
                    <a:pt x="730" y="375"/>
                    <a:pt x="704" y="331"/>
                  </a:cubicBezTo>
                  <a:cubicBezTo>
                    <a:pt x="677" y="286"/>
                    <a:pt x="660" y="268"/>
                    <a:pt x="686" y="242"/>
                  </a:cubicBezTo>
                  <a:cubicBezTo>
                    <a:pt x="712" y="216"/>
                    <a:pt x="699" y="201"/>
                    <a:pt x="673" y="190"/>
                  </a:cubicBezTo>
                  <a:cubicBezTo>
                    <a:pt x="647" y="179"/>
                    <a:pt x="616" y="201"/>
                    <a:pt x="608" y="223"/>
                  </a:cubicBezTo>
                  <a:cubicBezTo>
                    <a:pt x="599" y="246"/>
                    <a:pt x="568" y="257"/>
                    <a:pt x="542" y="268"/>
                  </a:cubicBezTo>
                  <a:cubicBezTo>
                    <a:pt x="516" y="279"/>
                    <a:pt x="481" y="297"/>
                    <a:pt x="472" y="223"/>
                  </a:cubicBezTo>
                  <a:cubicBezTo>
                    <a:pt x="463" y="149"/>
                    <a:pt x="468" y="105"/>
                    <a:pt x="468" y="68"/>
                  </a:cubicBezTo>
                  <a:cubicBezTo>
                    <a:pt x="468" y="43"/>
                    <a:pt x="468" y="23"/>
                    <a:pt x="448" y="0"/>
                  </a:cubicBezTo>
                  <a:cubicBezTo>
                    <a:pt x="446" y="2"/>
                    <a:pt x="444" y="3"/>
                    <a:pt x="442" y="5"/>
                  </a:cubicBezTo>
                  <a:cubicBezTo>
                    <a:pt x="411" y="23"/>
                    <a:pt x="385" y="1"/>
                    <a:pt x="385" y="42"/>
                  </a:cubicBezTo>
                  <a:cubicBezTo>
                    <a:pt x="385" y="82"/>
                    <a:pt x="428" y="71"/>
                    <a:pt x="385" y="82"/>
                  </a:cubicBezTo>
                  <a:cubicBezTo>
                    <a:pt x="341" y="94"/>
                    <a:pt x="328" y="71"/>
                    <a:pt x="328" y="112"/>
                  </a:cubicBezTo>
                  <a:cubicBezTo>
                    <a:pt x="328" y="153"/>
                    <a:pt x="341" y="205"/>
                    <a:pt x="337" y="238"/>
                  </a:cubicBezTo>
                  <a:cubicBezTo>
                    <a:pt x="332" y="271"/>
                    <a:pt x="324" y="290"/>
                    <a:pt x="289" y="275"/>
                  </a:cubicBezTo>
                  <a:cubicBezTo>
                    <a:pt x="254" y="260"/>
                    <a:pt x="271" y="216"/>
                    <a:pt x="228" y="264"/>
                  </a:cubicBezTo>
                  <a:cubicBezTo>
                    <a:pt x="220" y="272"/>
                    <a:pt x="214" y="279"/>
                    <a:pt x="209" y="285"/>
                  </a:cubicBezTo>
                  <a:cubicBezTo>
                    <a:pt x="212" y="298"/>
                    <a:pt x="213" y="315"/>
                    <a:pt x="219" y="338"/>
                  </a:cubicBezTo>
                  <a:cubicBezTo>
                    <a:pt x="232" y="394"/>
                    <a:pt x="232" y="383"/>
                    <a:pt x="241" y="409"/>
                  </a:cubicBezTo>
                  <a:cubicBezTo>
                    <a:pt x="249" y="435"/>
                    <a:pt x="254" y="431"/>
                    <a:pt x="293" y="397"/>
                  </a:cubicBezTo>
                  <a:cubicBezTo>
                    <a:pt x="332" y="364"/>
                    <a:pt x="311" y="416"/>
                    <a:pt x="341" y="438"/>
                  </a:cubicBezTo>
                  <a:cubicBezTo>
                    <a:pt x="372" y="461"/>
                    <a:pt x="345" y="498"/>
                    <a:pt x="354" y="546"/>
                  </a:cubicBezTo>
                  <a:cubicBezTo>
                    <a:pt x="363" y="594"/>
                    <a:pt x="367" y="609"/>
                    <a:pt x="363" y="650"/>
                  </a:cubicBezTo>
                  <a:cubicBezTo>
                    <a:pt x="359" y="690"/>
                    <a:pt x="337" y="750"/>
                    <a:pt x="337" y="787"/>
                  </a:cubicBezTo>
                  <a:cubicBezTo>
                    <a:pt x="337" y="824"/>
                    <a:pt x="311" y="824"/>
                    <a:pt x="337" y="861"/>
                  </a:cubicBezTo>
                  <a:cubicBezTo>
                    <a:pt x="363" y="898"/>
                    <a:pt x="271" y="872"/>
                    <a:pt x="267" y="898"/>
                  </a:cubicBezTo>
                  <a:cubicBezTo>
                    <a:pt x="262" y="924"/>
                    <a:pt x="249" y="935"/>
                    <a:pt x="210" y="931"/>
                  </a:cubicBezTo>
                  <a:cubicBezTo>
                    <a:pt x="171" y="928"/>
                    <a:pt x="184" y="987"/>
                    <a:pt x="158" y="1005"/>
                  </a:cubicBezTo>
                  <a:cubicBezTo>
                    <a:pt x="131" y="1024"/>
                    <a:pt x="79" y="1042"/>
                    <a:pt x="79" y="1087"/>
                  </a:cubicBezTo>
                  <a:cubicBezTo>
                    <a:pt x="79" y="1131"/>
                    <a:pt x="53" y="1131"/>
                    <a:pt x="27" y="1146"/>
                  </a:cubicBezTo>
                  <a:cubicBezTo>
                    <a:pt x="0" y="1161"/>
                    <a:pt x="22" y="1191"/>
                    <a:pt x="31" y="1213"/>
                  </a:cubicBezTo>
                  <a:cubicBezTo>
                    <a:pt x="40" y="1235"/>
                    <a:pt x="75" y="1254"/>
                    <a:pt x="70" y="1280"/>
                  </a:cubicBezTo>
                  <a:cubicBezTo>
                    <a:pt x="66" y="1306"/>
                    <a:pt x="22" y="1298"/>
                    <a:pt x="27" y="1343"/>
                  </a:cubicBezTo>
                  <a:cubicBezTo>
                    <a:pt x="31" y="1387"/>
                    <a:pt x="105" y="1328"/>
                    <a:pt x="136" y="1302"/>
                  </a:cubicBezTo>
                  <a:cubicBezTo>
                    <a:pt x="166" y="1276"/>
                    <a:pt x="201" y="1294"/>
                    <a:pt x="236" y="1302"/>
                  </a:cubicBezTo>
                  <a:cubicBezTo>
                    <a:pt x="271" y="1309"/>
                    <a:pt x="311" y="1306"/>
                    <a:pt x="341" y="1287"/>
                  </a:cubicBezTo>
                  <a:cubicBezTo>
                    <a:pt x="372" y="1268"/>
                    <a:pt x="354" y="1320"/>
                    <a:pt x="332" y="1343"/>
                  </a:cubicBezTo>
                  <a:cubicBezTo>
                    <a:pt x="311" y="1365"/>
                    <a:pt x="328" y="1387"/>
                    <a:pt x="350" y="1413"/>
                  </a:cubicBezTo>
                  <a:cubicBezTo>
                    <a:pt x="372" y="1439"/>
                    <a:pt x="341" y="1465"/>
                    <a:pt x="372" y="1480"/>
                  </a:cubicBezTo>
                  <a:cubicBezTo>
                    <a:pt x="402" y="1495"/>
                    <a:pt x="363" y="1517"/>
                    <a:pt x="376" y="1535"/>
                  </a:cubicBezTo>
                  <a:cubicBezTo>
                    <a:pt x="389" y="1554"/>
                    <a:pt x="424" y="1565"/>
                    <a:pt x="442" y="1558"/>
                  </a:cubicBezTo>
                  <a:cubicBezTo>
                    <a:pt x="459" y="1550"/>
                    <a:pt x="490" y="1546"/>
                    <a:pt x="520" y="1572"/>
                  </a:cubicBezTo>
                  <a:cubicBezTo>
                    <a:pt x="551" y="1598"/>
                    <a:pt x="529" y="1613"/>
                    <a:pt x="503" y="1635"/>
                  </a:cubicBezTo>
                  <a:cubicBezTo>
                    <a:pt x="476" y="1658"/>
                    <a:pt x="481" y="1669"/>
                    <a:pt x="485" y="1698"/>
                  </a:cubicBezTo>
                  <a:cubicBezTo>
                    <a:pt x="490" y="1728"/>
                    <a:pt x="442" y="1780"/>
                    <a:pt x="437" y="1806"/>
                  </a:cubicBezTo>
                  <a:cubicBezTo>
                    <a:pt x="433" y="1832"/>
                    <a:pt x="507" y="1806"/>
                    <a:pt x="533" y="1821"/>
                  </a:cubicBezTo>
                  <a:cubicBezTo>
                    <a:pt x="559" y="1836"/>
                    <a:pt x="590" y="1839"/>
                    <a:pt x="621" y="1839"/>
                  </a:cubicBezTo>
                  <a:cubicBezTo>
                    <a:pt x="651" y="1839"/>
                    <a:pt x="647" y="1869"/>
                    <a:pt x="629" y="1895"/>
                  </a:cubicBezTo>
                  <a:cubicBezTo>
                    <a:pt x="612" y="1921"/>
                    <a:pt x="629" y="1928"/>
                    <a:pt x="660" y="1932"/>
                  </a:cubicBezTo>
                  <a:cubicBezTo>
                    <a:pt x="691" y="1936"/>
                    <a:pt x="691" y="1954"/>
                    <a:pt x="691" y="1976"/>
                  </a:cubicBezTo>
                  <a:cubicBezTo>
                    <a:pt x="691" y="1999"/>
                    <a:pt x="717" y="1999"/>
                    <a:pt x="730" y="1973"/>
                  </a:cubicBezTo>
                  <a:cubicBezTo>
                    <a:pt x="743" y="1947"/>
                    <a:pt x="756" y="1969"/>
                    <a:pt x="787" y="1991"/>
                  </a:cubicBezTo>
                  <a:cubicBezTo>
                    <a:pt x="817" y="2013"/>
                    <a:pt x="857" y="1958"/>
                    <a:pt x="896" y="1932"/>
                  </a:cubicBezTo>
                  <a:cubicBezTo>
                    <a:pt x="935" y="1906"/>
                    <a:pt x="957" y="1928"/>
                    <a:pt x="953" y="1939"/>
                  </a:cubicBezTo>
                  <a:cubicBezTo>
                    <a:pt x="948" y="1950"/>
                    <a:pt x="966" y="2006"/>
                    <a:pt x="988" y="2047"/>
                  </a:cubicBezTo>
                  <a:cubicBezTo>
                    <a:pt x="1009" y="2088"/>
                    <a:pt x="1018" y="2065"/>
                    <a:pt x="1044" y="2051"/>
                  </a:cubicBezTo>
                  <a:cubicBezTo>
                    <a:pt x="1071" y="2036"/>
                    <a:pt x="1088" y="2065"/>
                    <a:pt x="1123" y="2062"/>
                  </a:cubicBezTo>
                  <a:cubicBezTo>
                    <a:pt x="1158" y="2058"/>
                    <a:pt x="1132" y="2032"/>
                    <a:pt x="1114" y="1995"/>
                  </a:cubicBezTo>
                  <a:cubicBezTo>
                    <a:pt x="1097" y="1958"/>
                    <a:pt x="1119" y="1965"/>
                    <a:pt x="1123" y="1939"/>
                  </a:cubicBezTo>
                  <a:cubicBezTo>
                    <a:pt x="1127" y="1913"/>
                    <a:pt x="1079" y="1854"/>
                    <a:pt x="1071" y="1832"/>
                  </a:cubicBezTo>
                  <a:cubicBezTo>
                    <a:pt x="1062" y="1810"/>
                    <a:pt x="1053" y="1773"/>
                    <a:pt x="1075" y="1743"/>
                  </a:cubicBezTo>
                  <a:cubicBezTo>
                    <a:pt x="1097" y="1713"/>
                    <a:pt x="1114" y="1717"/>
                    <a:pt x="1123" y="1732"/>
                  </a:cubicBezTo>
                  <a:cubicBezTo>
                    <a:pt x="1132" y="1747"/>
                    <a:pt x="1132" y="1754"/>
                    <a:pt x="1145" y="1743"/>
                  </a:cubicBezTo>
                  <a:cubicBezTo>
                    <a:pt x="1158" y="1732"/>
                    <a:pt x="1167" y="1739"/>
                    <a:pt x="1206" y="1750"/>
                  </a:cubicBezTo>
                  <a:cubicBezTo>
                    <a:pt x="1245" y="1761"/>
                    <a:pt x="1228" y="1739"/>
                    <a:pt x="1267" y="1695"/>
                  </a:cubicBezTo>
                  <a:cubicBezTo>
                    <a:pt x="1306" y="1650"/>
                    <a:pt x="1324" y="1658"/>
                    <a:pt x="1350" y="1669"/>
                  </a:cubicBezTo>
                  <a:cubicBezTo>
                    <a:pt x="1376" y="1680"/>
                    <a:pt x="1403" y="1710"/>
                    <a:pt x="1433" y="1728"/>
                  </a:cubicBezTo>
                  <a:cubicBezTo>
                    <a:pt x="1464" y="1747"/>
                    <a:pt x="1494" y="1706"/>
                    <a:pt x="1512" y="1665"/>
                  </a:cubicBezTo>
                  <a:cubicBezTo>
                    <a:pt x="1529" y="1624"/>
                    <a:pt x="1547" y="1661"/>
                    <a:pt x="1560" y="1680"/>
                  </a:cubicBezTo>
                  <a:cubicBezTo>
                    <a:pt x="1573" y="1698"/>
                    <a:pt x="1595" y="1684"/>
                    <a:pt x="1603" y="1650"/>
                  </a:cubicBezTo>
                  <a:cubicBezTo>
                    <a:pt x="1612" y="1617"/>
                    <a:pt x="1656" y="1687"/>
                    <a:pt x="1686" y="1706"/>
                  </a:cubicBezTo>
                  <a:cubicBezTo>
                    <a:pt x="1717" y="1724"/>
                    <a:pt x="1708" y="1661"/>
                    <a:pt x="1721" y="1643"/>
                  </a:cubicBezTo>
                  <a:cubicBezTo>
                    <a:pt x="1735" y="1624"/>
                    <a:pt x="1769" y="1647"/>
                    <a:pt x="1783" y="1658"/>
                  </a:cubicBezTo>
                  <a:cubicBezTo>
                    <a:pt x="1796" y="1669"/>
                    <a:pt x="1822" y="1661"/>
                    <a:pt x="1839" y="1643"/>
                  </a:cubicBezTo>
                  <a:cubicBezTo>
                    <a:pt x="1857" y="1624"/>
                    <a:pt x="1879" y="1624"/>
                    <a:pt x="1909" y="1609"/>
                  </a:cubicBezTo>
                  <a:cubicBezTo>
                    <a:pt x="1940" y="1595"/>
                    <a:pt x="1918" y="1587"/>
                    <a:pt x="1918" y="1558"/>
                  </a:cubicBezTo>
                  <a:cubicBezTo>
                    <a:pt x="1918" y="1528"/>
                    <a:pt x="1940" y="1528"/>
                    <a:pt x="1975" y="1528"/>
                  </a:cubicBezTo>
                  <a:cubicBezTo>
                    <a:pt x="2010" y="1528"/>
                    <a:pt x="2010" y="1517"/>
                    <a:pt x="2036" y="1491"/>
                  </a:cubicBezTo>
                  <a:cubicBezTo>
                    <a:pt x="2062" y="1465"/>
                    <a:pt x="2067" y="1509"/>
                    <a:pt x="2093" y="1528"/>
                  </a:cubicBezTo>
                  <a:cubicBezTo>
                    <a:pt x="2093" y="1528"/>
                    <a:pt x="2094" y="1529"/>
                    <a:pt x="2094" y="1529"/>
                  </a:cubicBezTo>
                  <a:cubicBezTo>
                    <a:pt x="2116" y="1504"/>
                    <a:pt x="2145" y="1483"/>
                    <a:pt x="2154" y="1463"/>
                  </a:cubicBezTo>
                  <a:cubicBezTo>
                    <a:pt x="2168" y="1435"/>
                    <a:pt x="2213" y="1464"/>
                    <a:pt x="2240" y="145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5" name="Freeform 16">
              <a:extLst>
                <a:ext uri="{FF2B5EF4-FFF2-40B4-BE49-F238E27FC236}">
                  <a16:creationId xmlns:a16="http://schemas.microsoft.com/office/drawing/2014/main" id="{24E8D21A-B9BC-8A41-A24C-E76FEB5A7124}"/>
                </a:ext>
              </a:extLst>
            </p:cNvPr>
            <p:cNvSpPr>
              <a:spLocks/>
            </p:cNvSpPr>
            <p:nvPr/>
          </p:nvSpPr>
          <p:spPr bwMode="auto">
            <a:xfrm>
              <a:off x="3140" y="3330"/>
              <a:ext cx="916" cy="601"/>
            </a:xfrm>
            <a:custGeom>
              <a:avLst/>
              <a:gdLst>
                <a:gd name="T0" fmla="*/ 1938 w 1978"/>
                <a:gd name="T1" fmla="*/ 430 h 1298"/>
                <a:gd name="T2" fmla="*/ 1896 w 1978"/>
                <a:gd name="T3" fmla="*/ 398 h 1298"/>
                <a:gd name="T4" fmla="*/ 1794 w 1978"/>
                <a:gd name="T5" fmla="*/ 345 h 1298"/>
                <a:gd name="T6" fmla="*/ 1719 w 1978"/>
                <a:gd name="T7" fmla="*/ 267 h 1298"/>
                <a:gd name="T8" fmla="*/ 1715 w 1978"/>
                <a:gd name="T9" fmla="*/ 117 h 1298"/>
                <a:gd name="T10" fmla="*/ 1676 w 1978"/>
                <a:gd name="T11" fmla="*/ 12 h 1298"/>
                <a:gd name="T12" fmla="*/ 1578 w 1978"/>
                <a:gd name="T13" fmla="*/ 37 h 1298"/>
                <a:gd name="T14" fmla="*/ 1489 w 1978"/>
                <a:gd name="T15" fmla="*/ 114 h 1298"/>
                <a:gd name="T16" fmla="*/ 1365 w 1978"/>
                <a:gd name="T17" fmla="*/ 120 h 1298"/>
                <a:gd name="T18" fmla="*/ 1261 w 1978"/>
                <a:gd name="T19" fmla="*/ 120 h 1298"/>
                <a:gd name="T20" fmla="*/ 1200 w 1978"/>
                <a:gd name="T21" fmla="*/ 197 h 1298"/>
                <a:gd name="T22" fmla="*/ 1135 w 1978"/>
                <a:gd name="T23" fmla="*/ 264 h 1298"/>
                <a:gd name="T24" fmla="*/ 1012 w 1978"/>
                <a:gd name="T25" fmla="*/ 290 h 1298"/>
                <a:gd name="T26" fmla="*/ 907 w 1978"/>
                <a:gd name="T27" fmla="*/ 360 h 1298"/>
                <a:gd name="T28" fmla="*/ 798 w 1978"/>
                <a:gd name="T29" fmla="*/ 349 h 1298"/>
                <a:gd name="T30" fmla="*/ 685 w 1978"/>
                <a:gd name="T31" fmla="*/ 301 h 1298"/>
                <a:gd name="T32" fmla="*/ 523 w 1978"/>
                <a:gd name="T33" fmla="*/ 412 h 1298"/>
                <a:gd name="T34" fmla="*/ 379 w 1978"/>
                <a:gd name="T35" fmla="*/ 516 h 1298"/>
                <a:gd name="T36" fmla="*/ 195 w 1978"/>
                <a:gd name="T37" fmla="*/ 445 h 1298"/>
                <a:gd name="T38" fmla="*/ 69 w 1978"/>
                <a:gd name="T39" fmla="*/ 527 h 1298"/>
                <a:gd name="T40" fmla="*/ 9 w 1978"/>
                <a:gd name="T41" fmla="*/ 567 h 1298"/>
                <a:gd name="T42" fmla="*/ 81 w 1978"/>
                <a:gd name="T43" fmla="*/ 580 h 1298"/>
                <a:gd name="T44" fmla="*/ 186 w 1978"/>
                <a:gd name="T45" fmla="*/ 645 h 1298"/>
                <a:gd name="T46" fmla="*/ 305 w 1978"/>
                <a:gd name="T47" fmla="*/ 658 h 1298"/>
                <a:gd name="T48" fmla="*/ 418 w 1978"/>
                <a:gd name="T49" fmla="*/ 675 h 1298"/>
                <a:gd name="T50" fmla="*/ 430 w 1978"/>
                <a:gd name="T51" fmla="*/ 815 h 1298"/>
                <a:gd name="T52" fmla="*/ 284 w 1978"/>
                <a:gd name="T53" fmla="*/ 891 h 1298"/>
                <a:gd name="T54" fmla="*/ 427 w 1978"/>
                <a:gd name="T55" fmla="*/ 931 h 1298"/>
                <a:gd name="T56" fmla="*/ 545 w 1978"/>
                <a:gd name="T57" fmla="*/ 957 h 1298"/>
                <a:gd name="T58" fmla="*/ 593 w 1978"/>
                <a:gd name="T59" fmla="*/ 1038 h 1298"/>
                <a:gd name="T60" fmla="*/ 623 w 1978"/>
                <a:gd name="T61" fmla="*/ 1153 h 1298"/>
                <a:gd name="T62" fmla="*/ 720 w 1978"/>
                <a:gd name="T63" fmla="*/ 1220 h 1298"/>
                <a:gd name="T64" fmla="*/ 929 w 1978"/>
                <a:gd name="T65" fmla="*/ 1253 h 1298"/>
                <a:gd name="T66" fmla="*/ 1065 w 1978"/>
                <a:gd name="T67" fmla="*/ 1264 h 1298"/>
                <a:gd name="T68" fmla="*/ 1161 w 1978"/>
                <a:gd name="T69" fmla="*/ 1220 h 1298"/>
                <a:gd name="T70" fmla="*/ 1296 w 1978"/>
                <a:gd name="T71" fmla="*/ 1294 h 1298"/>
                <a:gd name="T72" fmla="*/ 1423 w 1978"/>
                <a:gd name="T73" fmla="*/ 1249 h 1298"/>
                <a:gd name="T74" fmla="*/ 1447 w 1978"/>
                <a:gd name="T75" fmla="*/ 1231 h 1298"/>
                <a:gd name="T76" fmla="*/ 1501 w 1978"/>
                <a:gd name="T77" fmla="*/ 1164 h 1298"/>
                <a:gd name="T78" fmla="*/ 1608 w 1978"/>
                <a:gd name="T79" fmla="*/ 1079 h 1298"/>
                <a:gd name="T80" fmla="*/ 1685 w 1978"/>
                <a:gd name="T81" fmla="*/ 1020 h 1298"/>
                <a:gd name="T82" fmla="*/ 1801 w 1978"/>
                <a:gd name="T83" fmla="*/ 910 h 1298"/>
                <a:gd name="T84" fmla="*/ 1862 w 1978"/>
                <a:gd name="T85" fmla="*/ 681 h 1298"/>
                <a:gd name="T86" fmla="*/ 1954 w 1978"/>
                <a:gd name="T87" fmla="*/ 523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78" h="1298">
                  <a:moveTo>
                    <a:pt x="1967" y="480"/>
                  </a:moveTo>
                  <a:cubicBezTo>
                    <a:pt x="1956" y="456"/>
                    <a:pt x="1930" y="460"/>
                    <a:pt x="1938" y="430"/>
                  </a:cubicBezTo>
                  <a:cubicBezTo>
                    <a:pt x="1943" y="415"/>
                    <a:pt x="1938" y="406"/>
                    <a:pt x="1939" y="400"/>
                  </a:cubicBezTo>
                  <a:cubicBezTo>
                    <a:pt x="1913" y="391"/>
                    <a:pt x="1915" y="402"/>
                    <a:pt x="1896" y="398"/>
                  </a:cubicBezTo>
                  <a:cubicBezTo>
                    <a:pt x="1869" y="392"/>
                    <a:pt x="1879" y="401"/>
                    <a:pt x="1840" y="431"/>
                  </a:cubicBezTo>
                  <a:cubicBezTo>
                    <a:pt x="1801" y="462"/>
                    <a:pt x="1804" y="376"/>
                    <a:pt x="1794" y="345"/>
                  </a:cubicBezTo>
                  <a:cubicBezTo>
                    <a:pt x="1784" y="315"/>
                    <a:pt x="1752" y="331"/>
                    <a:pt x="1706" y="331"/>
                  </a:cubicBezTo>
                  <a:cubicBezTo>
                    <a:pt x="1660" y="331"/>
                    <a:pt x="1660" y="312"/>
                    <a:pt x="1719" y="267"/>
                  </a:cubicBezTo>
                  <a:cubicBezTo>
                    <a:pt x="1778" y="223"/>
                    <a:pt x="1755" y="178"/>
                    <a:pt x="1758" y="145"/>
                  </a:cubicBezTo>
                  <a:cubicBezTo>
                    <a:pt x="1761" y="112"/>
                    <a:pt x="1748" y="117"/>
                    <a:pt x="1715" y="117"/>
                  </a:cubicBezTo>
                  <a:cubicBezTo>
                    <a:pt x="1683" y="117"/>
                    <a:pt x="1702" y="81"/>
                    <a:pt x="1719" y="50"/>
                  </a:cubicBezTo>
                  <a:cubicBezTo>
                    <a:pt x="1735" y="20"/>
                    <a:pt x="1709" y="23"/>
                    <a:pt x="1676" y="12"/>
                  </a:cubicBezTo>
                  <a:cubicBezTo>
                    <a:pt x="1643" y="0"/>
                    <a:pt x="1640" y="23"/>
                    <a:pt x="1627" y="34"/>
                  </a:cubicBezTo>
                  <a:cubicBezTo>
                    <a:pt x="1614" y="45"/>
                    <a:pt x="1604" y="42"/>
                    <a:pt x="1578" y="37"/>
                  </a:cubicBezTo>
                  <a:cubicBezTo>
                    <a:pt x="1552" y="31"/>
                    <a:pt x="1542" y="34"/>
                    <a:pt x="1535" y="62"/>
                  </a:cubicBezTo>
                  <a:cubicBezTo>
                    <a:pt x="1529" y="89"/>
                    <a:pt x="1525" y="75"/>
                    <a:pt x="1489" y="114"/>
                  </a:cubicBezTo>
                  <a:cubicBezTo>
                    <a:pt x="1404" y="128"/>
                    <a:pt x="1453" y="117"/>
                    <a:pt x="1424" y="70"/>
                  </a:cubicBezTo>
                  <a:cubicBezTo>
                    <a:pt x="1394" y="23"/>
                    <a:pt x="1368" y="92"/>
                    <a:pt x="1365" y="120"/>
                  </a:cubicBezTo>
                  <a:cubicBezTo>
                    <a:pt x="1362" y="148"/>
                    <a:pt x="1329" y="162"/>
                    <a:pt x="1316" y="137"/>
                  </a:cubicBezTo>
                  <a:cubicBezTo>
                    <a:pt x="1309" y="124"/>
                    <a:pt x="1285" y="121"/>
                    <a:pt x="1261" y="120"/>
                  </a:cubicBezTo>
                  <a:cubicBezTo>
                    <a:pt x="1265" y="134"/>
                    <a:pt x="1264" y="150"/>
                    <a:pt x="1252" y="167"/>
                  </a:cubicBezTo>
                  <a:cubicBezTo>
                    <a:pt x="1231" y="201"/>
                    <a:pt x="1218" y="212"/>
                    <a:pt x="1200" y="197"/>
                  </a:cubicBezTo>
                  <a:cubicBezTo>
                    <a:pt x="1183" y="182"/>
                    <a:pt x="1135" y="178"/>
                    <a:pt x="1135" y="208"/>
                  </a:cubicBezTo>
                  <a:cubicBezTo>
                    <a:pt x="1135" y="238"/>
                    <a:pt x="1178" y="264"/>
                    <a:pt x="1135" y="264"/>
                  </a:cubicBezTo>
                  <a:cubicBezTo>
                    <a:pt x="1091" y="264"/>
                    <a:pt x="1073" y="249"/>
                    <a:pt x="1065" y="275"/>
                  </a:cubicBezTo>
                  <a:cubicBezTo>
                    <a:pt x="1056" y="301"/>
                    <a:pt x="1043" y="308"/>
                    <a:pt x="1012" y="290"/>
                  </a:cubicBezTo>
                  <a:cubicBezTo>
                    <a:pt x="982" y="271"/>
                    <a:pt x="942" y="278"/>
                    <a:pt x="934" y="304"/>
                  </a:cubicBezTo>
                  <a:cubicBezTo>
                    <a:pt x="925" y="330"/>
                    <a:pt x="938" y="353"/>
                    <a:pt x="907" y="360"/>
                  </a:cubicBezTo>
                  <a:cubicBezTo>
                    <a:pt x="877" y="367"/>
                    <a:pt x="877" y="404"/>
                    <a:pt x="851" y="378"/>
                  </a:cubicBezTo>
                  <a:cubicBezTo>
                    <a:pt x="824" y="353"/>
                    <a:pt x="816" y="338"/>
                    <a:pt x="798" y="349"/>
                  </a:cubicBezTo>
                  <a:cubicBezTo>
                    <a:pt x="781" y="360"/>
                    <a:pt x="750" y="360"/>
                    <a:pt x="733" y="327"/>
                  </a:cubicBezTo>
                  <a:cubicBezTo>
                    <a:pt x="715" y="293"/>
                    <a:pt x="724" y="264"/>
                    <a:pt x="685" y="301"/>
                  </a:cubicBezTo>
                  <a:cubicBezTo>
                    <a:pt x="645" y="338"/>
                    <a:pt x="658" y="367"/>
                    <a:pt x="610" y="371"/>
                  </a:cubicBezTo>
                  <a:cubicBezTo>
                    <a:pt x="562" y="375"/>
                    <a:pt x="545" y="390"/>
                    <a:pt x="523" y="412"/>
                  </a:cubicBezTo>
                  <a:cubicBezTo>
                    <a:pt x="501" y="434"/>
                    <a:pt x="436" y="423"/>
                    <a:pt x="436" y="460"/>
                  </a:cubicBezTo>
                  <a:cubicBezTo>
                    <a:pt x="436" y="497"/>
                    <a:pt x="414" y="538"/>
                    <a:pt x="379" y="516"/>
                  </a:cubicBezTo>
                  <a:cubicBezTo>
                    <a:pt x="344" y="493"/>
                    <a:pt x="313" y="479"/>
                    <a:pt x="287" y="482"/>
                  </a:cubicBezTo>
                  <a:cubicBezTo>
                    <a:pt x="261" y="486"/>
                    <a:pt x="230" y="441"/>
                    <a:pt x="195" y="445"/>
                  </a:cubicBezTo>
                  <a:cubicBezTo>
                    <a:pt x="160" y="449"/>
                    <a:pt x="156" y="464"/>
                    <a:pt x="139" y="486"/>
                  </a:cubicBezTo>
                  <a:cubicBezTo>
                    <a:pt x="121" y="508"/>
                    <a:pt x="112" y="527"/>
                    <a:pt x="69" y="527"/>
                  </a:cubicBezTo>
                  <a:cubicBezTo>
                    <a:pt x="49" y="527"/>
                    <a:pt x="30" y="523"/>
                    <a:pt x="18" y="516"/>
                  </a:cubicBezTo>
                  <a:cubicBezTo>
                    <a:pt x="7" y="530"/>
                    <a:pt x="0" y="548"/>
                    <a:pt x="9" y="567"/>
                  </a:cubicBezTo>
                  <a:cubicBezTo>
                    <a:pt x="28" y="612"/>
                    <a:pt x="50" y="622"/>
                    <a:pt x="56" y="601"/>
                  </a:cubicBezTo>
                  <a:cubicBezTo>
                    <a:pt x="63" y="580"/>
                    <a:pt x="56" y="579"/>
                    <a:pt x="81" y="580"/>
                  </a:cubicBezTo>
                  <a:cubicBezTo>
                    <a:pt x="105" y="581"/>
                    <a:pt x="159" y="570"/>
                    <a:pt x="166" y="597"/>
                  </a:cubicBezTo>
                  <a:cubicBezTo>
                    <a:pt x="172" y="623"/>
                    <a:pt x="177" y="633"/>
                    <a:pt x="186" y="645"/>
                  </a:cubicBezTo>
                  <a:cubicBezTo>
                    <a:pt x="194" y="658"/>
                    <a:pt x="238" y="697"/>
                    <a:pt x="263" y="673"/>
                  </a:cubicBezTo>
                  <a:cubicBezTo>
                    <a:pt x="287" y="649"/>
                    <a:pt x="289" y="640"/>
                    <a:pt x="305" y="658"/>
                  </a:cubicBezTo>
                  <a:cubicBezTo>
                    <a:pt x="321" y="676"/>
                    <a:pt x="326" y="688"/>
                    <a:pt x="354" y="683"/>
                  </a:cubicBezTo>
                  <a:cubicBezTo>
                    <a:pt x="382" y="677"/>
                    <a:pt x="395" y="645"/>
                    <a:pt x="418" y="675"/>
                  </a:cubicBezTo>
                  <a:cubicBezTo>
                    <a:pt x="441" y="704"/>
                    <a:pt x="451" y="718"/>
                    <a:pt x="453" y="750"/>
                  </a:cubicBezTo>
                  <a:cubicBezTo>
                    <a:pt x="454" y="782"/>
                    <a:pt x="456" y="804"/>
                    <a:pt x="430" y="815"/>
                  </a:cubicBezTo>
                  <a:cubicBezTo>
                    <a:pt x="403" y="826"/>
                    <a:pt x="358" y="797"/>
                    <a:pt x="344" y="825"/>
                  </a:cubicBezTo>
                  <a:cubicBezTo>
                    <a:pt x="335" y="845"/>
                    <a:pt x="306" y="866"/>
                    <a:pt x="284" y="891"/>
                  </a:cubicBezTo>
                  <a:cubicBezTo>
                    <a:pt x="310" y="908"/>
                    <a:pt x="331" y="902"/>
                    <a:pt x="361" y="938"/>
                  </a:cubicBezTo>
                  <a:cubicBezTo>
                    <a:pt x="392" y="975"/>
                    <a:pt x="405" y="949"/>
                    <a:pt x="427" y="931"/>
                  </a:cubicBezTo>
                  <a:cubicBezTo>
                    <a:pt x="449" y="912"/>
                    <a:pt x="466" y="938"/>
                    <a:pt x="488" y="957"/>
                  </a:cubicBezTo>
                  <a:cubicBezTo>
                    <a:pt x="510" y="975"/>
                    <a:pt x="527" y="975"/>
                    <a:pt x="545" y="957"/>
                  </a:cubicBezTo>
                  <a:cubicBezTo>
                    <a:pt x="562" y="938"/>
                    <a:pt x="593" y="953"/>
                    <a:pt x="619" y="964"/>
                  </a:cubicBezTo>
                  <a:cubicBezTo>
                    <a:pt x="645" y="975"/>
                    <a:pt x="619" y="1016"/>
                    <a:pt x="593" y="1038"/>
                  </a:cubicBezTo>
                  <a:cubicBezTo>
                    <a:pt x="567" y="1060"/>
                    <a:pt x="571" y="1075"/>
                    <a:pt x="588" y="1090"/>
                  </a:cubicBezTo>
                  <a:cubicBezTo>
                    <a:pt x="606" y="1105"/>
                    <a:pt x="610" y="1135"/>
                    <a:pt x="623" y="1153"/>
                  </a:cubicBezTo>
                  <a:cubicBezTo>
                    <a:pt x="637" y="1172"/>
                    <a:pt x="632" y="1190"/>
                    <a:pt x="654" y="1186"/>
                  </a:cubicBezTo>
                  <a:cubicBezTo>
                    <a:pt x="676" y="1183"/>
                    <a:pt x="698" y="1194"/>
                    <a:pt x="720" y="1220"/>
                  </a:cubicBezTo>
                  <a:cubicBezTo>
                    <a:pt x="741" y="1246"/>
                    <a:pt x="811" y="1257"/>
                    <a:pt x="842" y="1275"/>
                  </a:cubicBezTo>
                  <a:cubicBezTo>
                    <a:pt x="872" y="1294"/>
                    <a:pt x="907" y="1246"/>
                    <a:pt x="929" y="1253"/>
                  </a:cubicBezTo>
                  <a:cubicBezTo>
                    <a:pt x="939" y="1256"/>
                    <a:pt x="958" y="1273"/>
                    <a:pt x="976" y="1290"/>
                  </a:cubicBezTo>
                  <a:cubicBezTo>
                    <a:pt x="996" y="1262"/>
                    <a:pt x="1013" y="1264"/>
                    <a:pt x="1065" y="1264"/>
                  </a:cubicBezTo>
                  <a:cubicBezTo>
                    <a:pt x="1126" y="1264"/>
                    <a:pt x="1139" y="1275"/>
                    <a:pt x="1126" y="1238"/>
                  </a:cubicBezTo>
                  <a:cubicBezTo>
                    <a:pt x="1113" y="1201"/>
                    <a:pt x="1121" y="1168"/>
                    <a:pt x="1161" y="1220"/>
                  </a:cubicBezTo>
                  <a:cubicBezTo>
                    <a:pt x="1200" y="1272"/>
                    <a:pt x="1148" y="1249"/>
                    <a:pt x="1213" y="1253"/>
                  </a:cubicBezTo>
                  <a:cubicBezTo>
                    <a:pt x="1279" y="1257"/>
                    <a:pt x="1231" y="1290"/>
                    <a:pt x="1296" y="1294"/>
                  </a:cubicBezTo>
                  <a:cubicBezTo>
                    <a:pt x="1362" y="1298"/>
                    <a:pt x="1392" y="1279"/>
                    <a:pt x="1392" y="1264"/>
                  </a:cubicBezTo>
                  <a:cubicBezTo>
                    <a:pt x="1392" y="1249"/>
                    <a:pt x="1418" y="1216"/>
                    <a:pt x="1423" y="1249"/>
                  </a:cubicBezTo>
                  <a:cubicBezTo>
                    <a:pt x="1423" y="1253"/>
                    <a:pt x="1424" y="1256"/>
                    <a:pt x="1424" y="1259"/>
                  </a:cubicBezTo>
                  <a:cubicBezTo>
                    <a:pt x="1430" y="1247"/>
                    <a:pt x="1437" y="1235"/>
                    <a:pt x="1447" y="1231"/>
                  </a:cubicBezTo>
                  <a:cubicBezTo>
                    <a:pt x="1469" y="1222"/>
                    <a:pt x="1486" y="1214"/>
                    <a:pt x="1486" y="1194"/>
                  </a:cubicBezTo>
                  <a:cubicBezTo>
                    <a:pt x="1486" y="1173"/>
                    <a:pt x="1471" y="1164"/>
                    <a:pt x="1501" y="1164"/>
                  </a:cubicBezTo>
                  <a:cubicBezTo>
                    <a:pt x="1532" y="1164"/>
                    <a:pt x="1591" y="1177"/>
                    <a:pt x="1591" y="1135"/>
                  </a:cubicBezTo>
                  <a:cubicBezTo>
                    <a:pt x="1591" y="1092"/>
                    <a:pt x="1576" y="1062"/>
                    <a:pt x="1608" y="1079"/>
                  </a:cubicBezTo>
                  <a:cubicBezTo>
                    <a:pt x="1641" y="1096"/>
                    <a:pt x="1663" y="1090"/>
                    <a:pt x="1674" y="1066"/>
                  </a:cubicBezTo>
                  <a:cubicBezTo>
                    <a:pt x="1685" y="1042"/>
                    <a:pt x="1700" y="1042"/>
                    <a:pt x="1685" y="1020"/>
                  </a:cubicBezTo>
                  <a:cubicBezTo>
                    <a:pt x="1670" y="997"/>
                    <a:pt x="1672" y="979"/>
                    <a:pt x="1694" y="971"/>
                  </a:cubicBezTo>
                  <a:cubicBezTo>
                    <a:pt x="1715" y="964"/>
                    <a:pt x="1777" y="940"/>
                    <a:pt x="1801" y="910"/>
                  </a:cubicBezTo>
                  <a:cubicBezTo>
                    <a:pt x="1825" y="881"/>
                    <a:pt x="1851" y="870"/>
                    <a:pt x="1840" y="836"/>
                  </a:cubicBezTo>
                  <a:cubicBezTo>
                    <a:pt x="1829" y="803"/>
                    <a:pt x="1807" y="732"/>
                    <a:pt x="1862" y="681"/>
                  </a:cubicBezTo>
                  <a:cubicBezTo>
                    <a:pt x="1916" y="629"/>
                    <a:pt x="1936" y="640"/>
                    <a:pt x="1938" y="599"/>
                  </a:cubicBezTo>
                  <a:cubicBezTo>
                    <a:pt x="1940" y="558"/>
                    <a:pt x="1932" y="536"/>
                    <a:pt x="1954" y="523"/>
                  </a:cubicBezTo>
                  <a:cubicBezTo>
                    <a:pt x="1975" y="510"/>
                    <a:pt x="1978" y="504"/>
                    <a:pt x="1967" y="480"/>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6" name="Freeform 17">
              <a:extLst>
                <a:ext uri="{FF2B5EF4-FFF2-40B4-BE49-F238E27FC236}">
                  <a16:creationId xmlns:a16="http://schemas.microsoft.com/office/drawing/2014/main" id="{D0D7C1E9-F850-2843-89CA-AC23095F5353}"/>
                </a:ext>
              </a:extLst>
            </p:cNvPr>
            <p:cNvSpPr>
              <a:spLocks/>
            </p:cNvSpPr>
            <p:nvPr/>
          </p:nvSpPr>
          <p:spPr bwMode="auto">
            <a:xfrm>
              <a:off x="3238" y="1805"/>
              <a:ext cx="590" cy="922"/>
            </a:xfrm>
            <a:custGeom>
              <a:avLst/>
              <a:gdLst>
                <a:gd name="T0" fmla="*/ 1149 w 1273"/>
                <a:gd name="T1" fmla="*/ 1405 h 1992"/>
                <a:gd name="T2" fmla="*/ 1053 w 1273"/>
                <a:gd name="T3" fmla="*/ 1201 h 1992"/>
                <a:gd name="T4" fmla="*/ 1105 w 1273"/>
                <a:gd name="T5" fmla="*/ 957 h 1992"/>
                <a:gd name="T6" fmla="*/ 1044 w 1273"/>
                <a:gd name="T7" fmla="*/ 727 h 1992"/>
                <a:gd name="T8" fmla="*/ 1088 w 1273"/>
                <a:gd name="T9" fmla="*/ 590 h 1992"/>
                <a:gd name="T10" fmla="*/ 1088 w 1273"/>
                <a:gd name="T11" fmla="*/ 486 h 1992"/>
                <a:gd name="T12" fmla="*/ 1094 w 1273"/>
                <a:gd name="T13" fmla="*/ 280 h 1992"/>
                <a:gd name="T14" fmla="*/ 1131 w 1273"/>
                <a:gd name="T15" fmla="*/ 132 h 1992"/>
                <a:gd name="T16" fmla="*/ 1098 w 1273"/>
                <a:gd name="T17" fmla="*/ 0 h 1992"/>
                <a:gd name="T18" fmla="*/ 996 w 1273"/>
                <a:gd name="T19" fmla="*/ 76 h 1992"/>
                <a:gd name="T20" fmla="*/ 900 w 1273"/>
                <a:gd name="T21" fmla="*/ 110 h 1992"/>
                <a:gd name="T22" fmla="*/ 834 w 1273"/>
                <a:gd name="T23" fmla="*/ 265 h 1992"/>
                <a:gd name="T24" fmla="*/ 699 w 1273"/>
                <a:gd name="T25" fmla="*/ 380 h 1992"/>
                <a:gd name="T26" fmla="*/ 629 w 1273"/>
                <a:gd name="T27" fmla="*/ 506 h 1992"/>
                <a:gd name="T28" fmla="*/ 476 w 1273"/>
                <a:gd name="T29" fmla="*/ 491 h 1992"/>
                <a:gd name="T30" fmla="*/ 377 w 1273"/>
                <a:gd name="T31" fmla="*/ 501 h 1992"/>
                <a:gd name="T32" fmla="*/ 314 w 1273"/>
                <a:gd name="T33" fmla="*/ 595 h 1992"/>
                <a:gd name="T34" fmla="*/ 327 w 1273"/>
                <a:gd name="T35" fmla="*/ 704 h 1992"/>
                <a:gd name="T36" fmla="*/ 500 w 1273"/>
                <a:gd name="T37" fmla="*/ 784 h 1992"/>
                <a:gd name="T38" fmla="*/ 664 w 1273"/>
                <a:gd name="T39" fmla="*/ 901 h 1992"/>
                <a:gd name="T40" fmla="*/ 642 w 1273"/>
                <a:gd name="T41" fmla="*/ 1038 h 1992"/>
                <a:gd name="T42" fmla="*/ 563 w 1273"/>
                <a:gd name="T43" fmla="*/ 1120 h 1992"/>
                <a:gd name="T44" fmla="*/ 509 w 1273"/>
                <a:gd name="T45" fmla="*/ 1127 h 1992"/>
                <a:gd name="T46" fmla="*/ 472 w 1273"/>
                <a:gd name="T47" fmla="*/ 1196 h 1992"/>
                <a:gd name="T48" fmla="*/ 356 w 1273"/>
                <a:gd name="T49" fmla="*/ 1225 h 1992"/>
                <a:gd name="T50" fmla="*/ 205 w 1273"/>
                <a:gd name="T51" fmla="*/ 1183 h 1992"/>
                <a:gd name="T52" fmla="*/ 175 w 1273"/>
                <a:gd name="T53" fmla="*/ 1277 h 1992"/>
                <a:gd name="T54" fmla="*/ 179 w 1273"/>
                <a:gd name="T55" fmla="*/ 1331 h 1992"/>
                <a:gd name="T56" fmla="*/ 212 w 1273"/>
                <a:gd name="T57" fmla="*/ 1416 h 1992"/>
                <a:gd name="T58" fmla="*/ 179 w 1273"/>
                <a:gd name="T59" fmla="*/ 1481 h 1992"/>
                <a:gd name="T60" fmla="*/ 201 w 1273"/>
                <a:gd name="T61" fmla="*/ 1540 h 1992"/>
                <a:gd name="T62" fmla="*/ 148 w 1273"/>
                <a:gd name="T63" fmla="*/ 1551 h 1992"/>
                <a:gd name="T64" fmla="*/ 76 w 1273"/>
                <a:gd name="T65" fmla="*/ 1564 h 1992"/>
                <a:gd name="T66" fmla="*/ 61 w 1273"/>
                <a:gd name="T67" fmla="*/ 1624 h 1992"/>
                <a:gd name="T68" fmla="*/ 61 w 1273"/>
                <a:gd name="T69" fmla="*/ 1698 h 1992"/>
                <a:gd name="T70" fmla="*/ 46 w 1273"/>
                <a:gd name="T71" fmla="*/ 1735 h 1992"/>
                <a:gd name="T72" fmla="*/ 214 w 1273"/>
                <a:gd name="T73" fmla="*/ 1789 h 1992"/>
                <a:gd name="T74" fmla="*/ 349 w 1273"/>
                <a:gd name="T75" fmla="*/ 1823 h 1992"/>
                <a:gd name="T76" fmla="*/ 438 w 1273"/>
                <a:gd name="T77" fmla="*/ 1834 h 1992"/>
                <a:gd name="T78" fmla="*/ 536 w 1273"/>
                <a:gd name="T79" fmla="*/ 1890 h 1992"/>
                <a:gd name="T80" fmla="*/ 677 w 1273"/>
                <a:gd name="T81" fmla="*/ 1876 h 1992"/>
                <a:gd name="T82" fmla="*/ 805 w 1273"/>
                <a:gd name="T83" fmla="*/ 1929 h 1992"/>
                <a:gd name="T84" fmla="*/ 939 w 1273"/>
                <a:gd name="T85" fmla="*/ 1959 h 1992"/>
                <a:gd name="T86" fmla="*/ 970 w 1273"/>
                <a:gd name="T87" fmla="*/ 1909 h 1992"/>
                <a:gd name="T88" fmla="*/ 930 w 1273"/>
                <a:gd name="T89" fmla="*/ 1816 h 1992"/>
                <a:gd name="T90" fmla="*/ 1059 w 1273"/>
                <a:gd name="T91" fmla="*/ 1752 h 1992"/>
                <a:gd name="T92" fmla="*/ 974 w 1273"/>
                <a:gd name="T93" fmla="*/ 1679 h 1992"/>
                <a:gd name="T94" fmla="*/ 913 w 1273"/>
                <a:gd name="T95" fmla="*/ 1626 h 1992"/>
                <a:gd name="T96" fmla="*/ 1048 w 1273"/>
                <a:gd name="T97" fmla="*/ 1603 h 1992"/>
                <a:gd name="T98" fmla="*/ 1168 w 1273"/>
                <a:gd name="T99" fmla="*/ 1607 h 1992"/>
                <a:gd name="T100" fmla="*/ 1256 w 1273"/>
                <a:gd name="T101" fmla="*/ 1527 h 1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3" h="1992">
                  <a:moveTo>
                    <a:pt x="1256" y="1527"/>
                  </a:moveTo>
                  <a:cubicBezTo>
                    <a:pt x="1238" y="1499"/>
                    <a:pt x="1164" y="1449"/>
                    <a:pt x="1149" y="1405"/>
                  </a:cubicBezTo>
                  <a:cubicBezTo>
                    <a:pt x="1133" y="1360"/>
                    <a:pt x="1118" y="1342"/>
                    <a:pt x="1092" y="1314"/>
                  </a:cubicBezTo>
                  <a:cubicBezTo>
                    <a:pt x="1066" y="1286"/>
                    <a:pt x="1055" y="1257"/>
                    <a:pt x="1053" y="1201"/>
                  </a:cubicBezTo>
                  <a:cubicBezTo>
                    <a:pt x="1050" y="1146"/>
                    <a:pt x="1066" y="1110"/>
                    <a:pt x="1081" y="1075"/>
                  </a:cubicBezTo>
                  <a:cubicBezTo>
                    <a:pt x="1096" y="1040"/>
                    <a:pt x="1131" y="1016"/>
                    <a:pt x="1105" y="957"/>
                  </a:cubicBezTo>
                  <a:cubicBezTo>
                    <a:pt x="1079" y="897"/>
                    <a:pt x="1063" y="888"/>
                    <a:pt x="1063" y="853"/>
                  </a:cubicBezTo>
                  <a:cubicBezTo>
                    <a:pt x="1063" y="818"/>
                    <a:pt x="1070" y="753"/>
                    <a:pt x="1044" y="727"/>
                  </a:cubicBezTo>
                  <a:cubicBezTo>
                    <a:pt x="1018" y="701"/>
                    <a:pt x="1033" y="664"/>
                    <a:pt x="1048" y="638"/>
                  </a:cubicBezTo>
                  <a:cubicBezTo>
                    <a:pt x="1063" y="612"/>
                    <a:pt x="1107" y="617"/>
                    <a:pt x="1088" y="590"/>
                  </a:cubicBezTo>
                  <a:cubicBezTo>
                    <a:pt x="1068" y="562"/>
                    <a:pt x="1066" y="556"/>
                    <a:pt x="1085" y="540"/>
                  </a:cubicBezTo>
                  <a:cubicBezTo>
                    <a:pt x="1105" y="523"/>
                    <a:pt x="1103" y="504"/>
                    <a:pt x="1088" y="486"/>
                  </a:cubicBezTo>
                  <a:cubicBezTo>
                    <a:pt x="1072" y="467"/>
                    <a:pt x="989" y="395"/>
                    <a:pt x="1029" y="360"/>
                  </a:cubicBezTo>
                  <a:cubicBezTo>
                    <a:pt x="1068" y="325"/>
                    <a:pt x="1092" y="328"/>
                    <a:pt x="1094" y="280"/>
                  </a:cubicBezTo>
                  <a:cubicBezTo>
                    <a:pt x="1096" y="232"/>
                    <a:pt x="1101" y="236"/>
                    <a:pt x="1107" y="199"/>
                  </a:cubicBezTo>
                  <a:cubicBezTo>
                    <a:pt x="1114" y="161"/>
                    <a:pt x="1116" y="148"/>
                    <a:pt x="1131" y="132"/>
                  </a:cubicBezTo>
                  <a:cubicBezTo>
                    <a:pt x="1146" y="115"/>
                    <a:pt x="1155" y="84"/>
                    <a:pt x="1140" y="65"/>
                  </a:cubicBezTo>
                  <a:cubicBezTo>
                    <a:pt x="1128" y="51"/>
                    <a:pt x="1107" y="25"/>
                    <a:pt x="1098" y="0"/>
                  </a:cubicBezTo>
                  <a:cubicBezTo>
                    <a:pt x="1092" y="1"/>
                    <a:pt x="1085" y="8"/>
                    <a:pt x="1074" y="24"/>
                  </a:cubicBezTo>
                  <a:cubicBezTo>
                    <a:pt x="1039" y="80"/>
                    <a:pt x="1018" y="91"/>
                    <a:pt x="996" y="76"/>
                  </a:cubicBezTo>
                  <a:cubicBezTo>
                    <a:pt x="974" y="61"/>
                    <a:pt x="917" y="21"/>
                    <a:pt x="917" y="47"/>
                  </a:cubicBezTo>
                  <a:cubicBezTo>
                    <a:pt x="917" y="73"/>
                    <a:pt x="926" y="87"/>
                    <a:pt x="900" y="110"/>
                  </a:cubicBezTo>
                  <a:cubicBezTo>
                    <a:pt x="873" y="132"/>
                    <a:pt x="839" y="136"/>
                    <a:pt x="843" y="173"/>
                  </a:cubicBezTo>
                  <a:cubicBezTo>
                    <a:pt x="847" y="210"/>
                    <a:pt x="904" y="258"/>
                    <a:pt x="834" y="265"/>
                  </a:cubicBezTo>
                  <a:cubicBezTo>
                    <a:pt x="764" y="273"/>
                    <a:pt x="777" y="273"/>
                    <a:pt x="764" y="302"/>
                  </a:cubicBezTo>
                  <a:cubicBezTo>
                    <a:pt x="751" y="332"/>
                    <a:pt x="716" y="354"/>
                    <a:pt x="699" y="380"/>
                  </a:cubicBezTo>
                  <a:cubicBezTo>
                    <a:pt x="681" y="406"/>
                    <a:pt x="651" y="417"/>
                    <a:pt x="651" y="454"/>
                  </a:cubicBezTo>
                  <a:cubicBezTo>
                    <a:pt x="651" y="491"/>
                    <a:pt x="659" y="506"/>
                    <a:pt x="629" y="506"/>
                  </a:cubicBezTo>
                  <a:cubicBezTo>
                    <a:pt x="598" y="506"/>
                    <a:pt x="576" y="554"/>
                    <a:pt x="550" y="528"/>
                  </a:cubicBezTo>
                  <a:cubicBezTo>
                    <a:pt x="524" y="502"/>
                    <a:pt x="493" y="469"/>
                    <a:pt x="476" y="491"/>
                  </a:cubicBezTo>
                  <a:cubicBezTo>
                    <a:pt x="458" y="514"/>
                    <a:pt x="410" y="502"/>
                    <a:pt x="384" y="502"/>
                  </a:cubicBezTo>
                  <a:cubicBezTo>
                    <a:pt x="381" y="502"/>
                    <a:pt x="379" y="502"/>
                    <a:pt x="377" y="501"/>
                  </a:cubicBezTo>
                  <a:cubicBezTo>
                    <a:pt x="364" y="519"/>
                    <a:pt x="352" y="532"/>
                    <a:pt x="334" y="545"/>
                  </a:cubicBezTo>
                  <a:cubicBezTo>
                    <a:pt x="310" y="562"/>
                    <a:pt x="323" y="573"/>
                    <a:pt x="314" y="595"/>
                  </a:cubicBezTo>
                  <a:cubicBezTo>
                    <a:pt x="306" y="617"/>
                    <a:pt x="306" y="623"/>
                    <a:pt x="323" y="645"/>
                  </a:cubicBezTo>
                  <a:cubicBezTo>
                    <a:pt x="341" y="667"/>
                    <a:pt x="319" y="679"/>
                    <a:pt x="327" y="704"/>
                  </a:cubicBezTo>
                  <a:cubicBezTo>
                    <a:pt x="336" y="730"/>
                    <a:pt x="391" y="740"/>
                    <a:pt x="430" y="747"/>
                  </a:cubicBezTo>
                  <a:cubicBezTo>
                    <a:pt x="469" y="754"/>
                    <a:pt x="472" y="760"/>
                    <a:pt x="500" y="784"/>
                  </a:cubicBezTo>
                  <a:cubicBezTo>
                    <a:pt x="528" y="808"/>
                    <a:pt x="592" y="814"/>
                    <a:pt x="631" y="825"/>
                  </a:cubicBezTo>
                  <a:cubicBezTo>
                    <a:pt x="670" y="836"/>
                    <a:pt x="648" y="868"/>
                    <a:pt x="664" y="901"/>
                  </a:cubicBezTo>
                  <a:cubicBezTo>
                    <a:pt x="679" y="934"/>
                    <a:pt x="646" y="938"/>
                    <a:pt x="624" y="966"/>
                  </a:cubicBezTo>
                  <a:cubicBezTo>
                    <a:pt x="603" y="994"/>
                    <a:pt x="622" y="1016"/>
                    <a:pt x="642" y="1038"/>
                  </a:cubicBezTo>
                  <a:cubicBezTo>
                    <a:pt x="662" y="1060"/>
                    <a:pt x="668" y="1070"/>
                    <a:pt x="662" y="1095"/>
                  </a:cubicBezTo>
                  <a:cubicBezTo>
                    <a:pt x="655" y="1121"/>
                    <a:pt x="590" y="1123"/>
                    <a:pt x="563" y="1120"/>
                  </a:cubicBezTo>
                  <a:cubicBezTo>
                    <a:pt x="537" y="1116"/>
                    <a:pt x="544" y="1114"/>
                    <a:pt x="537" y="1127"/>
                  </a:cubicBezTo>
                  <a:cubicBezTo>
                    <a:pt x="531" y="1140"/>
                    <a:pt x="526" y="1138"/>
                    <a:pt x="509" y="1127"/>
                  </a:cubicBezTo>
                  <a:cubicBezTo>
                    <a:pt x="491" y="1116"/>
                    <a:pt x="489" y="1129"/>
                    <a:pt x="461" y="1136"/>
                  </a:cubicBezTo>
                  <a:cubicBezTo>
                    <a:pt x="432" y="1144"/>
                    <a:pt x="472" y="1162"/>
                    <a:pt x="472" y="1196"/>
                  </a:cubicBezTo>
                  <a:cubicBezTo>
                    <a:pt x="472" y="1229"/>
                    <a:pt x="445" y="1209"/>
                    <a:pt x="419" y="1209"/>
                  </a:cubicBezTo>
                  <a:cubicBezTo>
                    <a:pt x="393" y="1209"/>
                    <a:pt x="389" y="1222"/>
                    <a:pt x="356" y="1225"/>
                  </a:cubicBezTo>
                  <a:cubicBezTo>
                    <a:pt x="323" y="1229"/>
                    <a:pt x="297" y="1207"/>
                    <a:pt x="288" y="1188"/>
                  </a:cubicBezTo>
                  <a:cubicBezTo>
                    <a:pt x="279" y="1170"/>
                    <a:pt x="249" y="1179"/>
                    <a:pt x="205" y="1183"/>
                  </a:cubicBezTo>
                  <a:cubicBezTo>
                    <a:pt x="161" y="1186"/>
                    <a:pt x="172" y="1222"/>
                    <a:pt x="183" y="1238"/>
                  </a:cubicBezTo>
                  <a:cubicBezTo>
                    <a:pt x="194" y="1255"/>
                    <a:pt x="192" y="1270"/>
                    <a:pt x="175" y="1277"/>
                  </a:cubicBezTo>
                  <a:cubicBezTo>
                    <a:pt x="157" y="1285"/>
                    <a:pt x="144" y="1305"/>
                    <a:pt x="142" y="1320"/>
                  </a:cubicBezTo>
                  <a:cubicBezTo>
                    <a:pt x="140" y="1335"/>
                    <a:pt x="159" y="1335"/>
                    <a:pt x="179" y="1331"/>
                  </a:cubicBezTo>
                  <a:cubicBezTo>
                    <a:pt x="199" y="1327"/>
                    <a:pt x="207" y="1348"/>
                    <a:pt x="223" y="1362"/>
                  </a:cubicBezTo>
                  <a:cubicBezTo>
                    <a:pt x="238" y="1377"/>
                    <a:pt x="210" y="1394"/>
                    <a:pt x="212" y="1416"/>
                  </a:cubicBezTo>
                  <a:cubicBezTo>
                    <a:pt x="214" y="1438"/>
                    <a:pt x="199" y="1438"/>
                    <a:pt x="188" y="1455"/>
                  </a:cubicBezTo>
                  <a:cubicBezTo>
                    <a:pt x="177" y="1472"/>
                    <a:pt x="168" y="1474"/>
                    <a:pt x="179" y="1481"/>
                  </a:cubicBezTo>
                  <a:cubicBezTo>
                    <a:pt x="190" y="1488"/>
                    <a:pt x="199" y="1498"/>
                    <a:pt x="181" y="1514"/>
                  </a:cubicBezTo>
                  <a:cubicBezTo>
                    <a:pt x="164" y="1531"/>
                    <a:pt x="181" y="1525"/>
                    <a:pt x="201" y="1540"/>
                  </a:cubicBezTo>
                  <a:cubicBezTo>
                    <a:pt x="220" y="1555"/>
                    <a:pt x="214" y="1570"/>
                    <a:pt x="185" y="1572"/>
                  </a:cubicBezTo>
                  <a:cubicBezTo>
                    <a:pt x="157" y="1574"/>
                    <a:pt x="161" y="1562"/>
                    <a:pt x="148" y="1551"/>
                  </a:cubicBezTo>
                  <a:cubicBezTo>
                    <a:pt x="135" y="1540"/>
                    <a:pt x="129" y="1555"/>
                    <a:pt x="124" y="1568"/>
                  </a:cubicBezTo>
                  <a:cubicBezTo>
                    <a:pt x="120" y="1581"/>
                    <a:pt x="92" y="1568"/>
                    <a:pt x="76" y="1564"/>
                  </a:cubicBezTo>
                  <a:cubicBezTo>
                    <a:pt x="61" y="1561"/>
                    <a:pt x="48" y="1579"/>
                    <a:pt x="24" y="1592"/>
                  </a:cubicBezTo>
                  <a:cubicBezTo>
                    <a:pt x="0" y="1605"/>
                    <a:pt x="37" y="1616"/>
                    <a:pt x="61" y="1624"/>
                  </a:cubicBezTo>
                  <a:cubicBezTo>
                    <a:pt x="85" y="1631"/>
                    <a:pt x="83" y="1638"/>
                    <a:pt x="68" y="1655"/>
                  </a:cubicBezTo>
                  <a:cubicBezTo>
                    <a:pt x="52" y="1672"/>
                    <a:pt x="83" y="1685"/>
                    <a:pt x="61" y="1698"/>
                  </a:cubicBezTo>
                  <a:cubicBezTo>
                    <a:pt x="49" y="1705"/>
                    <a:pt x="34" y="1721"/>
                    <a:pt x="24" y="1734"/>
                  </a:cubicBezTo>
                  <a:cubicBezTo>
                    <a:pt x="32" y="1734"/>
                    <a:pt x="39" y="1735"/>
                    <a:pt x="46" y="1735"/>
                  </a:cubicBezTo>
                  <a:cubicBezTo>
                    <a:pt x="78" y="1735"/>
                    <a:pt x="81" y="1768"/>
                    <a:pt x="109" y="1800"/>
                  </a:cubicBezTo>
                  <a:cubicBezTo>
                    <a:pt x="137" y="1831"/>
                    <a:pt x="179" y="1807"/>
                    <a:pt x="214" y="1789"/>
                  </a:cubicBezTo>
                  <a:cubicBezTo>
                    <a:pt x="249" y="1770"/>
                    <a:pt x="271" y="1778"/>
                    <a:pt x="313" y="1776"/>
                  </a:cubicBezTo>
                  <a:cubicBezTo>
                    <a:pt x="356" y="1773"/>
                    <a:pt x="333" y="1803"/>
                    <a:pt x="349" y="1823"/>
                  </a:cubicBezTo>
                  <a:cubicBezTo>
                    <a:pt x="366" y="1842"/>
                    <a:pt x="382" y="1831"/>
                    <a:pt x="402" y="1823"/>
                  </a:cubicBezTo>
                  <a:cubicBezTo>
                    <a:pt x="421" y="1815"/>
                    <a:pt x="428" y="1817"/>
                    <a:pt x="438" y="1834"/>
                  </a:cubicBezTo>
                  <a:cubicBezTo>
                    <a:pt x="448" y="1851"/>
                    <a:pt x="457" y="1851"/>
                    <a:pt x="474" y="1845"/>
                  </a:cubicBezTo>
                  <a:cubicBezTo>
                    <a:pt x="490" y="1840"/>
                    <a:pt x="510" y="1867"/>
                    <a:pt x="536" y="1890"/>
                  </a:cubicBezTo>
                  <a:cubicBezTo>
                    <a:pt x="562" y="1912"/>
                    <a:pt x="585" y="1895"/>
                    <a:pt x="611" y="1876"/>
                  </a:cubicBezTo>
                  <a:cubicBezTo>
                    <a:pt x="638" y="1856"/>
                    <a:pt x="654" y="1876"/>
                    <a:pt x="677" y="1876"/>
                  </a:cubicBezTo>
                  <a:cubicBezTo>
                    <a:pt x="700" y="1876"/>
                    <a:pt x="723" y="1895"/>
                    <a:pt x="739" y="1912"/>
                  </a:cubicBezTo>
                  <a:cubicBezTo>
                    <a:pt x="756" y="1929"/>
                    <a:pt x="769" y="1931"/>
                    <a:pt x="805" y="1929"/>
                  </a:cubicBezTo>
                  <a:cubicBezTo>
                    <a:pt x="841" y="1926"/>
                    <a:pt x="828" y="1937"/>
                    <a:pt x="857" y="1965"/>
                  </a:cubicBezTo>
                  <a:cubicBezTo>
                    <a:pt x="887" y="1992"/>
                    <a:pt x="903" y="1976"/>
                    <a:pt x="939" y="1959"/>
                  </a:cubicBezTo>
                  <a:cubicBezTo>
                    <a:pt x="947" y="1955"/>
                    <a:pt x="955" y="1954"/>
                    <a:pt x="963" y="1952"/>
                  </a:cubicBezTo>
                  <a:cubicBezTo>
                    <a:pt x="968" y="1936"/>
                    <a:pt x="973" y="1918"/>
                    <a:pt x="970" y="1909"/>
                  </a:cubicBezTo>
                  <a:cubicBezTo>
                    <a:pt x="963" y="1891"/>
                    <a:pt x="948" y="1874"/>
                    <a:pt x="928" y="1859"/>
                  </a:cubicBezTo>
                  <a:cubicBezTo>
                    <a:pt x="908" y="1844"/>
                    <a:pt x="915" y="1837"/>
                    <a:pt x="930" y="1816"/>
                  </a:cubicBezTo>
                  <a:cubicBezTo>
                    <a:pt x="946" y="1796"/>
                    <a:pt x="943" y="1768"/>
                    <a:pt x="978" y="1770"/>
                  </a:cubicBezTo>
                  <a:cubicBezTo>
                    <a:pt x="1013" y="1772"/>
                    <a:pt x="1057" y="1774"/>
                    <a:pt x="1059" y="1752"/>
                  </a:cubicBezTo>
                  <a:cubicBezTo>
                    <a:pt x="1061" y="1729"/>
                    <a:pt x="1074" y="1696"/>
                    <a:pt x="1044" y="1694"/>
                  </a:cubicBezTo>
                  <a:cubicBezTo>
                    <a:pt x="1013" y="1692"/>
                    <a:pt x="972" y="1698"/>
                    <a:pt x="974" y="1679"/>
                  </a:cubicBezTo>
                  <a:cubicBezTo>
                    <a:pt x="976" y="1661"/>
                    <a:pt x="978" y="1644"/>
                    <a:pt x="952" y="1644"/>
                  </a:cubicBezTo>
                  <a:cubicBezTo>
                    <a:pt x="926" y="1644"/>
                    <a:pt x="913" y="1637"/>
                    <a:pt x="913" y="1626"/>
                  </a:cubicBezTo>
                  <a:cubicBezTo>
                    <a:pt x="913" y="1614"/>
                    <a:pt x="904" y="1592"/>
                    <a:pt x="965" y="1600"/>
                  </a:cubicBezTo>
                  <a:cubicBezTo>
                    <a:pt x="1026" y="1607"/>
                    <a:pt x="1042" y="1587"/>
                    <a:pt x="1048" y="1603"/>
                  </a:cubicBezTo>
                  <a:cubicBezTo>
                    <a:pt x="1055" y="1620"/>
                    <a:pt x="1059" y="1620"/>
                    <a:pt x="1092" y="1620"/>
                  </a:cubicBezTo>
                  <a:cubicBezTo>
                    <a:pt x="1125" y="1620"/>
                    <a:pt x="1127" y="1588"/>
                    <a:pt x="1168" y="1607"/>
                  </a:cubicBezTo>
                  <a:cubicBezTo>
                    <a:pt x="1210" y="1626"/>
                    <a:pt x="1210" y="1614"/>
                    <a:pt x="1232" y="1592"/>
                  </a:cubicBezTo>
                  <a:cubicBezTo>
                    <a:pt x="1254" y="1570"/>
                    <a:pt x="1273" y="1555"/>
                    <a:pt x="1256" y="1527"/>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7" name="Freeform 18">
              <a:extLst>
                <a:ext uri="{FF2B5EF4-FFF2-40B4-BE49-F238E27FC236}">
                  <a16:creationId xmlns:a16="http://schemas.microsoft.com/office/drawing/2014/main" id="{FAEAD1B6-267D-9244-A1AE-F94CFA928CC8}"/>
                </a:ext>
              </a:extLst>
            </p:cNvPr>
            <p:cNvSpPr>
              <a:spLocks/>
            </p:cNvSpPr>
            <p:nvPr/>
          </p:nvSpPr>
          <p:spPr bwMode="auto">
            <a:xfrm>
              <a:off x="3030" y="3028"/>
              <a:ext cx="700" cy="551"/>
            </a:xfrm>
            <a:custGeom>
              <a:avLst/>
              <a:gdLst>
                <a:gd name="T0" fmla="*/ 1227 w 1511"/>
                <a:gd name="T1" fmla="*/ 158 h 1190"/>
                <a:gd name="T2" fmla="*/ 1173 w 1511"/>
                <a:gd name="T3" fmla="*/ 104 h 1190"/>
                <a:gd name="T4" fmla="*/ 1123 w 1511"/>
                <a:gd name="T5" fmla="*/ 32 h 1190"/>
                <a:gd name="T6" fmla="*/ 1024 w 1511"/>
                <a:gd name="T7" fmla="*/ 35 h 1190"/>
                <a:gd name="T8" fmla="*/ 943 w 1511"/>
                <a:gd name="T9" fmla="*/ 43 h 1190"/>
                <a:gd name="T10" fmla="*/ 880 w 1511"/>
                <a:gd name="T11" fmla="*/ 89 h 1190"/>
                <a:gd name="T12" fmla="*/ 756 w 1511"/>
                <a:gd name="T13" fmla="*/ 180 h 1190"/>
                <a:gd name="T14" fmla="*/ 592 w 1511"/>
                <a:gd name="T15" fmla="*/ 139 h 1190"/>
                <a:gd name="T16" fmla="*/ 500 w 1511"/>
                <a:gd name="T17" fmla="*/ 191 h 1190"/>
                <a:gd name="T18" fmla="*/ 620 w 1511"/>
                <a:gd name="T19" fmla="*/ 287 h 1190"/>
                <a:gd name="T20" fmla="*/ 675 w 1511"/>
                <a:gd name="T21" fmla="*/ 361 h 1190"/>
                <a:gd name="T22" fmla="*/ 572 w 1511"/>
                <a:gd name="T23" fmla="*/ 389 h 1190"/>
                <a:gd name="T24" fmla="*/ 469 w 1511"/>
                <a:gd name="T25" fmla="*/ 393 h 1190"/>
                <a:gd name="T26" fmla="*/ 419 w 1511"/>
                <a:gd name="T27" fmla="*/ 398 h 1190"/>
                <a:gd name="T28" fmla="*/ 293 w 1511"/>
                <a:gd name="T29" fmla="*/ 504 h 1190"/>
                <a:gd name="T30" fmla="*/ 144 w 1511"/>
                <a:gd name="T31" fmla="*/ 523 h 1190"/>
                <a:gd name="T32" fmla="*/ 35 w 1511"/>
                <a:gd name="T33" fmla="*/ 549 h 1190"/>
                <a:gd name="T34" fmla="*/ 30 w 1511"/>
                <a:gd name="T35" fmla="*/ 630 h 1190"/>
                <a:gd name="T36" fmla="*/ 113 w 1511"/>
                <a:gd name="T37" fmla="*/ 704 h 1190"/>
                <a:gd name="T38" fmla="*/ 210 w 1511"/>
                <a:gd name="T39" fmla="*/ 678 h 1190"/>
                <a:gd name="T40" fmla="*/ 258 w 1511"/>
                <a:gd name="T41" fmla="*/ 790 h 1190"/>
                <a:gd name="T42" fmla="*/ 201 w 1511"/>
                <a:gd name="T43" fmla="*/ 953 h 1190"/>
                <a:gd name="T44" fmla="*/ 258 w 1511"/>
                <a:gd name="T45" fmla="*/ 1127 h 1190"/>
                <a:gd name="T46" fmla="*/ 376 w 1511"/>
                <a:gd name="T47" fmla="*/ 1138 h 1190"/>
                <a:gd name="T48" fmla="*/ 524 w 1511"/>
                <a:gd name="T49" fmla="*/ 1134 h 1190"/>
                <a:gd name="T50" fmla="*/ 673 w 1511"/>
                <a:gd name="T51" fmla="*/ 1112 h 1190"/>
                <a:gd name="T52" fmla="*/ 847 w 1511"/>
                <a:gd name="T53" fmla="*/ 1023 h 1190"/>
                <a:gd name="T54" fmla="*/ 970 w 1511"/>
                <a:gd name="T55" fmla="*/ 979 h 1190"/>
                <a:gd name="T56" fmla="*/ 1088 w 1511"/>
                <a:gd name="T57" fmla="*/ 1030 h 1190"/>
                <a:gd name="T58" fmla="*/ 1171 w 1511"/>
                <a:gd name="T59" fmla="*/ 956 h 1190"/>
                <a:gd name="T60" fmla="*/ 1302 w 1511"/>
                <a:gd name="T61" fmla="*/ 927 h 1190"/>
                <a:gd name="T62" fmla="*/ 1372 w 1511"/>
                <a:gd name="T63" fmla="*/ 860 h 1190"/>
                <a:gd name="T64" fmla="*/ 1489 w 1511"/>
                <a:gd name="T65" fmla="*/ 819 h 1190"/>
                <a:gd name="T66" fmla="*/ 1468 w 1511"/>
                <a:gd name="T67" fmla="*/ 671 h 1190"/>
                <a:gd name="T68" fmla="*/ 1472 w 1511"/>
                <a:gd name="T69" fmla="*/ 593 h 1190"/>
                <a:gd name="T70" fmla="*/ 1393 w 1511"/>
                <a:gd name="T71" fmla="*/ 512 h 1190"/>
                <a:gd name="T72" fmla="*/ 1341 w 1511"/>
                <a:gd name="T73" fmla="*/ 486 h 1190"/>
                <a:gd name="T74" fmla="*/ 1437 w 1511"/>
                <a:gd name="T75" fmla="*/ 345 h 1190"/>
                <a:gd name="T76" fmla="*/ 1402 w 1511"/>
                <a:gd name="T77" fmla="*/ 200 h 1190"/>
                <a:gd name="T78" fmla="*/ 1352 w 1511"/>
                <a:gd name="T79" fmla="*/ 222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11" h="1190">
                  <a:moveTo>
                    <a:pt x="1275" y="219"/>
                  </a:moveTo>
                  <a:cubicBezTo>
                    <a:pt x="1234" y="202"/>
                    <a:pt x="1240" y="182"/>
                    <a:pt x="1227" y="158"/>
                  </a:cubicBezTo>
                  <a:cubicBezTo>
                    <a:pt x="1214" y="134"/>
                    <a:pt x="1195" y="132"/>
                    <a:pt x="1171" y="128"/>
                  </a:cubicBezTo>
                  <a:cubicBezTo>
                    <a:pt x="1147" y="124"/>
                    <a:pt x="1162" y="121"/>
                    <a:pt x="1173" y="104"/>
                  </a:cubicBezTo>
                  <a:cubicBezTo>
                    <a:pt x="1184" y="87"/>
                    <a:pt x="1160" y="80"/>
                    <a:pt x="1160" y="65"/>
                  </a:cubicBezTo>
                  <a:cubicBezTo>
                    <a:pt x="1160" y="50"/>
                    <a:pt x="1151" y="33"/>
                    <a:pt x="1123" y="32"/>
                  </a:cubicBezTo>
                  <a:cubicBezTo>
                    <a:pt x="1094" y="30"/>
                    <a:pt x="1083" y="33"/>
                    <a:pt x="1066" y="54"/>
                  </a:cubicBezTo>
                  <a:cubicBezTo>
                    <a:pt x="1048" y="74"/>
                    <a:pt x="1029" y="54"/>
                    <a:pt x="1024" y="35"/>
                  </a:cubicBezTo>
                  <a:cubicBezTo>
                    <a:pt x="1020" y="17"/>
                    <a:pt x="991" y="11"/>
                    <a:pt x="965" y="6"/>
                  </a:cubicBezTo>
                  <a:cubicBezTo>
                    <a:pt x="939" y="0"/>
                    <a:pt x="924" y="24"/>
                    <a:pt x="943" y="43"/>
                  </a:cubicBezTo>
                  <a:cubicBezTo>
                    <a:pt x="963" y="61"/>
                    <a:pt x="954" y="76"/>
                    <a:pt x="941" y="95"/>
                  </a:cubicBezTo>
                  <a:cubicBezTo>
                    <a:pt x="928" y="113"/>
                    <a:pt x="913" y="115"/>
                    <a:pt x="880" y="89"/>
                  </a:cubicBezTo>
                  <a:cubicBezTo>
                    <a:pt x="847" y="63"/>
                    <a:pt x="823" y="113"/>
                    <a:pt x="784" y="119"/>
                  </a:cubicBezTo>
                  <a:cubicBezTo>
                    <a:pt x="745" y="124"/>
                    <a:pt x="784" y="156"/>
                    <a:pt x="756" y="180"/>
                  </a:cubicBezTo>
                  <a:cubicBezTo>
                    <a:pt x="727" y="204"/>
                    <a:pt x="688" y="191"/>
                    <a:pt x="657" y="187"/>
                  </a:cubicBezTo>
                  <a:cubicBezTo>
                    <a:pt x="627" y="184"/>
                    <a:pt x="620" y="161"/>
                    <a:pt x="592" y="139"/>
                  </a:cubicBezTo>
                  <a:cubicBezTo>
                    <a:pt x="563" y="117"/>
                    <a:pt x="570" y="146"/>
                    <a:pt x="555" y="163"/>
                  </a:cubicBezTo>
                  <a:cubicBezTo>
                    <a:pt x="539" y="180"/>
                    <a:pt x="518" y="176"/>
                    <a:pt x="500" y="191"/>
                  </a:cubicBezTo>
                  <a:cubicBezTo>
                    <a:pt x="483" y="206"/>
                    <a:pt x="504" y="235"/>
                    <a:pt x="531" y="254"/>
                  </a:cubicBezTo>
                  <a:cubicBezTo>
                    <a:pt x="557" y="272"/>
                    <a:pt x="579" y="287"/>
                    <a:pt x="620" y="287"/>
                  </a:cubicBezTo>
                  <a:cubicBezTo>
                    <a:pt x="662" y="287"/>
                    <a:pt x="642" y="300"/>
                    <a:pt x="644" y="317"/>
                  </a:cubicBezTo>
                  <a:cubicBezTo>
                    <a:pt x="646" y="334"/>
                    <a:pt x="660" y="341"/>
                    <a:pt x="675" y="361"/>
                  </a:cubicBezTo>
                  <a:cubicBezTo>
                    <a:pt x="690" y="382"/>
                    <a:pt x="662" y="384"/>
                    <a:pt x="635" y="382"/>
                  </a:cubicBezTo>
                  <a:cubicBezTo>
                    <a:pt x="609" y="380"/>
                    <a:pt x="596" y="389"/>
                    <a:pt x="572" y="389"/>
                  </a:cubicBezTo>
                  <a:cubicBezTo>
                    <a:pt x="548" y="389"/>
                    <a:pt x="548" y="399"/>
                    <a:pt x="522" y="410"/>
                  </a:cubicBezTo>
                  <a:cubicBezTo>
                    <a:pt x="496" y="421"/>
                    <a:pt x="483" y="408"/>
                    <a:pt x="469" y="393"/>
                  </a:cubicBezTo>
                  <a:cubicBezTo>
                    <a:pt x="456" y="378"/>
                    <a:pt x="450" y="387"/>
                    <a:pt x="437" y="399"/>
                  </a:cubicBezTo>
                  <a:cubicBezTo>
                    <a:pt x="433" y="402"/>
                    <a:pt x="426" y="401"/>
                    <a:pt x="419" y="398"/>
                  </a:cubicBezTo>
                  <a:cubicBezTo>
                    <a:pt x="414" y="430"/>
                    <a:pt x="409" y="486"/>
                    <a:pt x="384" y="489"/>
                  </a:cubicBezTo>
                  <a:cubicBezTo>
                    <a:pt x="358" y="493"/>
                    <a:pt x="341" y="497"/>
                    <a:pt x="293" y="504"/>
                  </a:cubicBezTo>
                  <a:cubicBezTo>
                    <a:pt x="245" y="512"/>
                    <a:pt x="240" y="508"/>
                    <a:pt x="175" y="493"/>
                  </a:cubicBezTo>
                  <a:cubicBezTo>
                    <a:pt x="109" y="478"/>
                    <a:pt x="175" y="493"/>
                    <a:pt x="144" y="523"/>
                  </a:cubicBezTo>
                  <a:cubicBezTo>
                    <a:pt x="113" y="552"/>
                    <a:pt x="113" y="526"/>
                    <a:pt x="96" y="493"/>
                  </a:cubicBezTo>
                  <a:cubicBezTo>
                    <a:pt x="79" y="460"/>
                    <a:pt x="70" y="504"/>
                    <a:pt x="35" y="549"/>
                  </a:cubicBezTo>
                  <a:cubicBezTo>
                    <a:pt x="0" y="593"/>
                    <a:pt x="9" y="571"/>
                    <a:pt x="35" y="593"/>
                  </a:cubicBezTo>
                  <a:cubicBezTo>
                    <a:pt x="61" y="615"/>
                    <a:pt x="52" y="619"/>
                    <a:pt x="30" y="630"/>
                  </a:cubicBezTo>
                  <a:cubicBezTo>
                    <a:pt x="9" y="641"/>
                    <a:pt x="26" y="686"/>
                    <a:pt x="52" y="704"/>
                  </a:cubicBezTo>
                  <a:cubicBezTo>
                    <a:pt x="79" y="723"/>
                    <a:pt x="113" y="727"/>
                    <a:pt x="113" y="704"/>
                  </a:cubicBezTo>
                  <a:cubicBezTo>
                    <a:pt x="113" y="682"/>
                    <a:pt x="140" y="689"/>
                    <a:pt x="153" y="701"/>
                  </a:cubicBezTo>
                  <a:cubicBezTo>
                    <a:pt x="166" y="712"/>
                    <a:pt x="183" y="675"/>
                    <a:pt x="210" y="678"/>
                  </a:cubicBezTo>
                  <a:cubicBezTo>
                    <a:pt x="236" y="682"/>
                    <a:pt x="240" y="708"/>
                    <a:pt x="258" y="723"/>
                  </a:cubicBezTo>
                  <a:cubicBezTo>
                    <a:pt x="275" y="738"/>
                    <a:pt x="275" y="767"/>
                    <a:pt x="258" y="790"/>
                  </a:cubicBezTo>
                  <a:cubicBezTo>
                    <a:pt x="240" y="812"/>
                    <a:pt x="236" y="812"/>
                    <a:pt x="201" y="856"/>
                  </a:cubicBezTo>
                  <a:cubicBezTo>
                    <a:pt x="166" y="901"/>
                    <a:pt x="201" y="927"/>
                    <a:pt x="201" y="953"/>
                  </a:cubicBezTo>
                  <a:cubicBezTo>
                    <a:pt x="201" y="979"/>
                    <a:pt x="258" y="1005"/>
                    <a:pt x="284" y="1027"/>
                  </a:cubicBezTo>
                  <a:cubicBezTo>
                    <a:pt x="310" y="1049"/>
                    <a:pt x="297" y="1093"/>
                    <a:pt x="258" y="1127"/>
                  </a:cubicBezTo>
                  <a:cubicBezTo>
                    <a:pt x="218" y="1160"/>
                    <a:pt x="262" y="1179"/>
                    <a:pt x="306" y="1179"/>
                  </a:cubicBezTo>
                  <a:cubicBezTo>
                    <a:pt x="349" y="1179"/>
                    <a:pt x="358" y="1160"/>
                    <a:pt x="376" y="1138"/>
                  </a:cubicBezTo>
                  <a:cubicBezTo>
                    <a:pt x="393" y="1116"/>
                    <a:pt x="397" y="1101"/>
                    <a:pt x="432" y="1097"/>
                  </a:cubicBezTo>
                  <a:cubicBezTo>
                    <a:pt x="467" y="1093"/>
                    <a:pt x="498" y="1138"/>
                    <a:pt x="524" y="1134"/>
                  </a:cubicBezTo>
                  <a:cubicBezTo>
                    <a:pt x="550" y="1131"/>
                    <a:pt x="581" y="1145"/>
                    <a:pt x="616" y="1168"/>
                  </a:cubicBezTo>
                  <a:cubicBezTo>
                    <a:pt x="651" y="1190"/>
                    <a:pt x="673" y="1149"/>
                    <a:pt x="673" y="1112"/>
                  </a:cubicBezTo>
                  <a:cubicBezTo>
                    <a:pt x="673" y="1075"/>
                    <a:pt x="738" y="1086"/>
                    <a:pt x="760" y="1064"/>
                  </a:cubicBezTo>
                  <a:cubicBezTo>
                    <a:pt x="782" y="1042"/>
                    <a:pt x="799" y="1027"/>
                    <a:pt x="847" y="1023"/>
                  </a:cubicBezTo>
                  <a:cubicBezTo>
                    <a:pt x="895" y="1019"/>
                    <a:pt x="882" y="990"/>
                    <a:pt x="922" y="953"/>
                  </a:cubicBezTo>
                  <a:cubicBezTo>
                    <a:pt x="961" y="916"/>
                    <a:pt x="952" y="945"/>
                    <a:pt x="970" y="979"/>
                  </a:cubicBezTo>
                  <a:cubicBezTo>
                    <a:pt x="987" y="1012"/>
                    <a:pt x="1018" y="1012"/>
                    <a:pt x="1035" y="1001"/>
                  </a:cubicBezTo>
                  <a:cubicBezTo>
                    <a:pt x="1053" y="990"/>
                    <a:pt x="1061" y="1005"/>
                    <a:pt x="1088" y="1030"/>
                  </a:cubicBezTo>
                  <a:cubicBezTo>
                    <a:pt x="1114" y="1056"/>
                    <a:pt x="1114" y="1019"/>
                    <a:pt x="1144" y="1012"/>
                  </a:cubicBezTo>
                  <a:cubicBezTo>
                    <a:pt x="1175" y="1005"/>
                    <a:pt x="1162" y="982"/>
                    <a:pt x="1171" y="956"/>
                  </a:cubicBezTo>
                  <a:cubicBezTo>
                    <a:pt x="1179" y="930"/>
                    <a:pt x="1219" y="923"/>
                    <a:pt x="1249" y="942"/>
                  </a:cubicBezTo>
                  <a:cubicBezTo>
                    <a:pt x="1280" y="960"/>
                    <a:pt x="1293" y="953"/>
                    <a:pt x="1302" y="927"/>
                  </a:cubicBezTo>
                  <a:cubicBezTo>
                    <a:pt x="1310" y="901"/>
                    <a:pt x="1328" y="916"/>
                    <a:pt x="1372" y="916"/>
                  </a:cubicBezTo>
                  <a:cubicBezTo>
                    <a:pt x="1415" y="916"/>
                    <a:pt x="1372" y="890"/>
                    <a:pt x="1372" y="860"/>
                  </a:cubicBezTo>
                  <a:cubicBezTo>
                    <a:pt x="1372" y="830"/>
                    <a:pt x="1420" y="834"/>
                    <a:pt x="1437" y="849"/>
                  </a:cubicBezTo>
                  <a:cubicBezTo>
                    <a:pt x="1455" y="864"/>
                    <a:pt x="1468" y="853"/>
                    <a:pt x="1489" y="819"/>
                  </a:cubicBezTo>
                  <a:cubicBezTo>
                    <a:pt x="1511" y="786"/>
                    <a:pt x="1494" y="756"/>
                    <a:pt x="1485" y="745"/>
                  </a:cubicBezTo>
                  <a:cubicBezTo>
                    <a:pt x="1476" y="734"/>
                    <a:pt x="1450" y="693"/>
                    <a:pt x="1468" y="671"/>
                  </a:cubicBezTo>
                  <a:cubicBezTo>
                    <a:pt x="1485" y="649"/>
                    <a:pt x="1494" y="656"/>
                    <a:pt x="1481" y="638"/>
                  </a:cubicBezTo>
                  <a:cubicBezTo>
                    <a:pt x="1468" y="619"/>
                    <a:pt x="1450" y="604"/>
                    <a:pt x="1472" y="593"/>
                  </a:cubicBezTo>
                  <a:cubicBezTo>
                    <a:pt x="1494" y="582"/>
                    <a:pt x="1489" y="571"/>
                    <a:pt x="1485" y="526"/>
                  </a:cubicBezTo>
                  <a:cubicBezTo>
                    <a:pt x="1481" y="482"/>
                    <a:pt x="1437" y="519"/>
                    <a:pt x="1393" y="512"/>
                  </a:cubicBezTo>
                  <a:cubicBezTo>
                    <a:pt x="1350" y="504"/>
                    <a:pt x="1363" y="549"/>
                    <a:pt x="1323" y="534"/>
                  </a:cubicBezTo>
                  <a:cubicBezTo>
                    <a:pt x="1284" y="519"/>
                    <a:pt x="1319" y="512"/>
                    <a:pt x="1341" y="486"/>
                  </a:cubicBezTo>
                  <a:cubicBezTo>
                    <a:pt x="1363" y="460"/>
                    <a:pt x="1415" y="426"/>
                    <a:pt x="1450" y="419"/>
                  </a:cubicBezTo>
                  <a:cubicBezTo>
                    <a:pt x="1485" y="411"/>
                    <a:pt x="1459" y="378"/>
                    <a:pt x="1437" y="345"/>
                  </a:cubicBezTo>
                  <a:cubicBezTo>
                    <a:pt x="1415" y="311"/>
                    <a:pt x="1411" y="300"/>
                    <a:pt x="1424" y="263"/>
                  </a:cubicBezTo>
                  <a:cubicBezTo>
                    <a:pt x="1437" y="226"/>
                    <a:pt x="1428" y="230"/>
                    <a:pt x="1402" y="200"/>
                  </a:cubicBezTo>
                  <a:cubicBezTo>
                    <a:pt x="1401" y="199"/>
                    <a:pt x="1401" y="199"/>
                    <a:pt x="1400" y="198"/>
                  </a:cubicBezTo>
                  <a:cubicBezTo>
                    <a:pt x="1384" y="208"/>
                    <a:pt x="1373" y="217"/>
                    <a:pt x="1352" y="222"/>
                  </a:cubicBezTo>
                  <a:cubicBezTo>
                    <a:pt x="1319" y="232"/>
                    <a:pt x="1317" y="235"/>
                    <a:pt x="1275" y="219"/>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8" name="Freeform 19">
              <a:extLst>
                <a:ext uri="{FF2B5EF4-FFF2-40B4-BE49-F238E27FC236}">
                  <a16:creationId xmlns:a16="http://schemas.microsoft.com/office/drawing/2014/main" id="{8F98FB05-CC6C-F046-BD05-F575528120BC}"/>
                </a:ext>
              </a:extLst>
            </p:cNvPr>
            <p:cNvSpPr>
              <a:spLocks/>
            </p:cNvSpPr>
            <p:nvPr/>
          </p:nvSpPr>
          <p:spPr bwMode="auto">
            <a:xfrm>
              <a:off x="2330" y="2463"/>
              <a:ext cx="1424" cy="954"/>
            </a:xfrm>
            <a:custGeom>
              <a:avLst/>
              <a:gdLst>
                <a:gd name="T0" fmla="*/ 3008 w 3074"/>
                <a:gd name="T1" fmla="*/ 534 h 2060"/>
                <a:gd name="T2" fmla="*/ 2766 w 3074"/>
                <a:gd name="T3" fmla="*/ 507 h 2060"/>
                <a:gd name="T4" fmla="*/ 2572 w 3074"/>
                <a:gd name="T5" fmla="*/ 454 h 2060"/>
                <a:gd name="T6" fmla="*/ 2399 w 3074"/>
                <a:gd name="T7" fmla="*/ 412 h 2060"/>
                <a:gd name="T8" fmla="*/ 2274 w 3074"/>
                <a:gd name="T9" fmla="*/ 354 h 2060"/>
                <a:gd name="T10" fmla="*/ 2007 w 3074"/>
                <a:gd name="T11" fmla="*/ 313 h 2060"/>
                <a:gd name="T12" fmla="*/ 1797 w 3074"/>
                <a:gd name="T13" fmla="*/ 402 h 2060"/>
                <a:gd name="T14" fmla="*/ 1646 w 3074"/>
                <a:gd name="T15" fmla="*/ 276 h 2060"/>
                <a:gd name="T16" fmla="*/ 1524 w 3074"/>
                <a:gd name="T17" fmla="*/ 248 h 2060"/>
                <a:gd name="T18" fmla="*/ 1413 w 3074"/>
                <a:gd name="T19" fmla="*/ 129 h 2060"/>
                <a:gd name="T20" fmla="*/ 1264 w 3074"/>
                <a:gd name="T21" fmla="*/ 22 h 2060"/>
                <a:gd name="T22" fmla="*/ 1179 w 3074"/>
                <a:gd name="T23" fmla="*/ 136 h 2060"/>
                <a:gd name="T24" fmla="*/ 1148 w 3074"/>
                <a:gd name="T25" fmla="*/ 292 h 2060"/>
                <a:gd name="T26" fmla="*/ 934 w 3074"/>
                <a:gd name="T27" fmla="*/ 244 h 2060"/>
                <a:gd name="T28" fmla="*/ 698 w 3074"/>
                <a:gd name="T29" fmla="*/ 374 h 2060"/>
                <a:gd name="T30" fmla="*/ 463 w 3074"/>
                <a:gd name="T31" fmla="*/ 267 h 2060"/>
                <a:gd name="T32" fmla="*/ 235 w 3074"/>
                <a:gd name="T33" fmla="*/ 222 h 2060"/>
                <a:gd name="T34" fmla="*/ 48 w 3074"/>
                <a:gd name="T35" fmla="*/ 352 h 2060"/>
                <a:gd name="T36" fmla="*/ 200 w 3074"/>
                <a:gd name="T37" fmla="*/ 467 h 2060"/>
                <a:gd name="T38" fmla="*/ 345 w 3074"/>
                <a:gd name="T39" fmla="*/ 734 h 2060"/>
                <a:gd name="T40" fmla="*/ 371 w 3074"/>
                <a:gd name="T41" fmla="*/ 934 h 2060"/>
                <a:gd name="T42" fmla="*/ 386 w 3074"/>
                <a:gd name="T43" fmla="*/ 1233 h 2060"/>
                <a:gd name="T44" fmla="*/ 480 w 3074"/>
                <a:gd name="T45" fmla="*/ 1501 h 2060"/>
                <a:gd name="T46" fmla="*/ 624 w 3074"/>
                <a:gd name="T47" fmla="*/ 1475 h 2060"/>
                <a:gd name="T48" fmla="*/ 886 w 3074"/>
                <a:gd name="T49" fmla="*/ 1760 h 2060"/>
                <a:gd name="T50" fmla="*/ 1004 w 3074"/>
                <a:gd name="T51" fmla="*/ 2012 h 2060"/>
                <a:gd name="T52" fmla="*/ 1271 w 3074"/>
                <a:gd name="T53" fmla="*/ 2009 h 2060"/>
                <a:gd name="T54" fmla="*/ 1332 w 3074"/>
                <a:gd name="T55" fmla="*/ 1782 h 2060"/>
                <a:gd name="T56" fmla="*/ 1463 w 3074"/>
                <a:gd name="T57" fmla="*/ 1549 h 2060"/>
                <a:gd name="T58" fmla="*/ 1655 w 3074"/>
                <a:gd name="T59" fmla="*/ 1397 h 2060"/>
                <a:gd name="T60" fmla="*/ 1694 w 3074"/>
                <a:gd name="T61" fmla="*/ 1549 h 2060"/>
                <a:gd name="T62" fmla="*/ 1904 w 3074"/>
                <a:gd name="T63" fmla="*/ 1545 h 2060"/>
                <a:gd name="T64" fmla="*/ 1948 w 3074"/>
                <a:gd name="T65" fmla="*/ 1618 h 2060"/>
                <a:gd name="T66" fmla="*/ 2083 w 3074"/>
                <a:gd name="T67" fmla="*/ 1608 h 2060"/>
                <a:gd name="T68" fmla="*/ 2155 w 3074"/>
                <a:gd name="T69" fmla="*/ 1536 h 2060"/>
                <a:gd name="T70" fmla="*/ 2011 w 3074"/>
                <a:gd name="T71" fmla="*/ 1410 h 2060"/>
                <a:gd name="T72" fmla="*/ 2168 w 3074"/>
                <a:gd name="T73" fmla="*/ 1406 h 2060"/>
                <a:gd name="T74" fmla="*/ 2391 w 3074"/>
                <a:gd name="T75" fmla="*/ 1308 h 2060"/>
                <a:gd name="T76" fmla="*/ 2476 w 3074"/>
                <a:gd name="T77" fmla="*/ 1225 h 2060"/>
                <a:gd name="T78" fmla="*/ 2634 w 3074"/>
                <a:gd name="T79" fmla="*/ 1251 h 2060"/>
                <a:gd name="T80" fmla="*/ 2682 w 3074"/>
                <a:gd name="T81" fmla="*/ 1347 h 2060"/>
                <a:gd name="T82" fmla="*/ 2863 w 3074"/>
                <a:gd name="T83" fmla="*/ 1441 h 2060"/>
                <a:gd name="T84" fmla="*/ 2891 w 3074"/>
                <a:gd name="T85" fmla="*/ 1230 h 2060"/>
                <a:gd name="T86" fmla="*/ 2785 w 3074"/>
                <a:gd name="T87" fmla="*/ 1126 h 2060"/>
                <a:gd name="T88" fmla="*/ 2697 w 3074"/>
                <a:gd name="T89" fmla="*/ 982 h 2060"/>
                <a:gd name="T90" fmla="*/ 2720 w 3074"/>
                <a:gd name="T91" fmla="*/ 873 h 2060"/>
                <a:gd name="T92" fmla="*/ 2946 w 3074"/>
                <a:gd name="T93" fmla="*/ 821 h 2060"/>
                <a:gd name="T94" fmla="*/ 3057 w 3074"/>
                <a:gd name="T95" fmla="*/ 643 h 2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74" h="2060">
                  <a:moveTo>
                    <a:pt x="3057" y="643"/>
                  </a:moveTo>
                  <a:cubicBezTo>
                    <a:pt x="3041" y="612"/>
                    <a:pt x="3008" y="604"/>
                    <a:pt x="3011" y="584"/>
                  </a:cubicBezTo>
                  <a:cubicBezTo>
                    <a:pt x="3015" y="565"/>
                    <a:pt x="3038" y="532"/>
                    <a:pt x="3008" y="534"/>
                  </a:cubicBezTo>
                  <a:cubicBezTo>
                    <a:pt x="2979" y="537"/>
                    <a:pt x="2936" y="520"/>
                    <a:pt x="2900" y="537"/>
                  </a:cubicBezTo>
                  <a:cubicBezTo>
                    <a:pt x="2864" y="554"/>
                    <a:pt x="2848" y="570"/>
                    <a:pt x="2818" y="543"/>
                  </a:cubicBezTo>
                  <a:cubicBezTo>
                    <a:pt x="2789" y="515"/>
                    <a:pt x="2802" y="504"/>
                    <a:pt x="2766" y="507"/>
                  </a:cubicBezTo>
                  <a:cubicBezTo>
                    <a:pt x="2730" y="509"/>
                    <a:pt x="2717" y="507"/>
                    <a:pt x="2700" y="490"/>
                  </a:cubicBezTo>
                  <a:cubicBezTo>
                    <a:pt x="2684" y="473"/>
                    <a:pt x="2661" y="454"/>
                    <a:pt x="2638" y="454"/>
                  </a:cubicBezTo>
                  <a:cubicBezTo>
                    <a:pt x="2615" y="454"/>
                    <a:pt x="2599" y="434"/>
                    <a:pt x="2572" y="454"/>
                  </a:cubicBezTo>
                  <a:cubicBezTo>
                    <a:pt x="2546" y="473"/>
                    <a:pt x="2523" y="490"/>
                    <a:pt x="2497" y="468"/>
                  </a:cubicBezTo>
                  <a:cubicBezTo>
                    <a:pt x="2471" y="445"/>
                    <a:pt x="2451" y="418"/>
                    <a:pt x="2435" y="423"/>
                  </a:cubicBezTo>
                  <a:cubicBezTo>
                    <a:pt x="2418" y="429"/>
                    <a:pt x="2409" y="429"/>
                    <a:pt x="2399" y="412"/>
                  </a:cubicBezTo>
                  <a:cubicBezTo>
                    <a:pt x="2389" y="395"/>
                    <a:pt x="2382" y="393"/>
                    <a:pt x="2363" y="401"/>
                  </a:cubicBezTo>
                  <a:cubicBezTo>
                    <a:pt x="2343" y="409"/>
                    <a:pt x="2327" y="420"/>
                    <a:pt x="2310" y="401"/>
                  </a:cubicBezTo>
                  <a:cubicBezTo>
                    <a:pt x="2294" y="381"/>
                    <a:pt x="2317" y="351"/>
                    <a:pt x="2274" y="354"/>
                  </a:cubicBezTo>
                  <a:cubicBezTo>
                    <a:pt x="2232" y="356"/>
                    <a:pt x="2210" y="348"/>
                    <a:pt x="2175" y="367"/>
                  </a:cubicBezTo>
                  <a:cubicBezTo>
                    <a:pt x="2140" y="385"/>
                    <a:pt x="2098" y="409"/>
                    <a:pt x="2070" y="378"/>
                  </a:cubicBezTo>
                  <a:cubicBezTo>
                    <a:pt x="2042" y="346"/>
                    <a:pt x="2039" y="313"/>
                    <a:pt x="2007" y="313"/>
                  </a:cubicBezTo>
                  <a:cubicBezTo>
                    <a:pt x="1974" y="313"/>
                    <a:pt x="1917" y="304"/>
                    <a:pt x="1915" y="320"/>
                  </a:cubicBezTo>
                  <a:cubicBezTo>
                    <a:pt x="1913" y="337"/>
                    <a:pt x="1935" y="376"/>
                    <a:pt x="1884" y="393"/>
                  </a:cubicBezTo>
                  <a:cubicBezTo>
                    <a:pt x="1834" y="409"/>
                    <a:pt x="1845" y="420"/>
                    <a:pt x="1797" y="402"/>
                  </a:cubicBezTo>
                  <a:cubicBezTo>
                    <a:pt x="1749" y="383"/>
                    <a:pt x="1747" y="402"/>
                    <a:pt x="1721" y="385"/>
                  </a:cubicBezTo>
                  <a:cubicBezTo>
                    <a:pt x="1694" y="368"/>
                    <a:pt x="1673" y="365"/>
                    <a:pt x="1670" y="344"/>
                  </a:cubicBezTo>
                  <a:cubicBezTo>
                    <a:pt x="1668" y="324"/>
                    <a:pt x="1673" y="296"/>
                    <a:pt x="1646" y="276"/>
                  </a:cubicBezTo>
                  <a:cubicBezTo>
                    <a:pt x="1620" y="255"/>
                    <a:pt x="1653" y="242"/>
                    <a:pt x="1629" y="228"/>
                  </a:cubicBezTo>
                  <a:cubicBezTo>
                    <a:pt x="1605" y="213"/>
                    <a:pt x="1587" y="222"/>
                    <a:pt x="1574" y="239"/>
                  </a:cubicBezTo>
                  <a:cubicBezTo>
                    <a:pt x="1561" y="255"/>
                    <a:pt x="1541" y="261"/>
                    <a:pt x="1524" y="248"/>
                  </a:cubicBezTo>
                  <a:cubicBezTo>
                    <a:pt x="1507" y="235"/>
                    <a:pt x="1496" y="218"/>
                    <a:pt x="1474" y="202"/>
                  </a:cubicBezTo>
                  <a:cubicBezTo>
                    <a:pt x="1452" y="185"/>
                    <a:pt x="1439" y="187"/>
                    <a:pt x="1437" y="172"/>
                  </a:cubicBezTo>
                  <a:cubicBezTo>
                    <a:pt x="1434" y="157"/>
                    <a:pt x="1448" y="133"/>
                    <a:pt x="1413" y="129"/>
                  </a:cubicBezTo>
                  <a:cubicBezTo>
                    <a:pt x="1378" y="126"/>
                    <a:pt x="1367" y="128"/>
                    <a:pt x="1367" y="105"/>
                  </a:cubicBezTo>
                  <a:cubicBezTo>
                    <a:pt x="1367" y="83"/>
                    <a:pt x="1378" y="20"/>
                    <a:pt x="1345" y="14"/>
                  </a:cubicBezTo>
                  <a:cubicBezTo>
                    <a:pt x="1312" y="9"/>
                    <a:pt x="1314" y="0"/>
                    <a:pt x="1264" y="22"/>
                  </a:cubicBezTo>
                  <a:cubicBezTo>
                    <a:pt x="1214" y="44"/>
                    <a:pt x="1214" y="50"/>
                    <a:pt x="1194" y="50"/>
                  </a:cubicBezTo>
                  <a:cubicBezTo>
                    <a:pt x="1175" y="50"/>
                    <a:pt x="1142" y="59"/>
                    <a:pt x="1146" y="79"/>
                  </a:cubicBezTo>
                  <a:cubicBezTo>
                    <a:pt x="1149" y="95"/>
                    <a:pt x="1172" y="115"/>
                    <a:pt x="1179" y="136"/>
                  </a:cubicBezTo>
                  <a:cubicBezTo>
                    <a:pt x="1196" y="137"/>
                    <a:pt x="1207" y="142"/>
                    <a:pt x="1210" y="166"/>
                  </a:cubicBezTo>
                  <a:cubicBezTo>
                    <a:pt x="1214" y="211"/>
                    <a:pt x="1196" y="226"/>
                    <a:pt x="1196" y="255"/>
                  </a:cubicBezTo>
                  <a:cubicBezTo>
                    <a:pt x="1196" y="285"/>
                    <a:pt x="1166" y="318"/>
                    <a:pt x="1148" y="292"/>
                  </a:cubicBezTo>
                  <a:cubicBezTo>
                    <a:pt x="1131" y="267"/>
                    <a:pt x="1113" y="233"/>
                    <a:pt x="1087" y="263"/>
                  </a:cubicBezTo>
                  <a:cubicBezTo>
                    <a:pt x="1061" y="292"/>
                    <a:pt x="1030" y="318"/>
                    <a:pt x="1004" y="285"/>
                  </a:cubicBezTo>
                  <a:cubicBezTo>
                    <a:pt x="978" y="252"/>
                    <a:pt x="965" y="222"/>
                    <a:pt x="934" y="244"/>
                  </a:cubicBezTo>
                  <a:cubicBezTo>
                    <a:pt x="904" y="267"/>
                    <a:pt x="860" y="292"/>
                    <a:pt x="860" y="322"/>
                  </a:cubicBezTo>
                  <a:cubicBezTo>
                    <a:pt x="860" y="352"/>
                    <a:pt x="878" y="404"/>
                    <a:pt x="825" y="404"/>
                  </a:cubicBezTo>
                  <a:cubicBezTo>
                    <a:pt x="773" y="404"/>
                    <a:pt x="729" y="407"/>
                    <a:pt x="698" y="374"/>
                  </a:cubicBezTo>
                  <a:cubicBezTo>
                    <a:pt x="668" y="341"/>
                    <a:pt x="624" y="304"/>
                    <a:pt x="611" y="274"/>
                  </a:cubicBezTo>
                  <a:cubicBezTo>
                    <a:pt x="598" y="244"/>
                    <a:pt x="576" y="215"/>
                    <a:pt x="546" y="233"/>
                  </a:cubicBezTo>
                  <a:cubicBezTo>
                    <a:pt x="515" y="252"/>
                    <a:pt x="493" y="292"/>
                    <a:pt x="463" y="267"/>
                  </a:cubicBezTo>
                  <a:cubicBezTo>
                    <a:pt x="432" y="241"/>
                    <a:pt x="414" y="259"/>
                    <a:pt x="388" y="233"/>
                  </a:cubicBezTo>
                  <a:cubicBezTo>
                    <a:pt x="362" y="207"/>
                    <a:pt x="345" y="189"/>
                    <a:pt x="323" y="207"/>
                  </a:cubicBezTo>
                  <a:cubicBezTo>
                    <a:pt x="301" y="226"/>
                    <a:pt x="257" y="222"/>
                    <a:pt x="235" y="222"/>
                  </a:cubicBezTo>
                  <a:cubicBezTo>
                    <a:pt x="214" y="222"/>
                    <a:pt x="157" y="204"/>
                    <a:pt x="117" y="222"/>
                  </a:cubicBezTo>
                  <a:cubicBezTo>
                    <a:pt x="78" y="241"/>
                    <a:pt x="65" y="252"/>
                    <a:pt x="52" y="267"/>
                  </a:cubicBezTo>
                  <a:cubicBezTo>
                    <a:pt x="39" y="281"/>
                    <a:pt x="74" y="341"/>
                    <a:pt x="48" y="352"/>
                  </a:cubicBezTo>
                  <a:cubicBezTo>
                    <a:pt x="21" y="363"/>
                    <a:pt x="0" y="381"/>
                    <a:pt x="34" y="389"/>
                  </a:cubicBezTo>
                  <a:cubicBezTo>
                    <a:pt x="69" y="396"/>
                    <a:pt x="109" y="426"/>
                    <a:pt x="135" y="430"/>
                  </a:cubicBezTo>
                  <a:cubicBezTo>
                    <a:pt x="161" y="433"/>
                    <a:pt x="192" y="418"/>
                    <a:pt x="200" y="467"/>
                  </a:cubicBezTo>
                  <a:cubicBezTo>
                    <a:pt x="209" y="515"/>
                    <a:pt x="253" y="530"/>
                    <a:pt x="257" y="570"/>
                  </a:cubicBezTo>
                  <a:cubicBezTo>
                    <a:pt x="262" y="611"/>
                    <a:pt x="266" y="626"/>
                    <a:pt x="297" y="652"/>
                  </a:cubicBezTo>
                  <a:cubicBezTo>
                    <a:pt x="327" y="678"/>
                    <a:pt x="393" y="722"/>
                    <a:pt x="345" y="734"/>
                  </a:cubicBezTo>
                  <a:cubicBezTo>
                    <a:pt x="297" y="745"/>
                    <a:pt x="262" y="737"/>
                    <a:pt x="283" y="767"/>
                  </a:cubicBezTo>
                  <a:cubicBezTo>
                    <a:pt x="305" y="797"/>
                    <a:pt x="340" y="804"/>
                    <a:pt x="345" y="834"/>
                  </a:cubicBezTo>
                  <a:cubicBezTo>
                    <a:pt x="349" y="863"/>
                    <a:pt x="366" y="893"/>
                    <a:pt x="371" y="934"/>
                  </a:cubicBezTo>
                  <a:cubicBezTo>
                    <a:pt x="375" y="974"/>
                    <a:pt x="371" y="986"/>
                    <a:pt x="375" y="1023"/>
                  </a:cubicBezTo>
                  <a:cubicBezTo>
                    <a:pt x="380" y="1060"/>
                    <a:pt x="362" y="1138"/>
                    <a:pt x="371" y="1171"/>
                  </a:cubicBezTo>
                  <a:cubicBezTo>
                    <a:pt x="379" y="1201"/>
                    <a:pt x="405" y="1216"/>
                    <a:pt x="386" y="1233"/>
                  </a:cubicBezTo>
                  <a:cubicBezTo>
                    <a:pt x="406" y="1256"/>
                    <a:pt x="406" y="1276"/>
                    <a:pt x="406" y="1301"/>
                  </a:cubicBezTo>
                  <a:cubicBezTo>
                    <a:pt x="406" y="1338"/>
                    <a:pt x="401" y="1382"/>
                    <a:pt x="410" y="1456"/>
                  </a:cubicBezTo>
                  <a:cubicBezTo>
                    <a:pt x="419" y="1530"/>
                    <a:pt x="454" y="1512"/>
                    <a:pt x="480" y="1501"/>
                  </a:cubicBezTo>
                  <a:cubicBezTo>
                    <a:pt x="506" y="1490"/>
                    <a:pt x="537" y="1479"/>
                    <a:pt x="546" y="1456"/>
                  </a:cubicBezTo>
                  <a:cubicBezTo>
                    <a:pt x="554" y="1434"/>
                    <a:pt x="585" y="1412"/>
                    <a:pt x="611" y="1423"/>
                  </a:cubicBezTo>
                  <a:cubicBezTo>
                    <a:pt x="637" y="1434"/>
                    <a:pt x="650" y="1449"/>
                    <a:pt x="624" y="1475"/>
                  </a:cubicBezTo>
                  <a:cubicBezTo>
                    <a:pt x="598" y="1501"/>
                    <a:pt x="615" y="1519"/>
                    <a:pt x="642" y="1564"/>
                  </a:cubicBezTo>
                  <a:cubicBezTo>
                    <a:pt x="668" y="1608"/>
                    <a:pt x="755" y="1601"/>
                    <a:pt x="786" y="1630"/>
                  </a:cubicBezTo>
                  <a:cubicBezTo>
                    <a:pt x="816" y="1660"/>
                    <a:pt x="873" y="1719"/>
                    <a:pt x="886" y="1760"/>
                  </a:cubicBezTo>
                  <a:cubicBezTo>
                    <a:pt x="899" y="1801"/>
                    <a:pt x="891" y="1816"/>
                    <a:pt x="934" y="1845"/>
                  </a:cubicBezTo>
                  <a:cubicBezTo>
                    <a:pt x="978" y="1875"/>
                    <a:pt x="934" y="1920"/>
                    <a:pt x="974" y="1942"/>
                  </a:cubicBezTo>
                  <a:cubicBezTo>
                    <a:pt x="1013" y="1964"/>
                    <a:pt x="1000" y="2001"/>
                    <a:pt x="1004" y="2012"/>
                  </a:cubicBezTo>
                  <a:cubicBezTo>
                    <a:pt x="1009" y="2023"/>
                    <a:pt x="1057" y="2053"/>
                    <a:pt x="1096" y="2057"/>
                  </a:cubicBezTo>
                  <a:cubicBezTo>
                    <a:pt x="1135" y="2060"/>
                    <a:pt x="1183" y="2027"/>
                    <a:pt x="1218" y="1990"/>
                  </a:cubicBezTo>
                  <a:cubicBezTo>
                    <a:pt x="1253" y="1953"/>
                    <a:pt x="1266" y="1997"/>
                    <a:pt x="1271" y="2009"/>
                  </a:cubicBezTo>
                  <a:cubicBezTo>
                    <a:pt x="1275" y="2020"/>
                    <a:pt x="1319" y="2012"/>
                    <a:pt x="1349" y="1986"/>
                  </a:cubicBezTo>
                  <a:cubicBezTo>
                    <a:pt x="1380" y="1960"/>
                    <a:pt x="1375" y="1908"/>
                    <a:pt x="1349" y="1868"/>
                  </a:cubicBezTo>
                  <a:cubicBezTo>
                    <a:pt x="1323" y="1827"/>
                    <a:pt x="1336" y="1816"/>
                    <a:pt x="1332" y="1782"/>
                  </a:cubicBezTo>
                  <a:cubicBezTo>
                    <a:pt x="1327" y="1749"/>
                    <a:pt x="1336" y="1727"/>
                    <a:pt x="1375" y="1723"/>
                  </a:cubicBezTo>
                  <a:cubicBezTo>
                    <a:pt x="1415" y="1719"/>
                    <a:pt x="1428" y="1664"/>
                    <a:pt x="1454" y="1638"/>
                  </a:cubicBezTo>
                  <a:cubicBezTo>
                    <a:pt x="1480" y="1612"/>
                    <a:pt x="1485" y="1575"/>
                    <a:pt x="1463" y="1549"/>
                  </a:cubicBezTo>
                  <a:cubicBezTo>
                    <a:pt x="1441" y="1523"/>
                    <a:pt x="1511" y="1504"/>
                    <a:pt x="1546" y="1497"/>
                  </a:cubicBezTo>
                  <a:cubicBezTo>
                    <a:pt x="1581" y="1490"/>
                    <a:pt x="1594" y="1464"/>
                    <a:pt x="1555" y="1438"/>
                  </a:cubicBezTo>
                  <a:cubicBezTo>
                    <a:pt x="1515" y="1412"/>
                    <a:pt x="1611" y="1401"/>
                    <a:pt x="1655" y="1397"/>
                  </a:cubicBezTo>
                  <a:cubicBezTo>
                    <a:pt x="1699" y="1393"/>
                    <a:pt x="1677" y="1423"/>
                    <a:pt x="1668" y="1434"/>
                  </a:cubicBezTo>
                  <a:cubicBezTo>
                    <a:pt x="1659" y="1445"/>
                    <a:pt x="1659" y="1464"/>
                    <a:pt x="1681" y="1482"/>
                  </a:cubicBezTo>
                  <a:cubicBezTo>
                    <a:pt x="1703" y="1501"/>
                    <a:pt x="1716" y="1530"/>
                    <a:pt x="1694" y="1549"/>
                  </a:cubicBezTo>
                  <a:cubicBezTo>
                    <a:pt x="1673" y="1567"/>
                    <a:pt x="1716" y="1586"/>
                    <a:pt x="1756" y="1593"/>
                  </a:cubicBezTo>
                  <a:cubicBezTo>
                    <a:pt x="1795" y="1601"/>
                    <a:pt x="1834" y="1567"/>
                    <a:pt x="1847" y="1545"/>
                  </a:cubicBezTo>
                  <a:cubicBezTo>
                    <a:pt x="1860" y="1523"/>
                    <a:pt x="1887" y="1538"/>
                    <a:pt x="1904" y="1545"/>
                  </a:cubicBezTo>
                  <a:cubicBezTo>
                    <a:pt x="1922" y="1553"/>
                    <a:pt x="1935" y="1582"/>
                    <a:pt x="1930" y="1612"/>
                  </a:cubicBezTo>
                  <a:cubicBezTo>
                    <a:pt x="1930" y="1614"/>
                    <a:pt x="1930" y="1615"/>
                    <a:pt x="1930" y="1617"/>
                  </a:cubicBezTo>
                  <a:cubicBezTo>
                    <a:pt x="1937" y="1620"/>
                    <a:pt x="1944" y="1621"/>
                    <a:pt x="1948" y="1618"/>
                  </a:cubicBezTo>
                  <a:cubicBezTo>
                    <a:pt x="1961" y="1606"/>
                    <a:pt x="1967" y="1597"/>
                    <a:pt x="1980" y="1612"/>
                  </a:cubicBezTo>
                  <a:cubicBezTo>
                    <a:pt x="1994" y="1627"/>
                    <a:pt x="2007" y="1640"/>
                    <a:pt x="2033" y="1629"/>
                  </a:cubicBezTo>
                  <a:cubicBezTo>
                    <a:pt x="2059" y="1618"/>
                    <a:pt x="2059" y="1608"/>
                    <a:pt x="2083" y="1608"/>
                  </a:cubicBezTo>
                  <a:cubicBezTo>
                    <a:pt x="2107" y="1608"/>
                    <a:pt x="2120" y="1599"/>
                    <a:pt x="2146" y="1601"/>
                  </a:cubicBezTo>
                  <a:cubicBezTo>
                    <a:pt x="2173" y="1603"/>
                    <a:pt x="2201" y="1601"/>
                    <a:pt x="2186" y="1580"/>
                  </a:cubicBezTo>
                  <a:cubicBezTo>
                    <a:pt x="2171" y="1560"/>
                    <a:pt x="2157" y="1553"/>
                    <a:pt x="2155" y="1536"/>
                  </a:cubicBezTo>
                  <a:cubicBezTo>
                    <a:pt x="2153" y="1519"/>
                    <a:pt x="2173" y="1506"/>
                    <a:pt x="2131" y="1506"/>
                  </a:cubicBezTo>
                  <a:cubicBezTo>
                    <a:pt x="2090" y="1506"/>
                    <a:pt x="2068" y="1491"/>
                    <a:pt x="2042" y="1473"/>
                  </a:cubicBezTo>
                  <a:cubicBezTo>
                    <a:pt x="2015" y="1454"/>
                    <a:pt x="1994" y="1425"/>
                    <a:pt x="2011" y="1410"/>
                  </a:cubicBezTo>
                  <a:cubicBezTo>
                    <a:pt x="2029" y="1395"/>
                    <a:pt x="2050" y="1399"/>
                    <a:pt x="2066" y="1382"/>
                  </a:cubicBezTo>
                  <a:cubicBezTo>
                    <a:pt x="2081" y="1365"/>
                    <a:pt x="2074" y="1336"/>
                    <a:pt x="2103" y="1358"/>
                  </a:cubicBezTo>
                  <a:cubicBezTo>
                    <a:pt x="2131" y="1380"/>
                    <a:pt x="2138" y="1403"/>
                    <a:pt x="2168" y="1406"/>
                  </a:cubicBezTo>
                  <a:cubicBezTo>
                    <a:pt x="2199" y="1410"/>
                    <a:pt x="2238" y="1423"/>
                    <a:pt x="2267" y="1399"/>
                  </a:cubicBezTo>
                  <a:cubicBezTo>
                    <a:pt x="2295" y="1375"/>
                    <a:pt x="2256" y="1343"/>
                    <a:pt x="2295" y="1338"/>
                  </a:cubicBezTo>
                  <a:cubicBezTo>
                    <a:pt x="2334" y="1332"/>
                    <a:pt x="2358" y="1282"/>
                    <a:pt x="2391" y="1308"/>
                  </a:cubicBezTo>
                  <a:cubicBezTo>
                    <a:pt x="2424" y="1334"/>
                    <a:pt x="2439" y="1332"/>
                    <a:pt x="2452" y="1314"/>
                  </a:cubicBezTo>
                  <a:cubicBezTo>
                    <a:pt x="2465" y="1295"/>
                    <a:pt x="2474" y="1280"/>
                    <a:pt x="2454" y="1262"/>
                  </a:cubicBezTo>
                  <a:cubicBezTo>
                    <a:pt x="2435" y="1243"/>
                    <a:pt x="2450" y="1219"/>
                    <a:pt x="2476" y="1225"/>
                  </a:cubicBezTo>
                  <a:cubicBezTo>
                    <a:pt x="2502" y="1230"/>
                    <a:pt x="2531" y="1236"/>
                    <a:pt x="2535" y="1254"/>
                  </a:cubicBezTo>
                  <a:cubicBezTo>
                    <a:pt x="2540" y="1273"/>
                    <a:pt x="2559" y="1293"/>
                    <a:pt x="2577" y="1273"/>
                  </a:cubicBezTo>
                  <a:cubicBezTo>
                    <a:pt x="2594" y="1252"/>
                    <a:pt x="2605" y="1249"/>
                    <a:pt x="2634" y="1251"/>
                  </a:cubicBezTo>
                  <a:cubicBezTo>
                    <a:pt x="2662" y="1252"/>
                    <a:pt x="2671" y="1269"/>
                    <a:pt x="2671" y="1284"/>
                  </a:cubicBezTo>
                  <a:cubicBezTo>
                    <a:pt x="2671" y="1299"/>
                    <a:pt x="2695" y="1306"/>
                    <a:pt x="2684" y="1323"/>
                  </a:cubicBezTo>
                  <a:cubicBezTo>
                    <a:pt x="2673" y="1340"/>
                    <a:pt x="2658" y="1343"/>
                    <a:pt x="2682" y="1347"/>
                  </a:cubicBezTo>
                  <a:cubicBezTo>
                    <a:pt x="2706" y="1351"/>
                    <a:pt x="2725" y="1353"/>
                    <a:pt x="2738" y="1377"/>
                  </a:cubicBezTo>
                  <a:cubicBezTo>
                    <a:pt x="2751" y="1401"/>
                    <a:pt x="2745" y="1421"/>
                    <a:pt x="2786" y="1438"/>
                  </a:cubicBezTo>
                  <a:cubicBezTo>
                    <a:pt x="2828" y="1454"/>
                    <a:pt x="2830" y="1451"/>
                    <a:pt x="2863" y="1441"/>
                  </a:cubicBezTo>
                  <a:cubicBezTo>
                    <a:pt x="2884" y="1436"/>
                    <a:pt x="2895" y="1427"/>
                    <a:pt x="2911" y="1417"/>
                  </a:cubicBezTo>
                  <a:cubicBezTo>
                    <a:pt x="2890" y="1389"/>
                    <a:pt x="2934" y="1385"/>
                    <a:pt x="2917" y="1360"/>
                  </a:cubicBezTo>
                  <a:cubicBezTo>
                    <a:pt x="2900" y="1334"/>
                    <a:pt x="2891" y="1282"/>
                    <a:pt x="2891" y="1230"/>
                  </a:cubicBezTo>
                  <a:cubicBezTo>
                    <a:pt x="2891" y="1226"/>
                    <a:pt x="2891" y="1221"/>
                    <a:pt x="2892" y="1217"/>
                  </a:cubicBezTo>
                  <a:cubicBezTo>
                    <a:pt x="2838" y="1185"/>
                    <a:pt x="2838" y="1185"/>
                    <a:pt x="2838" y="1185"/>
                  </a:cubicBezTo>
                  <a:cubicBezTo>
                    <a:pt x="2838" y="1185"/>
                    <a:pt x="2782" y="1157"/>
                    <a:pt x="2785" y="1126"/>
                  </a:cubicBezTo>
                  <a:cubicBezTo>
                    <a:pt x="2789" y="1096"/>
                    <a:pt x="2802" y="1113"/>
                    <a:pt x="2766" y="1093"/>
                  </a:cubicBezTo>
                  <a:cubicBezTo>
                    <a:pt x="2730" y="1074"/>
                    <a:pt x="2730" y="1068"/>
                    <a:pt x="2713" y="1049"/>
                  </a:cubicBezTo>
                  <a:cubicBezTo>
                    <a:pt x="2697" y="1029"/>
                    <a:pt x="2694" y="1004"/>
                    <a:pt x="2697" y="982"/>
                  </a:cubicBezTo>
                  <a:cubicBezTo>
                    <a:pt x="2700" y="960"/>
                    <a:pt x="2723" y="948"/>
                    <a:pt x="2697" y="940"/>
                  </a:cubicBezTo>
                  <a:cubicBezTo>
                    <a:pt x="2671" y="932"/>
                    <a:pt x="2631" y="921"/>
                    <a:pt x="2667" y="898"/>
                  </a:cubicBezTo>
                  <a:cubicBezTo>
                    <a:pt x="2703" y="876"/>
                    <a:pt x="2720" y="873"/>
                    <a:pt x="2720" y="873"/>
                  </a:cubicBezTo>
                  <a:cubicBezTo>
                    <a:pt x="2720" y="873"/>
                    <a:pt x="2736" y="871"/>
                    <a:pt x="2769" y="862"/>
                  </a:cubicBezTo>
                  <a:cubicBezTo>
                    <a:pt x="2802" y="854"/>
                    <a:pt x="2834" y="854"/>
                    <a:pt x="2857" y="854"/>
                  </a:cubicBezTo>
                  <a:cubicBezTo>
                    <a:pt x="2880" y="854"/>
                    <a:pt x="2929" y="840"/>
                    <a:pt x="2946" y="821"/>
                  </a:cubicBezTo>
                  <a:cubicBezTo>
                    <a:pt x="2962" y="801"/>
                    <a:pt x="3005" y="759"/>
                    <a:pt x="3021" y="771"/>
                  </a:cubicBezTo>
                  <a:cubicBezTo>
                    <a:pt x="3038" y="782"/>
                    <a:pt x="3074" y="779"/>
                    <a:pt x="3074" y="743"/>
                  </a:cubicBezTo>
                  <a:cubicBezTo>
                    <a:pt x="3074" y="707"/>
                    <a:pt x="3074" y="673"/>
                    <a:pt x="3057" y="64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99" name="Freeform 20">
              <a:extLst>
                <a:ext uri="{FF2B5EF4-FFF2-40B4-BE49-F238E27FC236}">
                  <a16:creationId xmlns:a16="http://schemas.microsoft.com/office/drawing/2014/main" id="{B08ED6A4-0A02-1C4E-AD14-B10503F3A86B}"/>
                </a:ext>
              </a:extLst>
            </p:cNvPr>
            <p:cNvSpPr>
              <a:spLocks/>
            </p:cNvSpPr>
            <p:nvPr/>
          </p:nvSpPr>
          <p:spPr bwMode="auto">
            <a:xfrm>
              <a:off x="1990" y="1454"/>
              <a:ext cx="1563" cy="1204"/>
            </a:xfrm>
            <a:custGeom>
              <a:avLst/>
              <a:gdLst>
                <a:gd name="T0" fmla="*/ 3326 w 3374"/>
                <a:gd name="T1" fmla="*/ 1582 h 2599"/>
                <a:gd name="T2" fmla="*/ 3022 w 3374"/>
                <a:gd name="T3" fmla="*/ 1461 h 2599"/>
                <a:gd name="T4" fmla="*/ 2905 w 3374"/>
                <a:gd name="T5" fmla="*/ 1423 h 2599"/>
                <a:gd name="T6" fmla="*/ 2850 w 3374"/>
                <a:gd name="T7" fmla="*/ 1556 h 2599"/>
                <a:gd name="T8" fmla="*/ 2957 w 3374"/>
                <a:gd name="T9" fmla="*/ 1714 h 2599"/>
                <a:gd name="T10" fmla="*/ 2863 w 3374"/>
                <a:gd name="T11" fmla="*/ 1817 h 2599"/>
                <a:gd name="T12" fmla="*/ 2804 w 3374"/>
                <a:gd name="T13" fmla="*/ 1882 h 2599"/>
                <a:gd name="T14" fmla="*/ 2651 w 3374"/>
                <a:gd name="T15" fmla="*/ 1793 h 2599"/>
                <a:gd name="T16" fmla="*/ 2573 w 3374"/>
                <a:gd name="T17" fmla="*/ 1593 h 2599"/>
                <a:gd name="T18" fmla="*/ 2448 w 3374"/>
                <a:gd name="T19" fmla="*/ 1424 h 2599"/>
                <a:gd name="T20" fmla="*/ 2411 w 3374"/>
                <a:gd name="T21" fmla="*/ 1352 h 2599"/>
                <a:gd name="T22" fmla="*/ 2179 w 3374"/>
                <a:gd name="T23" fmla="*/ 1252 h 2599"/>
                <a:gd name="T24" fmla="*/ 2267 w 3374"/>
                <a:gd name="T25" fmla="*/ 911 h 2599"/>
                <a:gd name="T26" fmla="*/ 1721 w 3374"/>
                <a:gd name="T27" fmla="*/ 1019 h 2599"/>
                <a:gd name="T28" fmla="*/ 1446 w 3374"/>
                <a:gd name="T29" fmla="*/ 833 h 2599"/>
                <a:gd name="T30" fmla="*/ 1485 w 3374"/>
                <a:gd name="T31" fmla="*/ 615 h 2599"/>
                <a:gd name="T32" fmla="*/ 1148 w 3374"/>
                <a:gd name="T33" fmla="*/ 548 h 2599"/>
                <a:gd name="T34" fmla="*/ 851 w 3374"/>
                <a:gd name="T35" fmla="*/ 363 h 2599"/>
                <a:gd name="T36" fmla="*/ 848 w 3374"/>
                <a:gd name="T37" fmla="*/ 57 h 2599"/>
                <a:gd name="T38" fmla="*/ 661 w 3374"/>
                <a:gd name="T39" fmla="*/ 24 h 2599"/>
                <a:gd name="T40" fmla="*/ 428 w 3374"/>
                <a:gd name="T41" fmla="*/ 233 h 2599"/>
                <a:gd name="T42" fmla="*/ 113 w 3374"/>
                <a:gd name="T43" fmla="*/ 418 h 2599"/>
                <a:gd name="T44" fmla="*/ 26 w 3374"/>
                <a:gd name="T45" fmla="*/ 792 h 2599"/>
                <a:gd name="T46" fmla="*/ 301 w 3374"/>
                <a:gd name="T47" fmla="*/ 907 h 2599"/>
                <a:gd name="T48" fmla="*/ 633 w 3374"/>
                <a:gd name="T49" fmla="*/ 1000 h 2599"/>
                <a:gd name="T50" fmla="*/ 1074 w 3374"/>
                <a:gd name="T51" fmla="*/ 941 h 2599"/>
                <a:gd name="T52" fmla="*/ 1393 w 3374"/>
                <a:gd name="T53" fmla="*/ 1019 h 2599"/>
                <a:gd name="T54" fmla="*/ 1695 w 3374"/>
                <a:gd name="T55" fmla="*/ 1311 h 2599"/>
                <a:gd name="T56" fmla="*/ 1926 w 3374"/>
                <a:gd name="T57" fmla="*/ 1471 h 2599"/>
                <a:gd name="T58" fmla="*/ 2018 w 3374"/>
                <a:gd name="T59" fmla="*/ 1638 h 2599"/>
                <a:gd name="T60" fmla="*/ 1992 w 3374"/>
                <a:gd name="T61" fmla="*/ 1860 h 2599"/>
                <a:gd name="T62" fmla="*/ 1909 w 3374"/>
                <a:gd name="T63" fmla="*/ 1930 h 2599"/>
                <a:gd name="T64" fmla="*/ 1808 w 3374"/>
                <a:gd name="T65" fmla="*/ 2156 h 2599"/>
                <a:gd name="T66" fmla="*/ 1594 w 3374"/>
                <a:gd name="T67" fmla="*/ 2138 h 2599"/>
                <a:gd name="T68" fmla="*/ 1861 w 3374"/>
                <a:gd name="T69" fmla="*/ 2316 h 2599"/>
                <a:gd name="T70" fmla="*/ 1928 w 3374"/>
                <a:gd name="T71" fmla="*/ 2229 h 2599"/>
                <a:gd name="T72" fmla="*/ 2101 w 3374"/>
                <a:gd name="T73" fmla="*/ 2284 h 2599"/>
                <a:gd name="T74" fmla="*/ 2208 w 3374"/>
                <a:gd name="T75" fmla="*/ 2381 h 2599"/>
                <a:gd name="T76" fmla="*/ 2363 w 3374"/>
                <a:gd name="T77" fmla="*/ 2407 h 2599"/>
                <a:gd name="T78" fmla="*/ 2455 w 3374"/>
                <a:gd name="T79" fmla="*/ 2564 h 2599"/>
                <a:gd name="T80" fmla="*/ 2649 w 3374"/>
                <a:gd name="T81" fmla="*/ 2499 h 2599"/>
                <a:gd name="T82" fmla="*/ 2763 w 3374"/>
                <a:gd name="T83" fmla="*/ 2412 h 2599"/>
                <a:gd name="T84" fmla="*/ 2771 w 3374"/>
                <a:gd name="T85" fmla="*/ 2321 h 2599"/>
                <a:gd name="T86" fmla="*/ 2880 w 3374"/>
                <a:gd name="T87" fmla="*/ 2329 h 2599"/>
                <a:gd name="T88" fmla="*/ 2874 w 3374"/>
                <a:gd name="T89" fmla="*/ 2238 h 2599"/>
                <a:gd name="T90" fmla="*/ 2918 w 3374"/>
                <a:gd name="T91" fmla="*/ 2119 h 2599"/>
                <a:gd name="T92" fmla="*/ 2870 w 3374"/>
                <a:gd name="T93" fmla="*/ 2034 h 2599"/>
                <a:gd name="T94" fmla="*/ 2983 w 3374"/>
                <a:gd name="T95" fmla="*/ 1945 h 2599"/>
                <a:gd name="T96" fmla="*/ 3167 w 3374"/>
                <a:gd name="T97" fmla="*/ 1953 h 2599"/>
                <a:gd name="T98" fmla="*/ 3232 w 3374"/>
                <a:gd name="T99" fmla="*/ 1884 h 2599"/>
                <a:gd name="T100" fmla="*/ 3337 w 3374"/>
                <a:gd name="T101" fmla="*/ 1795 h 2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74" h="2599">
                  <a:moveTo>
                    <a:pt x="3319" y="1723"/>
                  </a:moveTo>
                  <a:cubicBezTo>
                    <a:pt x="3341" y="1695"/>
                    <a:pt x="3374" y="1691"/>
                    <a:pt x="3359" y="1658"/>
                  </a:cubicBezTo>
                  <a:cubicBezTo>
                    <a:pt x="3343" y="1625"/>
                    <a:pt x="3365" y="1593"/>
                    <a:pt x="3326" y="1582"/>
                  </a:cubicBezTo>
                  <a:cubicBezTo>
                    <a:pt x="3287" y="1571"/>
                    <a:pt x="3223" y="1565"/>
                    <a:pt x="3195" y="1541"/>
                  </a:cubicBezTo>
                  <a:cubicBezTo>
                    <a:pt x="3167" y="1517"/>
                    <a:pt x="3164" y="1511"/>
                    <a:pt x="3125" y="1504"/>
                  </a:cubicBezTo>
                  <a:cubicBezTo>
                    <a:pt x="3086" y="1497"/>
                    <a:pt x="3031" y="1487"/>
                    <a:pt x="3022" y="1461"/>
                  </a:cubicBezTo>
                  <a:cubicBezTo>
                    <a:pt x="3017" y="1447"/>
                    <a:pt x="3023" y="1437"/>
                    <a:pt x="3024" y="1426"/>
                  </a:cubicBezTo>
                  <a:cubicBezTo>
                    <a:pt x="3009" y="1428"/>
                    <a:pt x="2990" y="1430"/>
                    <a:pt x="2972" y="1430"/>
                  </a:cubicBezTo>
                  <a:cubicBezTo>
                    <a:pt x="2924" y="1430"/>
                    <a:pt x="2918" y="1437"/>
                    <a:pt x="2905" y="1423"/>
                  </a:cubicBezTo>
                  <a:cubicBezTo>
                    <a:pt x="2891" y="1408"/>
                    <a:pt x="2885" y="1417"/>
                    <a:pt x="2874" y="1432"/>
                  </a:cubicBezTo>
                  <a:cubicBezTo>
                    <a:pt x="2863" y="1447"/>
                    <a:pt x="2870" y="1484"/>
                    <a:pt x="2874" y="1513"/>
                  </a:cubicBezTo>
                  <a:cubicBezTo>
                    <a:pt x="2878" y="1543"/>
                    <a:pt x="2867" y="1543"/>
                    <a:pt x="2850" y="1556"/>
                  </a:cubicBezTo>
                  <a:cubicBezTo>
                    <a:pt x="2832" y="1569"/>
                    <a:pt x="2848" y="1582"/>
                    <a:pt x="2846" y="1628"/>
                  </a:cubicBezTo>
                  <a:cubicBezTo>
                    <a:pt x="2843" y="1675"/>
                    <a:pt x="2887" y="1654"/>
                    <a:pt x="2920" y="1665"/>
                  </a:cubicBezTo>
                  <a:cubicBezTo>
                    <a:pt x="2953" y="1676"/>
                    <a:pt x="2963" y="1695"/>
                    <a:pt x="2957" y="1714"/>
                  </a:cubicBezTo>
                  <a:cubicBezTo>
                    <a:pt x="2950" y="1732"/>
                    <a:pt x="2961" y="1749"/>
                    <a:pt x="2948" y="1778"/>
                  </a:cubicBezTo>
                  <a:cubicBezTo>
                    <a:pt x="2935" y="1808"/>
                    <a:pt x="2902" y="1793"/>
                    <a:pt x="2870" y="1780"/>
                  </a:cubicBezTo>
                  <a:cubicBezTo>
                    <a:pt x="2837" y="1767"/>
                    <a:pt x="2865" y="1808"/>
                    <a:pt x="2863" y="1817"/>
                  </a:cubicBezTo>
                  <a:cubicBezTo>
                    <a:pt x="2861" y="1827"/>
                    <a:pt x="2839" y="1836"/>
                    <a:pt x="2861" y="1849"/>
                  </a:cubicBezTo>
                  <a:cubicBezTo>
                    <a:pt x="2883" y="1862"/>
                    <a:pt x="2867" y="1862"/>
                    <a:pt x="2843" y="1877"/>
                  </a:cubicBezTo>
                  <a:cubicBezTo>
                    <a:pt x="2819" y="1891"/>
                    <a:pt x="2811" y="1895"/>
                    <a:pt x="2804" y="1882"/>
                  </a:cubicBezTo>
                  <a:cubicBezTo>
                    <a:pt x="2797" y="1869"/>
                    <a:pt x="2782" y="1862"/>
                    <a:pt x="2763" y="1862"/>
                  </a:cubicBezTo>
                  <a:cubicBezTo>
                    <a:pt x="2712" y="1867"/>
                    <a:pt x="2710" y="1851"/>
                    <a:pt x="2704" y="1819"/>
                  </a:cubicBezTo>
                  <a:cubicBezTo>
                    <a:pt x="2697" y="1788"/>
                    <a:pt x="2675" y="1793"/>
                    <a:pt x="2651" y="1793"/>
                  </a:cubicBezTo>
                  <a:cubicBezTo>
                    <a:pt x="2627" y="1793"/>
                    <a:pt x="2629" y="1784"/>
                    <a:pt x="2597" y="1760"/>
                  </a:cubicBezTo>
                  <a:cubicBezTo>
                    <a:pt x="2564" y="1736"/>
                    <a:pt x="2592" y="1738"/>
                    <a:pt x="2607" y="1691"/>
                  </a:cubicBezTo>
                  <a:cubicBezTo>
                    <a:pt x="2623" y="1645"/>
                    <a:pt x="2594" y="1623"/>
                    <a:pt x="2573" y="1593"/>
                  </a:cubicBezTo>
                  <a:cubicBezTo>
                    <a:pt x="2551" y="1563"/>
                    <a:pt x="2549" y="1532"/>
                    <a:pt x="2542" y="1495"/>
                  </a:cubicBezTo>
                  <a:cubicBezTo>
                    <a:pt x="2535" y="1458"/>
                    <a:pt x="2490" y="1467"/>
                    <a:pt x="2485" y="1454"/>
                  </a:cubicBezTo>
                  <a:cubicBezTo>
                    <a:pt x="2481" y="1441"/>
                    <a:pt x="2479" y="1436"/>
                    <a:pt x="2448" y="1424"/>
                  </a:cubicBezTo>
                  <a:cubicBezTo>
                    <a:pt x="2417" y="1413"/>
                    <a:pt x="2426" y="1411"/>
                    <a:pt x="2424" y="1380"/>
                  </a:cubicBezTo>
                  <a:cubicBezTo>
                    <a:pt x="2423" y="1371"/>
                    <a:pt x="2421" y="1362"/>
                    <a:pt x="2418" y="1354"/>
                  </a:cubicBezTo>
                  <a:cubicBezTo>
                    <a:pt x="2415" y="1353"/>
                    <a:pt x="2413" y="1353"/>
                    <a:pt x="2411" y="1352"/>
                  </a:cubicBezTo>
                  <a:cubicBezTo>
                    <a:pt x="2358" y="1337"/>
                    <a:pt x="2376" y="1374"/>
                    <a:pt x="2332" y="1382"/>
                  </a:cubicBezTo>
                  <a:cubicBezTo>
                    <a:pt x="2289" y="1389"/>
                    <a:pt x="2289" y="1360"/>
                    <a:pt x="2249" y="1330"/>
                  </a:cubicBezTo>
                  <a:cubicBezTo>
                    <a:pt x="2210" y="1300"/>
                    <a:pt x="2166" y="1297"/>
                    <a:pt x="2179" y="1252"/>
                  </a:cubicBezTo>
                  <a:cubicBezTo>
                    <a:pt x="2192" y="1208"/>
                    <a:pt x="2162" y="1156"/>
                    <a:pt x="2210" y="1141"/>
                  </a:cubicBezTo>
                  <a:cubicBezTo>
                    <a:pt x="2258" y="1126"/>
                    <a:pt x="2302" y="1100"/>
                    <a:pt x="2306" y="1041"/>
                  </a:cubicBezTo>
                  <a:cubicBezTo>
                    <a:pt x="2310" y="981"/>
                    <a:pt x="2310" y="941"/>
                    <a:pt x="2267" y="911"/>
                  </a:cubicBezTo>
                  <a:cubicBezTo>
                    <a:pt x="2223" y="881"/>
                    <a:pt x="2140" y="844"/>
                    <a:pt x="2101" y="878"/>
                  </a:cubicBezTo>
                  <a:cubicBezTo>
                    <a:pt x="2061" y="911"/>
                    <a:pt x="1996" y="993"/>
                    <a:pt x="1926" y="1007"/>
                  </a:cubicBezTo>
                  <a:cubicBezTo>
                    <a:pt x="1856" y="1022"/>
                    <a:pt x="1782" y="1048"/>
                    <a:pt x="1721" y="1019"/>
                  </a:cubicBezTo>
                  <a:cubicBezTo>
                    <a:pt x="1660" y="989"/>
                    <a:pt x="1625" y="1007"/>
                    <a:pt x="1594" y="970"/>
                  </a:cubicBezTo>
                  <a:cubicBezTo>
                    <a:pt x="1563" y="933"/>
                    <a:pt x="1598" y="855"/>
                    <a:pt x="1550" y="855"/>
                  </a:cubicBezTo>
                  <a:cubicBezTo>
                    <a:pt x="1502" y="855"/>
                    <a:pt x="1480" y="870"/>
                    <a:pt x="1446" y="833"/>
                  </a:cubicBezTo>
                  <a:cubicBezTo>
                    <a:pt x="1411" y="796"/>
                    <a:pt x="1323" y="785"/>
                    <a:pt x="1328" y="767"/>
                  </a:cubicBezTo>
                  <a:cubicBezTo>
                    <a:pt x="1332" y="748"/>
                    <a:pt x="1367" y="685"/>
                    <a:pt x="1402" y="674"/>
                  </a:cubicBezTo>
                  <a:cubicBezTo>
                    <a:pt x="1437" y="663"/>
                    <a:pt x="1480" y="655"/>
                    <a:pt x="1485" y="615"/>
                  </a:cubicBezTo>
                  <a:cubicBezTo>
                    <a:pt x="1489" y="574"/>
                    <a:pt x="1498" y="537"/>
                    <a:pt x="1437" y="514"/>
                  </a:cubicBezTo>
                  <a:cubicBezTo>
                    <a:pt x="1376" y="492"/>
                    <a:pt x="1231" y="492"/>
                    <a:pt x="1205" y="500"/>
                  </a:cubicBezTo>
                  <a:cubicBezTo>
                    <a:pt x="1179" y="507"/>
                    <a:pt x="1175" y="514"/>
                    <a:pt x="1148" y="548"/>
                  </a:cubicBezTo>
                  <a:cubicBezTo>
                    <a:pt x="1122" y="581"/>
                    <a:pt x="1070" y="629"/>
                    <a:pt x="1017" y="577"/>
                  </a:cubicBezTo>
                  <a:cubicBezTo>
                    <a:pt x="965" y="526"/>
                    <a:pt x="926" y="503"/>
                    <a:pt x="908" y="466"/>
                  </a:cubicBezTo>
                  <a:cubicBezTo>
                    <a:pt x="891" y="429"/>
                    <a:pt x="851" y="396"/>
                    <a:pt x="851" y="363"/>
                  </a:cubicBezTo>
                  <a:cubicBezTo>
                    <a:pt x="851" y="329"/>
                    <a:pt x="830" y="307"/>
                    <a:pt x="856" y="277"/>
                  </a:cubicBezTo>
                  <a:cubicBezTo>
                    <a:pt x="882" y="248"/>
                    <a:pt x="886" y="229"/>
                    <a:pt x="873" y="196"/>
                  </a:cubicBezTo>
                  <a:cubicBezTo>
                    <a:pt x="864" y="171"/>
                    <a:pt x="849" y="107"/>
                    <a:pt x="848" y="57"/>
                  </a:cubicBezTo>
                  <a:cubicBezTo>
                    <a:pt x="836" y="52"/>
                    <a:pt x="821" y="44"/>
                    <a:pt x="800" y="31"/>
                  </a:cubicBezTo>
                  <a:cubicBezTo>
                    <a:pt x="751" y="0"/>
                    <a:pt x="744" y="36"/>
                    <a:pt x="692" y="31"/>
                  </a:cubicBezTo>
                  <a:cubicBezTo>
                    <a:pt x="673" y="29"/>
                    <a:pt x="664" y="27"/>
                    <a:pt x="661" y="24"/>
                  </a:cubicBezTo>
                  <a:cubicBezTo>
                    <a:pt x="648" y="39"/>
                    <a:pt x="634" y="58"/>
                    <a:pt x="629" y="77"/>
                  </a:cubicBezTo>
                  <a:cubicBezTo>
                    <a:pt x="616" y="122"/>
                    <a:pt x="664" y="170"/>
                    <a:pt x="594" y="192"/>
                  </a:cubicBezTo>
                  <a:cubicBezTo>
                    <a:pt x="524" y="214"/>
                    <a:pt x="471" y="203"/>
                    <a:pt x="428" y="233"/>
                  </a:cubicBezTo>
                  <a:cubicBezTo>
                    <a:pt x="384" y="262"/>
                    <a:pt x="336" y="255"/>
                    <a:pt x="305" y="288"/>
                  </a:cubicBezTo>
                  <a:cubicBezTo>
                    <a:pt x="275" y="322"/>
                    <a:pt x="209" y="333"/>
                    <a:pt x="196" y="370"/>
                  </a:cubicBezTo>
                  <a:cubicBezTo>
                    <a:pt x="183" y="407"/>
                    <a:pt x="153" y="414"/>
                    <a:pt x="113" y="418"/>
                  </a:cubicBezTo>
                  <a:cubicBezTo>
                    <a:pt x="74" y="422"/>
                    <a:pt x="0" y="444"/>
                    <a:pt x="0" y="511"/>
                  </a:cubicBezTo>
                  <a:cubicBezTo>
                    <a:pt x="0" y="577"/>
                    <a:pt x="22" y="644"/>
                    <a:pt x="26" y="681"/>
                  </a:cubicBezTo>
                  <a:cubicBezTo>
                    <a:pt x="30" y="718"/>
                    <a:pt x="48" y="763"/>
                    <a:pt x="26" y="792"/>
                  </a:cubicBezTo>
                  <a:cubicBezTo>
                    <a:pt x="8" y="817"/>
                    <a:pt x="34" y="794"/>
                    <a:pt x="63" y="857"/>
                  </a:cubicBezTo>
                  <a:cubicBezTo>
                    <a:pt x="88" y="855"/>
                    <a:pt x="115" y="852"/>
                    <a:pt x="139" y="855"/>
                  </a:cubicBezTo>
                  <a:cubicBezTo>
                    <a:pt x="196" y="863"/>
                    <a:pt x="249" y="904"/>
                    <a:pt x="301" y="907"/>
                  </a:cubicBezTo>
                  <a:cubicBezTo>
                    <a:pt x="353" y="911"/>
                    <a:pt x="380" y="885"/>
                    <a:pt x="415" y="933"/>
                  </a:cubicBezTo>
                  <a:cubicBezTo>
                    <a:pt x="450" y="981"/>
                    <a:pt x="485" y="1015"/>
                    <a:pt x="528" y="1022"/>
                  </a:cubicBezTo>
                  <a:cubicBezTo>
                    <a:pt x="572" y="1030"/>
                    <a:pt x="563" y="1026"/>
                    <a:pt x="633" y="1000"/>
                  </a:cubicBezTo>
                  <a:cubicBezTo>
                    <a:pt x="703" y="974"/>
                    <a:pt x="712" y="937"/>
                    <a:pt x="777" y="948"/>
                  </a:cubicBezTo>
                  <a:cubicBezTo>
                    <a:pt x="843" y="959"/>
                    <a:pt x="930" y="996"/>
                    <a:pt x="956" y="967"/>
                  </a:cubicBezTo>
                  <a:cubicBezTo>
                    <a:pt x="983" y="937"/>
                    <a:pt x="991" y="896"/>
                    <a:pt x="1074" y="941"/>
                  </a:cubicBezTo>
                  <a:cubicBezTo>
                    <a:pt x="1157" y="985"/>
                    <a:pt x="1227" y="985"/>
                    <a:pt x="1231" y="1015"/>
                  </a:cubicBezTo>
                  <a:cubicBezTo>
                    <a:pt x="1236" y="1044"/>
                    <a:pt x="1249" y="1059"/>
                    <a:pt x="1293" y="1041"/>
                  </a:cubicBezTo>
                  <a:cubicBezTo>
                    <a:pt x="1336" y="1022"/>
                    <a:pt x="1389" y="978"/>
                    <a:pt x="1393" y="1019"/>
                  </a:cubicBezTo>
                  <a:cubicBezTo>
                    <a:pt x="1397" y="1059"/>
                    <a:pt x="1384" y="1126"/>
                    <a:pt x="1432" y="1145"/>
                  </a:cubicBezTo>
                  <a:cubicBezTo>
                    <a:pt x="1480" y="1163"/>
                    <a:pt x="1559" y="1182"/>
                    <a:pt x="1585" y="1211"/>
                  </a:cubicBezTo>
                  <a:cubicBezTo>
                    <a:pt x="1612" y="1241"/>
                    <a:pt x="1660" y="1319"/>
                    <a:pt x="1695" y="1311"/>
                  </a:cubicBezTo>
                  <a:cubicBezTo>
                    <a:pt x="1729" y="1304"/>
                    <a:pt x="1782" y="1241"/>
                    <a:pt x="1808" y="1293"/>
                  </a:cubicBezTo>
                  <a:cubicBezTo>
                    <a:pt x="1834" y="1345"/>
                    <a:pt x="1895" y="1360"/>
                    <a:pt x="1904" y="1389"/>
                  </a:cubicBezTo>
                  <a:cubicBezTo>
                    <a:pt x="1913" y="1419"/>
                    <a:pt x="1944" y="1448"/>
                    <a:pt x="1926" y="1471"/>
                  </a:cubicBezTo>
                  <a:cubicBezTo>
                    <a:pt x="1909" y="1493"/>
                    <a:pt x="1895" y="1497"/>
                    <a:pt x="1965" y="1523"/>
                  </a:cubicBezTo>
                  <a:cubicBezTo>
                    <a:pt x="1996" y="1541"/>
                    <a:pt x="1987" y="1567"/>
                    <a:pt x="1987" y="1586"/>
                  </a:cubicBezTo>
                  <a:cubicBezTo>
                    <a:pt x="1987" y="1604"/>
                    <a:pt x="1987" y="1612"/>
                    <a:pt x="2018" y="1638"/>
                  </a:cubicBezTo>
                  <a:cubicBezTo>
                    <a:pt x="2048" y="1663"/>
                    <a:pt x="2075" y="1701"/>
                    <a:pt x="2057" y="1741"/>
                  </a:cubicBezTo>
                  <a:cubicBezTo>
                    <a:pt x="2040" y="1782"/>
                    <a:pt x="2022" y="1797"/>
                    <a:pt x="2022" y="1812"/>
                  </a:cubicBezTo>
                  <a:cubicBezTo>
                    <a:pt x="2022" y="1827"/>
                    <a:pt x="2018" y="1878"/>
                    <a:pt x="1992" y="1860"/>
                  </a:cubicBezTo>
                  <a:cubicBezTo>
                    <a:pt x="1965" y="1841"/>
                    <a:pt x="1974" y="1808"/>
                    <a:pt x="1965" y="1841"/>
                  </a:cubicBezTo>
                  <a:cubicBezTo>
                    <a:pt x="1957" y="1875"/>
                    <a:pt x="1944" y="1886"/>
                    <a:pt x="1926" y="1882"/>
                  </a:cubicBezTo>
                  <a:cubicBezTo>
                    <a:pt x="1909" y="1878"/>
                    <a:pt x="1887" y="1912"/>
                    <a:pt x="1909" y="1930"/>
                  </a:cubicBezTo>
                  <a:cubicBezTo>
                    <a:pt x="1930" y="1949"/>
                    <a:pt x="1917" y="1971"/>
                    <a:pt x="1891" y="1997"/>
                  </a:cubicBezTo>
                  <a:cubicBezTo>
                    <a:pt x="1865" y="2023"/>
                    <a:pt x="1812" y="2001"/>
                    <a:pt x="1817" y="2049"/>
                  </a:cubicBezTo>
                  <a:cubicBezTo>
                    <a:pt x="1821" y="2097"/>
                    <a:pt x="1817" y="2123"/>
                    <a:pt x="1808" y="2156"/>
                  </a:cubicBezTo>
                  <a:cubicBezTo>
                    <a:pt x="1799" y="2190"/>
                    <a:pt x="1791" y="2208"/>
                    <a:pt x="1751" y="2197"/>
                  </a:cubicBezTo>
                  <a:cubicBezTo>
                    <a:pt x="1712" y="2186"/>
                    <a:pt x="1686" y="2201"/>
                    <a:pt x="1655" y="2168"/>
                  </a:cubicBezTo>
                  <a:cubicBezTo>
                    <a:pt x="1625" y="2134"/>
                    <a:pt x="1612" y="2093"/>
                    <a:pt x="1594" y="2138"/>
                  </a:cubicBezTo>
                  <a:cubicBezTo>
                    <a:pt x="1577" y="2182"/>
                    <a:pt x="1572" y="2223"/>
                    <a:pt x="1629" y="2231"/>
                  </a:cubicBezTo>
                  <a:cubicBezTo>
                    <a:pt x="1686" y="2238"/>
                    <a:pt x="1743" y="2223"/>
                    <a:pt x="1764" y="2256"/>
                  </a:cubicBezTo>
                  <a:cubicBezTo>
                    <a:pt x="1786" y="2290"/>
                    <a:pt x="1817" y="2312"/>
                    <a:pt x="1861" y="2316"/>
                  </a:cubicBezTo>
                  <a:cubicBezTo>
                    <a:pt x="1881" y="2317"/>
                    <a:pt x="1899" y="2315"/>
                    <a:pt x="1913" y="2315"/>
                  </a:cubicBezTo>
                  <a:cubicBezTo>
                    <a:pt x="1906" y="2294"/>
                    <a:pt x="1883" y="2274"/>
                    <a:pt x="1880" y="2258"/>
                  </a:cubicBezTo>
                  <a:cubicBezTo>
                    <a:pt x="1876" y="2238"/>
                    <a:pt x="1909" y="2229"/>
                    <a:pt x="1928" y="2229"/>
                  </a:cubicBezTo>
                  <a:cubicBezTo>
                    <a:pt x="1948" y="2229"/>
                    <a:pt x="1948" y="2223"/>
                    <a:pt x="1998" y="2201"/>
                  </a:cubicBezTo>
                  <a:cubicBezTo>
                    <a:pt x="2048" y="2179"/>
                    <a:pt x="2046" y="2188"/>
                    <a:pt x="2079" y="2193"/>
                  </a:cubicBezTo>
                  <a:cubicBezTo>
                    <a:pt x="2112" y="2199"/>
                    <a:pt x="2101" y="2262"/>
                    <a:pt x="2101" y="2284"/>
                  </a:cubicBezTo>
                  <a:cubicBezTo>
                    <a:pt x="2101" y="2307"/>
                    <a:pt x="2112" y="2305"/>
                    <a:pt x="2147" y="2308"/>
                  </a:cubicBezTo>
                  <a:cubicBezTo>
                    <a:pt x="2182" y="2312"/>
                    <a:pt x="2168" y="2336"/>
                    <a:pt x="2171" y="2351"/>
                  </a:cubicBezTo>
                  <a:cubicBezTo>
                    <a:pt x="2173" y="2366"/>
                    <a:pt x="2186" y="2364"/>
                    <a:pt x="2208" y="2381"/>
                  </a:cubicBezTo>
                  <a:cubicBezTo>
                    <a:pt x="2230" y="2397"/>
                    <a:pt x="2241" y="2414"/>
                    <a:pt x="2258" y="2427"/>
                  </a:cubicBezTo>
                  <a:cubicBezTo>
                    <a:pt x="2275" y="2440"/>
                    <a:pt x="2295" y="2434"/>
                    <a:pt x="2308" y="2418"/>
                  </a:cubicBezTo>
                  <a:cubicBezTo>
                    <a:pt x="2321" y="2401"/>
                    <a:pt x="2339" y="2392"/>
                    <a:pt x="2363" y="2407"/>
                  </a:cubicBezTo>
                  <a:cubicBezTo>
                    <a:pt x="2387" y="2421"/>
                    <a:pt x="2354" y="2434"/>
                    <a:pt x="2380" y="2455"/>
                  </a:cubicBezTo>
                  <a:cubicBezTo>
                    <a:pt x="2407" y="2475"/>
                    <a:pt x="2402" y="2503"/>
                    <a:pt x="2404" y="2523"/>
                  </a:cubicBezTo>
                  <a:cubicBezTo>
                    <a:pt x="2407" y="2544"/>
                    <a:pt x="2428" y="2547"/>
                    <a:pt x="2455" y="2564"/>
                  </a:cubicBezTo>
                  <a:cubicBezTo>
                    <a:pt x="2481" y="2581"/>
                    <a:pt x="2483" y="2562"/>
                    <a:pt x="2531" y="2581"/>
                  </a:cubicBezTo>
                  <a:cubicBezTo>
                    <a:pt x="2579" y="2599"/>
                    <a:pt x="2568" y="2588"/>
                    <a:pt x="2618" y="2572"/>
                  </a:cubicBezTo>
                  <a:cubicBezTo>
                    <a:pt x="2669" y="2555"/>
                    <a:pt x="2647" y="2516"/>
                    <a:pt x="2649" y="2499"/>
                  </a:cubicBezTo>
                  <a:cubicBezTo>
                    <a:pt x="2651" y="2486"/>
                    <a:pt x="2687" y="2489"/>
                    <a:pt x="2719" y="2491"/>
                  </a:cubicBezTo>
                  <a:cubicBezTo>
                    <a:pt x="2729" y="2478"/>
                    <a:pt x="2744" y="2462"/>
                    <a:pt x="2756" y="2455"/>
                  </a:cubicBezTo>
                  <a:cubicBezTo>
                    <a:pt x="2778" y="2442"/>
                    <a:pt x="2747" y="2429"/>
                    <a:pt x="2763" y="2412"/>
                  </a:cubicBezTo>
                  <a:cubicBezTo>
                    <a:pt x="2778" y="2395"/>
                    <a:pt x="2780" y="2388"/>
                    <a:pt x="2756" y="2381"/>
                  </a:cubicBezTo>
                  <a:cubicBezTo>
                    <a:pt x="2732" y="2373"/>
                    <a:pt x="2695" y="2362"/>
                    <a:pt x="2719" y="2349"/>
                  </a:cubicBezTo>
                  <a:cubicBezTo>
                    <a:pt x="2743" y="2336"/>
                    <a:pt x="2756" y="2318"/>
                    <a:pt x="2771" y="2321"/>
                  </a:cubicBezTo>
                  <a:cubicBezTo>
                    <a:pt x="2787" y="2325"/>
                    <a:pt x="2815" y="2338"/>
                    <a:pt x="2819" y="2325"/>
                  </a:cubicBezTo>
                  <a:cubicBezTo>
                    <a:pt x="2824" y="2312"/>
                    <a:pt x="2830" y="2297"/>
                    <a:pt x="2843" y="2308"/>
                  </a:cubicBezTo>
                  <a:cubicBezTo>
                    <a:pt x="2856" y="2319"/>
                    <a:pt x="2852" y="2331"/>
                    <a:pt x="2880" y="2329"/>
                  </a:cubicBezTo>
                  <a:cubicBezTo>
                    <a:pt x="2909" y="2327"/>
                    <a:pt x="2915" y="2312"/>
                    <a:pt x="2896" y="2297"/>
                  </a:cubicBezTo>
                  <a:cubicBezTo>
                    <a:pt x="2876" y="2282"/>
                    <a:pt x="2859" y="2288"/>
                    <a:pt x="2876" y="2271"/>
                  </a:cubicBezTo>
                  <a:cubicBezTo>
                    <a:pt x="2894" y="2255"/>
                    <a:pt x="2885" y="2245"/>
                    <a:pt x="2874" y="2238"/>
                  </a:cubicBezTo>
                  <a:cubicBezTo>
                    <a:pt x="2863" y="2231"/>
                    <a:pt x="2872" y="2229"/>
                    <a:pt x="2883" y="2212"/>
                  </a:cubicBezTo>
                  <a:cubicBezTo>
                    <a:pt x="2894" y="2195"/>
                    <a:pt x="2909" y="2195"/>
                    <a:pt x="2907" y="2173"/>
                  </a:cubicBezTo>
                  <a:cubicBezTo>
                    <a:pt x="2905" y="2151"/>
                    <a:pt x="2933" y="2134"/>
                    <a:pt x="2918" y="2119"/>
                  </a:cubicBezTo>
                  <a:cubicBezTo>
                    <a:pt x="2902" y="2105"/>
                    <a:pt x="2894" y="2084"/>
                    <a:pt x="2874" y="2088"/>
                  </a:cubicBezTo>
                  <a:cubicBezTo>
                    <a:pt x="2854" y="2092"/>
                    <a:pt x="2835" y="2092"/>
                    <a:pt x="2837" y="2077"/>
                  </a:cubicBezTo>
                  <a:cubicBezTo>
                    <a:pt x="2839" y="2062"/>
                    <a:pt x="2852" y="2042"/>
                    <a:pt x="2870" y="2034"/>
                  </a:cubicBezTo>
                  <a:cubicBezTo>
                    <a:pt x="2887" y="2027"/>
                    <a:pt x="2889" y="2012"/>
                    <a:pt x="2878" y="1995"/>
                  </a:cubicBezTo>
                  <a:cubicBezTo>
                    <a:pt x="2867" y="1979"/>
                    <a:pt x="2856" y="1943"/>
                    <a:pt x="2900" y="1940"/>
                  </a:cubicBezTo>
                  <a:cubicBezTo>
                    <a:pt x="2944" y="1936"/>
                    <a:pt x="2974" y="1927"/>
                    <a:pt x="2983" y="1945"/>
                  </a:cubicBezTo>
                  <a:cubicBezTo>
                    <a:pt x="2992" y="1964"/>
                    <a:pt x="3018" y="1986"/>
                    <a:pt x="3051" y="1982"/>
                  </a:cubicBezTo>
                  <a:cubicBezTo>
                    <a:pt x="3084" y="1979"/>
                    <a:pt x="3088" y="1966"/>
                    <a:pt x="3114" y="1966"/>
                  </a:cubicBezTo>
                  <a:cubicBezTo>
                    <a:pt x="3140" y="1966"/>
                    <a:pt x="3167" y="1986"/>
                    <a:pt x="3167" y="1953"/>
                  </a:cubicBezTo>
                  <a:cubicBezTo>
                    <a:pt x="3167" y="1919"/>
                    <a:pt x="3127" y="1901"/>
                    <a:pt x="3156" y="1893"/>
                  </a:cubicBezTo>
                  <a:cubicBezTo>
                    <a:pt x="3184" y="1886"/>
                    <a:pt x="3186" y="1873"/>
                    <a:pt x="3204" y="1884"/>
                  </a:cubicBezTo>
                  <a:cubicBezTo>
                    <a:pt x="3221" y="1895"/>
                    <a:pt x="3226" y="1897"/>
                    <a:pt x="3232" y="1884"/>
                  </a:cubicBezTo>
                  <a:cubicBezTo>
                    <a:pt x="3239" y="1871"/>
                    <a:pt x="3232" y="1873"/>
                    <a:pt x="3258" y="1877"/>
                  </a:cubicBezTo>
                  <a:cubicBezTo>
                    <a:pt x="3285" y="1880"/>
                    <a:pt x="3350" y="1878"/>
                    <a:pt x="3357" y="1852"/>
                  </a:cubicBezTo>
                  <a:cubicBezTo>
                    <a:pt x="3363" y="1827"/>
                    <a:pt x="3357" y="1817"/>
                    <a:pt x="3337" y="1795"/>
                  </a:cubicBezTo>
                  <a:cubicBezTo>
                    <a:pt x="3317" y="1773"/>
                    <a:pt x="3298" y="1751"/>
                    <a:pt x="3319" y="172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0" name="Freeform 21">
              <a:extLst>
                <a:ext uri="{FF2B5EF4-FFF2-40B4-BE49-F238E27FC236}">
                  <a16:creationId xmlns:a16="http://schemas.microsoft.com/office/drawing/2014/main" id="{823D0FD5-E8D6-5F40-A89F-0902AE392889}"/>
                </a:ext>
              </a:extLst>
            </p:cNvPr>
            <p:cNvSpPr>
              <a:spLocks/>
            </p:cNvSpPr>
            <p:nvPr/>
          </p:nvSpPr>
          <p:spPr bwMode="auto">
            <a:xfrm>
              <a:off x="3110" y="1852"/>
              <a:ext cx="303" cy="480"/>
            </a:xfrm>
            <a:custGeom>
              <a:avLst/>
              <a:gdLst>
                <a:gd name="T0" fmla="*/ 31 w 655"/>
                <a:gd name="T1" fmla="*/ 565 h 1036"/>
                <a:gd name="T2" fmla="*/ 68 w 655"/>
                <a:gd name="T3" fmla="*/ 595 h 1036"/>
                <a:gd name="T4" fmla="*/ 125 w 655"/>
                <a:gd name="T5" fmla="*/ 636 h 1036"/>
                <a:gd name="T6" fmla="*/ 156 w 655"/>
                <a:gd name="T7" fmla="*/ 734 h 1036"/>
                <a:gd name="T8" fmla="*/ 190 w 655"/>
                <a:gd name="T9" fmla="*/ 832 h 1036"/>
                <a:gd name="T10" fmla="*/ 180 w 655"/>
                <a:gd name="T11" fmla="*/ 901 h 1036"/>
                <a:gd name="T12" fmla="*/ 234 w 655"/>
                <a:gd name="T13" fmla="*/ 934 h 1036"/>
                <a:gd name="T14" fmla="*/ 287 w 655"/>
                <a:gd name="T15" fmla="*/ 960 h 1036"/>
                <a:gd name="T16" fmla="*/ 346 w 655"/>
                <a:gd name="T17" fmla="*/ 1003 h 1036"/>
                <a:gd name="T18" fmla="*/ 387 w 655"/>
                <a:gd name="T19" fmla="*/ 1023 h 1036"/>
                <a:gd name="T20" fmla="*/ 426 w 655"/>
                <a:gd name="T21" fmla="*/ 1018 h 1036"/>
                <a:gd name="T22" fmla="*/ 444 w 655"/>
                <a:gd name="T23" fmla="*/ 990 h 1036"/>
                <a:gd name="T24" fmla="*/ 446 w 655"/>
                <a:gd name="T25" fmla="*/ 958 h 1036"/>
                <a:gd name="T26" fmla="*/ 453 w 655"/>
                <a:gd name="T27" fmla="*/ 921 h 1036"/>
                <a:gd name="T28" fmla="*/ 531 w 655"/>
                <a:gd name="T29" fmla="*/ 919 h 1036"/>
                <a:gd name="T30" fmla="*/ 540 w 655"/>
                <a:gd name="T31" fmla="*/ 855 h 1036"/>
                <a:gd name="T32" fmla="*/ 503 w 655"/>
                <a:gd name="T33" fmla="*/ 806 h 1036"/>
                <a:gd name="T34" fmla="*/ 429 w 655"/>
                <a:gd name="T35" fmla="*/ 769 h 1036"/>
                <a:gd name="T36" fmla="*/ 433 w 655"/>
                <a:gd name="T37" fmla="*/ 697 h 1036"/>
                <a:gd name="T38" fmla="*/ 457 w 655"/>
                <a:gd name="T39" fmla="*/ 654 h 1036"/>
                <a:gd name="T40" fmla="*/ 457 w 655"/>
                <a:gd name="T41" fmla="*/ 573 h 1036"/>
                <a:gd name="T42" fmla="*/ 488 w 655"/>
                <a:gd name="T43" fmla="*/ 564 h 1036"/>
                <a:gd name="T44" fmla="*/ 555 w 655"/>
                <a:gd name="T45" fmla="*/ 571 h 1036"/>
                <a:gd name="T46" fmla="*/ 607 w 655"/>
                <a:gd name="T47" fmla="*/ 567 h 1036"/>
                <a:gd name="T48" fmla="*/ 601 w 655"/>
                <a:gd name="T49" fmla="*/ 543 h 1036"/>
                <a:gd name="T50" fmla="*/ 592 w 655"/>
                <a:gd name="T51" fmla="*/ 493 h 1036"/>
                <a:gd name="T52" fmla="*/ 612 w 655"/>
                <a:gd name="T53" fmla="*/ 443 h 1036"/>
                <a:gd name="T54" fmla="*/ 655 w 655"/>
                <a:gd name="T55" fmla="*/ 399 h 1036"/>
                <a:gd name="T56" fmla="*/ 579 w 655"/>
                <a:gd name="T57" fmla="*/ 330 h 1036"/>
                <a:gd name="T58" fmla="*/ 453 w 655"/>
                <a:gd name="T59" fmla="*/ 308 h 1036"/>
                <a:gd name="T60" fmla="*/ 435 w 655"/>
                <a:gd name="T61" fmla="*/ 197 h 1036"/>
                <a:gd name="T62" fmla="*/ 501 w 655"/>
                <a:gd name="T63" fmla="*/ 126 h 1036"/>
                <a:gd name="T64" fmla="*/ 474 w 655"/>
                <a:gd name="T65" fmla="*/ 52 h 1036"/>
                <a:gd name="T66" fmla="*/ 413 w 655"/>
                <a:gd name="T67" fmla="*/ 19 h 1036"/>
                <a:gd name="T68" fmla="*/ 326 w 655"/>
                <a:gd name="T69" fmla="*/ 71 h 1036"/>
                <a:gd name="T70" fmla="*/ 269 w 655"/>
                <a:gd name="T71" fmla="*/ 152 h 1036"/>
                <a:gd name="T72" fmla="*/ 269 w 655"/>
                <a:gd name="T73" fmla="*/ 260 h 1036"/>
                <a:gd name="T74" fmla="*/ 243 w 655"/>
                <a:gd name="T75" fmla="*/ 345 h 1036"/>
                <a:gd name="T76" fmla="*/ 230 w 655"/>
                <a:gd name="T77" fmla="*/ 426 h 1036"/>
                <a:gd name="T78" fmla="*/ 121 w 655"/>
                <a:gd name="T79" fmla="*/ 430 h 1036"/>
                <a:gd name="T80" fmla="*/ 1 w 655"/>
                <a:gd name="T81" fmla="*/ 495 h 1036"/>
                <a:gd name="T82" fmla="*/ 7 w 655"/>
                <a:gd name="T83" fmla="*/ 521 h 1036"/>
                <a:gd name="T84" fmla="*/ 31 w 655"/>
                <a:gd name="T85" fmla="*/ 56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5" h="1036">
                  <a:moveTo>
                    <a:pt x="31" y="565"/>
                  </a:moveTo>
                  <a:cubicBezTo>
                    <a:pt x="62" y="577"/>
                    <a:pt x="64" y="582"/>
                    <a:pt x="68" y="595"/>
                  </a:cubicBezTo>
                  <a:cubicBezTo>
                    <a:pt x="73" y="608"/>
                    <a:pt x="118" y="599"/>
                    <a:pt x="125" y="636"/>
                  </a:cubicBezTo>
                  <a:cubicBezTo>
                    <a:pt x="132" y="673"/>
                    <a:pt x="134" y="704"/>
                    <a:pt x="156" y="734"/>
                  </a:cubicBezTo>
                  <a:cubicBezTo>
                    <a:pt x="177" y="764"/>
                    <a:pt x="206" y="786"/>
                    <a:pt x="190" y="832"/>
                  </a:cubicBezTo>
                  <a:cubicBezTo>
                    <a:pt x="175" y="879"/>
                    <a:pt x="147" y="877"/>
                    <a:pt x="180" y="901"/>
                  </a:cubicBezTo>
                  <a:cubicBezTo>
                    <a:pt x="212" y="925"/>
                    <a:pt x="210" y="934"/>
                    <a:pt x="234" y="934"/>
                  </a:cubicBezTo>
                  <a:cubicBezTo>
                    <a:pt x="258" y="934"/>
                    <a:pt x="280" y="929"/>
                    <a:pt x="287" y="960"/>
                  </a:cubicBezTo>
                  <a:cubicBezTo>
                    <a:pt x="293" y="992"/>
                    <a:pt x="295" y="1008"/>
                    <a:pt x="346" y="1003"/>
                  </a:cubicBezTo>
                  <a:cubicBezTo>
                    <a:pt x="365" y="1003"/>
                    <a:pt x="380" y="1010"/>
                    <a:pt x="387" y="1023"/>
                  </a:cubicBezTo>
                  <a:cubicBezTo>
                    <a:pt x="394" y="1036"/>
                    <a:pt x="402" y="1032"/>
                    <a:pt x="426" y="1018"/>
                  </a:cubicBezTo>
                  <a:cubicBezTo>
                    <a:pt x="450" y="1003"/>
                    <a:pt x="466" y="1003"/>
                    <a:pt x="444" y="990"/>
                  </a:cubicBezTo>
                  <a:cubicBezTo>
                    <a:pt x="422" y="977"/>
                    <a:pt x="444" y="968"/>
                    <a:pt x="446" y="958"/>
                  </a:cubicBezTo>
                  <a:cubicBezTo>
                    <a:pt x="448" y="949"/>
                    <a:pt x="420" y="908"/>
                    <a:pt x="453" y="921"/>
                  </a:cubicBezTo>
                  <a:cubicBezTo>
                    <a:pt x="485" y="934"/>
                    <a:pt x="518" y="949"/>
                    <a:pt x="531" y="919"/>
                  </a:cubicBezTo>
                  <a:cubicBezTo>
                    <a:pt x="544" y="890"/>
                    <a:pt x="533" y="873"/>
                    <a:pt x="540" y="855"/>
                  </a:cubicBezTo>
                  <a:cubicBezTo>
                    <a:pt x="546" y="836"/>
                    <a:pt x="536" y="817"/>
                    <a:pt x="503" y="806"/>
                  </a:cubicBezTo>
                  <a:cubicBezTo>
                    <a:pt x="470" y="795"/>
                    <a:pt x="426" y="816"/>
                    <a:pt x="429" y="769"/>
                  </a:cubicBezTo>
                  <a:cubicBezTo>
                    <a:pt x="431" y="723"/>
                    <a:pt x="415" y="710"/>
                    <a:pt x="433" y="697"/>
                  </a:cubicBezTo>
                  <a:cubicBezTo>
                    <a:pt x="450" y="684"/>
                    <a:pt x="461" y="684"/>
                    <a:pt x="457" y="654"/>
                  </a:cubicBezTo>
                  <a:cubicBezTo>
                    <a:pt x="453" y="625"/>
                    <a:pt x="446" y="588"/>
                    <a:pt x="457" y="573"/>
                  </a:cubicBezTo>
                  <a:cubicBezTo>
                    <a:pt x="468" y="558"/>
                    <a:pt x="474" y="549"/>
                    <a:pt x="488" y="564"/>
                  </a:cubicBezTo>
                  <a:cubicBezTo>
                    <a:pt x="501" y="578"/>
                    <a:pt x="507" y="571"/>
                    <a:pt x="555" y="571"/>
                  </a:cubicBezTo>
                  <a:cubicBezTo>
                    <a:pt x="573" y="571"/>
                    <a:pt x="592" y="569"/>
                    <a:pt x="607" y="567"/>
                  </a:cubicBezTo>
                  <a:cubicBezTo>
                    <a:pt x="609" y="560"/>
                    <a:pt x="608" y="553"/>
                    <a:pt x="601" y="543"/>
                  </a:cubicBezTo>
                  <a:cubicBezTo>
                    <a:pt x="584" y="521"/>
                    <a:pt x="584" y="515"/>
                    <a:pt x="592" y="493"/>
                  </a:cubicBezTo>
                  <a:cubicBezTo>
                    <a:pt x="601" y="471"/>
                    <a:pt x="588" y="460"/>
                    <a:pt x="612" y="443"/>
                  </a:cubicBezTo>
                  <a:cubicBezTo>
                    <a:pt x="630" y="430"/>
                    <a:pt x="642" y="417"/>
                    <a:pt x="655" y="399"/>
                  </a:cubicBezTo>
                  <a:cubicBezTo>
                    <a:pt x="639" y="390"/>
                    <a:pt x="645" y="350"/>
                    <a:pt x="579" y="330"/>
                  </a:cubicBezTo>
                  <a:cubicBezTo>
                    <a:pt x="505" y="308"/>
                    <a:pt x="492" y="334"/>
                    <a:pt x="453" y="308"/>
                  </a:cubicBezTo>
                  <a:cubicBezTo>
                    <a:pt x="413" y="282"/>
                    <a:pt x="409" y="223"/>
                    <a:pt x="435" y="197"/>
                  </a:cubicBezTo>
                  <a:cubicBezTo>
                    <a:pt x="461" y="171"/>
                    <a:pt x="488" y="156"/>
                    <a:pt x="501" y="126"/>
                  </a:cubicBezTo>
                  <a:cubicBezTo>
                    <a:pt x="514" y="97"/>
                    <a:pt x="492" y="67"/>
                    <a:pt x="474" y="52"/>
                  </a:cubicBezTo>
                  <a:cubicBezTo>
                    <a:pt x="457" y="37"/>
                    <a:pt x="439" y="0"/>
                    <a:pt x="413" y="19"/>
                  </a:cubicBezTo>
                  <a:cubicBezTo>
                    <a:pt x="387" y="37"/>
                    <a:pt x="352" y="34"/>
                    <a:pt x="326" y="71"/>
                  </a:cubicBezTo>
                  <a:cubicBezTo>
                    <a:pt x="300" y="108"/>
                    <a:pt x="265" y="119"/>
                    <a:pt x="269" y="152"/>
                  </a:cubicBezTo>
                  <a:cubicBezTo>
                    <a:pt x="273" y="185"/>
                    <a:pt x="295" y="234"/>
                    <a:pt x="269" y="260"/>
                  </a:cubicBezTo>
                  <a:cubicBezTo>
                    <a:pt x="243" y="286"/>
                    <a:pt x="221" y="334"/>
                    <a:pt x="243" y="345"/>
                  </a:cubicBezTo>
                  <a:cubicBezTo>
                    <a:pt x="265" y="356"/>
                    <a:pt x="282" y="423"/>
                    <a:pt x="230" y="426"/>
                  </a:cubicBezTo>
                  <a:cubicBezTo>
                    <a:pt x="177" y="430"/>
                    <a:pt x="138" y="397"/>
                    <a:pt x="121" y="430"/>
                  </a:cubicBezTo>
                  <a:cubicBezTo>
                    <a:pt x="104" y="462"/>
                    <a:pt x="51" y="504"/>
                    <a:pt x="1" y="495"/>
                  </a:cubicBezTo>
                  <a:cubicBezTo>
                    <a:pt x="4" y="503"/>
                    <a:pt x="6" y="512"/>
                    <a:pt x="7" y="521"/>
                  </a:cubicBezTo>
                  <a:cubicBezTo>
                    <a:pt x="9" y="552"/>
                    <a:pt x="0" y="554"/>
                    <a:pt x="31" y="565"/>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1" name="Freeform 22">
              <a:extLst>
                <a:ext uri="{FF2B5EF4-FFF2-40B4-BE49-F238E27FC236}">
                  <a16:creationId xmlns:a16="http://schemas.microsoft.com/office/drawing/2014/main" id="{2B3A47DD-1633-8F46-9FE5-6375F5C27636}"/>
                </a:ext>
              </a:extLst>
            </p:cNvPr>
            <p:cNvSpPr>
              <a:spLocks/>
            </p:cNvSpPr>
            <p:nvPr/>
          </p:nvSpPr>
          <p:spPr bwMode="auto">
            <a:xfrm>
              <a:off x="4177" y="2831"/>
              <a:ext cx="568" cy="690"/>
            </a:xfrm>
            <a:custGeom>
              <a:avLst/>
              <a:gdLst>
                <a:gd name="T0" fmla="*/ 1135 w 1227"/>
                <a:gd name="T1" fmla="*/ 248 h 1490"/>
                <a:gd name="T2" fmla="*/ 1085 w 1227"/>
                <a:gd name="T3" fmla="*/ 118 h 1490"/>
                <a:gd name="T4" fmla="*/ 919 w 1227"/>
                <a:gd name="T5" fmla="*/ 94 h 1490"/>
                <a:gd name="T6" fmla="*/ 784 w 1227"/>
                <a:gd name="T7" fmla="*/ 102 h 1490"/>
                <a:gd name="T8" fmla="*/ 723 w 1227"/>
                <a:gd name="T9" fmla="*/ 89 h 1490"/>
                <a:gd name="T10" fmla="*/ 696 w 1227"/>
                <a:gd name="T11" fmla="*/ 17 h 1490"/>
                <a:gd name="T12" fmla="*/ 578 w 1227"/>
                <a:gd name="T13" fmla="*/ 92 h 1490"/>
                <a:gd name="T14" fmla="*/ 504 w 1227"/>
                <a:gd name="T15" fmla="*/ 120 h 1490"/>
                <a:gd name="T16" fmla="*/ 408 w 1227"/>
                <a:gd name="T17" fmla="*/ 126 h 1490"/>
                <a:gd name="T18" fmla="*/ 319 w 1227"/>
                <a:gd name="T19" fmla="*/ 181 h 1490"/>
                <a:gd name="T20" fmla="*/ 161 w 1227"/>
                <a:gd name="T21" fmla="*/ 257 h 1490"/>
                <a:gd name="T22" fmla="*/ 87 w 1227"/>
                <a:gd name="T23" fmla="*/ 307 h 1490"/>
                <a:gd name="T24" fmla="*/ 83 w 1227"/>
                <a:gd name="T25" fmla="*/ 363 h 1490"/>
                <a:gd name="T26" fmla="*/ 144 w 1227"/>
                <a:gd name="T27" fmla="*/ 537 h 1490"/>
                <a:gd name="T28" fmla="*/ 48 w 1227"/>
                <a:gd name="T29" fmla="*/ 771 h 1490"/>
                <a:gd name="T30" fmla="*/ 109 w 1227"/>
                <a:gd name="T31" fmla="*/ 912 h 1490"/>
                <a:gd name="T32" fmla="*/ 218 w 1227"/>
                <a:gd name="T33" fmla="*/ 1041 h 1490"/>
                <a:gd name="T34" fmla="*/ 170 w 1227"/>
                <a:gd name="T35" fmla="*/ 1186 h 1490"/>
                <a:gd name="T36" fmla="*/ 305 w 1227"/>
                <a:gd name="T37" fmla="*/ 1267 h 1490"/>
                <a:gd name="T38" fmla="*/ 388 w 1227"/>
                <a:gd name="T39" fmla="*/ 1304 h 1490"/>
                <a:gd name="T40" fmla="*/ 305 w 1227"/>
                <a:gd name="T41" fmla="*/ 1460 h 1490"/>
                <a:gd name="T42" fmla="*/ 563 w 1227"/>
                <a:gd name="T43" fmla="*/ 1379 h 1490"/>
                <a:gd name="T44" fmla="*/ 685 w 1227"/>
                <a:gd name="T45" fmla="*/ 1327 h 1490"/>
                <a:gd name="T46" fmla="*/ 681 w 1227"/>
                <a:gd name="T47" fmla="*/ 1269 h 1490"/>
                <a:gd name="T48" fmla="*/ 716 w 1227"/>
                <a:gd name="T49" fmla="*/ 1130 h 1490"/>
                <a:gd name="T50" fmla="*/ 779 w 1227"/>
                <a:gd name="T51" fmla="*/ 1045 h 1490"/>
                <a:gd name="T52" fmla="*/ 782 w 1227"/>
                <a:gd name="T53" fmla="*/ 951 h 1490"/>
                <a:gd name="T54" fmla="*/ 793 w 1227"/>
                <a:gd name="T55" fmla="*/ 795 h 1490"/>
                <a:gd name="T56" fmla="*/ 910 w 1227"/>
                <a:gd name="T57" fmla="*/ 635 h 1490"/>
                <a:gd name="T58" fmla="*/ 978 w 1227"/>
                <a:gd name="T59" fmla="*/ 528 h 1490"/>
                <a:gd name="T60" fmla="*/ 1072 w 1227"/>
                <a:gd name="T61" fmla="*/ 504 h 1490"/>
                <a:gd name="T62" fmla="*/ 1177 w 1227"/>
                <a:gd name="T63" fmla="*/ 448 h 1490"/>
                <a:gd name="T64" fmla="*/ 1201 w 1227"/>
                <a:gd name="T65" fmla="*/ 346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27" h="1490">
                  <a:moveTo>
                    <a:pt x="1201" y="346"/>
                  </a:moveTo>
                  <a:cubicBezTo>
                    <a:pt x="1175" y="313"/>
                    <a:pt x="1183" y="270"/>
                    <a:pt x="1135" y="248"/>
                  </a:cubicBezTo>
                  <a:cubicBezTo>
                    <a:pt x="1087" y="226"/>
                    <a:pt x="1044" y="217"/>
                    <a:pt x="1050" y="193"/>
                  </a:cubicBezTo>
                  <a:cubicBezTo>
                    <a:pt x="1057" y="168"/>
                    <a:pt x="1116" y="135"/>
                    <a:pt x="1085" y="118"/>
                  </a:cubicBezTo>
                  <a:cubicBezTo>
                    <a:pt x="1055" y="102"/>
                    <a:pt x="1059" y="85"/>
                    <a:pt x="1028" y="92"/>
                  </a:cubicBezTo>
                  <a:cubicBezTo>
                    <a:pt x="998" y="100"/>
                    <a:pt x="950" y="113"/>
                    <a:pt x="919" y="94"/>
                  </a:cubicBezTo>
                  <a:cubicBezTo>
                    <a:pt x="889" y="76"/>
                    <a:pt x="878" y="20"/>
                    <a:pt x="838" y="48"/>
                  </a:cubicBezTo>
                  <a:cubicBezTo>
                    <a:pt x="799" y="76"/>
                    <a:pt x="806" y="80"/>
                    <a:pt x="784" y="102"/>
                  </a:cubicBezTo>
                  <a:cubicBezTo>
                    <a:pt x="762" y="124"/>
                    <a:pt x="744" y="154"/>
                    <a:pt x="718" y="130"/>
                  </a:cubicBezTo>
                  <a:cubicBezTo>
                    <a:pt x="692" y="105"/>
                    <a:pt x="707" y="100"/>
                    <a:pt x="723" y="89"/>
                  </a:cubicBezTo>
                  <a:cubicBezTo>
                    <a:pt x="738" y="78"/>
                    <a:pt x="758" y="63"/>
                    <a:pt x="747" y="44"/>
                  </a:cubicBezTo>
                  <a:cubicBezTo>
                    <a:pt x="736" y="26"/>
                    <a:pt x="714" y="0"/>
                    <a:pt x="696" y="17"/>
                  </a:cubicBezTo>
                  <a:cubicBezTo>
                    <a:pt x="679" y="33"/>
                    <a:pt x="668" y="61"/>
                    <a:pt x="644" y="72"/>
                  </a:cubicBezTo>
                  <a:cubicBezTo>
                    <a:pt x="621" y="83"/>
                    <a:pt x="597" y="108"/>
                    <a:pt x="578" y="92"/>
                  </a:cubicBezTo>
                  <a:cubicBezTo>
                    <a:pt x="571" y="100"/>
                    <a:pt x="563" y="106"/>
                    <a:pt x="554" y="113"/>
                  </a:cubicBezTo>
                  <a:cubicBezTo>
                    <a:pt x="537" y="128"/>
                    <a:pt x="515" y="135"/>
                    <a:pt x="504" y="120"/>
                  </a:cubicBezTo>
                  <a:cubicBezTo>
                    <a:pt x="493" y="105"/>
                    <a:pt x="482" y="102"/>
                    <a:pt x="447" y="102"/>
                  </a:cubicBezTo>
                  <a:cubicBezTo>
                    <a:pt x="412" y="102"/>
                    <a:pt x="410" y="105"/>
                    <a:pt x="408" y="126"/>
                  </a:cubicBezTo>
                  <a:cubicBezTo>
                    <a:pt x="406" y="146"/>
                    <a:pt x="393" y="157"/>
                    <a:pt x="354" y="157"/>
                  </a:cubicBezTo>
                  <a:cubicBezTo>
                    <a:pt x="314" y="157"/>
                    <a:pt x="332" y="165"/>
                    <a:pt x="319" y="181"/>
                  </a:cubicBezTo>
                  <a:cubicBezTo>
                    <a:pt x="305" y="198"/>
                    <a:pt x="286" y="219"/>
                    <a:pt x="244" y="241"/>
                  </a:cubicBezTo>
                  <a:cubicBezTo>
                    <a:pt x="203" y="263"/>
                    <a:pt x="190" y="259"/>
                    <a:pt x="161" y="257"/>
                  </a:cubicBezTo>
                  <a:cubicBezTo>
                    <a:pt x="133" y="256"/>
                    <a:pt x="135" y="269"/>
                    <a:pt x="131" y="280"/>
                  </a:cubicBezTo>
                  <a:cubicBezTo>
                    <a:pt x="126" y="291"/>
                    <a:pt x="122" y="300"/>
                    <a:pt x="87" y="307"/>
                  </a:cubicBezTo>
                  <a:cubicBezTo>
                    <a:pt x="67" y="312"/>
                    <a:pt x="54" y="333"/>
                    <a:pt x="46" y="350"/>
                  </a:cubicBezTo>
                  <a:cubicBezTo>
                    <a:pt x="60" y="353"/>
                    <a:pt x="74" y="356"/>
                    <a:pt x="83" y="363"/>
                  </a:cubicBezTo>
                  <a:cubicBezTo>
                    <a:pt x="109" y="385"/>
                    <a:pt x="122" y="415"/>
                    <a:pt x="113" y="433"/>
                  </a:cubicBezTo>
                  <a:cubicBezTo>
                    <a:pt x="105" y="452"/>
                    <a:pt x="148" y="489"/>
                    <a:pt x="144" y="537"/>
                  </a:cubicBezTo>
                  <a:cubicBezTo>
                    <a:pt x="139" y="585"/>
                    <a:pt x="87" y="611"/>
                    <a:pt x="43" y="648"/>
                  </a:cubicBezTo>
                  <a:cubicBezTo>
                    <a:pt x="0" y="686"/>
                    <a:pt x="17" y="730"/>
                    <a:pt x="48" y="771"/>
                  </a:cubicBezTo>
                  <a:cubicBezTo>
                    <a:pt x="78" y="812"/>
                    <a:pt x="96" y="800"/>
                    <a:pt x="96" y="834"/>
                  </a:cubicBezTo>
                  <a:cubicBezTo>
                    <a:pt x="96" y="867"/>
                    <a:pt x="109" y="875"/>
                    <a:pt x="109" y="912"/>
                  </a:cubicBezTo>
                  <a:cubicBezTo>
                    <a:pt x="109" y="949"/>
                    <a:pt x="153" y="952"/>
                    <a:pt x="174" y="975"/>
                  </a:cubicBezTo>
                  <a:cubicBezTo>
                    <a:pt x="196" y="997"/>
                    <a:pt x="192" y="1019"/>
                    <a:pt x="218" y="1041"/>
                  </a:cubicBezTo>
                  <a:cubicBezTo>
                    <a:pt x="244" y="1064"/>
                    <a:pt x="240" y="1060"/>
                    <a:pt x="192" y="1093"/>
                  </a:cubicBezTo>
                  <a:cubicBezTo>
                    <a:pt x="144" y="1127"/>
                    <a:pt x="174" y="1145"/>
                    <a:pt x="170" y="1186"/>
                  </a:cubicBezTo>
                  <a:cubicBezTo>
                    <a:pt x="166" y="1227"/>
                    <a:pt x="196" y="1253"/>
                    <a:pt x="209" y="1275"/>
                  </a:cubicBezTo>
                  <a:cubicBezTo>
                    <a:pt x="222" y="1297"/>
                    <a:pt x="266" y="1290"/>
                    <a:pt x="305" y="1267"/>
                  </a:cubicBezTo>
                  <a:cubicBezTo>
                    <a:pt x="345" y="1245"/>
                    <a:pt x="349" y="1245"/>
                    <a:pt x="367" y="1256"/>
                  </a:cubicBezTo>
                  <a:cubicBezTo>
                    <a:pt x="384" y="1267"/>
                    <a:pt x="393" y="1282"/>
                    <a:pt x="388" y="1304"/>
                  </a:cubicBezTo>
                  <a:cubicBezTo>
                    <a:pt x="384" y="1327"/>
                    <a:pt x="358" y="1345"/>
                    <a:pt x="310" y="1371"/>
                  </a:cubicBezTo>
                  <a:cubicBezTo>
                    <a:pt x="262" y="1397"/>
                    <a:pt x="271" y="1431"/>
                    <a:pt x="305" y="1460"/>
                  </a:cubicBezTo>
                  <a:cubicBezTo>
                    <a:pt x="340" y="1490"/>
                    <a:pt x="388" y="1464"/>
                    <a:pt x="432" y="1431"/>
                  </a:cubicBezTo>
                  <a:cubicBezTo>
                    <a:pt x="476" y="1397"/>
                    <a:pt x="528" y="1408"/>
                    <a:pt x="563" y="1379"/>
                  </a:cubicBezTo>
                  <a:cubicBezTo>
                    <a:pt x="598" y="1349"/>
                    <a:pt x="629" y="1405"/>
                    <a:pt x="664" y="1419"/>
                  </a:cubicBezTo>
                  <a:cubicBezTo>
                    <a:pt x="699" y="1434"/>
                    <a:pt x="672" y="1356"/>
                    <a:pt x="685" y="1327"/>
                  </a:cubicBezTo>
                  <a:cubicBezTo>
                    <a:pt x="688" y="1322"/>
                    <a:pt x="692" y="1319"/>
                    <a:pt x="697" y="1317"/>
                  </a:cubicBezTo>
                  <a:cubicBezTo>
                    <a:pt x="687" y="1301"/>
                    <a:pt x="676" y="1281"/>
                    <a:pt x="681" y="1269"/>
                  </a:cubicBezTo>
                  <a:cubicBezTo>
                    <a:pt x="690" y="1249"/>
                    <a:pt x="703" y="1236"/>
                    <a:pt x="705" y="1212"/>
                  </a:cubicBezTo>
                  <a:cubicBezTo>
                    <a:pt x="707" y="1188"/>
                    <a:pt x="699" y="1151"/>
                    <a:pt x="716" y="1130"/>
                  </a:cubicBezTo>
                  <a:cubicBezTo>
                    <a:pt x="734" y="1110"/>
                    <a:pt x="734" y="1097"/>
                    <a:pt x="742" y="1082"/>
                  </a:cubicBezTo>
                  <a:cubicBezTo>
                    <a:pt x="751" y="1067"/>
                    <a:pt x="764" y="1062"/>
                    <a:pt x="779" y="1045"/>
                  </a:cubicBezTo>
                  <a:cubicBezTo>
                    <a:pt x="795" y="1028"/>
                    <a:pt x="793" y="1030"/>
                    <a:pt x="786" y="1006"/>
                  </a:cubicBezTo>
                  <a:cubicBezTo>
                    <a:pt x="779" y="982"/>
                    <a:pt x="760" y="967"/>
                    <a:pt x="782" y="951"/>
                  </a:cubicBezTo>
                  <a:cubicBezTo>
                    <a:pt x="803" y="934"/>
                    <a:pt x="834" y="921"/>
                    <a:pt x="801" y="891"/>
                  </a:cubicBezTo>
                  <a:cubicBezTo>
                    <a:pt x="768" y="862"/>
                    <a:pt x="768" y="808"/>
                    <a:pt x="793" y="795"/>
                  </a:cubicBezTo>
                  <a:cubicBezTo>
                    <a:pt x="817" y="782"/>
                    <a:pt x="871" y="789"/>
                    <a:pt x="893" y="743"/>
                  </a:cubicBezTo>
                  <a:cubicBezTo>
                    <a:pt x="915" y="697"/>
                    <a:pt x="921" y="678"/>
                    <a:pt x="910" y="635"/>
                  </a:cubicBezTo>
                  <a:cubicBezTo>
                    <a:pt x="900" y="593"/>
                    <a:pt x="891" y="569"/>
                    <a:pt x="913" y="548"/>
                  </a:cubicBezTo>
                  <a:cubicBezTo>
                    <a:pt x="934" y="528"/>
                    <a:pt x="928" y="524"/>
                    <a:pt x="978" y="528"/>
                  </a:cubicBezTo>
                  <a:cubicBezTo>
                    <a:pt x="1028" y="532"/>
                    <a:pt x="996" y="537"/>
                    <a:pt x="1028" y="532"/>
                  </a:cubicBezTo>
                  <a:cubicBezTo>
                    <a:pt x="1061" y="526"/>
                    <a:pt x="1068" y="522"/>
                    <a:pt x="1072" y="504"/>
                  </a:cubicBezTo>
                  <a:cubicBezTo>
                    <a:pt x="1076" y="485"/>
                    <a:pt x="1072" y="484"/>
                    <a:pt x="1100" y="482"/>
                  </a:cubicBezTo>
                  <a:cubicBezTo>
                    <a:pt x="1129" y="480"/>
                    <a:pt x="1164" y="465"/>
                    <a:pt x="1177" y="448"/>
                  </a:cubicBezTo>
                  <a:cubicBezTo>
                    <a:pt x="1190" y="432"/>
                    <a:pt x="1192" y="421"/>
                    <a:pt x="1194" y="404"/>
                  </a:cubicBezTo>
                  <a:cubicBezTo>
                    <a:pt x="1197" y="387"/>
                    <a:pt x="1227" y="380"/>
                    <a:pt x="1201" y="34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2" name="Freeform 23">
              <a:extLst>
                <a:ext uri="{FF2B5EF4-FFF2-40B4-BE49-F238E27FC236}">
                  <a16:creationId xmlns:a16="http://schemas.microsoft.com/office/drawing/2014/main" id="{70130A41-E815-D04A-82BB-4C8B8CA4230C}"/>
                </a:ext>
              </a:extLst>
            </p:cNvPr>
            <p:cNvSpPr>
              <a:spLocks/>
            </p:cNvSpPr>
            <p:nvPr/>
          </p:nvSpPr>
          <p:spPr bwMode="auto">
            <a:xfrm>
              <a:off x="3549" y="2533"/>
              <a:ext cx="896" cy="494"/>
            </a:xfrm>
            <a:custGeom>
              <a:avLst/>
              <a:gdLst>
                <a:gd name="T0" fmla="*/ 1488 w 1935"/>
                <a:gd name="T1" fmla="*/ 922 h 1066"/>
                <a:gd name="T2" fmla="*/ 1601 w 1935"/>
                <a:gd name="T3" fmla="*/ 883 h 1066"/>
                <a:gd name="T4" fmla="*/ 1711 w 1935"/>
                <a:gd name="T5" fmla="*/ 799 h 1066"/>
                <a:gd name="T6" fmla="*/ 1804 w 1935"/>
                <a:gd name="T7" fmla="*/ 744 h 1066"/>
                <a:gd name="T8" fmla="*/ 1911 w 1935"/>
                <a:gd name="T9" fmla="*/ 755 h 1066"/>
                <a:gd name="T10" fmla="*/ 1931 w 1935"/>
                <a:gd name="T11" fmla="*/ 731 h 1066"/>
                <a:gd name="T12" fmla="*/ 1846 w 1935"/>
                <a:gd name="T13" fmla="*/ 575 h 1066"/>
                <a:gd name="T14" fmla="*/ 1835 w 1935"/>
                <a:gd name="T15" fmla="*/ 431 h 1066"/>
                <a:gd name="T16" fmla="*/ 1753 w 1935"/>
                <a:gd name="T17" fmla="*/ 402 h 1066"/>
                <a:gd name="T18" fmla="*/ 1671 w 1935"/>
                <a:gd name="T19" fmla="*/ 360 h 1066"/>
                <a:gd name="T20" fmla="*/ 1609 w 1935"/>
                <a:gd name="T21" fmla="*/ 338 h 1066"/>
                <a:gd name="T22" fmla="*/ 1498 w 1935"/>
                <a:gd name="T23" fmla="*/ 345 h 1066"/>
                <a:gd name="T24" fmla="*/ 1374 w 1935"/>
                <a:gd name="T25" fmla="*/ 296 h 1066"/>
                <a:gd name="T26" fmla="*/ 1276 w 1935"/>
                <a:gd name="T27" fmla="*/ 242 h 1066"/>
                <a:gd name="T28" fmla="*/ 1244 w 1935"/>
                <a:gd name="T29" fmla="*/ 156 h 1066"/>
                <a:gd name="T30" fmla="*/ 1151 w 1935"/>
                <a:gd name="T31" fmla="*/ 181 h 1066"/>
                <a:gd name="T32" fmla="*/ 1041 w 1935"/>
                <a:gd name="T33" fmla="*/ 192 h 1066"/>
                <a:gd name="T34" fmla="*/ 843 w 1935"/>
                <a:gd name="T35" fmla="*/ 187 h 1066"/>
                <a:gd name="T36" fmla="*/ 675 w 1935"/>
                <a:gd name="T37" fmla="*/ 103 h 1066"/>
                <a:gd name="T38" fmla="*/ 562 w 1935"/>
                <a:gd name="T39" fmla="*/ 19 h 1066"/>
                <a:gd name="T40" fmla="*/ 422 w 1935"/>
                <a:gd name="T41" fmla="*/ 47 h 1066"/>
                <a:gd name="T42" fmla="*/ 295 w 1935"/>
                <a:gd name="T43" fmla="*/ 27 h 1066"/>
                <a:gd name="T44" fmla="*/ 282 w 1935"/>
                <a:gd name="T45" fmla="*/ 71 h 1066"/>
                <a:gd name="T46" fmla="*/ 374 w 1935"/>
                <a:gd name="T47" fmla="*/ 121 h 1066"/>
                <a:gd name="T48" fmla="*/ 308 w 1935"/>
                <a:gd name="T49" fmla="*/ 197 h 1066"/>
                <a:gd name="T50" fmla="*/ 258 w 1935"/>
                <a:gd name="T51" fmla="*/ 286 h 1066"/>
                <a:gd name="T52" fmla="*/ 293 w 1935"/>
                <a:gd name="T53" fmla="*/ 379 h 1066"/>
                <a:gd name="T54" fmla="*/ 380 w 1935"/>
                <a:gd name="T55" fmla="*/ 433 h 1066"/>
                <a:gd name="T56" fmla="*/ 443 w 1935"/>
                <a:gd name="T57" fmla="*/ 592 h 1066"/>
                <a:gd name="T58" fmla="*/ 315 w 1935"/>
                <a:gd name="T59" fmla="*/ 670 h 1066"/>
                <a:gd name="T60" fmla="*/ 138 w 1935"/>
                <a:gd name="T61" fmla="*/ 711 h 1066"/>
                <a:gd name="T62" fmla="*/ 36 w 1935"/>
                <a:gd name="T63" fmla="*/ 747 h 1066"/>
                <a:gd name="T64" fmla="*/ 66 w 1935"/>
                <a:gd name="T65" fmla="*/ 831 h 1066"/>
                <a:gd name="T66" fmla="*/ 135 w 1935"/>
                <a:gd name="T67" fmla="*/ 942 h 1066"/>
                <a:gd name="T68" fmla="*/ 207 w 1935"/>
                <a:gd name="T69" fmla="*/ 1034 h 1066"/>
                <a:gd name="T70" fmla="*/ 291 w 1935"/>
                <a:gd name="T71" fmla="*/ 972 h 1066"/>
                <a:gd name="T72" fmla="*/ 479 w 1935"/>
                <a:gd name="T73" fmla="*/ 924 h 1066"/>
                <a:gd name="T74" fmla="*/ 544 w 1935"/>
                <a:gd name="T75" fmla="*/ 838 h 1066"/>
                <a:gd name="T76" fmla="*/ 741 w 1935"/>
                <a:gd name="T77" fmla="*/ 820 h 1066"/>
                <a:gd name="T78" fmla="*/ 955 w 1935"/>
                <a:gd name="T79" fmla="*/ 879 h 1066"/>
                <a:gd name="T80" fmla="*/ 1134 w 1935"/>
                <a:gd name="T81" fmla="*/ 823 h 1066"/>
                <a:gd name="T82" fmla="*/ 1195 w 1935"/>
                <a:gd name="T83" fmla="*/ 909 h 1066"/>
                <a:gd name="T84" fmla="*/ 1330 w 1935"/>
                <a:gd name="T85" fmla="*/ 842 h 1066"/>
                <a:gd name="T86" fmla="*/ 1403 w 1935"/>
                <a:gd name="T87" fmla="*/ 992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35" h="1066">
                  <a:moveTo>
                    <a:pt x="1444" y="949"/>
                  </a:moveTo>
                  <a:cubicBezTo>
                    <a:pt x="1479" y="942"/>
                    <a:pt x="1483" y="933"/>
                    <a:pt x="1488" y="922"/>
                  </a:cubicBezTo>
                  <a:cubicBezTo>
                    <a:pt x="1492" y="911"/>
                    <a:pt x="1490" y="898"/>
                    <a:pt x="1518" y="899"/>
                  </a:cubicBezTo>
                  <a:cubicBezTo>
                    <a:pt x="1547" y="901"/>
                    <a:pt x="1560" y="905"/>
                    <a:pt x="1601" y="883"/>
                  </a:cubicBezTo>
                  <a:cubicBezTo>
                    <a:pt x="1643" y="861"/>
                    <a:pt x="1662" y="840"/>
                    <a:pt x="1676" y="823"/>
                  </a:cubicBezTo>
                  <a:cubicBezTo>
                    <a:pt x="1689" y="807"/>
                    <a:pt x="1671" y="799"/>
                    <a:pt x="1711" y="799"/>
                  </a:cubicBezTo>
                  <a:cubicBezTo>
                    <a:pt x="1750" y="799"/>
                    <a:pt x="1763" y="788"/>
                    <a:pt x="1765" y="768"/>
                  </a:cubicBezTo>
                  <a:cubicBezTo>
                    <a:pt x="1767" y="747"/>
                    <a:pt x="1769" y="744"/>
                    <a:pt x="1804" y="744"/>
                  </a:cubicBezTo>
                  <a:cubicBezTo>
                    <a:pt x="1839" y="744"/>
                    <a:pt x="1850" y="747"/>
                    <a:pt x="1861" y="762"/>
                  </a:cubicBezTo>
                  <a:cubicBezTo>
                    <a:pt x="1872" y="777"/>
                    <a:pt x="1894" y="770"/>
                    <a:pt x="1911" y="755"/>
                  </a:cubicBezTo>
                  <a:cubicBezTo>
                    <a:pt x="1920" y="748"/>
                    <a:pt x="1928" y="742"/>
                    <a:pt x="1935" y="734"/>
                  </a:cubicBezTo>
                  <a:cubicBezTo>
                    <a:pt x="1934" y="733"/>
                    <a:pt x="1932" y="732"/>
                    <a:pt x="1931" y="731"/>
                  </a:cubicBezTo>
                  <a:cubicBezTo>
                    <a:pt x="1911" y="709"/>
                    <a:pt x="1918" y="690"/>
                    <a:pt x="1896" y="660"/>
                  </a:cubicBezTo>
                  <a:cubicBezTo>
                    <a:pt x="1874" y="631"/>
                    <a:pt x="1842" y="620"/>
                    <a:pt x="1846" y="575"/>
                  </a:cubicBezTo>
                  <a:cubicBezTo>
                    <a:pt x="1850" y="531"/>
                    <a:pt x="1804" y="512"/>
                    <a:pt x="1828" y="490"/>
                  </a:cubicBezTo>
                  <a:cubicBezTo>
                    <a:pt x="1852" y="468"/>
                    <a:pt x="1870" y="453"/>
                    <a:pt x="1835" y="431"/>
                  </a:cubicBezTo>
                  <a:cubicBezTo>
                    <a:pt x="1800" y="408"/>
                    <a:pt x="1813" y="420"/>
                    <a:pt x="1787" y="408"/>
                  </a:cubicBezTo>
                  <a:cubicBezTo>
                    <a:pt x="1761" y="396"/>
                    <a:pt x="1769" y="395"/>
                    <a:pt x="1753" y="402"/>
                  </a:cubicBezTo>
                  <a:cubicBezTo>
                    <a:pt x="1737" y="408"/>
                    <a:pt x="1729" y="415"/>
                    <a:pt x="1714" y="398"/>
                  </a:cubicBezTo>
                  <a:cubicBezTo>
                    <a:pt x="1698" y="381"/>
                    <a:pt x="1685" y="358"/>
                    <a:pt x="1671" y="360"/>
                  </a:cubicBezTo>
                  <a:cubicBezTo>
                    <a:pt x="1657" y="362"/>
                    <a:pt x="1650" y="354"/>
                    <a:pt x="1644" y="345"/>
                  </a:cubicBezTo>
                  <a:cubicBezTo>
                    <a:pt x="1637" y="337"/>
                    <a:pt x="1626" y="316"/>
                    <a:pt x="1609" y="338"/>
                  </a:cubicBezTo>
                  <a:cubicBezTo>
                    <a:pt x="1591" y="360"/>
                    <a:pt x="1579" y="359"/>
                    <a:pt x="1562" y="361"/>
                  </a:cubicBezTo>
                  <a:cubicBezTo>
                    <a:pt x="1545" y="363"/>
                    <a:pt x="1512" y="358"/>
                    <a:pt x="1498" y="345"/>
                  </a:cubicBezTo>
                  <a:cubicBezTo>
                    <a:pt x="1483" y="332"/>
                    <a:pt x="1447" y="281"/>
                    <a:pt x="1421" y="277"/>
                  </a:cubicBezTo>
                  <a:cubicBezTo>
                    <a:pt x="1395" y="272"/>
                    <a:pt x="1398" y="285"/>
                    <a:pt x="1374" y="296"/>
                  </a:cubicBezTo>
                  <a:cubicBezTo>
                    <a:pt x="1350" y="307"/>
                    <a:pt x="1336" y="308"/>
                    <a:pt x="1318" y="293"/>
                  </a:cubicBezTo>
                  <a:cubicBezTo>
                    <a:pt x="1301" y="279"/>
                    <a:pt x="1273" y="263"/>
                    <a:pt x="1276" y="242"/>
                  </a:cubicBezTo>
                  <a:cubicBezTo>
                    <a:pt x="1279" y="220"/>
                    <a:pt x="1285" y="212"/>
                    <a:pt x="1280" y="195"/>
                  </a:cubicBezTo>
                  <a:cubicBezTo>
                    <a:pt x="1276" y="179"/>
                    <a:pt x="1264" y="146"/>
                    <a:pt x="1244" y="156"/>
                  </a:cubicBezTo>
                  <a:cubicBezTo>
                    <a:pt x="1225" y="166"/>
                    <a:pt x="1228" y="197"/>
                    <a:pt x="1196" y="204"/>
                  </a:cubicBezTo>
                  <a:cubicBezTo>
                    <a:pt x="1164" y="210"/>
                    <a:pt x="1164" y="190"/>
                    <a:pt x="1151" y="181"/>
                  </a:cubicBezTo>
                  <a:cubicBezTo>
                    <a:pt x="1138" y="173"/>
                    <a:pt x="1126" y="169"/>
                    <a:pt x="1101" y="172"/>
                  </a:cubicBezTo>
                  <a:cubicBezTo>
                    <a:pt x="1076" y="175"/>
                    <a:pt x="1065" y="182"/>
                    <a:pt x="1041" y="192"/>
                  </a:cubicBezTo>
                  <a:cubicBezTo>
                    <a:pt x="1017" y="203"/>
                    <a:pt x="970" y="210"/>
                    <a:pt x="933" y="205"/>
                  </a:cubicBezTo>
                  <a:cubicBezTo>
                    <a:pt x="896" y="201"/>
                    <a:pt x="893" y="203"/>
                    <a:pt x="843" y="187"/>
                  </a:cubicBezTo>
                  <a:cubicBezTo>
                    <a:pt x="794" y="171"/>
                    <a:pt x="791" y="159"/>
                    <a:pt x="768" y="157"/>
                  </a:cubicBezTo>
                  <a:cubicBezTo>
                    <a:pt x="745" y="155"/>
                    <a:pt x="693" y="127"/>
                    <a:pt x="675" y="103"/>
                  </a:cubicBezTo>
                  <a:cubicBezTo>
                    <a:pt x="660" y="84"/>
                    <a:pt x="619" y="27"/>
                    <a:pt x="580" y="0"/>
                  </a:cubicBezTo>
                  <a:cubicBezTo>
                    <a:pt x="575" y="6"/>
                    <a:pt x="568" y="12"/>
                    <a:pt x="562" y="19"/>
                  </a:cubicBezTo>
                  <a:cubicBezTo>
                    <a:pt x="540" y="41"/>
                    <a:pt x="540" y="53"/>
                    <a:pt x="498" y="34"/>
                  </a:cubicBezTo>
                  <a:cubicBezTo>
                    <a:pt x="457" y="15"/>
                    <a:pt x="455" y="47"/>
                    <a:pt x="422" y="47"/>
                  </a:cubicBezTo>
                  <a:cubicBezTo>
                    <a:pt x="389" y="47"/>
                    <a:pt x="385" y="47"/>
                    <a:pt x="378" y="30"/>
                  </a:cubicBezTo>
                  <a:cubicBezTo>
                    <a:pt x="372" y="14"/>
                    <a:pt x="356" y="34"/>
                    <a:pt x="295" y="27"/>
                  </a:cubicBezTo>
                  <a:cubicBezTo>
                    <a:pt x="234" y="19"/>
                    <a:pt x="243" y="41"/>
                    <a:pt x="243" y="53"/>
                  </a:cubicBezTo>
                  <a:cubicBezTo>
                    <a:pt x="243" y="64"/>
                    <a:pt x="256" y="71"/>
                    <a:pt x="282" y="71"/>
                  </a:cubicBezTo>
                  <a:cubicBezTo>
                    <a:pt x="308" y="71"/>
                    <a:pt x="306" y="88"/>
                    <a:pt x="304" y="106"/>
                  </a:cubicBezTo>
                  <a:cubicBezTo>
                    <a:pt x="302" y="125"/>
                    <a:pt x="343" y="119"/>
                    <a:pt x="374" y="121"/>
                  </a:cubicBezTo>
                  <a:cubicBezTo>
                    <a:pt x="404" y="123"/>
                    <a:pt x="391" y="156"/>
                    <a:pt x="389" y="179"/>
                  </a:cubicBezTo>
                  <a:cubicBezTo>
                    <a:pt x="387" y="201"/>
                    <a:pt x="343" y="199"/>
                    <a:pt x="308" y="197"/>
                  </a:cubicBezTo>
                  <a:cubicBezTo>
                    <a:pt x="273" y="195"/>
                    <a:pt x="276" y="223"/>
                    <a:pt x="260" y="243"/>
                  </a:cubicBezTo>
                  <a:cubicBezTo>
                    <a:pt x="245" y="264"/>
                    <a:pt x="238" y="271"/>
                    <a:pt x="258" y="286"/>
                  </a:cubicBezTo>
                  <a:cubicBezTo>
                    <a:pt x="278" y="301"/>
                    <a:pt x="293" y="318"/>
                    <a:pt x="300" y="336"/>
                  </a:cubicBezTo>
                  <a:cubicBezTo>
                    <a:pt x="303" y="345"/>
                    <a:pt x="298" y="363"/>
                    <a:pt x="293" y="379"/>
                  </a:cubicBezTo>
                  <a:cubicBezTo>
                    <a:pt x="323" y="376"/>
                    <a:pt x="354" y="385"/>
                    <a:pt x="377" y="383"/>
                  </a:cubicBezTo>
                  <a:cubicBezTo>
                    <a:pt x="407" y="381"/>
                    <a:pt x="384" y="414"/>
                    <a:pt x="380" y="433"/>
                  </a:cubicBezTo>
                  <a:cubicBezTo>
                    <a:pt x="377" y="453"/>
                    <a:pt x="410" y="461"/>
                    <a:pt x="426" y="492"/>
                  </a:cubicBezTo>
                  <a:cubicBezTo>
                    <a:pt x="443" y="522"/>
                    <a:pt x="443" y="556"/>
                    <a:pt x="443" y="592"/>
                  </a:cubicBezTo>
                  <a:cubicBezTo>
                    <a:pt x="443" y="628"/>
                    <a:pt x="407" y="631"/>
                    <a:pt x="390" y="620"/>
                  </a:cubicBezTo>
                  <a:cubicBezTo>
                    <a:pt x="374" y="608"/>
                    <a:pt x="331" y="650"/>
                    <a:pt x="315" y="670"/>
                  </a:cubicBezTo>
                  <a:cubicBezTo>
                    <a:pt x="298" y="689"/>
                    <a:pt x="249" y="703"/>
                    <a:pt x="226" y="703"/>
                  </a:cubicBezTo>
                  <a:cubicBezTo>
                    <a:pt x="203" y="703"/>
                    <a:pt x="171" y="703"/>
                    <a:pt x="138" y="711"/>
                  </a:cubicBezTo>
                  <a:cubicBezTo>
                    <a:pt x="105" y="720"/>
                    <a:pt x="89" y="722"/>
                    <a:pt x="89" y="722"/>
                  </a:cubicBezTo>
                  <a:cubicBezTo>
                    <a:pt x="89" y="722"/>
                    <a:pt x="72" y="725"/>
                    <a:pt x="36" y="747"/>
                  </a:cubicBezTo>
                  <a:cubicBezTo>
                    <a:pt x="0" y="770"/>
                    <a:pt x="40" y="781"/>
                    <a:pt x="66" y="789"/>
                  </a:cubicBezTo>
                  <a:cubicBezTo>
                    <a:pt x="92" y="797"/>
                    <a:pt x="69" y="809"/>
                    <a:pt x="66" y="831"/>
                  </a:cubicBezTo>
                  <a:cubicBezTo>
                    <a:pt x="63" y="853"/>
                    <a:pt x="66" y="878"/>
                    <a:pt x="82" y="898"/>
                  </a:cubicBezTo>
                  <a:cubicBezTo>
                    <a:pt x="99" y="917"/>
                    <a:pt x="99" y="923"/>
                    <a:pt x="135" y="942"/>
                  </a:cubicBezTo>
                  <a:cubicBezTo>
                    <a:pt x="171" y="962"/>
                    <a:pt x="158" y="945"/>
                    <a:pt x="154" y="975"/>
                  </a:cubicBezTo>
                  <a:cubicBezTo>
                    <a:pt x="151" y="1006"/>
                    <a:pt x="207" y="1034"/>
                    <a:pt x="207" y="1034"/>
                  </a:cubicBezTo>
                  <a:cubicBezTo>
                    <a:pt x="261" y="1066"/>
                    <a:pt x="261" y="1066"/>
                    <a:pt x="261" y="1066"/>
                  </a:cubicBezTo>
                  <a:cubicBezTo>
                    <a:pt x="263" y="1024"/>
                    <a:pt x="275" y="1005"/>
                    <a:pt x="291" y="972"/>
                  </a:cubicBezTo>
                  <a:cubicBezTo>
                    <a:pt x="308" y="935"/>
                    <a:pt x="361" y="916"/>
                    <a:pt x="400" y="898"/>
                  </a:cubicBezTo>
                  <a:cubicBezTo>
                    <a:pt x="439" y="879"/>
                    <a:pt x="457" y="942"/>
                    <a:pt x="479" y="924"/>
                  </a:cubicBezTo>
                  <a:cubicBezTo>
                    <a:pt x="501" y="905"/>
                    <a:pt x="514" y="927"/>
                    <a:pt x="562" y="931"/>
                  </a:cubicBezTo>
                  <a:cubicBezTo>
                    <a:pt x="610" y="935"/>
                    <a:pt x="575" y="868"/>
                    <a:pt x="544" y="838"/>
                  </a:cubicBezTo>
                  <a:cubicBezTo>
                    <a:pt x="514" y="809"/>
                    <a:pt x="597" y="798"/>
                    <a:pt x="636" y="798"/>
                  </a:cubicBezTo>
                  <a:cubicBezTo>
                    <a:pt x="675" y="798"/>
                    <a:pt x="715" y="805"/>
                    <a:pt x="741" y="820"/>
                  </a:cubicBezTo>
                  <a:cubicBezTo>
                    <a:pt x="767" y="835"/>
                    <a:pt x="802" y="838"/>
                    <a:pt x="872" y="827"/>
                  </a:cubicBezTo>
                  <a:cubicBezTo>
                    <a:pt x="942" y="816"/>
                    <a:pt x="924" y="849"/>
                    <a:pt x="955" y="879"/>
                  </a:cubicBezTo>
                  <a:cubicBezTo>
                    <a:pt x="985" y="909"/>
                    <a:pt x="1016" y="894"/>
                    <a:pt x="1064" y="875"/>
                  </a:cubicBezTo>
                  <a:cubicBezTo>
                    <a:pt x="1112" y="857"/>
                    <a:pt x="1103" y="835"/>
                    <a:pt x="1134" y="823"/>
                  </a:cubicBezTo>
                  <a:cubicBezTo>
                    <a:pt x="1164" y="812"/>
                    <a:pt x="1173" y="846"/>
                    <a:pt x="1156" y="857"/>
                  </a:cubicBezTo>
                  <a:cubicBezTo>
                    <a:pt x="1138" y="868"/>
                    <a:pt x="1151" y="886"/>
                    <a:pt x="1195" y="909"/>
                  </a:cubicBezTo>
                  <a:cubicBezTo>
                    <a:pt x="1239" y="931"/>
                    <a:pt x="1226" y="879"/>
                    <a:pt x="1256" y="846"/>
                  </a:cubicBezTo>
                  <a:cubicBezTo>
                    <a:pt x="1287" y="812"/>
                    <a:pt x="1291" y="820"/>
                    <a:pt x="1330" y="842"/>
                  </a:cubicBezTo>
                  <a:cubicBezTo>
                    <a:pt x="1370" y="864"/>
                    <a:pt x="1339" y="890"/>
                    <a:pt x="1339" y="946"/>
                  </a:cubicBezTo>
                  <a:cubicBezTo>
                    <a:pt x="1339" y="983"/>
                    <a:pt x="1373" y="987"/>
                    <a:pt x="1403" y="992"/>
                  </a:cubicBezTo>
                  <a:cubicBezTo>
                    <a:pt x="1411" y="975"/>
                    <a:pt x="1424" y="954"/>
                    <a:pt x="1444" y="949"/>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3" name="Freeform 24">
              <a:extLst>
                <a:ext uri="{FF2B5EF4-FFF2-40B4-BE49-F238E27FC236}">
                  <a16:creationId xmlns:a16="http://schemas.microsoft.com/office/drawing/2014/main" id="{A77A03FD-71C9-1E43-9616-0AB8391A2981}"/>
                </a:ext>
              </a:extLst>
            </p:cNvPr>
            <p:cNvSpPr>
              <a:spLocks/>
            </p:cNvSpPr>
            <p:nvPr/>
          </p:nvSpPr>
          <p:spPr bwMode="auto">
            <a:xfrm>
              <a:off x="4490" y="2997"/>
              <a:ext cx="504" cy="574"/>
            </a:xfrm>
            <a:custGeom>
              <a:avLst/>
              <a:gdLst>
                <a:gd name="T0" fmla="*/ 1034 w 1088"/>
                <a:gd name="T1" fmla="*/ 190 h 1239"/>
                <a:gd name="T2" fmla="*/ 958 w 1088"/>
                <a:gd name="T3" fmla="*/ 203 h 1239"/>
                <a:gd name="T4" fmla="*/ 901 w 1088"/>
                <a:gd name="T5" fmla="*/ 215 h 1239"/>
                <a:gd name="T6" fmla="*/ 854 w 1088"/>
                <a:gd name="T7" fmla="*/ 167 h 1239"/>
                <a:gd name="T8" fmla="*/ 806 w 1088"/>
                <a:gd name="T9" fmla="*/ 176 h 1239"/>
                <a:gd name="T10" fmla="*/ 765 w 1088"/>
                <a:gd name="T11" fmla="*/ 212 h 1239"/>
                <a:gd name="T12" fmla="*/ 698 w 1088"/>
                <a:gd name="T13" fmla="*/ 207 h 1239"/>
                <a:gd name="T14" fmla="*/ 662 w 1088"/>
                <a:gd name="T15" fmla="*/ 158 h 1239"/>
                <a:gd name="T16" fmla="*/ 619 w 1088"/>
                <a:gd name="T17" fmla="*/ 101 h 1239"/>
                <a:gd name="T18" fmla="*/ 614 w 1088"/>
                <a:gd name="T19" fmla="*/ 35 h 1239"/>
                <a:gd name="T20" fmla="*/ 560 w 1088"/>
                <a:gd name="T21" fmla="*/ 30 h 1239"/>
                <a:gd name="T22" fmla="*/ 524 w 1088"/>
                <a:gd name="T23" fmla="*/ 33 h 1239"/>
                <a:gd name="T24" fmla="*/ 518 w 1088"/>
                <a:gd name="T25" fmla="*/ 44 h 1239"/>
                <a:gd name="T26" fmla="*/ 501 w 1088"/>
                <a:gd name="T27" fmla="*/ 88 h 1239"/>
                <a:gd name="T28" fmla="*/ 424 w 1088"/>
                <a:gd name="T29" fmla="*/ 122 h 1239"/>
                <a:gd name="T30" fmla="*/ 396 w 1088"/>
                <a:gd name="T31" fmla="*/ 144 h 1239"/>
                <a:gd name="T32" fmla="*/ 352 w 1088"/>
                <a:gd name="T33" fmla="*/ 172 h 1239"/>
                <a:gd name="T34" fmla="*/ 302 w 1088"/>
                <a:gd name="T35" fmla="*/ 168 h 1239"/>
                <a:gd name="T36" fmla="*/ 237 w 1088"/>
                <a:gd name="T37" fmla="*/ 188 h 1239"/>
                <a:gd name="T38" fmla="*/ 234 w 1088"/>
                <a:gd name="T39" fmla="*/ 275 h 1239"/>
                <a:gd name="T40" fmla="*/ 217 w 1088"/>
                <a:gd name="T41" fmla="*/ 383 h 1239"/>
                <a:gd name="T42" fmla="*/ 117 w 1088"/>
                <a:gd name="T43" fmla="*/ 435 h 1239"/>
                <a:gd name="T44" fmla="*/ 125 w 1088"/>
                <a:gd name="T45" fmla="*/ 531 h 1239"/>
                <a:gd name="T46" fmla="*/ 106 w 1088"/>
                <a:gd name="T47" fmla="*/ 591 h 1239"/>
                <a:gd name="T48" fmla="*/ 110 w 1088"/>
                <a:gd name="T49" fmla="*/ 646 h 1239"/>
                <a:gd name="T50" fmla="*/ 103 w 1088"/>
                <a:gd name="T51" fmla="*/ 685 h 1239"/>
                <a:gd name="T52" fmla="*/ 66 w 1088"/>
                <a:gd name="T53" fmla="*/ 722 h 1239"/>
                <a:gd name="T54" fmla="*/ 40 w 1088"/>
                <a:gd name="T55" fmla="*/ 770 h 1239"/>
                <a:gd name="T56" fmla="*/ 29 w 1088"/>
                <a:gd name="T57" fmla="*/ 852 h 1239"/>
                <a:gd name="T58" fmla="*/ 5 w 1088"/>
                <a:gd name="T59" fmla="*/ 909 h 1239"/>
                <a:gd name="T60" fmla="*/ 21 w 1088"/>
                <a:gd name="T61" fmla="*/ 957 h 1239"/>
                <a:gd name="T62" fmla="*/ 119 w 1088"/>
                <a:gd name="T63" fmla="*/ 967 h 1239"/>
                <a:gd name="T64" fmla="*/ 175 w 1088"/>
                <a:gd name="T65" fmla="*/ 1000 h 1239"/>
                <a:gd name="T66" fmla="*/ 245 w 1088"/>
                <a:gd name="T67" fmla="*/ 1004 h 1239"/>
                <a:gd name="T68" fmla="*/ 280 w 1088"/>
                <a:gd name="T69" fmla="*/ 1037 h 1239"/>
                <a:gd name="T70" fmla="*/ 341 w 1088"/>
                <a:gd name="T71" fmla="*/ 1152 h 1239"/>
                <a:gd name="T72" fmla="*/ 391 w 1088"/>
                <a:gd name="T73" fmla="*/ 1239 h 1239"/>
                <a:gd name="T74" fmla="*/ 438 w 1088"/>
                <a:gd name="T75" fmla="*/ 1211 h 1239"/>
                <a:gd name="T76" fmla="*/ 538 w 1088"/>
                <a:gd name="T77" fmla="*/ 1145 h 1239"/>
                <a:gd name="T78" fmla="*/ 617 w 1088"/>
                <a:gd name="T79" fmla="*/ 1033 h 1239"/>
                <a:gd name="T80" fmla="*/ 652 w 1088"/>
                <a:gd name="T81" fmla="*/ 967 h 1239"/>
                <a:gd name="T82" fmla="*/ 752 w 1088"/>
                <a:gd name="T83" fmla="*/ 919 h 1239"/>
                <a:gd name="T84" fmla="*/ 813 w 1088"/>
                <a:gd name="T85" fmla="*/ 859 h 1239"/>
                <a:gd name="T86" fmla="*/ 813 w 1088"/>
                <a:gd name="T87" fmla="*/ 781 h 1239"/>
                <a:gd name="T88" fmla="*/ 861 w 1088"/>
                <a:gd name="T89" fmla="*/ 730 h 1239"/>
                <a:gd name="T90" fmla="*/ 905 w 1088"/>
                <a:gd name="T91" fmla="*/ 678 h 1239"/>
                <a:gd name="T92" fmla="*/ 944 w 1088"/>
                <a:gd name="T93" fmla="*/ 600 h 1239"/>
                <a:gd name="T94" fmla="*/ 922 w 1088"/>
                <a:gd name="T95" fmla="*/ 515 h 1239"/>
                <a:gd name="T96" fmla="*/ 936 w 1088"/>
                <a:gd name="T97" fmla="*/ 448 h 1239"/>
                <a:gd name="T98" fmla="*/ 914 w 1088"/>
                <a:gd name="T99" fmla="*/ 377 h 1239"/>
                <a:gd name="T100" fmla="*/ 997 w 1088"/>
                <a:gd name="T101" fmla="*/ 351 h 1239"/>
                <a:gd name="T102" fmla="*/ 1062 w 1088"/>
                <a:gd name="T103" fmla="*/ 259 h 1239"/>
                <a:gd name="T104" fmla="*/ 1088 w 1088"/>
                <a:gd name="T105" fmla="*/ 225 h 1239"/>
                <a:gd name="T106" fmla="*/ 1081 w 1088"/>
                <a:gd name="T107" fmla="*/ 224 h 1239"/>
                <a:gd name="T108" fmla="*/ 1034 w 1088"/>
                <a:gd name="T109" fmla="*/ 190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8" h="1239">
                  <a:moveTo>
                    <a:pt x="1034" y="190"/>
                  </a:moveTo>
                  <a:cubicBezTo>
                    <a:pt x="1024" y="168"/>
                    <a:pt x="985" y="192"/>
                    <a:pt x="958" y="203"/>
                  </a:cubicBezTo>
                  <a:cubicBezTo>
                    <a:pt x="932" y="214"/>
                    <a:pt x="932" y="219"/>
                    <a:pt x="901" y="215"/>
                  </a:cubicBezTo>
                  <a:cubicBezTo>
                    <a:pt x="870" y="211"/>
                    <a:pt x="875" y="201"/>
                    <a:pt x="854" y="167"/>
                  </a:cubicBezTo>
                  <a:cubicBezTo>
                    <a:pt x="832" y="132"/>
                    <a:pt x="816" y="157"/>
                    <a:pt x="806" y="176"/>
                  </a:cubicBezTo>
                  <a:cubicBezTo>
                    <a:pt x="796" y="196"/>
                    <a:pt x="782" y="200"/>
                    <a:pt x="765" y="212"/>
                  </a:cubicBezTo>
                  <a:cubicBezTo>
                    <a:pt x="749" y="225"/>
                    <a:pt x="719" y="217"/>
                    <a:pt x="698" y="207"/>
                  </a:cubicBezTo>
                  <a:cubicBezTo>
                    <a:pt x="677" y="197"/>
                    <a:pt x="667" y="179"/>
                    <a:pt x="662" y="158"/>
                  </a:cubicBezTo>
                  <a:cubicBezTo>
                    <a:pt x="657" y="137"/>
                    <a:pt x="639" y="117"/>
                    <a:pt x="619" y="101"/>
                  </a:cubicBezTo>
                  <a:cubicBezTo>
                    <a:pt x="600" y="86"/>
                    <a:pt x="613" y="69"/>
                    <a:pt x="614" y="35"/>
                  </a:cubicBezTo>
                  <a:cubicBezTo>
                    <a:pt x="616" y="0"/>
                    <a:pt x="578" y="21"/>
                    <a:pt x="560" y="30"/>
                  </a:cubicBezTo>
                  <a:cubicBezTo>
                    <a:pt x="552" y="35"/>
                    <a:pt x="537" y="35"/>
                    <a:pt x="524" y="33"/>
                  </a:cubicBezTo>
                  <a:cubicBezTo>
                    <a:pt x="521" y="36"/>
                    <a:pt x="519" y="40"/>
                    <a:pt x="518" y="44"/>
                  </a:cubicBezTo>
                  <a:cubicBezTo>
                    <a:pt x="516" y="61"/>
                    <a:pt x="514" y="72"/>
                    <a:pt x="501" y="88"/>
                  </a:cubicBezTo>
                  <a:cubicBezTo>
                    <a:pt x="488" y="105"/>
                    <a:pt x="453" y="120"/>
                    <a:pt x="424" y="122"/>
                  </a:cubicBezTo>
                  <a:cubicBezTo>
                    <a:pt x="396" y="124"/>
                    <a:pt x="400" y="125"/>
                    <a:pt x="396" y="144"/>
                  </a:cubicBezTo>
                  <a:cubicBezTo>
                    <a:pt x="392" y="162"/>
                    <a:pt x="385" y="166"/>
                    <a:pt x="352" y="172"/>
                  </a:cubicBezTo>
                  <a:cubicBezTo>
                    <a:pt x="320" y="177"/>
                    <a:pt x="352" y="172"/>
                    <a:pt x="302" y="168"/>
                  </a:cubicBezTo>
                  <a:cubicBezTo>
                    <a:pt x="252" y="164"/>
                    <a:pt x="258" y="168"/>
                    <a:pt x="237" y="188"/>
                  </a:cubicBezTo>
                  <a:cubicBezTo>
                    <a:pt x="215" y="209"/>
                    <a:pt x="224" y="233"/>
                    <a:pt x="234" y="275"/>
                  </a:cubicBezTo>
                  <a:cubicBezTo>
                    <a:pt x="245" y="318"/>
                    <a:pt x="239" y="337"/>
                    <a:pt x="217" y="383"/>
                  </a:cubicBezTo>
                  <a:cubicBezTo>
                    <a:pt x="195" y="429"/>
                    <a:pt x="141" y="422"/>
                    <a:pt x="117" y="435"/>
                  </a:cubicBezTo>
                  <a:cubicBezTo>
                    <a:pt x="92" y="448"/>
                    <a:pt x="92" y="502"/>
                    <a:pt x="125" y="531"/>
                  </a:cubicBezTo>
                  <a:cubicBezTo>
                    <a:pt x="158" y="561"/>
                    <a:pt x="127" y="574"/>
                    <a:pt x="106" y="591"/>
                  </a:cubicBezTo>
                  <a:cubicBezTo>
                    <a:pt x="84" y="607"/>
                    <a:pt x="103" y="622"/>
                    <a:pt x="110" y="646"/>
                  </a:cubicBezTo>
                  <a:cubicBezTo>
                    <a:pt x="117" y="670"/>
                    <a:pt x="119" y="668"/>
                    <a:pt x="103" y="685"/>
                  </a:cubicBezTo>
                  <a:cubicBezTo>
                    <a:pt x="88" y="702"/>
                    <a:pt x="75" y="707"/>
                    <a:pt x="66" y="722"/>
                  </a:cubicBezTo>
                  <a:cubicBezTo>
                    <a:pt x="58" y="737"/>
                    <a:pt x="58" y="750"/>
                    <a:pt x="40" y="770"/>
                  </a:cubicBezTo>
                  <a:cubicBezTo>
                    <a:pt x="23" y="791"/>
                    <a:pt x="31" y="828"/>
                    <a:pt x="29" y="852"/>
                  </a:cubicBezTo>
                  <a:cubicBezTo>
                    <a:pt x="27" y="876"/>
                    <a:pt x="14" y="889"/>
                    <a:pt x="5" y="909"/>
                  </a:cubicBezTo>
                  <a:cubicBezTo>
                    <a:pt x="0" y="921"/>
                    <a:pt x="11" y="941"/>
                    <a:pt x="21" y="957"/>
                  </a:cubicBezTo>
                  <a:cubicBezTo>
                    <a:pt x="47" y="948"/>
                    <a:pt x="101" y="970"/>
                    <a:pt x="119" y="967"/>
                  </a:cubicBezTo>
                  <a:cubicBezTo>
                    <a:pt x="141" y="963"/>
                    <a:pt x="162" y="982"/>
                    <a:pt x="175" y="1000"/>
                  </a:cubicBezTo>
                  <a:cubicBezTo>
                    <a:pt x="189" y="1019"/>
                    <a:pt x="224" y="1022"/>
                    <a:pt x="245" y="1004"/>
                  </a:cubicBezTo>
                  <a:cubicBezTo>
                    <a:pt x="267" y="985"/>
                    <a:pt x="272" y="1008"/>
                    <a:pt x="280" y="1037"/>
                  </a:cubicBezTo>
                  <a:cubicBezTo>
                    <a:pt x="289" y="1067"/>
                    <a:pt x="346" y="1096"/>
                    <a:pt x="341" y="1152"/>
                  </a:cubicBezTo>
                  <a:cubicBezTo>
                    <a:pt x="339" y="1183"/>
                    <a:pt x="366" y="1216"/>
                    <a:pt x="391" y="1239"/>
                  </a:cubicBezTo>
                  <a:cubicBezTo>
                    <a:pt x="405" y="1229"/>
                    <a:pt x="420" y="1220"/>
                    <a:pt x="438" y="1211"/>
                  </a:cubicBezTo>
                  <a:cubicBezTo>
                    <a:pt x="490" y="1185"/>
                    <a:pt x="490" y="1189"/>
                    <a:pt x="538" y="1145"/>
                  </a:cubicBezTo>
                  <a:cubicBezTo>
                    <a:pt x="586" y="1100"/>
                    <a:pt x="608" y="1082"/>
                    <a:pt x="617" y="1033"/>
                  </a:cubicBezTo>
                  <a:cubicBezTo>
                    <a:pt x="625" y="985"/>
                    <a:pt x="582" y="978"/>
                    <a:pt x="652" y="967"/>
                  </a:cubicBezTo>
                  <a:cubicBezTo>
                    <a:pt x="721" y="956"/>
                    <a:pt x="756" y="959"/>
                    <a:pt x="752" y="919"/>
                  </a:cubicBezTo>
                  <a:cubicBezTo>
                    <a:pt x="748" y="878"/>
                    <a:pt x="813" y="889"/>
                    <a:pt x="813" y="859"/>
                  </a:cubicBezTo>
                  <a:cubicBezTo>
                    <a:pt x="813" y="830"/>
                    <a:pt x="770" y="793"/>
                    <a:pt x="813" y="781"/>
                  </a:cubicBezTo>
                  <a:cubicBezTo>
                    <a:pt x="857" y="770"/>
                    <a:pt x="866" y="770"/>
                    <a:pt x="861" y="730"/>
                  </a:cubicBezTo>
                  <a:cubicBezTo>
                    <a:pt x="857" y="689"/>
                    <a:pt x="874" y="681"/>
                    <a:pt x="905" y="678"/>
                  </a:cubicBezTo>
                  <a:cubicBezTo>
                    <a:pt x="936" y="674"/>
                    <a:pt x="944" y="637"/>
                    <a:pt x="944" y="600"/>
                  </a:cubicBezTo>
                  <a:cubicBezTo>
                    <a:pt x="944" y="563"/>
                    <a:pt x="866" y="563"/>
                    <a:pt x="922" y="515"/>
                  </a:cubicBezTo>
                  <a:cubicBezTo>
                    <a:pt x="979" y="466"/>
                    <a:pt x="962" y="474"/>
                    <a:pt x="936" y="448"/>
                  </a:cubicBezTo>
                  <a:cubicBezTo>
                    <a:pt x="909" y="422"/>
                    <a:pt x="857" y="377"/>
                    <a:pt x="914" y="377"/>
                  </a:cubicBezTo>
                  <a:cubicBezTo>
                    <a:pt x="970" y="377"/>
                    <a:pt x="970" y="400"/>
                    <a:pt x="997" y="351"/>
                  </a:cubicBezTo>
                  <a:cubicBezTo>
                    <a:pt x="1023" y="303"/>
                    <a:pt x="1049" y="285"/>
                    <a:pt x="1062" y="259"/>
                  </a:cubicBezTo>
                  <a:cubicBezTo>
                    <a:pt x="1068" y="247"/>
                    <a:pt x="1078" y="237"/>
                    <a:pt x="1088" y="225"/>
                  </a:cubicBezTo>
                  <a:cubicBezTo>
                    <a:pt x="1086" y="224"/>
                    <a:pt x="1084" y="224"/>
                    <a:pt x="1081" y="224"/>
                  </a:cubicBezTo>
                  <a:cubicBezTo>
                    <a:pt x="1062" y="221"/>
                    <a:pt x="1044" y="212"/>
                    <a:pt x="1034" y="190"/>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4" name="Freeform 25">
              <a:extLst>
                <a:ext uri="{FF2B5EF4-FFF2-40B4-BE49-F238E27FC236}">
                  <a16:creationId xmlns:a16="http://schemas.microsoft.com/office/drawing/2014/main" id="{336A176C-169A-A644-BC8B-3F3F5D075050}"/>
                </a:ext>
              </a:extLst>
            </p:cNvPr>
            <p:cNvSpPr>
              <a:spLocks/>
            </p:cNvSpPr>
            <p:nvPr/>
          </p:nvSpPr>
          <p:spPr bwMode="auto">
            <a:xfrm>
              <a:off x="3696" y="1645"/>
              <a:ext cx="410" cy="745"/>
            </a:xfrm>
            <a:custGeom>
              <a:avLst/>
              <a:gdLst>
                <a:gd name="T0" fmla="*/ 142 w 885"/>
                <a:gd name="T1" fmla="*/ 1606 h 1609"/>
                <a:gd name="T2" fmla="*/ 210 w 885"/>
                <a:gd name="T3" fmla="*/ 1575 h 1609"/>
                <a:gd name="T4" fmla="*/ 306 w 885"/>
                <a:gd name="T5" fmla="*/ 1527 h 1609"/>
                <a:gd name="T6" fmla="*/ 369 w 885"/>
                <a:gd name="T7" fmla="*/ 1504 h 1609"/>
                <a:gd name="T8" fmla="*/ 413 w 885"/>
                <a:gd name="T9" fmla="*/ 1460 h 1609"/>
                <a:gd name="T10" fmla="*/ 468 w 885"/>
                <a:gd name="T11" fmla="*/ 1451 h 1609"/>
                <a:gd name="T12" fmla="*/ 494 w 885"/>
                <a:gd name="T13" fmla="*/ 1410 h 1609"/>
                <a:gd name="T14" fmla="*/ 572 w 885"/>
                <a:gd name="T15" fmla="*/ 1397 h 1609"/>
                <a:gd name="T16" fmla="*/ 623 w 885"/>
                <a:gd name="T17" fmla="*/ 1380 h 1609"/>
                <a:gd name="T18" fmla="*/ 671 w 885"/>
                <a:gd name="T19" fmla="*/ 1382 h 1609"/>
                <a:gd name="T20" fmla="*/ 717 w 885"/>
                <a:gd name="T21" fmla="*/ 1349 h 1609"/>
                <a:gd name="T22" fmla="*/ 786 w 885"/>
                <a:gd name="T23" fmla="*/ 1297 h 1609"/>
                <a:gd name="T24" fmla="*/ 795 w 885"/>
                <a:gd name="T25" fmla="*/ 1236 h 1609"/>
                <a:gd name="T26" fmla="*/ 802 w 885"/>
                <a:gd name="T27" fmla="*/ 1158 h 1609"/>
                <a:gd name="T28" fmla="*/ 784 w 885"/>
                <a:gd name="T29" fmla="*/ 1082 h 1609"/>
                <a:gd name="T30" fmla="*/ 752 w 885"/>
                <a:gd name="T31" fmla="*/ 1000 h 1609"/>
                <a:gd name="T32" fmla="*/ 793 w 885"/>
                <a:gd name="T33" fmla="*/ 939 h 1609"/>
                <a:gd name="T34" fmla="*/ 808 w 885"/>
                <a:gd name="T35" fmla="*/ 869 h 1609"/>
                <a:gd name="T36" fmla="*/ 843 w 885"/>
                <a:gd name="T37" fmla="*/ 798 h 1609"/>
                <a:gd name="T38" fmla="*/ 821 w 885"/>
                <a:gd name="T39" fmla="*/ 737 h 1609"/>
                <a:gd name="T40" fmla="*/ 784 w 885"/>
                <a:gd name="T41" fmla="*/ 687 h 1609"/>
                <a:gd name="T42" fmla="*/ 745 w 885"/>
                <a:gd name="T43" fmla="*/ 645 h 1609"/>
                <a:gd name="T44" fmla="*/ 695 w 885"/>
                <a:gd name="T45" fmla="*/ 570 h 1609"/>
                <a:gd name="T46" fmla="*/ 734 w 885"/>
                <a:gd name="T47" fmla="*/ 509 h 1609"/>
                <a:gd name="T48" fmla="*/ 734 w 885"/>
                <a:gd name="T49" fmla="*/ 463 h 1609"/>
                <a:gd name="T50" fmla="*/ 749 w 885"/>
                <a:gd name="T51" fmla="*/ 409 h 1609"/>
                <a:gd name="T52" fmla="*/ 826 w 885"/>
                <a:gd name="T53" fmla="*/ 407 h 1609"/>
                <a:gd name="T54" fmla="*/ 861 w 885"/>
                <a:gd name="T55" fmla="*/ 354 h 1609"/>
                <a:gd name="T56" fmla="*/ 863 w 885"/>
                <a:gd name="T57" fmla="*/ 287 h 1609"/>
                <a:gd name="T58" fmla="*/ 841 w 885"/>
                <a:gd name="T59" fmla="*/ 241 h 1609"/>
                <a:gd name="T60" fmla="*/ 817 w 885"/>
                <a:gd name="T61" fmla="*/ 205 h 1609"/>
                <a:gd name="T62" fmla="*/ 743 w 885"/>
                <a:gd name="T63" fmla="*/ 165 h 1609"/>
                <a:gd name="T64" fmla="*/ 778 w 885"/>
                <a:gd name="T65" fmla="*/ 131 h 1609"/>
                <a:gd name="T66" fmla="*/ 826 w 885"/>
                <a:gd name="T67" fmla="*/ 96 h 1609"/>
                <a:gd name="T68" fmla="*/ 780 w 885"/>
                <a:gd name="T69" fmla="*/ 65 h 1609"/>
                <a:gd name="T70" fmla="*/ 740 w 885"/>
                <a:gd name="T71" fmla="*/ 0 h 1609"/>
                <a:gd name="T72" fmla="*/ 723 w 885"/>
                <a:gd name="T73" fmla="*/ 66 h 1609"/>
                <a:gd name="T74" fmla="*/ 649 w 885"/>
                <a:gd name="T75" fmla="*/ 85 h 1609"/>
                <a:gd name="T76" fmla="*/ 588 w 885"/>
                <a:gd name="T77" fmla="*/ 115 h 1609"/>
                <a:gd name="T78" fmla="*/ 531 w 885"/>
                <a:gd name="T79" fmla="*/ 100 h 1609"/>
                <a:gd name="T80" fmla="*/ 465 w 885"/>
                <a:gd name="T81" fmla="*/ 159 h 1609"/>
                <a:gd name="T82" fmla="*/ 361 w 885"/>
                <a:gd name="T83" fmla="*/ 159 h 1609"/>
                <a:gd name="T84" fmla="*/ 308 w 885"/>
                <a:gd name="T85" fmla="*/ 293 h 1609"/>
                <a:gd name="T86" fmla="*/ 256 w 885"/>
                <a:gd name="T87" fmla="*/ 330 h 1609"/>
                <a:gd name="T88" fmla="*/ 203 w 885"/>
                <a:gd name="T89" fmla="*/ 333 h 1609"/>
                <a:gd name="T90" fmla="*/ 164 w 885"/>
                <a:gd name="T91" fmla="*/ 389 h 1609"/>
                <a:gd name="T92" fmla="*/ 109 w 885"/>
                <a:gd name="T93" fmla="*/ 346 h 1609"/>
                <a:gd name="T94" fmla="*/ 151 w 885"/>
                <a:gd name="T95" fmla="*/ 411 h 1609"/>
                <a:gd name="T96" fmla="*/ 142 w 885"/>
                <a:gd name="T97" fmla="*/ 478 h 1609"/>
                <a:gd name="T98" fmla="*/ 118 w 885"/>
                <a:gd name="T99" fmla="*/ 545 h 1609"/>
                <a:gd name="T100" fmla="*/ 105 w 885"/>
                <a:gd name="T101" fmla="*/ 626 h 1609"/>
                <a:gd name="T102" fmla="*/ 40 w 885"/>
                <a:gd name="T103" fmla="*/ 706 h 1609"/>
                <a:gd name="T104" fmla="*/ 99 w 885"/>
                <a:gd name="T105" fmla="*/ 832 h 1609"/>
                <a:gd name="T106" fmla="*/ 96 w 885"/>
                <a:gd name="T107" fmla="*/ 886 h 1609"/>
                <a:gd name="T108" fmla="*/ 99 w 885"/>
                <a:gd name="T109" fmla="*/ 936 h 1609"/>
                <a:gd name="T110" fmla="*/ 59 w 885"/>
                <a:gd name="T111" fmla="*/ 984 h 1609"/>
                <a:gd name="T112" fmla="*/ 55 w 885"/>
                <a:gd name="T113" fmla="*/ 1073 h 1609"/>
                <a:gd name="T114" fmla="*/ 74 w 885"/>
                <a:gd name="T115" fmla="*/ 1199 h 1609"/>
                <a:gd name="T116" fmla="*/ 116 w 885"/>
                <a:gd name="T117" fmla="*/ 1303 h 1609"/>
                <a:gd name="T118" fmla="*/ 92 w 885"/>
                <a:gd name="T119" fmla="*/ 1421 h 1609"/>
                <a:gd name="T120" fmla="*/ 64 w 885"/>
                <a:gd name="T121" fmla="*/ 1547 h 1609"/>
                <a:gd name="T122" fmla="*/ 72 w 885"/>
                <a:gd name="T123" fmla="*/ 1606 h 1609"/>
                <a:gd name="T124" fmla="*/ 142 w 885"/>
                <a:gd name="T125" fmla="*/ 160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5" h="1609">
                  <a:moveTo>
                    <a:pt x="142" y="1606"/>
                  </a:moveTo>
                  <a:cubicBezTo>
                    <a:pt x="175" y="1603"/>
                    <a:pt x="177" y="1597"/>
                    <a:pt x="210" y="1575"/>
                  </a:cubicBezTo>
                  <a:cubicBezTo>
                    <a:pt x="243" y="1553"/>
                    <a:pt x="265" y="1523"/>
                    <a:pt x="306" y="1527"/>
                  </a:cubicBezTo>
                  <a:cubicBezTo>
                    <a:pt x="347" y="1530"/>
                    <a:pt x="358" y="1519"/>
                    <a:pt x="369" y="1504"/>
                  </a:cubicBezTo>
                  <a:cubicBezTo>
                    <a:pt x="380" y="1490"/>
                    <a:pt x="387" y="1460"/>
                    <a:pt x="413" y="1460"/>
                  </a:cubicBezTo>
                  <a:cubicBezTo>
                    <a:pt x="439" y="1460"/>
                    <a:pt x="463" y="1469"/>
                    <a:pt x="468" y="1451"/>
                  </a:cubicBezTo>
                  <a:cubicBezTo>
                    <a:pt x="472" y="1432"/>
                    <a:pt x="459" y="1408"/>
                    <a:pt x="494" y="1410"/>
                  </a:cubicBezTo>
                  <a:cubicBezTo>
                    <a:pt x="529" y="1412"/>
                    <a:pt x="553" y="1404"/>
                    <a:pt x="572" y="1397"/>
                  </a:cubicBezTo>
                  <a:cubicBezTo>
                    <a:pt x="592" y="1390"/>
                    <a:pt x="612" y="1367"/>
                    <a:pt x="623" y="1380"/>
                  </a:cubicBezTo>
                  <a:cubicBezTo>
                    <a:pt x="634" y="1393"/>
                    <a:pt x="658" y="1399"/>
                    <a:pt x="671" y="1382"/>
                  </a:cubicBezTo>
                  <a:cubicBezTo>
                    <a:pt x="684" y="1366"/>
                    <a:pt x="682" y="1351"/>
                    <a:pt x="717" y="1349"/>
                  </a:cubicBezTo>
                  <a:cubicBezTo>
                    <a:pt x="752" y="1347"/>
                    <a:pt x="769" y="1321"/>
                    <a:pt x="786" y="1297"/>
                  </a:cubicBezTo>
                  <a:cubicBezTo>
                    <a:pt x="804" y="1273"/>
                    <a:pt x="808" y="1245"/>
                    <a:pt x="795" y="1236"/>
                  </a:cubicBezTo>
                  <a:cubicBezTo>
                    <a:pt x="782" y="1227"/>
                    <a:pt x="817" y="1186"/>
                    <a:pt x="802" y="1158"/>
                  </a:cubicBezTo>
                  <a:cubicBezTo>
                    <a:pt x="786" y="1130"/>
                    <a:pt x="826" y="1110"/>
                    <a:pt x="784" y="1082"/>
                  </a:cubicBezTo>
                  <a:cubicBezTo>
                    <a:pt x="743" y="1054"/>
                    <a:pt x="723" y="1021"/>
                    <a:pt x="752" y="1000"/>
                  </a:cubicBezTo>
                  <a:cubicBezTo>
                    <a:pt x="780" y="980"/>
                    <a:pt x="797" y="980"/>
                    <a:pt x="793" y="939"/>
                  </a:cubicBezTo>
                  <a:cubicBezTo>
                    <a:pt x="789" y="899"/>
                    <a:pt x="784" y="900"/>
                    <a:pt x="808" y="869"/>
                  </a:cubicBezTo>
                  <a:cubicBezTo>
                    <a:pt x="832" y="837"/>
                    <a:pt x="841" y="823"/>
                    <a:pt x="843" y="798"/>
                  </a:cubicBezTo>
                  <a:cubicBezTo>
                    <a:pt x="845" y="774"/>
                    <a:pt x="843" y="756"/>
                    <a:pt x="821" y="737"/>
                  </a:cubicBezTo>
                  <a:cubicBezTo>
                    <a:pt x="800" y="719"/>
                    <a:pt x="784" y="706"/>
                    <a:pt x="784" y="687"/>
                  </a:cubicBezTo>
                  <a:cubicBezTo>
                    <a:pt x="784" y="669"/>
                    <a:pt x="782" y="656"/>
                    <a:pt x="745" y="645"/>
                  </a:cubicBezTo>
                  <a:cubicBezTo>
                    <a:pt x="708" y="633"/>
                    <a:pt x="684" y="609"/>
                    <a:pt x="695" y="570"/>
                  </a:cubicBezTo>
                  <a:cubicBezTo>
                    <a:pt x="706" y="532"/>
                    <a:pt x="734" y="543"/>
                    <a:pt x="734" y="509"/>
                  </a:cubicBezTo>
                  <a:cubicBezTo>
                    <a:pt x="734" y="476"/>
                    <a:pt x="734" y="480"/>
                    <a:pt x="734" y="463"/>
                  </a:cubicBezTo>
                  <a:cubicBezTo>
                    <a:pt x="734" y="446"/>
                    <a:pt x="719" y="398"/>
                    <a:pt x="749" y="409"/>
                  </a:cubicBezTo>
                  <a:cubicBezTo>
                    <a:pt x="780" y="420"/>
                    <a:pt x="806" y="433"/>
                    <a:pt x="826" y="407"/>
                  </a:cubicBezTo>
                  <a:cubicBezTo>
                    <a:pt x="845" y="381"/>
                    <a:pt x="856" y="370"/>
                    <a:pt x="861" y="354"/>
                  </a:cubicBezTo>
                  <a:cubicBezTo>
                    <a:pt x="865" y="337"/>
                    <a:pt x="885" y="313"/>
                    <a:pt x="863" y="287"/>
                  </a:cubicBezTo>
                  <a:cubicBezTo>
                    <a:pt x="841" y="261"/>
                    <a:pt x="841" y="257"/>
                    <a:pt x="841" y="241"/>
                  </a:cubicBezTo>
                  <a:cubicBezTo>
                    <a:pt x="841" y="224"/>
                    <a:pt x="848" y="205"/>
                    <a:pt x="817" y="205"/>
                  </a:cubicBezTo>
                  <a:cubicBezTo>
                    <a:pt x="786" y="205"/>
                    <a:pt x="708" y="198"/>
                    <a:pt x="743" y="165"/>
                  </a:cubicBezTo>
                  <a:cubicBezTo>
                    <a:pt x="778" y="131"/>
                    <a:pt x="747" y="139"/>
                    <a:pt x="778" y="131"/>
                  </a:cubicBezTo>
                  <a:cubicBezTo>
                    <a:pt x="808" y="124"/>
                    <a:pt x="841" y="124"/>
                    <a:pt x="826" y="96"/>
                  </a:cubicBezTo>
                  <a:cubicBezTo>
                    <a:pt x="811" y="68"/>
                    <a:pt x="784" y="89"/>
                    <a:pt x="780" y="65"/>
                  </a:cubicBezTo>
                  <a:cubicBezTo>
                    <a:pt x="776" y="43"/>
                    <a:pt x="776" y="14"/>
                    <a:pt x="740" y="0"/>
                  </a:cubicBezTo>
                  <a:cubicBezTo>
                    <a:pt x="741" y="21"/>
                    <a:pt x="753" y="60"/>
                    <a:pt x="723" y="66"/>
                  </a:cubicBezTo>
                  <a:cubicBezTo>
                    <a:pt x="688" y="74"/>
                    <a:pt x="653" y="59"/>
                    <a:pt x="649" y="85"/>
                  </a:cubicBezTo>
                  <a:cubicBezTo>
                    <a:pt x="645" y="111"/>
                    <a:pt x="610" y="133"/>
                    <a:pt x="588" y="115"/>
                  </a:cubicBezTo>
                  <a:cubicBezTo>
                    <a:pt x="566" y="96"/>
                    <a:pt x="544" y="74"/>
                    <a:pt x="531" y="100"/>
                  </a:cubicBezTo>
                  <a:cubicBezTo>
                    <a:pt x="518" y="126"/>
                    <a:pt x="500" y="174"/>
                    <a:pt x="465" y="159"/>
                  </a:cubicBezTo>
                  <a:cubicBezTo>
                    <a:pt x="430" y="144"/>
                    <a:pt x="378" y="133"/>
                    <a:pt x="361" y="159"/>
                  </a:cubicBezTo>
                  <a:cubicBezTo>
                    <a:pt x="343" y="185"/>
                    <a:pt x="317" y="267"/>
                    <a:pt x="308" y="293"/>
                  </a:cubicBezTo>
                  <a:cubicBezTo>
                    <a:pt x="299" y="318"/>
                    <a:pt x="269" y="337"/>
                    <a:pt x="256" y="330"/>
                  </a:cubicBezTo>
                  <a:cubicBezTo>
                    <a:pt x="243" y="322"/>
                    <a:pt x="203" y="296"/>
                    <a:pt x="203" y="333"/>
                  </a:cubicBezTo>
                  <a:cubicBezTo>
                    <a:pt x="203" y="370"/>
                    <a:pt x="208" y="407"/>
                    <a:pt x="164" y="389"/>
                  </a:cubicBezTo>
                  <a:cubicBezTo>
                    <a:pt x="133" y="376"/>
                    <a:pt x="124" y="344"/>
                    <a:pt x="109" y="346"/>
                  </a:cubicBezTo>
                  <a:cubicBezTo>
                    <a:pt x="118" y="371"/>
                    <a:pt x="139" y="397"/>
                    <a:pt x="151" y="411"/>
                  </a:cubicBezTo>
                  <a:cubicBezTo>
                    <a:pt x="166" y="430"/>
                    <a:pt x="157" y="461"/>
                    <a:pt x="142" y="478"/>
                  </a:cubicBezTo>
                  <a:cubicBezTo>
                    <a:pt x="127" y="494"/>
                    <a:pt x="125" y="507"/>
                    <a:pt x="118" y="545"/>
                  </a:cubicBezTo>
                  <a:cubicBezTo>
                    <a:pt x="112" y="582"/>
                    <a:pt x="107" y="578"/>
                    <a:pt x="105" y="626"/>
                  </a:cubicBezTo>
                  <a:cubicBezTo>
                    <a:pt x="103" y="674"/>
                    <a:pt x="79" y="671"/>
                    <a:pt x="40" y="706"/>
                  </a:cubicBezTo>
                  <a:cubicBezTo>
                    <a:pt x="0" y="741"/>
                    <a:pt x="83" y="813"/>
                    <a:pt x="99" y="832"/>
                  </a:cubicBezTo>
                  <a:cubicBezTo>
                    <a:pt x="114" y="850"/>
                    <a:pt x="116" y="869"/>
                    <a:pt x="96" y="886"/>
                  </a:cubicBezTo>
                  <a:cubicBezTo>
                    <a:pt x="77" y="902"/>
                    <a:pt x="79" y="908"/>
                    <a:pt x="99" y="936"/>
                  </a:cubicBezTo>
                  <a:cubicBezTo>
                    <a:pt x="118" y="963"/>
                    <a:pt x="74" y="958"/>
                    <a:pt x="59" y="984"/>
                  </a:cubicBezTo>
                  <a:cubicBezTo>
                    <a:pt x="44" y="1010"/>
                    <a:pt x="29" y="1047"/>
                    <a:pt x="55" y="1073"/>
                  </a:cubicBezTo>
                  <a:cubicBezTo>
                    <a:pt x="81" y="1099"/>
                    <a:pt x="74" y="1164"/>
                    <a:pt x="74" y="1199"/>
                  </a:cubicBezTo>
                  <a:cubicBezTo>
                    <a:pt x="74" y="1234"/>
                    <a:pt x="90" y="1243"/>
                    <a:pt x="116" y="1303"/>
                  </a:cubicBezTo>
                  <a:cubicBezTo>
                    <a:pt x="142" y="1362"/>
                    <a:pt x="107" y="1386"/>
                    <a:pt x="92" y="1421"/>
                  </a:cubicBezTo>
                  <a:cubicBezTo>
                    <a:pt x="77" y="1456"/>
                    <a:pt x="61" y="1492"/>
                    <a:pt x="64" y="1547"/>
                  </a:cubicBezTo>
                  <a:cubicBezTo>
                    <a:pt x="65" y="1571"/>
                    <a:pt x="67" y="1590"/>
                    <a:pt x="72" y="1606"/>
                  </a:cubicBezTo>
                  <a:cubicBezTo>
                    <a:pt x="94" y="1608"/>
                    <a:pt x="123" y="1609"/>
                    <a:pt x="142" y="160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5" name="Freeform 26">
              <a:extLst>
                <a:ext uri="{FF2B5EF4-FFF2-40B4-BE49-F238E27FC236}">
                  <a16:creationId xmlns:a16="http://schemas.microsoft.com/office/drawing/2014/main" id="{4E0875F8-4307-F240-A64D-5AEAA8E24316}"/>
                </a:ext>
              </a:extLst>
            </p:cNvPr>
            <p:cNvSpPr>
              <a:spLocks/>
            </p:cNvSpPr>
            <p:nvPr/>
          </p:nvSpPr>
          <p:spPr bwMode="auto">
            <a:xfrm>
              <a:off x="3730" y="2139"/>
              <a:ext cx="699" cy="563"/>
            </a:xfrm>
            <a:custGeom>
              <a:avLst/>
              <a:gdLst>
                <a:gd name="T0" fmla="*/ 1378 w 1510"/>
                <a:gd name="T1" fmla="*/ 1097 h 1217"/>
                <a:gd name="T2" fmla="*/ 1389 w 1510"/>
                <a:gd name="T3" fmla="*/ 986 h 1217"/>
                <a:gd name="T4" fmla="*/ 1344 w 1510"/>
                <a:gd name="T5" fmla="*/ 936 h 1217"/>
                <a:gd name="T6" fmla="*/ 1241 w 1510"/>
                <a:gd name="T7" fmla="*/ 927 h 1217"/>
                <a:gd name="T8" fmla="*/ 1175 w 1510"/>
                <a:gd name="T9" fmla="*/ 854 h 1217"/>
                <a:gd name="T10" fmla="*/ 1156 w 1510"/>
                <a:gd name="T11" fmla="*/ 808 h 1217"/>
                <a:gd name="T12" fmla="*/ 1217 w 1510"/>
                <a:gd name="T13" fmla="*/ 682 h 1217"/>
                <a:gd name="T14" fmla="*/ 1256 w 1510"/>
                <a:gd name="T15" fmla="*/ 610 h 1217"/>
                <a:gd name="T16" fmla="*/ 1315 w 1510"/>
                <a:gd name="T17" fmla="*/ 558 h 1217"/>
                <a:gd name="T18" fmla="*/ 1424 w 1510"/>
                <a:gd name="T19" fmla="*/ 615 h 1217"/>
                <a:gd name="T20" fmla="*/ 1490 w 1510"/>
                <a:gd name="T21" fmla="*/ 538 h 1217"/>
                <a:gd name="T22" fmla="*/ 1424 w 1510"/>
                <a:gd name="T23" fmla="*/ 465 h 1217"/>
                <a:gd name="T24" fmla="*/ 1330 w 1510"/>
                <a:gd name="T25" fmla="*/ 397 h 1217"/>
                <a:gd name="T26" fmla="*/ 1182 w 1510"/>
                <a:gd name="T27" fmla="*/ 397 h 1217"/>
                <a:gd name="T28" fmla="*/ 1053 w 1510"/>
                <a:gd name="T29" fmla="*/ 330 h 1217"/>
                <a:gd name="T30" fmla="*/ 1090 w 1510"/>
                <a:gd name="T31" fmla="*/ 239 h 1217"/>
                <a:gd name="T32" fmla="*/ 1230 w 1510"/>
                <a:gd name="T33" fmla="*/ 84 h 1217"/>
                <a:gd name="T34" fmla="*/ 1114 w 1510"/>
                <a:gd name="T35" fmla="*/ 102 h 1217"/>
                <a:gd name="T36" fmla="*/ 1036 w 1510"/>
                <a:gd name="T37" fmla="*/ 50 h 1217"/>
                <a:gd name="T38" fmla="*/ 950 w 1510"/>
                <a:gd name="T39" fmla="*/ 56 h 1217"/>
                <a:gd name="T40" fmla="*/ 811 w 1510"/>
                <a:gd name="T41" fmla="*/ 33 h 1217"/>
                <a:gd name="T42" fmla="*/ 730 w 1510"/>
                <a:gd name="T43" fmla="*/ 91 h 1217"/>
                <a:gd name="T44" fmla="*/ 714 w 1510"/>
                <a:gd name="T45" fmla="*/ 230 h 1217"/>
                <a:gd name="T46" fmla="*/ 599 w 1510"/>
                <a:gd name="T47" fmla="*/ 315 h 1217"/>
                <a:gd name="T48" fmla="*/ 500 w 1510"/>
                <a:gd name="T49" fmla="*/ 330 h 1217"/>
                <a:gd name="T50" fmla="*/ 396 w 1510"/>
                <a:gd name="T51" fmla="*/ 384 h 1217"/>
                <a:gd name="T52" fmla="*/ 297 w 1510"/>
                <a:gd name="T53" fmla="*/ 437 h 1217"/>
                <a:gd name="T54" fmla="*/ 138 w 1510"/>
                <a:gd name="T55" fmla="*/ 508 h 1217"/>
                <a:gd name="T56" fmla="*/ 0 w 1510"/>
                <a:gd name="T57" fmla="*/ 539 h 1217"/>
                <a:gd name="T58" fmla="*/ 88 w 1510"/>
                <a:gd name="T59" fmla="*/ 684 h 1217"/>
                <a:gd name="T60" fmla="*/ 189 w 1510"/>
                <a:gd name="T61" fmla="*/ 852 h 1217"/>
                <a:gd name="T62" fmla="*/ 377 w 1510"/>
                <a:gd name="T63" fmla="*/ 1009 h 1217"/>
                <a:gd name="T64" fmla="*/ 542 w 1510"/>
                <a:gd name="T65" fmla="*/ 1057 h 1217"/>
                <a:gd name="T66" fmla="*/ 710 w 1510"/>
                <a:gd name="T67" fmla="*/ 1024 h 1217"/>
                <a:gd name="T68" fmla="*/ 805 w 1510"/>
                <a:gd name="T69" fmla="*/ 1056 h 1217"/>
                <a:gd name="T70" fmla="*/ 889 w 1510"/>
                <a:gd name="T71" fmla="*/ 1047 h 1217"/>
                <a:gd name="T72" fmla="*/ 927 w 1510"/>
                <a:gd name="T73" fmla="*/ 1145 h 1217"/>
                <a:gd name="T74" fmla="*/ 1030 w 1510"/>
                <a:gd name="T75" fmla="*/ 1129 h 1217"/>
                <a:gd name="T76" fmla="*/ 1171 w 1510"/>
                <a:gd name="T77" fmla="*/ 1213 h 1217"/>
                <a:gd name="T78" fmla="*/ 1253 w 1510"/>
                <a:gd name="T79" fmla="*/ 1197 h 1217"/>
                <a:gd name="T80" fmla="*/ 1293 w 1510"/>
                <a:gd name="T81" fmla="*/ 1217 h 1217"/>
                <a:gd name="T82" fmla="*/ 1320 w 1510"/>
                <a:gd name="T83" fmla="*/ 1127 h 1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0" h="1217">
                  <a:moveTo>
                    <a:pt x="1320" y="1127"/>
                  </a:moveTo>
                  <a:cubicBezTo>
                    <a:pt x="1352" y="1118"/>
                    <a:pt x="1352" y="1105"/>
                    <a:pt x="1378" y="1097"/>
                  </a:cubicBezTo>
                  <a:cubicBezTo>
                    <a:pt x="1405" y="1090"/>
                    <a:pt x="1407" y="1092"/>
                    <a:pt x="1405" y="1062"/>
                  </a:cubicBezTo>
                  <a:cubicBezTo>
                    <a:pt x="1402" y="1032"/>
                    <a:pt x="1407" y="1012"/>
                    <a:pt x="1389" y="986"/>
                  </a:cubicBezTo>
                  <a:cubicBezTo>
                    <a:pt x="1372" y="960"/>
                    <a:pt x="1372" y="953"/>
                    <a:pt x="1372" y="942"/>
                  </a:cubicBezTo>
                  <a:cubicBezTo>
                    <a:pt x="1372" y="930"/>
                    <a:pt x="1376" y="892"/>
                    <a:pt x="1344" y="936"/>
                  </a:cubicBezTo>
                  <a:cubicBezTo>
                    <a:pt x="1311" y="980"/>
                    <a:pt x="1298" y="966"/>
                    <a:pt x="1285" y="955"/>
                  </a:cubicBezTo>
                  <a:cubicBezTo>
                    <a:pt x="1271" y="943"/>
                    <a:pt x="1261" y="921"/>
                    <a:pt x="1241" y="927"/>
                  </a:cubicBezTo>
                  <a:cubicBezTo>
                    <a:pt x="1221" y="932"/>
                    <a:pt x="1202" y="925"/>
                    <a:pt x="1202" y="905"/>
                  </a:cubicBezTo>
                  <a:cubicBezTo>
                    <a:pt x="1202" y="884"/>
                    <a:pt x="1212" y="860"/>
                    <a:pt x="1175" y="854"/>
                  </a:cubicBezTo>
                  <a:cubicBezTo>
                    <a:pt x="1138" y="849"/>
                    <a:pt x="1121" y="849"/>
                    <a:pt x="1119" y="823"/>
                  </a:cubicBezTo>
                  <a:cubicBezTo>
                    <a:pt x="1116" y="797"/>
                    <a:pt x="1132" y="806"/>
                    <a:pt x="1156" y="808"/>
                  </a:cubicBezTo>
                  <a:cubicBezTo>
                    <a:pt x="1180" y="810"/>
                    <a:pt x="1210" y="806"/>
                    <a:pt x="1215" y="775"/>
                  </a:cubicBezTo>
                  <a:cubicBezTo>
                    <a:pt x="1219" y="743"/>
                    <a:pt x="1182" y="684"/>
                    <a:pt x="1217" y="682"/>
                  </a:cubicBezTo>
                  <a:cubicBezTo>
                    <a:pt x="1252" y="680"/>
                    <a:pt x="1285" y="686"/>
                    <a:pt x="1267" y="662"/>
                  </a:cubicBezTo>
                  <a:cubicBezTo>
                    <a:pt x="1250" y="638"/>
                    <a:pt x="1271" y="630"/>
                    <a:pt x="1256" y="610"/>
                  </a:cubicBezTo>
                  <a:cubicBezTo>
                    <a:pt x="1241" y="589"/>
                    <a:pt x="1232" y="571"/>
                    <a:pt x="1252" y="565"/>
                  </a:cubicBezTo>
                  <a:cubicBezTo>
                    <a:pt x="1271" y="560"/>
                    <a:pt x="1291" y="536"/>
                    <a:pt x="1315" y="558"/>
                  </a:cubicBezTo>
                  <a:cubicBezTo>
                    <a:pt x="1339" y="580"/>
                    <a:pt x="1357" y="575"/>
                    <a:pt x="1361" y="593"/>
                  </a:cubicBezTo>
                  <a:cubicBezTo>
                    <a:pt x="1365" y="612"/>
                    <a:pt x="1411" y="625"/>
                    <a:pt x="1424" y="615"/>
                  </a:cubicBezTo>
                  <a:cubicBezTo>
                    <a:pt x="1437" y="606"/>
                    <a:pt x="1422" y="591"/>
                    <a:pt x="1453" y="580"/>
                  </a:cubicBezTo>
                  <a:cubicBezTo>
                    <a:pt x="1483" y="569"/>
                    <a:pt x="1510" y="558"/>
                    <a:pt x="1490" y="538"/>
                  </a:cubicBezTo>
                  <a:cubicBezTo>
                    <a:pt x="1470" y="517"/>
                    <a:pt x="1464" y="512"/>
                    <a:pt x="1464" y="495"/>
                  </a:cubicBezTo>
                  <a:cubicBezTo>
                    <a:pt x="1464" y="478"/>
                    <a:pt x="1457" y="465"/>
                    <a:pt x="1424" y="465"/>
                  </a:cubicBezTo>
                  <a:cubicBezTo>
                    <a:pt x="1392" y="465"/>
                    <a:pt x="1378" y="458"/>
                    <a:pt x="1368" y="443"/>
                  </a:cubicBezTo>
                  <a:cubicBezTo>
                    <a:pt x="1357" y="428"/>
                    <a:pt x="1363" y="393"/>
                    <a:pt x="1330" y="397"/>
                  </a:cubicBezTo>
                  <a:cubicBezTo>
                    <a:pt x="1298" y="400"/>
                    <a:pt x="1282" y="432"/>
                    <a:pt x="1243" y="423"/>
                  </a:cubicBezTo>
                  <a:cubicBezTo>
                    <a:pt x="1204" y="413"/>
                    <a:pt x="1191" y="412"/>
                    <a:pt x="1182" y="397"/>
                  </a:cubicBezTo>
                  <a:cubicBezTo>
                    <a:pt x="1173" y="382"/>
                    <a:pt x="1173" y="369"/>
                    <a:pt x="1136" y="356"/>
                  </a:cubicBezTo>
                  <a:cubicBezTo>
                    <a:pt x="1099" y="343"/>
                    <a:pt x="1079" y="345"/>
                    <a:pt x="1053" y="330"/>
                  </a:cubicBezTo>
                  <a:cubicBezTo>
                    <a:pt x="1027" y="315"/>
                    <a:pt x="1031" y="308"/>
                    <a:pt x="1046" y="284"/>
                  </a:cubicBezTo>
                  <a:cubicBezTo>
                    <a:pt x="1062" y="260"/>
                    <a:pt x="1057" y="258"/>
                    <a:pt x="1090" y="239"/>
                  </a:cubicBezTo>
                  <a:cubicBezTo>
                    <a:pt x="1123" y="221"/>
                    <a:pt x="1132" y="187"/>
                    <a:pt x="1154" y="167"/>
                  </a:cubicBezTo>
                  <a:cubicBezTo>
                    <a:pt x="1175" y="147"/>
                    <a:pt x="1206" y="98"/>
                    <a:pt x="1230" y="84"/>
                  </a:cubicBezTo>
                  <a:cubicBezTo>
                    <a:pt x="1254" y="69"/>
                    <a:pt x="1300" y="0"/>
                    <a:pt x="1202" y="80"/>
                  </a:cubicBezTo>
                  <a:cubicBezTo>
                    <a:pt x="1167" y="91"/>
                    <a:pt x="1101" y="156"/>
                    <a:pt x="1114" y="102"/>
                  </a:cubicBezTo>
                  <a:cubicBezTo>
                    <a:pt x="1127" y="48"/>
                    <a:pt x="1145" y="48"/>
                    <a:pt x="1110" y="48"/>
                  </a:cubicBezTo>
                  <a:cubicBezTo>
                    <a:pt x="1075" y="48"/>
                    <a:pt x="1075" y="4"/>
                    <a:pt x="1036" y="50"/>
                  </a:cubicBezTo>
                  <a:cubicBezTo>
                    <a:pt x="1027" y="69"/>
                    <a:pt x="1016" y="72"/>
                    <a:pt x="994" y="63"/>
                  </a:cubicBezTo>
                  <a:cubicBezTo>
                    <a:pt x="972" y="54"/>
                    <a:pt x="977" y="50"/>
                    <a:pt x="950" y="56"/>
                  </a:cubicBezTo>
                  <a:cubicBezTo>
                    <a:pt x="924" y="61"/>
                    <a:pt x="920" y="59"/>
                    <a:pt x="887" y="54"/>
                  </a:cubicBezTo>
                  <a:cubicBezTo>
                    <a:pt x="854" y="48"/>
                    <a:pt x="835" y="37"/>
                    <a:pt x="811" y="33"/>
                  </a:cubicBezTo>
                  <a:cubicBezTo>
                    <a:pt x="794" y="31"/>
                    <a:pt x="760" y="23"/>
                    <a:pt x="727" y="29"/>
                  </a:cubicBezTo>
                  <a:cubicBezTo>
                    <a:pt x="741" y="50"/>
                    <a:pt x="717" y="68"/>
                    <a:pt x="730" y="91"/>
                  </a:cubicBezTo>
                  <a:cubicBezTo>
                    <a:pt x="745" y="119"/>
                    <a:pt x="710" y="160"/>
                    <a:pt x="723" y="169"/>
                  </a:cubicBezTo>
                  <a:cubicBezTo>
                    <a:pt x="736" y="178"/>
                    <a:pt x="732" y="206"/>
                    <a:pt x="714" y="230"/>
                  </a:cubicBezTo>
                  <a:cubicBezTo>
                    <a:pt x="697" y="254"/>
                    <a:pt x="680" y="280"/>
                    <a:pt x="645" y="282"/>
                  </a:cubicBezTo>
                  <a:cubicBezTo>
                    <a:pt x="610" y="284"/>
                    <a:pt x="612" y="299"/>
                    <a:pt x="599" y="315"/>
                  </a:cubicBezTo>
                  <a:cubicBezTo>
                    <a:pt x="586" y="332"/>
                    <a:pt x="562" y="326"/>
                    <a:pt x="551" y="313"/>
                  </a:cubicBezTo>
                  <a:cubicBezTo>
                    <a:pt x="540" y="300"/>
                    <a:pt x="520" y="323"/>
                    <a:pt x="500" y="330"/>
                  </a:cubicBezTo>
                  <a:cubicBezTo>
                    <a:pt x="481" y="337"/>
                    <a:pt x="457" y="345"/>
                    <a:pt x="422" y="343"/>
                  </a:cubicBezTo>
                  <a:cubicBezTo>
                    <a:pt x="387" y="341"/>
                    <a:pt x="400" y="365"/>
                    <a:pt x="396" y="384"/>
                  </a:cubicBezTo>
                  <a:cubicBezTo>
                    <a:pt x="391" y="402"/>
                    <a:pt x="367" y="393"/>
                    <a:pt x="341" y="393"/>
                  </a:cubicBezTo>
                  <a:cubicBezTo>
                    <a:pt x="315" y="393"/>
                    <a:pt x="308" y="423"/>
                    <a:pt x="297" y="437"/>
                  </a:cubicBezTo>
                  <a:cubicBezTo>
                    <a:pt x="286" y="452"/>
                    <a:pt x="275" y="463"/>
                    <a:pt x="234" y="460"/>
                  </a:cubicBezTo>
                  <a:cubicBezTo>
                    <a:pt x="193" y="456"/>
                    <a:pt x="171" y="486"/>
                    <a:pt x="138" y="508"/>
                  </a:cubicBezTo>
                  <a:cubicBezTo>
                    <a:pt x="105" y="530"/>
                    <a:pt x="103" y="536"/>
                    <a:pt x="70" y="539"/>
                  </a:cubicBezTo>
                  <a:cubicBezTo>
                    <a:pt x="51" y="542"/>
                    <a:pt x="22" y="541"/>
                    <a:pt x="0" y="539"/>
                  </a:cubicBezTo>
                  <a:cubicBezTo>
                    <a:pt x="6" y="561"/>
                    <a:pt x="16" y="577"/>
                    <a:pt x="31" y="593"/>
                  </a:cubicBezTo>
                  <a:cubicBezTo>
                    <a:pt x="57" y="621"/>
                    <a:pt x="72" y="639"/>
                    <a:pt x="88" y="684"/>
                  </a:cubicBezTo>
                  <a:cubicBezTo>
                    <a:pt x="103" y="728"/>
                    <a:pt x="177" y="778"/>
                    <a:pt x="195" y="806"/>
                  </a:cubicBezTo>
                  <a:cubicBezTo>
                    <a:pt x="207" y="825"/>
                    <a:pt x="201" y="839"/>
                    <a:pt x="189" y="852"/>
                  </a:cubicBezTo>
                  <a:cubicBezTo>
                    <a:pt x="228" y="879"/>
                    <a:pt x="269" y="936"/>
                    <a:pt x="284" y="955"/>
                  </a:cubicBezTo>
                  <a:cubicBezTo>
                    <a:pt x="302" y="979"/>
                    <a:pt x="354" y="1007"/>
                    <a:pt x="377" y="1009"/>
                  </a:cubicBezTo>
                  <a:cubicBezTo>
                    <a:pt x="400" y="1011"/>
                    <a:pt x="403" y="1023"/>
                    <a:pt x="452" y="1039"/>
                  </a:cubicBezTo>
                  <a:cubicBezTo>
                    <a:pt x="502" y="1055"/>
                    <a:pt x="505" y="1053"/>
                    <a:pt x="542" y="1057"/>
                  </a:cubicBezTo>
                  <a:cubicBezTo>
                    <a:pt x="579" y="1062"/>
                    <a:pt x="626" y="1055"/>
                    <a:pt x="650" y="1044"/>
                  </a:cubicBezTo>
                  <a:cubicBezTo>
                    <a:pt x="674" y="1034"/>
                    <a:pt x="685" y="1027"/>
                    <a:pt x="710" y="1024"/>
                  </a:cubicBezTo>
                  <a:cubicBezTo>
                    <a:pt x="735" y="1021"/>
                    <a:pt x="747" y="1025"/>
                    <a:pt x="760" y="1033"/>
                  </a:cubicBezTo>
                  <a:cubicBezTo>
                    <a:pt x="773" y="1042"/>
                    <a:pt x="773" y="1062"/>
                    <a:pt x="805" y="1056"/>
                  </a:cubicBezTo>
                  <a:cubicBezTo>
                    <a:pt x="837" y="1049"/>
                    <a:pt x="834" y="1018"/>
                    <a:pt x="853" y="1008"/>
                  </a:cubicBezTo>
                  <a:cubicBezTo>
                    <a:pt x="873" y="998"/>
                    <a:pt x="885" y="1031"/>
                    <a:pt x="889" y="1047"/>
                  </a:cubicBezTo>
                  <a:cubicBezTo>
                    <a:pt x="894" y="1064"/>
                    <a:pt x="888" y="1072"/>
                    <a:pt x="885" y="1094"/>
                  </a:cubicBezTo>
                  <a:cubicBezTo>
                    <a:pt x="882" y="1115"/>
                    <a:pt x="910" y="1131"/>
                    <a:pt x="927" y="1145"/>
                  </a:cubicBezTo>
                  <a:cubicBezTo>
                    <a:pt x="945" y="1160"/>
                    <a:pt x="959" y="1159"/>
                    <a:pt x="983" y="1148"/>
                  </a:cubicBezTo>
                  <a:cubicBezTo>
                    <a:pt x="1007" y="1137"/>
                    <a:pt x="1004" y="1124"/>
                    <a:pt x="1030" y="1129"/>
                  </a:cubicBezTo>
                  <a:cubicBezTo>
                    <a:pt x="1056" y="1133"/>
                    <a:pt x="1092" y="1184"/>
                    <a:pt x="1107" y="1197"/>
                  </a:cubicBezTo>
                  <a:cubicBezTo>
                    <a:pt x="1121" y="1210"/>
                    <a:pt x="1154" y="1215"/>
                    <a:pt x="1171" y="1213"/>
                  </a:cubicBezTo>
                  <a:cubicBezTo>
                    <a:pt x="1188" y="1211"/>
                    <a:pt x="1200" y="1212"/>
                    <a:pt x="1218" y="1190"/>
                  </a:cubicBezTo>
                  <a:cubicBezTo>
                    <a:pt x="1235" y="1168"/>
                    <a:pt x="1246" y="1189"/>
                    <a:pt x="1253" y="1197"/>
                  </a:cubicBezTo>
                  <a:cubicBezTo>
                    <a:pt x="1259" y="1206"/>
                    <a:pt x="1266" y="1214"/>
                    <a:pt x="1280" y="1212"/>
                  </a:cubicBezTo>
                  <a:cubicBezTo>
                    <a:pt x="1284" y="1212"/>
                    <a:pt x="1289" y="1213"/>
                    <a:pt x="1293" y="1217"/>
                  </a:cubicBezTo>
                  <a:cubicBezTo>
                    <a:pt x="1297" y="1206"/>
                    <a:pt x="1301" y="1191"/>
                    <a:pt x="1302" y="1177"/>
                  </a:cubicBezTo>
                  <a:cubicBezTo>
                    <a:pt x="1304" y="1147"/>
                    <a:pt x="1287" y="1136"/>
                    <a:pt x="1320" y="1127"/>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6" name="Freeform 27">
              <a:extLst>
                <a:ext uri="{FF2B5EF4-FFF2-40B4-BE49-F238E27FC236}">
                  <a16:creationId xmlns:a16="http://schemas.microsoft.com/office/drawing/2014/main" id="{96ACBA7F-5B18-B74C-B728-7C8F179DC2BC}"/>
                </a:ext>
              </a:extLst>
            </p:cNvPr>
            <p:cNvSpPr>
              <a:spLocks/>
            </p:cNvSpPr>
            <p:nvPr/>
          </p:nvSpPr>
          <p:spPr bwMode="auto">
            <a:xfrm>
              <a:off x="4247" y="2313"/>
              <a:ext cx="563" cy="589"/>
            </a:xfrm>
            <a:custGeom>
              <a:avLst/>
              <a:gdLst>
                <a:gd name="T0" fmla="*/ 240 w 1217"/>
                <a:gd name="T1" fmla="*/ 33 h 1271"/>
                <a:gd name="T2" fmla="*/ 308 w 1217"/>
                <a:gd name="T3" fmla="*/ 88 h 1271"/>
                <a:gd name="T4" fmla="*/ 374 w 1217"/>
                <a:gd name="T5" fmla="*/ 161 h 1271"/>
                <a:gd name="T6" fmla="*/ 308 w 1217"/>
                <a:gd name="T7" fmla="*/ 238 h 1271"/>
                <a:gd name="T8" fmla="*/ 199 w 1217"/>
                <a:gd name="T9" fmla="*/ 181 h 1271"/>
                <a:gd name="T10" fmla="*/ 140 w 1217"/>
                <a:gd name="T11" fmla="*/ 233 h 1271"/>
                <a:gd name="T12" fmla="*/ 101 w 1217"/>
                <a:gd name="T13" fmla="*/ 305 h 1271"/>
                <a:gd name="T14" fmla="*/ 40 w 1217"/>
                <a:gd name="T15" fmla="*/ 431 h 1271"/>
                <a:gd name="T16" fmla="*/ 59 w 1217"/>
                <a:gd name="T17" fmla="*/ 477 h 1271"/>
                <a:gd name="T18" fmla="*/ 125 w 1217"/>
                <a:gd name="T19" fmla="*/ 550 h 1271"/>
                <a:gd name="T20" fmla="*/ 228 w 1217"/>
                <a:gd name="T21" fmla="*/ 559 h 1271"/>
                <a:gd name="T22" fmla="*/ 273 w 1217"/>
                <a:gd name="T23" fmla="*/ 609 h 1271"/>
                <a:gd name="T24" fmla="*/ 262 w 1217"/>
                <a:gd name="T25" fmla="*/ 720 h 1271"/>
                <a:gd name="T26" fmla="*/ 186 w 1217"/>
                <a:gd name="T27" fmla="*/ 800 h 1271"/>
                <a:gd name="T28" fmla="*/ 207 w 1217"/>
                <a:gd name="T29" fmla="*/ 873 h 1271"/>
                <a:gd name="T30" fmla="*/ 280 w 1217"/>
                <a:gd name="T31" fmla="*/ 883 h 1271"/>
                <a:gd name="T32" fmla="*/ 321 w 1217"/>
                <a:gd name="T33" fmla="*/ 965 h 1271"/>
                <a:gd name="T34" fmla="*/ 389 w 1217"/>
                <a:gd name="T35" fmla="*/ 1135 h 1271"/>
                <a:gd name="T36" fmla="*/ 494 w 1217"/>
                <a:gd name="T37" fmla="*/ 1189 h 1271"/>
                <a:gd name="T38" fmla="*/ 597 w 1217"/>
                <a:gd name="T39" fmla="*/ 1161 h 1271"/>
                <a:gd name="T40" fmla="*/ 568 w 1217"/>
                <a:gd name="T41" fmla="*/ 1247 h 1271"/>
                <a:gd name="T42" fmla="*/ 688 w 1217"/>
                <a:gd name="T43" fmla="*/ 1165 h 1271"/>
                <a:gd name="T44" fmla="*/ 878 w 1217"/>
                <a:gd name="T45" fmla="*/ 1209 h 1271"/>
                <a:gd name="T46" fmla="*/ 942 w 1217"/>
                <a:gd name="T47" fmla="*/ 1241 h 1271"/>
                <a:gd name="T48" fmla="*/ 1009 w 1217"/>
                <a:gd name="T49" fmla="*/ 1181 h 1271"/>
                <a:gd name="T50" fmla="*/ 1070 w 1217"/>
                <a:gd name="T51" fmla="*/ 1079 h 1271"/>
                <a:gd name="T52" fmla="*/ 1065 w 1217"/>
                <a:gd name="T53" fmla="*/ 992 h 1271"/>
                <a:gd name="T54" fmla="*/ 1175 w 1217"/>
                <a:gd name="T55" fmla="*/ 947 h 1271"/>
                <a:gd name="T56" fmla="*/ 1199 w 1217"/>
                <a:gd name="T57" fmla="*/ 803 h 1271"/>
                <a:gd name="T58" fmla="*/ 1081 w 1217"/>
                <a:gd name="T59" fmla="*/ 744 h 1271"/>
                <a:gd name="T60" fmla="*/ 991 w 1217"/>
                <a:gd name="T61" fmla="*/ 717 h 1271"/>
                <a:gd name="T62" fmla="*/ 906 w 1217"/>
                <a:gd name="T63" fmla="*/ 643 h 1271"/>
                <a:gd name="T64" fmla="*/ 872 w 1217"/>
                <a:gd name="T65" fmla="*/ 562 h 1271"/>
                <a:gd name="T66" fmla="*/ 888 w 1217"/>
                <a:gd name="T67" fmla="*/ 455 h 1271"/>
                <a:gd name="T68" fmla="*/ 1011 w 1217"/>
                <a:gd name="T69" fmla="*/ 444 h 1271"/>
                <a:gd name="T70" fmla="*/ 955 w 1217"/>
                <a:gd name="T71" fmla="*/ 338 h 1271"/>
                <a:gd name="T72" fmla="*/ 898 w 1217"/>
                <a:gd name="T73" fmla="*/ 402 h 1271"/>
                <a:gd name="T74" fmla="*/ 767 w 1217"/>
                <a:gd name="T75" fmla="*/ 315 h 1271"/>
                <a:gd name="T76" fmla="*/ 726 w 1217"/>
                <a:gd name="T77" fmla="*/ 243 h 1271"/>
                <a:gd name="T78" fmla="*/ 682 w 1217"/>
                <a:gd name="T79" fmla="*/ 180 h 1271"/>
                <a:gd name="T80" fmla="*/ 605 w 1217"/>
                <a:gd name="T81" fmla="*/ 138 h 1271"/>
                <a:gd name="T82" fmla="*/ 498 w 1217"/>
                <a:gd name="T83" fmla="*/ 98 h 1271"/>
                <a:gd name="T84" fmla="*/ 420 w 1217"/>
                <a:gd name="T85" fmla="*/ 72 h 1271"/>
                <a:gd name="T86" fmla="*/ 289 w 1217"/>
                <a:gd name="T87" fmla="*/ 5 h 1271"/>
                <a:gd name="T88" fmla="*/ 256 w 1217"/>
                <a:gd name="T89" fmla="*/ 26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7" h="1271">
                  <a:moveTo>
                    <a:pt x="256" y="26"/>
                  </a:moveTo>
                  <a:cubicBezTo>
                    <a:pt x="252" y="28"/>
                    <a:pt x="246" y="31"/>
                    <a:pt x="240" y="33"/>
                  </a:cubicBezTo>
                  <a:cubicBezTo>
                    <a:pt x="245" y="44"/>
                    <a:pt x="246" y="58"/>
                    <a:pt x="252" y="66"/>
                  </a:cubicBezTo>
                  <a:cubicBezTo>
                    <a:pt x="262" y="81"/>
                    <a:pt x="276" y="88"/>
                    <a:pt x="308" y="88"/>
                  </a:cubicBezTo>
                  <a:cubicBezTo>
                    <a:pt x="341" y="88"/>
                    <a:pt x="348" y="101"/>
                    <a:pt x="348" y="118"/>
                  </a:cubicBezTo>
                  <a:cubicBezTo>
                    <a:pt x="348" y="135"/>
                    <a:pt x="354" y="140"/>
                    <a:pt x="374" y="161"/>
                  </a:cubicBezTo>
                  <a:cubicBezTo>
                    <a:pt x="394" y="181"/>
                    <a:pt x="367" y="192"/>
                    <a:pt x="337" y="203"/>
                  </a:cubicBezTo>
                  <a:cubicBezTo>
                    <a:pt x="306" y="214"/>
                    <a:pt x="321" y="229"/>
                    <a:pt x="308" y="238"/>
                  </a:cubicBezTo>
                  <a:cubicBezTo>
                    <a:pt x="295" y="248"/>
                    <a:pt x="249" y="235"/>
                    <a:pt x="245" y="216"/>
                  </a:cubicBezTo>
                  <a:cubicBezTo>
                    <a:pt x="241" y="198"/>
                    <a:pt x="223" y="203"/>
                    <a:pt x="199" y="181"/>
                  </a:cubicBezTo>
                  <a:cubicBezTo>
                    <a:pt x="175" y="159"/>
                    <a:pt x="155" y="183"/>
                    <a:pt x="136" y="188"/>
                  </a:cubicBezTo>
                  <a:cubicBezTo>
                    <a:pt x="116" y="194"/>
                    <a:pt x="125" y="212"/>
                    <a:pt x="140" y="233"/>
                  </a:cubicBezTo>
                  <a:cubicBezTo>
                    <a:pt x="155" y="253"/>
                    <a:pt x="134" y="261"/>
                    <a:pt x="151" y="285"/>
                  </a:cubicBezTo>
                  <a:cubicBezTo>
                    <a:pt x="169" y="309"/>
                    <a:pt x="136" y="303"/>
                    <a:pt x="101" y="305"/>
                  </a:cubicBezTo>
                  <a:cubicBezTo>
                    <a:pt x="66" y="307"/>
                    <a:pt x="103" y="366"/>
                    <a:pt x="99" y="398"/>
                  </a:cubicBezTo>
                  <a:cubicBezTo>
                    <a:pt x="94" y="429"/>
                    <a:pt x="64" y="433"/>
                    <a:pt x="40" y="431"/>
                  </a:cubicBezTo>
                  <a:cubicBezTo>
                    <a:pt x="16" y="429"/>
                    <a:pt x="0" y="420"/>
                    <a:pt x="3" y="446"/>
                  </a:cubicBezTo>
                  <a:cubicBezTo>
                    <a:pt x="5" y="472"/>
                    <a:pt x="22" y="472"/>
                    <a:pt x="59" y="477"/>
                  </a:cubicBezTo>
                  <a:cubicBezTo>
                    <a:pt x="96" y="483"/>
                    <a:pt x="86" y="507"/>
                    <a:pt x="86" y="528"/>
                  </a:cubicBezTo>
                  <a:cubicBezTo>
                    <a:pt x="86" y="548"/>
                    <a:pt x="105" y="555"/>
                    <a:pt x="125" y="550"/>
                  </a:cubicBezTo>
                  <a:cubicBezTo>
                    <a:pt x="145" y="544"/>
                    <a:pt x="155" y="566"/>
                    <a:pt x="169" y="578"/>
                  </a:cubicBezTo>
                  <a:cubicBezTo>
                    <a:pt x="182" y="589"/>
                    <a:pt x="195" y="603"/>
                    <a:pt x="228" y="559"/>
                  </a:cubicBezTo>
                  <a:cubicBezTo>
                    <a:pt x="260" y="515"/>
                    <a:pt x="256" y="553"/>
                    <a:pt x="256" y="565"/>
                  </a:cubicBezTo>
                  <a:cubicBezTo>
                    <a:pt x="256" y="576"/>
                    <a:pt x="256" y="583"/>
                    <a:pt x="273" y="609"/>
                  </a:cubicBezTo>
                  <a:cubicBezTo>
                    <a:pt x="291" y="635"/>
                    <a:pt x="286" y="655"/>
                    <a:pt x="289" y="685"/>
                  </a:cubicBezTo>
                  <a:cubicBezTo>
                    <a:pt x="291" y="715"/>
                    <a:pt x="289" y="713"/>
                    <a:pt x="262" y="720"/>
                  </a:cubicBezTo>
                  <a:cubicBezTo>
                    <a:pt x="236" y="728"/>
                    <a:pt x="236" y="741"/>
                    <a:pt x="204" y="750"/>
                  </a:cubicBezTo>
                  <a:cubicBezTo>
                    <a:pt x="171" y="759"/>
                    <a:pt x="188" y="770"/>
                    <a:pt x="186" y="800"/>
                  </a:cubicBezTo>
                  <a:cubicBezTo>
                    <a:pt x="185" y="814"/>
                    <a:pt x="181" y="829"/>
                    <a:pt x="177" y="840"/>
                  </a:cubicBezTo>
                  <a:cubicBezTo>
                    <a:pt x="187" y="847"/>
                    <a:pt x="196" y="861"/>
                    <a:pt x="207" y="873"/>
                  </a:cubicBezTo>
                  <a:cubicBezTo>
                    <a:pt x="222" y="890"/>
                    <a:pt x="230" y="883"/>
                    <a:pt x="246" y="877"/>
                  </a:cubicBezTo>
                  <a:cubicBezTo>
                    <a:pt x="262" y="870"/>
                    <a:pt x="254" y="871"/>
                    <a:pt x="280" y="883"/>
                  </a:cubicBezTo>
                  <a:cubicBezTo>
                    <a:pt x="306" y="895"/>
                    <a:pt x="293" y="883"/>
                    <a:pt x="328" y="906"/>
                  </a:cubicBezTo>
                  <a:cubicBezTo>
                    <a:pt x="363" y="928"/>
                    <a:pt x="345" y="943"/>
                    <a:pt x="321" y="965"/>
                  </a:cubicBezTo>
                  <a:cubicBezTo>
                    <a:pt x="297" y="987"/>
                    <a:pt x="343" y="1006"/>
                    <a:pt x="339" y="1050"/>
                  </a:cubicBezTo>
                  <a:cubicBezTo>
                    <a:pt x="335" y="1095"/>
                    <a:pt x="367" y="1106"/>
                    <a:pt x="389" y="1135"/>
                  </a:cubicBezTo>
                  <a:cubicBezTo>
                    <a:pt x="411" y="1165"/>
                    <a:pt x="404" y="1184"/>
                    <a:pt x="424" y="1206"/>
                  </a:cubicBezTo>
                  <a:cubicBezTo>
                    <a:pt x="444" y="1228"/>
                    <a:pt x="470" y="1200"/>
                    <a:pt x="494" y="1189"/>
                  </a:cubicBezTo>
                  <a:cubicBezTo>
                    <a:pt x="518" y="1178"/>
                    <a:pt x="529" y="1150"/>
                    <a:pt x="546" y="1134"/>
                  </a:cubicBezTo>
                  <a:cubicBezTo>
                    <a:pt x="564" y="1117"/>
                    <a:pt x="586" y="1143"/>
                    <a:pt x="597" y="1161"/>
                  </a:cubicBezTo>
                  <a:cubicBezTo>
                    <a:pt x="608" y="1180"/>
                    <a:pt x="588" y="1195"/>
                    <a:pt x="573" y="1206"/>
                  </a:cubicBezTo>
                  <a:cubicBezTo>
                    <a:pt x="557" y="1217"/>
                    <a:pt x="542" y="1222"/>
                    <a:pt x="568" y="1247"/>
                  </a:cubicBezTo>
                  <a:cubicBezTo>
                    <a:pt x="594" y="1271"/>
                    <a:pt x="612" y="1241"/>
                    <a:pt x="634" y="1219"/>
                  </a:cubicBezTo>
                  <a:cubicBezTo>
                    <a:pt x="656" y="1197"/>
                    <a:pt x="649" y="1193"/>
                    <a:pt x="688" y="1165"/>
                  </a:cubicBezTo>
                  <a:cubicBezTo>
                    <a:pt x="728" y="1137"/>
                    <a:pt x="739" y="1193"/>
                    <a:pt x="769" y="1211"/>
                  </a:cubicBezTo>
                  <a:cubicBezTo>
                    <a:pt x="800" y="1230"/>
                    <a:pt x="848" y="1217"/>
                    <a:pt x="878" y="1209"/>
                  </a:cubicBezTo>
                  <a:cubicBezTo>
                    <a:pt x="909" y="1202"/>
                    <a:pt x="905" y="1219"/>
                    <a:pt x="935" y="1235"/>
                  </a:cubicBezTo>
                  <a:cubicBezTo>
                    <a:pt x="939" y="1237"/>
                    <a:pt x="941" y="1239"/>
                    <a:pt x="942" y="1241"/>
                  </a:cubicBezTo>
                  <a:cubicBezTo>
                    <a:pt x="956" y="1238"/>
                    <a:pt x="969" y="1232"/>
                    <a:pt x="973" y="1222"/>
                  </a:cubicBezTo>
                  <a:cubicBezTo>
                    <a:pt x="983" y="1200"/>
                    <a:pt x="995" y="1192"/>
                    <a:pt x="1009" y="1181"/>
                  </a:cubicBezTo>
                  <a:cubicBezTo>
                    <a:pt x="1024" y="1170"/>
                    <a:pt x="1049" y="1159"/>
                    <a:pt x="1052" y="1136"/>
                  </a:cubicBezTo>
                  <a:cubicBezTo>
                    <a:pt x="1055" y="1114"/>
                    <a:pt x="1057" y="1093"/>
                    <a:pt x="1070" y="1079"/>
                  </a:cubicBezTo>
                  <a:cubicBezTo>
                    <a:pt x="1083" y="1065"/>
                    <a:pt x="1096" y="1056"/>
                    <a:pt x="1083" y="1040"/>
                  </a:cubicBezTo>
                  <a:cubicBezTo>
                    <a:pt x="1070" y="1025"/>
                    <a:pt x="1029" y="1000"/>
                    <a:pt x="1065" y="992"/>
                  </a:cubicBezTo>
                  <a:cubicBezTo>
                    <a:pt x="1101" y="983"/>
                    <a:pt x="1113" y="982"/>
                    <a:pt x="1132" y="975"/>
                  </a:cubicBezTo>
                  <a:cubicBezTo>
                    <a:pt x="1152" y="968"/>
                    <a:pt x="1190" y="967"/>
                    <a:pt x="1175" y="947"/>
                  </a:cubicBezTo>
                  <a:cubicBezTo>
                    <a:pt x="1160" y="928"/>
                    <a:pt x="1132" y="915"/>
                    <a:pt x="1157" y="894"/>
                  </a:cubicBezTo>
                  <a:cubicBezTo>
                    <a:pt x="1181" y="874"/>
                    <a:pt x="1217" y="833"/>
                    <a:pt x="1199" y="803"/>
                  </a:cubicBezTo>
                  <a:cubicBezTo>
                    <a:pt x="1181" y="772"/>
                    <a:pt x="1190" y="760"/>
                    <a:pt x="1162" y="758"/>
                  </a:cubicBezTo>
                  <a:cubicBezTo>
                    <a:pt x="1134" y="757"/>
                    <a:pt x="1118" y="715"/>
                    <a:pt x="1081" y="744"/>
                  </a:cubicBezTo>
                  <a:cubicBezTo>
                    <a:pt x="1045" y="774"/>
                    <a:pt x="1011" y="776"/>
                    <a:pt x="998" y="764"/>
                  </a:cubicBezTo>
                  <a:cubicBezTo>
                    <a:pt x="985" y="751"/>
                    <a:pt x="986" y="742"/>
                    <a:pt x="991" y="717"/>
                  </a:cubicBezTo>
                  <a:cubicBezTo>
                    <a:pt x="996" y="692"/>
                    <a:pt x="1011" y="683"/>
                    <a:pt x="978" y="671"/>
                  </a:cubicBezTo>
                  <a:cubicBezTo>
                    <a:pt x="946" y="658"/>
                    <a:pt x="926" y="661"/>
                    <a:pt x="906" y="643"/>
                  </a:cubicBezTo>
                  <a:cubicBezTo>
                    <a:pt x="887" y="625"/>
                    <a:pt x="872" y="628"/>
                    <a:pt x="869" y="608"/>
                  </a:cubicBezTo>
                  <a:cubicBezTo>
                    <a:pt x="865" y="589"/>
                    <a:pt x="842" y="579"/>
                    <a:pt x="872" y="562"/>
                  </a:cubicBezTo>
                  <a:cubicBezTo>
                    <a:pt x="901" y="546"/>
                    <a:pt x="919" y="536"/>
                    <a:pt x="919" y="508"/>
                  </a:cubicBezTo>
                  <a:cubicBezTo>
                    <a:pt x="919" y="480"/>
                    <a:pt x="891" y="466"/>
                    <a:pt x="888" y="455"/>
                  </a:cubicBezTo>
                  <a:cubicBezTo>
                    <a:pt x="885" y="444"/>
                    <a:pt x="916" y="411"/>
                    <a:pt x="942" y="429"/>
                  </a:cubicBezTo>
                  <a:cubicBezTo>
                    <a:pt x="968" y="447"/>
                    <a:pt x="991" y="455"/>
                    <a:pt x="1011" y="444"/>
                  </a:cubicBezTo>
                  <a:cubicBezTo>
                    <a:pt x="1031" y="433"/>
                    <a:pt x="1027" y="415"/>
                    <a:pt x="1013" y="389"/>
                  </a:cubicBezTo>
                  <a:cubicBezTo>
                    <a:pt x="998" y="362"/>
                    <a:pt x="980" y="338"/>
                    <a:pt x="955" y="338"/>
                  </a:cubicBezTo>
                  <a:cubicBezTo>
                    <a:pt x="931" y="338"/>
                    <a:pt x="911" y="344"/>
                    <a:pt x="913" y="366"/>
                  </a:cubicBezTo>
                  <a:cubicBezTo>
                    <a:pt x="914" y="389"/>
                    <a:pt x="918" y="400"/>
                    <a:pt x="898" y="402"/>
                  </a:cubicBezTo>
                  <a:cubicBezTo>
                    <a:pt x="878" y="405"/>
                    <a:pt x="833" y="425"/>
                    <a:pt x="810" y="402"/>
                  </a:cubicBezTo>
                  <a:cubicBezTo>
                    <a:pt x="787" y="380"/>
                    <a:pt x="790" y="315"/>
                    <a:pt x="767" y="315"/>
                  </a:cubicBezTo>
                  <a:cubicBezTo>
                    <a:pt x="744" y="315"/>
                    <a:pt x="701" y="315"/>
                    <a:pt x="705" y="297"/>
                  </a:cubicBezTo>
                  <a:cubicBezTo>
                    <a:pt x="708" y="279"/>
                    <a:pt x="700" y="259"/>
                    <a:pt x="726" y="243"/>
                  </a:cubicBezTo>
                  <a:cubicBezTo>
                    <a:pt x="752" y="226"/>
                    <a:pt x="749" y="208"/>
                    <a:pt x="731" y="191"/>
                  </a:cubicBezTo>
                  <a:cubicBezTo>
                    <a:pt x="713" y="174"/>
                    <a:pt x="695" y="162"/>
                    <a:pt x="682" y="180"/>
                  </a:cubicBezTo>
                  <a:cubicBezTo>
                    <a:pt x="669" y="198"/>
                    <a:pt x="657" y="208"/>
                    <a:pt x="644" y="187"/>
                  </a:cubicBezTo>
                  <a:cubicBezTo>
                    <a:pt x="631" y="166"/>
                    <a:pt x="624" y="154"/>
                    <a:pt x="605" y="138"/>
                  </a:cubicBezTo>
                  <a:cubicBezTo>
                    <a:pt x="585" y="123"/>
                    <a:pt x="585" y="116"/>
                    <a:pt x="541" y="117"/>
                  </a:cubicBezTo>
                  <a:cubicBezTo>
                    <a:pt x="497" y="119"/>
                    <a:pt x="503" y="111"/>
                    <a:pt x="498" y="98"/>
                  </a:cubicBezTo>
                  <a:cubicBezTo>
                    <a:pt x="493" y="86"/>
                    <a:pt x="492" y="80"/>
                    <a:pt x="474" y="81"/>
                  </a:cubicBezTo>
                  <a:cubicBezTo>
                    <a:pt x="456" y="83"/>
                    <a:pt x="436" y="90"/>
                    <a:pt x="420" y="72"/>
                  </a:cubicBezTo>
                  <a:cubicBezTo>
                    <a:pt x="403" y="54"/>
                    <a:pt x="371" y="47"/>
                    <a:pt x="346" y="34"/>
                  </a:cubicBezTo>
                  <a:cubicBezTo>
                    <a:pt x="321" y="22"/>
                    <a:pt x="292" y="19"/>
                    <a:pt x="289" y="5"/>
                  </a:cubicBezTo>
                  <a:cubicBezTo>
                    <a:pt x="288" y="4"/>
                    <a:pt x="288" y="2"/>
                    <a:pt x="288" y="0"/>
                  </a:cubicBezTo>
                  <a:cubicBezTo>
                    <a:pt x="273" y="7"/>
                    <a:pt x="264" y="22"/>
                    <a:pt x="256" y="2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7" name="Freeform 28">
              <a:extLst>
                <a:ext uri="{FF2B5EF4-FFF2-40B4-BE49-F238E27FC236}">
                  <a16:creationId xmlns:a16="http://schemas.microsoft.com/office/drawing/2014/main" id="{CB70362C-FF42-0345-AC3B-F3CAE014C74A}"/>
                </a:ext>
              </a:extLst>
            </p:cNvPr>
            <p:cNvSpPr>
              <a:spLocks/>
            </p:cNvSpPr>
            <p:nvPr/>
          </p:nvSpPr>
          <p:spPr bwMode="auto">
            <a:xfrm>
              <a:off x="4378" y="2218"/>
              <a:ext cx="671" cy="469"/>
            </a:xfrm>
            <a:custGeom>
              <a:avLst/>
              <a:gdLst>
                <a:gd name="T0" fmla="*/ 963 w 1448"/>
                <a:gd name="T1" fmla="*/ 946 h 1013"/>
                <a:gd name="T2" fmla="*/ 1032 w 1448"/>
                <a:gd name="T3" fmla="*/ 991 h 1013"/>
                <a:gd name="T4" fmla="*/ 1119 w 1448"/>
                <a:gd name="T5" fmla="*/ 992 h 1013"/>
                <a:gd name="T6" fmla="*/ 1191 w 1448"/>
                <a:gd name="T7" fmla="*/ 977 h 1013"/>
                <a:gd name="T8" fmla="*/ 1232 w 1448"/>
                <a:gd name="T9" fmla="*/ 927 h 1013"/>
                <a:gd name="T10" fmla="*/ 1251 w 1448"/>
                <a:gd name="T11" fmla="*/ 843 h 1013"/>
                <a:gd name="T12" fmla="*/ 1246 w 1448"/>
                <a:gd name="T13" fmla="*/ 782 h 1013"/>
                <a:gd name="T14" fmla="*/ 1274 w 1448"/>
                <a:gd name="T15" fmla="*/ 742 h 1013"/>
                <a:gd name="T16" fmla="*/ 1440 w 1448"/>
                <a:gd name="T17" fmla="*/ 785 h 1013"/>
                <a:gd name="T18" fmla="*/ 1370 w 1448"/>
                <a:gd name="T19" fmla="*/ 656 h 1013"/>
                <a:gd name="T20" fmla="*/ 1221 w 1448"/>
                <a:gd name="T21" fmla="*/ 567 h 1013"/>
                <a:gd name="T22" fmla="*/ 1156 w 1448"/>
                <a:gd name="T23" fmla="*/ 474 h 1013"/>
                <a:gd name="T24" fmla="*/ 968 w 1448"/>
                <a:gd name="T25" fmla="*/ 266 h 1013"/>
                <a:gd name="T26" fmla="*/ 867 w 1448"/>
                <a:gd name="T27" fmla="*/ 148 h 1013"/>
                <a:gd name="T28" fmla="*/ 649 w 1448"/>
                <a:gd name="T29" fmla="*/ 52 h 1013"/>
                <a:gd name="T30" fmla="*/ 571 w 1448"/>
                <a:gd name="T31" fmla="*/ 29 h 1013"/>
                <a:gd name="T32" fmla="*/ 478 w 1448"/>
                <a:gd name="T33" fmla="*/ 133 h 1013"/>
                <a:gd name="T34" fmla="*/ 409 w 1448"/>
                <a:gd name="T35" fmla="*/ 191 h 1013"/>
                <a:gd name="T36" fmla="*/ 331 w 1448"/>
                <a:gd name="T37" fmla="*/ 176 h 1013"/>
                <a:gd name="T38" fmla="*/ 250 w 1448"/>
                <a:gd name="T39" fmla="*/ 211 h 1013"/>
                <a:gd name="T40" fmla="*/ 116 w 1448"/>
                <a:gd name="T41" fmla="*/ 134 h 1013"/>
                <a:gd name="T42" fmla="*/ 5 w 1448"/>
                <a:gd name="T43" fmla="*/ 151 h 1013"/>
                <a:gd name="T44" fmla="*/ 62 w 1448"/>
                <a:gd name="T45" fmla="*/ 240 h 1013"/>
                <a:gd name="T46" fmla="*/ 190 w 1448"/>
                <a:gd name="T47" fmla="*/ 287 h 1013"/>
                <a:gd name="T48" fmla="*/ 257 w 1448"/>
                <a:gd name="T49" fmla="*/ 323 h 1013"/>
                <a:gd name="T50" fmla="*/ 360 w 1448"/>
                <a:gd name="T51" fmla="*/ 393 h 1013"/>
                <a:gd name="T52" fmla="*/ 447 w 1448"/>
                <a:gd name="T53" fmla="*/ 397 h 1013"/>
                <a:gd name="T54" fmla="*/ 421 w 1448"/>
                <a:gd name="T55" fmla="*/ 503 h 1013"/>
                <a:gd name="T56" fmla="*/ 526 w 1448"/>
                <a:gd name="T57" fmla="*/ 608 h 1013"/>
                <a:gd name="T58" fmla="*/ 629 w 1448"/>
                <a:gd name="T59" fmla="*/ 572 h 1013"/>
                <a:gd name="T60" fmla="*/ 729 w 1448"/>
                <a:gd name="T61" fmla="*/ 595 h 1013"/>
                <a:gd name="T62" fmla="*/ 658 w 1448"/>
                <a:gd name="T63" fmla="*/ 635 h 1013"/>
                <a:gd name="T64" fmla="*/ 635 w 1448"/>
                <a:gd name="T65" fmla="*/ 714 h 1013"/>
                <a:gd name="T66" fmla="*/ 585 w 1448"/>
                <a:gd name="T67" fmla="*/ 814 h 1013"/>
                <a:gd name="T68" fmla="*/ 694 w 1448"/>
                <a:gd name="T69" fmla="*/ 877 h 1013"/>
                <a:gd name="T70" fmla="*/ 714 w 1448"/>
                <a:gd name="T71" fmla="*/ 970 h 1013"/>
                <a:gd name="T72" fmla="*/ 878 w 1448"/>
                <a:gd name="T73" fmla="*/ 964 h 1013"/>
                <a:gd name="T74" fmla="*/ 919 w 1448"/>
                <a:gd name="T75" fmla="*/ 96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48" h="1013">
                  <a:moveTo>
                    <a:pt x="919" y="963"/>
                  </a:moveTo>
                  <a:cubicBezTo>
                    <a:pt x="922" y="950"/>
                    <a:pt x="951" y="956"/>
                    <a:pt x="963" y="946"/>
                  </a:cubicBezTo>
                  <a:cubicBezTo>
                    <a:pt x="974" y="936"/>
                    <a:pt x="992" y="955"/>
                    <a:pt x="997" y="967"/>
                  </a:cubicBezTo>
                  <a:cubicBezTo>
                    <a:pt x="1002" y="980"/>
                    <a:pt x="1012" y="984"/>
                    <a:pt x="1032" y="991"/>
                  </a:cubicBezTo>
                  <a:cubicBezTo>
                    <a:pt x="1051" y="998"/>
                    <a:pt x="1051" y="1005"/>
                    <a:pt x="1073" y="996"/>
                  </a:cubicBezTo>
                  <a:cubicBezTo>
                    <a:pt x="1094" y="988"/>
                    <a:pt x="1102" y="971"/>
                    <a:pt x="1119" y="992"/>
                  </a:cubicBezTo>
                  <a:cubicBezTo>
                    <a:pt x="1135" y="1013"/>
                    <a:pt x="1140" y="1006"/>
                    <a:pt x="1160" y="1000"/>
                  </a:cubicBezTo>
                  <a:cubicBezTo>
                    <a:pt x="1179" y="995"/>
                    <a:pt x="1191" y="993"/>
                    <a:pt x="1191" y="977"/>
                  </a:cubicBezTo>
                  <a:cubicBezTo>
                    <a:pt x="1191" y="960"/>
                    <a:pt x="1196" y="960"/>
                    <a:pt x="1209" y="953"/>
                  </a:cubicBezTo>
                  <a:cubicBezTo>
                    <a:pt x="1222" y="946"/>
                    <a:pt x="1227" y="949"/>
                    <a:pt x="1232" y="927"/>
                  </a:cubicBezTo>
                  <a:cubicBezTo>
                    <a:pt x="1237" y="904"/>
                    <a:pt x="1255" y="910"/>
                    <a:pt x="1258" y="888"/>
                  </a:cubicBezTo>
                  <a:cubicBezTo>
                    <a:pt x="1261" y="866"/>
                    <a:pt x="1228" y="850"/>
                    <a:pt x="1251" y="843"/>
                  </a:cubicBezTo>
                  <a:cubicBezTo>
                    <a:pt x="1274" y="836"/>
                    <a:pt x="1294" y="838"/>
                    <a:pt x="1284" y="820"/>
                  </a:cubicBezTo>
                  <a:cubicBezTo>
                    <a:pt x="1274" y="802"/>
                    <a:pt x="1264" y="796"/>
                    <a:pt x="1246" y="782"/>
                  </a:cubicBezTo>
                  <a:cubicBezTo>
                    <a:pt x="1228" y="768"/>
                    <a:pt x="1223" y="749"/>
                    <a:pt x="1240" y="745"/>
                  </a:cubicBezTo>
                  <a:cubicBezTo>
                    <a:pt x="1252" y="741"/>
                    <a:pt x="1252" y="733"/>
                    <a:pt x="1274" y="742"/>
                  </a:cubicBezTo>
                  <a:cubicBezTo>
                    <a:pt x="1276" y="736"/>
                    <a:pt x="1285" y="734"/>
                    <a:pt x="1304" y="741"/>
                  </a:cubicBezTo>
                  <a:cubicBezTo>
                    <a:pt x="1365" y="763"/>
                    <a:pt x="1431" y="811"/>
                    <a:pt x="1440" y="785"/>
                  </a:cubicBezTo>
                  <a:cubicBezTo>
                    <a:pt x="1448" y="759"/>
                    <a:pt x="1413" y="730"/>
                    <a:pt x="1413" y="700"/>
                  </a:cubicBezTo>
                  <a:cubicBezTo>
                    <a:pt x="1413" y="670"/>
                    <a:pt x="1400" y="656"/>
                    <a:pt x="1370" y="656"/>
                  </a:cubicBezTo>
                  <a:cubicBezTo>
                    <a:pt x="1339" y="656"/>
                    <a:pt x="1304" y="659"/>
                    <a:pt x="1291" y="630"/>
                  </a:cubicBezTo>
                  <a:cubicBezTo>
                    <a:pt x="1278" y="600"/>
                    <a:pt x="1269" y="567"/>
                    <a:pt x="1221" y="567"/>
                  </a:cubicBezTo>
                  <a:cubicBezTo>
                    <a:pt x="1173" y="567"/>
                    <a:pt x="1147" y="552"/>
                    <a:pt x="1147" y="530"/>
                  </a:cubicBezTo>
                  <a:cubicBezTo>
                    <a:pt x="1147" y="507"/>
                    <a:pt x="1195" y="504"/>
                    <a:pt x="1156" y="474"/>
                  </a:cubicBezTo>
                  <a:cubicBezTo>
                    <a:pt x="1116" y="444"/>
                    <a:pt x="1042" y="374"/>
                    <a:pt x="1025" y="341"/>
                  </a:cubicBezTo>
                  <a:cubicBezTo>
                    <a:pt x="1007" y="307"/>
                    <a:pt x="1012" y="292"/>
                    <a:pt x="968" y="266"/>
                  </a:cubicBezTo>
                  <a:cubicBezTo>
                    <a:pt x="924" y="241"/>
                    <a:pt x="924" y="244"/>
                    <a:pt x="929" y="215"/>
                  </a:cubicBezTo>
                  <a:cubicBezTo>
                    <a:pt x="933" y="185"/>
                    <a:pt x="907" y="159"/>
                    <a:pt x="867" y="148"/>
                  </a:cubicBezTo>
                  <a:cubicBezTo>
                    <a:pt x="828" y="137"/>
                    <a:pt x="780" y="140"/>
                    <a:pt x="749" y="118"/>
                  </a:cubicBezTo>
                  <a:cubicBezTo>
                    <a:pt x="719" y="96"/>
                    <a:pt x="653" y="89"/>
                    <a:pt x="649" y="52"/>
                  </a:cubicBezTo>
                  <a:cubicBezTo>
                    <a:pt x="646" y="29"/>
                    <a:pt x="649" y="23"/>
                    <a:pt x="658" y="10"/>
                  </a:cubicBezTo>
                  <a:cubicBezTo>
                    <a:pt x="596" y="0"/>
                    <a:pt x="600" y="13"/>
                    <a:pt x="571" y="29"/>
                  </a:cubicBezTo>
                  <a:cubicBezTo>
                    <a:pt x="539" y="47"/>
                    <a:pt x="549" y="65"/>
                    <a:pt x="544" y="97"/>
                  </a:cubicBezTo>
                  <a:cubicBezTo>
                    <a:pt x="539" y="129"/>
                    <a:pt x="509" y="130"/>
                    <a:pt x="478" y="133"/>
                  </a:cubicBezTo>
                  <a:cubicBezTo>
                    <a:pt x="447" y="136"/>
                    <a:pt x="458" y="164"/>
                    <a:pt x="449" y="183"/>
                  </a:cubicBezTo>
                  <a:cubicBezTo>
                    <a:pt x="439" y="203"/>
                    <a:pt x="414" y="194"/>
                    <a:pt x="409" y="191"/>
                  </a:cubicBezTo>
                  <a:cubicBezTo>
                    <a:pt x="404" y="189"/>
                    <a:pt x="401" y="169"/>
                    <a:pt x="381" y="154"/>
                  </a:cubicBezTo>
                  <a:cubicBezTo>
                    <a:pt x="331" y="140"/>
                    <a:pt x="329" y="159"/>
                    <a:pt x="331" y="176"/>
                  </a:cubicBezTo>
                  <a:cubicBezTo>
                    <a:pt x="332" y="193"/>
                    <a:pt x="319" y="189"/>
                    <a:pt x="298" y="204"/>
                  </a:cubicBezTo>
                  <a:cubicBezTo>
                    <a:pt x="277" y="219"/>
                    <a:pt x="275" y="239"/>
                    <a:pt x="250" y="211"/>
                  </a:cubicBezTo>
                  <a:cubicBezTo>
                    <a:pt x="226" y="183"/>
                    <a:pt x="196" y="215"/>
                    <a:pt x="182" y="204"/>
                  </a:cubicBezTo>
                  <a:cubicBezTo>
                    <a:pt x="167" y="193"/>
                    <a:pt x="141" y="158"/>
                    <a:pt x="116" y="134"/>
                  </a:cubicBezTo>
                  <a:cubicBezTo>
                    <a:pt x="91" y="111"/>
                    <a:pt x="73" y="118"/>
                    <a:pt x="42" y="132"/>
                  </a:cubicBezTo>
                  <a:cubicBezTo>
                    <a:pt x="11" y="146"/>
                    <a:pt x="10" y="137"/>
                    <a:pt x="5" y="151"/>
                  </a:cubicBezTo>
                  <a:cubicBezTo>
                    <a:pt x="0" y="165"/>
                    <a:pt x="1" y="197"/>
                    <a:pt x="5" y="211"/>
                  </a:cubicBezTo>
                  <a:cubicBezTo>
                    <a:pt x="8" y="225"/>
                    <a:pt x="37" y="228"/>
                    <a:pt x="62" y="240"/>
                  </a:cubicBezTo>
                  <a:cubicBezTo>
                    <a:pt x="87" y="253"/>
                    <a:pt x="119" y="260"/>
                    <a:pt x="136" y="278"/>
                  </a:cubicBezTo>
                  <a:cubicBezTo>
                    <a:pt x="152" y="296"/>
                    <a:pt x="172" y="289"/>
                    <a:pt x="190" y="287"/>
                  </a:cubicBezTo>
                  <a:cubicBezTo>
                    <a:pt x="208" y="286"/>
                    <a:pt x="209" y="292"/>
                    <a:pt x="214" y="304"/>
                  </a:cubicBezTo>
                  <a:cubicBezTo>
                    <a:pt x="219" y="317"/>
                    <a:pt x="213" y="325"/>
                    <a:pt x="257" y="323"/>
                  </a:cubicBezTo>
                  <a:cubicBezTo>
                    <a:pt x="301" y="322"/>
                    <a:pt x="301" y="329"/>
                    <a:pt x="321" y="344"/>
                  </a:cubicBezTo>
                  <a:cubicBezTo>
                    <a:pt x="340" y="360"/>
                    <a:pt x="347" y="372"/>
                    <a:pt x="360" y="393"/>
                  </a:cubicBezTo>
                  <a:cubicBezTo>
                    <a:pt x="373" y="414"/>
                    <a:pt x="385" y="404"/>
                    <a:pt x="398" y="386"/>
                  </a:cubicBezTo>
                  <a:cubicBezTo>
                    <a:pt x="411" y="368"/>
                    <a:pt x="429" y="380"/>
                    <a:pt x="447" y="397"/>
                  </a:cubicBezTo>
                  <a:cubicBezTo>
                    <a:pt x="465" y="414"/>
                    <a:pt x="468" y="432"/>
                    <a:pt x="442" y="449"/>
                  </a:cubicBezTo>
                  <a:cubicBezTo>
                    <a:pt x="416" y="465"/>
                    <a:pt x="424" y="485"/>
                    <a:pt x="421" y="503"/>
                  </a:cubicBezTo>
                  <a:cubicBezTo>
                    <a:pt x="417" y="521"/>
                    <a:pt x="460" y="521"/>
                    <a:pt x="483" y="521"/>
                  </a:cubicBezTo>
                  <a:cubicBezTo>
                    <a:pt x="506" y="521"/>
                    <a:pt x="503" y="586"/>
                    <a:pt x="526" y="608"/>
                  </a:cubicBezTo>
                  <a:cubicBezTo>
                    <a:pt x="549" y="631"/>
                    <a:pt x="594" y="611"/>
                    <a:pt x="614" y="608"/>
                  </a:cubicBezTo>
                  <a:cubicBezTo>
                    <a:pt x="634" y="606"/>
                    <a:pt x="630" y="595"/>
                    <a:pt x="629" y="572"/>
                  </a:cubicBezTo>
                  <a:cubicBezTo>
                    <a:pt x="627" y="550"/>
                    <a:pt x="647" y="544"/>
                    <a:pt x="671" y="544"/>
                  </a:cubicBezTo>
                  <a:cubicBezTo>
                    <a:pt x="696" y="544"/>
                    <a:pt x="714" y="568"/>
                    <a:pt x="729" y="595"/>
                  </a:cubicBezTo>
                  <a:cubicBezTo>
                    <a:pt x="743" y="621"/>
                    <a:pt x="747" y="639"/>
                    <a:pt x="727" y="650"/>
                  </a:cubicBezTo>
                  <a:cubicBezTo>
                    <a:pt x="707" y="661"/>
                    <a:pt x="684" y="653"/>
                    <a:pt x="658" y="635"/>
                  </a:cubicBezTo>
                  <a:cubicBezTo>
                    <a:pt x="632" y="617"/>
                    <a:pt x="601" y="650"/>
                    <a:pt x="604" y="661"/>
                  </a:cubicBezTo>
                  <a:cubicBezTo>
                    <a:pt x="607" y="672"/>
                    <a:pt x="635" y="686"/>
                    <a:pt x="635" y="714"/>
                  </a:cubicBezTo>
                  <a:cubicBezTo>
                    <a:pt x="635" y="742"/>
                    <a:pt x="617" y="752"/>
                    <a:pt x="588" y="768"/>
                  </a:cubicBezTo>
                  <a:cubicBezTo>
                    <a:pt x="558" y="785"/>
                    <a:pt x="581" y="795"/>
                    <a:pt x="585" y="814"/>
                  </a:cubicBezTo>
                  <a:cubicBezTo>
                    <a:pt x="588" y="834"/>
                    <a:pt x="603" y="831"/>
                    <a:pt x="622" y="849"/>
                  </a:cubicBezTo>
                  <a:cubicBezTo>
                    <a:pt x="642" y="867"/>
                    <a:pt x="662" y="864"/>
                    <a:pt x="694" y="877"/>
                  </a:cubicBezTo>
                  <a:cubicBezTo>
                    <a:pt x="727" y="889"/>
                    <a:pt x="712" y="898"/>
                    <a:pt x="707" y="923"/>
                  </a:cubicBezTo>
                  <a:cubicBezTo>
                    <a:pt x="702" y="948"/>
                    <a:pt x="701" y="957"/>
                    <a:pt x="714" y="970"/>
                  </a:cubicBezTo>
                  <a:cubicBezTo>
                    <a:pt x="727" y="982"/>
                    <a:pt x="761" y="980"/>
                    <a:pt x="797" y="950"/>
                  </a:cubicBezTo>
                  <a:cubicBezTo>
                    <a:pt x="834" y="921"/>
                    <a:pt x="850" y="963"/>
                    <a:pt x="878" y="964"/>
                  </a:cubicBezTo>
                  <a:cubicBezTo>
                    <a:pt x="892" y="965"/>
                    <a:pt x="897" y="969"/>
                    <a:pt x="901" y="976"/>
                  </a:cubicBezTo>
                  <a:cubicBezTo>
                    <a:pt x="909" y="973"/>
                    <a:pt x="917" y="969"/>
                    <a:pt x="919" y="96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8" name="Freeform 29">
              <a:extLst>
                <a:ext uri="{FF2B5EF4-FFF2-40B4-BE49-F238E27FC236}">
                  <a16:creationId xmlns:a16="http://schemas.microsoft.com/office/drawing/2014/main" id="{7EB7DCC4-E62B-8440-A4BF-969B8B411DDA}"/>
                </a:ext>
              </a:extLst>
            </p:cNvPr>
            <p:cNvSpPr>
              <a:spLocks/>
            </p:cNvSpPr>
            <p:nvPr/>
          </p:nvSpPr>
          <p:spPr bwMode="auto">
            <a:xfrm>
              <a:off x="4661" y="2651"/>
              <a:ext cx="455" cy="451"/>
            </a:xfrm>
            <a:custGeom>
              <a:avLst/>
              <a:gdLst>
                <a:gd name="T0" fmla="*/ 913 w 983"/>
                <a:gd name="T1" fmla="*/ 416 h 972"/>
                <a:gd name="T2" fmla="*/ 965 w 983"/>
                <a:gd name="T3" fmla="*/ 379 h 972"/>
                <a:gd name="T4" fmla="*/ 926 w 983"/>
                <a:gd name="T5" fmla="*/ 298 h 972"/>
                <a:gd name="T6" fmla="*/ 948 w 983"/>
                <a:gd name="T7" fmla="*/ 227 h 972"/>
                <a:gd name="T8" fmla="*/ 830 w 983"/>
                <a:gd name="T9" fmla="*/ 205 h 972"/>
                <a:gd name="T10" fmla="*/ 707 w 983"/>
                <a:gd name="T11" fmla="*/ 179 h 972"/>
                <a:gd name="T12" fmla="*/ 607 w 983"/>
                <a:gd name="T13" fmla="*/ 253 h 972"/>
                <a:gd name="T14" fmla="*/ 572 w 983"/>
                <a:gd name="T15" fmla="*/ 216 h 972"/>
                <a:gd name="T16" fmla="*/ 559 w 983"/>
                <a:gd name="T17" fmla="*/ 168 h 972"/>
                <a:gd name="T18" fmla="*/ 668 w 983"/>
                <a:gd name="T19" fmla="*/ 164 h 972"/>
                <a:gd name="T20" fmla="*/ 706 w 983"/>
                <a:gd name="T21" fmla="*/ 85 h 972"/>
                <a:gd name="T22" fmla="*/ 677 w 983"/>
                <a:gd name="T23" fmla="*/ 63 h 972"/>
                <a:gd name="T24" fmla="*/ 620 w 983"/>
                <a:gd name="T25" fmla="*/ 31 h 972"/>
                <a:gd name="T26" fmla="*/ 601 w 983"/>
                <a:gd name="T27" fmla="*/ 16 h 972"/>
                <a:gd name="T28" fmla="*/ 599 w 983"/>
                <a:gd name="T29" fmla="*/ 17 h 972"/>
                <a:gd name="T30" fmla="*/ 581 w 983"/>
                <a:gd name="T31" fmla="*/ 41 h 972"/>
                <a:gd name="T32" fmla="*/ 550 w 983"/>
                <a:gd name="T33" fmla="*/ 64 h 972"/>
                <a:gd name="T34" fmla="*/ 509 w 983"/>
                <a:gd name="T35" fmla="*/ 56 h 972"/>
                <a:gd name="T36" fmla="*/ 463 w 983"/>
                <a:gd name="T37" fmla="*/ 60 h 972"/>
                <a:gd name="T38" fmla="*/ 422 w 983"/>
                <a:gd name="T39" fmla="*/ 55 h 972"/>
                <a:gd name="T40" fmla="*/ 387 w 983"/>
                <a:gd name="T41" fmla="*/ 31 h 972"/>
                <a:gd name="T42" fmla="*/ 353 w 983"/>
                <a:gd name="T43" fmla="*/ 10 h 972"/>
                <a:gd name="T44" fmla="*/ 309 w 983"/>
                <a:gd name="T45" fmla="*/ 27 h 972"/>
                <a:gd name="T46" fmla="*/ 291 w 983"/>
                <a:gd name="T47" fmla="*/ 40 h 972"/>
                <a:gd name="T48" fmla="*/ 305 w 983"/>
                <a:gd name="T49" fmla="*/ 73 h 972"/>
                <a:gd name="T50" fmla="*/ 263 w 983"/>
                <a:gd name="T51" fmla="*/ 164 h 972"/>
                <a:gd name="T52" fmla="*/ 281 w 983"/>
                <a:gd name="T53" fmla="*/ 217 h 972"/>
                <a:gd name="T54" fmla="*/ 238 w 983"/>
                <a:gd name="T55" fmla="*/ 245 h 972"/>
                <a:gd name="T56" fmla="*/ 171 w 983"/>
                <a:gd name="T57" fmla="*/ 262 h 972"/>
                <a:gd name="T58" fmla="*/ 189 w 983"/>
                <a:gd name="T59" fmla="*/ 310 h 972"/>
                <a:gd name="T60" fmla="*/ 176 w 983"/>
                <a:gd name="T61" fmla="*/ 349 h 972"/>
                <a:gd name="T62" fmla="*/ 158 w 983"/>
                <a:gd name="T63" fmla="*/ 406 h 972"/>
                <a:gd name="T64" fmla="*/ 115 w 983"/>
                <a:gd name="T65" fmla="*/ 451 h 972"/>
                <a:gd name="T66" fmla="*/ 79 w 983"/>
                <a:gd name="T67" fmla="*/ 492 h 972"/>
                <a:gd name="T68" fmla="*/ 48 w 983"/>
                <a:gd name="T69" fmla="*/ 511 h 972"/>
                <a:gd name="T70" fmla="*/ 6 w 983"/>
                <a:gd name="T71" fmla="*/ 580 h 972"/>
                <a:gd name="T72" fmla="*/ 91 w 983"/>
                <a:gd name="T73" fmla="*/ 635 h 972"/>
                <a:gd name="T74" fmla="*/ 157 w 983"/>
                <a:gd name="T75" fmla="*/ 733 h 972"/>
                <a:gd name="T76" fmla="*/ 156 w 983"/>
                <a:gd name="T77" fmla="*/ 780 h 972"/>
                <a:gd name="T78" fmla="*/ 192 w 983"/>
                <a:gd name="T79" fmla="*/ 777 h 972"/>
                <a:gd name="T80" fmla="*/ 246 w 983"/>
                <a:gd name="T81" fmla="*/ 782 h 972"/>
                <a:gd name="T82" fmla="*/ 251 w 983"/>
                <a:gd name="T83" fmla="*/ 848 h 972"/>
                <a:gd name="T84" fmla="*/ 294 w 983"/>
                <a:gd name="T85" fmla="*/ 905 h 972"/>
                <a:gd name="T86" fmla="*/ 330 w 983"/>
                <a:gd name="T87" fmla="*/ 954 h 972"/>
                <a:gd name="T88" fmla="*/ 397 w 983"/>
                <a:gd name="T89" fmla="*/ 959 h 972"/>
                <a:gd name="T90" fmla="*/ 438 w 983"/>
                <a:gd name="T91" fmla="*/ 923 h 972"/>
                <a:gd name="T92" fmla="*/ 486 w 983"/>
                <a:gd name="T93" fmla="*/ 914 h 972"/>
                <a:gd name="T94" fmla="*/ 533 w 983"/>
                <a:gd name="T95" fmla="*/ 962 h 972"/>
                <a:gd name="T96" fmla="*/ 590 w 983"/>
                <a:gd name="T97" fmla="*/ 950 h 972"/>
                <a:gd name="T98" fmla="*/ 666 w 983"/>
                <a:gd name="T99" fmla="*/ 937 h 972"/>
                <a:gd name="T100" fmla="*/ 713 w 983"/>
                <a:gd name="T101" fmla="*/ 971 h 972"/>
                <a:gd name="T102" fmla="*/ 720 w 983"/>
                <a:gd name="T103" fmla="*/ 972 h 972"/>
                <a:gd name="T104" fmla="*/ 747 w 983"/>
                <a:gd name="T105" fmla="*/ 906 h 972"/>
                <a:gd name="T106" fmla="*/ 768 w 983"/>
                <a:gd name="T107" fmla="*/ 791 h 972"/>
                <a:gd name="T108" fmla="*/ 812 w 983"/>
                <a:gd name="T109" fmla="*/ 706 h 972"/>
                <a:gd name="T110" fmla="*/ 851 w 983"/>
                <a:gd name="T111" fmla="*/ 665 h 972"/>
                <a:gd name="T112" fmla="*/ 900 w 983"/>
                <a:gd name="T113" fmla="*/ 680 h 972"/>
                <a:gd name="T114" fmla="*/ 948 w 983"/>
                <a:gd name="T115" fmla="*/ 635 h 972"/>
                <a:gd name="T116" fmla="*/ 913 w 983"/>
                <a:gd name="T117" fmla="*/ 535 h 972"/>
                <a:gd name="T118" fmla="*/ 900 w 983"/>
                <a:gd name="T119" fmla="*/ 472 h 972"/>
                <a:gd name="T120" fmla="*/ 913 w 983"/>
                <a:gd name="T121" fmla="*/ 416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3" h="972">
                  <a:moveTo>
                    <a:pt x="913" y="416"/>
                  </a:moveTo>
                  <a:cubicBezTo>
                    <a:pt x="948" y="416"/>
                    <a:pt x="983" y="413"/>
                    <a:pt x="965" y="379"/>
                  </a:cubicBezTo>
                  <a:cubicBezTo>
                    <a:pt x="948" y="346"/>
                    <a:pt x="908" y="331"/>
                    <a:pt x="926" y="298"/>
                  </a:cubicBezTo>
                  <a:cubicBezTo>
                    <a:pt x="943" y="265"/>
                    <a:pt x="983" y="246"/>
                    <a:pt x="948" y="227"/>
                  </a:cubicBezTo>
                  <a:cubicBezTo>
                    <a:pt x="913" y="209"/>
                    <a:pt x="856" y="242"/>
                    <a:pt x="830" y="205"/>
                  </a:cubicBezTo>
                  <a:cubicBezTo>
                    <a:pt x="803" y="168"/>
                    <a:pt x="725" y="153"/>
                    <a:pt x="707" y="179"/>
                  </a:cubicBezTo>
                  <a:cubicBezTo>
                    <a:pt x="690" y="205"/>
                    <a:pt x="624" y="279"/>
                    <a:pt x="607" y="253"/>
                  </a:cubicBezTo>
                  <a:cubicBezTo>
                    <a:pt x="589" y="227"/>
                    <a:pt x="598" y="216"/>
                    <a:pt x="572" y="216"/>
                  </a:cubicBezTo>
                  <a:cubicBezTo>
                    <a:pt x="546" y="216"/>
                    <a:pt x="519" y="157"/>
                    <a:pt x="559" y="168"/>
                  </a:cubicBezTo>
                  <a:cubicBezTo>
                    <a:pt x="598" y="179"/>
                    <a:pt x="655" y="194"/>
                    <a:pt x="668" y="164"/>
                  </a:cubicBezTo>
                  <a:cubicBezTo>
                    <a:pt x="679" y="140"/>
                    <a:pt x="687" y="106"/>
                    <a:pt x="706" y="85"/>
                  </a:cubicBezTo>
                  <a:cubicBezTo>
                    <a:pt x="697" y="76"/>
                    <a:pt x="690" y="66"/>
                    <a:pt x="677" y="63"/>
                  </a:cubicBezTo>
                  <a:cubicBezTo>
                    <a:pt x="656" y="59"/>
                    <a:pt x="658" y="46"/>
                    <a:pt x="620" y="31"/>
                  </a:cubicBezTo>
                  <a:cubicBezTo>
                    <a:pt x="610" y="27"/>
                    <a:pt x="604" y="22"/>
                    <a:pt x="601" y="16"/>
                  </a:cubicBezTo>
                  <a:cubicBezTo>
                    <a:pt x="600" y="16"/>
                    <a:pt x="600" y="17"/>
                    <a:pt x="599" y="17"/>
                  </a:cubicBezTo>
                  <a:cubicBezTo>
                    <a:pt x="586" y="24"/>
                    <a:pt x="581" y="24"/>
                    <a:pt x="581" y="41"/>
                  </a:cubicBezTo>
                  <a:cubicBezTo>
                    <a:pt x="581" y="57"/>
                    <a:pt x="569" y="59"/>
                    <a:pt x="550" y="64"/>
                  </a:cubicBezTo>
                  <a:cubicBezTo>
                    <a:pt x="530" y="70"/>
                    <a:pt x="525" y="77"/>
                    <a:pt x="509" y="56"/>
                  </a:cubicBezTo>
                  <a:cubicBezTo>
                    <a:pt x="492" y="35"/>
                    <a:pt x="484" y="52"/>
                    <a:pt x="463" y="60"/>
                  </a:cubicBezTo>
                  <a:cubicBezTo>
                    <a:pt x="441" y="69"/>
                    <a:pt x="441" y="62"/>
                    <a:pt x="422" y="55"/>
                  </a:cubicBezTo>
                  <a:cubicBezTo>
                    <a:pt x="402" y="48"/>
                    <a:pt x="392" y="44"/>
                    <a:pt x="387" y="31"/>
                  </a:cubicBezTo>
                  <a:cubicBezTo>
                    <a:pt x="382" y="19"/>
                    <a:pt x="364" y="0"/>
                    <a:pt x="353" y="10"/>
                  </a:cubicBezTo>
                  <a:cubicBezTo>
                    <a:pt x="341" y="20"/>
                    <a:pt x="312" y="14"/>
                    <a:pt x="309" y="27"/>
                  </a:cubicBezTo>
                  <a:cubicBezTo>
                    <a:pt x="307" y="33"/>
                    <a:pt x="299" y="37"/>
                    <a:pt x="291" y="40"/>
                  </a:cubicBezTo>
                  <a:cubicBezTo>
                    <a:pt x="294" y="48"/>
                    <a:pt x="297" y="58"/>
                    <a:pt x="305" y="73"/>
                  </a:cubicBezTo>
                  <a:cubicBezTo>
                    <a:pt x="323" y="103"/>
                    <a:pt x="287" y="144"/>
                    <a:pt x="263" y="164"/>
                  </a:cubicBezTo>
                  <a:cubicBezTo>
                    <a:pt x="238" y="185"/>
                    <a:pt x="266" y="198"/>
                    <a:pt x="281" y="217"/>
                  </a:cubicBezTo>
                  <a:cubicBezTo>
                    <a:pt x="296" y="237"/>
                    <a:pt x="258" y="238"/>
                    <a:pt x="238" y="245"/>
                  </a:cubicBezTo>
                  <a:cubicBezTo>
                    <a:pt x="219" y="252"/>
                    <a:pt x="207" y="253"/>
                    <a:pt x="171" y="262"/>
                  </a:cubicBezTo>
                  <a:cubicBezTo>
                    <a:pt x="135" y="270"/>
                    <a:pt x="176" y="295"/>
                    <a:pt x="189" y="310"/>
                  </a:cubicBezTo>
                  <a:cubicBezTo>
                    <a:pt x="202" y="326"/>
                    <a:pt x="189" y="335"/>
                    <a:pt x="176" y="349"/>
                  </a:cubicBezTo>
                  <a:cubicBezTo>
                    <a:pt x="163" y="363"/>
                    <a:pt x="161" y="384"/>
                    <a:pt x="158" y="406"/>
                  </a:cubicBezTo>
                  <a:cubicBezTo>
                    <a:pt x="155" y="429"/>
                    <a:pt x="130" y="440"/>
                    <a:pt x="115" y="451"/>
                  </a:cubicBezTo>
                  <a:cubicBezTo>
                    <a:pt x="101" y="462"/>
                    <a:pt x="89" y="470"/>
                    <a:pt x="79" y="492"/>
                  </a:cubicBezTo>
                  <a:cubicBezTo>
                    <a:pt x="75" y="502"/>
                    <a:pt x="62" y="508"/>
                    <a:pt x="48" y="511"/>
                  </a:cubicBezTo>
                  <a:cubicBezTo>
                    <a:pt x="59" y="529"/>
                    <a:pt x="12" y="558"/>
                    <a:pt x="6" y="580"/>
                  </a:cubicBezTo>
                  <a:cubicBezTo>
                    <a:pt x="0" y="604"/>
                    <a:pt x="43" y="613"/>
                    <a:pt x="91" y="635"/>
                  </a:cubicBezTo>
                  <a:cubicBezTo>
                    <a:pt x="139" y="657"/>
                    <a:pt x="131" y="700"/>
                    <a:pt x="157" y="733"/>
                  </a:cubicBezTo>
                  <a:cubicBezTo>
                    <a:pt x="177" y="759"/>
                    <a:pt x="164" y="769"/>
                    <a:pt x="156" y="780"/>
                  </a:cubicBezTo>
                  <a:cubicBezTo>
                    <a:pt x="169" y="782"/>
                    <a:pt x="184" y="782"/>
                    <a:pt x="192" y="777"/>
                  </a:cubicBezTo>
                  <a:cubicBezTo>
                    <a:pt x="210" y="768"/>
                    <a:pt x="248" y="747"/>
                    <a:pt x="246" y="782"/>
                  </a:cubicBezTo>
                  <a:cubicBezTo>
                    <a:pt x="245" y="816"/>
                    <a:pt x="232" y="833"/>
                    <a:pt x="251" y="848"/>
                  </a:cubicBezTo>
                  <a:cubicBezTo>
                    <a:pt x="271" y="864"/>
                    <a:pt x="289" y="884"/>
                    <a:pt x="294" y="905"/>
                  </a:cubicBezTo>
                  <a:cubicBezTo>
                    <a:pt x="299" y="926"/>
                    <a:pt x="309" y="944"/>
                    <a:pt x="330" y="954"/>
                  </a:cubicBezTo>
                  <a:cubicBezTo>
                    <a:pt x="351" y="964"/>
                    <a:pt x="381" y="972"/>
                    <a:pt x="397" y="959"/>
                  </a:cubicBezTo>
                  <a:cubicBezTo>
                    <a:pt x="414" y="947"/>
                    <a:pt x="428" y="943"/>
                    <a:pt x="438" y="923"/>
                  </a:cubicBezTo>
                  <a:cubicBezTo>
                    <a:pt x="448" y="904"/>
                    <a:pt x="464" y="879"/>
                    <a:pt x="486" y="914"/>
                  </a:cubicBezTo>
                  <a:cubicBezTo>
                    <a:pt x="507" y="948"/>
                    <a:pt x="502" y="958"/>
                    <a:pt x="533" y="962"/>
                  </a:cubicBezTo>
                  <a:cubicBezTo>
                    <a:pt x="564" y="966"/>
                    <a:pt x="564" y="961"/>
                    <a:pt x="590" y="950"/>
                  </a:cubicBezTo>
                  <a:cubicBezTo>
                    <a:pt x="617" y="939"/>
                    <a:pt x="656" y="915"/>
                    <a:pt x="666" y="937"/>
                  </a:cubicBezTo>
                  <a:cubicBezTo>
                    <a:pt x="676" y="959"/>
                    <a:pt x="694" y="968"/>
                    <a:pt x="713" y="971"/>
                  </a:cubicBezTo>
                  <a:cubicBezTo>
                    <a:pt x="716" y="971"/>
                    <a:pt x="718" y="971"/>
                    <a:pt x="720" y="972"/>
                  </a:cubicBezTo>
                  <a:cubicBezTo>
                    <a:pt x="732" y="956"/>
                    <a:pt x="744" y="937"/>
                    <a:pt x="747" y="906"/>
                  </a:cubicBezTo>
                  <a:cubicBezTo>
                    <a:pt x="751" y="850"/>
                    <a:pt x="747" y="813"/>
                    <a:pt x="768" y="791"/>
                  </a:cubicBezTo>
                  <a:cubicBezTo>
                    <a:pt x="790" y="769"/>
                    <a:pt x="808" y="728"/>
                    <a:pt x="812" y="706"/>
                  </a:cubicBezTo>
                  <a:cubicBezTo>
                    <a:pt x="817" y="683"/>
                    <a:pt x="825" y="639"/>
                    <a:pt x="851" y="665"/>
                  </a:cubicBezTo>
                  <a:cubicBezTo>
                    <a:pt x="878" y="691"/>
                    <a:pt x="878" y="702"/>
                    <a:pt x="900" y="680"/>
                  </a:cubicBezTo>
                  <a:cubicBezTo>
                    <a:pt x="921" y="657"/>
                    <a:pt x="974" y="683"/>
                    <a:pt x="948" y="635"/>
                  </a:cubicBezTo>
                  <a:cubicBezTo>
                    <a:pt x="921" y="587"/>
                    <a:pt x="882" y="565"/>
                    <a:pt x="913" y="535"/>
                  </a:cubicBezTo>
                  <a:cubicBezTo>
                    <a:pt x="943" y="505"/>
                    <a:pt x="921" y="498"/>
                    <a:pt x="900" y="472"/>
                  </a:cubicBezTo>
                  <a:cubicBezTo>
                    <a:pt x="878" y="446"/>
                    <a:pt x="878" y="416"/>
                    <a:pt x="913" y="41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09" name="Freeform 30">
              <a:extLst>
                <a:ext uri="{FF2B5EF4-FFF2-40B4-BE49-F238E27FC236}">
                  <a16:creationId xmlns:a16="http://schemas.microsoft.com/office/drawing/2014/main" id="{BA81C542-9A48-5846-8309-3A80336B89AF}"/>
                </a:ext>
              </a:extLst>
            </p:cNvPr>
            <p:cNvSpPr>
              <a:spLocks/>
            </p:cNvSpPr>
            <p:nvPr/>
          </p:nvSpPr>
          <p:spPr bwMode="auto">
            <a:xfrm>
              <a:off x="4939" y="2557"/>
              <a:ext cx="128" cy="134"/>
            </a:xfrm>
            <a:custGeom>
              <a:avLst/>
              <a:gdLst>
                <a:gd name="T0" fmla="*/ 19 w 277"/>
                <a:gd name="T1" fmla="*/ 234 h 288"/>
                <a:gd name="T2" fmla="*/ 76 w 277"/>
                <a:gd name="T3" fmla="*/ 266 h 288"/>
                <a:gd name="T4" fmla="*/ 105 w 277"/>
                <a:gd name="T5" fmla="*/ 288 h 288"/>
                <a:gd name="T6" fmla="*/ 119 w 277"/>
                <a:gd name="T7" fmla="*/ 275 h 288"/>
                <a:gd name="T8" fmla="*/ 264 w 277"/>
                <a:gd name="T9" fmla="*/ 197 h 288"/>
                <a:gd name="T10" fmla="*/ 207 w 277"/>
                <a:gd name="T11" fmla="*/ 112 h 288"/>
                <a:gd name="T12" fmla="*/ 102 w 277"/>
                <a:gd name="T13" fmla="*/ 64 h 288"/>
                <a:gd name="T14" fmla="*/ 63 w 277"/>
                <a:gd name="T15" fmla="*/ 9 h 288"/>
                <a:gd name="T16" fmla="*/ 29 w 277"/>
                <a:gd name="T17" fmla="*/ 12 h 288"/>
                <a:gd name="T18" fmla="*/ 35 w 277"/>
                <a:gd name="T19" fmla="*/ 49 h 288"/>
                <a:gd name="T20" fmla="*/ 73 w 277"/>
                <a:gd name="T21" fmla="*/ 87 h 288"/>
                <a:gd name="T22" fmla="*/ 40 w 277"/>
                <a:gd name="T23" fmla="*/ 110 h 288"/>
                <a:gd name="T24" fmla="*/ 47 w 277"/>
                <a:gd name="T25" fmla="*/ 155 h 288"/>
                <a:gd name="T26" fmla="*/ 21 w 277"/>
                <a:gd name="T27" fmla="*/ 194 h 288"/>
                <a:gd name="T28" fmla="*/ 0 w 277"/>
                <a:gd name="T29" fmla="*/ 219 h 288"/>
                <a:gd name="T30" fmla="*/ 19 w 277"/>
                <a:gd name="T31" fmla="*/ 23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288">
                  <a:moveTo>
                    <a:pt x="19" y="234"/>
                  </a:moveTo>
                  <a:cubicBezTo>
                    <a:pt x="57" y="249"/>
                    <a:pt x="55" y="262"/>
                    <a:pt x="76" y="266"/>
                  </a:cubicBezTo>
                  <a:cubicBezTo>
                    <a:pt x="89" y="269"/>
                    <a:pt x="96" y="279"/>
                    <a:pt x="105" y="288"/>
                  </a:cubicBezTo>
                  <a:cubicBezTo>
                    <a:pt x="109" y="283"/>
                    <a:pt x="114" y="278"/>
                    <a:pt x="119" y="275"/>
                  </a:cubicBezTo>
                  <a:cubicBezTo>
                    <a:pt x="150" y="256"/>
                    <a:pt x="277" y="227"/>
                    <a:pt x="264" y="197"/>
                  </a:cubicBezTo>
                  <a:cubicBezTo>
                    <a:pt x="250" y="167"/>
                    <a:pt x="233" y="130"/>
                    <a:pt x="207" y="112"/>
                  </a:cubicBezTo>
                  <a:cubicBezTo>
                    <a:pt x="181" y="93"/>
                    <a:pt x="128" y="75"/>
                    <a:pt x="102" y="64"/>
                  </a:cubicBezTo>
                  <a:cubicBezTo>
                    <a:pt x="84" y="56"/>
                    <a:pt x="58" y="22"/>
                    <a:pt x="63" y="9"/>
                  </a:cubicBezTo>
                  <a:cubicBezTo>
                    <a:pt x="41" y="0"/>
                    <a:pt x="41" y="8"/>
                    <a:pt x="29" y="12"/>
                  </a:cubicBezTo>
                  <a:cubicBezTo>
                    <a:pt x="12" y="16"/>
                    <a:pt x="17" y="35"/>
                    <a:pt x="35" y="49"/>
                  </a:cubicBezTo>
                  <a:cubicBezTo>
                    <a:pt x="53" y="63"/>
                    <a:pt x="63" y="69"/>
                    <a:pt x="73" y="87"/>
                  </a:cubicBezTo>
                  <a:cubicBezTo>
                    <a:pt x="83" y="105"/>
                    <a:pt x="63" y="103"/>
                    <a:pt x="40" y="110"/>
                  </a:cubicBezTo>
                  <a:cubicBezTo>
                    <a:pt x="17" y="117"/>
                    <a:pt x="50" y="133"/>
                    <a:pt x="47" y="155"/>
                  </a:cubicBezTo>
                  <a:cubicBezTo>
                    <a:pt x="44" y="177"/>
                    <a:pt x="26" y="171"/>
                    <a:pt x="21" y="194"/>
                  </a:cubicBezTo>
                  <a:cubicBezTo>
                    <a:pt x="16" y="214"/>
                    <a:pt x="11" y="214"/>
                    <a:pt x="0" y="219"/>
                  </a:cubicBezTo>
                  <a:cubicBezTo>
                    <a:pt x="3" y="225"/>
                    <a:pt x="9" y="230"/>
                    <a:pt x="19" y="234"/>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0" name="Freeform 31">
              <a:extLst>
                <a:ext uri="{FF2B5EF4-FFF2-40B4-BE49-F238E27FC236}">
                  <a16:creationId xmlns:a16="http://schemas.microsoft.com/office/drawing/2014/main" id="{A7F295D8-36A8-1E4C-9F37-7A7CD70866E9}"/>
                </a:ext>
              </a:extLst>
            </p:cNvPr>
            <p:cNvSpPr>
              <a:spLocks/>
            </p:cNvSpPr>
            <p:nvPr/>
          </p:nvSpPr>
          <p:spPr bwMode="auto">
            <a:xfrm>
              <a:off x="4205" y="1864"/>
              <a:ext cx="781" cy="475"/>
            </a:xfrm>
            <a:custGeom>
              <a:avLst/>
              <a:gdLst>
                <a:gd name="T0" fmla="*/ 1555 w 1686"/>
                <a:gd name="T1" fmla="*/ 63 h 1025"/>
                <a:gd name="T2" fmla="*/ 1393 w 1686"/>
                <a:gd name="T3" fmla="*/ 100 h 1025"/>
                <a:gd name="T4" fmla="*/ 1262 w 1686"/>
                <a:gd name="T5" fmla="*/ 48 h 1025"/>
                <a:gd name="T6" fmla="*/ 1109 w 1686"/>
                <a:gd name="T7" fmla="*/ 119 h 1025"/>
                <a:gd name="T8" fmla="*/ 987 w 1686"/>
                <a:gd name="T9" fmla="*/ 260 h 1025"/>
                <a:gd name="T10" fmla="*/ 847 w 1686"/>
                <a:gd name="T11" fmla="*/ 185 h 1025"/>
                <a:gd name="T12" fmla="*/ 782 w 1686"/>
                <a:gd name="T13" fmla="*/ 41 h 1025"/>
                <a:gd name="T14" fmla="*/ 548 w 1686"/>
                <a:gd name="T15" fmla="*/ 35 h 1025"/>
                <a:gd name="T16" fmla="*/ 469 w 1686"/>
                <a:gd name="T17" fmla="*/ 144 h 1025"/>
                <a:gd name="T18" fmla="*/ 296 w 1686"/>
                <a:gd name="T19" fmla="*/ 238 h 1025"/>
                <a:gd name="T20" fmla="*/ 197 w 1686"/>
                <a:gd name="T21" fmla="*/ 313 h 1025"/>
                <a:gd name="T22" fmla="*/ 102 w 1686"/>
                <a:gd name="T23" fmla="*/ 469 h 1025"/>
                <a:gd name="T24" fmla="*/ 99 w 1686"/>
                <a:gd name="T25" fmla="*/ 600 h 1025"/>
                <a:gd name="T26" fmla="*/ 87 w 1686"/>
                <a:gd name="T27" fmla="*/ 695 h 1025"/>
                <a:gd name="T28" fmla="*/ 203 w 1686"/>
                <a:gd name="T29" fmla="*/ 677 h 1025"/>
                <a:gd name="T30" fmla="*/ 63 w 1686"/>
                <a:gd name="T31" fmla="*/ 832 h 1025"/>
                <a:gd name="T32" fmla="*/ 26 w 1686"/>
                <a:gd name="T33" fmla="*/ 923 h 1025"/>
                <a:gd name="T34" fmla="*/ 155 w 1686"/>
                <a:gd name="T35" fmla="*/ 990 h 1025"/>
                <a:gd name="T36" fmla="*/ 303 w 1686"/>
                <a:gd name="T37" fmla="*/ 990 h 1025"/>
                <a:gd name="T38" fmla="*/ 345 w 1686"/>
                <a:gd name="T39" fmla="*/ 996 h 1025"/>
                <a:gd name="T40" fmla="*/ 378 w 1686"/>
                <a:gd name="T41" fmla="*/ 915 h 1025"/>
                <a:gd name="T42" fmla="*/ 489 w 1686"/>
                <a:gd name="T43" fmla="*/ 898 h 1025"/>
                <a:gd name="T44" fmla="*/ 623 w 1686"/>
                <a:gd name="T45" fmla="*/ 975 h 1025"/>
                <a:gd name="T46" fmla="*/ 704 w 1686"/>
                <a:gd name="T47" fmla="*/ 940 h 1025"/>
                <a:gd name="T48" fmla="*/ 782 w 1686"/>
                <a:gd name="T49" fmla="*/ 955 h 1025"/>
                <a:gd name="T50" fmla="*/ 851 w 1686"/>
                <a:gd name="T51" fmla="*/ 897 h 1025"/>
                <a:gd name="T52" fmla="*/ 944 w 1686"/>
                <a:gd name="T53" fmla="*/ 793 h 1025"/>
                <a:gd name="T54" fmla="*/ 1057 w 1686"/>
                <a:gd name="T55" fmla="*/ 734 h 1025"/>
                <a:gd name="T56" fmla="*/ 1188 w 1686"/>
                <a:gd name="T57" fmla="*/ 556 h 1025"/>
                <a:gd name="T58" fmla="*/ 1297 w 1686"/>
                <a:gd name="T59" fmla="*/ 452 h 1025"/>
                <a:gd name="T60" fmla="*/ 1485 w 1686"/>
                <a:gd name="T61" fmla="*/ 248 h 1025"/>
                <a:gd name="T62" fmla="*/ 1651 w 1686"/>
                <a:gd name="T63" fmla="*/ 178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6" h="1025">
                  <a:moveTo>
                    <a:pt x="1638" y="71"/>
                  </a:moveTo>
                  <a:cubicBezTo>
                    <a:pt x="1590" y="63"/>
                    <a:pt x="1577" y="85"/>
                    <a:pt x="1555" y="63"/>
                  </a:cubicBezTo>
                  <a:cubicBezTo>
                    <a:pt x="1533" y="41"/>
                    <a:pt x="1516" y="59"/>
                    <a:pt x="1485" y="82"/>
                  </a:cubicBezTo>
                  <a:cubicBezTo>
                    <a:pt x="1454" y="104"/>
                    <a:pt x="1433" y="122"/>
                    <a:pt x="1393" y="100"/>
                  </a:cubicBezTo>
                  <a:cubicBezTo>
                    <a:pt x="1354" y="78"/>
                    <a:pt x="1363" y="74"/>
                    <a:pt x="1332" y="78"/>
                  </a:cubicBezTo>
                  <a:cubicBezTo>
                    <a:pt x="1302" y="82"/>
                    <a:pt x="1275" y="48"/>
                    <a:pt x="1262" y="48"/>
                  </a:cubicBezTo>
                  <a:cubicBezTo>
                    <a:pt x="1249" y="48"/>
                    <a:pt x="1214" y="0"/>
                    <a:pt x="1162" y="59"/>
                  </a:cubicBezTo>
                  <a:cubicBezTo>
                    <a:pt x="1109" y="119"/>
                    <a:pt x="1140" y="74"/>
                    <a:pt x="1109" y="119"/>
                  </a:cubicBezTo>
                  <a:cubicBezTo>
                    <a:pt x="1079" y="163"/>
                    <a:pt x="1057" y="189"/>
                    <a:pt x="1048" y="219"/>
                  </a:cubicBezTo>
                  <a:cubicBezTo>
                    <a:pt x="1039" y="248"/>
                    <a:pt x="1039" y="256"/>
                    <a:pt x="987" y="260"/>
                  </a:cubicBezTo>
                  <a:cubicBezTo>
                    <a:pt x="935" y="263"/>
                    <a:pt x="895" y="271"/>
                    <a:pt x="869" y="248"/>
                  </a:cubicBezTo>
                  <a:cubicBezTo>
                    <a:pt x="843" y="226"/>
                    <a:pt x="834" y="223"/>
                    <a:pt x="847" y="185"/>
                  </a:cubicBezTo>
                  <a:cubicBezTo>
                    <a:pt x="860" y="148"/>
                    <a:pt x="891" y="141"/>
                    <a:pt x="856" y="119"/>
                  </a:cubicBezTo>
                  <a:cubicBezTo>
                    <a:pt x="821" y="96"/>
                    <a:pt x="821" y="33"/>
                    <a:pt x="782" y="41"/>
                  </a:cubicBezTo>
                  <a:cubicBezTo>
                    <a:pt x="742" y="48"/>
                    <a:pt x="594" y="74"/>
                    <a:pt x="555" y="41"/>
                  </a:cubicBezTo>
                  <a:cubicBezTo>
                    <a:pt x="552" y="39"/>
                    <a:pt x="550" y="37"/>
                    <a:pt x="548" y="35"/>
                  </a:cubicBezTo>
                  <a:cubicBezTo>
                    <a:pt x="539" y="50"/>
                    <a:pt x="531" y="60"/>
                    <a:pt x="525" y="77"/>
                  </a:cubicBezTo>
                  <a:cubicBezTo>
                    <a:pt x="515" y="105"/>
                    <a:pt x="489" y="110"/>
                    <a:pt x="469" y="144"/>
                  </a:cubicBezTo>
                  <a:cubicBezTo>
                    <a:pt x="450" y="177"/>
                    <a:pt x="410" y="163"/>
                    <a:pt x="355" y="166"/>
                  </a:cubicBezTo>
                  <a:cubicBezTo>
                    <a:pt x="299" y="169"/>
                    <a:pt x="309" y="230"/>
                    <a:pt x="296" y="238"/>
                  </a:cubicBezTo>
                  <a:cubicBezTo>
                    <a:pt x="283" y="247"/>
                    <a:pt x="266" y="238"/>
                    <a:pt x="247" y="269"/>
                  </a:cubicBezTo>
                  <a:cubicBezTo>
                    <a:pt x="227" y="299"/>
                    <a:pt x="240" y="311"/>
                    <a:pt x="197" y="313"/>
                  </a:cubicBezTo>
                  <a:cubicBezTo>
                    <a:pt x="155" y="316"/>
                    <a:pt x="165" y="363"/>
                    <a:pt x="145" y="402"/>
                  </a:cubicBezTo>
                  <a:cubicBezTo>
                    <a:pt x="125" y="441"/>
                    <a:pt x="129" y="461"/>
                    <a:pt x="102" y="469"/>
                  </a:cubicBezTo>
                  <a:cubicBezTo>
                    <a:pt x="76" y="477"/>
                    <a:pt x="76" y="491"/>
                    <a:pt x="53" y="522"/>
                  </a:cubicBezTo>
                  <a:cubicBezTo>
                    <a:pt x="30" y="552"/>
                    <a:pt x="63" y="566"/>
                    <a:pt x="99" y="600"/>
                  </a:cubicBezTo>
                  <a:cubicBezTo>
                    <a:pt x="118" y="617"/>
                    <a:pt x="110" y="631"/>
                    <a:pt x="99" y="642"/>
                  </a:cubicBezTo>
                  <a:cubicBezTo>
                    <a:pt x="110" y="644"/>
                    <a:pt x="97" y="653"/>
                    <a:pt x="87" y="695"/>
                  </a:cubicBezTo>
                  <a:cubicBezTo>
                    <a:pt x="74" y="749"/>
                    <a:pt x="140" y="684"/>
                    <a:pt x="175" y="673"/>
                  </a:cubicBezTo>
                  <a:cubicBezTo>
                    <a:pt x="273" y="593"/>
                    <a:pt x="227" y="662"/>
                    <a:pt x="203" y="677"/>
                  </a:cubicBezTo>
                  <a:cubicBezTo>
                    <a:pt x="179" y="691"/>
                    <a:pt x="148" y="740"/>
                    <a:pt x="127" y="760"/>
                  </a:cubicBezTo>
                  <a:cubicBezTo>
                    <a:pt x="105" y="780"/>
                    <a:pt x="96" y="814"/>
                    <a:pt x="63" y="832"/>
                  </a:cubicBezTo>
                  <a:cubicBezTo>
                    <a:pt x="30" y="851"/>
                    <a:pt x="35" y="853"/>
                    <a:pt x="19" y="877"/>
                  </a:cubicBezTo>
                  <a:cubicBezTo>
                    <a:pt x="4" y="901"/>
                    <a:pt x="0" y="908"/>
                    <a:pt x="26" y="923"/>
                  </a:cubicBezTo>
                  <a:cubicBezTo>
                    <a:pt x="52" y="938"/>
                    <a:pt x="72" y="936"/>
                    <a:pt x="109" y="949"/>
                  </a:cubicBezTo>
                  <a:cubicBezTo>
                    <a:pt x="146" y="962"/>
                    <a:pt x="146" y="975"/>
                    <a:pt x="155" y="990"/>
                  </a:cubicBezTo>
                  <a:cubicBezTo>
                    <a:pt x="164" y="1005"/>
                    <a:pt x="177" y="1006"/>
                    <a:pt x="216" y="1016"/>
                  </a:cubicBezTo>
                  <a:cubicBezTo>
                    <a:pt x="255" y="1025"/>
                    <a:pt x="271" y="993"/>
                    <a:pt x="303" y="990"/>
                  </a:cubicBezTo>
                  <a:cubicBezTo>
                    <a:pt x="318" y="988"/>
                    <a:pt x="325" y="995"/>
                    <a:pt x="329" y="1003"/>
                  </a:cubicBezTo>
                  <a:cubicBezTo>
                    <a:pt x="335" y="1001"/>
                    <a:pt x="341" y="998"/>
                    <a:pt x="345" y="996"/>
                  </a:cubicBezTo>
                  <a:cubicBezTo>
                    <a:pt x="353" y="992"/>
                    <a:pt x="362" y="977"/>
                    <a:pt x="377" y="970"/>
                  </a:cubicBezTo>
                  <a:cubicBezTo>
                    <a:pt x="374" y="955"/>
                    <a:pt x="373" y="928"/>
                    <a:pt x="378" y="915"/>
                  </a:cubicBezTo>
                  <a:cubicBezTo>
                    <a:pt x="383" y="901"/>
                    <a:pt x="384" y="910"/>
                    <a:pt x="415" y="896"/>
                  </a:cubicBezTo>
                  <a:cubicBezTo>
                    <a:pt x="446" y="882"/>
                    <a:pt x="464" y="875"/>
                    <a:pt x="489" y="898"/>
                  </a:cubicBezTo>
                  <a:cubicBezTo>
                    <a:pt x="514" y="922"/>
                    <a:pt x="540" y="957"/>
                    <a:pt x="555" y="968"/>
                  </a:cubicBezTo>
                  <a:cubicBezTo>
                    <a:pt x="569" y="979"/>
                    <a:pt x="599" y="947"/>
                    <a:pt x="623" y="975"/>
                  </a:cubicBezTo>
                  <a:cubicBezTo>
                    <a:pt x="648" y="1003"/>
                    <a:pt x="650" y="983"/>
                    <a:pt x="671" y="968"/>
                  </a:cubicBezTo>
                  <a:cubicBezTo>
                    <a:pt x="692" y="953"/>
                    <a:pt x="705" y="957"/>
                    <a:pt x="704" y="940"/>
                  </a:cubicBezTo>
                  <a:cubicBezTo>
                    <a:pt x="702" y="923"/>
                    <a:pt x="704" y="904"/>
                    <a:pt x="754" y="918"/>
                  </a:cubicBezTo>
                  <a:cubicBezTo>
                    <a:pt x="774" y="933"/>
                    <a:pt x="777" y="953"/>
                    <a:pt x="782" y="955"/>
                  </a:cubicBezTo>
                  <a:cubicBezTo>
                    <a:pt x="787" y="958"/>
                    <a:pt x="812" y="967"/>
                    <a:pt x="822" y="947"/>
                  </a:cubicBezTo>
                  <a:cubicBezTo>
                    <a:pt x="831" y="928"/>
                    <a:pt x="820" y="900"/>
                    <a:pt x="851" y="897"/>
                  </a:cubicBezTo>
                  <a:cubicBezTo>
                    <a:pt x="882" y="894"/>
                    <a:pt x="912" y="893"/>
                    <a:pt x="917" y="861"/>
                  </a:cubicBezTo>
                  <a:cubicBezTo>
                    <a:pt x="922" y="829"/>
                    <a:pt x="912" y="811"/>
                    <a:pt x="944" y="793"/>
                  </a:cubicBezTo>
                  <a:cubicBezTo>
                    <a:pt x="973" y="777"/>
                    <a:pt x="969" y="764"/>
                    <a:pt x="1031" y="774"/>
                  </a:cubicBezTo>
                  <a:cubicBezTo>
                    <a:pt x="1037" y="765"/>
                    <a:pt x="1045" y="754"/>
                    <a:pt x="1057" y="734"/>
                  </a:cubicBezTo>
                  <a:cubicBezTo>
                    <a:pt x="1088" y="682"/>
                    <a:pt x="1092" y="649"/>
                    <a:pt x="1136" y="626"/>
                  </a:cubicBezTo>
                  <a:cubicBezTo>
                    <a:pt x="1179" y="604"/>
                    <a:pt x="1188" y="586"/>
                    <a:pt x="1188" y="556"/>
                  </a:cubicBezTo>
                  <a:cubicBezTo>
                    <a:pt x="1188" y="526"/>
                    <a:pt x="1136" y="530"/>
                    <a:pt x="1201" y="504"/>
                  </a:cubicBezTo>
                  <a:cubicBezTo>
                    <a:pt x="1267" y="478"/>
                    <a:pt x="1293" y="508"/>
                    <a:pt x="1297" y="452"/>
                  </a:cubicBezTo>
                  <a:cubicBezTo>
                    <a:pt x="1302" y="397"/>
                    <a:pt x="1284" y="360"/>
                    <a:pt x="1336" y="337"/>
                  </a:cubicBezTo>
                  <a:cubicBezTo>
                    <a:pt x="1389" y="315"/>
                    <a:pt x="1433" y="274"/>
                    <a:pt x="1485" y="248"/>
                  </a:cubicBezTo>
                  <a:cubicBezTo>
                    <a:pt x="1537" y="223"/>
                    <a:pt x="1520" y="171"/>
                    <a:pt x="1572" y="208"/>
                  </a:cubicBezTo>
                  <a:cubicBezTo>
                    <a:pt x="1625" y="245"/>
                    <a:pt x="1660" y="223"/>
                    <a:pt x="1651" y="178"/>
                  </a:cubicBezTo>
                  <a:cubicBezTo>
                    <a:pt x="1642" y="134"/>
                    <a:pt x="1686" y="78"/>
                    <a:pt x="1638" y="71"/>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1" name="Freeform 32">
              <a:extLst>
                <a:ext uri="{FF2B5EF4-FFF2-40B4-BE49-F238E27FC236}">
                  <a16:creationId xmlns:a16="http://schemas.microsoft.com/office/drawing/2014/main" id="{B31E007F-3E01-1C46-9543-7FA65DDEFD61}"/>
                </a:ext>
              </a:extLst>
            </p:cNvPr>
            <p:cNvSpPr>
              <a:spLocks/>
            </p:cNvSpPr>
            <p:nvPr/>
          </p:nvSpPr>
          <p:spPr bwMode="auto">
            <a:xfrm>
              <a:off x="4003" y="1366"/>
              <a:ext cx="624" cy="806"/>
            </a:xfrm>
            <a:custGeom>
              <a:avLst/>
              <a:gdLst>
                <a:gd name="T0" fmla="*/ 1147 w 1348"/>
                <a:gd name="T1" fmla="*/ 478 h 1740"/>
                <a:gd name="T2" fmla="*/ 1107 w 1348"/>
                <a:gd name="T3" fmla="*/ 375 h 1740"/>
                <a:gd name="T4" fmla="*/ 1066 w 1348"/>
                <a:gd name="T5" fmla="*/ 326 h 1740"/>
                <a:gd name="T6" fmla="*/ 909 w 1348"/>
                <a:gd name="T7" fmla="*/ 249 h 1740"/>
                <a:gd name="T8" fmla="*/ 861 w 1348"/>
                <a:gd name="T9" fmla="*/ 126 h 1740"/>
                <a:gd name="T10" fmla="*/ 721 w 1348"/>
                <a:gd name="T11" fmla="*/ 34 h 1740"/>
                <a:gd name="T12" fmla="*/ 577 w 1348"/>
                <a:gd name="T13" fmla="*/ 126 h 1740"/>
                <a:gd name="T14" fmla="*/ 568 w 1348"/>
                <a:gd name="T15" fmla="*/ 230 h 1740"/>
                <a:gd name="T16" fmla="*/ 419 w 1348"/>
                <a:gd name="T17" fmla="*/ 267 h 1740"/>
                <a:gd name="T18" fmla="*/ 223 w 1348"/>
                <a:gd name="T19" fmla="*/ 363 h 1740"/>
                <a:gd name="T20" fmla="*/ 109 w 1348"/>
                <a:gd name="T21" fmla="*/ 256 h 1740"/>
                <a:gd name="T22" fmla="*/ 39 w 1348"/>
                <a:gd name="T23" fmla="*/ 382 h 1740"/>
                <a:gd name="T24" fmla="*/ 22 w 1348"/>
                <a:gd name="T25" fmla="*/ 497 h 1740"/>
                <a:gd name="T26" fmla="*/ 79 w 1348"/>
                <a:gd name="T27" fmla="*/ 593 h 1740"/>
                <a:gd name="T28" fmla="*/ 118 w 1348"/>
                <a:gd name="T29" fmla="*/ 666 h 1740"/>
                <a:gd name="T30" fmla="*/ 116 w 1348"/>
                <a:gd name="T31" fmla="*/ 732 h 1740"/>
                <a:gd name="T32" fmla="*/ 155 w 1348"/>
                <a:gd name="T33" fmla="*/ 806 h 1740"/>
                <a:gd name="T34" fmla="*/ 201 w 1348"/>
                <a:gd name="T35" fmla="*/ 888 h 1740"/>
                <a:gd name="T36" fmla="*/ 164 w 1348"/>
                <a:gd name="T37" fmla="*/ 1008 h 1740"/>
                <a:gd name="T38" fmla="*/ 72 w 1348"/>
                <a:gd name="T39" fmla="*/ 1064 h 1740"/>
                <a:gd name="T40" fmla="*/ 33 w 1348"/>
                <a:gd name="T41" fmla="*/ 1171 h 1740"/>
                <a:gd name="T42" fmla="*/ 122 w 1348"/>
                <a:gd name="T43" fmla="*/ 1288 h 1740"/>
                <a:gd name="T44" fmla="*/ 181 w 1348"/>
                <a:gd name="T45" fmla="*/ 1399 h 1740"/>
                <a:gd name="T46" fmla="*/ 131 w 1348"/>
                <a:gd name="T47" fmla="*/ 1540 h 1740"/>
                <a:gd name="T48" fmla="*/ 122 w 1348"/>
                <a:gd name="T49" fmla="*/ 1683 h 1740"/>
                <a:gd name="T50" fmla="*/ 221 w 1348"/>
                <a:gd name="T51" fmla="*/ 1701 h 1740"/>
                <a:gd name="T52" fmla="*/ 360 w 1348"/>
                <a:gd name="T53" fmla="*/ 1724 h 1740"/>
                <a:gd name="T54" fmla="*/ 446 w 1348"/>
                <a:gd name="T55" fmla="*/ 1718 h 1740"/>
                <a:gd name="T56" fmla="*/ 536 w 1348"/>
                <a:gd name="T57" fmla="*/ 1717 h 1740"/>
                <a:gd name="T58" fmla="*/ 490 w 1348"/>
                <a:gd name="T59" fmla="*/ 1597 h 1740"/>
                <a:gd name="T60" fmla="*/ 582 w 1348"/>
                <a:gd name="T61" fmla="*/ 1477 h 1740"/>
                <a:gd name="T62" fmla="*/ 684 w 1348"/>
                <a:gd name="T63" fmla="*/ 1344 h 1740"/>
                <a:gd name="T64" fmla="*/ 792 w 1348"/>
                <a:gd name="T65" fmla="*/ 1241 h 1740"/>
                <a:gd name="T66" fmla="*/ 962 w 1348"/>
                <a:gd name="T67" fmla="*/ 1152 h 1740"/>
                <a:gd name="T68" fmla="*/ 924 w 1348"/>
                <a:gd name="T69" fmla="*/ 1018 h 1740"/>
                <a:gd name="T70" fmla="*/ 841 w 1348"/>
                <a:gd name="T71" fmla="*/ 1049 h 1740"/>
                <a:gd name="T72" fmla="*/ 723 w 1348"/>
                <a:gd name="T73" fmla="*/ 1021 h 1740"/>
                <a:gd name="T74" fmla="*/ 723 w 1348"/>
                <a:gd name="T75" fmla="*/ 907 h 1740"/>
                <a:gd name="T76" fmla="*/ 680 w 1348"/>
                <a:gd name="T77" fmla="*/ 805 h 1740"/>
                <a:gd name="T78" fmla="*/ 602 w 1348"/>
                <a:gd name="T79" fmla="*/ 860 h 1740"/>
                <a:gd name="T80" fmla="*/ 444 w 1348"/>
                <a:gd name="T81" fmla="*/ 843 h 1740"/>
                <a:gd name="T82" fmla="*/ 412 w 1348"/>
                <a:gd name="T83" fmla="*/ 721 h 1740"/>
                <a:gd name="T84" fmla="*/ 484 w 1348"/>
                <a:gd name="T85" fmla="*/ 663 h 1740"/>
                <a:gd name="T86" fmla="*/ 546 w 1348"/>
                <a:gd name="T87" fmla="*/ 540 h 1740"/>
                <a:gd name="T88" fmla="*/ 634 w 1348"/>
                <a:gd name="T89" fmla="*/ 482 h 1740"/>
                <a:gd name="T90" fmla="*/ 798 w 1348"/>
                <a:gd name="T91" fmla="*/ 552 h 1740"/>
                <a:gd name="T92" fmla="*/ 838 w 1348"/>
                <a:gd name="T93" fmla="*/ 649 h 1740"/>
                <a:gd name="T94" fmla="*/ 867 w 1348"/>
                <a:gd name="T95" fmla="*/ 757 h 1740"/>
                <a:gd name="T96" fmla="*/ 962 w 1348"/>
                <a:gd name="T97" fmla="*/ 824 h 1740"/>
                <a:gd name="T98" fmla="*/ 996 w 1348"/>
                <a:gd name="T99" fmla="*/ 895 h 1740"/>
                <a:gd name="T100" fmla="*/ 1123 w 1348"/>
                <a:gd name="T101" fmla="*/ 875 h 1740"/>
                <a:gd name="T102" fmla="*/ 1293 w 1348"/>
                <a:gd name="T103" fmla="*/ 667 h 1740"/>
                <a:gd name="T104" fmla="*/ 1251 w 1348"/>
                <a:gd name="T105" fmla="*/ 514 h 1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48" h="1740">
                  <a:moveTo>
                    <a:pt x="1251" y="514"/>
                  </a:moveTo>
                  <a:cubicBezTo>
                    <a:pt x="1243" y="491"/>
                    <a:pt x="1177" y="482"/>
                    <a:pt x="1147" y="478"/>
                  </a:cubicBezTo>
                  <a:cubicBezTo>
                    <a:pt x="1116" y="475"/>
                    <a:pt x="1101" y="473"/>
                    <a:pt x="1077" y="438"/>
                  </a:cubicBezTo>
                  <a:cubicBezTo>
                    <a:pt x="1053" y="402"/>
                    <a:pt x="1103" y="402"/>
                    <a:pt x="1107" y="375"/>
                  </a:cubicBezTo>
                  <a:cubicBezTo>
                    <a:pt x="1110" y="357"/>
                    <a:pt x="1122" y="337"/>
                    <a:pt x="1136" y="319"/>
                  </a:cubicBezTo>
                  <a:cubicBezTo>
                    <a:pt x="1111" y="323"/>
                    <a:pt x="1083" y="326"/>
                    <a:pt x="1066" y="326"/>
                  </a:cubicBezTo>
                  <a:cubicBezTo>
                    <a:pt x="1027" y="326"/>
                    <a:pt x="996" y="352"/>
                    <a:pt x="961" y="326"/>
                  </a:cubicBezTo>
                  <a:cubicBezTo>
                    <a:pt x="926" y="300"/>
                    <a:pt x="939" y="263"/>
                    <a:pt x="909" y="249"/>
                  </a:cubicBezTo>
                  <a:cubicBezTo>
                    <a:pt x="878" y="234"/>
                    <a:pt x="878" y="223"/>
                    <a:pt x="878" y="189"/>
                  </a:cubicBezTo>
                  <a:cubicBezTo>
                    <a:pt x="878" y="156"/>
                    <a:pt x="887" y="141"/>
                    <a:pt x="861" y="126"/>
                  </a:cubicBezTo>
                  <a:cubicBezTo>
                    <a:pt x="834" y="111"/>
                    <a:pt x="795" y="52"/>
                    <a:pt x="795" y="52"/>
                  </a:cubicBezTo>
                  <a:cubicBezTo>
                    <a:pt x="795" y="52"/>
                    <a:pt x="773" y="0"/>
                    <a:pt x="721" y="34"/>
                  </a:cubicBezTo>
                  <a:cubicBezTo>
                    <a:pt x="668" y="67"/>
                    <a:pt x="734" y="52"/>
                    <a:pt x="668" y="67"/>
                  </a:cubicBezTo>
                  <a:cubicBezTo>
                    <a:pt x="603" y="82"/>
                    <a:pt x="572" y="97"/>
                    <a:pt x="577" y="126"/>
                  </a:cubicBezTo>
                  <a:cubicBezTo>
                    <a:pt x="581" y="156"/>
                    <a:pt x="598" y="171"/>
                    <a:pt x="603" y="193"/>
                  </a:cubicBezTo>
                  <a:cubicBezTo>
                    <a:pt x="607" y="215"/>
                    <a:pt x="594" y="245"/>
                    <a:pt x="568" y="230"/>
                  </a:cubicBezTo>
                  <a:cubicBezTo>
                    <a:pt x="542" y="215"/>
                    <a:pt x="515" y="189"/>
                    <a:pt x="489" y="226"/>
                  </a:cubicBezTo>
                  <a:cubicBezTo>
                    <a:pt x="463" y="263"/>
                    <a:pt x="446" y="289"/>
                    <a:pt x="419" y="267"/>
                  </a:cubicBezTo>
                  <a:cubicBezTo>
                    <a:pt x="393" y="245"/>
                    <a:pt x="371" y="249"/>
                    <a:pt x="341" y="282"/>
                  </a:cubicBezTo>
                  <a:cubicBezTo>
                    <a:pt x="310" y="315"/>
                    <a:pt x="262" y="401"/>
                    <a:pt x="223" y="363"/>
                  </a:cubicBezTo>
                  <a:cubicBezTo>
                    <a:pt x="183" y="326"/>
                    <a:pt x="223" y="267"/>
                    <a:pt x="192" y="245"/>
                  </a:cubicBezTo>
                  <a:cubicBezTo>
                    <a:pt x="162" y="223"/>
                    <a:pt x="140" y="226"/>
                    <a:pt x="109" y="256"/>
                  </a:cubicBezTo>
                  <a:cubicBezTo>
                    <a:pt x="79" y="286"/>
                    <a:pt x="74" y="297"/>
                    <a:pt x="74" y="326"/>
                  </a:cubicBezTo>
                  <a:cubicBezTo>
                    <a:pt x="74" y="356"/>
                    <a:pt x="57" y="378"/>
                    <a:pt x="39" y="382"/>
                  </a:cubicBezTo>
                  <a:cubicBezTo>
                    <a:pt x="22" y="386"/>
                    <a:pt x="26" y="393"/>
                    <a:pt x="22" y="430"/>
                  </a:cubicBezTo>
                  <a:cubicBezTo>
                    <a:pt x="17" y="467"/>
                    <a:pt x="44" y="486"/>
                    <a:pt x="22" y="497"/>
                  </a:cubicBezTo>
                  <a:cubicBezTo>
                    <a:pt x="0" y="508"/>
                    <a:pt x="13" y="519"/>
                    <a:pt x="31" y="549"/>
                  </a:cubicBezTo>
                  <a:cubicBezTo>
                    <a:pt x="48" y="578"/>
                    <a:pt x="83" y="578"/>
                    <a:pt x="79" y="593"/>
                  </a:cubicBezTo>
                  <a:cubicBezTo>
                    <a:pt x="78" y="595"/>
                    <a:pt x="78" y="598"/>
                    <a:pt x="78" y="601"/>
                  </a:cubicBezTo>
                  <a:cubicBezTo>
                    <a:pt x="114" y="615"/>
                    <a:pt x="114" y="644"/>
                    <a:pt x="118" y="666"/>
                  </a:cubicBezTo>
                  <a:cubicBezTo>
                    <a:pt x="122" y="690"/>
                    <a:pt x="149" y="669"/>
                    <a:pt x="164" y="697"/>
                  </a:cubicBezTo>
                  <a:cubicBezTo>
                    <a:pt x="179" y="725"/>
                    <a:pt x="146" y="725"/>
                    <a:pt x="116" y="732"/>
                  </a:cubicBezTo>
                  <a:cubicBezTo>
                    <a:pt x="85" y="740"/>
                    <a:pt x="116" y="732"/>
                    <a:pt x="81" y="766"/>
                  </a:cubicBezTo>
                  <a:cubicBezTo>
                    <a:pt x="46" y="799"/>
                    <a:pt x="124" y="806"/>
                    <a:pt x="155" y="806"/>
                  </a:cubicBezTo>
                  <a:cubicBezTo>
                    <a:pt x="186" y="806"/>
                    <a:pt x="179" y="825"/>
                    <a:pt x="179" y="842"/>
                  </a:cubicBezTo>
                  <a:cubicBezTo>
                    <a:pt x="179" y="858"/>
                    <a:pt x="179" y="862"/>
                    <a:pt x="201" y="888"/>
                  </a:cubicBezTo>
                  <a:cubicBezTo>
                    <a:pt x="223" y="914"/>
                    <a:pt x="203" y="938"/>
                    <a:pt x="199" y="955"/>
                  </a:cubicBezTo>
                  <a:cubicBezTo>
                    <a:pt x="194" y="971"/>
                    <a:pt x="183" y="982"/>
                    <a:pt x="164" y="1008"/>
                  </a:cubicBezTo>
                  <a:cubicBezTo>
                    <a:pt x="144" y="1034"/>
                    <a:pt x="118" y="1021"/>
                    <a:pt x="87" y="1010"/>
                  </a:cubicBezTo>
                  <a:cubicBezTo>
                    <a:pt x="57" y="999"/>
                    <a:pt x="72" y="1047"/>
                    <a:pt x="72" y="1064"/>
                  </a:cubicBezTo>
                  <a:cubicBezTo>
                    <a:pt x="72" y="1081"/>
                    <a:pt x="72" y="1077"/>
                    <a:pt x="72" y="1110"/>
                  </a:cubicBezTo>
                  <a:cubicBezTo>
                    <a:pt x="72" y="1144"/>
                    <a:pt x="44" y="1133"/>
                    <a:pt x="33" y="1171"/>
                  </a:cubicBezTo>
                  <a:cubicBezTo>
                    <a:pt x="22" y="1210"/>
                    <a:pt x="46" y="1234"/>
                    <a:pt x="83" y="1246"/>
                  </a:cubicBezTo>
                  <a:cubicBezTo>
                    <a:pt x="120" y="1257"/>
                    <a:pt x="122" y="1270"/>
                    <a:pt x="122" y="1288"/>
                  </a:cubicBezTo>
                  <a:cubicBezTo>
                    <a:pt x="122" y="1307"/>
                    <a:pt x="138" y="1320"/>
                    <a:pt x="159" y="1338"/>
                  </a:cubicBezTo>
                  <a:cubicBezTo>
                    <a:pt x="181" y="1357"/>
                    <a:pt x="183" y="1375"/>
                    <a:pt x="181" y="1399"/>
                  </a:cubicBezTo>
                  <a:cubicBezTo>
                    <a:pt x="179" y="1424"/>
                    <a:pt x="170" y="1438"/>
                    <a:pt x="146" y="1470"/>
                  </a:cubicBezTo>
                  <a:cubicBezTo>
                    <a:pt x="122" y="1501"/>
                    <a:pt x="127" y="1500"/>
                    <a:pt x="131" y="1540"/>
                  </a:cubicBezTo>
                  <a:cubicBezTo>
                    <a:pt x="135" y="1581"/>
                    <a:pt x="118" y="1581"/>
                    <a:pt x="90" y="1601"/>
                  </a:cubicBezTo>
                  <a:cubicBezTo>
                    <a:pt x="61" y="1622"/>
                    <a:pt x="81" y="1655"/>
                    <a:pt x="122" y="1683"/>
                  </a:cubicBezTo>
                  <a:cubicBezTo>
                    <a:pt x="130" y="1688"/>
                    <a:pt x="134" y="1693"/>
                    <a:pt x="137" y="1697"/>
                  </a:cubicBezTo>
                  <a:cubicBezTo>
                    <a:pt x="170" y="1691"/>
                    <a:pt x="204" y="1699"/>
                    <a:pt x="221" y="1701"/>
                  </a:cubicBezTo>
                  <a:cubicBezTo>
                    <a:pt x="245" y="1705"/>
                    <a:pt x="264" y="1716"/>
                    <a:pt x="297" y="1722"/>
                  </a:cubicBezTo>
                  <a:cubicBezTo>
                    <a:pt x="330" y="1727"/>
                    <a:pt x="334" y="1729"/>
                    <a:pt x="360" y="1724"/>
                  </a:cubicBezTo>
                  <a:cubicBezTo>
                    <a:pt x="387" y="1718"/>
                    <a:pt x="382" y="1722"/>
                    <a:pt x="404" y="1731"/>
                  </a:cubicBezTo>
                  <a:cubicBezTo>
                    <a:pt x="426" y="1740"/>
                    <a:pt x="437" y="1737"/>
                    <a:pt x="446" y="1718"/>
                  </a:cubicBezTo>
                  <a:cubicBezTo>
                    <a:pt x="485" y="1672"/>
                    <a:pt x="485" y="1716"/>
                    <a:pt x="520" y="1716"/>
                  </a:cubicBezTo>
                  <a:cubicBezTo>
                    <a:pt x="528" y="1716"/>
                    <a:pt x="533" y="1716"/>
                    <a:pt x="536" y="1717"/>
                  </a:cubicBezTo>
                  <a:cubicBezTo>
                    <a:pt x="547" y="1706"/>
                    <a:pt x="555" y="1692"/>
                    <a:pt x="536" y="1675"/>
                  </a:cubicBezTo>
                  <a:cubicBezTo>
                    <a:pt x="500" y="1641"/>
                    <a:pt x="467" y="1627"/>
                    <a:pt x="490" y="1597"/>
                  </a:cubicBezTo>
                  <a:cubicBezTo>
                    <a:pt x="513" y="1566"/>
                    <a:pt x="513" y="1552"/>
                    <a:pt x="539" y="1544"/>
                  </a:cubicBezTo>
                  <a:cubicBezTo>
                    <a:pt x="566" y="1536"/>
                    <a:pt x="562" y="1516"/>
                    <a:pt x="582" y="1477"/>
                  </a:cubicBezTo>
                  <a:cubicBezTo>
                    <a:pt x="602" y="1438"/>
                    <a:pt x="592" y="1391"/>
                    <a:pt x="634" y="1388"/>
                  </a:cubicBezTo>
                  <a:cubicBezTo>
                    <a:pt x="677" y="1386"/>
                    <a:pt x="664" y="1374"/>
                    <a:pt x="684" y="1344"/>
                  </a:cubicBezTo>
                  <a:cubicBezTo>
                    <a:pt x="703" y="1313"/>
                    <a:pt x="720" y="1322"/>
                    <a:pt x="733" y="1313"/>
                  </a:cubicBezTo>
                  <a:cubicBezTo>
                    <a:pt x="746" y="1305"/>
                    <a:pt x="736" y="1244"/>
                    <a:pt x="792" y="1241"/>
                  </a:cubicBezTo>
                  <a:cubicBezTo>
                    <a:pt x="847" y="1238"/>
                    <a:pt x="887" y="1252"/>
                    <a:pt x="906" y="1219"/>
                  </a:cubicBezTo>
                  <a:cubicBezTo>
                    <a:pt x="926" y="1185"/>
                    <a:pt x="952" y="1180"/>
                    <a:pt x="962" y="1152"/>
                  </a:cubicBezTo>
                  <a:cubicBezTo>
                    <a:pt x="968" y="1135"/>
                    <a:pt x="976" y="1125"/>
                    <a:pt x="985" y="1110"/>
                  </a:cubicBezTo>
                  <a:cubicBezTo>
                    <a:pt x="953" y="1082"/>
                    <a:pt x="922" y="1049"/>
                    <a:pt x="924" y="1018"/>
                  </a:cubicBezTo>
                  <a:cubicBezTo>
                    <a:pt x="913" y="1022"/>
                    <a:pt x="902" y="1028"/>
                    <a:pt x="897" y="1035"/>
                  </a:cubicBezTo>
                  <a:cubicBezTo>
                    <a:pt x="883" y="1052"/>
                    <a:pt x="874" y="1066"/>
                    <a:pt x="841" y="1049"/>
                  </a:cubicBezTo>
                  <a:cubicBezTo>
                    <a:pt x="808" y="1032"/>
                    <a:pt x="802" y="999"/>
                    <a:pt x="782" y="1024"/>
                  </a:cubicBezTo>
                  <a:cubicBezTo>
                    <a:pt x="762" y="1049"/>
                    <a:pt x="746" y="1044"/>
                    <a:pt x="723" y="1021"/>
                  </a:cubicBezTo>
                  <a:cubicBezTo>
                    <a:pt x="700" y="999"/>
                    <a:pt x="690" y="969"/>
                    <a:pt x="707" y="957"/>
                  </a:cubicBezTo>
                  <a:cubicBezTo>
                    <a:pt x="723" y="946"/>
                    <a:pt x="736" y="924"/>
                    <a:pt x="723" y="907"/>
                  </a:cubicBezTo>
                  <a:cubicBezTo>
                    <a:pt x="710" y="891"/>
                    <a:pt x="710" y="866"/>
                    <a:pt x="710" y="843"/>
                  </a:cubicBezTo>
                  <a:cubicBezTo>
                    <a:pt x="710" y="821"/>
                    <a:pt x="707" y="799"/>
                    <a:pt x="680" y="805"/>
                  </a:cubicBezTo>
                  <a:cubicBezTo>
                    <a:pt x="654" y="810"/>
                    <a:pt x="631" y="818"/>
                    <a:pt x="631" y="838"/>
                  </a:cubicBezTo>
                  <a:cubicBezTo>
                    <a:pt x="631" y="857"/>
                    <a:pt x="621" y="877"/>
                    <a:pt x="602" y="860"/>
                  </a:cubicBezTo>
                  <a:cubicBezTo>
                    <a:pt x="582" y="843"/>
                    <a:pt x="572" y="835"/>
                    <a:pt x="536" y="846"/>
                  </a:cubicBezTo>
                  <a:cubicBezTo>
                    <a:pt x="500" y="857"/>
                    <a:pt x="467" y="863"/>
                    <a:pt x="444" y="843"/>
                  </a:cubicBezTo>
                  <a:cubicBezTo>
                    <a:pt x="422" y="824"/>
                    <a:pt x="395" y="807"/>
                    <a:pt x="395" y="782"/>
                  </a:cubicBezTo>
                  <a:cubicBezTo>
                    <a:pt x="395" y="757"/>
                    <a:pt x="389" y="735"/>
                    <a:pt x="412" y="721"/>
                  </a:cubicBezTo>
                  <a:cubicBezTo>
                    <a:pt x="435" y="707"/>
                    <a:pt x="438" y="696"/>
                    <a:pt x="458" y="693"/>
                  </a:cubicBezTo>
                  <a:cubicBezTo>
                    <a:pt x="477" y="691"/>
                    <a:pt x="494" y="677"/>
                    <a:pt x="484" y="663"/>
                  </a:cubicBezTo>
                  <a:cubicBezTo>
                    <a:pt x="474" y="649"/>
                    <a:pt x="451" y="604"/>
                    <a:pt x="481" y="585"/>
                  </a:cubicBezTo>
                  <a:cubicBezTo>
                    <a:pt x="510" y="565"/>
                    <a:pt x="543" y="571"/>
                    <a:pt x="546" y="540"/>
                  </a:cubicBezTo>
                  <a:cubicBezTo>
                    <a:pt x="549" y="510"/>
                    <a:pt x="543" y="507"/>
                    <a:pt x="572" y="485"/>
                  </a:cubicBezTo>
                  <a:cubicBezTo>
                    <a:pt x="602" y="463"/>
                    <a:pt x="608" y="460"/>
                    <a:pt x="634" y="482"/>
                  </a:cubicBezTo>
                  <a:cubicBezTo>
                    <a:pt x="661" y="504"/>
                    <a:pt x="693" y="538"/>
                    <a:pt x="733" y="532"/>
                  </a:cubicBezTo>
                  <a:cubicBezTo>
                    <a:pt x="772" y="527"/>
                    <a:pt x="831" y="527"/>
                    <a:pt x="798" y="552"/>
                  </a:cubicBezTo>
                  <a:cubicBezTo>
                    <a:pt x="766" y="577"/>
                    <a:pt x="762" y="604"/>
                    <a:pt x="779" y="616"/>
                  </a:cubicBezTo>
                  <a:cubicBezTo>
                    <a:pt x="795" y="627"/>
                    <a:pt x="802" y="646"/>
                    <a:pt x="838" y="649"/>
                  </a:cubicBezTo>
                  <a:cubicBezTo>
                    <a:pt x="874" y="652"/>
                    <a:pt x="893" y="668"/>
                    <a:pt x="870" y="693"/>
                  </a:cubicBezTo>
                  <a:cubicBezTo>
                    <a:pt x="847" y="718"/>
                    <a:pt x="854" y="743"/>
                    <a:pt x="867" y="757"/>
                  </a:cubicBezTo>
                  <a:cubicBezTo>
                    <a:pt x="880" y="771"/>
                    <a:pt x="923" y="788"/>
                    <a:pt x="933" y="805"/>
                  </a:cubicBezTo>
                  <a:cubicBezTo>
                    <a:pt x="942" y="821"/>
                    <a:pt x="949" y="818"/>
                    <a:pt x="962" y="824"/>
                  </a:cubicBezTo>
                  <a:cubicBezTo>
                    <a:pt x="975" y="830"/>
                    <a:pt x="982" y="852"/>
                    <a:pt x="982" y="866"/>
                  </a:cubicBezTo>
                  <a:cubicBezTo>
                    <a:pt x="982" y="876"/>
                    <a:pt x="990" y="881"/>
                    <a:pt x="996" y="895"/>
                  </a:cubicBezTo>
                  <a:cubicBezTo>
                    <a:pt x="1007" y="897"/>
                    <a:pt x="1021" y="903"/>
                    <a:pt x="1035" y="908"/>
                  </a:cubicBezTo>
                  <a:cubicBezTo>
                    <a:pt x="1066" y="919"/>
                    <a:pt x="1079" y="886"/>
                    <a:pt x="1123" y="875"/>
                  </a:cubicBezTo>
                  <a:cubicBezTo>
                    <a:pt x="1166" y="864"/>
                    <a:pt x="1223" y="853"/>
                    <a:pt x="1232" y="823"/>
                  </a:cubicBezTo>
                  <a:cubicBezTo>
                    <a:pt x="1241" y="793"/>
                    <a:pt x="1241" y="693"/>
                    <a:pt x="1293" y="667"/>
                  </a:cubicBezTo>
                  <a:cubicBezTo>
                    <a:pt x="1311" y="659"/>
                    <a:pt x="1329" y="649"/>
                    <a:pt x="1348" y="636"/>
                  </a:cubicBezTo>
                  <a:cubicBezTo>
                    <a:pt x="1317" y="593"/>
                    <a:pt x="1259" y="533"/>
                    <a:pt x="1251" y="514"/>
                  </a:cubicBezTo>
                  <a:close/>
                </a:path>
              </a:pathLst>
            </a:custGeom>
            <a:solidFill>
              <a:schemeClr val="accent2"/>
            </a:solid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2" name="Freeform 33">
              <a:extLst>
                <a:ext uri="{FF2B5EF4-FFF2-40B4-BE49-F238E27FC236}">
                  <a16:creationId xmlns:a16="http://schemas.microsoft.com/office/drawing/2014/main" id="{9CFB38FD-3221-454F-BFA4-79B5057FF39D}"/>
                </a:ext>
              </a:extLst>
            </p:cNvPr>
            <p:cNvSpPr>
              <a:spLocks/>
            </p:cNvSpPr>
            <p:nvPr/>
          </p:nvSpPr>
          <p:spPr bwMode="auto">
            <a:xfrm>
              <a:off x="4183" y="1579"/>
              <a:ext cx="205" cy="193"/>
            </a:xfrm>
            <a:custGeom>
              <a:avLst/>
              <a:gdLst>
                <a:gd name="T0" fmla="*/ 347 w 442"/>
                <a:gd name="T1" fmla="*/ 322 h 417"/>
                <a:gd name="T2" fmla="*/ 399 w 442"/>
                <a:gd name="T3" fmla="*/ 286 h 417"/>
                <a:gd name="T4" fmla="*/ 393 w 442"/>
                <a:gd name="T5" fmla="*/ 219 h 417"/>
                <a:gd name="T6" fmla="*/ 424 w 442"/>
                <a:gd name="T7" fmla="*/ 183 h 417"/>
                <a:gd name="T8" fmla="*/ 390 w 442"/>
                <a:gd name="T9" fmla="*/ 156 h 417"/>
                <a:gd name="T10" fmla="*/ 409 w 442"/>
                <a:gd name="T11" fmla="*/ 92 h 417"/>
                <a:gd name="T12" fmla="*/ 344 w 442"/>
                <a:gd name="T13" fmla="*/ 72 h 417"/>
                <a:gd name="T14" fmla="*/ 245 w 442"/>
                <a:gd name="T15" fmla="*/ 22 h 417"/>
                <a:gd name="T16" fmla="*/ 183 w 442"/>
                <a:gd name="T17" fmla="*/ 25 h 417"/>
                <a:gd name="T18" fmla="*/ 157 w 442"/>
                <a:gd name="T19" fmla="*/ 80 h 417"/>
                <a:gd name="T20" fmla="*/ 92 w 442"/>
                <a:gd name="T21" fmla="*/ 125 h 417"/>
                <a:gd name="T22" fmla="*/ 95 w 442"/>
                <a:gd name="T23" fmla="*/ 203 h 417"/>
                <a:gd name="T24" fmla="*/ 69 w 442"/>
                <a:gd name="T25" fmla="*/ 233 h 417"/>
                <a:gd name="T26" fmla="*/ 23 w 442"/>
                <a:gd name="T27" fmla="*/ 261 h 417"/>
                <a:gd name="T28" fmla="*/ 6 w 442"/>
                <a:gd name="T29" fmla="*/ 322 h 417"/>
                <a:gd name="T30" fmla="*/ 55 w 442"/>
                <a:gd name="T31" fmla="*/ 383 h 417"/>
                <a:gd name="T32" fmla="*/ 147 w 442"/>
                <a:gd name="T33" fmla="*/ 386 h 417"/>
                <a:gd name="T34" fmla="*/ 213 w 442"/>
                <a:gd name="T35" fmla="*/ 400 h 417"/>
                <a:gd name="T36" fmla="*/ 242 w 442"/>
                <a:gd name="T37" fmla="*/ 378 h 417"/>
                <a:gd name="T38" fmla="*/ 291 w 442"/>
                <a:gd name="T39" fmla="*/ 345 h 417"/>
                <a:gd name="T40" fmla="*/ 306 w 442"/>
                <a:gd name="T41" fmla="*/ 345 h 417"/>
                <a:gd name="T42" fmla="*/ 347 w 442"/>
                <a:gd name="T43" fmla="*/ 322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2" h="417">
                  <a:moveTo>
                    <a:pt x="347" y="322"/>
                  </a:moveTo>
                  <a:cubicBezTo>
                    <a:pt x="383" y="325"/>
                    <a:pt x="406" y="311"/>
                    <a:pt x="399" y="286"/>
                  </a:cubicBezTo>
                  <a:cubicBezTo>
                    <a:pt x="393" y="261"/>
                    <a:pt x="367" y="247"/>
                    <a:pt x="393" y="219"/>
                  </a:cubicBezTo>
                  <a:cubicBezTo>
                    <a:pt x="408" y="204"/>
                    <a:pt x="416" y="194"/>
                    <a:pt x="424" y="183"/>
                  </a:cubicBezTo>
                  <a:cubicBezTo>
                    <a:pt x="408" y="176"/>
                    <a:pt x="401" y="163"/>
                    <a:pt x="390" y="156"/>
                  </a:cubicBezTo>
                  <a:cubicBezTo>
                    <a:pt x="373" y="144"/>
                    <a:pt x="377" y="117"/>
                    <a:pt x="409" y="92"/>
                  </a:cubicBezTo>
                  <a:cubicBezTo>
                    <a:pt x="442" y="67"/>
                    <a:pt x="383" y="67"/>
                    <a:pt x="344" y="72"/>
                  </a:cubicBezTo>
                  <a:cubicBezTo>
                    <a:pt x="304" y="78"/>
                    <a:pt x="272" y="44"/>
                    <a:pt x="245" y="22"/>
                  </a:cubicBezTo>
                  <a:cubicBezTo>
                    <a:pt x="219" y="0"/>
                    <a:pt x="213" y="3"/>
                    <a:pt x="183" y="25"/>
                  </a:cubicBezTo>
                  <a:cubicBezTo>
                    <a:pt x="154" y="47"/>
                    <a:pt x="160" y="50"/>
                    <a:pt x="157" y="80"/>
                  </a:cubicBezTo>
                  <a:cubicBezTo>
                    <a:pt x="154" y="111"/>
                    <a:pt x="121" y="105"/>
                    <a:pt x="92" y="125"/>
                  </a:cubicBezTo>
                  <a:cubicBezTo>
                    <a:pt x="62" y="144"/>
                    <a:pt x="85" y="189"/>
                    <a:pt x="95" y="203"/>
                  </a:cubicBezTo>
                  <a:cubicBezTo>
                    <a:pt x="105" y="217"/>
                    <a:pt x="88" y="231"/>
                    <a:pt x="69" y="233"/>
                  </a:cubicBezTo>
                  <a:cubicBezTo>
                    <a:pt x="49" y="236"/>
                    <a:pt x="46" y="247"/>
                    <a:pt x="23" y="261"/>
                  </a:cubicBezTo>
                  <a:cubicBezTo>
                    <a:pt x="0" y="275"/>
                    <a:pt x="6" y="297"/>
                    <a:pt x="6" y="322"/>
                  </a:cubicBezTo>
                  <a:cubicBezTo>
                    <a:pt x="6" y="347"/>
                    <a:pt x="33" y="364"/>
                    <a:pt x="55" y="383"/>
                  </a:cubicBezTo>
                  <a:cubicBezTo>
                    <a:pt x="78" y="403"/>
                    <a:pt x="111" y="397"/>
                    <a:pt x="147" y="386"/>
                  </a:cubicBezTo>
                  <a:cubicBezTo>
                    <a:pt x="183" y="375"/>
                    <a:pt x="193" y="383"/>
                    <a:pt x="213" y="400"/>
                  </a:cubicBezTo>
                  <a:cubicBezTo>
                    <a:pt x="232" y="417"/>
                    <a:pt x="242" y="397"/>
                    <a:pt x="242" y="378"/>
                  </a:cubicBezTo>
                  <a:cubicBezTo>
                    <a:pt x="242" y="358"/>
                    <a:pt x="265" y="350"/>
                    <a:pt x="291" y="345"/>
                  </a:cubicBezTo>
                  <a:cubicBezTo>
                    <a:pt x="297" y="343"/>
                    <a:pt x="302" y="344"/>
                    <a:pt x="306" y="345"/>
                  </a:cubicBezTo>
                  <a:cubicBezTo>
                    <a:pt x="318" y="332"/>
                    <a:pt x="333" y="321"/>
                    <a:pt x="347" y="322"/>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3" name="Freeform 34">
              <a:extLst>
                <a:ext uri="{FF2B5EF4-FFF2-40B4-BE49-F238E27FC236}">
                  <a16:creationId xmlns:a16="http://schemas.microsoft.com/office/drawing/2014/main" id="{8B052E9F-5BFD-E341-B24D-F0DC32EDCC18}"/>
                </a:ext>
              </a:extLst>
            </p:cNvPr>
            <p:cNvSpPr>
              <a:spLocks/>
            </p:cNvSpPr>
            <p:nvPr/>
          </p:nvSpPr>
          <p:spPr bwMode="auto">
            <a:xfrm>
              <a:off x="4323" y="1664"/>
              <a:ext cx="141" cy="196"/>
            </a:xfrm>
            <a:custGeom>
              <a:avLst/>
              <a:gdLst>
                <a:gd name="T0" fmla="*/ 292 w 306"/>
                <a:gd name="T1" fmla="*/ 223 h 423"/>
                <a:gd name="T2" fmla="*/ 272 w 306"/>
                <a:gd name="T3" fmla="*/ 181 h 423"/>
                <a:gd name="T4" fmla="*/ 243 w 306"/>
                <a:gd name="T5" fmla="*/ 162 h 423"/>
                <a:gd name="T6" fmla="*/ 177 w 306"/>
                <a:gd name="T7" fmla="*/ 114 h 423"/>
                <a:gd name="T8" fmla="*/ 180 w 306"/>
                <a:gd name="T9" fmla="*/ 50 h 423"/>
                <a:gd name="T10" fmla="*/ 148 w 306"/>
                <a:gd name="T11" fmla="*/ 6 h 423"/>
                <a:gd name="T12" fmla="*/ 123 w 306"/>
                <a:gd name="T13" fmla="*/ 0 h 423"/>
                <a:gd name="T14" fmla="*/ 92 w 306"/>
                <a:gd name="T15" fmla="*/ 36 h 423"/>
                <a:gd name="T16" fmla="*/ 98 w 306"/>
                <a:gd name="T17" fmla="*/ 103 h 423"/>
                <a:gd name="T18" fmla="*/ 46 w 306"/>
                <a:gd name="T19" fmla="*/ 139 h 423"/>
                <a:gd name="T20" fmla="*/ 5 w 306"/>
                <a:gd name="T21" fmla="*/ 162 h 423"/>
                <a:gd name="T22" fmla="*/ 20 w 306"/>
                <a:gd name="T23" fmla="*/ 200 h 423"/>
                <a:gd name="T24" fmla="*/ 33 w 306"/>
                <a:gd name="T25" fmla="*/ 264 h 423"/>
                <a:gd name="T26" fmla="*/ 17 w 306"/>
                <a:gd name="T27" fmla="*/ 314 h 423"/>
                <a:gd name="T28" fmla="*/ 33 w 306"/>
                <a:gd name="T29" fmla="*/ 378 h 423"/>
                <a:gd name="T30" fmla="*/ 92 w 306"/>
                <a:gd name="T31" fmla="*/ 381 h 423"/>
                <a:gd name="T32" fmla="*/ 151 w 306"/>
                <a:gd name="T33" fmla="*/ 406 h 423"/>
                <a:gd name="T34" fmla="*/ 207 w 306"/>
                <a:gd name="T35" fmla="*/ 392 h 423"/>
                <a:gd name="T36" fmla="*/ 234 w 306"/>
                <a:gd name="T37" fmla="*/ 375 h 423"/>
                <a:gd name="T38" fmla="*/ 236 w 306"/>
                <a:gd name="T39" fmla="*/ 362 h 423"/>
                <a:gd name="T40" fmla="*/ 280 w 306"/>
                <a:gd name="T41" fmla="*/ 269 h 423"/>
                <a:gd name="T42" fmla="*/ 306 w 306"/>
                <a:gd name="T43" fmla="*/ 252 h 423"/>
                <a:gd name="T44" fmla="*/ 292 w 306"/>
                <a:gd name="T45" fmla="*/ 22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6" h="423">
                  <a:moveTo>
                    <a:pt x="292" y="223"/>
                  </a:moveTo>
                  <a:cubicBezTo>
                    <a:pt x="292" y="209"/>
                    <a:pt x="285" y="187"/>
                    <a:pt x="272" y="181"/>
                  </a:cubicBezTo>
                  <a:cubicBezTo>
                    <a:pt x="259" y="175"/>
                    <a:pt x="252" y="178"/>
                    <a:pt x="243" y="162"/>
                  </a:cubicBezTo>
                  <a:cubicBezTo>
                    <a:pt x="233" y="145"/>
                    <a:pt x="190" y="128"/>
                    <a:pt x="177" y="114"/>
                  </a:cubicBezTo>
                  <a:cubicBezTo>
                    <a:pt x="164" y="100"/>
                    <a:pt x="157" y="75"/>
                    <a:pt x="180" y="50"/>
                  </a:cubicBezTo>
                  <a:cubicBezTo>
                    <a:pt x="203" y="25"/>
                    <a:pt x="184" y="9"/>
                    <a:pt x="148" y="6"/>
                  </a:cubicBezTo>
                  <a:cubicBezTo>
                    <a:pt x="137" y="5"/>
                    <a:pt x="130" y="3"/>
                    <a:pt x="123" y="0"/>
                  </a:cubicBezTo>
                  <a:cubicBezTo>
                    <a:pt x="115" y="11"/>
                    <a:pt x="107" y="21"/>
                    <a:pt x="92" y="36"/>
                  </a:cubicBezTo>
                  <a:cubicBezTo>
                    <a:pt x="66" y="64"/>
                    <a:pt x="92" y="78"/>
                    <a:pt x="98" y="103"/>
                  </a:cubicBezTo>
                  <a:cubicBezTo>
                    <a:pt x="105" y="128"/>
                    <a:pt x="82" y="142"/>
                    <a:pt x="46" y="139"/>
                  </a:cubicBezTo>
                  <a:cubicBezTo>
                    <a:pt x="32" y="138"/>
                    <a:pt x="17" y="149"/>
                    <a:pt x="5" y="162"/>
                  </a:cubicBezTo>
                  <a:cubicBezTo>
                    <a:pt x="18" y="166"/>
                    <a:pt x="20" y="183"/>
                    <a:pt x="20" y="200"/>
                  </a:cubicBezTo>
                  <a:cubicBezTo>
                    <a:pt x="20" y="223"/>
                    <a:pt x="20" y="248"/>
                    <a:pt x="33" y="264"/>
                  </a:cubicBezTo>
                  <a:cubicBezTo>
                    <a:pt x="46" y="281"/>
                    <a:pt x="33" y="303"/>
                    <a:pt x="17" y="314"/>
                  </a:cubicBezTo>
                  <a:cubicBezTo>
                    <a:pt x="0" y="326"/>
                    <a:pt x="10" y="356"/>
                    <a:pt x="33" y="378"/>
                  </a:cubicBezTo>
                  <a:cubicBezTo>
                    <a:pt x="56" y="401"/>
                    <a:pt x="72" y="406"/>
                    <a:pt x="92" y="381"/>
                  </a:cubicBezTo>
                  <a:cubicBezTo>
                    <a:pt x="112" y="356"/>
                    <a:pt x="118" y="389"/>
                    <a:pt x="151" y="406"/>
                  </a:cubicBezTo>
                  <a:cubicBezTo>
                    <a:pt x="184" y="423"/>
                    <a:pt x="193" y="409"/>
                    <a:pt x="207" y="392"/>
                  </a:cubicBezTo>
                  <a:cubicBezTo>
                    <a:pt x="212" y="385"/>
                    <a:pt x="223" y="379"/>
                    <a:pt x="234" y="375"/>
                  </a:cubicBezTo>
                  <a:cubicBezTo>
                    <a:pt x="234" y="370"/>
                    <a:pt x="235" y="366"/>
                    <a:pt x="236" y="362"/>
                  </a:cubicBezTo>
                  <a:cubicBezTo>
                    <a:pt x="249" y="325"/>
                    <a:pt x="271" y="299"/>
                    <a:pt x="280" y="269"/>
                  </a:cubicBezTo>
                  <a:cubicBezTo>
                    <a:pt x="284" y="253"/>
                    <a:pt x="294" y="250"/>
                    <a:pt x="306" y="252"/>
                  </a:cubicBezTo>
                  <a:cubicBezTo>
                    <a:pt x="300" y="238"/>
                    <a:pt x="292" y="233"/>
                    <a:pt x="292" y="223"/>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4" name="Freeform 35">
              <a:extLst>
                <a:ext uri="{FF2B5EF4-FFF2-40B4-BE49-F238E27FC236}">
                  <a16:creationId xmlns:a16="http://schemas.microsoft.com/office/drawing/2014/main" id="{86FE771B-D4EF-D741-922E-09B38F14B18C}"/>
                </a:ext>
              </a:extLst>
            </p:cNvPr>
            <p:cNvSpPr>
              <a:spLocks/>
            </p:cNvSpPr>
            <p:nvPr/>
          </p:nvSpPr>
          <p:spPr bwMode="auto">
            <a:xfrm>
              <a:off x="5023" y="3295"/>
              <a:ext cx="201" cy="412"/>
            </a:xfrm>
            <a:custGeom>
              <a:avLst/>
              <a:gdLst>
                <a:gd name="T0" fmla="*/ 172 w 434"/>
                <a:gd name="T1" fmla="*/ 136 h 890"/>
                <a:gd name="T2" fmla="*/ 137 w 434"/>
                <a:gd name="T3" fmla="*/ 212 h 890"/>
                <a:gd name="T4" fmla="*/ 102 w 434"/>
                <a:gd name="T5" fmla="*/ 249 h 890"/>
                <a:gd name="T6" fmla="*/ 78 w 434"/>
                <a:gd name="T7" fmla="*/ 336 h 890"/>
                <a:gd name="T8" fmla="*/ 50 w 434"/>
                <a:gd name="T9" fmla="*/ 406 h 890"/>
                <a:gd name="T10" fmla="*/ 43 w 434"/>
                <a:gd name="T11" fmla="*/ 445 h 890"/>
                <a:gd name="T12" fmla="*/ 13 w 434"/>
                <a:gd name="T13" fmla="*/ 506 h 890"/>
                <a:gd name="T14" fmla="*/ 32 w 434"/>
                <a:gd name="T15" fmla="*/ 545 h 890"/>
                <a:gd name="T16" fmla="*/ 28 w 434"/>
                <a:gd name="T17" fmla="*/ 625 h 890"/>
                <a:gd name="T18" fmla="*/ 72 w 434"/>
                <a:gd name="T19" fmla="*/ 668 h 890"/>
                <a:gd name="T20" fmla="*/ 111 w 434"/>
                <a:gd name="T21" fmla="*/ 734 h 890"/>
                <a:gd name="T22" fmla="*/ 185 w 434"/>
                <a:gd name="T23" fmla="*/ 773 h 890"/>
                <a:gd name="T24" fmla="*/ 244 w 434"/>
                <a:gd name="T25" fmla="*/ 834 h 890"/>
                <a:gd name="T26" fmla="*/ 284 w 434"/>
                <a:gd name="T27" fmla="*/ 888 h 890"/>
                <a:gd name="T28" fmla="*/ 312 w 434"/>
                <a:gd name="T29" fmla="*/ 855 h 890"/>
                <a:gd name="T30" fmla="*/ 301 w 434"/>
                <a:gd name="T31" fmla="*/ 788 h 890"/>
                <a:gd name="T32" fmla="*/ 318 w 434"/>
                <a:gd name="T33" fmla="*/ 705 h 890"/>
                <a:gd name="T34" fmla="*/ 364 w 434"/>
                <a:gd name="T35" fmla="*/ 619 h 890"/>
                <a:gd name="T36" fmla="*/ 377 w 434"/>
                <a:gd name="T37" fmla="*/ 580 h 890"/>
                <a:gd name="T38" fmla="*/ 388 w 434"/>
                <a:gd name="T39" fmla="*/ 492 h 890"/>
                <a:gd name="T40" fmla="*/ 401 w 434"/>
                <a:gd name="T41" fmla="*/ 438 h 890"/>
                <a:gd name="T42" fmla="*/ 397 w 434"/>
                <a:gd name="T43" fmla="*/ 386 h 890"/>
                <a:gd name="T44" fmla="*/ 419 w 434"/>
                <a:gd name="T45" fmla="*/ 336 h 890"/>
                <a:gd name="T46" fmla="*/ 404 w 434"/>
                <a:gd name="T47" fmla="*/ 278 h 890"/>
                <a:gd name="T48" fmla="*/ 432 w 434"/>
                <a:gd name="T49" fmla="*/ 206 h 890"/>
                <a:gd name="T50" fmla="*/ 406 w 434"/>
                <a:gd name="T51" fmla="*/ 115 h 890"/>
                <a:gd name="T52" fmla="*/ 406 w 434"/>
                <a:gd name="T53" fmla="*/ 45 h 890"/>
                <a:gd name="T54" fmla="*/ 329 w 434"/>
                <a:gd name="T55" fmla="*/ 30 h 890"/>
                <a:gd name="T56" fmla="*/ 294 w 434"/>
                <a:gd name="T57" fmla="*/ 15 h 890"/>
                <a:gd name="T58" fmla="*/ 238 w 434"/>
                <a:gd name="T59" fmla="*/ 62 h 890"/>
                <a:gd name="T60" fmla="*/ 183 w 434"/>
                <a:gd name="T61" fmla="*/ 93 h 890"/>
                <a:gd name="T62" fmla="*/ 172 w 434"/>
                <a:gd name="T63" fmla="*/ 136 h 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4" h="890">
                  <a:moveTo>
                    <a:pt x="172" y="136"/>
                  </a:moveTo>
                  <a:cubicBezTo>
                    <a:pt x="172" y="136"/>
                    <a:pt x="166" y="208"/>
                    <a:pt x="137" y="212"/>
                  </a:cubicBezTo>
                  <a:cubicBezTo>
                    <a:pt x="109" y="215"/>
                    <a:pt x="111" y="225"/>
                    <a:pt x="102" y="249"/>
                  </a:cubicBezTo>
                  <a:cubicBezTo>
                    <a:pt x="93" y="273"/>
                    <a:pt x="93" y="317"/>
                    <a:pt x="78" y="336"/>
                  </a:cubicBezTo>
                  <a:cubicBezTo>
                    <a:pt x="63" y="354"/>
                    <a:pt x="48" y="391"/>
                    <a:pt x="50" y="406"/>
                  </a:cubicBezTo>
                  <a:cubicBezTo>
                    <a:pt x="52" y="421"/>
                    <a:pt x="56" y="434"/>
                    <a:pt x="43" y="445"/>
                  </a:cubicBezTo>
                  <a:cubicBezTo>
                    <a:pt x="30" y="456"/>
                    <a:pt x="8" y="484"/>
                    <a:pt x="13" y="506"/>
                  </a:cubicBezTo>
                  <a:cubicBezTo>
                    <a:pt x="17" y="529"/>
                    <a:pt x="32" y="516"/>
                    <a:pt x="32" y="545"/>
                  </a:cubicBezTo>
                  <a:cubicBezTo>
                    <a:pt x="32" y="575"/>
                    <a:pt x="0" y="595"/>
                    <a:pt x="28" y="625"/>
                  </a:cubicBezTo>
                  <a:cubicBezTo>
                    <a:pt x="56" y="655"/>
                    <a:pt x="67" y="649"/>
                    <a:pt x="72" y="668"/>
                  </a:cubicBezTo>
                  <a:cubicBezTo>
                    <a:pt x="76" y="686"/>
                    <a:pt x="83" y="710"/>
                    <a:pt x="111" y="734"/>
                  </a:cubicBezTo>
                  <a:cubicBezTo>
                    <a:pt x="139" y="758"/>
                    <a:pt x="166" y="747"/>
                    <a:pt x="185" y="773"/>
                  </a:cubicBezTo>
                  <a:cubicBezTo>
                    <a:pt x="205" y="799"/>
                    <a:pt x="240" y="808"/>
                    <a:pt x="244" y="834"/>
                  </a:cubicBezTo>
                  <a:cubicBezTo>
                    <a:pt x="249" y="860"/>
                    <a:pt x="266" y="886"/>
                    <a:pt x="284" y="888"/>
                  </a:cubicBezTo>
                  <a:cubicBezTo>
                    <a:pt x="301" y="890"/>
                    <a:pt x="325" y="881"/>
                    <a:pt x="312" y="855"/>
                  </a:cubicBezTo>
                  <a:cubicBezTo>
                    <a:pt x="299" y="829"/>
                    <a:pt x="308" y="816"/>
                    <a:pt x="301" y="788"/>
                  </a:cubicBezTo>
                  <a:cubicBezTo>
                    <a:pt x="294" y="760"/>
                    <a:pt x="294" y="727"/>
                    <a:pt x="318" y="705"/>
                  </a:cubicBezTo>
                  <a:cubicBezTo>
                    <a:pt x="342" y="682"/>
                    <a:pt x="362" y="645"/>
                    <a:pt x="364" y="619"/>
                  </a:cubicBezTo>
                  <a:cubicBezTo>
                    <a:pt x="366" y="593"/>
                    <a:pt x="358" y="593"/>
                    <a:pt x="377" y="580"/>
                  </a:cubicBezTo>
                  <a:cubicBezTo>
                    <a:pt x="397" y="568"/>
                    <a:pt x="371" y="512"/>
                    <a:pt x="388" y="492"/>
                  </a:cubicBezTo>
                  <a:cubicBezTo>
                    <a:pt x="406" y="471"/>
                    <a:pt x="415" y="451"/>
                    <a:pt x="401" y="438"/>
                  </a:cubicBezTo>
                  <a:cubicBezTo>
                    <a:pt x="388" y="425"/>
                    <a:pt x="380" y="395"/>
                    <a:pt x="397" y="386"/>
                  </a:cubicBezTo>
                  <a:cubicBezTo>
                    <a:pt x="415" y="377"/>
                    <a:pt x="432" y="356"/>
                    <a:pt x="419" y="336"/>
                  </a:cubicBezTo>
                  <a:cubicBezTo>
                    <a:pt x="406" y="315"/>
                    <a:pt x="397" y="306"/>
                    <a:pt x="404" y="278"/>
                  </a:cubicBezTo>
                  <a:cubicBezTo>
                    <a:pt x="410" y="251"/>
                    <a:pt x="430" y="239"/>
                    <a:pt x="432" y="206"/>
                  </a:cubicBezTo>
                  <a:cubicBezTo>
                    <a:pt x="434" y="173"/>
                    <a:pt x="401" y="149"/>
                    <a:pt x="406" y="115"/>
                  </a:cubicBezTo>
                  <a:cubicBezTo>
                    <a:pt x="410" y="82"/>
                    <a:pt x="423" y="58"/>
                    <a:pt x="406" y="45"/>
                  </a:cubicBezTo>
                  <a:cubicBezTo>
                    <a:pt x="388" y="32"/>
                    <a:pt x="340" y="41"/>
                    <a:pt x="329" y="30"/>
                  </a:cubicBezTo>
                  <a:cubicBezTo>
                    <a:pt x="318" y="19"/>
                    <a:pt x="312" y="0"/>
                    <a:pt x="294" y="15"/>
                  </a:cubicBezTo>
                  <a:cubicBezTo>
                    <a:pt x="277" y="30"/>
                    <a:pt x="259" y="56"/>
                    <a:pt x="238" y="62"/>
                  </a:cubicBezTo>
                  <a:cubicBezTo>
                    <a:pt x="216" y="67"/>
                    <a:pt x="198" y="78"/>
                    <a:pt x="183" y="93"/>
                  </a:cubicBezTo>
                  <a:cubicBezTo>
                    <a:pt x="168" y="108"/>
                    <a:pt x="172" y="113"/>
                    <a:pt x="172" y="136"/>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5" name="Freeform 36">
              <a:extLst>
                <a:ext uri="{FF2B5EF4-FFF2-40B4-BE49-F238E27FC236}">
                  <a16:creationId xmlns:a16="http://schemas.microsoft.com/office/drawing/2014/main" id="{AA1C0272-4576-D243-80F7-CF206FDE3F1E}"/>
                </a:ext>
              </a:extLst>
            </p:cNvPr>
            <p:cNvSpPr>
              <a:spLocks/>
            </p:cNvSpPr>
            <p:nvPr/>
          </p:nvSpPr>
          <p:spPr bwMode="auto">
            <a:xfrm>
              <a:off x="5438" y="3349"/>
              <a:ext cx="38" cy="22"/>
            </a:xfrm>
            <a:custGeom>
              <a:avLst/>
              <a:gdLst>
                <a:gd name="T0" fmla="*/ 53 w 81"/>
                <a:gd name="T1" fmla="*/ 2 h 48"/>
                <a:gd name="T2" fmla="*/ 5 w 81"/>
                <a:gd name="T3" fmla="*/ 19 h 48"/>
                <a:gd name="T4" fmla="*/ 31 w 81"/>
                <a:gd name="T5" fmla="*/ 45 h 48"/>
                <a:gd name="T6" fmla="*/ 53 w 81"/>
                <a:gd name="T7" fmla="*/ 2 h 48"/>
              </a:gdLst>
              <a:ahLst/>
              <a:cxnLst>
                <a:cxn ang="0">
                  <a:pos x="T0" y="T1"/>
                </a:cxn>
                <a:cxn ang="0">
                  <a:pos x="T2" y="T3"/>
                </a:cxn>
                <a:cxn ang="0">
                  <a:pos x="T4" y="T5"/>
                </a:cxn>
                <a:cxn ang="0">
                  <a:pos x="T6" y="T7"/>
                </a:cxn>
              </a:cxnLst>
              <a:rect l="0" t="0" r="r" b="b"/>
              <a:pathLst>
                <a:path w="81" h="48">
                  <a:moveTo>
                    <a:pt x="53" y="2"/>
                  </a:moveTo>
                  <a:cubicBezTo>
                    <a:pt x="53" y="2"/>
                    <a:pt x="0" y="0"/>
                    <a:pt x="5" y="19"/>
                  </a:cubicBezTo>
                  <a:cubicBezTo>
                    <a:pt x="9" y="37"/>
                    <a:pt x="5" y="41"/>
                    <a:pt x="31" y="45"/>
                  </a:cubicBezTo>
                  <a:cubicBezTo>
                    <a:pt x="57" y="48"/>
                    <a:pt x="81" y="15"/>
                    <a:pt x="53" y="2"/>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6" name="Freeform 37">
              <a:extLst>
                <a:ext uri="{FF2B5EF4-FFF2-40B4-BE49-F238E27FC236}">
                  <a16:creationId xmlns:a16="http://schemas.microsoft.com/office/drawing/2014/main" id="{B43E6D15-0A57-6740-A148-FD227C774DF1}"/>
                </a:ext>
              </a:extLst>
            </p:cNvPr>
            <p:cNvSpPr>
              <a:spLocks/>
            </p:cNvSpPr>
            <p:nvPr/>
          </p:nvSpPr>
          <p:spPr bwMode="auto">
            <a:xfrm>
              <a:off x="5489" y="3325"/>
              <a:ext cx="25" cy="32"/>
            </a:xfrm>
            <a:custGeom>
              <a:avLst/>
              <a:gdLst>
                <a:gd name="T0" fmla="*/ 33 w 55"/>
                <a:gd name="T1" fmla="*/ 0 h 69"/>
                <a:gd name="T2" fmla="*/ 3 w 55"/>
                <a:gd name="T3" fmla="*/ 34 h 69"/>
                <a:gd name="T4" fmla="*/ 35 w 55"/>
                <a:gd name="T5" fmla="*/ 50 h 69"/>
                <a:gd name="T6" fmla="*/ 33 w 55"/>
                <a:gd name="T7" fmla="*/ 0 h 69"/>
              </a:gdLst>
              <a:ahLst/>
              <a:cxnLst>
                <a:cxn ang="0">
                  <a:pos x="T0" y="T1"/>
                </a:cxn>
                <a:cxn ang="0">
                  <a:pos x="T2" y="T3"/>
                </a:cxn>
                <a:cxn ang="0">
                  <a:pos x="T4" y="T5"/>
                </a:cxn>
                <a:cxn ang="0">
                  <a:pos x="T6" y="T7"/>
                </a:cxn>
              </a:cxnLst>
              <a:rect l="0" t="0" r="r" b="b"/>
              <a:pathLst>
                <a:path w="55" h="69">
                  <a:moveTo>
                    <a:pt x="33" y="0"/>
                  </a:moveTo>
                  <a:cubicBezTo>
                    <a:pt x="33" y="0"/>
                    <a:pt x="0" y="15"/>
                    <a:pt x="3" y="34"/>
                  </a:cubicBezTo>
                  <a:cubicBezTo>
                    <a:pt x="5" y="52"/>
                    <a:pt x="31" y="69"/>
                    <a:pt x="35" y="50"/>
                  </a:cubicBezTo>
                  <a:cubicBezTo>
                    <a:pt x="40" y="32"/>
                    <a:pt x="55" y="4"/>
                    <a:pt x="33" y="0"/>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sp>
          <p:nvSpPr>
            <p:cNvPr id="117" name="Freeform 38">
              <a:extLst>
                <a:ext uri="{FF2B5EF4-FFF2-40B4-BE49-F238E27FC236}">
                  <a16:creationId xmlns:a16="http://schemas.microsoft.com/office/drawing/2014/main" id="{0C9FBA5D-3E00-0F41-B5A2-FB3CDAFE3BA6}"/>
                </a:ext>
              </a:extLst>
            </p:cNvPr>
            <p:cNvSpPr>
              <a:spLocks/>
            </p:cNvSpPr>
            <p:nvPr/>
          </p:nvSpPr>
          <p:spPr bwMode="auto">
            <a:xfrm>
              <a:off x="5605" y="3264"/>
              <a:ext cx="36" cy="26"/>
            </a:xfrm>
            <a:custGeom>
              <a:avLst/>
              <a:gdLst>
                <a:gd name="T0" fmla="*/ 45 w 78"/>
                <a:gd name="T1" fmla="*/ 9 h 55"/>
                <a:gd name="T2" fmla="*/ 2 w 78"/>
                <a:gd name="T3" fmla="*/ 11 h 55"/>
                <a:gd name="T4" fmla="*/ 19 w 78"/>
                <a:gd name="T5" fmla="*/ 40 h 55"/>
                <a:gd name="T6" fmla="*/ 50 w 78"/>
                <a:gd name="T7" fmla="*/ 44 h 55"/>
                <a:gd name="T8" fmla="*/ 45 w 78"/>
                <a:gd name="T9" fmla="*/ 9 h 55"/>
              </a:gdLst>
              <a:ahLst/>
              <a:cxnLst>
                <a:cxn ang="0">
                  <a:pos x="T0" y="T1"/>
                </a:cxn>
                <a:cxn ang="0">
                  <a:pos x="T2" y="T3"/>
                </a:cxn>
                <a:cxn ang="0">
                  <a:pos x="T4" y="T5"/>
                </a:cxn>
                <a:cxn ang="0">
                  <a:pos x="T6" y="T7"/>
                </a:cxn>
                <a:cxn ang="0">
                  <a:pos x="T8" y="T9"/>
                </a:cxn>
              </a:cxnLst>
              <a:rect l="0" t="0" r="r" b="b"/>
              <a:pathLst>
                <a:path w="78" h="55">
                  <a:moveTo>
                    <a:pt x="45" y="9"/>
                  </a:moveTo>
                  <a:cubicBezTo>
                    <a:pt x="45" y="9"/>
                    <a:pt x="0" y="0"/>
                    <a:pt x="2" y="11"/>
                  </a:cubicBezTo>
                  <a:cubicBezTo>
                    <a:pt x="4" y="22"/>
                    <a:pt x="15" y="28"/>
                    <a:pt x="19" y="40"/>
                  </a:cubicBezTo>
                  <a:cubicBezTo>
                    <a:pt x="24" y="53"/>
                    <a:pt x="43" y="55"/>
                    <a:pt x="50" y="44"/>
                  </a:cubicBezTo>
                  <a:cubicBezTo>
                    <a:pt x="56" y="33"/>
                    <a:pt x="78" y="9"/>
                    <a:pt x="45" y="9"/>
                  </a:cubicBezTo>
                  <a:close/>
                </a:path>
              </a:pathLst>
            </a:custGeom>
            <a:grpFill/>
            <a:ln w="9525" cap="rnd" cmpd="sng">
              <a:solidFill>
                <a:schemeClr val="bg1"/>
              </a:solidFill>
              <a:prstDash val="solid"/>
              <a:round/>
              <a:headEnd/>
              <a:tailEnd/>
            </a:ln>
          </p:spPr>
          <p:txBody>
            <a:bodyPr vert="horz" wrap="square" lIns="34290" tIns="17145" rIns="34290" bIns="17145" numCol="1" anchor="t" anchorCtr="0" compatLnSpc="1">
              <a:prstTxWarp prst="textNoShape">
                <a:avLst/>
              </a:prstTxWarp>
            </a:bodyPr>
            <a:lstStyle/>
            <a:p>
              <a:endParaRPr lang="en-US" sz="675" dirty="0">
                <a:latin typeface="Lato Regular" charset="0"/>
              </a:endParaRPr>
            </a:p>
          </p:txBody>
        </p:sp>
      </p:grpSp>
      <p:sp>
        <p:nvSpPr>
          <p:cNvPr id="2" name="Text Placeholder 5">
            <a:extLst>
              <a:ext uri="{FF2B5EF4-FFF2-40B4-BE49-F238E27FC236}">
                <a16:creationId xmlns:a16="http://schemas.microsoft.com/office/drawing/2014/main" id="{846E98FD-6E9C-04CF-BC65-43C5B980C533}"/>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accent1"/>
                </a:solidFill>
              </a:rPr>
              <a:t>China Editable Map</a:t>
            </a:r>
          </a:p>
        </p:txBody>
      </p:sp>
      <p:grpSp>
        <p:nvGrpSpPr>
          <p:cNvPr id="3" name="Group 2">
            <a:extLst>
              <a:ext uri="{FF2B5EF4-FFF2-40B4-BE49-F238E27FC236}">
                <a16:creationId xmlns:a16="http://schemas.microsoft.com/office/drawing/2014/main" id="{9DB1D55D-F474-BFB4-A885-7541E2AC3A79}"/>
              </a:ext>
            </a:extLst>
          </p:cNvPr>
          <p:cNvGrpSpPr/>
          <p:nvPr/>
        </p:nvGrpSpPr>
        <p:grpSpPr>
          <a:xfrm>
            <a:off x="667288" y="2111744"/>
            <a:ext cx="3242410" cy="1826659"/>
            <a:chOff x="5363008" y="2111744"/>
            <a:chExt cx="3242410" cy="1826659"/>
          </a:xfrm>
        </p:grpSpPr>
        <p:sp>
          <p:nvSpPr>
            <p:cNvPr id="4" name="Oval 3">
              <a:extLst>
                <a:ext uri="{FF2B5EF4-FFF2-40B4-BE49-F238E27FC236}">
                  <a16:creationId xmlns:a16="http://schemas.microsoft.com/office/drawing/2014/main" id="{AA7CB08B-1664-402E-D243-1056A0FA8959}"/>
                </a:ext>
              </a:extLst>
            </p:cNvPr>
            <p:cNvSpPr/>
            <p:nvPr/>
          </p:nvSpPr>
          <p:spPr>
            <a:xfrm>
              <a:off x="5363008" y="2129877"/>
              <a:ext cx="611272" cy="61127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5" name="Group 4">
              <a:extLst>
                <a:ext uri="{FF2B5EF4-FFF2-40B4-BE49-F238E27FC236}">
                  <a16:creationId xmlns:a16="http://schemas.microsoft.com/office/drawing/2014/main" id="{1783E781-088F-E089-97DC-E08F9C8E3E21}"/>
                </a:ext>
              </a:extLst>
            </p:cNvPr>
            <p:cNvGrpSpPr/>
            <p:nvPr/>
          </p:nvGrpSpPr>
          <p:grpSpPr>
            <a:xfrm>
              <a:off x="6059773" y="2111744"/>
              <a:ext cx="2545645" cy="657077"/>
              <a:chOff x="1739385" y="6662633"/>
              <a:chExt cx="6788387" cy="1752204"/>
            </a:xfrm>
          </p:grpSpPr>
          <p:sp>
            <p:nvSpPr>
              <p:cNvPr id="12" name="Subtitle 2">
                <a:extLst>
                  <a:ext uri="{FF2B5EF4-FFF2-40B4-BE49-F238E27FC236}">
                    <a16:creationId xmlns:a16="http://schemas.microsoft.com/office/drawing/2014/main" id="{AF3B2FC1-97ED-B4D2-45BE-8B38721A91A6}"/>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3" name="Rectangle 12">
                <a:extLst>
                  <a:ext uri="{FF2B5EF4-FFF2-40B4-BE49-F238E27FC236}">
                    <a16:creationId xmlns:a16="http://schemas.microsoft.com/office/drawing/2014/main" id="{1910D6F6-8C21-FC16-AF49-331338BD08A0}"/>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sp>
          <p:nvSpPr>
            <p:cNvPr id="6" name="Oval 5">
              <a:extLst>
                <a:ext uri="{FF2B5EF4-FFF2-40B4-BE49-F238E27FC236}">
                  <a16:creationId xmlns:a16="http://schemas.microsoft.com/office/drawing/2014/main" id="{5445806D-209C-4348-1978-05957C167066}"/>
                </a:ext>
              </a:extLst>
            </p:cNvPr>
            <p:cNvSpPr/>
            <p:nvPr/>
          </p:nvSpPr>
          <p:spPr>
            <a:xfrm>
              <a:off x="5363008" y="3291171"/>
              <a:ext cx="611272" cy="6112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7" name="Shape 2808">
              <a:extLst>
                <a:ext uri="{FF2B5EF4-FFF2-40B4-BE49-F238E27FC236}">
                  <a16:creationId xmlns:a16="http://schemas.microsoft.com/office/drawing/2014/main" id="{FCA66FF8-6474-A4C7-8E08-34981DED10C7}"/>
                </a:ext>
              </a:extLst>
            </p:cNvPr>
            <p:cNvSpPr/>
            <p:nvPr/>
          </p:nvSpPr>
          <p:spPr>
            <a:xfrm>
              <a:off x="5506546" y="2269207"/>
              <a:ext cx="330923" cy="330923"/>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chemeClr val="tx2"/>
                </a:solidFill>
              </a:endParaRPr>
            </a:p>
          </p:txBody>
        </p:sp>
        <p:sp>
          <p:nvSpPr>
            <p:cNvPr id="8" name="Shape 2944">
              <a:extLst>
                <a:ext uri="{FF2B5EF4-FFF2-40B4-BE49-F238E27FC236}">
                  <a16:creationId xmlns:a16="http://schemas.microsoft.com/office/drawing/2014/main" id="{F61F061E-42DB-8E17-5129-99B4A2B22D59}"/>
                </a:ext>
              </a:extLst>
            </p:cNvPr>
            <p:cNvSpPr/>
            <p:nvPr/>
          </p:nvSpPr>
          <p:spPr>
            <a:xfrm>
              <a:off x="5503183" y="3431345"/>
              <a:ext cx="330923" cy="33092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4284" tIns="14284" rIns="14284" bIns="14284" anchor="ctr"/>
            <a:lstStyle/>
            <a:p>
              <a:pPr algn="ct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latin typeface="Montserrat" pitchFamily="2" charset="77"/>
              </a:endParaRPr>
            </a:p>
          </p:txBody>
        </p:sp>
        <p:grpSp>
          <p:nvGrpSpPr>
            <p:cNvPr id="9" name="Group 8">
              <a:extLst>
                <a:ext uri="{FF2B5EF4-FFF2-40B4-BE49-F238E27FC236}">
                  <a16:creationId xmlns:a16="http://schemas.microsoft.com/office/drawing/2014/main" id="{13CAF902-2E6B-EE8D-18E9-23B35876107E}"/>
                </a:ext>
              </a:extLst>
            </p:cNvPr>
            <p:cNvGrpSpPr/>
            <p:nvPr/>
          </p:nvGrpSpPr>
          <p:grpSpPr>
            <a:xfrm>
              <a:off x="6059773" y="3281326"/>
              <a:ext cx="2545645" cy="657077"/>
              <a:chOff x="1739385" y="6662633"/>
              <a:chExt cx="6788387" cy="1752204"/>
            </a:xfrm>
          </p:grpSpPr>
          <p:sp>
            <p:nvSpPr>
              <p:cNvPr id="10" name="Subtitle 2">
                <a:extLst>
                  <a:ext uri="{FF2B5EF4-FFF2-40B4-BE49-F238E27FC236}">
                    <a16:creationId xmlns:a16="http://schemas.microsoft.com/office/drawing/2014/main" id="{A0158D2D-5AF7-1AE9-C334-0E827B05213E}"/>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1" name="Rectangle 10">
                <a:extLst>
                  <a:ext uri="{FF2B5EF4-FFF2-40B4-BE49-F238E27FC236}">
                    <a16:creationId xmlns:a16="http://schemas.microsoft.com/office/drawing/2014/main" id="{535D713E-9726-2170-6A0D-46BE27B558D3}"/>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grpSp>
    </p:spTree>
    <p:extLst>
      <p:ext uri="{BB962C8B-B14F-4D97-AF65-F5344CB8AC3E}">
        <p14:creationId xmlns:p14="http://schemas.microsoft.com/office/powerpoint/2010/main" val="218039242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0DF46A09-35A9-3042-961B-59DD978B7F79}"/>
              </a:ext>
            </a:extLst>
          </p:cNvPr>
          <p:cNvGrpSpPr/>
          <p:nvPr/>
        </p:nvGrpSpPr>
        <p:grpSpPr>
          <a:xfrm>
            <a:off x="5167813" y="1423384"/>
            <a:ext cx="2317318" cy="3102391"/>
            <a:chOff x="3366645" y="2581680"/>
            <a:chExt cx="7359460" cy="9852739"/>
          </a:xfrm>
          <a:solidFill>
            <a:srgbClr val="EFF1F8"/>
          </a:solidFill>
        </p:grpSpPr>
        <p:sp>
          <p:nvSpPr>
            <p:cNvPr id="54" name="Freeform 53">
              <a:extLst>
                <a:ext uri="{FF2B5EF4-FFF2-40B4-BE49-F238E27FC236}">
                  <a16:creationId xmlns:a16="http://schemas.microsoft.com/office/drawing/2014/main" id="{04A1DD8B-A99C-8348-9266-5FDE619FCA6C}"/>
                </a:ext>
              </a:extLst>
            </p:cNvPr>
            <p:cNvSpPr>
              <a:spLocks noChangeArrowheads="1"/>
            </p:cNvSpPr>
            <p:nvPr/>
          </p:nvSpPr>
          <p:spPr bwMode="auto">
            <a:xfrm>
              <a:off x="7853453" y="3772691"/>
              <a:ext cx="1824" cy="1823"/>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dirty="0">
                <a:latin typeface="Montserrat" charset="0"/>
              </a:endParaRPr>
            </a:p>
          </p:txBody>
        </p:sp>
        <p:sp>
          <p:nvSpPr>
            <p:cNvPr id="55" name="Freeform 54">
              <a:extLst>
                <a:ext uri="{FF2B5EF4-FFF2-40B4-BE49-F238E27FC236}">
                  <a16:creationId xmlns:a16="http://schemas.microsoft.com/office/drawing/2014/main" id="{24B45A0F-B880-4E4C-9026-9AE5B8E93298}"/>
                </a:ext>
              </a:extLst>
            </p:cNvPr>
            <p:cNvSpPr>
              <a:spLocks noChangeArrowheads="1"/>
            </p:cNvSpPr>
            <p:nvPr/>
          </p:nvSpPr>
          <p:spPr bwMode="auto">
            <a:xfrm>
              <a:off x="7853453" y="3772691"/>
              <a:ext cx="3648" cy="5471"/>
            </a:xfrm>
            <a:custGeom>
              <a:avLst/>
              <a:gdLst>
                <a:gd name="T0" fmla="*/ 0 w 9"/>
                <a:gd name="T1" fmla="*/ 0 h 16"/>
                <a:gd name="T2" fmla="*/ 0 w 9"/>
                <a:gd name="T3" fmla="*/ 0 h 16"/>
              </a:gdLst>
              <a:ahLst/>
              <a:cxnLst>
                <a:cxn ang="0">
                  <a:pos x="T0" y="T1"/>
                </a:cxn>
                <a:cxn ang="0">
                  <a:pos x="T2" y="T3"/>
                </a:cxn>
              </a:cxnLst>
              <a:rect l="0" t="0" r="r" b="b"/>
              <a:pathLst>
                <a:path w="9" h="16">
                  <a:moveTo>
                    <a:pt x="0" y="0"/>
                  </a:moveTo>
                  <a:cubicBezTo>
                    <a:pt x="0" y="0"/>
                    <a:pt x="8" y="15"/>
                    <a:pt x="0" y="0"/>
                  </a:cubicBez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dirty="0">
                <a:latin typeface="Montserrat" charset="0"/>
              </a:endParaRPr>
            </a:p>
          </p:txBody>
        </p:sp>
        <p:sp>
          <p:nvSpPr>
            <p:cNvPr id="56" name="Freeform 55">
              <a:extLst>
                <a:ext uri="{FF2B5EF4-FFF2-40B4-BE49-F238E27FC236}">
                  <a16:creationId xmlns:a16="http://schemas.microsoft.com/office/drawing/2014/main" id="{F5016668-3915-FE47-9A38-D9B848221630}"/>
                </a:ext>
              </a:extLst>
            </p:cNvPr>
            <p:cNvSpPr>
              <a:spLocks noChangeArrowheads="1"/>
            </p:cNvSpPr>
            <p:nvPr/>
          </p:nvSpPr>
          <p:spPr bwMode="auto">
            <a:xfrm>
              <a:off x="7851630" y="3754452"/>
              <a:ext cx="3648" cy="18239"/>
            </a:xfrm>
            <a:custGeom>
              <a:avLst/>
              <a:gdLst>
                <a:gd name="T0" fmla="*/ 7 w 8"/>
                <a:gd name="T1" fmla="*/ 44 h 45"/>
                <a:gd name="T2" fmla="*/ 7 w 8"/>
                <a:gd name="T3" fmla="*/ 44 h 45"/>
                <a:gd name="T4" fmla="*/ 7 w 8"/>
                <a:gd name="T5" fmla="*/ 22 h 45"/>
                <a:gd name="T6" fmla="*/ 0 w 8"/>
                <a:gd name="T7" fmla="*/ 0 h 45"/>
                <a:gd name="T8" fmla="*/ 7 w 8"/>
                <a:gd name="T9" fmla="*/ 44 h 45"/>
              </a:gdLst>
              <a:ahLst/>
              <a:cxnLst>
                <a:cxn ang="0">
                  <a:pos x="T0" y="T1"/>
                </a:cxn>
                <a:cxn ang="0">
                  <a:pos x="T2" y="T3"/>
                </a:cxn>
                <a:cxn ang="0">
                  <a:pos x="T4" y="T5"/>
                </a:cxn>
                <a:cxn ang="0">
                  <a:pos x="T6" y="T7"/>
                </a:cxn>
                <a:cxn ang="0">
                  <a:pos x="T8" y="T9"/>
                </a:cxn>
              </a:cxnLst>
              <a:rect l="0" t="0" r="r" b="b"/>
              <a:pathLst>
                <a:path w="8" h="45">
                  <a:moveTo>
                    <a:pt x="7" y="44"/>
                  </a:moveTo>
                  <a:lnTo>
                    <a:pt x="7" y="44"/>
                  </a:lnTo>
                  <a:cubicBezTo>
                    <a:pt x="7" y="37"/>
                    <a:pt x="7" y="30"/>
                    <a:pt x="7" y="22"/>
                  </a:cubicBezTo>
                  <a:cubicBezTo>
                    <a:pt x="7" y="8"/>
                    <a:pt x="0" y="0"/>
                    <a:pt x="0" y="0"/>
                  </a:cubicBezTo>
                  <a:cubicBezTo>
                    <a:pt x="0" y="0"/>
                    <a:pt x="7" y="22"/>
                    <a:pt x="7" y="44"/>
                  </a:cubicBez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dirty="0">
                <a:latin typeface="Montserrat" charset="0"/>
              </a:endParaRPr>
            </a:p>
          </p:txBody>
        </p:sp>
        <p:sp>
          <p:nvSpPr>
            <p:cNvPr id="57" name="Freeform 56">
              <a:extLst>
                <a:ext uri="{FF2B5EF4-FFF2-40B4-BE49-F238E27FC236}">
                  <a16:creationId xmlns:a16="http://schemas.microsoft.com/office/drawing/2014/main" id="{6FF9FB8B-27CF-DC40-ACDC-DB2DD1CF87B1}"/>
                </a:ext>
              </a:extLst>
            </p:cNvPr>
            <p:cNvSpPr>
              <a:spLocks noChangeArrowheads="1"/>
            </p:cNvSpPr>
            <p:nvPr/>
          </p:nvSpPr>
          <p:spPr bwMode="auto">
            <a:xfrm>
              <a:off x="3693125" y="9424974"/>
              <a:ext cx="871827" cy="673022"/>
            </a:xfrm>
            <a:custGeom>
              <a:avLst/>
              <a:gdLst>
                <a:gd name="T0" fmla="*/ 2169 w 2266"/>
                <a:gd name="T1" fmla="*/ 923 h 1767"/>
                <a:gd name="T2" fmla="*/ 2169 w 2266"/>
                <a:gd name="T3" fmla="*/ 923 h 1767"/>
                <a:gd name="T4" fmla="*/ 2045 w 2266"/>
                <a:gd name="T5" fmla="*/ 842 h 1767"/>
                <a:gd name="T6" fmla="*/ 1971 w 2266"/>
                <a:gd name="T7" fmla="*/ 725 h 1767"/>
                <a:gd name="T8" fmla="*/ 2023 w 2266"/>
                <a:gd name="T9" fmla="*/ 622 h 1767"/>
                <a:gd name="T10" fmla="*/ 2008 w 2266"/>
                <a:gd name="T11" fmla="*/ 461 h 1767"/>
                <a:gd name="T12" fmla="*/ 2037 w 2266"/>
                <a:gd name="T13" fmla="*/ 337 h 1767"/>
                <a:gd name="T14" fmla="*/ 1935 w 2266"/>
                <a:gd name="T15" fmla="*/ 263 h 1767"/>
                <a:gd name="T16" fmla="*/ 1796 w 2266"/>
                <a:gd name="T17" fmla="*/ 205 h 1767"/>
                <a:gd name="T18" fmla="*/ 1715 w 2266"/>
                <a:gd name="T19" fmla="*/ 183 h 1767"/>
                <a:gd name="T20" fmla="*/ 1583 w 2266"/>
                <a:gd name="T21" fmla="*/ 110 h 1767"/>
                <a:gd name="T22" fmla="*/ 1459 w 2266"/>
                <a:gd name="T23" fmla="*/ 14 h 1767"/>
                <a:gd name="T24" fmla="*/ 1231 w 2266"/>
                <a:gd name="T25" fmla="*/ 66 h 1767"/>
                <a:gd name="T26" fmla="*/ 1034 w 2266"/>
                <a:gd name="T27" fmla="*/ 161 h 1767"/>
                <a:gd name="T28" fmla="*/ 880 w 2266"/>
                <a:gd name="T29" fmla="*/ 241 h 1767"/>
                <a:gd name="T30" fmla="*/ 755 w 2266"/>
                <a:gd name="T31" fmla="*/ 300 h 1767"/>
                <a:gd name="T32" fmla="*/ 609 w 2266"/>
                <a:gd name="T33" fmla="*/ 315 h 1767"/>
                <a:gd name="T34" fmla="*/ 499 w 2266"/>
                <a:gd name="T35" fmla="*/ 373 h 1767"/>
                <a:gd name="T36" fmla="*/ 389 w 2266"/>
                <a:gd name="T37" fmla="*/ 329 h 1767"/>
                <a:gd name="T38" fmla="*/ 132 w 2266"/>
                <a:gd name="T39" fmla="*/ 278 h 1767"/>
                <a:gd name="T40" fmla="*/ 8 w 2266"/>
                <a:gd name="T41" fmla="*/ 300 h 1767"/>
                <a:gd name="T42" fmla="*/ 8 w 2266"/>
                <a:gd name="T43" fmla="*/ 366 h 1767"/>
                <a:gd name="T44" fmla="*/ 132 w 2266"/>
                <a:gd name="T45" fmla="*/ 535 h 1767"/>
                <a:gd name="T46" fmla="*/ 279 w 2266"/>
                <a:gd name="T47" fmla="*/ 586 h 1767"/>
                <a:gd name="T48" fmla="*/ 418 w 2266"/>
                <a:gd name="T49" fmla="*/ 710 h 1767"/>
                <a:gd name="T50" fmla="*/ 469 w 2266"/>
                <a:gd name="T51" fmla="*/ 842 h 1767"/>
                <a:gd name="T52" fmla="*/ 469 w 2266"/>
                <a:gd name="T53" fmla="*/ 908 h 1767"/>
                <a:gd name="T54" fmla="*/ 521 w 2266"/>
                <a:gd name="T55" fmla="*/ 1040 h 1767"/>
                <a:gd name="T56" fmla="*/ 675 w 2266"/>
                <a:gd name="T57" fmla="*/ 1245 h 1767"/>
                <a:gd name="T58" fmla="*/ 770 w 2266"/>
                <a:gd name="T59" fmla="*/ 1370 h 1767"/>
                <a:gd name="T60" fmla="*/ 755 w 2266"/>
                <a:gd name="T61" fmla="*/ 1465 h 1767"/>
                <a:gd name="T62" fmla="*/ 858 w 2266"/>
                <a:gd name="T63" fmla="*/ 1568 h 1767"/>
                <a:gd name="T64" fmla="*/ 968 w 2266"/>
                <a:gd name="T65" fmla="*/ 1619 h 1767"/>
                <a:gd name="T66" fmla="*/ 1063 w 2266"/>
                <a:gd name="T67" fmla="*/ 1495 h 1767"/>
                <a:gd name="T68" fmla="*/ 1041 w 2266"/>
                <a:gd name="T69" fmla="*/ 1392 h 1767"/>
                <a:gd name="T70" fmla="*/ 1231 w 2266"/>
                <a:gd name="T71" fmla="*/ 1385 h 1767"/>
                <a:gd name="T72" fmla="*/ 1400 w 2266"/>
                <a:gd name="T73" fmla="*/ 1472 h 1767"/>
                <a:gd name="T74" fmla="*/ 1459 w 2266"/>
                <a:gd name="T75" fmla="*/ 1656 h 1767"/>
                <a:gd name="T76" fmla="*/ 1561 w 2266"/>
                <a:gd name="T77" fmla="*/ 1663 h 1767"/>
                <a:gd name="T78" fmla="*/ 1664 w 2266"/>
                <a:gd name="T79" fmla="*/ 1663 h 1767"/>
                <a:gd name="T80" fmla="*/ 1913 w 2266"/>
                <a:gd name="T81" fmla="*/ 1736 h 1767"/>
                <a:gd name="T82" fmla="*/ 2037 w 2266"/>
                <a:gd name="T83" fmla="*/ 1714 h 1767"/>
                <a:gd name="T84" fmla="*/ 2125 w 2266"/>
                <a:gd name="T85" fmla="*/ 1619 h 1767"/>
                <a:gd name="T86" fmla="*/ 2111 w 2266"/>
                <a:gd name="T87" fmla="*/ 1538 h 1767"/>
                <a:gd name="T88" fmla="*/ 2008 w 2266"/>
                <a:gd name="T89" fmla="*/ 1436 h 1767"/>
                <a:gd name="T90" fmla="*/ 2037 w 2266"/>
                <a:gd name="T91" fmla="*/ 1311 h 1767"/>
                <a:gd name="T92" fmla="*/ 2133 w 2266"/>
                <a:gd name="T93" fmla="*/ 1209 h 1767"/>
                <a:gd name="T94" fmla="*/ 2206 w 2266"/>
                <a:gd name="T95" fmla="*/ 1165 h 1767"/>
                <a:gd name="T96" fmla="*/ 2257 w 2266"/>
                <a:gd name="T97" fmla="*/ 1003 h 1767"/>
                <a:gd name="T98" fmla="*/ 2169 w 2266"/>
                <a:gd name="T99" fmla="*/ 923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66" h="1767">
                  <a:moveTo>
                    <a:pt x="2169" y="923"/>
                  </a:moveTo>
                  <a:lnTo>
                    <a:pt x="2169" y="923"/>
                  </a:lnTo>
                  <a:cubicBezTo>
                    <a:pt x="2111" y="930"/>
                    <a:pt x="2052" y="872"/>
                    <a:pt x="2045" y="842"/>
                  </a:cubicBezTo>
                  <a:cubicBezTo>
                    <a:pt x="2037" y="820"/>
                    <a:pt x="2023" y="776"/>
                    <a:pt x="1971" y="725"/>
                  </a:cubicBezTo>
                  <a:cubicBezTo>
                    <a:pt x="1920" y="674"/>
                    <a:pt x="1949" y="652"/>
                    <a:pt x="2023" y="622"/>
                  </a:cubicBezTo>
                  <a:cubicBezTo>
                    <a:pt x="2089" y="600"/>
                    <a:pt x="1994" y="512"/>
                    <a:pt x="2008" y="461"/>
                  </a:cubicBezTo>
                  <a:cubicBezTo>
                    <a:pt x="2030" y="410"/>
                    <a:pt x="2045" y="373"/>
                    <a:pt x="2037" y="337"/>
                  </a:cubicBezTo>
                  <a:cubicBezTo>
                    <a:pt x="2030" y="293"/>
                    <a:pt x="1971" y="249"/>
                    <a:pt x="1935" y="263"/>
                  </a:cubicBezTo>
                  <a:cubicBezTo>
                    <a:pt x="1898" y="286"/>
                    <a:pt x="1832" y="256"/>
                    <a:pt x="1796" y="205"/>
                  </a:cubicBezTo>
                  <a:cubicBezTo>
                    <a:pt x="1766" y="153"/>
                    <a:pt x="1744" y="131"/>
                    <a:pt x="1715" y="183"/>
                  </a:cubicBezTo>
                  <a:cubicBezTo>
                    <a:pt x="1678" y="234"/>
                    <a:pt x="1627" y="139"/>
                    <a:pt x="1583" y="110"/>
                  </a:cubicBezTo>
                  <a:cubicBezTo>
                    <a:pt x="1547" y="88"/>
                    <a:pt x="1510" y="22"/>
                    <a:pt x="1459" y="14"/>
                  </a:cubicBezTo>
                  <a:cubicBezTo>
                    <a:pt x="1407" y="0"/>
                    <a:pt x="1312" y="22"/>
                    <a:pt x="1231" y="66"/>
                  </a:cubicBezTo>
                  <a:cubicBezTo>
                    <a:pt x="1144" y="102"/>
                    <a:pt x="1092" y="131"/>
                    <a:pt x="1034" y="161"/>
                  </a:cubicBezTo>
                  <a:cubicBezTo>
                    <a:pt x="975" y="198"/>
                    <a:pt x="924" y="234"/>
                    <a:pt x="880" y="241"/>
                  </a:cubicBezTo>
                  <a:cubicBezTo>
                    <a:pt x="836" y="249"/>
                    <a:pt x="806" y="263"/>
                    <a:pt x="755" y="300"/>
                  </a:cubicBezTo>
                  <a:cubicBezTo>
                    <a:pt x="704" y="337"/>
                    <a:pt x="653" y="263"/>
                    <a:pt x="609" y="315"/>
                  </a:cubicBezTo>
                  <a:cubicBezTo>
                    <a:pt x="565" y="366"/>
                    <a:pt x="521" y="373"/>
                    <a:pt x="499" y="373"/>
                  </a:cubicBezTo>
                  <a:cubicBezTo>
                    <a:pt x="469" y="373"/>
                    <a:pt x="447" y="315"/>
                    <a:pt x="389" y="329"/>
                  </a:cubicBezTo>
                  <a:cubicBezTo>
                    <a:pt x="330" y="337"/>
                    <a:pt x="206" y="307"/>
                    <a:pt x="132" y="278"/>
                  </a:cubicBezTo>
                  <a:cubicBezTo>
                    <a:pt x="88" y="256"/>
                    <a:pt x="37" y="278"/>
                    <a:pt x="8" y="300"/>
                  </a:cubicBezTo>
                  <a:cubicBezTo>
                    <a:pt x="0" y="322"/>
                    <a:pt x="0" y="344"/>
                    <a:pt x="8" y="366"/>
                  </a:cubicBezTo>
                  <a:cubicBezTo>
                    <a:pt x="30" y="417"/>
                    <a:pt x="30" y="586"/>
                    <a:pt x="132" y="535"/>
                  </a:cubicBezTo>
                  <a:cubicBezTo>
                    <a:pt x="235" y="476"/>
                    <a:pt x="235" y="564"/>
                    <a:pt x="279" y="586"/>
                  </a:cubicBezTo>
                  <a:cubicBezTo>
                    <a:pt x="323" y="615"/>
                    <a:pt x="440" y="659"/>
                    <a:pt x="418" y="710"/>
                  </a:cubicBezTo>
                  <a:cubicBezTo>
                    <a:pt x="396" y="769"/>
                    <a:pt x="425" y="813"/>
                    <a:pt x="469" y="842"/>
                  </a:cubicBezTo>
                  <a:cubicBezTo>
                    <a:pt x="521" y="864"/>
                    <a:pt x="506" y="872"/>
                    <a:pt x="469" y="908"/>
                  </a:cubicBezTo>
                  <a:cubicBezTo>
                    <a:pt x="440" y="938"/>
                    <a:pt x="462" y="974"/>
                    <a:pt x="521" y="1040"/>
                  </a:cubicBezTo>
                  <a:cubicBezTo>
                    <a:pt x="572" y="1113"/>
                    <a:pt x="675" y="1179"/>
                    <a:pt x="675" y="1245"/>
                  </a:cubicBezTo>
                  <a:cubicBezTo>
                    <a:pt x="675" y="1311"/>
                    <a:pt x="711" y="1392"/>
                    <a:pt x="770" y="1370"/>
                  </a:cubicBezTo>
                  <a:cubicBezTo>
                    <a:pt x="821" y="1348"/>
                    <a:pt x="770" y="1392"/>
                    <a:pt x="755" y="1465"/>
                  </a:cubicBezTo>
                  <a:cubicBezTo>
                    <a:pt x="748" y="1531"/>
                    <a:pt x="777" y="1553"/>
                    <a:pt x="858" y="1568"/>
                  </a:cubicBezTo>
                  <a:cubicBezTo>
                    <a:pt x="938" y="1575"/>
                    <a:pt x="924" y="1619"/>
                    <a:pt x="968" y="1619"/>
                  </a:cubicBezTo>
                  <a:cubicBezTo>
                    <a:pt x="1019" y="1619"/>
                    <a:pt x="1070" y="1538"/>
                    <a:pt x="1063" y="1495"/>
                  </a:cubicBezTo>
                  <a:cubicBezTo>
                    <a:pt x="1048" y="1450"/>
                    <a:pt x="997" y="1407"/>
                    <a:pt x="1041" y="1392"/>
                  </a:cubicBezTo>
                  <a:cubicBezTo>
                    <a:pt x="1085" y="1385"/>
                    <a:pt x="1173" y="1348"/>
                    <a:pt x="1231" y="1385"/>
                  </a:cubicBezTo>
                  <a:cubicBezTo>
                    <a:pt x="1290" y="1414"/>
                    <a:pt x="1371" y="1392"/>
                    <a:pt x="1400" y="1472"/>
                  </a:cubicBezTo>
                  <a:cubicBezTo>
                    <a:pt x="1437" y="1553"/>
                    <a:pt x="1437" y="1590"/>
                    <a:pt x="1459" y="1656"/>
                  </a:cubicBezTo>
                  <a:cubicBezTo>
                    <a:pt x="1480" y="1722"/>
                    <a:pt x="1561" y="1722"/>
                    <a:pt x="1561" y="1663"/>
                  </a:cubicBezTo>
                  <a:cubicBezTo>
                    <a:pt x="1561" y="1612"/>
                    <a:pt x="1605" y="1619"/>
                    <a:pt x="1664" y="1663"/>
                  </a:cubicBezTo>
                  <a:cubicBezTo>
                    <a:pt x="1722" y="1714"/>
                    <a:pt x="1854" y="1766"/>
                    <a:pt x="1913" y="1736"/>
                  </a:cubicBezTo>
                  <a:cubicBezTo>
                    <a:pt x="1971" y="1700"/>
                    <a:pt x="1979" y="1766"/>
                    <a:pt x="2037" y="1714"/>
                  </a:cubicBezTo>
                  <a:cubicBezTo>
                    <a:pt x="2067" y="1678"/>
                    <a:pt x="2103" y="1641"/>
                    <a:pt x="2125" y="1619"/>
                  </a:cubicBezTo>
                  <a:cubicBezTo>
                    <a:pt x="2118" y="1582"/>
                    <a:pt x="2118" y="1560"/>
                    <a:pt x="2111" y="1538"/>
                  </a:cubicBezTo>
                  <a:cubicBezTo>
                    <a:pt x="2103" y="1502"/>
                    <a:pt x="2052" y="1487"/>
                    <a:pt x="2008" y="1436"/>
                  </a:cubicBezTo>
                  <a:cubicBezTo>
                    <a:pt x="1971" y="1392"/>
                    <a:pt x="1994" y="1370"/>
                    <a:pt x="2037" y="1311"/>
                  </a:cubicBezTo>
                  <a:cubicBezTo>
                    <a:pt x="2081" y="1253"/>
                    <a:pt x="2089" y="1245"/>
                    <a:pt x="2133" y="1209"/>
                  </a:cubicBezTo>
                  <a:cubicBezTo>
                    <a:pt x="2169" y="1179"/>
                    <a:pt x="2169" y="1201"/>
                    <a:pt x="2206" y="1165"/>
                  </a:cubicBezTo>
                  <a:cubicBezTo>
                    <a:pt x="2243" y="1136"/>
                    <a:pt x="2250" y="1055"/>
                    <a:pt x="2257" y="1003"/>
                  </a:cubicBezTo>
                  <a:cubicBezTo>
                    <a:pt x="2265" y="952"/>
                    <a:pt x="2235" y="916"/>
                    <a:pt x="2169" y="923"/>
                  </a:cubicBezTo>
                </a:path>
              </a:pathLst>
            </a:custGeom>
            <a:grpFill/>
            <a:ln w="6350" cap="flat" cmpd="sng">
              <a:solidFill>
                <a:schemeClr val="bg1"/>
              </a:solidFill>
              <a:bevel/>
              <a:headEnd/>
              <a:tailEnd/>
            </a:ln>
            <a:effectLst/>
          </p:spPr>
          <p:txBody>
            <a:bodyPr wrap="none" anchor="ctr"/>
            <a:lstStyle/>
            <a:p>
              <a:pPr defTabSz="685663">
                <a:defRPr/>
              </a:pPr>
              <a:endParaRPr lang="en-US" sz="675" dirty="0">
                <a:latin typeface="Montserrat" charset="0"/>
              </a:endParaRPr>
            </a:p>
          </p:txBody>
        </p:sp>
        <p:sp>
          <p:nvSpPr>
            <p:cNvPr id="58" name="Freeform 57">
              <a:extLst>
                <a:ext uri="{FF2B5EF4-FFF2-40B4-BE49-F238E27FC236}">
                  <a16:creationId xmlns:a16="http://schemas.microsoft.com/office/drawing/2014/main" id="{8C2D5196-4278-D44D-B335-4D1BB7A4BF4A}"/>
                </a:ext>
              </a:extLst>
            </p:cNvPr>
            <p:cNvSpPr>
              <a:spLocks noChangeArrowheads="1"/>
            </p:cNvSpPr>
            <p:nvPr/>
          </p:nvSpPr>
          <p:spPr bwMode="auto">
            <a:xfrm>
              <a:off x="4595957" y="9242584"/>
              <a:ext cx="2558940" cy="2910954"/>
            </a:xfrm>
            <a:custGeom>
              <a:avLst/>
              <a:gdLst>
                <a:gd name="T0" fmla="*/ 3824 w 6660"/>
                <a:gd name="T1" fmla="*/ 7181 h 7659"/>
                <a:gd name="T2" fmla="*/ 3055 w 6660"/>
                <a:gd name="T3" fmla="*/ 7079 h 7659"/>
                <a:gd name="T4" fmla="*/ 2916 w 6660"/>
                <a:gd name="T5" fmla="*/ 7064 h 7659"/>
                <a:gd name="T6" fmla="*/ 2637 w 6660"/>
                <a:gd name="T7" fmla="*/ 6932 h 7659"/>
                <a:gd name="T8" fmla="*/ 2506 w 6660"/>
                <a:gd name="T9" fmla="*/ 6727 h 7659"/>
                <a:gd name="T10" fmla="*/ 2125 w 6660"/>
                <a:gd name="T11" fmla="*/ 6896 h 7659"/>
                <a:gd name="T12" fmla="*/ 2403 w 6660"/>
                <a:gd name="T13" fmla="*/ 7013 h 7659"/>
                <a:gd name="T14" fmla="*/ 2403 w 6660"/>
                <a:gd name="T15" fmla="*/ 7306 h 7659"/>
                <a:gd name="T16" fmla="*/ 2146 w 6660"/>
                <a:gd name="T17" fmla="*/ 7394 h 7659"/>
                <a:gd name="T18" fmla="*/ 930 w 6660"/>
                <a:gd name="T19" fmla="*/ 7475 h 7659"/>
                <a:gd name="T20" fmla="*/ 344 w 6660"/>
                <a:gd name="T21" fmla="*/ 7467 h 7659"/>
                <a:gd name="T22" fmla="*/ 263 w 6660"/>
                <a:gd name="T23" fmla="*/ 7379 h 7659"/>
                <a:gd name="T24" fmla="*/ 80 w 6660"/>
                <a:gd name="T25" fmla="*/ 6786 h 7659"/>
                <a:gd name="T26" fmla="*/ 271 w 6660"/>
                <a:gd name="T27" fmla="*/ 5994 h 7659"/>
                <a:gd name="T28" fmla="*/ 366 w 6660"/>
                <a:gd name="T29" fmla="*/ 5203 h 7659"/>
                <a:gd name="T30" fmla="*/ 593 w 6660"/>
                <a:gd name="T31" fmla="*/ 4448 h 7659"/>
                <a:gd name="T32" fmla="*/ 1157 w 6660"/>
                <a:gd name="T33" fmla="*/ 3415 h 7659"/>
                <a:gd name="T34" fmla="*/ 1604 w 6660"/>
                <a:gd name="T35" fmla="*/ 2777 h 7659"/>
                <a:gd name="T36" fmla="*/ 1963 w 6660"/>
                <a:gd name="T37" fmla="*/ 2184 h 7659"/>
                <a:gd name="T38" fmla="*/ 2205 w 6660"/>
                <a:gd name="T39" fmla="*/ 1664 h 7659"/>
                <a:gd name="T40" fmla="*/ 2271 w 6660"/>
                <a:gd name="T41" fmla="*/ 1217 h 7659"/>
                <a:gd name="T42" fmla="*/ 2103 w 6660"/>
                <a:gd name="T43" fmla="*/ 704 h 7659"/>
                <a:gd name="T44" fmla="*/ 2183 w 6660"/>
                <a:gd name="T45" fmla="*/ 667 h 7659"/>
                <a:gd name="T46" fmla="*/ 2506 w 6660"/>
                <a:gd name="T47" fmla="*/ 616 h 7659"/>
                <a:gd name="T48" fmla="*/ 2975 w 6660"/>
                <a:gd name="T49" fmla="*/ 880 h 7659"/>
                <a:gd name="T50" fmla="*/ 3055 w 6660"/>
                <a:gd name="T51" fmla="*/ 1092 h 7659"/>
                <a:gd name="T52" fmla="*/ 3187 w 6660"/>
                <a:gd name="T53" fmla="*/ 1165 h 7659"/>
                <a:gd name="T54" fmla="*/ 3444 w 6660"/>
                <a:gd name="T55" fmla="*/ 953 h 7659"/>
                <a:gd name="T56" fmla="*/ 3583 w 6660"/>
                <a:gd name="T57" fmla="*/ 748 h 7659"/>
                <a:gd name="T58" fmla="*/ 3766 w 6660"/>
                <a:gd name="T59" fmla="*/ 740 h 7659"/>
                <a:gd name="T60" fmla="*/ 4227 w 6660"/>
                <a:gd name="T61" fmla="*/ 447 h 7659"/>
                <a:gd name="T62" fmla="*/ 4081 w 6660"/>
                <a:gd name="T63" fmla="*/ 257 h 7659"/>
                <a:gd name="T64" fmla="*/ 4337 w 6660"/>
                <a:gd name="T65" fmla="*/ 66 h 7659"/>
                <a:gd name="T66" fmla="*/ 4506 w 6660"/>
                <a:gd name="T67" fmla="*/ 103 h 7659"/>
                <a:gd name="T68" fmla="*/ 4733 w 6660"/>
                <a:gd name="T69" fmla="*/ 8 h 7659"/>
                <a:gd name="T70" fmla="*/ 4909 w 6660"/>
                <a:gd name="T71" fmla="*/ 308 h 7659"/>
                <a:gd name="T72" fmla="*/ 5173 w 6660"/>
                <a:gd name="T73" fmla="*/ 403 h 7659"/>
                <a:gd name="T74" fmla="*/ 5187 w 6660"/>
                <a:gd name="T75" fmla="*/ 777 h 7659"/>
                <a:gd name="T76" fmla="*/ 5495 w 6660"/>
                <a:gd name="T77" fmla="*/ 997 h 7659"/>
                <a:gd name="T78" fmla="*/ 5774 w 6660"/>
                <a:gd name="T79" fmla="*/ 1070 h 7659"/>
                <a:gd name="T80" fmla="*/ 5876 w 6660"/>
                <a:gd name="T81" fmla="*/ 1341 h 7659"/>
                <a:gd name="T82" fmla="*/ 6111 w 6660"/>
                <a:gd name="T83" fmla="*/ 2155 h 7659"/>
                <a:gd name="T84" fmla="*/ 6162 w 6660"/>
                <a:gd name="T85" fmla="*/ 2477 h 7659"/>
                <a:gd name="T86" fmla="*/ 6505 w 6660"/>
                <a:gd name="T87" fmla="*/ 3488 h 7659"/>
                <a:gd name="T88" fmla="*/ 6513 w 6660"/>
                <a:gd name="T89" fmla="*/ 3730 h 7659"/>
                <a:gd name="T90" fmla="*/ 6140 w 6660"/>
                <a:gd name="T91" fmla="*/ 3730 h 7659"/>
                <a:gd name="T92" fmla="*/ 6265 w 6660"/>
                <a:gd name="T93" fmla="*/ 4214 h 7659"/>
                <a:gd name="T94" fmla="*/ 6162 w 6660"/>
                <a:gd name="T95" fmla="*/ 4316 h 7659"/>
                <a:gd name="T96" fmla="*/ 5810 w 6660"/>
                <a:gd name="T97" fmla="*/ 4390 h 7659"/>
                <a:gd name="T98" fmla="*/ 5759 w 6660"/>
                <a:gd name="T99" fmla="*/ 5013 h 7659"/>
                <a:gd name="T100" fmla="*/ 5803 w 6660"/>
                <a:gd name="T101" fmla="*/ 6053 h 7659"/>
                <a:gd name="T102" fmla="*/ 5876 w 6660"/>
                <a:gd name="T103" fmla="*/ 6595 h 7659"/>
                <a:gd name="T104" fmla="*/ 5781 w 6660"/>
                <a:gd name="T105" fmla="*/ 7079 h 7659"/>
                <a:gd name="T106" fmla="*/ 5202 w 6660"/>
                <a:gd name="T107" fmla="*/ 7152 h 7659"/>
                <a:gd name="T108" fmla="*/ 4806 w 6660"/>
                <a:gd name="T109" fmla="*/ 7394 h 7659"/>
                <a:gd name="T110" fmla="*/ 4982 w 6660"/>
                <a:gd name="T111" fmla="*/ 7599 h 7659"/>
                <a:gd name="T112" fmla="*/ 4462 w 6660"/>
                <a:gd name="T113" fmla="*/ 7658 h 7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60" h="7659">
                  <a:moveTo>
                    <a:pt x="4462" y="7658"/>
                  </a:moveTo>
                  <a:lnTo>
                    <a:pt x="4462" y="7658"/>
                  </a:lnTo>
                  <a:cubicBezTo>
                    <a:pt x="4455" y="7658"/>
                    <a:pt x="4440" y="7658"/>
                    <a:pt x="4433" y="7658"/>
                  </a:cubicBezTo>
                  <a:cubicBezTo>
                    <a:pt x="4367" y="7650"/>
                    <a:pt x="4301" y="7548"/>
                    <a:pt x="4213" y="7350"/>
                  </a:cubicBezTo>
                  <a:cubicBezTo>
                    <a:pt x="4191" y="7306"/>
                    <a:pt x="4037" y="7255"/>
                    <a:pt x="3934" y="7218"/>
                  </a:cubicBezTo>
                  <a:cubicBezTo>
                    <a:pt x="3883" y="7203"/>
                    <a:pt x="3846" y="7189"/>
                    <a:pt x="3824" y="7181"/>
                  </a:cubicBezTo>
                  <a:cubicBezTo>
                    <a:pt x="3766" y="7145"/>
                    <a:pt x="3619" y="7086"/>
                    <a:pt x="3509" y="7064"/>
                  </a:cubicBezTo>
                  <a:cubicBezTo>
                    <a:pt x="3495" y="7064"/>
                    <a:pt x="3473" y="7057"/>
                    <a:pt x="3451" y="7057"/>
                  </a:cubicBezTo>
                  <a:cubicBezTo>
                    <a:pt x="3377" y="7057"/>
                    <a:pt x="3304" y="7086"/>
                    <a:pt x="3231" y="7130"/>
                  </a:cubicBezTo>
                  <a:cubicBezTo>
                    <a:pt x="3194" y="7152"/>
                    <a:pt x="3165" y="7167"/>
                    <a:pt x="3136" y="7167"/>
                  </a:cubicBezTo>
                  <a:cubicBezTo>
                    <a:pt x="3106" y="7167"/>
                    <a:pt x="3084" y="7152"/>
                    <a:pt x="3070" y="7137"/>
                  </a:cubicBezTo>
                  <a:cubicBezTo>
                    <a:pt x="3055" y="7123"/>
                    <a:pt x="3055" y="7101"/>
                    <a:pt x="3055" y="7079"/>
                  </a:cubicBezTo>
                  <a:cubicBezTo>
                    <a:pt x="3070" y="7027"/>
                    <a:pt x="3055" y="6991"/>
                    <a:pt x="2975" y="6940"/>
                  </a:cubicBezTo>
                  <a:cubicBezTo>
                    <a:pt x="2938" y="6918"/>
                    <a:pt x="2916" y="6910"/>
                    <a:pt x="2908" y="6910"/>
                  </a:cubicBezTo>
                  <a:cubicBezTo>
                    <a:pt x="2901" y="6910"/>
                    <a:pt x="2901" y="6910"/>
                    <a:pt x="2901" y="6910"/>
                  </a:cubicBezTo>
                  <a:cubicBezTo>
                    <a:pt x="2894" y="6918"/>
                    <a:pt x="2901" y="6925"/>
                    <a:pt x="2916" y="6940"/>
                  </a:cubicBezTo>
                  <a:cubicBezTo>
                    <a:pt x="2945" y="6969"/>
                    <a:pt x="2960" y="7013"/>
                    <a:pt x="2953" y="7042"/>
                  </a:cubicBezTo>
                  <a:cubicBezTo>
                    <a:pt x="2945" y="7057"/>
                    <a:pt x="2930" y="7064"/>
                    <a:pt x="2916" y="7064"/>
                  </a:cubicBezTo>
                  <a:cubicBezTo>
                    <a:pt x="2894" y="7064"/>
                    <a:pt x="2879" y="7057"/>
                    <a:pt x="2857" y="7042"/>
                  </a:cubicBezTo>
                  <a:cubicBezTo>
                    <a:pt x="2843" y="7035"/>
                    <a:pt x="2821" y="7020"/>
                    <a:pt x="2799" y="7020"/>
                  </a:cubicBezTo>
                  <a:cubicBezTo>
                    <a:pt x="2799" y="7020"/>
                    <a:pt x="2799" y="7020"/>
                    <a:pt x="2791" y="7020"/>
                  </a:cubicBezTo>
                  <a:cubicBezTo>
                    <a:pt x="2784" y="7027"/>
                    <a:pt x="2769" y="7027"/>
                    <a:pt x="2755" y="7027"/>
                  </a:cubicBezTo>
                  <a:cubicBezTo>
                    <a:pt x="2733" y="7027"/>
                    <a:pt x="2674" y="7020"/>
                    <a:pt x="2645" y="6984"/>
                  </a:cubicBezTo>
                  <a:cubicBezTo>
                    <a:pt x="2637" y="6976"/>
                    <a:pt x="2630" y="6962"/>
                    <a:pt x="2637" y="6932"/>
                  </a:cubicBezTo>
                  <a:cubicBezTo>
                    <a:pt x="2652" y="6888"/>
                    <a:pt x="2689" y="6874"/>
                    <a:pt x="2718" y="6859"/>
                  </a:cubicBezTo>
                  <a:cubicBezTo>
                    <a:pt x="2740" y="6844"/>
                    <a:pt x="2769" y="6837"/>
                    <a:pt x="2791" y="6808"/>
                  </a:cubicBezTo>
                  <a:cubicBezTo>
                    <a:pt x="2791" y="6800"/>
                    <a:pt x="2791" y="6793"/>
                    <a:pt x="2791" y="6793"/>
                  </a:cubicBezTo>
                  <a:cubicBezTo>
                    <a:pt x="2777" y="6756"/>
                    <a:pt x="2689" y="6713"/>
                    <a:pt x="2623" y="6690"/>
                  </a:cubicBezTo>
                  <a:cubicBezTo>
                    <a:pt x="2615" y="6742"/>
                    <a:pt x="2579" y="6778"/>
                    <a:pt x="2549" y="6778"/>
                  </a:cubicBezTo>
                  <a:cubicBezTo>
                    <a:pt x="2542" y="6778"/>
                    <a:pt x="2513" y="6778"/>
                    <a:pt x="2506" y="6727"/>
                  </a:cubicBezTo>
                  <a:cubicBezTo>
                    <a:pt x="2498" y="6698"/>
                    <a:pt x="2484" y="6661"/>
                    <a:pt x="2454" y="6661"/>
                  </a:cubicBezTo>
                  <a:cubicBezTo>
                    <a:pt x="2439" y="6661"/>
                    <a:pt x="2417" y="6668"/>
                    <a:pt x="2403" y="6676"/>
                  </a:cubicBezTo>
                  <a:cubicBezTo>
                    <a:pt x="2366" y="6698"/>
                    <a:pt x="2322" y="6713"/>
                    <a:pt x="2286" y="6720"/>
                  </a:cubicBezTo>
                  <a:cubicBezTo>
                    <a:pt x="2242" y="6727"/>
                    <a:pt x="2205" y="6734"/>
                    <a:pt x="2205" y="6749"/>
                  </a:cubicBezTo>
                  <a:cubicBezTo>
                    <a:pt x="2198" y="6756"/>
                    <a:pt x="2198" y="6764"/>
                    <a:pt x="2198" y="6778"/>
                  </a:cubicBezTo>
                  <a:cubicBezTo>
                    <a:pt x="2190" y="6822"/>
                    <a:pt x="2183" y="6874"/>
                    <a:pt x="2125" y="6896"/>
                  </a:cubicBezTo>
                  <a:cubicBezTo>
                    <a:pt x="2103" y="6903"/>
                    <a:pt x="2088" y="6932"/>
                    <a:pt x="2080" y="6962"/>
                  </a:cubicBezTo>
                  <a:cubicBezTo>
                    <a:pt x="2066" y="7006"/>
                    <a:pt x="2073" y="7049"/>
                    <a:pt x="2095" y="7079"/>
                  </a:cubicBezTo>
                  <a:cubicBezTo>
                    <a:pt x="2132" y="7115"/>
                    <a:pt x="2168" y="7123"/>
                    <a:pt x="2198" y="7123"/>
                  </a:cubicBezTo>
                  <a:cubicBezTo>
                    <a:pt x="2234" y="7123"/>
                    <a:pt x="2271" y="7108"/>
                    <a:pt x="2293" y="7094"/>
                  </a:cubicBezTo>
                  <a:cubicBezTo>
                    <a:pt x="2308" y="7086"/>
                    <a:pt x="2315" y="7072"/>
                    <a:pt x="2330" y="7064"/>
                  </a:cubicBezTo>
                  <a:cubicBezTo>
                    <a:pt x="2344" y="7042"/>
                    <a:pt x="2359" y="7013"/>
                    <a:pt x="2403" y="7013"/>
                  </a:cubicBezTo>
                  <a:cubicBezTo>
                    <a:pt x="2425" y="7013"/>
                    <a:pt x="2447" y="7020"/>
                    <a:pt x="2476" y="7035"/>
                  </a:cubicBezTo>
                  <a:cubicBezTo>
                    <a:pt x="2520" y="7057"/>
                    <a:pt x="2542" y="7079"/>
                    <a:pt x="2549" y="7094"/>
                  </a:cubicBezTo>
                  <a:cubicBezTo>
                    <a:pt x="2557" y="7115"/>
                    <a:pt x="2542" y="7137"/>
                    <a:pt x="2535" y="7152"/>
                  </a:cubicBezTo>
                  <a:cubicBezTo>
                    <a:pt x="2520" y="7174"/>
                    <a:pt x="2513" y="7189"/>
                    <a:pt x="2513" y="7211"/>
                  </a:cubicBezTo>
                  <a:cubicBezTo>
                    <a:pt x="2498" y="7284"/>
                    <a:pt x="2447" y="7306"/>
                    <a:pt x="2417" y="7306"/>
                  </a:cubicBezTo>
                  <a:cubicBezTo>
                    <a:pt x="2403" y="7306"/>
                    <a:pt x="2403" y="7306"/>
                    <a:pt x="2403" y="7306"/>
                  </a:cubicBezTo>
                  <a:cubicBezTo>
                    <a:pt x="2403" y="7291"/>
                    <a:pt x="2403" y="7291"/>
                    <a:pt x="2403" y="7291"/>
                  </a:cubicBezTo>
                  <a:cubicBezTo>
                    <a:pt x="2396" y="7277"/>
                    <a:pt x="2352" y="7233"/>
                    <a:pt x="2286" y="7233"/>
                  </a:cubicBezTo>
                  <a:cubicBezTo>
                    <a:pt x="2264" y="7233"/>
                    <a:pt x="2249" y="7240"/>
                    <a:pt x="2227" y="7247"/>
                  </a:cubicBezTo>
                  <a:cubicBezTo>
                    <a:pt x="2139" y="7284"/>
                    <a:pt x="2154" y="7372"/>
                    <a:pt x="2161" y="7379"/>
                  </a:cubicBezTo>
                  <a:cubicBezTo>
                    <a:pt x="2161" y="7394"/>
                    <a:pt x="2161" y="7394"/>
                    <a:pt x="2161" y="7394"/>
                  </a:cubicBezTo>
                  <a:cubicBezTo>
                    <a:pt x="2146" y="7394"/>
                    <a:pt x="2146" y="7394"/>
                    <a:pt x="2146" y="7394"/>
                  </a:cubicBezTo>
                  <a:cubicBezTo>
                    <a:pt x="2073" y="7408"/>
                    <a:pt x="2015" y="7416"/>
                    <a:pt x="1971" y="7416"/>
                  </a:cubicBezTo>
                  <a:cubicBezTo>
                    <a:pt x="1861" y="7416"/>
                    <a:pt x="1795" y="7372"/>
                    <a:pt x="1758" y="7284"/>
                  </a:cubicBezTo>
                  <a:cubicBezTo>
                    <a:pt x="1744" y="7262"/>
                    <a:pt x="1722" y="7255"/>
                    <a:pt x="1685" y="7255"/>
                  </a:cubicBezTo>
                  <a:cubicBezTo>
                    <a:pt x="1589" y="7255"/>
                    <a:pt x="1436" y="7328"/>
                    <a:pt x="1370" y="7394"/>
                  </a:cubicBezTo>
                  <a:cubicBezTo>
                    <a:pt x="1289" y="7475"/>
                    <a:pt x="1055" y="7482"/>
                    <a:pt x="1011" y="7482"/>
                  </a:cubicBezTo>
                  <a:cubicBezTo>
                    <a:pt x="974" y="7482"/>
                    <a:pt x="937" y="7475"/>
                    <a:pt x="930" y="7475"/>
                  </a:cubicBezTo>
                  <a:cubicBezTo>
                    <a:pt x="894" y="7467"/>
                    <a:pt x="886" y="7431"/>
                    <a:pt x="879" y="7394"/>
                  </a:cubicBezTo>
                  <a:cubicBezTo>
                    <a:pt x="864" y="7357"/>
                    <a:pt x="857" y="7328"/>
                    <a:pt x="842" y="7328"/>
                  </a:cubicBezTo>
                  <a:cubicBezTo>
                    <a:pt x="806" y="7328"/>
                    <a:pt x="725" y="7379"/>
                    <a:pt x="652" y="7416"/>
                  </a:cubicBezTo>
                  <a:cubicBezTo>
                    <a:pt x="600" y="7445"/>
                    <a:pt x="549" y="7482"/>
                    <a:pt x="505" y="7496"/>
                  </a:cubicBezTo>
                  <a:cubicBezTo>
                    <a:pt x="483" y="7504"/>
                    <a:pt x="461" y="7511"/>
                    <a:pt x="432" y="7511"/>
                  </a:cubicBezTo>
                  <a:cubicBezTo>
                    <a:pt x="395" y="7511"/>
                    <a:pt x="358" y="7496"/>
                    <a:pt x="344" y="7467"/>
                  </a:cubicBezTo>
                  <a:cubicBezTo>
                    <a:pt x="329" y="7445"/>
                    <a:pt x="329" y="7423"/>
                    <a:pt x="337" y="7408"/>
                  </a:cubicBezTo>
                  <a:cubicBezTo>
                    <a:pt x="344" y="7387"/>
                    <a:pt x="358" y="7372"/>
                    <a:pt x="373" y="7357"/>
                  </a:cubicBezTo>
                  <a:cubicBezTo>
                    <a:pt x="395" y="7335"/>
                    <a:pt x="410" y="7306"/>
                    <a:pt x="403" y="7291"/>
                  </a:cubicBezTo>
                  <a:cubicBezTo>
                    <a:pt x="403" y="7284"/>
                    <a:pt x="403" y="7284"/>
                    <a:pt x="395" y="7284"/>
                  </a:cubicBezTo>
                  <a:cubicBezTo>
                    <a:pt x="395" y="7284"/>
                    <a:pt x="373" y="7284"/>
                    <a:pt x="344" y="7335"/>
                  </a:cubicBezTo>
                  <a:cubicBezTo>
                    <a:pt x="322" y="7365"/>
                    <a:pt x="293" y="7379"/>
                    <a:pt x="263" y="7379"/>
                  </a:cubicBezTo>
                  <a:cubicBezTo>
                    <a:pt x="227" y="7379"/>
                    <a:pt x="197" y="7350"/>
                    <a:pt x="190" y="7328"/>
                  </a:cubicBezTo>
                  <a:cubicBezTo>
                    <a:pt x="190" y="7321"/>
                    <a:pt x="183" y="7306"/>
                    <a:pt x="183" y="7291"/>
                  </a:cubicBezTo>
                  <a:cubicBezTo>
                    <a:pt x="183" y="7262"/>
                    <a:pt x="183" y="7211"/>
                    <a:pt x="117" y="7152"/>
                  </a:cubicBezTo>
                  <a:cubicBezTo>
                    <a:pt x="29" y="7079"/>
                    <a:pt x="0" y="6991"/>
                    <a:pt x="44" y="6910"/>
                  </a:cubicBezTo>
                  <a:cubicBezTo>
                    <a:pt x="51" y="6896"/>
                    <a:pt x="58" y="6881"/>
                    <a:pt x="65" y="6866"/>
                  </a:cubicBezTo>
                  <a:cubicBezTo>
                    <a:pt x="87" y="6830"/>
                    <a:pt x="95" y="6822"/>
                    <a:pt x="80" y="6786"/>
                  </a:cubicBezTo>
                  <a:cubicBezTo>
                    <a:pt x="51" y="6720"/>
                    <a:pt x="58" y="6654"/>
                    <a:pt x="102" y="6588"/>
                  </a:cubicBezTo>
                  <a:cubicBezTo>
                    <a:pt x="117" y="6566"/>
                    <a:pt x="117" y="6566"/>
                    <a:pt x="117" y="6566"/>
                  </a:cubicBezTo>
                  <a:cubicBezTo>
                    <a:pt x="146" y="6522"/>
                    <a:pt x="153" y="6515"/>
                    <a:pt x="132" y="6456"/>
                  </a:cubicBezTo>
                  <a:cubicBezTo>
                    <a:pt x="109" y="6383"/>
                    <a:pt x="161" y="6309"/>
                    <a:pt x="175" y="6287"/>
                  </a:cubicBezTo>
                  <a:cubicBezTo>
                    <a:pt x="168" y="6236"/>
                    <a:pt x="190" y="6170"/>
                    <a:pt x="241" y="6126"/>
                  </a:cubicBezTo>
                  <a:cubicBezTo>
                    <a:pt x="278" y="6082"/>
                    <a:pt x="293" y="6031"/>
                    <a:pt x="271" y="5994"/>
                  </a:cubicBezTo>
                  <a:cubicBezTo>
                    <a:pt x="263" y="5980"/>
                    <a:pt x="256" y="5972"/>
                    <a:pt x="249" y="5958"/>
                  </a:cubicBezTo>
                  <a:cubicBezTo>
                    <a:pt x="219" y="5906"/>
                    <a:pt x="183" y="5840"/>
                    <a:pt x="168" y="5760"/>
                  </a:cubicBezTo>
                  <a:cubicBezTo>
                    <a:pt x="146" y="5650"/>
                    <a:pt x="183" y="5547"/>
                    <a:pt x="212" y="5503"/>
                  </a:cubicBezTo>
                  <a:cubicBezTo>
                    <a:pt x="234" y="5481"/>
                    <a:pt x="241" y="5452"/>
                    <a:pt x="256" y="5415"/>
                  </a:cubicBezTo>
                  <a:cubicBezTo>
                    <a:pt x="271" y="5386"/>
                    <a:pt x="285" y="5342"/>
                    <a:pt x="315" y="5291"/>
                  </a:cubicBezTo>
                  <a:cubicBezTo>
                    <a:pt x="337" y="5254"/>
                    <a:pt x="351" y="5225"/>
                    <a:pt x="366" y="5203"/>
                  </a:cubicBezTo>
                  <a:cubicBezTo>
                    <a:pt x="403" y="5152"/>
                    <a:pt x="425" y="5115"/>
                    <a:pt x="439" y="5049"/>
                  </a:cubicBezTo>
                  <a:cubicBezTo>
                    <a:pt x="461" y="4961"/>
                    <a:pt x="498" y="4932"/>
                    <a:pt x="542" y="4903"/>
                  </a:cubicBezTo>
                  <a:cubicBezTo>
                    <a:pt x="549" y="4895"/>
                    <a:pt x="549" y="4895"/>
                    <a:pt x="549" y="4895"/>
                  </a:cubicBezTo>
                  <a:cubicBezTo>
                    <a:pt x="571" y="4881"/>
                    <a:pt x="571" y="4771"/>
                    <a:pt x="571" y="4690"/>
                  </a:cubicBezTo>
                  <a:cubicBezTo>
                    <a:pt x="578" y="4624"/>
                    <a:pt x="578" y="4565"/>
                    <a:pt x="586" y="4529"/>
                  </a:cubicBezTo>
                  <a:cubicBezTo>
                    <a:pt x="593" y="4507"/>
                    <a:pt x="593" y="4477"/>
                    <a:pt x="593" y="4448"/>
                  </a:cubicBezTo>
                  <a:cubicBezTo>
                    <a:pt x="593" y="4404"/>
                    <a:pt x="586" y="4360"/>
                    <a:pt x="637" y="4316"/>
                  </a:cubicBezTo>
                  <a:cubicBezTo>
                    <a:pt x="703" y="4265"/>
                    <a:pt x="732" y="4184"/>
                    <a:pt x="732" y="4067"/>
                  </a:cubicBezTo>
                  <a:cubicBezTo>
                    <a:pt x="732" y="3943"/>
                    <a:pt x="820" y="3818"/>
                    <a:pt x="886" y="3767"/>
                  </a:cubicBezTo>
                  <a:cubicBezTo>
                    <a:pt x="945" y="3723"/>
                    <a:pt x="1018" y="3642"/>
                    <a:pt x="1040" y="3606"/>
                  </a:cubicBezTo>
                  <a:cubicBezTo>
                    <a:pt x="1047" y="3598"/>
                    <a:pt x="1062" y="3576"/>
                    <a:pt x="1069" y="3554"/>
                  </a:cubicBezTo>
                  <a:cubicBezTo>
                    <a:pt x="1099" y="3510"/>
                    <a:pt x="1128" y="3452"/>
                    <a:pt x="1157" y="3415"/>
                  </a:cubicBezTo>
                  <a:cubicBezTo>
                    <a:pt x="1201" y="3356"/>
                    <a:pt x="1245" y="3327"/>
                    <a:pt x="1326" y="3305"/>
                  </a:cubicBezTo>
                  <a:cubicBezTo>
                    <a:pt x="1370" y="3290"/>
                    <a:pt x="1392" y="3210"/>
                    <a:pt x="1414" y="3137"/>
                  </a:cubicBezTo>
                  <a:cubicBezTo>
                    <a:pt x="1421" y="3100"/>
                    <a:pt x="1428" y="3071"/>
                    <a:pt x="1436" y="3041"/>
                  </a:cubicBezTo>
                  <a:cubicBezTo>
                    <a:pt x="1465" y="2968"/>
                    <a:pt x="1568" y="2851"/>
                    <a:pt x="1604" y="2814"/>
                  </a:cubicBezTo>
                  <a:cubicBezTo>
                    <a:pt x="1626" y="2792"/>
                    <a:pt x="1626" y="2792"/>
                    <a:pt x="1626" y="2792"/>
                  </a:cubicBezTo>
                  <a:cubicBezTo>
                    <a:pt x="1604" y="2777"/>
                    <a:pt x="1604" y="2777"/>
                    <a:pt x="1604" y="2777"/>
                  </a:cubicBezTo>
                  <a:cubicBezTo>
                    <a:pt x="1670" y="2741"/>
                    <a:pt x="1670" y="2741"/>
                    <a:pt x="1670" y="2741"/>
                  </a:cubicBezTo>
                  <a:cubicBezTo>
                    <a:pt x="1677" y="2741"/>
                    <a:pt x="1677" y="2741"/>
                    <a:pt x="1677" y="2741"/>
                  </a:cubicBezTo>
                  <a:cubicBezTo>
                    <a:pt x="1677" y="2741"/>
                    <a:pt x="1736" y="2734"/>
                    <a:pt x="1787" y="2602"/>
                  </a:cubicBezTo>
                  <a:cubicBezTo>
                    <a:pt x="1824" y="2514"/>
                    <a:pt x="1868" y="2455"/>
                    <a:pt x="1897" y="2404"/>
                  </a:cubicBezTo>
                  <a:cubicBezTo>
                    <a:pt x="1927" y="2353"/>
                    <a:pt x="1956" y="2316"/>
                    <a:pt x="1956" y="2279"/>
                  </a:cubicBezTo>
                  <a:cubicBezTo>
                    <a:pt x="1963" y="2243"/>
                    <a:pt x="1963" y="2213"/>
                    <a:pt x="1963" y="2184"/>
                  </a:cubicBezTo>
                  <a:cubicBezTo>
                    <a:pt x="1956" y="2147"/>
                    <a:pt x="1956" y="2111"/>
                    <a:pt x="1971" y="2089"/>
                  </a:cubicBezTo>
                  <a:cubicBezTo>
                    <a:pt x="1978" y="2081"/>
                    <a:pt x="1985" y="2067"/>
                    <a:pt x="2000" y="2059"/>
                  </a:cubicBezTo>
                  <a:cubicBezTo>
                    <a:pt x="2022" y="2037"/>
                    <a:pt x="2051" y="2008"/>
                    <a:pt x="2037" y="1964"/>
                  </a:cubicBezTo>
                  <a:cubicBezTo>
                    <a:pt x="2022" y="1920"/>
                    <a:pt x="2022" y="1847"/>
                    <a:pt x="2125" y="1781"/>
                  </a:cubicBezTo>
                  <a:cubicBezTo>
                    <a:pt x="2139" y="1766"/>
                    <a:pt x="2154" y="1759"/>
                    <a:pt x="2161" y="1759"/>
                  </a:cubicBezTo>
                  <a:cubicBezTo>
                    <a:pt x="2198" y="1737"/>
                    <a:pt x="2205" y="1730"/>
                    <a:pt x="2205" y="1664"/>
                  </a:cubicBezTo>
                  <a:cubicBezTo>
                    <a:pt x="2205" y="1627"/>
                    <a:pt x="2198" y="1620"/>
                    <a:pt x="2183" y="1605"/>
                  </a:cubicBezTo>
                  <a:cubicBezTo>
                    <a:pt x="2168" y="1590"/>
                    <a:pt x="2161" y="1576"/>
                    <a:pt x="2176" y="1539"/>
                  </a:cubicBezTo>
                  <a:cubicBezTo>
                    <a:pt x="2183" y="1503"/>
                    <a:pt x="2205" y="1480"/>
                    <a:pt x="2220" y="1466"/>
                  </a:cubicBezTo>
                  <a:cubicBezTo>
                    <a:pt x="2242" y="1444"/>
                    <a:pt x="2256" y="1429"/>
                    <a:pt x="2256" y="1407"/>
                  </a:cubicBezTo>
                  <a:cubicBezTo>
                    <a:pt x="2256" y="1385"/>
                    <a:pt x="2256" y="1356"/>
                    <a:pt x="2264" y="1327"/>
                  </a:cubicBezTo>
                  <a:cubicBezTo>
                    <a:pt x="2271" y="1297"/>
                    <a:pt x="2286" y="1224"/>
                    <a:pt x="2271" y="1217"/>
                  </a:cubicBezTo>
                  <a:cubicBezTo>
                    <a:pt x="2264" y="1217"/>
                    <a:pt x="2256" y="1217"/>
                    <a:pt x="2249" y="1217"/>
                  </a:cubicBezTo>
                  <a:cubicBezTo>
                    <a:pt x="2213" y="1217"/>
                    <a:pt x="2176" y="1202"/>
                    <a:pt x="2161" y="1173"/>
                  </a:cubicBezTo>
                  <a:cubicBezTo>
                    <a:pt x="2161" y="1158"/>
                    <a:pt x="2154" y="1136"/>
                    <a:pt x="2176" y="1099"/>
                  </a:cubicBezTo>
                  <a:cubicBezTo>
                    <a:pt x="2198" y="1070"/>
                    <a:pt x="2190" y="1063"/>
                    <a:pt x="2161" y="1019"/>
                  </a:cubicBezTo>
                  <a:cubicBezTo>
                    <a:pt x="2146" y="1012"/>
                    <a:pt x="2132" y="989"/>
                    <a:pt x="2117" y="975"/>
                  </a:cubicBezTo>
                  <a:cubicBezTo>
                    <a:pt x="2073" y="902"/>
                    <a:pt x="2103" y="726"/>
                    <a:pt x="2103" y="704"/>
                  </a:cubicBezTo>
                  <a:cubicBezTo>
                    <a:pt x="2103" y="696"/>
                    <a:pt x="2103" y="696"/>
                    <a:pt x="2103" y="696"/>
                  </a:cubicBezTo>
                  <a:cubicBezTo>
                    <a:pt x="2110" y="689"/>
                    <a:pt x="2110" y="689"/>
                    <a:pt x="2110" y="689"/>
                  </a:cubicBezTo>
                  <a:lnTo>
                    <a:pt x="2110" y="689"/>
                  </a:lnTo>
                  <a:cubicBezTo>
                    <a:pt x="2117" y="689"/>
                    <a:pt x="2117" y="689"/>
                    <a:pt x="2117" y="689"/>
                  </a:cubicBezTo>
                  <a:cubicBezTo>
                    <a:pt x="2168" y="667"/>
                    <a:pt x="2168" y="667"/>
                    <a:pt x="2168" y="667"/>
                  </a:cubicBezTo>
                  <a:cubicBezTo>
                    <a:pt x="2176" y="667"/>
                    <a:pt x="2183" y="667"/>
                    <a:pt x="2183" y="667"/>
                  </a:cubicBezTo>
                  <a:cubicBezTo>
                    <a:pt x="2227" y="667"/>
                    <a:pt x="2264" y="718"/>
                    <a:pt x="2308" y="777"/>
                  </a:cubicBezTo>
                  <a:cubicBezTo>
                    <a:pt x="2344" y="828"/>
                    <a:pt x="2381" y="880"/>
                    <a:pt x="2410" y="894"/>
                  </a:cubicBezTo>
                  <a:cubicBezTo>
                    <a:pt x="2425" y="902"/>
                    <a:pt x="2432" y="902"/>
                    <a:pt x="2439" y="902"/>
                  </a:cubicBezTo>
                  <a:cubicBezTo>
                    <a:pt x="2454" y="902"/>
                    <a:pt x="2462" y="894"/>
                    <a:pt x="2476" y="887"/>
                  </a:cubicBezTo>
                  <a:cubicBezTo>
                    <a:pt x="2498" y="858"/>
                    <a:pt x="2506" y="806"/>
                    <a:pt x="2491" y="763"/>
                  </a:cubicBezTo>
                  <a:cubicBezTo>
                    <a:pt x="2476" y="704"/>
                    <a:pt x="2484" y="653"/>
                    <a:pt x="2506" y="616"/>
                  </a:cubicBezTo>
                  <a:cubicBezTo>
                    <a:pt x="2527" y="587"/>
                    <a:pt x="2557" y="572"/>
                    <a:pt x="2594" y="565"/>
                  </a:cubicBezTo>
                  <a:cubicBezTo>
                    <a:pt x="2601" y="565"/>
                    <a:pt x="2615" y="565"/>
                    <a:pt x="2615" y="565"/>
                  </a:cubicBezTo>
                  <a:cubicBezTo>
                    <a:pt x="2689" y="565"/>
                    <a:pt x="2696" y="608"/>
                    <a:pt x="2711" y="726"/>
                  </a:cubicBezTo>
                  <a:cubicBezTo>
                    <a:pt x="2718" y="755"/>
                    <a:pt x="2718" y="784"/>
                    <a:pt x="2725" y="814"/>
                  </a:cubicBezTo>
                  <a:cubicBezTo>
                    <a:pt x="2740" y="887"/>
                    <a:pt x="2777" y="916"/>
                    <a:pt x="2843" y="916"/>
                  </a:cubicBezTo>
                  <a:cubicBezTo>
                    <a:pt x="2908" y="916"/>
                    <a:pt x="2975" y="880"/>
                    <a:pt x="2975" y="880"/>
                  </a:cubicBezTo>
                  <a:cubicBezTo>
                    <a:pt x="2996" y="872"/>
                    <a:pt x="2996" y="872"/>
                    <a:pt x="2996" y="872"/>
                  </a:cubicBezTo>
                  <a:cubicBezTo>
                    <a:pt x="2996" y="894"/>
                    <a:pt x="2996" y="894"/>
                    <a:pt x="2996" y="894"/>
                  </a:cubicBezTo>
                  <a:cubicBezTo>
                    <a:pt x="3004" y="938"/>
                    <a:pt x="3018" y="946"/>
                    <a:pt x="3106" y="946"/>
                  </a:cubicBezTo>
                  <a:cubicBezTo>
                    <a:pt x="3158" y="946"/>
                    <a:pt x="3165" y="982"/>
                    <a:pt x="3172" y="989"/>
                  </a:cubicBezTo>
                  <a:cubicBezTo>
                    <a:pt x="3172" y="1034"/>
                    <a:pt x="3128" y="1085"/>
                    <a:pt x="3077" y="1092"/>
                  </a:cubicBezTo>
                  <a:cubicBezTo>
                    <a:pt x="3070" y="1092"/>
                    <a:pt x="3062" y="1092"/>
                    <a:pt x="3055" y="1092"/>
                  </a:cubicBezTo>
                  <a:cubicBezTo>
                    <a:pt x="3026" y="1099"/>
                    <a:pt x="3026" y="1099"/>
                    <a:pt x="3026" y="1180"/>
                  </a:cubicBezTo>
                  <a:cubicBezTo>
                    <a:pt x="3018" y="1239"/>
                    <a:pt x="3018" y="1239"/>
                    <a:pt x="3018" y="1239"/>
                  </a:cubicBezTo>
                  <a:cubicBezTo>
                    <a:pt x="3018" y="1275"/>
                    <a:pt x="3026" y="1283"/>
                    <a:pt x="3026" y="1290"/>
                  </a:cubicBezTo>
                  <a:lnTo>
                    <a:pt x="3026" y="1290"/>
                  </a:lnTo>
                  <a:cubicBezTo>
                    <a:pt x="3055" y="1290"/>
                    <a:pt x="3099" y="1246"/>
                    <a:pt x="3136" y="1217"/>
                  </a:cubicBezTo>
                  <a:cubicBezTo>
                    <a:pt x="3158" y="1187"/>
                    <a:pt x="3180" y="1173"/>
                    <a:pt x="3187" y="1165"/>
                  </a:cubicBezTo>
                  <a:cubicBezTo>
                    <a:pt x="3209" y="1158"/>
                    <a:pt x="3209" y="1151"/>
                    <a:pt x="3216" y="1122"/>
                  </a:cubicBezTo>
                  <a:cubicBezTo>
                    <a:pt x="3216" y="1107"/>
                    <a:pt x="3216" y="1085"/>
                    <a:pt x="3231" y="1048"/>
                  </a:cubicBezTo>
                  <a:cubicBezTo>
                    <a:pt x="3238" y="1004"/>
                    <a:pt x="3260" y="953"/>
                    <a:pt x="3304" y="953"/>
                  </a:cubicBezTo>
                  <a:cubicBezTo>
                    <a:pt x="3326" y="953"/>
                    <a:pt x="3348" y="968"/>
                    <a:pt x="3377" y="982"/>
                  </a:cubicBezTo>
                  <a:cubicBezTo>
                    <a:pt x="3392" y="997"/>
                    <a:pt x="3407" y="1004"/>
                    <a:pt x="3414" y="1004"/>
                  </a:cubicBezTo>
                  <a:cubicBezTo>
                    <a:pt x="3429" y="1004"/>
                    <a:pt x="3436" y="982"/>
                    <a:pt x="3444" y="953"/>
                  </a:cubicBezTo>
                  <a:cubicBezTo>
                    <a:pt x="3451" y="938"/>
                    <a:pt x="3458" y="924"/>
                    <a:pt x="3465" y="909"/>
                  </a:cubicBezTo>
                  <a:cubicBezTo>
                    <a:pt x="3473" y="902"/>
                    <a:pt x="3487" y="880"/>
                    <a:pt x="3524" y="880"/>
                  </a:cubicBezTo>
                  <a:cubicBezTo>
                    <a:pt x="3539" y="880"/>
                    <a:pt x="3561" y="887"/>
                    <a:pt x="3583" y="902"/>
                  </a:cubicBezTo>
                  <a:cubicBezTo>
                    <a:pt x="3517" y="799"/>
                    <a:pt x="3517" y="799"/>
                    <a:pt x="3517" y="799"/>
                  </a:cubicBezTo>
                  <a:cubicBezTo>
                    <a:pt x="3583" y="755"/>
                    <a:pt x="3583" y="755"/>
                    <a:pt x="3583" y="755"/>
                  </a:cubicBezTo>
                  <a:cubicBezTo>
                    <a:pt x="3583" y="748"/>
                    <a:pt x="3583" y="748"/>
                    <a:pt x="3583" y="748"/>
                  </a:cubicBezTo>
                  <a:cubicBezTo>
                    <a:pt x="3590" y="748"/>
                    <a:pt x="3590" y="748"/>
                    <a:pt x="3590" y="748"/>
                  </a:cubicBezTo>
                  <a:cubicBezTo>
                    <a:pt x="3605" y="733"/>
                    <a:pt x="3605" y="733"/>
                    <a:pt x="3605" y="733"/>
                  </a:cubicBezTo>
                  <a:cubicBezTo>
                    <a:pt x="3612" y="733"/>
                    <a:pt x="3612" y="733"/>
                    <a:pt x="3612" y="733"/>
                  </a:cubicBezTo>
                  <a:cubicBezTo>
                    <a:pt x="3619" y="733"/>
                    <a:pt x="3634" y="726"/>
                    <a:pt x="3649" y="726"/>
                  </a:cubicBezTo>
                  <a:cubicBezTo>
                    <a:pt x="3663" y="726"/>
                    <a:pt x="3685" y="733"/>
                    <a:pt x="3707" y="733"/>
                  </a:cubicBezTo>
                  <a:cubicBezTo>
                    <a:pt x="3722" y="740"/>
                    <a:pt x="3744" y="740"/>
                    <a:pt x="3766" y="740"/>
                  </a:cubicBezTo>
                  <a:cubicBezTo>
                    <a:pt x="3780" y="740"/>
                    <a:pt x="3795" y="740"/>
                    <a:pt x="3803" y="733"/>
                  </a:cubicBezTo>
                  <a:cubicBezTo>
                    <a:pt x="3817" y="726"/>
                    <a:pt x="3839" y="718"/>
                    <a:pt x="3854" y="718"/>
                  </a:cubicBezTo>
                  <a:cubicBezTo>
                    <a:pt x="3898" y="696"/>
                    <a:pt x="3927" y="689"/>
                    <a:pt x="3927" y="616"/>
                  </a:cubicBezTo>
                  <a:cubicBezTo>
                    <a:pt x="3927" y="499"/>
                    <a:pt x="4030" y="491"/>
                    <a:pt x="4125" y="491"/>
                  </a:cubicBezTo>
                  <a:cubicBezTo>
                    <a:pt x="4139" y="484"/>
                    <a:pt x="4154" y="484"/>
                    <a:pt x="4169" y="484"/>
                  </a:cubicBezTo>
                  <a:cubicBezTo>
                    <a:pt x="4235" y="477"/>
                    <a:pt x="4235" y="469"/>
                    <a:pt x="4227" y="447"/>
                  </a:cubicBezTo>
                  <a:cubicBezTo>
                    <a:pt x="4227" y="440"/>
                    <a:pt x="4227" y="418"/>
                    <a:pt x="4235" y="403"/>
                  </a:cubicBezTo>
                  <a:cubicBezTo>
                    <a:pt x="4249" y="381"/>
                    <a:pt x="4271" y="323"/>
                    <a:pt x="4220" y="271"/>
                  </a:cubicBezTo>
                  <a:cubicBezTo>
                    <a:pt x="4206" y="257"/>
                    <a:pt x="4191" y="249"/>
                    <a:pt x="4169" y="249"/>
                  </a:cubicBezTo>
                  <a:cubicBezTo>
                    <a:pt x="4161" y="249"/>
                    <a:pt x="4154" y="257"/>
                    <a:pt x="4139" y="257"/>
                  </a:cubicBezTo>
                  <a:cubicBezTo>
                    <a:pt x="4132" y="257"/>
                    <a:pt x="4118" y="257"/>
                    <a:pt x="4110" y="257"/>
                  </a:cubicBezTo>
                  <a:cubicBezTo>
                    <a:pt x="4096" y="257"/>
                    <a:pt x="4088" y="257"/>
                    <a:pt x="4081" y="257"/>
                  </a:cubicBezTo>
                  <a:cubicBezTo>
                    <a:pt x="4015" y="242"/>
                    <a:pt x="4008" y="213"/>
                    <a:pt x="4008" y="206"/>
                  </a:cubicBezTo>
                  <a:cubicBezTo>
                    <a:pt x="4015" y="198"/>
                    <a:pt x="4037" y="125"/>
                    <a:pt x="4081" y="88"/>
                  </a:cubicBezTo>
                  <a:cubicBezTo>
                    <a:pt x="4132" y="52"/>
                    <a:pt x="4191" y="44"/>
                    <a:pt x="4249" y="30"/>
                  </a:cubicBezTo>
                  <a:cubicBezTo>
                    <a:pt x="4257" y="30"/>
                    <a:pt x="4257" y="30"/>
                    <a:pt x="4264" y="30"/>
                  </a:cubicBezTo>
                  <a:cubicBezTo>
                    <a:pt x="4294" y="30"/>
                    <a:pt x="4308" y="44"/>
                    <a:pt x="4315" y="59"/>
                  </a:cubicBezTo>
                  <a:cubicBezTo>
                    <a:pt x="4323" y="66"/>
                    <a:pt x="4330" y="66"/>
                    <a:pt x="4337" y="66"/>
                  </a:cubicBezTo>
                  <a:lnTo>
                    <a:pt x="4345" y="66"/>
                  </a:lnTo>
                  <a:cubicBezTo>
                    <a:pt x="4367" y="59"/>
                    <a:pt x="4374" y="52"/>
                    <a:pt x="4381" y="37"/>
                  </a:cubicBezTo>
                  <a:cubicBezTo>
                    <a:pt x="4389" y="30"/>
                    <a:pt x="4403" y="15"/>
                    <a:pt x="4418" y="15"/>
                  </a:cubicBezTo>
                  <a:cubicBezTo>
                    <a:pt x="4425" y="15"/>
                    <a:pt x="4433" y="15"/>
                    <a:pt x="4440" y="22"/>
                  </a:cubicBezTo>
                  <a:cubicBezTo>
                    <a:pt x="4462" y="30"/>
                    <a:pt x="4469" y="52"/>
                    <a:pt x="4484" y="66"/>
                  </a:cubicBezTo>
                  <a:cubicBezTo>
                    <a:pt x="4491" y="81"/>
                    <a:pt x="4499" y="96"/>
                    <a:pt x="4506" y="103"/>
                  </a:cubicBezTo>
                  <a:cubicBezTo>
                    <a:pt x="4513" y="103"/>
                    <a:pt x="4513" y="103"/>
                    <a:pt x="4520" y="103"/>
                  </a:cubicBezTo>
                  <a:cubicBezTo>
                    <a:pt x="4535" y="103"/>
                    <a:pt x="4550" y="88"/>
                    <a:pt x="4572" y="74"/>
                  </a:cubicBezTo>
                  <a:cubicBezTo>
                    <a:pt x="4587" y="66"/>
                    <a:pt x="4601" y="52"/>
                    <a:pt x="4616" y="44"/>
                  </a:cubicBezTo>
                  <a:cubicBezTo>
                    <a:pt x="4638" y="30"/>
                    <a:pt x="4638" y="30"/>
                    <a:pt x="4638" y="30"/>
                  </a:cubicBezTo>
                  <a:cubicBezTo>
                    <a:pt x="4667" y="15"/>
                    <a:pt x="4682" y="0"/>
                    <a:pt x="4704" y="0"/>
                  </a:cubicBezTo>
                  <a:cubicBezTo>
                    <a:pt x="4711" y="0"/>
                    <a:pt x="4726" y="8"/>
                    <a:pt x="4733" y="8"/>
                  </a:cubicBezTo>
                  <a:cubicBezTo>
                    <a:pt x="4770" y="22"/>
                    <a:pt x="4770" y="110"/>
                    <a:pt x="4755" y="242"/>
                  </a:cubicBezTo>
                  <a:cubicBezTo>
                    <a:pt x="4740" y="323"/>
                    <a:pt x="4748" y="352"/>
                    <a:pt x="4755" y="352"/>
                  </a:cubicBezTo>
                  <a:cubicBezTo>
                    <a:pt x="4755" y="352"/>
                    <a:pt x="4762" y="345"/>
                    <a:pt x="4770" y="330"/>
                  </a:cubicBezTo>
                  <a:cubicBezTo>
                    <a:pt x="4784" y="315"/>
                    <a:pt x="4792" y="301"/>
                    <a:pt x="4799" y="286"/>
                  </a:cubicBezTo>
                  <a:cubicBezTo>
                    <a:pt x="4814" y="271"/>
                    <a:pt x="4821" y="257"/>
                    <a:pt x="4836" y="257"/>
                  </a:cubicBezTo>
                  <a:cubicBezTo>
                    <a:pt x="4858" y="257"/>
                    <a:pt x="4872" y="271"/>
                    <a:pt x="4909" y="308"/>
                  </a:cubicBezTo>
                  <a:cubicBezTo>
                    <a:pt x="4924" y="323"/>
                    <a:pt x="4931" y="330"/>
                    <a:pt x="4946" y="330"/>
                  </a:cubicBezTo>
                  <a:cubicBezTo>
                    <a:pt x="4960" y="330"/>
                    <a:pt x="4975" y="308"/>
                    <a:pt x="4997" y="286"/>
                  </a:cubicBezTo>
                  <a:cubicBezTo>
                    <a:pt x="5011" y="264"/>
                    <a:pt x="5034" y="235"/>
                    <a:pt x="5063" y="227"/>
                  </a:cubicBezTo>
                  <a:cubicBezTo>
                    <a:pt x="5070" y="220"/>
                    <a:pt x="5077" y="220"/>
                    <a:pt x="5085" y="220"/>
                  </a:cubicBezTo>
                  <a:cubicBezTo>
                    <a:pt x="5099" y="220"/>
                    <a:pt x="5121" y="235"/>
                    <a:pt x="5136" y="249"/>
                  </a:cubicBezTo>
                  <a:cubicBezTo>
                    <a:pt x="5165" y="294"/>
                    <a:pt x="5180" y="367"/>
                    <a:pt x="5173" y="403"/>
                  </a:cubicBezTo>
                  <a:cubicBezTo>
                    <a:pt x="5165" y="440"/>
                    <a:pt x="5173" y="462"/>
                    <a:pt x="5224" y="484"/>
                  </a:cubicBezTo>
                  <a:cubicBezTo>
                    <a:pt x="5224" y="491"/>
                    <a:pt x="5231" y="491"/>
                    <a:pt x="5239" y="491"/>
                  </a:cubicBezTo>
                  <a:cubicBezTo>
                    <a:pt x="5246" y="499"/>
                    <a:pt x="5261" y="499"/>
                    <a:pt x="5261" y="506"/>
                  </a:cubicBezTo>
                  <a:cubicBezTo>
                    <a:pt x="5268" y="521"/>
                    <a:pt x="5268" y="535"/>
                    <a:pt x="5246" y="579"/>
                  </a:cubicBezTo>
                  <a:cubicBezTo>
                    <a:pt x="5239" y="601"/>
                    <a:pt x="5224" y="645"/>
                    <a:pt x="5209" y="696"/>
                  </a:cubicBezTo>
                  <a:cubicBezTo>
                    <a:pt x="5187" y="748"/>
                    <a:pt x="5187" y="770"/>
                    <a:pt x="5187" y="777"/>
                  </a:cubicBezTo>
                  <a:cubicBezTo>
                    <a:pt x="5202" y="770"/>
                    <a:pt x="5246" y="726"/>
                    <a:pt x="5268" y="682"/>
                  </a:cubicBezTo>
                  <a:cubicBezTo>
                    <a:pt x="5283" y="667"/>
                    <a:pt x="5290" y="667"/>
                    <a:pt x="5297" y="667"/>
                  </a:cubicBezTo>
                  <a:cubicBezTo>
                    <a:pt x="5349" y="667"/>
                    <a:pt x="5378" y="821"/>
                    <a:pt x="5378" y="872"/>
                  </a:cubicBezTo>
                  <a:cubicBezTo>
                    <a:pt x="5378" y="909"/>
                    <a:pt x="5385" y="938"/>
                    <a:pt x="5393" y="960"/>
                  </a:cubicBezTo>
                  <a:cubicBezTo>
                    <a:pt x="5407" y="989"/>
                    <a:pt x="5429" y="997"/>
                    <a:pt x="5458" y="997"/>
                  </a:cubicBezTo>
                  <a:cubicBezTo>
                    <a:pt x="5473" y="997"/>
                    <a:pt x="5480" y="997"/>
                    <a:pt x="5495" y="997"/>
                  </a:cubicBezTo>
                  <a:cubicBezTo>
                    <a:pt x="5568" y="982"/>
                    <a:pt x="5568" y="968"/>
                    <a:pt x="5583" y="938"/>
                  </a:cubicBezTo>
                  <a:cubicBezTo>
                    <a:pt x="5583" y="924"/>
                    <a:pt x="5590" y="909"/>
                    <a:pt x="5598" y="887"/>
                  </a:cubicBezTo>
                  <a:cubicBezTo>
                    <a:pt x="5620" y="843"/>
                    <a:pt x="5656" y="814"/>
                    <a:pt x="5686" y="814"/>
                  </a:cubicBezTo>
                  <a:cubicBezTo>
                    <a:pt x="5700" y="814"/>
                    <a:pt x="5730" y="821"/>
                    <a:pt x="5737" y="880"/>
                  </a:cubicBezTo>
                  <a:cubicBezTo>
                    <a:pt x="5744" y="916"/>
                    <a:pt x="5751" y="946"/>
                    <a:pt x="5759" y="960"/>
                  </a:cubicBezTo>
                  <a:cubicBezTo>
                    <a:pt x="5774" y="989"/>
                    <a:pt x="5781" y="1019"/>
                    <a:pt x="5774" y="1070"/>
                  </a:cubicBezTo>
                  <a:cubicBezTo>
                    <a:pt x="5766" y="1129"/>
                    <a:pt x="5788" y="1144"/>
                    <a:pt x="5825" y="1165"/>
                  </a:cubicBezTo>
                  <a:cubicBezTo>
                    <a:pt x="5832" y="1165"/>
                    <a:pt x="5832" y="1165"/>
                    <a:pt x="5832" y="1165"/>
                  </a:cubicBezTo>
                  <a:cubicBezTo>
                    <a:pt x="5884" y="1195"/>
                    <a:pt x="5898" y="1312"/>
                    <a:pt x="5898" y="1327"/>
                  </a:cubicBezTo>
                  <a:cubicBezTo>
                    <a:pt x="5898" y="1349"/>
                    <a:pt x="5898" y="1349"/>
                    <a:pt x="5898" y="1349"/>
                  </a:cubicBezTo>
                  <a:cubicBezTo>
                    <a:pt x="5884" y="1341"/>
                    <a:pt x="5884" y="1341"/>
                    <a:pt x="5884" y="1341"/>
                  </a:cubicBezTo>
                  <a:lnTo>
                    <a:pt x="5876" y="1341"/>
                  </a:lnTo>
                  <a:cubicBezTo>
                    <a:pt x="5854" y="1341"/>
                    <a:pt x="5818" y="1349"/>
                    <a:pt x="5796" y="1393"/>
                  </a:cubicBezTo>
                  <a:cubicBezTo>
                    <a:pt x="5766" y="1451"/>
                    <a:pt x="5810" y="1568"/>
                    <a:pt x="5847" y="1613"/>
                  </a:cubicBezTo>
                  <a:cubicBezTo>
                    <a:pt x="5884" y="1642"/>
                    <a:pt x="5869" y="1686"/>
                    <a:pt x="5854" y="1737"/>
                  </a:cubicBezTo>
                  <a:cubicBezTo>
                    <a:pt x="5839" y="1774"/>
                    <a:pt x="5832" y="1810"/>
                    <a:pt x="5832" y="1847"/>
                  </a:cubicBezTo>
                  <a:cubicBezTo>
                    <a:pt x="5832" y="1942"/>
                    <a:pt x="5964" y="2052"/>
                    <a:pt x="6037" y="2081"/>
                  </a:cubicBezTo>
                  <a:cubicBezTo>
                    <a:pt x="6081" y="2103"/>
                    <a:pt x="6111" y="2125"/>
                    <a:pt x="6111" y="2155"/>
                  </a:cubicBezTo>
                  <a:cubicBezTo>
                    <a:pt x="6111" y="2177"/>
                    <a:pt x="6111" y="2199"/>
                    <a:pt x="6074" y="2221"/>
                  </a:cubicBezTo>
                  <a:cubicBezTo>
                    <a:pt x="6008" y="2272"/>
                    <a:pt x="6008" y="2294"/>
                    <a:pt x="6023" y="2301"/>
                  </a:cubicBezTo>
                  <a:cubicBezTo>
                    <a:pt x="6030" y="2316"/>
                    <a:pt x="6045" y="2323"/>
                    <a:pt x="6059" y="2323"/>
                  </a:cubicBezTo>
                  <a:cubicBezTo>
                    <a:pt x="6081" y="2338"/>
                    <a:pt x="6103" y="2345"/>
                    <a:pt x="6111" y="2375"/>
                  </a:cubicBezTo>
                  <a:cubicBezTo>
                    <a:pt x="6118" y="2389"/>
                    <a:pt x="6118" y="2404"/>
                    <a:pt x="6118" y="2418"/>
                  </a:cubicBezTo>
                  <a:cubicBezTo>
                    <a:pt x="6118" y="2448"/>
                    <a:pt x="6118" y="2470"/>
                    <a:pt x="6162" y="2477"/>
                  </a:cubicBezTo>
                  <a:cubicBezTo>
                    <a:pt x="6242" y="2506"/>
                    <a:pt x="6316" y="2543"/>
                    <a:pt x="6439" y="2668"/>
                  </a:cubicBezTo>
                  <a:cubicBezTo>
                    <a:pt x="6564" y="2792"/>
                    <a:pt x="6579" y="3012"/>
                    <a:pt x="6564" y="3063"/>
                  </a:cubicBezTo>
                  <a:cubicBezTo>
                    <a:pt x="6557" y="3093"/>
                    <a:pt x="6535" y="3107"/>
                    <a:pt x="6520" y="3107"/>
                  </a:cubicBezTo>
                  <a:lnTo>
                    <a:pt x="6520" y="3107"/>
                  </a:lnTo>
                  <a:cubicBezTo>
                    <a:pt x="6557" y="3173"/>
                    <a:pt x="6557" y="3232"/>
                    <a:pt x="6520" y="3283"/>
                  </a:cubicBezTo>
                  <a:cubicBezTo>
                    <a:pt x="6476" y="3349"/>
                    <a:pt x="6476" y="3415"/>
                    <a:pt x="6505" y="3488"/>
                  </a:cubicBezTo>
                  <a:cubicBezTo>
                    <a:pt x="6520" y="3510"/>
                    <a:pt x="6535" y="3518"/>
                    <a:pt x="6557" y="3518"/>
                  </a:cubicBezTo>
                  <a:cubicBezTo>
                    <a:pt x="6579" y="3525"/>
                    <a:pt x="6608" y="3525"/>
                    <a:pt x="6630" y="3576"/>
                  </a:cubicBezTo>
                  <a:cubicBezTo>
                    <a:pt x="6652" y="3613"/>
                    <a:pt x="6659" y="3649"/>
                    <a:pt x="6637" y="3686"/>
                  </a:cubicBezTo>
                  <a:cubicBezTo>
                    <a:pt x="6615" y="3715"/>
                    <a:pt x="6586" y="3737"/>
                    <a:pt x="6564" y="3737"/>
                  </a:cubicBezTo>
                  <a:cubicBezTo>
                    <a:pt x="6557" y="3737"/>
                    <a:pt x="6549" y="3730"/>
                    <a:pt x="6542" y="3730"/>
                  </a:cubicBezTo>
                  <a:cubicBezTo>
                    <a:pt x="6535" y="3730"/>
                    <a:pt x="6520" y="3730"/>
                    <a:pt x="6513" y="3730"/>
                  </a:cubicBezTo>
                  <a:cubicBezTo>
                    <a:pt x="6476" y="3730"/>
                    <a:pt x="6454" y="3737"/>
                    <a:pt x="6439" y="3752"/>
                  </a:cubicBezTo>
                  <a:cubicBezTo>
                    <a:pt x="6432" y="3759"/>
                    <a:pt x="6425" y="3767"/>
                    <a:pt x="6410" y="3767"/>
                  </a:cubicBezTo>
                  <a:cubicBezTo>
                    <a:pt x="6395" y="3767"/>
                    <a:pt x="6381" y="3752"/>
                    <a:pt x="6360" y="3730"/>
                  </a:cubicBezTo>
                  <a:cubicBezTo>
                    <a:pt x="6338" y="3708"/>
                    <a:pt x="6301" y="3679"/>
                    <a:pt x="6257" y="3664"/>
                  </a:cubicBezTo>
                  <a:cubicBezTo>
                    <a:pt x="6220" y="3657"/>
                    <a:pt x="6206" y="3657"/>
                    <a:pt x="6191" y="3657"/>
                  </a:cubicBezTo>
                  <a:cubicBezTo>
                    <a:pt x="6162" y="3657"/>
                    <a:pt x="6155" y="3664"/>
                    <a:pt x="6140" y="3730"/>
                  </a:cubicBezTo>
                  <a:cubicBezTo>
                    <a:pt x="6118" y="3796"/>
                    <a:pt x="6242" y="3877"/>
                    <a:pt x="6286" y="3899"/>
                  </a:cubicBezTo>
                  <a:cubicBezTo>
                    <a:pt x="6279" y="3928"/>
                    <a:pt x="6279" y="3928"/>
                    <a:pt x="6279" y="3928"/>
                  </a:cubicBezTo>
                  <a:cubicBezTo>
                    <a:pt x="6272" y="3928"/>
                    <a:pt x="6257" y="3921"/>
                    <a:pt x="6250" y="3921"/>
                  </a:cubicBezTo>
                  <a:cubicBezTo>
                    <a:pt x="6235" y="3921"/>
                    <a:pt x="6228" y="3928"/>
                    <a:pt x="6228" y="3928"/>
                  </a:cubicBezTo>
                  <a:cubicBezTo>
                    <a:pt x="6228" y="3935"/>
                    <a:pt x="6220" y="3950"/>
                    <a:pt x="6257" y="3994"/>
                  </a:cubicBezTo>
                  <a:cubicBezTo>
                    <a:pt x="6308" y="4053"/>
                    <a:pt x="6294" y="4155"/>
                    <a:pt x="6265" y="4214"/>
                  </a:cubicBezTo>
                  <a:cubicBezTo>
                    <a:pt x="6250" y="4243"/>
                    <a:pt x="6235" y="4258"/>
                    <a:pt x="6220" y="4258"/>
                  </a:cubicBezTo>
                  <a:cubicBezTo>
                    <a:pt x="6213" y="4258"/>
                    <a:pt x="6206" y="4258"/>
                    <a:pt x="6199" y="4250"/>
                  </a:cubicBezTo>
                  <a:cubicBezTo>
                    <a:pt x="6184" y="4236"/>
                    <a:pt x="6169" y="4228"/>
                    <a:pt x="6147" y="4228"/>
                  </a:cubicBezTo>
                  <a:cubicBezTo>
                    <a:pt x="6133" y="4228"/>
                    <a:pt x="6125" y="4228"/>
                    <a:pt x="6125" y="4243"/>
                  </a:cubicBezTo>
                  <a:cubicBezTo>
                    <a:pt x="6125" y="4258"/>
                    <a:pt x="6133" y="4265"/>
                    <a:pt x="6147" y="4280"/>
                  </a:cubicBezTo>
                  <a:cubicBezTo>
                    <a:pt x="6155" y="4294"/>
                    <a:pt x="6169" y="4302"/>
                    <a:pt x="6162" y="4316"/>
                  </a:cubicBezTo>
                  <a:cubicBezTo>
                    <a:pt x="6155" y="4331"/>
                    <a:pt x="6140" y="4331"/>
                    <a:pt x="6140" y="4331"/>
                  </a:cubicBezTo>
                  <a:cubicBezTo>
                    <a:pt x="6103" y="4346"/>
                    <a:pt x="6045" y="4360"/>
                    <a:pt x="5971" y="4419"/>
                  </a:cubicBezTo>
                  <a:cubicBezTo>
                    <a:pt x="5949" y="4441"/>
                    <a:pt x="5935" y="4448"/>
                    <a:pt x="5913" y="4448"/>
                  </a:cubicBezTo>
                  <a:cubicBezTo>
                    <a:pt x="5884" y="4448"/>
                    <a:pt x="5861" y="4426"/>
                    <a:pt x="5839" y="4412"/>
                  </a:cubicBezTo>
                  <a:cubicBezTo>
                    <a:pt x="5832" y="4404"/>
                    <a:pt x="5818" y="4397"/>
                    <a:pt x="5810" y="4390"/>
                  </a:cubicBezTo>
                  <a:lnTo>
                    <a:pt x="5810" y="4390"/>
                  </a:lnTo>
                  <a:cubicBezTo>
                    <a:pt x="5766" y="4390"/>
                    <a:pt x="5678" y="4485"/>
                    <a:pt x="5627" y="4609"/>
                  </a:cubicBezTo>
                  <a:cubicBezTo>
                    <a:pt x="5598" y="4668"/>
                    <a:pt x="5568" y="4697"/>
                    <a:pt x="5546" y="4719"/>
                  </a:cubicBezTo>
                  <a:cubicBezTo>
                    <a:pt x="5539" y="4719"/>
                    <a:pt x="5532" y="4734"/>
                    <a:pt x="5532" y="4734"/>
                  </a:cubicBezTo>
                  <a:lnTo>
                    <a:pt x="5532" y="4734"/>
                  </a:lnTo>
                  <a:cubicBezTo>
                    <a:pt x="5532" y="4734"/>
                    <a:pt x="5539" y="4741"/>
                    <a:pt x="5554" y="4749"/>
                  </a:cubicBezTo>
                  <a:cubicBezTo>
                    <a:pt x="5620" y="4793"/>
                    <a:pt x="5751" y="5005"/>
                    <a:pt x="5759" y="5013"/>
                  </a:cubicBezTo>
                  <a:cubicBezTo>
                    <a:pt x="5766" y="5020"/>
                    <a:pt x="5766" y="5020"/>
                    <a:pt x="5766" y="5020"/>
                  </a:cubicBezTo>
                  <a:cubicBezTo>
                    <a:pt x="5759" y="5027"/>
                    <a:pt x="5759" y="5027"/>
                    <a:pt x="5759" y="5027"/>
                  </a:cubicBezTo>
                  <a:cubicBezTo>
                    <a:pt x="5759" y="5027"/>
                    <a:pt x="5751" y="5071"/>
                    <a:pt x="5766" y="5225"/>
                  </a:cubicBezTo>
                  <a:cubicBezTo>
                    <a:pt x="5766" y="5306"/>
                    <a:pt x="5818" y="5408"/>
                    <a:pt x="5869" y="5503"/>
                  </a:cubicBezTo>
                  <a:cubicBezTo>
                    <a:pt x="5906" y="5591"/>
                    <a:pt x="5942" y="5665"/>
                    <a:pt x="5942" y="5716"/>
                  </a:cubicBezTo>
                  <a:cubicBezTo>
                    <a:pt x="5942" y="5826"/>
                    <a:pt x="5876" y="5994"/>
                    <a:pt x="5803" y="6053"/>
                  </a:cubicBezTo>
                  <a:cubicBezTo>
                    <a:pt x="5781" y="6075"/>
                    <a:pt x="5788" y="6082"/>
                    <a:pt x="5810" y="6119"/>
                  </a:cubicBezTo>
                  <a:cubicBezTo>
                    <a:pt x="5832" y="6156"/>
                    <a:pt x="5861" y="6199"/>
                    <a:pt x="5839" y="6265"/>
                  </a:cubicBezTo>
                  <a:cubicBezTo>
                    <a:pt x="5839" y="6280"/>
                    <a:pt x="5832" y="6295"/>
                    <a:pt x="5825" y="6309"/>
                  </a:cubicBezTo>
                  <a:cubicBezTo>
                    <a:pt x="5803" y="6383"/>
                    <a:pt x="5796" y="6405"/>
                    <a:pt x="5869" y="6471"/>
                  </a:cubicBezTo>
                  <a:cubicBezTo>
                    <a:pt x="5913" y="6507"/>
                    <a:pt x="5927" y="6537"/>
                    <a:pt x="5927" y="6551"/>
                  </a:cubicBezTo>
                  <a:cubicBezTo>
                    <a:pt x="5920" y="6573"/>
                    <a:pt x="5898" y="6588"/>
                    <a:pt x="5876" y="6595"/>
                  </a:cubicBezTo>
                  <a:cubicBezTo>
                    <a:pt x="5854" y="6603"/>
                    <a:pt x="5839" y="6610"/>
                    <a:pt x="5825" y="6625"/>
                  </a:cubicBezTo>
                  <a:cubicBezTo>
                    <a:pt x="5796" y="6639"/>
                    <a:pt x="5803" y="6661"/>
                    <a:pt x="5839" y="6727"/>
                  </a:cubicBezTo>
                  <a:cubicBezTo>
                    <a:pt x="5854" y="6756"/>
                    <a:pt x="5876" y="6793"/>
                    <a:pt x="5898" y="6844"/>
                  </a:cubicBezTo>
                  <a:cubicBezTo>
                    <a:pt x="5942" y="6940"/>
                    <a:pt x="5891" y="7020"/>
                    <a:pt x="5876" y="7049"/>
                  </a:cubicBezTo>
                  <a:cubicBezTo>
                    <a:pt x="5854" y="7079"/>
                    <a:pt x="5825" y="7101"/>
                    <a:pt x="5810" y="7101"/>
                  </a:cubicBezTo>
                  <a:cubicBezTo>
                    <a:pt x="5796" y="7101"/>
                    <a:pt x="5788" y="7094"/>
                    <a:pt x="5781" y="7079"/>
                  </a:cubicBezTo>
                  <a:cubicBezTo>
                    <a:pt x="5766" y="7057"/>
                    <a:pt x="5730" y="7027"/>
                    <a:pt x="5693" y="7027"/>
                  </a:cubicBezTo>
                  <a:cubicBezTo>
                    <a:pt x="5671" y="7027"/>
                    <a:pt x="5649" y="7035"/>
                    <a:pt x="5634" y="7049"/>
                  </a:cubicBezTo>
                  <a:cubicBezTo>
                    <a:pt x="5590" y="7086"/>
                    <a:pt x="5532" y="7130"/>
                    <a:pt x="5466" y="7130"/>
                  </a:cubicBezTo>
                  <a:cubicBezTo>
                    <a:pt x="5437" y="7130"/>
                    <a:pt x="5400" y="7115"/>
                    <a:pt x="5363" y="7101"/>
                  </a:cubicBezTo>
                  <a:cubicBezTo>
                    <a:pt x="5341" y="7086"/>
                    <a:pt x="5319" y="7079"/>
                    <a:pt x="5305" y="7079"/>
                  </a:cubicBezTo>
                  <a:cubicBezTo>
                    <a:pt x="5261" y="7079"/>
                    <a:pt x="5231" y="7115"/>
                    <a:pt x="5202" y="7152"/>
                  </a:cubicBezTo>
                  <a:cubicBezTo>
                    <a:pt x="5195" y="7167"/>
                    <a:pt x="5195" y="7167"/>
                    <a:pt x="5195" y="7167"/>
                  </a:cubicBezTo>
                  <a:cubicBezTo>
                    <a:pt x="5143" y="7218"/>
                    <a:pt x="5063" y="7269"/>
                    <a:pt x="4989" y="7284"/>
                  </a:cubicBezTo>
                  <a:cubicBezTo>
                    <a:pt x="4960" y="7284"/>
                    <a:pt x="4960" y="7284"/>
                    <a:pt x="4960" y="7284"/>
                  </a:cubicBezTo>
                  <a:cubicBezTo>
                    <a:pt x="4894" y="7299"/>
                    <a:pt x="4806" y="7313"/>
                    <a:pt x="4770" y="7343"/>
                  </a:cubicBezTo>
                  <a:cubicBezTo>
                    <a:pt x="4762" y="7357"/>
                    <a:pt x="4762" y="7365"/>
                    <a:pt x="4762" y="7365"/>
                  </a:cubicBezTo>
                  <a:cubicBezTo>
                    <a:pt x="4762" y="7372"/>
                    <a:pt x="4784" y="7387"/>
                    <a:pt x="4806" y="7394"/>
                  </a:cubicBezTo>
                  <a:cubicBezTo>
                    <a:pt x="4821" y="7408"/>
                    <a:pt x="4836" y="7416"/>
                    <a:pt x="4850" y="7423"/>
                  </a:cubicBezTo>
                  <a:cubicBezTo>
                    <a:pt x="4894" y="7453"/>
                    <a:pt x="4989" y="7467"/>
                    <a:pt x="5034" y="7475"/>
                  </a:cubicBezTo>
                  <a:cubicBezTo>
                    <a:pt x="5048" y="7475"/>
                    <a:pt x="5048" y="7475"/>
                    <a:pt x="5048" y="7475"/>
                  </a:cubicBezTo>
                  <a:cubicBezTo>
                    <a:pt x="5048" y="7489"/>
                    <a:pt x="5048" y="7489"/>
                    <a:pt x="5048" y="7489"/>
                  </a:cubicBezTo>
                  <a:cubicBezTo>
                    <a:pt x="5056" y="7504"/>
                    <a:pt x="5056" y="7548"/>
                    <a:pt x="5034" y="7584"/>
                  </a:cubicBezTo>
                  <a:cubicBezTo>
                    <a:pt x="5026" y="7592"/>
                    <a:pt x="5011" y="7599"/>
                    <a:pt x="4982" y="7599"/>
                  </a:cubicBezTo>
                  <a:cubicBezTo>
                    <a:pt x="4946" y="7599"/>
                    <a:pt x="4894" y="7584"/>
                    <a:pt x="4879" y="7577"/>
                  </a:cubicBezTo>
                  <a:cubicBezTo>
                    <a:pt x="4784" y="7636"/>
                    <a:pt x="4784" y="7636"/>
                    <a:pt x="4784" y="7636"/>
                  </a:cubicBezTo>
                  <a:cubicBezTo>
                    <a:pt x="4770" y="7628"/>
                    <a:pt x="4770" y="7628"/>
                    <a:pt x="4770" y="7628"/>
                  </a:cubicBezTo>
                  <a:cubicBezTo>
                    <a:pt x="4770" y="7628"/>
                    <a:pt x="4726" y="7577"/>
                    <a:pt x="4682" y="7577"/>
                  </a:cubicBezTo>
                  <a:cubicBezTo>
                    <a:pt x="4667" y="7577"/>
                    <a:pt x="4652" y="7577"/>
                    <a:pt x="4645" y="7584"/>
                  </a:cubicBezTo>
                  <a:cubicBezTo>
                    <a:pt x="4587" y="7628"/>
                    <a:pt x="4528" y="7658"/>
                    <a:pt x="4462" y="7658"/>
                  </a:cubicBezTo>
                </a:path>
              </a:pathLst>
            </a:custGeom>
            <a:grpFill/>
            <a:ln w="6350" cap="flat" cmpd="sng">
              <a:solidFill>
                <a:schemeClr val="bg1"/>
              </a:solidFill>
              <a:bevel/>
              <a:headEnd/>
              <a:tailEnd/>
            </a:ln>
            <a:effectLst/>
          </p:spPr>
          <p:txBody>
            <a:bodyPr wrap="none" anchor="ctr"/>
            <a:lstStyle/>
            <a:p>
              <a:pPr defTabSz="685663">
                <a:defRPr/>
              </a:pPr>
              <a:endParaRPr lang="en-US" sz="675" dirty="0">
                <a:latin typeface="Montserrat" charset="0"/>
              </a:endParaRPr>
            </a:p>
          </p:txBody>
        </p:sp>
        <p:sp>
          <p:nvSpPr>
            <p:cNvPr id="59" name="Freeform 58">
              <a:extLst>
                <a:ext uri="{FF2B5EF4-FFF2-40B4-BE49-F238E27FC236}">
                  <a16:creationId xmlns:a16="http://schemas.microsoft.com/office/drawing/2014/main" id="{23D4D33F-20CB-2F42-8409-9F64C8D0117E}"/>
                </a:ext>
              </a:extLst>
            </p:cNvPr>
            <p:cNvSpPr>
              <a:spLocks noChangeArrowheads="1"/>
            </p:cNvSpPr>
            <p:nvPr/>
          </p:nvSpPr>
          <p:spPr bwMode="auto">
            <a:xfrm>
              <a:off x="4588662" y="9238936"/>
              <a:ext cx="2573531" cy="2918249"/>
            </a:xfrm>
            <a:custGeom>
              <a:avLst/>
              <a:gdLst>
                <a:gd name="T0" fmla="*/ 4969 w 6698"/>
                <a:gd name="T1" fmla="*/ 359 h 7687"/>
                <a:gd name="T2" fmla="*/ 5386 w 6698"/>
                <a:gd name="T3" fmla="*/ 886 h 7687"/>
                <a:gd name="T4" fmla="*/ 5899 w 6698"/>
                <a:gd name="T5" fmla="*/ 1341 h 7687"/>
                <a:gd name="T6" fmla="*/ 6448 w 6698"/>
                <a:gd name="T7" fmla="*/ 2689 h 7687"/>
                <a:gd name="T8" fmla="*/ 6433 w 6698"/>
                <a:gd name="T9" fmla="*/ 3759 h 7687"/>
                <a:gd name="T10" fmla="*/ 6170 w 6698"/>
                <a:gd name="T11" fmla="*/ 4228 h 7687"/>
                <a:gd name="T12" fmla="*/ 5767 w 6698"/>
                <a:gd name="T13" fmla="*/ 5034 h 7687"/>
                <a:gd name="T14" fmla="*/ 5819 w 6698"/>
                <a:gd name="T15" fmla="*/ 7086 h 7687"/>
                <a:gd name="T16" fmla="*/ 4866 w 6698"/>
                <a:gd name="T17" fmla="*/ 7452 h 7687"/>
                <a:gd name="T18" fmla="*/ 4456 w 6698"/>
                <a:gd name="T19" fmla="*/ 7657 h 7687"/>
                <a:gd name="T20" fmla="*/ 2931 w 6698"/>
                <a:gd name="T21" fmla="*/ 6910 h 7687"/>
                <a:gd name="T22" fmla="*/ 2572 w 6698"/>
                <a:gd name="T23" fmla="*/ 6778 h 7687"/>
                <a:gd name="T24" fmla="*/ 2426 w 6698"/>
                <a:gd name="T25" fmla="*/ 7049 h 7687"/>
                <a:gd name="T26" fmla="*/ 1708 w 6698"/>
                <a:gd name="T27" fmla="*/ 7254 h 7687"/>
                <a:gd name="T28" fmla="*/ 418 w 6698"/>
                <a:gd name="T29" fmla="*/ 7283 h 7687"/>
                <a:gd name="T30" fmla="*/ 213 w 6698"/>
                <a:gd name="T31" fmla="*/ 6309 h 7687"/>
                <a:gd name="T32" fmla="*/ 667 w 6698"/>
                <a:gd name="T33" fmla="*/ 4345 h 7687"/>
                <a:gd name="T34" fmla="*/ 1657 w 6698"/>
                <a:gd name="T35" fmla="*/ 2791 h 7687"/>
                <a:gd name="T36" fmla="*/ 2213 w 6698"/>
                <a:gd name="T37" fmla="*/ 1553 h 7687"/>
                <a:gd name="T38" fmla="*/ 2162 w 6698"/>
                <a:gd name="T39" fmla="*/ 747 h 7687"/>
                <a:gd name="T40" fmla="*/ 2734 w 6698"/>
                <a:gd name="T41" fmla="*/ 828 h 7687"/>
                <a:gd name="T42" fmla="*/ 3327 w 6698"/>
                <a:gd name="T43" fmla="*/ 982 h 7687"/>
                <a:gd name="T44" fmla="*/ 3620 w 6698"/>
                <a:gd name="T45" fmla="*/ 791 h 7687"/>
                <a:gd name="T46" fmla="*/ 4272 w 6698"/>
                <a:gd name="T47" fmla="*/ 425 h 7687"/>
                <a:gd name="T48" fmla="*/ 4360 w 6698"/>
                <a:gd name="T49" fmla="*/ 102 h 7687"/>
                <a:gd name="T50" fmla="*/ 4727 w 6698"/>
                <a:gd name="T51" fmla="*/ 0 h 7687"/>
                <a:gd name="T52" fmla="*/ 4397 w 6698"/>
                <a:gd name="T53" fmla="*/ 44 h 7687"/>
                <a:gd name="T54" fmla="*/ 4016 w 6698"/>
                <a:gd name="T55" fmla="*/ 220 h 7687"/>
                <a:gd name="T56" fmla="*/ 4192 w 6698"/>
                <a:gd name="T57" fmla="*/ 483 h 7687"/>
                <a:gd name="T58" fmla="*/ 3650 w 6698"/>
                <a:gd name="T59" fmla="*/ 710 h 7687"/>
                <a:gd name="T60" fmla="*/ 3481 w 6698"/>
                <a:gd name="T61" fmla="*/ 916 h 7687"/>
                <a:gd name="T62" fmla="*/ 3056 w 6698"/>
                <a:gd name="T63" fmla="*/ 1289 h 7687"/>
                <a:gd name="T64" fmla="*/ 3027 w 6698"/>
                <a:gd name="T65" fmla="*/ 864 h 7687"/>
                <a:gd name="T66" fmla="*/ 2485 w 6698"/>
                <a:gd name="T67" fmla="*/ 886 h 7687"/>
                <a:gd name="T68" fmla="*/ 2126 w 6698"/>
                <a:gd name="T69" fmla="*/ 696 h 7687"/>
                <a:gd name="T70" fmla="*/ 2272 w 6698"/>
                <a:gd name="T71" fmla="*/ 1341 h 7687"/>
                <a:gd name="T72" fmla="*/ 2008 w 6698"/>
                <a:gd name="T73" fmla="*/ 2066 h 7687"/>
                <a:gd name="T74" fmla="*/ 1642 w 6698"/>
                <a:gd name="T75" fmla="*/ 2770 h 7687"/>
                <a:gd name="T76" fmla="*/ 1056 w 6698"/>
                <a:gd name="T77" fmla="*/ 3612 h 7687"/>
                <a:gd name="T78" fmla="*/ 448 w 6698"/>
                <a:gd name="T79" fmla="*/ 5063 h 7687"/>
                <a:gd name="T80" fmla="*/ 184 w 6698"/>
                <a:gd name="T81" fmla="*/ 6301 h 7687"/>
                <a:gd name="T82" fmla="*/ 198 w 6698"/>
                <a:gd name="T83" fmla="*/ 7349 h 7687"/>
                <a:gd name="T84" fmla="*/ 682 w 6698"/>
                <a:gd name="T85" fmla="*/ 7445 h 7687"/>
                <a:gd name="T86" fmla="*/ 2169 w 6698"/>
                <a:gd name="T87" fmla="*/ 7422 h 7687"/>
                <a:gd name="T88" fmla="*/ 2572 w 6698"/>
                <a:gd name="T89" fmla="*/ 7181 h 7687"/>
                <a:gd name="T90" fmla="*/ 2155 w 6698"/>
                <a:gd name="T91" fmla="*/ 6924 h 7687"/>
                <a:gd name="T92" fmla="*/ 2800 w 6698"/>
                <a:gd name="T93" fmla="*/ 6807 h 7687"/>
                <a:gd name="T94" fmla="*/ 2990 w 6698"/>
                <a:gd name="T95" fmla="*/ 7063 h 7687"/>
                <a:gd name="T96" fmla="*/ 3840 w 6698"/>
                <a:gd name="T97" fmla="*/ 7203 h 7687"/>
                <a:gd name="T98" fmla="*/ 4822 w 6698"/>
                <a:gd name="T99" fmla="*/ 7657 h 7687"/>
                <a:gd name="T100" fmla="*/ 4800 w 6698"/>
                <a:gd name="T101" fmla="*/ 7379 h 7687"/>
                <a:gd name="T102" fmla="*/ 5665 w 6698"/>
                <a:gd name="T103" fmla="*/ 7078 h 7687"/>
                <a:gd name="T104" fmla="*/ 5965 w 6698"/>
                <a:gd name="T105" fmla="*/ 6572 h 7687"/>
                <a:gd name="T106" fmla="*/ 5804 w 6698"/>
                <a:gd name="T107" fmla="*/ 5041 h 7687"/>
                <a:gd name="T108" fmla="*/ 5936 w 6698"/>
                <a:gd name="T109" fmla="*/ 4477 h 7687"/>
                <a:gd name="T110" fmla="*/ 6302 w 6698"/>
                <a:gd name="T111" fmla="*/ 4235 h 7687"/>
                <a:gd name="T112" fmla="*/ 6375 w 6698"/>
                <a:gd name="T113" fmla="*/ 3759 h 7687"/>
                <a:gd name="T114" fmla="*/ 6543 w 6698"/>
                <a:gd name="T115" fmla="*/ 3495 h 7687"/>
                <a:gd name="T116" fmla="*/ 6060 w 6698"/>
                <a:gd name="T117" fmla="*/ 2308 h 7687"/>
                <a:gd name="T118" fmla="*/ 5899 w 6698"/>
                <a:gd name="T119" fmla="*/ 1370 h 7687"/>
                <a:gd name="T120" fmla="*/ 5606 w 6698"/>
                <a:gd name="T121" fmla="*/ 894 h 7687"/>
                <a:gd name="T122" fmla="*/ 5284 w 6698"/>
                <a:gd name="T123" fmla="*/ 601 h 7687"/>
                <a:gd name="T124" fmla="*/ 4969 w 6698"/>
                <a:gd name="T125" fmla="*/ 329 h 7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698" h="7687">
                  <a:moveTo>
                    <a:pt x="4727" y="36"/>
                  </a:moveTo>
                  <a:lnTo>
                    <a:pt x="4727" y="36"/>
                  </a:lnTo>
                  <a:cubicBezTo>
                    <a:pt x="4734" y="36"/>
                    <a:pt x="4741" y="36"/>
                    <a:pt x="4749" y="36"/>
                  </a:cubicBezTo>
                  <a:cubicBezTo>
                    <a:pt x="4785" y="51"/>
                    <a:pt x="4771" y="161"/>
                    <a:pt x="4763" y="256"/>
                  </a:cubicBezTo>
                  <a:cubicBezTo>
                    <a:pt x="4756" y="322"/>
                    <a:pt x="4749" y="388"/>
                    <a:pt x="4771" y="388"/>
                  </a:cubicBezTo>
                  <a:cubicBezTo>
                    <a:pt x="4778" y="388"/>
                    <a:pt x="4793" y="373"/>
                    <a:pt x="4807" y="351"/>
                  </a:cubicBezTo>
                  <a:cubicBezTo>
                    <a:pt x="4837" y="308"/>
                    <a:pt x="4844" y="285"/>
                    <a:pt x="4859" y="285"/>
                  </a:cubicBezTo>
                  <a:cubicBezTo>
                    <a:pt x="4873" y="285"/>
                    <a:pt x="4888" y="300"/>
                    <a:pt x="4917" y="329"/>
                  </a:cubicBezTo>
                  <a:cubicBezTo>
                    <a:pt x="4939" y="351"/>
                    <a:pt x="4954" y="359"/>
                    <a:pt x="4969" y="359"/>
                  </a:cubicBezTo>
                  <a:cubicBezTo>
                    <a:pt x="5012" y="359"/>
                    <a:pt x="5034" y="271"/>
                    <a:pt x="5093" y="256"/>
                  </a:cubicBezTo>
                  <a:cubicBezTo>
                    <a:pt x="5093" y="249"/>
                    <a:pt x="5100" y="249"/>
                    <a:pt x="5108" y="249"/>
                  </a:cubicBezTo>
                  <a:cubicBezTo>
                    <a:pt x="5166" y="249"/>
                    <a:pt x="5188" y="366"/>
                    <a:pt x="5181" y="410"/>
                  </a:cubicBezTo>
                  <a:cubicBezTo>
                    <a:pt x="5174" y="454"/>
                    <a:pt x="5181" y="491"/>
                    <a:pt x="5240" y="513"/>
                  </a:cubicBezTo>
                  <a:cubicBezTo>
                    <a:pt x="5298" y="535"/>
                    <a:pt x="5284" y="505"/>
                    <a:pt x="5218" y="703"/>
                  </a:cubicBezTo>
                  <a:cubicBezTo>
                    <a:pt x="5188" y="784"/>
                    <a:pt x="5188" y="813"/>
                    <a:pt x="5203" y="813"/>
                  </a:cubicBezTo>
                  <a:cubicBezTo>
                    <a:pt x="5232" y="813"/>
                    <a:pt x="5284" y="740"/>
                    <a:pt x="5306" y="703"/>
                  </a:cubicBezTo>
                  <a:cubicBezTo>
                    <a:pt x="5313" y="696"/>
                    <a:pt x="5313" y="696"/>
                    <a:pt x="5320" y="696"/>
                  </a:cubicBezTo>
                  <a:cubicBezTo>
                    <a:pt x="5350" y="696"/>
                    <a:pt x="5386" y="820"/>
                    <a:pt x="5386" y="886"/>
                  </a:cubicBezTo>
                  <a:cubicBezTo>
                    <a:pt x="5386" y="960"/>
                    <a:pt x="5401" y="1026"/>
                    <a:pt x="5481" y="1026"/>
                  </a:cubicBezTo>
                  <a:cubicBezTo>
                    <a:pt x="5496" y="1026"/>
                    <a:pt x="5511" y="1026"/>
                    <a:pt x="5518" y="1026"/>
                  </a:cubicBezTo>
                  <a:cubicBezTo>
                    <a:pt x="5635" y="1003"/>
                    <a:pt x="5599" y="982"/>
                    <a:pt x="5635" y="908"/>
                  </a:cubicBezTo>
                  <a:cubicBezTo>
                    <a:pt x="5657" y="872"/>
                    <a:pt x="5687" y="842"/>
                    <a:pt x="5709" y="842"/>
                  </a:cubicBezTo>
                  <a:cubicBezTo>
                    <a:pt x="5731" y="842"/>
                    <a:pt x="5745" y="857"/>
                    <a:pt x="5745" y="901"/>
                  </a:cubicBezTo>
                  <a:cubicBezTo>
                    <a:pt x="5760" y="989"/>
                    <a:pt x="5797" y="1003"/>
                    <a:pt x="5782" y="1077"/>
                  </a:cubicBezTo>
                  <a:cubicBezTo>
                    <a:pt x="5767" y="1158"/>
                    <a:pt x="5804" y="1172"/>
                    <a:pt x="5848" y="1194"/>
                  </a:cubicBezTo>
                  <a:cubicBezTo>
                    <a:pt x="5899" y="1216"/>
                    <a:pt x="5907" y="1341"/>
                    <a:pt x="5907" y="1341"/>
                  </a:cubicBezTo>
                  <a:lnTo>
                    <a:pt x="5899" y="1341"/>
                  </a:lnTo>
                  <a:cubicBezTo>
                    <a:pt x="5877" y="1341"/>
                    <a:pt x="5833" y="1348"/>
                    <a:pt x="5804" y="1399"/>
                  </a:cubicBezTo>
                  <a:cubicBezTo>
                    <a:pt x="5767" y="1465"/>
                    <a:pt x="5819" y="1590"/>
                    <a:pt x="5862" y="1634"/>
                  </a:cubicBezTo>
                  <a:cubicBezTo>
                    <a:pt x="5907" y="1678"/>
                    <a:pt x="5841" y="1758"/>
                    <a:pt x="5841" y="1861"/>
                  </a:cubicBezTo>
                  <a:cubicBezTo>
                    <a:pt x="5841" y="1963"/>
                    <a:pt x="5972" y="2081"/>
                    <a:pt x="6053" y="2110"/>
                  </a:cubicBezTo>
                  <a:cubicBezTo>
                    <a:pt x="6134" y="2147"/>
                    <a:pt x="6134" y="2191"/>
                    <a:pt x="6090" y="2227"/>
                  </a:cubicBezTo>
                  <a:cubicBezTo>
                    <a:pt x="6046" y="2257"/>
                    <a:pt x="6009" y="2293"/>
                    <a:pt x="6031" y="2330"/>
                  </a:cubicBezTo>
                  <a:cubicBezTo>
                    <a:pt x="6053" y="2359"/>
                    <a:pt x="6112" y="2352"/>
                    <a:pt x="6119" y="2396"/>
                  </a:cubicBezTo>
                  <a:cubicBezTo>
                    <a:pt x="6134" y="2440"/>
                    <a:pt x="6097" y="2484"/>
                    <a:pt x="6178" y="2506"/>
                  </a:cubicBezTo>
                  <a:cubicBezTo>
                    <a:pt x="6258" y="2528"/>
                    <a:pt x="6324" y="2564"/>
                    <a:pt x="6448" y="2689"/>
                  </a:cubicBezTo>
                  <a:cubicBezTo>
                    <a:pt x="6572" y="2813"/>
                    <a:pt x="6587" y="3033"/>
                    <a:pt x="6572" y="3077"/>
                  </a:cubicBezTo>
                  <a:cubicBezTo>
                    <a:pt x="6565" y="3121"/>
                    <a:pt x="6506" y="3099"/>
                    <a:pt x="6528" y="3129"/>
                  </a:cubicBezTo>
                  <a:cubicBezTo>
                    <a:pt x="6550" y="3165"/>
                    <a:pt x="6572" y="3224"/>
                    <a:pt x="6528" y="3290"/>
                  </a:cubicBezTo>
                  <a:cubicBezTo>
                    <a:pt x="6484" y="3356"/>
                    <a:pt x="6484" y="3436"/>
                    <a:pt x="6521" y="3510"/>
                  </a:cubicBezTo>
                  <a:cubicBezTo>
                    <a:pt x="6550" y="3576"/>
                    <a:pt x="6594" y="3517"/>
                    <a:pt x="6646" y="3598"/>
                  </a:cubicBezTo>
                  <a:cubicBezTo>
                    <a:pt x="6690" y="3678"/>
                    <a:pt x="6623" y="3729"/>
                    <a:pt x="6587" y="3729"/>
                  </a:cubicBezTo>
                  <a:cubicBezTo>
                    <a:pt x="6572" y="3729"/>
                    <a:pt x="6550" y="3729"/>
                    <a:pt x="6536" y="3729"/>
                  </a:cubicBezTo>
                  <a:cubicBezTo>
                    <a:pt x="6506" y="3729"/>
                    <a:pt x="6470" y="3737"/>
                    <a:pt x="6448" y="3759"/>
                  </a:cubicBezTo>
                  <a:cubicBezTo>
                    <a:pt x="6448" y="3759"/>
                    <a:pt x="6440" y="3759"/>
                    <a:pt x="6433" y="3759"/>
                  </a:cubicBezTo>
                  <a:cubicBezTo>
                    <a:pt x="6404" y="3759"/>
                    <a:pt x="6368" y="3686"/>
                    <a:pt x="6280" y="3663"/>
                  </a:cubicBezTo>
                  <a:cubicBezTo>
                    <a:pt x="6251" y="3656"/>
                    <a:pt x="6229" y="3656"/>
                    <a:pt x="6214" y="3656"/>
                  </a:cubicBezTo>
                  <a:cubicBezTo>
                    <a:pt x="6170" y="3656"/>
                    <a:pt x="6163" y="3678"/>
                    <a:pt x="6148" y="3744"/>
                  </a:cubicBezTo>
                  <a:cubicBezTo>
                    <a:pt x="6119" y="3832"/>
                    <a:pt x="6302" y="3927"/>
                    <a:pt x="6302" y="3927"/>
                  </a:cubicBezTo>
                  <a:cubicBezTo>
                    <a:pt x="6295" y="3927"/>
                    <a:pt x="6280" y="3920"/>
                    <a:pt x="6273" y="3920"/>
                  </a:cubicBezTo>
                  <a:cubicBezTo>
                    <a:pt x="6229" y="3920"/>
                    <a:pt x="6214" y="3949"/>
                    <a:pt x="6273" y="4015"/>
                  </a:cubicBezTo>
                  <a:cubicBezTo>
                    <a:pt x="6331" y="4089"/>
                    <a:pt x="6280" y="4257"/>
                    <a:pt x="6243" y="4257"/>
                  </a:cubicBezTo>
                  <a:lnTo>
                    <a:pt x="6236" y="4257"/>
                  </a:lnTo>
                  <a:cubicBezTo>
                    <a:pt x="6214" y="4235"/>
                    <a:pt x="6192" y="4228"/>
                    <a:pt x="6170" y="4228"/>
                  </a:cubicBezTo>
                  <a:cubicBezTo>
                    <a:pt x="6156" y="4228"/>
                    <a:pt x="6141" y="4235"/>
                    <a:pt x="6134" y="4257"/>
                  </a:cubicBezTo>
                  <a:cubicBezTo>
                    <a:pt x="6119" y="4301"/>
                    <a:pt x="6200" y="4323"/>
                    <a:pt x="6156" y="4330"/>
                  </a:cubicBezTo>
                  <a:cubicBezTo>
                    <a:pt x="6112" y="4345"/>
                    <a:pt x="6053" y="4367"/>
                    <a:pt x="5987" y="4426"/>
                  </a:cubicBezTo>
                  <a:cubicBezTo>
                    <a:pt x="5965" y="4440"/>
                    <a:pt x="5950" y="4448"/>
                    <a:pt x="5936" y="4448"/>
                  </a:cubicBezTo>
                  <a:cubicBezTo>
                    <a:pt x="5899" y="4448"/>
                    <a:pt x="5870" y="4404"/>
                    <a:pt x="5841" y="4389"/>
                  </a:cubicBezTo>
                  <a:cubicBezTo>
                    <a:pt x="5833" y="4389"/>
                    <a:pt x="5833" y="4389"/>
                    <a:pt x="5826" y="4389"/>
                  </a:cubicBezTo>
                  <a:cubicBezTo>
                    <a:pt x="5774" y="4389"/>
                    <a:pt x="5687" y="4499"/>
                    <a:pt x="5635" y="4616"/>
                  </a:cubicBezTo>
                  <a:cubicBezTo>
                    <a:pt x="5577" y="4741"/>
                    <a:pt x="5496" y="4733"/>
                    <a:pt x="5569" y="4777"/>
                  </a:cubicBezTo>
                  <a:cubicBezTo>
                    <a:pt x="5635" y="4821"/>
                    <a:pt x="5767" y="5034"/>
                    <a:pt x="5767" y="5034"/>
                  </a:cubicBezTo>
                  <a:cubicBezTo>
                    <a:pt x="5767" y="5034"/>
                    <a:pt x="5760" y="5085"/>
                    <a:pt x="5767" y="5239"/>
                  </a:cubicBezTo>
                  <a:cubicBezTo>
                    <a:pt x="5782" y="5400"/>
                    <a:pt x="5950" y="5627"/>
                    <a:pt x="5950" y="5730"/>
                  </a:cubicBezTo>
                  <a:cubicBezTo>
                    <a:pt x="5950" y="5832"/>
                    <a:pt x="5884" y="6001"/>
                    <a:pt x="5819" y="6060"/>
                  </a:cubicBezTo>
                  <a:cubicBezTo>
                    <a:pt x="5745" y="6111"/>
                    <a:pt x="5884" y="6162"/>
                    <a:pt x="5848" y="6272"/>
                  </a:cubicBezTo>
                  <a:cubicBezTo>
                    <a:pt x="5819" y="6382"/>
                    <a:pt x="5782" y="6411"/>
                    <a:pt x="5884" y="6499"/>
                  </a:cubicBezTo>
                  <a:cubicBezTo>
                    <a:pt x="5987" y="6587"/>
                    <a:pt x="5907" y="6580"/>
                    <a:pt x="5841" y="6624"/>
                  </a:cubicBezTo>
                  <a:cubicBezTo>
                    <a:pt x="5767" y="6668"/>
                    <a:pt x="5848" y="6727"/>
                    <a:pt x="5907" y="6858"/>
                  </a:cubicBezTo>
                  <a:cubicBezTo>
                    <a:pt x="5958" y="6983"/>
                    <a:pt x="5870" y="7100"/>
                    <a:pt x="5833" y="7100"/>
                  </a:cubicBezTo>
                  <a:cubicBezTo>
                    <a:pt x="5826" y="7100"/>
                    <a:pt x="5819" y="7093"/>
                    <a:pt x="5819" y="7086"/>
                  </a:cubicBezTo>
                  <a:cubicBezTo>
                    <a:pt x="5804" y="7056"/>
                    <a:pt x="5760" y="7027"/>
                    <a:pt x="5716" y="7027"/>
                  </a:cubicBezTo>
                  <a:cubicBezTo>
                    <a:pt x="5694" y="7027"/>
                    <a:pt x="5672" y="7034"/>
                    <a:pt x="5643" y="7056"/>
                  </a:cubicBezTo>
                  <a:cubicBezTo>
                    <a:pt x="5599" y="7093"/>
                    <a:pt x="5548" y="7122"/>
                    <a:pt x="5489" y="7122"/>
                  </a:cubicBezTo>
                  <a:cubicBezTo>
                    <a:pt x="5460" y="7122"/>
                    <a:pt x="5430" y="7115"/>
                    <a:pt x="5393" y="7100"/>
                  </a:cubicBezTo>
                  <a:cubicBezTo>
                    <a:pt x="5372" y="7086"/>
                    <a:pt x="5350" y="7078"/>
                    <a:pt x="5328" y="7078"/>
                  </a:cubicBezTo>
                  <a:cubicBezTo>
                    <a:pt x="5269" y="7078"/>
                    <a:pt x="5240" y="7129"/>
                    <a:pt x="5203" y="7166"/>
                  </a:cubicBezTo>
                  <a:cubicBezTo>
                    <a:pt x="5159" y="7225"/>
                    <a:pt x="5079" y="7269"/>
                    <a:pt x="5012" y="7283"/>
                  </a:cubicBezTo>
                  <a:cubicBezTo>
                    <a:pt x="4947" y="7291"/>
                    <a:pt x="4829" y="7305"/>
                    <a:pt x="4785" y="7349"/>
                  </a:cubicBezTo>
                  <a:cubicBezTo>
                    <a:pt x="4741" y="7393"/>
                    <a:pt x="4793" y="7408"/>
                    <a:pt x="4866" y="7452"/>
                  </a:cubicBezTo>
                  <a:cubicBezTo>
                    <a:pt x="4910" y="7481"/>
                    <a:pt x="5005" y="7496"/>
                    <a:pt x="5057" y="7503"/>
                  </a:cubicBezTo>
                  <a:cubicBezTo>
                    <a:pt x="5057" y="7518"/>
                    <a:pt x="5064" y="7562"/>
                    <a:pt x="5042" y="7584"/>
                  </a:cubicBezTo>
                  <a:cubicBezTo>
                    <a:pt x="5042" y="7598"/>
                    <a:pt x="5027" y="7598"/>
                    <a:pt x="5005" y="7598"/>
                  </a:cubicBezTo>
                  <a:cubicBezTo>
                    <a:pt x="4961" y="7598"/>
                    <a:pt x="4895" y="7577"/>
                    <a:pt x="4895" y="7577"/>
                  </a:cubicBezTo>
                  <a:cubicBezTo>
                    <a:pt x="4807" y="7635"/>
                    <a:pt x="4807" y="7635"/>
                    <a:pt x="4807" y="7635"/>
                  </a:cubicBezTo>
                  <a:cubicBezTo>
                    <a:pt x="4807" y="7635"/>
                    <a:pt x="4756" y="7577"/>
                    <a:pt x="4705" y="7577"/>
                  </a:cubicBezTo>
                  <a:cubicBezTo>
                    <a:pt x="4690" y="7577"/>
                    <a:pt x="4675" y="7577"/>
                    <a:pt x="4661" y="7584"/>
                  </a:cubicBezTo>
                  <a:cubicBezTo>
                    <a:pt x="4602" y="7628"/>
                    <a:pt x="4551" y="7657"/>
                    <a:pt x="4485" y="7657"/>
                  </a:cubicBezTo>
                  <a:cubicBezTo>
                    <a:pt x="4478" y="7657"/>
                    <a:pt x="4463" y="7657"/>
                    <a:pt x="4456" y="7657"/>
                  </a:cubicBezTo>
                  <a:cubicBezTo>
                    <a:pt x="4375" y="7642"/>
                    <a:pt x="4287" y="7437"/>
                    <a:pt x="4250" y="7364"/>
                  </a:cubicBezTo>
                  <a:cubicBezTo>
                    <a:pt x="4221" y="7283"/>
                    <a:pt x="3921" y="7210"/>
                    <a:pt x="3855" y="7181"/>
                  </a:cubicBezTo>
                  <a:cubicBezTo>
                    <a:pt x="3789" y="7144"/>
                    <a:pt x="3642" y="7086"/>
                    <a:pt x="3540" y="7063"/>
                  </a:cubicBezTo>
                  <a:cubicBezTo>
                    <a:pt x="3518" y="7063"/>
                    <a:pt x="3496" y="7056"/>
                    <a:pt x="3474" y="7056"/>
                  </a:cubicBezTo>
                  <a:cubicBezTo>
                    <a:pt x="3393" y="7056"/>
                    <a:pt x="3312" y="7086"/>
                    <a:pt x="3247" y="7137"/>
                  </a:cubicBezTo>
                  <a:cubicBezTo>
                    <a:pt x="3210" y="7151"/>
                    <a:pt x="3181" y="7166"/>
                    <a:pt x="3159" y="7166"/>
                  </a:cubicBezTo>
                  <a:cubicBezTo>
                    <a:pt x="3115" y="7166"/>
                    <a:pt x="3085" y="7137"/>
                    <a:pt x="3093" y="7100"/>
                  </a:cubicBezTo>
                  <a:cubicBezTo>
                    <a:pt x="3107" y="7041"/>
                    <a:pt x="3093" y="6998"/>
                    <a:pt x="3005" y="6939"/>
                  </a:cubicBezTo>
                  <a:cubicBezTo>
                    <a:pt x="2968" y="6917"/>
                    <a:pt x="2946" y="6910"/>
                    <a:pt x="2931" y="6910"/>
                  </a:cubicBezTo>
                  <a:cubicBezTo>
                    <a:pt x="2902" y="6910"/>
                    <a:pt x="2895" y="6932"/>
                    <a:pt x="2924" y="6961"/>
                  </a:cubicBezTo>
                  <a:cubicBezTo>
                    <a:pt x="2968" y="7012"/>
                    <a:pt x="2968" y="7063"/>
                    <a:pt x="2939" y="7063"/>
                  </a:cubicBezTo>
                  <a:cubicBezTo>
                    <a:pt x="2910" y="7063"/>
                    <a:pt x="2866" y="7020"/>
                    <a:pt x="2822" y="7020"/>
                  </a:cubicBezTo>
                  <a:lnTo>
                    <a:pt x="2814" y="7020"/>
                  </a:lnTo>
                  <a:cubicBezTo>
                    <a:pt x="2800" y="7020"/>
                    <a:pt x="2792" y="7027"/>
                    <a:pt x="2778" y="7027"/>
                  </a:cubicBezTo>
                  <a:cubicBezTo>
                    <a:pt x="2726" y="7027"/>
                    <a:pt x="2660" y="7005"/>
                    <a:pt x="2675" y="6954"/>
                  </a:cubicBezTo>
                  <a:cubicBezTo>
                    <a:pt x="2697" y="6888"/>
                    <a:pt x="2778" y="6895"/>
                    <a:pt x="2822" y="6829"/>
                  </a:cubicBezTo>
                  <a:cubicBezTo>
                    <a:pt x="2866" y="6763"/>
                    <a:pt x="2631" y="6682"/>
                    <a:pt x="2631" y="6682"/>
                  </a:cubicBezTo>
                  <a:cubicBezTo>
                    <a:pt x="2631" y="6741"/>
                    <a:pt x="2602" y="6778"/>
                    <a:pt x="2572" y="6778"/>
                  </a:cubicBezTo>
                  <a:cubicBezTo>
                    <a:pt x="2558" y="6778"/>
                    <a:pt x="2543" y="6763"/>
                    <a:pt x="2543" y="6734"/>
                  </a:cubicBezTo>
                  <a:cubicBezTo>
                    <a:pt x="2536" y="6682"/>
                    <a:pt x="2514" y="6660"/>
                    <a:pt x="2477" y="6660"/>
                  </a:cubicBezTo>
                  <a:cubicBezTo>
                    <a:pt x="2462" y="6660"/>
                    <a:pt x="2440" y="6668"/>
                    <a:pt x="2419" y="6682"/>
                  </a:cubicBezTo>
                  <a:cubicBezTo>
                    <a:pt x="2345" y="6727"/>
                    <a:pt x="2221" y="6712"/>
                    <a:pt x="2213" y="6763"/>
                  </a:cubicBezTo>
                  <a:cubicBezTo>
                    <a:pt x="2199" y="6807"/>
                    <a:pt x="2199" y="6873"/>
                    <a:pt x="2140" y="6895"/>
                  </a:cubicBezTo>
                  <a:cubicBezTo>
                    <a:pt x="2089" y="6917"/>
                    <a:pt x="2052" y="7034"/>
                    <a:pt x="2111" y="7100"/>
                  </a:cubicBezTo>
                  <a:cubicBezTo>
                    <a:pt x="2140" y="7137"/>
                    <a:pt x="2184" y="7151"/>
                    <a:pt x="2221" y="7151"/>
                  </a:cubicBezTo>
                  <a:cubicBezTo>
                    <a:pt x="2265" y="7151"/>
                    <a:pt x="2301" y="7137"/>
                    <a:pt x="2323" y="7122"/>
                  </a:cubicBezTo>
                  <a:cubicBezTo>
                    <a:pt x="2367" y="7100"/>
                    <a:pt x="2375" y="7049"/>
                    <a:pt x="2426" y="7049"/>
                  </a:cubicBezTo>
                  <a:cubicBezTo>
                    <a:pt x="2440" y="7049"/>
                    <a:pt x="2462" y="7049"/>
                    <a:pt x="2492" y="7063"/>
                  </a:cubicBezTo>
                  <a:cubicBezTo>
                    <a:pt x="2617" y="7122"/>
                    <a:pt x="2529" y="7144"/>
                    <a:pt x="2514" y="7225"/>
                  </a:cubicBezTo>
                  <a:cubicBezTo>
                    <a:pt x="2507" y="7305"/>
                    <a:pt x="2440" y="7305"/>
                    <a:pt x="2440" y="7305"/>
                  </a:cubicBezTo>
                  <a:cubicBezTo>
                    <a:pt x="2440" y="7283"/>
                    <a:pt x="2382" y="7232"/>
                    <a:pt x="2309" y="7232"/>
                  </a:cubicBezTo>
                  <a:cubicBezTo>
                    <a:pt x="2287" y="7232"/>
                    <a:pt x="2265" y="7239"/>
                    <a:pt x="2243" y="7247"/>
                  </a:cubicBezTo>
                  <a:cubicBezTo>
                    <a:pt x="2140" y="7291"/>
                    <a:pt x="2169" y="7393"/>
                    <a:pt x="2169" y="7393"/>
                  </a:cubicBezTo>
                  <a:cubicBezTo>
                    <a:pt x="2103" y="7408"/>
                    <a:pt x="2045" y="7415"/>
                    <a:pt x="1994" y="7415"/>
                  </a:cubicBezTo>
                  <a:cubicBezTo>
                    <a:pt x="1898" y="7415"/>
                    <a:pt x="1832" y="7386"/>
                    <a:pt x="1796" y="7291"/>
                  </a:cubicBezTo>
                  <a:cubicBezTo>
                    <a:pt x="1781" y="7261"/>
                    <a:pt x="1752" y="7254"/>
                    <a:pt x="1708" y="7254"/>
                  </a:cubicBezTo>
                  <a:cubicBezTo>
                    <a:pt x="1612" y="7254"/>
                    <a:pt x="1451" y="7327"/>
                    <a:pt x="1386" y="7393"/>
                  </a:cubicBezTo>
                  <a:cubicBezTo>
                    <a:pt x="1319" y="7459"/>
                    <a:pt x="1136" y="7481"/>
                    <a:pt x="1034" y="7481"/>
                  </a:cubicBezTo>
                  <a:cubicBezTo>
                    <a:pt x="997" y="7481"/>
                    <a:pt x="968" y="7474"/>
                    <a:pt x="953" y="7474"/>
                  </a:cubicBezTo>
                  <a:cubicBezTo>
                    <a:pt x="909" y="7459"/>
                    <a:pt x="917" y="7327"/>
                    <a:pt x="865" y="7327"/>
                  </a:cubicBezTo>
                  <a:cubicBezTo>
                    <a:pt x="807" y="7327"/>
                    <a:pt x="623" y="7452"/>
                    <a:pt x="521" y="7496"/>
                  </a:cubicBezTo>
                  <a:cubicBezTo>
                    <a:pt x="499" y="7510"/>
                    <a:pt x="477" y="7510"/>
                    <a:pt x="455" y="7510"/>
                  </a:cubicBezTo>
                  <a:cubicBezTo>
                    <a:pt x="396" y="7510"/>
                    <a:pt x="360" y="7467"/>
                    <a:pt x="374" y="7430"/>
                  </a:cubicBezTo>
                  <a:cubicBezTo>
                    <a:pt x="396" y="7386"/>
                    <a:pt x="455" y="7335"/>
                    <a:pt x="440" y="7305"/>
                  </a:cubicBezTo>
                  <a:cubicBezTo>
                    <a:pt x="440" y="7291"/>
                    <a:pt x="433" y="7283"/>
                    <a:pt x="418" y="7283"/>
                  </a:cubicBezTo>
                  <a:cubicBezTo>
                    <a:pt x="404" y="7283"/>
                    <a:pt x="381" y="7298"/>
                    <a:pt x="352" y="7335"/>
                  </a:cubicBezTo>
                  <a:cubicBezTo>
                    <a:pt x="330" y="7364"/>
                    <a:pt x="308" y="7379"/>
                    <a:pt x="286" y="7379"/>
                  </a:cubicBezTo>
                  <a:cubicBezTo>
                    <a:pt x="257" y="7379"/>
                    <a:pt x="235" y="7357"/>
                    <a:pt x="228" y="7335"/>
                  </a:cubicBezTo>
                  <a:cubicBezTo>
                    <a:pt x="213" y="7305"/>
                    <a:pt x="242" y="7232"/>
                    <a:pt x="147" y="7159"/>
                  </a:cubicBezTo>
                  <a:cubicBezTo>
                    <a:pt x="59" y="7078"/>
                    <a:pt x="45" y="6998"/>
                    <a:pt x="81" y="6932"/>
                  </a:cubicBezTo>
                  <a:cubicBezTo>
                    <a:pt x="118" y="6858"/>
                    <a:pt x="140" y="6851"/>
                    <a:pt x="118" y="6792"/>
                  </a:cubicBezTo>
                  <a:cubicBezTo>
                    <a:pt x="88" y="6734"/>
                    <a:pt x="88" y="6682"/>
                    <a:pt x="140" y="6609"/>
                  </a:cubicBezTo>
                  <a:cubicBezTo>
                    <a:pt x="184" y="6543"/>
                    <a:pt x="191" y="6543"/>
                    <a:pt x="169" y="6463"/>
                  </a:cubicBezTo>
                  <a:cubicBezTo>
                    <a:pt x="147" y="6382"/>
                    <a:pt x="213" y="6309"/>
                    <a:pt x="213" y="6309"/>
                  </a:cubicBezTo>
                  <a:cubicBezTo>
                    <a:pt x="206" y="6258"/>
                    <a:pt x="228" y="6191"/>
                    <a:pt x="272" y="6148"/>
                  </a:cubicBezTo>
                  <a:cubicBezTo>
                    <a:pt x="316" y="6104"/>
                    <a:pt x="330" y="6045"/>
                    <a:pt x="308" y="6001"/>
                  </a:cubicBezTo>
                  <a:cubicBezTo>
                    <a:pt x="286" y="5957"/>
                    <a:pt x="228" y="5877"/>
                    <a:pt x="206" y="5774"/>
                  </a:cubicBezTo>
                  <a:cubicBezTo>
                    <a:pt x="184" y="5671"/>
                    <a:pt x="213" y="5569"/>
                    <a:pt x="250" y="5525"/>
                  </a:cubicBezTo>
                  <a:cubicBezTo>
                    <a:pt x="286" y="5481"/>
                    <a:pt x="294" y="5408"/>
                    <a:pt x="352" y="5312"/>
                  </a:cubicBezTo>
                  <a:cubicBezTo>
                    <a:pt x="411" y="5210"/>
                    <a:pt x="455" y="5158"/>
                    <a:pt x="477" y="5070"/>
                  </a:cubicBezTo>
                  <a:cubicBezTo>
                    <a:pt x="499" y="4982"/>
                    <a:pt x="536" y="4960"/>
                    <a:pt x="579" y="4924"/>
                  </a:cubicBezTo>
                  <a:cubicBezTo>
                    <a:pt x="623" y="4887"/>
                    <a:pt x="601" y="4631"/>
                    <a:pt x="623" y="4550"/>
                  </a:cubicBezTo>
                  <a:cubicBezTo>
                    <a:pt x="645" y="4470"/>
                    <a:pt x="601" y="4404"/>
                    <a:pt x="667" y="4345"/>
                  </a:cubicBezTo>
                  <a:cubicBezTo>
                    <a:pt x="741" y="4286"/>
                    <a:pt x="770" y="4206"/>
                    <a:pt x="770" y="4081"/>
                  </a:cubicBezTo>
                  <a:cubicBezTo>
                    <a:pt x="770" y="3957"/>
                    <a:pt x="865" y="3832"/>
                    <a:pt x="917" y="3788"/>
                  </a:cubicBezTo>
                  <a:cubicBezTo>
                    <a:pt x="975" y="3744"/>
                    <a:pt x="1056" y="3663"/>
                    <a:pt x="1078" y="3634"/>
                  </a:cubicBezTo>
                  <a:cubicBezTo>
                    <a:pt x="1100" y="3598"/>
                    <a:pt x="1144" y="3495"/>
                    <a:pt x="1195" y="3436"/>
                  </a:cubicBezTo>
                  <a:cubicBezTo>
                    <a:pt x="1239" y="3378"/>
                    <a:pt x="1268" y="3356"/>
                    <a:pt x="1349" y="3334"/>
                  </a:cubicBezTo>
                  <a:cubicBezTo>
                    <a:pt x="1429" y="3312"/>
                    <a:pt x="1444" y="3158"/>
                    <a:pt x="1473" y="3063"/>
                  </a:cubicBezTo>
                  <a:cubicBezTo>
                    <a:pt x="1503" y="2989"/>
                    <a:pt x="1598" y="2887"/>
                    <a:pt x="1635" y="2843"/>
                  </a:cubicBezTo>
                  <a:cubicBezTo>
                    <a:pt x="1664" y="2806"/>
                    <a:pt x="1664" y="2806"/>
                    <a:pt x="1664" y="2806"/>
                  </a:cubicBezTo>
                  <a:cubicBezTo>
                    <a:pt x="1664" y="2806"/>
                    <a:pt x="1664" y="2799"/>
                    <a:pt x="1657" y="2791"/>
                  </a:cubicBezTo>
                  <a:cubicBezTo>
                    <a:pt x="1700" y="2770"/>
                    <a:pt x="1700" y="2770"/>
                    <a:pt x="1700" y="2770"/>
                  </a:cubicBezTo>
                  <a:lnTo>
                    <a:pt x="1700" y="2770"/>
                  </a:lnTo>
                  <a:cubicBezTo>
                    <a:pt x="1708" y="2770"/>
                    <a:pt x="1767" y="2762"/>
                    <a:pt x="1825" y="2623"/>
                  </a:cubicBezTo>
                  <a:cubicBezTo>
                    <a:pt x="1898" y="2447"/>
                    <a:pt x="1986" y="2374"/>
                    <a:pt x="1994" y="2293"/>
                  </a:cubicBezTo>
                  <a:cubicBezTo>
                    <a:pt x="2008" y="2213"/>
                    <a:pt x="1986" y="2147"/>
                    <a:pt x="2008" y="2110"/>
                  </a:cubicBezTo>
                  <a:cubicBezTo>
                    <a:pt x="2030" y="2081"/>
                    <a:pt x="2096" y="2044"/>
                    <a:pt x="2074" y="1978"/>
                  </a:cubicBezTo>
                  <a:cubicBezTo>
                    <a:pt x="2052" y="1905"/>
                    <a:pt x="2089" y="1853"/>
                    <a:pt x="2155" y="1802"/>
                  </a:cubicBezTo>
                  <a:cubicBezTo>
                    <a:pt x="2221" y="1758"/>
                    <a:pt x="2243" y="1773"/>
                    <a:pt x="2243" y="1678"/>
                  </a:cubicBezTo>
                  <a:cubicBezTo>
                    <a:pt x="2243" y="1590"/>
                    <a:pt x="2191" y="1627"/>
                    <a:pt x="2213" y="1553"/>
                  </a:cubicBezTo>
                  <a:cubicBezTo>
                    <a:pt x="2236" y="1487"/>
                    <a:pt x="2294" y="1480"/>
                    <a:pt x="2294" y="1421"/>
                  </a:cubicBezTo>
                  <a:cubicBezTo>
                    <a:pt x="2294" y="1363"/>
                    <a:pt x="2345" y="1216"/>
                    <a:pt x="2294" y="1216"/>
                  </a:cubicBezTo>
                  <a:lnTo>
                    <a:pt x="2294" y="1216"/>
                  </a:lnTo>
                  <a:cubicBezTo>
                    <a:pt x="2287" y="1216"/>
                    <a:pt x="2279" y="1216"/>
                    <a:pt x="2272" y="1216"/>
                  </a:cubicBezTo>
                  <a:cubicBezTo>
                    <a:pt x="2221" y="1216"/>
                    <a:pt x="2169" y="1179"/>
                    <a:pt x="2213" y="1128"/>
                  </a:cubicBezTo>
                  <a:cubicBezTo>
                    <a:pt x="2257" y="1070"/>
                    <a:pt x="2199" y="1048"/>
                    <a:pt x="2155" y="982"/>
                  </a:cubicBezTo>
                  <a:cubicBezTo>
                    <a:pt x="2111" y="908"/>
                    <a:pt x="2140" y="718"/>
                    <a:pt x="2140" y="718"/>
                  </a:cubicBezTo>
                  <a:cubicBezTo>
                    <a:pt x="2140" y="718"/>
                    <a:pt x="2140" y="718"/>
                    <a:pt x="2148" y="718"/>
                  </a:cubicBezTo>
                  <a:cubicBezTo>
                    <a:pt x="2155" y="732"/>
                    <a:pt x="2162" y="747"/>
                    <a:pt x="2162" y="747"/>
                  </a:cubicBezTo>
                  <a:cubicBezTo>
                    <a:pt x="2162" y="747"/>
                    <a:pt x="2155" y="732"/>
                    <a:pt x="2148" y="718"/>
                  </a:cubicBezTo>
                  <a:cubicBezTo>
                    <a:pt x="2148" y="718"/>
                    <a:pt x="2162" y="710"/>
                    <a:pt x="2199" y="696"/>
                  </a:cubicBezTo>
                  <a:cubicBezTo>
                    <a:pt x="2206" y="696"/>
                    <a:pt x="2206" y="696"/>
                    <a:pt x="2206" y="696"/>
                  </a:cubicBezTo>
                  <a:cubicBezTo>
                    <a:pt x="2265" y="696"/>
                    <a:pt x="2353" y="879"/>
                    <a:pt x="2426" y="923"/>
                  </a:cubicBezTo>
                  <a:cubicBezTo>
                    <a:pt x="2440" y="930"/>
                    <a:pt x="2455" y="930"/>
                    <a:pt x="2462" y="930"/>
                  </a:cubicBezTo>
                  <a:cubicBezTo>
                    <a:pt x="2521" y="930"/>
                    <a:pt x="2550" y="850"/>
                    <a:pt x="2529" y="777"/>
                  </a:cubicBezTo>
                  <a:cubicBezTo>
                    <a:pt x="2507" y="681"/>
                    <a:pt x="2529" y="601"/>
                    <a:pt x="2617" y="593"/>
                  </a:cubicBezTo>
                  <a:cubicBezTo>
                    <a:pt x="2631" y="593"/>
                    <a:pt x="2638" y="593"/>
                    <a:pt x="2638" y="593"/>
                  </a:cubicBezTo>
                  <a:cubicBezTo>
                    <a:pt x="2712" y="593"/>
                    <a:pt x="2704" y="644"/>
                    <a:pt x="2734" y="828"/>
                  </a:cubicBezTo>
                  <a:cubicBezTo>
                    <a:pt x="2748" y="923"/>
                    <a:pt x="2807" y="945"/>
                    <a:pt x="2866" y="945"/>
                  </a:cubicBezTo>
                  <a:cubicBezTo>
                    <a:pt x="2931" y="945"/>
                    <a:pt x="3005" y="908"/>
                    <a:pt x="3005" y="908"/>
                  </a:cubicBezTo>
                  <a:cubicBezTo>
                    <a:pt x="3019" y="967"/>
                    <a:pt x="3041" y="982"/>
                    <a:pt x="3129" y="982"/>
                  </a:cubicBezTo>
                  <a:cubicBezTo>
                    <a:pt x="3217" y="982"/>
                    <a:pt x="3166" y="1077"/>
                    <a:pt x="3093" y="1091"/>
                  </a:cubicBezTo>
                  <a:cubicBezTo>
                    <a:pt x="3027" y="1106"/>
                    <a:pt x="3041" y="1077"/>
                    <a:pt x="3027" y="1253"/>
                  </a:cubicBezTo>
                  <a:cubicBezTo>
                    <a:pt x="3027" y="1297"/>
                    <a:pt x="3034" y="1319"/>
                    <a:pt x="3056" y="1319"/>
                  </a:cubicBezTo>
                  <a:cubicBezTo>
                    <a:pt x="3100" y="1319"/>
                    <a:pt x="3188" y="1209"/>
                    <a:pt x="3217" y="1194"/>
                  </a:cubicBezTo>
                  <a:cubicBezTo>
                    <a:pt x="3269" y="1172"/>
                    <a:pt x="3247" y="1150"/>
                    <a:pt x="3269" y="1070"/>
                  </a:cubicBezTo>
                  <a:cubicBezTo>
                    <a:pt x="3283" y="1018"/>
                    <a:pt x="3298" y="982"/>
                    <a:pt x="3327" y="982"/>
                  </a:cubicBezTo>
                  <a:cubicBezTo>
                    <a:pt x="3342" y="982"/>
                    <a:pt x="3364" y="996"/>
                    <a:pt x="3393" y="1011"/>
                  </a:cubicBezTo>
                  <a:cubicBezTo>
                    <a:pt x="3408" y="1026"/>
                    <a:pt x="3422" y="1033"/>
                    <a:pt x="3437" y="1033"/>
                  </a:cubicBezTo>
                  <a:cubicBezTo>
                    <a:pt x="3474" y="1033"/>
                    <a:pt x="3481" y="974"/>
                    <a:pt x="3503" y="930"/>
                  </a:cubicBezTo>
                  <a:cubicBezTo>
                    <a:pt x="3510" y="916"/>
                    <a:pt x="3525" y="916"/>
                    <a:pt x="3547" y="916"/>
                  </a:cubicBezTo>
                  <a:cubicBezTo>
                    <a:pt x="3591" y="916"/>
                    <a:pt x="3650" y="952"/>
                    <a:pt x="3650" y="952"/>
                  </a:cubicBezTo>
                  <a:cubicBezTo>
                    <a:pt x="3562" y="820"/>
                    <a:pt x="3562" y="820"/>
                    <a:pt x="3562" y="820"/>
                  </a:cubicBezTo>
                  <a:cubicBezTo>
                    <a:pt x="3562" y="820"/>
                    <a:pt x="3562" y="820"/>
                    <a:pt x="3620" y="777"/>
                  </a:cubicBezTo>
                  <a:cubicBezTo>
                    <a:pt x="3620" y="777"/>
                    <a:pt x="3620" y="777"/>
                    <a:pt x="3620" y="769"/>
                  </a:cubicBezTo>
                  <a:cubicBezTo>
                    <a:pt x="3620" y="777"/>
                    <a:pt x="3620" y="784"/>
                    <a:pt x="3620" y="791"/>
                  </a:cubicBezTo>
                  <a:cubicBezTo>
                    <a:pt x="3620" y="813"/>
                    <a:pt x="3620" y="828"/>
                    <a:pt x="3620" y="828"/>
                  </a:cubicBezTo>
                  <a:cubicBezTo>
                    <a:pt x="3620" y="828"/>
                    <a:pt x="3620" y="813"/>
                    <a:pt x="3620" y="791"/>
                  </a:cubicBezTo>
                  <a:cubicBezTo>
                    <a:pt x="3620" y="784"/>
                    <a:pt x="3620" y="777"/>
                    <a:pt x="3620" y="769"/>
                  </a:cubicBezTo>
                  <a:cubicBezTo>
                    <a:pt x="3635" y="762"/>
                    <a:pt x="3650" y="762"/>
                    <a:pt x="3672" y="762"/>
                  </a:cubicBezTo>
                  <a:cubicBezTo>
                    <a:pt x="3708" y="762"/>
                    <a:pt x="3745" y="769"/>
                    <a:pt x="3789" y="769"/>
                  </a:cubicBezTo>
                  <a:cubicBezTo>
                    <a:pt x="3803" y="769"/>
                    <a:pt x="3818" y="769"/>
                    <a:pt x="3833" y="762"/>
                  </a:cubicBezTo>
                  <a:cubicBezTo>
                    <a:pt x="3899" y="725"/>
                    <a:pt x="3972" y="740"/>
                    <a:pt x="3972" y="630"/>
                  </a:cubicBezTo>
                  <a:cubicBezTo>
                    <a:pt x="3972" y="513"/>
                    <a:pt x="4082" y="527"/>
                    <a:pt x="4192" y="513"/>
                  </a:cubicBezTo>
                  <a:cubicBezTo>
                    <a:pt x="4309" y="505"/>
                    <a:pt x="4250" y="469"/>
                    <a:pt x="4272" y="425"/>
                  </a:cubicBezTo>
                  <a:cubicBezTo>
                    <a:pt x="4294" y="381"/>
                    <a:pt x="4294" y="322"/>
                    <a:pt x="4250" y="278"/>
                  </a:cubicBezTo>
                  <a:cubicBezTo>
                    <a:pt x="4236" y="256"/>
                    <a:pt x="4214" y="249"/>
                    <a:pt x="4192" y="249"/>
                  </a:cubicBezTo>
                  <a:cubicBezTo>
                    <a:pt x="4170" y="249"/>
                    <a:pt x="4155" y="256"/>
                    <a:pt x="4133" y="256"/>
                  </a:cubicBezTo>
                  <a:cubicBezTo>
                    <a:pt x="4126" y="256"/>
                    <a:pt x="4111" y="256"/>
                    <a:pt x="4104" y="256"/>
                  </a:cubicBezTo>
                  <a:cubicBezTo>
                    <a:pt x="4045" y="241"/>
                    <a:pt x="4045" y="220"/>
                    <a:pt x="4045" y="220"/>
                  </a:cubicBezTo>
                  <a:cubicBezTo>
                    <a:pt x="4045" y="220"/>
                    <a:pt x="4067" y="153"/>
                    <a:pt x="4119" y="117"/>
                  </a:cubicBezTo>
                  <a:cubicBezTo>
                    <a:pt x="4162" y="80"/>
                    <a:pt x="4221" y="73"/>
                    <a:pt x="4272" y="58"/>
                  </a:cubicBezTo>
                  <a:cubicBezTo>
                    <a:pt x="4280" y="58"/>
                    <a:pt x="4280" y="58"/>
                    <a:pt x="4287" y="58"/>
                  </a:cubicBezTo>
                  <a:cubicBezTo>
                    <a:pt x="4324" y="58"/>
                    <a:pt x="4331" y="102"/>
                    <a:pt x="4360" y="102"/>
                  </a:cubicBezTo>
                  <a:cubicBezTo>
                    <a:pt x="4368" y="102"/>
                    <a:pt x="4368" y="95"/>
                    <a:pt x="4375" y="95"/>
                  </a:cubicBezTo>
                  <a:cubicBezTo>
                    <a:pt x="4419" y="73"/>
                    <a:pt x="4419" y="44"/>
                    <a:pt x="4441" y="44"/>
                  </a:cubicBezTo>
                  <a:cubicBezTo>
                    <a:pt x="4448" y="44"/>
                    <a:pt x="4448" y="44"/>
                    <a:pt x="4456" y="51"/>
                  </a:cubicBezTo>
                  <a:cubicBezTo>
                    <a:pt x="4492" y="58"/>
                    <a:pt x="4492" y="102"/>
                    <a:pt x="4522" y="132"/>
                  </a:cubicBezTo>
                  <a:cubicBezTo>
                    <a:pt x="4529" y="132"/>
                    <a:pt x="4536" y="132"/>
                    <a:pt x="4543" y="132"/>
                  </a:cubicBezTo>
                  <a:cubicBezTo>
                    <a:pt x="4573" y="132"/>
                    <a:pt x="4602" y="102"/>
                    <a:pt x="4646" y="73"/>
                  </a:cubicBezTo>
                  <a:cubicBezTo>
                    <a:pt x="4690" y="44"/>
                    <a:pt x="4705" y="36"/>
                    <a:pt x="4727" y="36"/>
                  </a:cubicBezTo>
                  <a:lnTo>
                    <a:pt x="4727" y="0"/>
                  </a:lnTo>
                  <a:lnTo>
                    <a:pt x="4727" y="0"/>
                  </a:lnTo>
                  <a:lnTo>
                    <a:pt x="4727" y="0"/>
                  </a:lnTo>
                  <a:cubicBezTo>
                    <a:pt x="4705" y="0"/>
                    <a:pt x="4683" y="14"/>
                    <a:pt x="4653" y="36"/>
                  </a:cubicBezTo>
                  <a:cubicBezTo>
                    <a:pt x="4631" y="44"/>
                    <a:pt x="4631" y="44"/>
                    <a:pt x="4631" y="44"/>
                  </a:cubicBezTo>
                  <a:cubicBezTo>
                    <a:pt x="4617" y="58"/>
                    <a:pt x="4602" y="66"/>
                    <a:pt x="4588" y="80"/>
                  </a:cubicBezTo>
                  <a:cubicBezTo>
                    <a:pt x="4573" y="88"/>
                    <a:pt x="4551" y="102"/>
                    <a:pt x="4543" y="102"/>
                  </a:cubicBezTo>
                  <a:cubicBezTo>
                    <a:pt x="4529" y="95"/>
                    <a:pt x="4522" y="88"/>
                    <a:pt x="4522" y="73"/>
                  </a:cubicBezTo>
                  <a:cubicBezTo>
                    <a:pt x="4507" y="51"/>
                    <a:pt x="4492" y="29"/>
                    <a:pt x="4463" y="22"/>
                  </a:cubicBezTo>
                  <a:cubicBezTo>
                    <a:pt x="4456" y="14"/>
                    <a:pt x="4448" y="14"/>
                    <a:pt x="4441" y="14"/>
                  </a:cubicBezTo>
                  <a:cubicBezTo>
                    <a:pt x="4419" y="14"/>
                    <a:pt x="4404" y="29"/>
                    <a:pt x="4397" y="44"/>
                  </a:cubicBezTo>
                  <a:cubicBezTo>
                    <a:pt x="4382" y="51"/>
                    <a:pt x="4375" y="58"/>
                    <a:pt x="4360" y="66"/>
                  </a:cubicBezTo>
                  <a:lnTo>
                    <a:pt x="4360" y="66"/>
                  </a:lnTo>
                  <a:cubicBezTo>
                    <a:pt x="4360" y="66"/>
                    <a:pt x="4353" y="66"/>
                    <a:pt x="4353" y="58"/>
                  </a:cubicBezTo>
                  <a:cubicBezTo>
                    <a:pt x="4338" y="44"/>
                    <a:pt x="4317" y="29"/>
                    <a:pt x="4287" y="29"/>
                  </a:cubicBezTo>
                  <a:cubicBezTo>
                    <a:pt x="4280" y="29"/>
                    <a:pt x="4272" y="29"/>
                    <a:pt x="4265" y="29"/>
                  </a:cubicBezTo>
                  <a:cubicBezTo>
                    <a:pt x="4207" y="44"/>
                    <a:pt x="4148" y="51"/>
                    <a:pt x="4097" y="95"/>
                  </a:cubicBezTo>
                  <a:cubicBezTo>
                    <a:pt x="4045" y="132"/>
                    <a:pt x="4023" y="205"/>
                    <a:pt x="4016" y="212"/>
                  </a:cubicBezTo>
                  <a:lnTo>
                    <a:pt x="4016" y="212"/>
                  </a:lnTo>
                  <a:cubicBezTo>
                    <a:pt x="4016" y="220"/>
                    <a:pt x="4016" y="220"/>
                    <a:pt x="4016" y="220"/>
                  </a:cubicBezTo>
                  <a:cubicBezTo>
                    <a:pt x="4016" y="227"/>
                    <a:pt x="4023" y="271"/>
                    <a:pt x="4097" y="285"/>
                  </a:cubicBezTo>
                  <a:cubicBezTo>
                    <a:pt x="4111" y="285"/>
                    <a:pt x="4119" y="285"/>
                    <a:pt x="4133" y="285"/>
                  </a:cubicBezTo>
                  <a:cubicBezTo>
                    <a:pt x="4141" y="285"/>
                    <a:pt x="4155" y="285"/>
                    <a:pt x="4170" y="285"/>
                  </a:cubicBezTo>
                  <a:cubicBezTo>
                    <a:pt x="4177" y="285"/>
                    <a:pt x="4184" y="278"/>
                    <a:pt x="4192" y="278"/>
                  </a:cubicBezTo>
                  <a:cubicBezTo>
                    <a:pt x="4207" y="278"/>
                    <a:pt x="4214" y="285"/>
                    <a:pt x="4229" y="300"/>
                  </a:cubicBezTo>
                  <a:cubicBezTo>
                    <a:pt x="4272" y="344"/>
                    <a:pt x="4258" y="388"/>
                    <a:pt x="4250" y="410"/>
                  </a:cubicBezTo>
                  <a:cubicBezTo>
                    <a:pt x="4236" y="432"/>
                    <a:pt x="4236" y="454"/>
                    <a:pt x="4236" y="461"/>
                  </a:cubicBezTo>
                  <a:cubicBezTo>
                    <a:pt x="4236" y="469"/>
                    <a:pt x="4236" y="469"/>
                    <a:pt x="4236" y="476"/>
                  </a:cubicBezTo>
                  <a:cubicBezTo>
                    <a:pt x="4236" y="476"/>
                    <a:pt x="4221" y="483"/>
                    <a:pt x="4192" y="483"/>
                  </a:cubicBezTo>
                  <a:cubicBezTo>
                    <a:pt x="4177" y="483"/>
                    <a:pt x="4162" y="483"/>
                    <a:pt x="4148" y="491"/>
                  </a:cubicBezTo>
                  <a:cubicBezTo>
                    <a:pt x="4045" y="491"/>
                    <a:pt x="3935" y="498"/>
                    <a:pt x="3935" y="630"/>
                  </a:cubicBezTo>
                  <a:cubicBezTo>
                    <a:pt x="3935" y="689"/>
                    <a:pt x="3913" y="696"/>
                    <a:pt x="3869" y="718"/>
                  </a:cubicBezTo>
                  <a:cubicBezTo>
                    <a:pt x="3855" y="718"/>
                    <a:pt x="3840" y="725"/>
                    <a:pt x="3818" y="732"/>
                  </a:cubicBezTo>
                  <a:cubicBezTo>
                    <a:pt x="3811" y="740"/>
                    <a:pt x="3796" y="740"/>
                    <a:pt x="3789" y="740"/>
                  </a:cubicBezTo>
                  <a:cubicBezTo>
                    <a:pt x="3767" y="740"/>
                    <a:pt x="3752" y="740"/>
                    <a:pt x="3730" y="732"/>
                  </a:cubicBezTo>
                  <a:cubicBezTo>
                    <a:pt x="3708" y="732"/>
                    <a:pt x="3686" y="725"/>
                    <a:pt x="3672" y="725"/>
                  </a:cubicBezTo>
                  <a:cubicBezTo>
                    <a:pt x="3664" y="725"/>
                    <a:pt x="3657" y="725"/>
                    <a:pt x="3650" y="732"/>
                  </a:cubicBezTo>
                  <a:cubicBezTo>
                    <a:pt x="3650" y="710"/>
                    <a:pt x="3650" y="710"/>
                    <a:pt x="3650" y="710"/>
                  </a:cubicBezTo>
                  <a:cubicBezTo>
                    <a:pt x="3598" y="747"/>
                    <a:pt x="3598" y="747"/>
                    <a:pt x="3598" y="747"/>
                  </a:cubicBezTo>
                  <a:cubicBezTo>
                    <a:pt x="3591" y="754"/>
                    <a:pt x="3591" y="754"/>
                    <a:pt x="3591" y="754"/>
                  </a:cubicBezTo>
                  <a:cubicBezTo>
                    <a:pt x="3591" y="762"/>
                    <a:pt x="3591" y="762"/>
                    <a:pt x="3591" y="762"/>
                  </a:cubicBezTo>
                  <a:cubicBezTo>
                    <a:pt x="3540" y="798"/>
                    <a:pt x="3540" y="798"/>
                    <a:pt x="3540" y="798"/>
                  </a:cubicBezTo>
                  <a:cubicBezTo>
                    <a:pt x="3518" y="813"/>
                    <a:pt x="3518" y="813"/>
                    <a:pt x="3518" y="813"/>
                  </a:cubicBezTo>
                  <a:cubicBezTo>
                    <a:pt x="3532" y="835"/>
                    <a:pt x="3532" y="835"/>
                    <a:pt x="3532" y="835"/>
                  </a:cubicBezTo>
                  <a:cubicBezTo>
                    <a:pt x="3569" y="886"/>
                    <a:pt x="3569" y="886"/>
                    <a:pt x="3569" y="886"/>
                  </a:cubicBezTo>
                  <a:cubicBezTo>
                    <a:pt x="3562" y="886"/>
                    <a:pt x="3554" y="879"/>
                    <a:pt x="3547" y="879"/>
                  </a:cubicBezTo>
                  <a:cubicBezTo>
                    <a:pt x="3518" y="879"/>
                    <a:pt x="3488" y="894"/>
                    <a:pt x="3481" y="916"/>
                  </a:cubicBezTo>
                  <a:cubicBezTo>
                    <a:pt x="3467" y="930"/>
                    <a:pt x="3459" y="952"/>
                    <a:pt x="3452" y="967"/>
                  </a:cubicBezTo>
                  <a:cubicBezTo>
                    <a:pt x="3452" y="974"/>
                    <a:pt x="3444" y="996"/>
                    <a:pt x="3437" y="1003"/>
                  </a:cubicBezTo>
                  <a:cubicBezTo>
                    <a:pt x="3437" y="1003"/>
                    <a:pt x="3430" y="1003"/>
                    <a:pt x="3408" y="989"/>
                  </a:cubicBezTo>
                  <a:cubicBezTo>
                    <a:pt x="3379" y="967"/>
                    <a:pt x="3349" y="952"/>
                    <a:pt x="3327" y="952"/>
                  </a:cubicBezTo>
                  <a:cubicBezTo>
                    <a:pt x="3269" y="952"/>
                    <a:pt x="3247" y="1018"/>
                    <a:pt x="3239" y="1062"/>
                  </a:cubicBezTo>
                  <a:cubicBezTo>
                    <a:pt x="3225" y="1091"/>
                    <a:pt x="3225" y="1113"/>
                    <a:pt x="3225" y="1136"/>
                  </a:cubicBezTo>
                  <a:cubicBezTo>
                    <a:pt x="3217" y="1158"/>
                    <a:pt x="3217" y="1158"/>
                    <a:pt x="3210" y="1165"/>
                  </a:cubicBezTo>
                  <a:cubicBezTo>
                    <a:pt x="3195" y="1172"/>
                    <a:pt x="3173" y="1187"/>
                    <a:pt x="3144" y="1216"/>
                  </a:cubicBezTo>
                  <a:cubicBezTo>
                    <a:pt x="3122" y="1238"/>
                    <a:pt x="3078" y="1275"/>
                    <a:pt x="3056" y="1289"/>
                  </a:cubicBezTo>
                  <a:cubicBezTo>
                    <a:pt x="3056" y="1282"/>
                    <a:pt x="3056" y="1267"/>
                    <a:pt x="3056" y="1253"/>
                  </a:cubicBezTo>
                  <a:cubicBezTo>
                    <a:pt x="3056" y="1231"/>
                    <a:pt x="3063" y="1209"/>
                    <a:pt x="3063" y="1194"/>
                  </a:cubicBezTo>
                  <a:cubicBezTo>
                    <a:pt x="3063" y="1165"/>
                    <a:pt x="3063" y="1136"/>
                    <a:pt x="3071" y="1128"/>
                  </a:cubicBezTo>
                  <a:lnTo>
                    <a:pt x="3078" y="1128"/>
                  </a:lnTo>
                  <a:cubicBezTo>
                    <a:pt x="3085" y="1121"/>
                    <a:pt x="3093" y="1121"/>
                    <a:pt x="3100" y="1121"/>
                  </a:cubicBezTo>
                  <a:cubicBezTo>
                    <a:pt x="3159" y="1113"/>
                    <a:pt x="3210" y="1055"/>
                    <a:pt x="3210" y="1003"/>
                  </a:cubicBezTo>
                  <a:cubicBezTo>
                    <a:pt x="3203" y="974"/>
                    <a:pt x="3181" y="945"/>
                    <a:pt x="3129" y="945"/>
                  </a:cubicBezTo>
                  <a:cubicBezTo>
                    <a:pt x="3041" y="945"/>
                    <a:pt x="3041" y="938"/>
                    <a:pt x="3034" y="901"/>
                  </a:cubicBezTo>
                  <a:cubicBezTo>
                    <a:pt x="3027" y="864"/>
                    <a:pt x="3027" y="864"/>
                    <a:pt x="3027" y="864"/>
                  </a:cubicBezTo>
                  <a:cubicBezTo>
                    <a:pt x="2990" y="886"/>
                    <a:pt x="2990" y="886"/>
                    <a:pt x="2990" y="886"/>
                  </a:cubicBezTo>
                  <a:cubicBezTo>
                    <a:pt x="2990" y="886"/>
                    <a:pt x="2924" y="916"/>
                    <a:pt x="2866" y="916"/>
                  </a:cubicBezTo>
                  <a:cubicBezTo>
                    <a:pt x="2807" y="916"/>
                    <a:pt x="2770" y="886"/>
                    <a:pt x="2763" y="828"/>
                  </a:cubicBezTo>
                  <a:cubicBezTo>
                    <a:pt x="2756" y="791"/>
                    <a:pt x="2756" y="762"/>
                    <a:pt x="2748" y="740"/>
                  </a:cubicBezTo>
                  <a:cubicBezTo>
                    <a:pt x="2734" y="622"/>
                    <a:pt x="2726" y="564"/>
                    <a:pt x="2638" y="564"/>
                  </a:cubicBezTo>
                  <a:cubicBezTo>
                    <a:pt x="2631" y="564"/>
                    <a:pt x="2624" y="564"/>
                    <a:pt x="2617" y="564"/>
                  </a:cubicBezTo>
                  <a:cubicBezTo>
                    <a:pt x="2572" y="571"/>
                    <a:pt x="2536" y="586"/>
                    <a:pt x="2514" y="622"/>
                  </a:cubicBezTo>
                  <a:cubicBezTo>
                    <a:pt x="2492" y="659"/>
                    <a:pt x="2485" y="718"/>
                    <a:pt x="2499" y="784"/>
                  </a:cubicBezTo>
                  <a:cubicBezTo>
                    <a:pt x="2507" y="820"/>
                    <a:pt x="2507" y="864"/>
                    <a:pt x="2485" y="886"/>
                  </a:cubicBezTo>
                  <a:cubicBezTo>
                    <a:pt x="2477" y="901"/>
                    <a:pt x="2470" y="901"/>
                    <a:pt x="2462" y="901"/>
                  </a:cubicBezTo>
                  <a:cubicBezTo>
                    <a:pt x="2455" y="901"/>
                    <a:pt x="2448" y="901"/>
                    <a:pt x="2440" y="894"/>
                  </a:cubicBezTo>
                  <a:cubicBezTo>
                    <a:pt x="2411" y="879"/>
                    <a:pt x="2375" y="828"/>
                    <a:pt x="2345" y="784"/>
                  </a:cubicBezTo>
                  <a:cubicBezTo>
                    <a:pt x="2294" y="718"/>
                    <a:pt x="2257" y="659"/>
                    <a:pt x="2206" y="659"/>
                  </a:cubicBezTo>
                  <a:cubicBezTo>
                    <a:pt x="2199" y="659"/>
                    <a:pt x="2199" y="667"/>
                    <a:pt x="2191" y="667"/>
                  </a:cubicBezTo>
                  <a:cubicBezTo>
                    <a:pt x="2133" y="689"/>
                    <a:pt x="2133" y="689"/>
                    <a:pt x="2133" y="689"/>
                  </a:cubicBezTo>
                  <a:lnTo>
                    <a:pt x="2133" y="689"/>
                  </a:lnTo>
                  <a:cubicBezTo>
                    <a:pt x="2126" y="689"/>
                    <a:pt x="2126" y="689"/>
                    <a:pt x="2126" y="689"/>
                  </a:cubicBezTo>
                  <a:cubicBezTo>
                    <a:pt x="2126" y="696"/>
                    <a:pt x="2126" y="696"/>
                    <a:pt x="2126" y="696"/>
                  </a:cubicBezTo>
                  <a:cubicBezTo>
                    <a:pt x="2103" y="703"/>
                    <a:pt x="2103" y="703"/>
                    <a:pt x="2103" y="703"/>
                  </a:cubicBezTo>
                  <a:cubicBezTo>
                    <a:pt x="2111" y="718"/>
                    <a:pt x="2111" y="718"/>
                    <a:pt x="2111" y="718"/>
                  </a:cubicBezTo>
                  <a:cubicBezTo>
                    <a:pt x="2103" y="762"/>
                    <a:pt x="2081" y="923"/>
                    <a:pt x="2133" y="996"/>
                  </a:cubicBezTo>
                  <a:cubicBezTo>
                    <a:pt x="2140" y="1018"/>
                    <a:pt x="2155" y="1033"/>
                    <a:pt x="2169" y="1048"/>
                  </a:cubicBezTo>
                  <a:cubicBezTo>
                    <a:pt x="2206" y="1084"/>
                    <a:pt x="2206" y="1084"/>
                    <a:pt x="2184" y="1106"/>
                  </a:cubicBezTo>
                  <a:cubicBezTo>
                    <a:pt x="2162" y="1136"/>
                    <a:pt x="2162" y="1165"/>
                    <a:pt x="2177" y="1194"/>
                  </a:cubicBezTo>
                  <a:cubicBezTo>
                    <a:pt x="2191" y="1223"/>
                    <a:pt x="2228" y="1245"/>
                    <a:pt x="2272" y="1245"/>
                  </a:cubicBezTo>
                  <a:cubicBezTo>
                    <a:pt x="2279" y="1245"/>
                    <a:pt x="2279" y="1245"/>
                    <a:pt x="2287" y="1245"/>
                  </a:cubicBezTo>
                  <a:cubicBezTo>
                    <a:pt x="2287" y="1267"/>
                    <a:pt x="2279" y="1311"/>
                    <a:pt x="2272" y="1341"/>
                  </a:cubicBezTo>
                  <a:cubicBezTo>
                    <a:pt x="2265" y="1370"/>
                    <a:pt x="2257" y="1399"/>
                    <a:pt x="2257" y="1421"/>
                  </a:cubicBezTo>
                  <a:cubicBezTo>
                    <a:pt x="2257" y="1436"/>
                    <a:pt x="2250" y="1451"/>
                    <a:pt x="2236" y="1465"/>
                  </a:cubicBezTo>
                  <a:cubicBezTo>
                    <a:pt x="2213" y="1487"/>
                    <a:pt x="2199" y="1509"/>
                    <a:pt x="2184" y="1546"/>
                  </a:cubicBezTo>
                  <a:cubicBezTo>
                    <a:pt x="2169" y="1597"/>
                    <a:pt x="2184" y="1612"/>
                    <a:pt x="2199" y="1634"/>
                  </a:cubicBezTo>
                  <a:cubicBezTo>
                    <a:pt x="2206" y="1641"/>
                    <a:pt x="2213" y="1648"/>
                    <a:pt x="2213" y="1678"/>
                  </a:cubicBezTo>
                  <a:cubicBezTo>
                    <a:pt x="2213" y="1736"/>
                    <a:pt x="2213" y="1736"/>
                    <a:pt x="2177" y="1758"/>
                  </a:cubicBezTo>
                  <a:cubicBezTo>
                    <a:pt x="2169" y="1766"/>
                    <a:pt x="2155" y="1773"/>
                    <a:pt x="2140" y="1780"/>
                  </a:cubicBezTo>
                  <a:cubicBezTo>
                    <a:pt x="2030" y="1853"/>
                    <a:pt x="2030" y="1934"/>
                    <a:pt x="2045" y="1986"/>
                  </a:cubicBezTo>
                  <a:cubicBezTo>
                    <a:pt x="2060" y="2015"/>
                    <a:pt x="2045" y="2029"/>
                    <a:pt x="2008" y="2066"/>
                  </a:cubicBezTo>
                  <a:cubicBezTo>
                    <a:pt x="2001" y="2073"/>
                    <a:pt x="1994" y="2081"/>
                    <a:pt x="1979" y="2095"/>
                  </a:cubicBezTo>
                  <a:cubicBezTo>
                    <a:pt x="1964" y="2125"/>
                    <a:pt x="1964" y="2154"/>
                    <a:pt x="1964" y="2198"/>
                  </a:cubicBezTo>
                  <a:cubicBezTo>
                    <a:pt x="1972" y="2227"/>
                    <a:pt x="1972" y="2257"/>
                    <a:pt x="1964" y="2286"/>
                  </a:cubicBezTo>
                  <a:cubicBezTo>
                    <a:pt x="1964" y="2322"/>
                    <a:pt x="1935" y="2359"/>
                    <a:pt x="1906" y="2410"/>
                  </a:cubicBezTo>
                  <a:cubicBezTo>
                    <a:pt x="1876" y="2462"/>
                    <a:pt x="1832" y="2520"/>
                    <a:pt x="1796" y="2608"/>
                  </a:cubicBezTo>
                  <a:cubicBezTo>
                    <a:pt x="1745" y="2733"/>
                    <a:pt x="1700" y="2740"/>
                    <a:pt x="1700" y="2740"/>
                  </a:cubicBezTo>
                  <a:cubicBezTo>
                    <a:pt x="1693" y="2740"/>
                    <a:pt x="1693" y="2740"/>
                    <a:pt x="1693" y="2740"/>
                  </a:cubicBezTo>
                  <a:cubicBezTo>
                    <a:pt x="1686" y="2740"/>
                    <a:pt x="1686" y="2740"/>
                    <a:pt x="1686" y="2740"/>
                  </a:cubicBezTo>
                  <a:cubicBezTo>
                    <a:pt x="1642" y="2770"/>
                    <a:pt x="1642" y="2770"/>
                    <a:pt x="1642" y="2770"/>
                  </a:cubicBezTo>
                  <a:cubicBezTo>
                    <a:pt x="1605" y="2784"/>
                    <a:pt x="1605" y="2784"/>
                    <a:pt x="1605" y="2784"/>
                  </a:cubicBezTo>
                  <a:cubicBezTo>
                    <a:pt x="1627" y="2806"/>
                    <a:pt x="1627" y="2806"/>
                    <a:pt x="1627" y="2806"/>
                  </a:cubicBezTo>
                  <a:cubicBezTo>
                    <a:pt x="1612" y="2821"/>
                    <a:pt x="1612" y="2821"/>
                    <a:pt x="1612" y="2821"/>
                  </a:cubicBezTo>
                  <a:cubicBezTo>
                    <a:pt x="1554" y="2887"/>
                    <a:pt x="1473" y="2982"/>
                    <a:pt x="1444" y="3055"/>
                  </a:cubicBezTo>
                  <a:cubicBezTo>
                    <a:pt x="1437" y="3077"/>
                    <a:pt x="1429" y="3114"/>
                    <a:pt x="1422" y="3143"/>
                  </a:cubicBezTo>
                  <a:cubicBezTo>
                    <a:pt x="1400" y="3209"/>
                    <a:pt x="1386" y="3297"/>
                    <a:pt x="1341" y="3304"/>
                  </a:cubicBezTo>
                  <a:cubicBezTo>
                    <a:pt x="1254" y="3334"/>
                    <a:pt x="1217" y="3356"/>
                    <a:pt x="1166" y="3422"/>
                  </a:cubicBezTo>
                  <a:cubicBezTo>
                    <a:pt x="1136" y="3458"/>
                    <a:pt x="1107" y="3517"/>
                    <a:pt x="1085" y="3561"/>
                  </a:cubicBezTo>
                  <a:cubicBezTo>
                    <a:pt x="1070" y="3583"/>
                    <a:pt x="1063" y="3605"/>
                    <a:pt x="1056" y="3612"/>
                  </a:cubicBezTo>
                  <a:cubicBezTo>
                    <a:pt x="1034" y="3641"/>
                    <a:pt x="960" y="3722"/>
                    <a:pt x="902" y="3766"/>
                  </a:cubicBezTo>
                  <a:cubicBezTo>
                    <a:pt x="836" y="3817"/>
                    <a:pt x="741" y="3949"/>
                    <a:pt x="741" y="4081"/>
                  </a:cubicBezTo>
                  <a:cubicBezTo>
                    <a:pt x="741" y="4198"/>
                    <a:pt x="711" y="4272"/>
                    <a:pt x="653" y="4323"/>
                  </a:cubicBezTo>
                  <a:cubicBezTo>
                    <a:pt x="594" y="4367"/>
                    <a:pt x="601" y="4418"/>
                    <a:pt x="601" y="4462"/>
                  </a:cubicBezTo>
                  <a:cubicBezTo>
                    <a:pt x="601" y="4491"/>
                    <a:pt x="601" y="4513"/>
                    <a:pt x="594" y="4543"/>
                  </a:cubicBezTo>
                  <a:cubicBezTo>
                    <a:pt x="587" y="4579"/>
                    <a:pt x="587" y="4638"/>
                    <a:pt x="579" y="4704"/>
                  </a:cubicBezTo>
                  <a:cubicBezTo>
                    <a:pt x="579" y="4770"/>
                    <a:pt x="579" y="4880"/>
                    <a:pt x="557" y="4902"/>
                  </a:cubicBezTo>
                  <a:lnTo>
                    <a:pt x="557" y="4902"/>
                  </a:lnTo>
                  <a:cubicBezTo>
                    <a:pt x="513" y="4939"/>
                    <a:pt x="469" y="4968"/>
                    <a:pt x="448" y="5063"/>
                  </a:cubicBezTo>
                  <a:cubicBezTo>
                    <a:pt x="433" y="5122"/>
                    <a:pt x="411" y="5158"/>
                    <a:pt x="381" y="5210"/>
                  </a:cubicBezTo>
                  <a:cubicBezTo>
                    <a:pt x="360" y="5232"/>
                    <a:pt x="345" y="5261"/>
                    <a:pt x="323" y="5298"/>
                  </a:cubicBezTo>
                  <a:cubicBezTo>
                    <a:pt x="294" y="5349"/>
                    <a:pt x="279" y="5393"/>
                    <a:pt x="264" y="5429"/>
                  </a:cubicBezTo>
                  <a:cubicBezTo>
                    <a:pt x="250" y="5459"/>
                    <a:pt x="242" y="5488"/>
                    <a:pt x="228" y="5503"/>
                  </a:cubicBezTo>
                  <a:cubicBezTo>
                    <a:pt x="184" y="5561"/>
                    <a:pt x="155" y="5679"/>
                    <a:pt x="176" y="5781"/>
                  </a:cubicBezTo>
                  <a:cubicBezTo>
                    <a:pt x="191" y="5862"/>
                    <a:pt x="235" y="5928"/>
                    <a:pt x="257" y="5979"/>
                  </a:cubicBezTo>
                  <a:cubicBezTo>
                    <a:pt x="272" y="5994"/>
                    <a:pt x="272" y="6001"/>
                    <a:pt x="279" y="6016"/>
                  </a:cubicBezTo>
                  <a:cubicBezTo>
                    <a:pt x="294" y="6045"/>
                    <a:pt x="286" y="6089"/>
                    <a:pt x="250" y="6126"/>
                  </a:cubicBezTo>
                  <a:cubicBezTo>
                    <a:pt x="206" y="6170"/>
                    <a:pt x="176" y="6243"/>
                    <a:pt x="184" y="6301"/>
                  </a:cubicBezTo>
                  <a:cubicBezTo>
                    <a:pt x="162" y="6323"/>
                    <a:pt x="118" y="6397"/>
                    <a:pt x="140" y="6470"/>
                  </a:cubicBezTo>
                  <a:cubicBezTo>
                    <a:pt x="155" y="6529"/>
                    <a:pt x="155" y="6529"/>
                    <a:pt x="125" y="6572"/>
                  </a:cubicBezTo>
                  <a:cubicBezTo>
                    <a:pt x="125" y="6580"/>
                    <a:pt x="118" y="6587"/>
                    <a:pt x="110" y="6595"/>
                  </a:cubicBezTo>
                  <a:cubicBezTo>
                    <a:pt x="67" y="6668"/>
                    <a:pt x="59" y="6734"/>
                    <a:pt x="88" y="6807"/>
                  </a:cubicBezTo>
                  <a:cubicBezTo>
                    <a:pt x="96" y="6836"/>
                    <a:pt x="96" y="6844"/>
                    <a:pt x="74" y="6873"/>
                  </a:cubicBezTo>
                  <a:cubicBezTo>
                    <a:pt x="67" y="6888"/>
                    <a:pt x="59" y="6902"/>
                    <a:pt x="52" y="6917"/>
                  </a:cubicBezTo>
                  <a:cubicBezTo>
                    <a:pt x="30" y="6968"/>
                    <a:pt x="0" y="7071"/>
                    <a:pt x="125" y="7181"/>
                  </a:cubicBezTo>
                  <a:cubicBezTo>
                    <a:pt x="191" y="7232"/>
                    <a:pt x="191" y="7276"/>
                    <a:pt x="191" y="7313"/>
                  </a:cubicBezTo>
                  <a:cubicBezTo>
                    <a:pt x="191" y="7320"/>
                    <a:pt x="198" y="7335"/>
                    <a:pt x="198" y="7349"/>
                  </a:cubicBezTo>
                  <a:cubicBezTo>
                    <a:pt x="213" y="7379"/>
                    <a:pt x="250" y="7408"/>
                    <a:pt x="286" y="7408"/>
                  </a:cubicBezTo>
                  <a:cubicBezTo>
                    <a:pt x="323" y="7408"/>
                    <a:pt x="352" y="7386"/>
                    <a:pt x="381" y="7357"/>
                  </a:cubicBezTo>
                  <a:cubicBezTo>
                    <a:pt x="396" y="7327"/>
                    <a:pt x="411" y="7320"/>
                    <a:pt x="411" y="7313"/>
                  </a:cubicBezTo>
                  <a:cubicBezTo>
                    <a:pt x="411" y="7320"/>
                    <a:pt x="396" y="7349"/>
                    <a:pt x="381" y="7364"/>
                  </a:cubicBezTo>
                  <a:cubicBezTo>
                    <a:pt x="374" y="7379"/>
                    <a:pt x="360" y="7393"/>
                    <a:pt x="345" y="7415"/>
                  </a:cubicBezTo>
                  <a:cubicBezTo>
                    <a:pt x="338" y="7437"/>
                    <a:pt x="338" y="7467"/>
                    <a:pt x="352" y="7489"/>
                  </a:cubicBezTo>
                  <a:cubicBezTo>
                    <a:pt x="374" y="7525"/>
                    <a:pt x="411" y="7540"/>
                    <a:pt x="455" y="7540"/>
                  </a:cubicBezTo>
                  <a:cubicBezTo>
                    <a:pt x="484" y="7540"/>
                    <a:pt x="506" y="7532"/>
                    <a:pt x="536" y="7525"/>
                  </a:cubicBezTo>
                  <a:cubicBezTo>
                    <a:pt x="579" y="7503"/>
                    <a:pt x="631" y="7474"/>
                    <a:pt x="682" y="7445"/>
                  </a:cubicBezTo>
                  <a:cubicBezTo>
                    <a:pt x="748" y="7408"/>
                    <a:pt x="836" y="7357"/>
                    <a:pt x="865" y="7357"/>
                  </a:cubicBezTo>
                  <a:cubicBezTo>
                    <a:pt x="872" y="7364"/>
                    <a:pt x="880" y="7393"/>
                    <a:pt x="887" y="7415"/>
                  </a:cubicBezTo>
                  <a:cubicBezTo>
                    <a:pt x="895" y="7452"/>
                    <a:pt x="909" y="7496"/>
                    <a:pt x="946" y="7503"/>
                  </a:cubicBezTo>
                  <a:cubicBezTo>
                    <a:pt x="968" y="7510"/>
                    <a:pt x="1012" y="7510"/>
                    <a:pt x="1034" y="7510"/>
                  </a:cubicBezTo>
                  <a:cubicBezTo>
                    <a:pt x="1078" y="7510"/>
                    <a:pt x="1319" y="7503"/>
                    <a:pt x="1407" y="7415"/>
                  </a:cubicBezTo>
                  <a:cubicBezTo>
                    <a:pt x="1466" y="7357"/>
                    <a:pt x="1620" y="7283"/>
                    <a:pt x="1708" y="7283"/>
                  </a:cubicBezTo>
                  <a:cubicBezTo>
                    <a:pt x="1737" y="7283"/>
                    <a:pt x="1759" y="7291"/>
                    <a:pt x="1767" y="7305"/>
                  </a:cubicBezTo>
                  <a:cubicBezTo>
                    <a:pt x="1818" y="7430"/>
                    <a:pt x="1920" y="7445"/>
                    <a:pt x="1994" y="7445"/>
                  </a:cubicBezTo>
                  <a:cubicBezTo>
                    <a:pt x="2045" y="7445"/>
                    <a:pt x="2096" y="7437"/>
                    <a:pt x="2169" y="7422"/>
                  </a:cubicBezTo>
                  <a:cubicBezTo>
                    <a:pt x="2206" y="7415"/>
                    <a:pt x="2206" y="7415"/>
                    <a:pt x="2206" y="7415"/>
                  </a:cubicBezTo>
                  <a:cubicBezTo>
                    <a:pt x="2199" y="7386"/>
                    <a:pt x="2199" y="7386"/>
                    <a:pt x="2199" y="7386"/>
                  </a:cubicBezTo>
                  <a:cubicBezTo>
                    <a:pt x="2191" y="7379"/>
                    <a:pt x="2184" y="7305"/>
                    <a:pt x="2257" y="7276"/>
                  </a:cubicBezTo>
                  <a:cubicBezTo>
                    <a:pt x="2272" y="7269"/>
                    <a:pt x="2294" y="7261"/>
                    <a:pt x="2309" y="7261"/>
                  </a:cubicBezTo>
                  <a:cubicBezTo>
                    <a:pt x="2360" y="7261"/>
                    <a:pt x="2397" y="7298"/>
                    <a:pt x="2411" y="7305"/>
                  </a:cubicBezTo>
                  <a:cubicBezTo>
                    <a:pt x="2411" y="7335"/>
                    <a:pt x="2411" y="7335"/>
                    <a:pt x="2411" y="7335"/>
                  </a:cubicBezTo>
                  <a:cubicBezTo>
                    <a:pt x="2440" y="7335"/>
                    <a:pt x="2440" y="7335"/>
                    <a:pt x="2440" y="7335"/>
                  </a:cubicBezTo>
                  <a:cubicBezTo>
                    <a:pt x="2470" y="7335"/>
                    <a:pt x="2536" y="7313"/>
                    <a:pt x="2550" y="7232"/>
                  </a:cubicBezTo>
                  <a:cubicBezTo>
                    <a:pt x="2550" y="7210"/>
                    <a:pt x="2558" y="7195"/>
                    <a:pt x="2572" y="7181"/>
                  </a:cubicBezTo>
                  <a:cubicBezTo>
                    <a:pt x="2580" y="7159"/>
                    <a:pt x="2594" y="7137"/>
                    <a:pt x="2587" y="7108"/>
                  </a:cubicBezTo>
                  <a:cubicBezTo>
                    <a:pt x="2580" y="7078"/>
                    <a:pt x="2558" y="7063"/>
                    <a:pt x="2507" y="7034"/>
                  </a:cubicBezTo>
                  <a:cubicBezTo>
                    <a:pt x="2477" y="7020"/>
                    <a:pt x="2448" y="7012"/>
                    <a:pt x="2426" y="7012"/>
                  </a:cubicBezTo>
                  <a:cubicBezTo>
                    <a:pt x="2375" y="7012"/>
                    <a:pt x="2353" y="7041"/>
                    <a:pt x="2338" y="7063"/>
                  </a:cubicBezTo>
                  <a:cubicBezTo>
                    <a:pt x="2331" y="7078"/>
                    <a:pt x="2323" y="7086"/>
                    <a:pt x="2309" y="7093"/>
                  </a:cubicBezTo>
                  <a:cubicBezTo>
                    <a:pt x="2287" y="7108"/>
                    <a:pt x="2250" y="7122"/>
                    <a:pt x="2221" y="7122"/>
                  </a:cubicBezTo>
                  <a:cubicBezTo>
                    <a:pt x="2199" y="7122"/>
                    <a:pt x="2162" y="7115"/>
                    <a:pt x="2133" y="7078"/>
                  </a:cubicBezTo>
                  <a:cubicBezTo>
                    <a:pt x="2111" y="7056"/>
                    <a:pt x="2103" y="7020"/>
                    <a:pt x="2118" y="6983"/>
                  </a:cubicBezTo>
                  <a:cubicBezTo>
                    <a:pt x="2126" y="6954"/>
                    <a:pt x="2140" y="6932"/>
                    <a:pt x="2155" y="6924"/>
                  </a:cubicBezTo>
                  <a:cubicBezTo>
                    <a:pt x="2213" y="6902"/>
                    <a:pt x="2228" y="6836"/>
                    <a:pt x="2236" y="6792"/>
                  </a:cubicBezTo>
                  <a:cubicBezTo>
                    <a:pt x="2236" y="6785"/>
                    <a:pt x="2236" y="6778"/>
                    <a:pt x="2243" y="6770"/>
                  </a:cubicBezTo>
                  <a:cubicBezTo>
                    <a:pt x="2250" y="6763"/>
                    <a:pt x="2287" y="6756"/>
                    <a:pt x="2309" y="6748"/>
                  </a:cubicBezTo>
                  <a:cubicBezTo>
                    <a:pt x="2353" y="6741"/>
                    <a:pt x="2397" y="6727"/>
                    <a:pt x="2433" y="6704"/>
                  </a:cubicBezTo>
                  <a:cubicBezTo>
                    <a:pt x="2455" y="6690"/>
                    <a:pt x="2470" y="6690"/>
                    <a:pt x="2477" y="6690"/>
                  </a:cubicBezTo>
                  <a:cubicBezTo>
                    <a:pt x="2499" y="6690"/>
                    <a:pt x="2507" y="6719"/>
                    <a:pt x="2514" y="6741"/>
                  </a:cubicBezTo>
                  <a:cubicBezTo>
                    <a:pt x="2514" y="6792"/>
                    <a:pt x="2543" y="6807"/>
                    <a:pt x="2572" y="6807"/>
                  </a:cubicBezTo>
                  <a:cubicBezTo>
                    <a:pt x="2609" y="6807"/>
                    <a:pt x="2646" y="6778"/>
                    <a:pt x="2653" y="6719"/>
                  </a:cubicBezTo>
                  <a:cubicBezTo>
                    <a:pt x="2741" y="6756"/>
                    <a:pt x="2800" y="6792"/>
                    <a:pt x="2800" y="6807"/>
                  </a:cubicBezTo>
                  <a:cubicBezTo>
                    <a:pt x="2785" y="6836"/>
                    <a:pt x="2756" y="6851"/>
                    <a:pt x="2734" y="6858"/>
                  </a:cubicBezTo>
                  <a:cubicBezTo>
                    <a:pt x="2697" y="6873"/>
                    <a:pt x="2660" y="6895"/>
                    <a:pt x="2646" y="6939"/>
                  </a:cubicBezTo>
                  <a:cubicBezTo>
                    <a:pt x="2638" y="6976"/>
                    <a:pt x="2646" y="6998"/>
                    <a:pt x="2653" y="7012"/>
                  </a:cubicBezTo>
                  <a:cubicBezTo>
                    <a:pt x="2682" y="7049"/>
                    <a:pt x="2756" y="7056"/>
                    <a:pt x="2778" y="7056"/>
                  </a:cubicBezTo>
                  <a:cubicBezTo>
                    <a:pt x="2792" y="7056"/>
                    <a:pt x="2807" y="7056"/>
                    <a:pt x="2822" y="7049"/>
                  </a:cubicBezTo>
                  <a:lnTo>
                    <a:pt x="2822" y="7049"/>
                  </a:lnTo>
                  <a:cubicBezTo>
                    <a:pt x="2836" y="7049"/>
                    <a:pt x="2858" y="7063"/>
                    <a:pt x="2873" y="7071"/>
                  </a:cubicBezTo>
                  <a:cubicBezTo>
                    <a:pt x="2895" y="7086"/>
                    <a:pt x="2917" y="7093"/>
                    <a:pt x="2939" y="7093"/>
                  </a:cubicBezTo>
                  <a:cubicBezTo>
                    <a:pt x="2961" y="7093"/>
                    <a:pt x="2976" y="7086"/>
                    <a:pt x="2990" y="7063"/>
                  </a:cubicBezTo>
                  <a:cubicBezTo>
                    <a:pt x="2998" y="7034"/>
                    <a:pt x="2983" y="6983"/>
                    <a:pt x="2953" y="6946"/>
                  </a:cubicBezTo>
                  <a:cubicBezTo>
                    <a:pt x="2961" y="6954"/>
                    <a:pt x="2976" y="6961"/>
                    <a:pt x="2990" y="6968"/>
                  </a:cubicBezTo>
                  <a:cubicBezTo>
                    <a:pt x="3071" y="7020"/>
                    <a:pt x="3071" y="7056"/>
                    <a:pt x="3063" y="7093"/>
                  </a:cubicBezTo>
                  <a:cubicBezTo>
                    <a:pt x="3063" y="7122"/>
                    <a:pt x="3063" y="7144"/>
                    <a:pt x="3078" y="7159"/>
                  </a:cubicBezTo>
                  <a:cubicBezTo>
                    <a:pt x="3100" y="7181"/>
                    <a:pt x="3122" y="7195"/>
                    <a:pt x="3159" y="7195"/>
                  </a:cubicBezTo>
                  <a:cubicBezTo>
                    <a:pt x="3188" y="7195"/>
                    <a:pt x="3225" y="7181"/>
                    <a:pt x="3261" y="7159"/>
                  </a:cubicBezTo>
                  <a:cubicBezTo>
                    <a:pt x="3335" y="7115"/>
                    <a:pt x="3408" y="7086"/>
                    <a:pt x="3474" y="7086"/>
                  </a:cubicBezTo>
                  <a:cubicBezTo>
                    <a:pt x="3496" y="7086"/>
                    <a:pt x="3510" y="7093"/>
                    <a:pt x="3532" y="7093"/>
                  </a:cubicBezTo>
                  <a:cubicBezTo>
                    <a:pt x="3635" y="7115"/>
                    <a:pt x="3781" y="7173"/>
                    <a:pt x="3840" y="7203"/>
                  </a:cubicBezTo>
                  <a:cubicBezTo>
                    <a:pt x="3862" y="7217"/>
                    <a:pt x="3906" y="7232"/>
                    <a:pt x="3950" y="7247"/>
                  </a:cubicBezTo>
                  <a:cubicBezTo>
                    <a:pt x="4038" y="7276"/>
                    <a:pt x="4207" y="7327"/>
                    <a:pt x="4221" y="7371"/>
                  </a:cubicBezTo>
                  <a:cubicBezTo>
                    <a:pt x="4309" y="7577"/>
                    <a:pt x="4382" y="7679"/>
                    <a:pt x="4448" y="7686"/>
                  </a:cubicBezTo>
                  <a:cubicBezTo>
                    <a:pt x="4463" y="7686"/>
                    <a:pt x="4478" y="7686"/>
                    <a:pt x="4485" y="7686"/>
                  </a:cubicBezTo>
                  <a:cubicBezTo>
                    <a:pt x="4558" y="7686"/>
                    <a:pt x="4617" y="7650"/>
                    <a:pt x="4675" y="7613"/>
                  </a:cubicBezTo>
                  <a:cubicBezTo>
                    <a:pt x="4683" y="7606"/>
                    <a:pt x="4690" y="7606"/>
                    <a:pt x="4705" y="7606"/>
                  </a:cubicBezTo>
                  <a:cubicBezTo>
                    <a:pt x="4734" y="7606"/>
                    <a:pt x="4771" y="7642"/>
                    <a:pt x="4785" y="7650"/>
                  </a:cubicBezTo>
                  <a:cubicBezTo>
                    <a:pt x="4800" y="7672"/>
                    <a:pt x="4800" y="7672"/>
                    <a:pt x="4800" y="7672"/>
                  </a:cubicBezTo>
                  <a:cubicBezTo>
                    <a:pt x="4822" y="7657"/>
                    <a:pt x="4822" y="7657"/>
                    <a:pt x="4822" y="7657"/>
                  </a:cubicBezTo>
                  <a:cubicBezTo>
                    <a:pt x="4902" y="7606"/>
                    <a:pt x="4902" y="7606"/>
                    <a:pt x="4902" y="7606"/>
                  </a:cubicBezTo>
                  <a:cubicBezTo>
                    <a:pt x="4925" y="7613"/>
                    <a:pt x="4969" y="7628"/>
                    <a:pt x="5005" y="7628"/>
                  </a:cubicBezTo>
                  <a:cubicBezTo>
                    <a:pt x="5034" y="7628"/>
                    <a:pt x="5057" y="7620"/>
                    <a:pt x="5071" y="7606"/>
                  </a:cubicBezTo>
                  <a:cubicBezTo>
                    <a:pt x="5093" y="7569"/>
                    <a:pt x="5093" y="7525"/>
                    <a:pt x="5086" y="7503"/>
                  </a:cubicBezTo>
                  <a:cubicBezTo>
                    <a:pt x="5086" y="7474"/>
                    <a:pt x="5086" y="7474"/>
                    <a:pt x="5086" y="7474"/>
                  </a:cubicBezTo>
                  <a:cubicBezTo>
                    <a:pt x="5064" y="7474"/>
                    <a:pt x="5064" y="7474"/>
                    <a:pt x="5064" y="7474"/>
                  </a:cubicBezTo>
                  <a:cubicBezTo>
                    <a:pt x="4976" y="7467"/>
                    <a:pt x="4910" y="7445"/>
                    <a:pt x="4881" y="7422"/>
                  </a:cubicBezTo>
                  <a:cubicBezTo>
                    <a:pt x="4866" y="7415"/>
                    <a:pt x="4851" y="7408"/>
                    <a:pt x="4837" y="7401"/>
                  </a:cubicBezTo>
                  <a:cubicBezTo>
                    <a:pt x="4822" y="7393"/>
                    <a:pt x="4807" y="7379"/>
                    <a:pt x="4800" y="7379"/>
                  </a:cubicBezTo>
                  <a:cubicBezTo>
                    <a:pt x="4800" y="7371"/>
                    <a:pt x="4807" y="7371"/>
                    <a:pt x="4807" y="7371"/>
                  </a:cubicBezTo>
                  <a:cubicBezTo>
                    <a:pt x="4837" y="7342"/>
                    <a:pt x="4925" y="7327"/>
                    <a:pt x="4983" y="7313"/>
                  </a:cubicBezTo>
                  <a:cubicBezTo>
                    <a:pt x="4998" y="7313"/>
                    <a:pt x="5005" y="7313"/>
                    <a:pt x="5020" y="7313"/>
                  </a:cubicBezTo>
                  <a:cubicBezTo>
                    <a:pt x="5093" y="7298"/>
                    <a:pt x="5181" y="7247"/>
                    <a:pt x="5225" y="7188"/>
                  </a:cubicBezTo>
                  <a:cubicBezTo>
                    <a:pt x="5232" y="7173"/>
                    <a:pt x="5232" y="7173"/>
                    <a:pt x="5232" y="7173"/>
                  </a:cubicBezTo>
                  <a:cubicBezTo>
                    <a:pt x="5262" y="7144"/>
                    <a:pt x="5291" y="7108"/>
                    <a:pt x="5328" y="7108"/>
                  </a:cubicBezTo>
                  <a:cubicBezTo>
                    <a:pt x="5342" y="7108"/>
                    <a:pt x="5364" y="7115"/>
                    <a:pt x="5379" y="7129"/>
                  </a:cubicBezTo>
                  <a:cubicBezTo>
                    <a:pt x="5416" y="7144"/>
                    <a:pt x="5452" y="7159"/>
                    <a:pt x="5489" y="7159"/>
                  </a:cubicBezTo>
                  <a:cubicBezTo>
                    <a:pt x="5562" y="7159"/>
                    <a:pt x="5621" y="7115"/>
                    <a:pt x="5665" y="7078"/>
                  </a:cubicBezTo>
                  <a:cubicBezTo>
                    <a:pt x="5679" y="7063"/>
                    <a:pt x="5701" y="7056"/>
                    <a:pt x="5716" y="7056"/>
                  </a:cubicBezTo>
                  <a:cubicBezTo>
                    <a:pt x="5745" y="7056"/>
                    <a:pt x="5782" y="7078"/>
                    <a:pt x="5789" y="7100"/>
                  </a:cubicBezTo>
                  <a:cubicBezTo>
                    <a:pt x="5797" y="7115"/>
                    <a:pt x="5811" y="7129"/>
                    <a:pt x="5833" y="7129"/>
                  </a:cubicBezTo>
                  <a:cubicBezTo>
                    <a:pt x="5870" y="7129"/>
                    <a:pt x="5899" y="7086"/>
                    <a:pt x="5914" y="7071"/>
                  </a:cubicBezTo>
                  <a:cubicBezTo>
                    <a:pt x="5929" y="7041"/>
                    <a:pt x="5980" y="6954"/>
                    <a:pt x="5936" y="6851"/>
                  </a:cubicBezTo>
                  <a:cubicBezTo>
                    <a:pt x="5914" y="6800"/>
                    <a:pt x="5892" y="6763"/>
                    <a:pt x="5877" y="6734"/>
                  </a:cubicBezTo>
                  <a:cubicBezTo>
                    <a:pt x="5833" y="6660"/>
                    <a:pt x="5841" y="6660"/>
                    <a:pt x="5855" y="6646"/>
                  </a:cubicBezTo>
                  <a:cubicBezTo>
                    <a:pt x="5870" y="6639"/>
                    <a:pt x="5884" y="6631"/>
                    <a:pt x="5899" y="6624"/>
                  </a:cubicBezTo>
                  <a:cubicBezTo>
                    <a:pt x="5929" y="6617"/>
                    <a:pt x="5958" y="6602"/>
                    <a:pt x="5965" y="6572"/>
                  </a:cubicBezTo>
                  <a:cubicBezTo>
                    <a:pt x="5965" y="6536"/>
                    <a:pt x="5943" y="6514"/>
                    <a:pt x="5907" y="6477"/>
                  </a:cubicBezTo>
                  <a:cubicBezTo>
                    <a:pt x="5833" y="6411"/>
                    <a:pt x="5841" y="6404"/>
                    <a:pt x="5862" y="6331"/>
                  </a:cubicBezTo>
                  <a:cubicBezTo>
                    <a:pt x="5870" y="6316"/>
                    <a:pt x="5877" y="6301"/>
                    <a:pt x="5877" y="6279"/>
                  </a:cubicBezTo>
                  <a:cubicBezTo>
                    <a:pt x="5899" y="6213"/>
                    <a:pt x="5870" y="6162"/>
                    <a:pt x="5848" y="6126"/>
                  </a:cubicBezTo>
                  <a:cubicBezTo>
                    <a:pt x="5826" y="6089"/>
                    <a:pt x="5826" y="6089"/>
                    <a:pt x="5833" y="6082"/>
                  </a:cubicBezTo>
                  <a:cubicBezTo>
                    <a:pt x="5914" y="6016"/>
                    <a:pt x="5980" y="5832"/>
                    <a:pt x="5980" y="5730"/>
                  </a:cubicBezTo>
                  <a:cubicBezTo>
                    <a:pt x="5980" y="5671"/>
                    <a:pt x="5943" y="5598"/>
                    <a:pt x="5899" y="5510"/>
                  </a:cubicBezTo>
                  <a:cubicBezTo>
                    <a:pt x="5855" y="5422"/>
                    <a:pt x="5804" y="5320"/>
                    <a:pt x="5804" y="5239"/>
                  </a:cubicBezTo>
                  <a:cubicBezTo>
                    <a:pt x="5789" y="5092"/>
                    <a:pt x="5804" y="5041"/>
                    <a:pt x="5804" y="5041"/>
                  </a:cubicBezTo>
                  <a:cubicBezTo>
                    <a:pt x="5804" y="5034"/>
                    <a:pt x="5804" y="5034"/>
                    <a:pt x="5804" y="5034"/>
                  </a:cubicBezTo>
                  <a:cubicBezTo>
                    <a:pt x="5797" y="5019"/>
                    <a:pt x="5797" y="5019"/>
                    <a:pt x="5797" y="5019"/>
                  </a:cubicBezTo>
                  <a:cubicBezTo>
                    <a:pt x="5782" y="4997"/>
                    <a:pt x="5657" y="4799"/>
                    <a:pt x="5584" y="4748"/>
                  </a:cubicBezTo>
                  <a:lnTo>
                    <a:pt x="5577" y="4748"/>
                  </a:lnTo>
                  <a:lnTo>
                    <a:pt x="5584" y="4741"/>
                  </a:lnTo>
                  <a:cubicBezTo>
                    <a:pt x="5599" y="4719"/>
                    <a:pt x="5635" y="4689"/>
                    <a:pt x="5665" y="4631"/>
                  </a:cubicBezTo>
                  <a:cubicBezTo>
                    <a:pt x="5723" y="4499"/>
                    <a:pt x="5804" y="4418"/>
                    <a:pt x="5826" y="4418"/>
                  </a:cubicBezTo>
                  <a:cubicBezTo>
                    <a:pt x="5833" y="4426"/>
                    <a:pt x="5841" y="4433"/>
                    <a:pt x="5855" y="4440"/>
                  </a:cubicBezTo>
                  <a:cubicBezTo>
                    <a:pt x="5877" y="4455"/>
                    <a:pt x="5899" y="4477"/>
                    <a:pt x="5936" y="4477"/>
                  </a:cubicBezTo>
                  <a:cubicBezTo>
                    <a:pt x="5958" y="4477"/>
                    <a:pt x="5980" y="4470"/>
                    <a:pt x="6009" y="4448"/>
                  </a:cubicBezTo>
                  <a:cubicBezTo>
                    <a:pt x="6075" y="4389"/>
                    <a:pt x="6126" y="4374"/>
                    <a:pt x="6163" y="4360"/>
                  </a:cubicBezTo>
                  <a:cubicBezTo>
                    <a:pt x="6185" y="4360"/>
                    <a:pt x="6192" y="4345"/>
                    <a:pt x="6200" y="4330"/>
                  </a:cubicBezTo>
                  <a:cubicBezTo>
                    <a:pt x="6207" y="4308"/>
                    <a:pt x="6192" y="4294"/>
                    <a:pt x="6178" y="4286"/>
                  </a:cubicBezTo>
                  <a:cubicBezTo>
                    <a:pt x="6170" y="4279"/>
                    <a:pt x="6163" y="4264"/>
                    <a:pt x="6163" y="4264"/>
                  </a:cubicBezTo>
                  <a:cubicBezTo>
                    <a:pt x="6163" y="4257"/>
                    <a:pt x="6163" y="4257"/>
                    <a:pt x="6170" y="4257"/>
                  </a:cubicBezTo>
                  <a:cubicBezTo>
                    <a:pt x="6185" y="4257"/>
                    <a:pt x="6200" y="4264"/>
                    <a:pt x="6214" y="4279"/>
                  </a:cubicBezTo>
                  <a:cubicBezTo>
                    <a:pt x="6222" y="4286"/>
                    <a:pt x="6236" y="4286"/>
                    <a:pt x="6243" y="4286"/>
                  </a:cubicBezTo>
                  <a:cubicBezTo>
                    <a:pt x="6265" y="4286"/>
                    <a:pt x="6288" y="4272"/>
                    <a:pt x="6302" y="4235"/>
                  </a:cubicBezTo>
                  <a:cubicBezTo>
                    <a:pt x="6331" y="4177"/>
                    <a:pt x="6346" y="4059"/>
                    <a:pt x="6295" y="3993"/>
                  </a:cubicBezTo>
                  <a:cubicBezTo>
                    <a:pt x="6273" y="3971"/>
                    <a:pt x="6265" y="3964"/>
                    <a:pt x="6265" y="3957"/>
                  </a:cubicBezTo>
                  <a:lnTo>
                    <a:pt x="6273" y="3957"/>
                  </a:lnTo>
                  <a:cubicBezTo>
                    <a:pt x="6280" y="3957"/>
                    <a:pt x="6288" y="3957"/>
                    <a:pt x="6302" y="3957"/>
                  </a:cubicBezTo>
                  <a:cubicBezTo>
                    <a:pt x="6317" y="3898"/>
                    <a:pt x="6317" y="3898"/>
                    <a:pt x="6317" y="3898"/>
                  </a:cubicBezTo>
                  <a:cubicBezTo>
                    <a:pt x="6265" y="3869"/>
                    <a:pt x="6163" y="3803"/>
                    <a:pt x="6178" y="3751"/>
                  </a:cubicBezTo>
                  <a:cubicBezTo>
                    <a:pt x="6192" y="3686"/>
                    <a:pt x="6200" y="3686"/>
                    <a:pt x="6214" y="3686"/>
                  </a:cubicBezTo>
                  <a:cubicBezTo>
                    <a:pt x="6229" y="3686"/>
                    <a:pt x="6243" y="3686"/>
                    <a:pt x="6273" y="3693"/>
                  </a:cubicBezTo>
                  <a:cubicBezTo>
                    <a:pt x="6317" y="3708"/>
                    <a:pt x="6346" y="3729"/>
                    <a:pt x="6375" y="3759"/>
                  </a:cubicBezTo>
                  <a:cubicBezTo>
                    <a:pt x="6397" y="3773"/>
                    <a:pt x="6411" y="3795"/>
                    <a:pt x="6433" y="3795"/>
                  </a:cubicBezTo>
                  <a:cubicBezTo>
                    <a:pt x="6448" y="3795"/>
                    <a:pt x="6455" y="3788"/>
                    <a:pt x="6470" y="3773"/>
                  </a:cubicBezTo>
                  <a:cubicBezTo>
                    <a:pt x="6484" y="3766"/>
                    <a:pt x="6499" y="3759"/>
                    <a:pt x="6536" y="3759"/>
                  </a:cubicBezTo>
                  <a:cubicBezTo>
                    <a:pt x="6543" y="3759"/>
                    <a:pt x="6550" y="3759"/>
                    <a:pt x="6565" y="3766"/>
                  </a:cubicBezTo>
                  <a:cubicBezTo>
                    <a:pt x="6572" y="3766"/>
                    <a:pt x="6580" y="3766"/>
                    <a:pt x="6587" y="3766"/>
                  </a:cubicBezTo>
                  <a:cubicBezTo>
                    <a:pt x="6616" y="3766"/>
                    <a:pt x="6653" y="3737"/>
                    <a:pt x="6675" y="3708"/>
                  </a:cubicBezTo>
                  <a:cubicBezTo>
                    <a:pt x="6697" y="3671"/>
                    <a:pt x="6697" y="3627"/>
                    <a:pt x="6668" y="3583"/>
                  </a:cubicBezTo>
                  <a:cubicBezTo>
                    <a:pt x="6638" y="3532"/>
                    <a:pt x="6602" y="3524"/>
                    <a:pt x="6580" y="3517"/>
                  </a:cubicBezTo>
                  <a:cubicBezTo>
                    <a:pt x="6565" y="3517"/>
                    <a:pt x="6558" y="3510"/>
                    <a:pt x="6543" y="3495"/>
                  </a:cubicBezTo>
                  <a:cubicBezTo>
                    <a:pt x="6514" y="3429"/>
                    <a:pt x="6521" y="3363"/>
                    <a:pt x="6558" y="3304"/>
                  </a:cubicBezTo>
                  <a:cubicBezTo>
                    <a:pt x="6594" y="3253"/>
                    <a:pt x="6594" y="3187"/>
                    <a:pt x="6565" y="3129"/>
                  </a:cubicBezTo>
                  <a:cubicBezTo>
                    <a:pt x="6580" y="3121"/>
                    <a:pt x="6594" y="3114"/>
                    <a:pt x="6602" y="3085"/>
                  </a:cubicBezTo>
                  <a:cubicBezTo>
                    <a:pt x="6616" y="3026"/>
                    <a:pt x="6602" y="2799"/>
                    <a:pt x="6470" y="2667"/>
                  </a:cubicBezTo>
                  <a:cubicBezTo>
                    <a:pt x="6346" y="2542"/>
                    <a:pt x="6273" y="2506"/>
                    <a:pt x="6185" y="2477"/>
                  </a:cubicBezTo>
                  <a:cubicBezTo>
                    <a:pt x="6156" y="2469"/>
                    <a:pt x="6156" y="2462"/>
                    <a:pt x="6156" y="2432"/>
                  </a:cubicBezTo>
                  <a:cubicBezTo>
                    <a:pt x="6156" y="2418"/>
                    <a:pt x="6156" y="2403"/>
                    <a:pt x="6148" y="2389"/>
                  </a:cubicBezTo>
                  <a:cubicBezTo>
                    <a:pt x="6141" y="2344"/>
                    <a:pt x="6104" y="2337"/>
                    <a:pt x="6082" y="2322"/>
                  </a:cubicBezTo>
                  <a:cubicBezTo>
                    <a:pt x="6075" y="2322"/>
                    <a:pt x="6060" y="2315"/>
                    <a:pt x="6060" y="2308"/>
                  </a:cubicBezTo>
                  <a:cubicBezTo>
                    <a:pt x="6053" y="2301"/>
                    <a:pt x="6068" y="2279"/>
                    <a:pt x="6104" y="2249"/>
                  </a:cubicBezTo>
                  <a:cubicBezTo>
                    <a:pt x="6141" y="2227"/>
                    <a:pt x="6156" y="2198"/>
                    <a:pt x="6148" y="2169"/>
                  </a:cubicBezTo>
                  <a:cubicBezTo>
                    <a:pt x="6148" y="2132"/>
                    <a:pt x="6119" y="2103"/>
                    <a:pt x="6068" y="2081"/>
                  </a:cubicBezTo>
                  <a:cubicBezTo>
                    <a:pt x="5987" y="2051"/>
                    <a:pt x="5870" y="1941"/>
                    <a:pt x="5870" y="1861"/>
                  </a:cubicBezTo>
                  <a:cubicBezTo>
                    <a:pt x="5870" y="1824"/>
                    <a:pt x="5877" y="1788"/>
                    <a:pt x="5892" y="1758"/>
                  </a:cubicBezTo>
                  <a:cubicBezTo>
                    <a:pt x="5907" y="1707"/>
                    <a:pt x="5921" y="1656"/>
                    <a:pt x="5884" y="1612"/>
                  </a:cubicBezTo>
                  <a:cubicBezTo>
                    <a:pt x="5848" y="1575"/>
                    <a:pt x="5804" y="1465"/>
                    <a:pt x="5833" y="1414"/>
                  </a:cubicBezTo>
                  <a:cubicBezTo>
                    <a:pt x="5848" y="1377"/>
                    <a:pt x="5877" y="1370"/>
                    <a:pt x="5899" y="1370"/>
                  </a:cubicBezTo>
                  <a:lnTo>
                    <a:pt x="5899" y="1370"/>
                  </a:lnTo>
                  <a:cubicBezTo>
                    <a:pt x="5943" y="1377"/>
                    <a:pt x="5943" y="1377"/>
                    <a:pt x="5943" y="1377"/>
                  </a:cubicBezTo>
                  <a:cubicBezTo>
                    <a:pt x="5936" y="1341"/>
                    <a:pt x="5936" y="1341"/>
                    <a:pt x="5936" y="1341"/>
                  </a:cubicBezTo>
                  <a:cubicBezTo>
                    <a:pt x="5936" y="1304"/>
                    <a:pt x="5921" y="1194"/>
                    <a:pt x="5862" y="1165"/>
                  </a:cubicBezTo>
                  <a:cubicBezTo>
                    <a:pt x="5855" y="1165"/>
                    <a:pt x="5855" y="1165"/>
                    <a:pt x="5855" y="1165"/>
                  </a:cubicBezTo>
                  <a:cubicBezTo>
                    <a:pt x="5819" y="1143"/>
                    <a:pt x="5804" y="1136"/>
                    <a:pt x="5811" y="1084"/>
                  </a:cubicBezTo>
                  <a:cubicBezTo>
                    <a:pt x="5819" y="1033"/>
                    <a:pt x="5811" y="1003"/>
                    <a:pt x="5797" y="974"/>
                  </a:cubicBezTo>
                  <a:cubicBezTo>
                    <a:pt x="5789" y="952"/>
                    <a:pt x="5782" y="930"/>
                    <a:pt x="5782" y="894"/>
                  </a:cubicBezTo>
                  <a:cubicBezTo>
                    <a:pt x="5767" y="820"/>
                    <a:pt x="5723" y="813"/>
                    <a:pt x="5709" y="813"/>
                  </a:cubicBezTo>
                  <a:cubicBezTo>
                    <a:pt x="5672" y="813"/>
                    <a:pt x="5635" y="842"/>
                    <a:pt x="5606" y="894"/>
                  </a:cubicBezTo>
                  <a:cubicBezTo>
                    <a:pt x="5599" y="916"/>
                    <a:pt x="5591" y="938"/>
                    <a:pt x="5591" y="952"/>
                  </a:cubicBezTo>
                  <a:cubicBezTo>
                    <a:pt x="5584" y="974"/>
                    <a:pt x="5577" y="982"/>
                    <a:pt x="5518" y="996"/>
                  </a:cubicBezTo>
                  <a:cubicBezTo>
                    <a:pt x="5503" y="996"/>
                    <a:pt x="5496" y="996"/>
                    <a:pt x="5481" y="996"/>
                  </a:cubicBezTo>
                  <a:cubicBezTo>
                    <a:pt x="5460" y="996"/>
                    <a:pt x="5416" y="996"/>
                    <a:pt x="5416" y="886"/>
                  </a:cubicBezTo>
                  <a:cubicBezTo>
                    <a:pt x="5416" y="842"/>
                    <a:pt x="5393" y="667"/>
                    <a:pt x="5320" y="667"/>
                  </a:cubicBezTo>
                  <a:cubicBezTo>
                    <a:pt x="5313" y="667"/>
                    <a:pt x="5291" y="667"/>
                    <a:pt x="5276" y="689"/>
                  </a:cubicBezTo>
                  <a:cubicBezTo>
                    <a:pt x="5269" y="710"/>
                    <a:pt x="5247" y="732"/>
                    <a:pt x="5232" y="754"/>
                  </a:cubicBezTo>
                  <a:cubicBezTo>
                    <a:pt x="5232" y="740"/>
                    <a:pt x="5240" y="732"/>
                    <a:pt x="5247" y="718"/>
                  </a:cubicBezTo>
                  <a:cubicBezTo>
                    <a:pt x="5262" y="659"/>
                    <a:pt x="5276" y="622"/>
                    <a:pt x="5284" y="601"/>
                  </a:cubicBezTo>
                  <a:cubicBezTo>
                    <a:pt x="5306" y="549"/>
                    <a:pt x="5313" y="535"/>
                    <a:pt x="5298" y="520"/>
                  </a:cubicBezTo>
                  <a:cubicBezTo>
                    <a:pt x="5291" y="498"/>
                    <a:pt x="5276" y="498"/>
                    <a:pt x="5262" y="491"/>
                  </a:cubicBezTo>
                  <a:cubicBezTo>
                    <a:pt x="5262" y="491"/>
                    <a:pt x="5254" y="491"/>
                    <a:pt x="5247" y="483"/>
                  </a:cubicBezTo>
                  <a:cubicBezTo>
                    <a:pt x="5210" y="469"/>
                    <a:pt x="5203" y="447"/>
                    <a:pt x="5210" y="417"/>
                  </a:cubicBezTo>
                  <a:cubicBezTo>
                    <a:pt x="5218" y="381"/>
                    <a:pt x="5203" y="300"/>
                    <a:pt x="5174" y="256"/>
                  </a:cubicBezTo>
                  <a:cubicBezTo>
                    <a:pt x="5152" y="227"/>
                    <a:pt x="5122" y="220"/>
                    <a:pt x="5108" y="220"/>
                  </a:cubicBezTo>
                  <a:cubicBezTo>
                    <a:pt x="5100" y="220"/>
                    <a:pt x="5086" y="220"/>
                    <a:pt x="5079" y="227"/>
                  </a:cubicBezTo>
                  <a:cubicBezTo>
                    <a:pt x="5049" y="234"/>
                    <a:pt x="5027" y="263"/>
                    <a:pt x="5005" y="293"/>
                  </a:cubicBezTo>
                  <a:cubicBezTo>
                    <a:pt x="4991" y="308"/>
                    <a:pt x="4976" y="329"/>
                    <a:pt x="4969" y="329"/>
                  </a:cubicBezTo>
                  <a:cubicBezTo>
                    <a:pt x="4961" y="329"/>
                    <a:pt x="4954" y="322"/>
                    <a:pt x="4939" y="308"/>
                  </a:cubicBezTo>
                  <a:cubicBezTo>
                    <a:pt x="4902" y="271"/>
                    <a:pt x="4881" y="249"/>
                    <a:pt x="4859" y="249"/>
                  </a:cubicBezTo>
                  <a:cubicBezTo>
                    <a:pt x="4837" y="249"/>
                    <a:pt x="4822" y="271"/>
                    <a:pt x="4807" y="293"/>
                  </a:cubicBezTo>
                  <a:cubicBezTo>
                    <a:pt x="4800" y="308"/>
                    <a:pt x="4793" y="315"/>
                    <a:pt x="4785" y="329"/>
                  </a:cubicBezTo>
                  <a:cubicBezTo>
                    <a:pt x="4785" y="315"/>
                    <a:pt x="4785" y="293"/>
                    <a:pt x="4793" y="256"/>
                  </a:cubicBezTo>
                  <a:cubicBezTo>
                    <a:pt x="4807" y="110"/>
                    <a:pt x="4815" y="29"/>
                    <a:pt x="4763" y="7"/>
                  </a:cubicBezTo>
                  <a:cubicBezTo>
                    <a:pt x="4749" y="7"/>
                    <a:pt x="4741" y="0"/>
                    <a:pt x="4727" y="0"/>
                  </a:cubicBezTo>
                  <a:lnTo>
                    <a:pt x="4727" y="36"/>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dirty="0">
                <a:latin typeface="Montserrat" charset="0"/>
              </a:endParaRPr>
            </a:p>
          </p:txBody>
        </p:sp>
        <p:sp>
          <p:nvSpPr>
            <p:cNvPr id="60" name="Freeform 59">
              <a:extLst>
                <a:ext uri="{FF2B5EF4-FFF2-40B4-BE49-F238E27FC236}">
                  <a16:creationId xmlns:a16="http://schemas.microsoft.com/office/drawing/2014/main" id="{2F07555A-0B62-EF49-A118-B0AF84E1D4AF}"/>
                </a:ext>
              </a:extLst>
            </p:cNvPr>
            <p:cNvSpPr>
              <a:spLocks noChangeArrowheads="1"/>
            </p:cNvSpPr>
            <p:nvPr/>
          </p:nvSpPr>
          <p:spPr bwMode="auto">
            <a:xfrm>
              <a:off x="5863572" y="8279562"/>
              <a:ext cx="4125675" cy="4147562"/>
            </a:xfrm>
            <a:custGeom>
              <a:avLst/>
              <a:gdLst>
                <a:gd name="T0" fmla="*/ 2616 w 10735"/>
                <a:gd name="T1" fmla="*/ 10618 h 10919"/>
                <a:gd name="T2" fmla="*/ 2183 w 10735"/>
                <a:gd name="T3" fmla="*/ 10031 h 10919"/>
                <a:gd name="T4" fmla="*/ 1759 w 10735"/>
                <a:gd name="T5" fmla="*/ 10039 h 10919"/>
                <a:gd name="T6" fmla="*/ 2008 w 10735"/>
                <a:gd name="T7" fmla="*/ 9584 h 10919"/>
                <a:gd name="T8" fmla="*/ 2513 w 10735"/>
                <a:gd name="T9" fmla="*/ 9130 h 10919"/>
                <a:gd name="T10" fmla="*/ 2433 w 10735"/>
                <a:gd name="T11" fmla="*/ 7760 h 10919"/>
                <a:gd name="T12" fmla="*/ 2660 w 10735"/>
                <a:gd name="T13" fmla="*/ 6932 h 10919"/>
                <a:gd name="T14" fmla="*/ 2814 w 10735"/>
                <a:gd name="T15" fmla="*/ 6258 h 10919"/>
                <a:gd name="T16" fmla="*/ 3252 w 10735"/>
                <a:gd name="T17" fmla="*/ 6082 h 10919"/>
                <a:gd name="T18" fmla="*/ 2784 w 10735"/>
                <a:gd name="T19" fmla="*/ 4917 h 10919"/>
                <a:gd name="T20" fmla="*/ 2572 w 10735"/>
                <a:gd name="T21" fmla="*/ 3847 h 10919"/>
                <a:gd name="T22" fmla="*/ 2161 w 10735"/>
                <a:gd name="T23" fmla="*/ 3561 h 10919"/>
                <a:gd name="T24" fmla="*/ 1927 w 10735"/>
                <a:gd name="T25" fmla="*/ 3056 h 10919"/>
                <a:gd name="T26" fmla="*/ 1531 w 10735"/>
                <a:gd name="T27" fmla="*/ 2843 h 10919"/>
                <a:gd name="T28" fmla="*/ 1223 w 10735"/>
                <a:gd name="T29" fmla="*/ 2667 h 10919"/>
                <a:gd name="T30" fmla="*/ 960 w 10735"/>
                <a:gd name="T31" fmla="*/ 2594 h 10919"/>
                <a:gd name="T32" fmla="*/ 879 w 10735"/>
                <a:gd name="T33" fmla="*/ 3048 h 10919"/>
                <a:gd name="T34" fmla="*/ 286 w 10735"/>
                <a:gd name="T35" fmla="*/ 3298 h 10919"/>
                <a:gd name="T36" fmla="*/ 300 w 10735"/>
                <a:gd name="T37" fmla="*/ 2865 h 10919"/>
                <a:gd name="T38" fmla="*/ 51 w 10735"/>
                <a:gd name="T39" fmla="*/ 1590 h 10919"/>
                <a:gd name="T40" fmla="*/ 659 w 10735"/>
                <a:gd name="T41" fmla="*/ 1363 h 10919"/>
                <a:gd name="T42" fmla="*/ 1121 w 10735"/>
                <a:gd name="T43" fmla="*/ 1062 h 10919"/>
                <a:gd name="T44" fmla="*/ 1590 w 10735"/>
                <a:gd name="T45" fmla="*/ 879 h 10919"/>
                <a:gd name="T46" fmla="*/ 2220 w 10735"/>
                <a:gd name="T47" fmla="*/ 286 h 10919"/>
                <a:gd name="T48" fmla="*/ 2506 w 10735"/>
                <a:gd name="T49" fmla="*/ 29 h 10919"/>
                <a:gd name="T50" fmla="*/ 3098 w 10735"/>
                <a:gd name="T51" fmla="*/ 542 h 10919"/>
                <a:gd name="T52" fmla="*/ 3523 w 10735"/>
                <a:gd name="T53" fmla="*/ 1062 h 10919"/>
                <a:gd name="T54" fmla="*/ 3919 w 10735"/>
                <a:gd name="T55" fmla="*/ 1004 h 10919"/>
                <a:gd name="T56" fmla="*/ 4007 w 10735"/>
                <a:gd name="T57" fmla="*/ 506 h 10919"/>
                <a:gd name="T58" fmla="*/ 4622 w 10735"/>
                <a:gd name="T59" fmla="*/ 623 h 10919"/>
                <a:gd name="T60" fmla="*/ 4886 w 10735"/>
                <a:gd name="T61" fmla="*/ 872 h 10919"/>
                <a:gd name="T62" fmla="*/ 5128 w 10735"/>
                <a:gd name="T63" fmla="*/ 51 h 10919"/>
                <a:gd name="T64" fmla="*/ 5560 w 10735"/>
                <a:gd name="T65" fmla="*/ 410 h 10919"/>
                <a:gd name="T66" fmla="*/ 6286 w 10735"/>
                <a:gd name="T67" fmla="*/ 352 h 10919"/>
                <a:gd name="T68" fmla="*/ 6682 w 10735"/>
                <a:gd name="T69" fmla="*/ 901 h 10919"/>
                <a:gd name="T70" fmla="*/ 7158 w 10735"/>
                <a:gd name="T71" fmla="*/ 1546 h 10919"/>
                <a:gd name="T72" fmla="*/ 7539 w 10735"/>
                <a:gd name="T73" fmla="*/ 2293 h 10919"/>
                <a:gd name="T74" fmla="*/ 7700 w 10735"/>
                <a:gd name="T75" fmla="*/ 2909 h 10919"/>
                <a:gd name="T76" fmla="*/ 8477 w 10735"/>
                <a:gd name="T77" fmla="*/ 3803 h 10919"/>
                <a:gd name="T78" fmla="*/ 9708 w 10735"/>
                <a:gd name="T79" fmla="*/ 4778 h 10919"/>
                <a:gd name="T80" fmla="*/ 10331 w 10735"/>
                <a:gd name="T81" fmla="*/ 5239 h 10919"/>
                <a:gd name="T82" fmla="*/ 10682 w 10735"/>
                <a:gd name="T83" fmla="*/ 5884 h 10919"/>
                <a:gd name="T84" fmla="*/ 10360 w 10735"/>
                <a:gd name="T85" fmla="*/ 6419 h 10919"/>
                <a:gd name="T86" fmla="*/ 9869 w 10735"/>
                <a:gd name="T87" fmla="*/ 6390 h 10919"/>
                <a:gd name="T88" fmla="*/ 9100 w 10735"/>
                <a:gd name="T89" fmla="*/ 7379 h 10919"/>
                <a:gd name="T90" fmla="*/ 8418 w 10735"/>
                <a:gd name="T91" fmla="*/ 8031 h 10919"/>
                <a:gd name="T92" fmla="*/ 8836 w 10735"/>
                <a:gd name="T93" fmla="*/ 9174 h 10919"/>
                <a:gd name="T94" fmla="*/ 9165 w 10735"/>
                <a:gd name="T95" fmla="*/ 9812 h 10919"/>
                <a:gd name="T96" fmla="*/ 8557 w 10735"/>
                <a:gd name="T97" fmla="*/ 9636 h 10919"/>
                <a:gd name="T98" fmla="*/ 8081 w 10735"/>
                <a:gd name="T99" fmla="*/ 9526 h 10919"/>
                <a:gd name="T100" fmla="*/ 7334 w 10735"/>
                <a:gd name="T101" fmla="*/ 9350 h 10919"/>
                <a:gd name="T102" fmla="*/ 6938 w 10735"/>
                <a:gd name="T103" fmla="*/ 9665 h 10919"/>
                <a:gd name="T104" fmla="*/ 5883 w 10735"/>
                <a:gd name="T105" fmla="*/ 9973 h 10919"/>
                <a:gd name="T106" fmla="*/ 5516 w 10735"/>
                <a:gd name="T107" fmla="*/ 10302 h 10919"/>
                <a:gd name="T108" fmla="*/ 4989 w 10735"/>
                <a:gd name="T109" fmla="*/ 10369 h 10919"/>
                <a:gd name="T110" fmla="*/ 4256 w 10735"/>
                <a:gd name="T111" fmla="*/ 10017 h 10919"/>
                <a:gd name="T112" fmla="*/ 3355 w 10735"/>
                <a:gd name="T113" fmla="*/ 9951 h 10919"/>
                <a:gd name="T114" fmla="*/ 2784 w 10735"/>
                <a:gd name="T115" fmla="*/ 10918 h 109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735" h="10919">
                  <a:moveTo>
                    <a:pt x="2784" y="10918"/>
                  </a:moveTo>
                  <a:lnTo>
                    <a:pt x="2784" y="10918"/>
                  </a:lnTo>
                  <a:cubicBezTo>
                    <a:pt x="2755" y="10918"/>
                    <a:pt x="2733" y="10911"/>
                    <a:pt x="2726" y="10889"/>
                  </a:cubicBezTo>
                  <a:cubicBezTo>
                    <a:pt x="2718" y="10860"/>
                    <a:pt x="2733" y="10830"/>
                    <a:pt x="2762" y="10808"/>
                  </a:cubicBezTo>
                  <a:cubicBezTo>
                    <a:pt x="2792" y="10786"/>
                    <a:pt x="2799" y="10750"/>
                    <a:pt x="2806" y="10684"/>
                  </a:cubicBezTo>
                  <a:cubicBezTo>
                    <a:pt x="2814" y="10662"/>
                    <a:pt x="2814" y="10640"/>
                    <a:pt x="2821" y="10618"/>
                  </a:cubicBezTo>
                  <a:cubicBezTo>
                    <a:pt x="2828" y="10574"/>
                    <a:pt x="2814" y="10552"/>
                    <a:pt x="2806" y="10537"/>
                  </a:cubicBezTo>
                  <a:cubicBezTo>
                    <a:pt x="2799" y="10530"/>
                    <a:pt x="2784" y="10522"/>
                    <a:pt x="2777" y="10522"/>
                  </a:cubicBezTo>
                  <a:cubicBezTo>
                    <a:pt x="2762" y="10522"/>
                    <a:pt x="2755" y="10530"/>
                    <a:pt x="2748" y="10544"/>
                  </a:cubicBezTo>
                  <a:cubicBezTo>
                    <a:pt x="2733" y="10588"/>
                    <a:pt x="2682" y="10618"/>
                    <a:pt x="2616" y="10618"/>
                  </a:cubicBezTo>
                  <a:cubicBezTo>
                    <a:pt x="2587" y="10618"/>
                    <a:pt x="2557" y="10610"/>
                    <a:pt x="2535" y="10596"/>
                  </a:cubicBezTo>
                  <a:cubicBezTo>
                    <a:pt x="2506" y="10581"/>
                    <a:pt x="2491" y="10552"/>
                    <a:pt x="2484" y="10522"/>
                  </a:cubicBezTo>
                  <a:cubicBezTo>
                    <a:pt x="2477" y="10486"/>
                    <a:pt x="2499" y="10449"/>
                    <a:pt x="2528" y="10412"/>
                  </a:cubicBezTo>
                  <a:cubicBezTo>
                    <a:pt x="2557" y="10391"/>
                    <a:pt x="2542" y="10339"/>
                    <a:pt x="2535" y="10325"/>
                  </a:cubicBezTo>
                  <a:cubicBezTo>
                    <a:pt x="2513" y="10281"/>
                    <a:pt x="2484" y="10244"/>
                    <a:pt x="2477" y="10244"/>
                  </a:cubicBezTo>
                  <a:cubicBezTo>
                    <a:pt x="2469" y="10251"/>
                    <a:pt x="2462" y="10251"/>
                    <a:pt x="2454" y="10251"/>
                  </a:cubicBezTo>
                  <a:cubicBezTo>
                    <a:pt x="2411" y="10251"/>
                    <a:pt x="2345" y="10229"/>
                    <a:pt x="2301" y="10185"/>
                  </a:cubicBezTo>
                  <a:cubicBezTo>
                    <a:pt x="2271" y="10156"/>
                    <a:pt x="2257" y="10112"/>
                    <a:pt x="2242" y="10083"/>
                  </a:cubicBezTo>
                  <a:cubicBezTo>
                    <a:pt x="2235" y="10068"/>
                    <a:pt x="2228" y="10046"/>
                    <a:pt x="2220" y="10039"/>
                  </a:cubicBezTo>
                  <a:cubicBezTo>
                    <a:pt x="2220" y="10039"/>
                    <a:pt x="2220" y="10031"/>
                    <a:pt x="2183" y="10031"/>
                  </a:cubicBezTo>
                  <a:cubicBezTo>
                    <a:pt x="2147" y="10031"/>
                    <a:pt x="2096" y="10039"/>
                    <a:pt x="2052" y="10046"/>
                  </a:cubicBezTo>
                  <a:cubicBezTo>
                    <a:pt x="2037" y="10053"/>
                    <a:pt x="2022" y="10053"/>
                    <a:pt x="2015" y="10053"/>
                  </a:cubicBezTo>
                  <a:cubicBezTo>
                    <a:pt x="2000" y="10053"/>
                    <a:pt x="1993" y="10053"/>
                    <a:pt x="1986" y="10053"/>
                  </a:cubicBezTo>
                  <a:cubicBezTo>
                    <a:pt x="1964" y="10053"/>
                    <a:pt x="1942" y="10046"/>
                    <a:pt x="1927" y="10024"/>
                  </a:cubicBezTo>
                  <a:cubicBezTo>
                    <a:pt x="1905" y="10002"/>
                    <a:pt x="1905" y="9966"/>
                    <a:pt x="1912" y="9922"/>
                  </a:cubicBezTo>
                  <a:cubicBezTo>
                    <a:pt x="1920" y="9907"/>
                    <a:pt x="1920" y="9892"/>
                    <a:pt x="1912" y="9878"/>
                  </a:cubicBezTo>
                  <a:cubicBezTo>
                    <a:pt x="1898" y="9870"/>
                    <a:pt x="1876" y="9856"/>
                    <a:pt x="1854" y="9856"/>
                  </a:cubicBezTo>
                  <a:cubicBezTo>
                    <a:pt x="1839" y="9856"/>
                    <a:pt x="1824" y="9863"/>
                    <a:pt x="1817" y="9870"/>
                  </a:cubicBezTo>
                  <a:cubicBezTo>
                    <a:pt x="1780" y="9892"/>
                    <a:pt x="1759" y="9980"/>
                    <a:pt x="1751" y="10017"/>
                  </a:cubicBezTo>
                  <a:lnTo>
                    <a:pt x="1759" y="10039"/>
                  </a:lnTo>
                  <a:cubicBezTo>
                    <a:pt x="1737" y="10039"/>
                    <a:pt x="1737" y="10039"/>
                    <a:pt x="1737" y="10039"/>
                  </a:cubicBezTo>
                  <a:cubicBezTo>
                    <a:pt x="1685" y="10031"/>
                    <a:pt x="1582" y="10017"/>
                    <a:pt x="1539" y="9988"/>
                  </a:cubicBezTo>
                  <a:cubicBezTo>
                    <a:pt x="1524" y="9973"/>
                    <a:pt x="1509" y="9966"/>
                    <a:pt x="1495" y="9958"/>
                  </a:cubicBezTo>
                  <a:cubicBezTo>
                    <a:pt x="1458" y="9943"/>
                    <a:pt x="1436" y="9929"/>
                    <a:pt x="1436" y="9900"/>
                  </a:cubicBezTo>
                  <a:cubicBezTo>
                    <a:pt x="1429" y="9885"/>
                    <a:pt x="1443" y="9870"/>
                    <a:pt x="1451" y="9856"/>
                  </a:cubicBezTo>
                  <a:cubicBezTo>
                    <a:pt x="1495" y="9819"/>
                    <a:pt x="1582" y="9804"/>
                    <a:pt x="1656" y="9790"/>
                  </a:cubicBezTo>
                  <a:cubicBezTo>
                    <a:pt x="1685" y="9790"/>
                    <a:pt x="1685" y="9790"/>
                    <a:pt x="1685" y="9790"/>
                  </a:cubicBezTo>
                  <a:cubicBezTo>
                    <a:pt x="1751" y="9775"/>
                    <a:pt x="1832" y="9731"/>
                    <a:pt x="1876" y="9680"/>
                  </a:cubicBezTo>
                  <a:cubicBezTo>
                    <a:pt x="1883" y="9672"/>
                    <a:pt x="1883" y="9672"/>
                    <a:pt x="1883" y="9672"/>
                  </a:cubicBezTo>
                  <a:cubicBezTo>
                    <a:pt x="1912" y="9629"/>
                    <a:pt x="1949" y="9584"/>
                    <a:pt x="2008" y="9584"/>
                  </a:cubicBezTo>
                  <a:cubicBezTo>
                    <a:pt x="2030" y="9584"/>
                    <a:pt x="2059" y="9592"/>
                    <a:pt x="2081" y="9607"/>
                  </a:cubicBezTo>
                  <a:cubicBezTo>
                    <a:pt x="2110" y="9621"/>
                    <a:pt x="2140" y="9629"/>
                    <a:pt x="2169" y="9629"/>
                  </a:cubicBezTo>
                  <a:cubicBezTo>
                    <a:pt x="2228" y="9629"/>
                    <a:pt x="2279" y="9592"/>
                    <a:pt x="2315" y="9562"/>
                  </a:cubicBezTo>
                  <a:cubicBezTo>
                    <a:pt x="2337" y="9541"/>
                    <a:pt x="2367" y="9533"/>
                    <a:pt x="2396" y="9533"/>
                  </a:cubicBezTo>
                  <a:cubicBezTo>
                    <a:pt x="2447" y="9533"/>
                    <a:pt x="2491" y="9570"/>
                    <a:pt x="2513" y="9599"/>
                  </a:cubicBezTo>
                  <a:lnTo>
                    <a:pt x="2513" y="9599"/>
                  </a:lnTo>
                  <a:cubicBezTo>
                    <a:pt x="2521" y="9599"/>
                    <a:pt x="2535" y="9592"/>
                    <a:pt x="2550" y="9562"/>
                  </a:cubicBezTo>
                  <a:cubicBezTo>
                    <a:pt x="2579" y="9526"/>
                    <a:pt x="2601" y="9453"/>
                    <a:pt x="2572" y="9387"/>
                  </a:cubicBezTo>
                  <a:cubicBezTo>
                    <a:pt x="2557" y="9343"/>
                    <a:pt x="2535" y="9306"/>
                    <a:pt x="2513" y="9277"/>
                  </a:cubicBezTo>
                  <a:cubicBezTo>
                    <a:pt x="2484" y="9218"/>
                    <a:pt x="2454" y="9167"/>
                    <a:pt x="2513" y="9130"/>
                  </a:cubicBezTo>
                  <a:cubicBezTo>
                    <a:pt x="2528" y="9123"/>
                    <a:pt x="2550" y="9108"/>
                    <a:pt x="2564" y="9101"/>
                  </a:cubicBezTo>
                  <a:cubicBezTo>
                    <a:pt x="2579" y="9101"/>
                    <a:pt x="2594" y="9086"/>
                    <a:pt x="2601" y="9086"/>
                  </a:cubicBezTo>
                  <a:cubicBezTo>
                    <a:pt x="2601" y="9079"/>
                    <a:pt x="2594" y="9072"/>
                    <a:pt x="2557" y="9028"/>
                  </a:cubicBezTo>
                  <a:cubicBezTo>
                    <a:pt x="2462" y="8954"/>
                    <a:pt x="2469" y="8918"/>
                    <a:pt x="2499" y="8837"/>
                  </a:cubicBezTo>
                  <a:cubicBezTo>
                    <a:pt x="2506" y="8822"/>
                    <a:pt x="2513" y="8808"/>
                    <a:pt x="2513" y="8786"/>
                  </a:cubicBezTo>
                  <a:cubicBezTo>
                    <a:pt x="2528" y="8742"/>
                    <a:pt x="2506" y="8705"/>
                    <a:pt x="2484" y="8669"/>
                  </a:cubicBezTo>
                  <a:cubicBezTo>
                    <a:pt x="2469" y="8639"/>
                    <a:pt x="2440" y="8603"/>
                    <a:pt x="2484" y="8566"/>
                  </a:cubicBezTo>
                  <a:cubicBezTo>
                    <a:pt x="2550" y="8515"/>
                    <a:pt x="2616" y="8346"/>
                    <a:pt x="2616" y="8251"/>
                  </a:cubicBezTo>
                  <a:cubicBezTo>
                    <a:pt x="2616" y="8207"/>
                    <a:pt x="2579" y="8134"/>
                    <a:pt x="2542" y="8053"/>
                  </a:cubicBezTo>
                  <a:cubicBezTo>
                    <a:pt x="2491" y="7958"/>
                    <a:pt x="2440" y="7848"/>
                    <a:pt x="2433" y="7760"/>
                  </a:cubicBezTo>
                  <a:cubicBezTo>
                    <a:pt x="2425" y="7635"/>
                    <a:pt x="2433" y="7577"/>
                    <a:pt x="2433" y="7562"/>
                  </a:cubicBezTo>
                  <a:cubicBezTo>
                    <a:pt x="2411" y="7525"/>
                    <a:pt x="2301" y="7350"/>
                    <a:pt x="2242" y="7313"/>
                  </a:cubicBezTo>
                  <a:cubicBezTo>
                    <a:pt x="2220" y="7298"/>
                    <a:pt x="2205" y="7284"/>
                    <a:pt x="2205" y="7269"/>
                  </a:cubicBezTo>
                  <a:cubicBezTo>
                    <a:pt x="2205" y="7254"/>
                    <a:pt x="2213" y="7247"/>
                    <a:pt x="2228" y="7232"/>
                  </a:cubicBezTo>
                  <a:cubicBezTo>
                    <a:pt x="2249" y="7210"/>
                    <a:pt x="2279" y="7181"/>
                    <a:pt x="2301" y="7130"/>
                  </a:cubicBezTo>
                  <a:cubicBezTo>
                    <a:pt x="2352" y="7020"/>
                    <a:pt x="2447" y="6895"/>
                    <a:pt x="2506" y="6895"/>
                  </a:cubicBezTo>
                  <a:cubicBezTo>
                    <a:pt x="2513" y="6895"/>
                    <a:pt x="2521" y="6895"/>
                    <a:pt x="2528" y="6895"/>
                  </a:cubicBezTo>
                  <a:cubicBezTo>
                    <a:pt x="2542" y="6903"/>
                    <a:pt x="2550" y="6917"/>
                    <a:pt x="2564" y="6925"/>
                  </a:cubicBezTo>
                  <a:cubicBezTo>
                    <a:pt x="2579" y="6939"/>
                    <a:pt x="2601" y="6954"/>
                    <a:pt x="2616" y="6954"/>
                  </a:cubicBezTo>
                  <a:cubicBezTo>
                    <a:pt x="2630" y="6954"/>
                    <a:pt x="2645" y="6947"/>
                    <a:pt x="2660" y="6932"/>
                  </a:cubicBezTo>
                  <a:cubicBezTo>
                    <a:pt x="2711" y="6888"/>
                    <a:pt x="2770" y="6859"/>
                    <a:pt x="2828" y="6844"/>
                  </a:cubicBezTo>
                  <a:cubicBezTo>
                    <a:pt x="2828" y="6837"/>
                    <a:pt x="2828" y="6837"/>
                    <a:pt x="2828" y="6837"/>
                  </a:cubicBezTo>
                  <a:cubicBezTo>
                    <a:pt x="2814" y="6822"/>
                    <a:pt x="2792" y="6800"/>
                    <a:pt x="2799" y="6771"/>
                  </a:cubicBezTo>
                  <a:cubicBezTo>
                    <a:pt x="2806" y="6749"/>
                    <a:pt x="2828" y="6727"/>
                    <a:pt x="2850" y="6727"/>
                  </a:cubicBezTo>
                  <a:cubicBezTo>
                    <a:pt x="2880" y="6727"/>
                    <a:pt x="2902" y="6741"/>
                    <a:pt x="2923" y="6763"/>
                  </a:cubicBezTo>
                  <a:cubicBezTo>
                    <a:pt x="2931" y="6763"/>
                    <a:pt x="2945" y="6741"/>
                    <a:pt x="2953" y="6705"/>
                  </a:cubicBezTo>
                  <a:cubicBezTo>
                    <a:pt x="2968" y="6653"/>
                    <a:pt x="2968" y="6588"/>
                    <a:pt x="2938" y="6551"/>
                  </a:cubicBezTo>
                  <a:cubicBezTo>
                    <a:pt x="2902" y="6507"/>
                    <a:pt x="2894" y="6478"/>
                    <a:pt x="2902" y="6456"/>
                  </a:cubicBezTo>
                  <a:cubicBezTo>
                    <a:pt x="2902" y="6448"/>
                    <a:pt x="2909" y="6434"/>
                    <a:pt x="2931" y="6434"/>
                  </a:cubicBezTo>
                  <a:cubicBezTo>
                    <a:pt x="2872" y="6397"/>
                    <a:pt x="2792" y="6331"/>
                    <a:pt x="2814" y="6258"/>
                  </a:cubicBezTo>
                  <a:cubicBezTo>
                    <a:pt x="2828" y="6199"/>
                    <a:pt x="2836" y="6162"/>
                    <a:pt x="2894" y="6162"/>
                  </a:cubicBezTo>
                  <a:cubicBezTo>
                    <a:pt x="2909" y="6162"/>
                    <a:pt x="2931" y="6162"/>
                    <a:pt x="2968" y="6170"/>
                  </a:cubicBezTo>
                  <a:cubicBezTo>
                    <a:pt x="3019" y="6184"/>
                    <a:pt x="3055" y="6221"/>
                    <a:pt x="3084" y="6243"/>
                  </a:cubicBezTo>
                  <a:cubicBezTo>
                    <a:pt x="3098" y="6258"/>
                    <a:pt x="3106" y="6265"/>
                    <a:pt x="3113" y="6265"/>
                  </a:cubicBezTo>
                  <a:cubicBezTo>
                    <a:pt x="3142" y="6243"/>
                    <a:pt x="3186" y="6236"/>
                    <a:pt x="3216" y="6236"/>
                  </a:cubicBezTo>
                  <a:cubicBezTo>
                    <a:pt x="3223" y="6236"/>
                    <a:pt x="3238" y="6236"/>
                    <a:pt x="3245" y="6236"/>
                  </a:cubicBezTo>
                  <a:cubicBezTo>
                    <a:pt x="3252" y="6236"/>
                    <a:pt x="3260" y="6236"/>
                    <a:pt x="3267" y="6236"/>
                  </a:cubicBezTo>
                  <a:cubicBezTo>
                    <a:pt x="3274" y="6236"/>
                    <a:pt x="3303" y="6229"/>
                    <a:pt x="3311" y="6207"/>
                  </a:cubicBezTo>
                  <a:cubicBezTo>
                    <a:pt x="3326" y="6184"/>
                    <a:pt x="3333" y="6162"/>
                    <a:pt x="3311" y="6126"/>
                  </a:cubicBezTo>
                  <a:cubicBezTo>
                    <a:pt x="3289" y="6089"/>
                    <a:pt x="3274" y="6089"/>
                    <a:pt x="3252" y="6082"/>
                  </a:cubicBezTo>
                  <a:cubicBezTo>
                    <a:pt x="3230" y="6082"/>
                    <a:pt x="3201" y="6074"/>
                    <a:pt x="3186" y="6031"/>
                  </a:cubicBezTo>
                  <a:cubicBezTo>
                    <a:pt x="3150" y="5957"/>
                    <a:pt x="3150" y="5869"/>
                    <a:pt x="3194" y="5803"/>
                  </a:cubicBezTo>
                  <a:cubicBezTo>
                    <a:pt x="3230" y="5760"/>
                    <a:pt x="3230" y="5708"/>
                    <a:pt x="3194" y="5664"/>
                  </a:cubicBezTo>
                  <a:cubicBezTo>
                    <a:pt x="3194" y="5657"/>
                    <a:pt x="3186" y="5642"/>
                    <a:pt x="3194" y="5635"/>
                  </a:cubicBezTo>
                  <a:cubicBezTo>
                    <a:pt x="3194" y="5620"/>
                    <a:pt x="3208" y="5620"/>
                    <a:pt x="3216" y="5613"/>
                  </a:cubicBezTo>
                  <a:cubicBezTo>
                    <a:pt x="3230" y="5613"/>
                    <a:pt x="3238" y="5606"/>
                    <a:pt x="3238" y="5591"/>
                  </a:cubicBezTo>
                  <a:cubicBezTo>
                    <a:pt x="3252" y="5547"/>
                    <a:pt x="3238" y="5342"/>
                    <a:pt x="3120" y="5224"/>
                  </a:cubicBezTo>
                  <a:cubicBezTo>
                    <a:pt x="2997" y="5100"/>
                    <a:pt x="2931" y="5063"/>
                    <a:pt x="2858" y="5041"/>
                  </a:cubicBezTo>
                  <a:cubicBezTo>
                    <a:pt x="2784" y="5027"/>
                    <a:pt x="2792" y="4983"/>
                    <a:pt x="2792" y="4953"/>
                  </a:cubicBezTo>
                  <a:cubicBezTo>
                    <a:pt x="2792" y="4939"/>
                    <a:pt x="2792" y="4931"/>
                    <a:pt x="2784" y="4917"/>
                  </a:cubicBezTo>
                  <a:cubicBezTo>
                    <a:pt x="2784" y="4902"/>
                    <a:pt x="2770" y="4895"/>
                    <a:pt x="2748" y="4888"/>
                  </a:cubicBezTo>
                  <a:cubicBezTo>
                    <a:pt x="2733" y="4880"/>
                    <a:pt x="2711" y="4873"/>
                    <a:pt x="2696" y="4858"/>
                  </a:cubicBezTo>
                  <a:cubicBezTo>
                    <a:pt x="2667" y="4807"/>
                    <a:pt x="2726" y="4756"/>
                    <a:pt x="2762" y="4734"/>
                  </a:cubicBezTo>
                  <a:cubicBezTo>
                    <a:pt x="2770" y="4726"/>
                    <a:pt x="2784" y="4712"/>
                    <a:pt x="2784" y="4697"/>
                  </a:cubicBezTo>
                  <a:cubicBezTo>
                    <a:pt x="2784" y="4675"/>
                    <a:pt x="2762" y="4660"/>
                    <a:pt x="2726" y="4646"/>
                  </a:cubicBezTo>
                  <a:cubicBezTo>
                    <a:pt x="2645" y="4609"/>
                    <a:pt x="2506" y="4492"/>
                    <a:pt x="2506" y="4382"/>
                  </a:cubicBezTo>
                  <a:cubicBezTo>
                    <a:pt x="2506" y="4338"/>
                    <a:pt x="2513" y="4301"/>
                    <a:pt x="2528" y="4265"/>
                  </a:cubicBezTo>
                  <a:cubicBezTo>
                    <a:pt x="2542" y="4213"/>
                    <a:pt x="2550" y="4184"/>
                    <a:pt x="2528" y="4169"/>
                  </a:cubicBezTo>
                  <a:cubicBezTo>
                    <a:pt x="2484" y="4118"/>
                    <a:pt x="2433" y="3986"/>
                    <a:pt x="2469" y="3913"/>
                  </a:cubicBezTo>
                  <a:cubicBezTo>
                    <a:pt x="2499" y="3854"/>
                    <a:pt x="2542" y="3847"/>
                    <a:pt x="2572" y="3847"/>
                  </a:cubicBezTo>
                  <a:cubicBezTo>
                    <a:pt x="2564" y="3803"/>
                    <a:pt x="2550" y="3737"/>
                    <a:pt x="2521" y="3730"/>
                  </a:cubicBezTo>
                  <a:cubicBezTo>
                    <a:pt x="2513" y="3722"/>
                    <a:pt x="2513" y="3722"/>
                    <a:pt x="2513" y="3722"/>
                  </a:cubicBezTo>
                  <a:cubicBezTo>
                    <a:pt x="2477" y="3700"/>
                    <a:pt x="2433" y="3686"/>
                    <a:pt x="2447" y="3598"/>
                  </a:cubicBezTo>
                  <a:cubicBezTo>
                    <a:pt x="2454" y="3554"/>
                    <a:pt x="2447" y="3539"/>
                    <a:pt x="2433" y="3510"/>
                  </a:cubicBezTo>
                  <a:cubicBezTo>
                    <a:pt x="2425" y="3488"/>
                    <a:pt x="2418" y="3459"/>
                    <a:pt x="2411" y="3422"/>
                  </a:cubicBezTo>
                  <a:cubicBezTo>
                    <a:pt x="2411" y="3407"/>
                    <a:pt x="2403" y="3378"/>
                    <a:pt x="2389" y="3378"/>
                  </a:cubicBezTo>
                  <a:cubicBezTo>
                    <a:pt x="2374" y="3378"/>
                    <a:pt x="2345" y="3400"/>
                    <a:pt x="2330" y="3437"/>
                  </a:cubicBezTo>
                  <a:cubicBezTo>
                    <a:pt x="2323" y="3459"/>
                    <a:pt x="2315" y="3466"/>
                    <a:pt x="2315" y="3481"/>
                  </a:cubicBezTo>
                  <a:cubicBezTo>
                    <a:pt x="2301" y="3524"/>
                    <a:pt x="2293" y="3539"/>
                    <a:pt x="2205" y="3561"/>
                  </a:cubicBezTo>
                  <a:cubicBezTo>
                    <a:pt x="2191" y="3561"/>
                    <a:pt x="2176" y="3561"/>
                    <a:pt x="2161" y="3561"/>
                  </a:cubicBezTo>
                  <a:cubicBezTo>
                    <a:pt x="2088" y="3561"/>
                    <a:pt x="2052" y="3510"/>
                    <a:pt x="2052" y="3407"/>
                  </a:cubicBezTo>
                  <a:cubicBezTo>
                    <a:pt x="2052" y="3341"/>
                    <a:pt x="2015" y="3239"/>
                    <a:pt x="2000" y="3231"/>
                  </a:cubicBezTo>
                  <a:lnTo>
                    <a:pt x="2000" y="3231"/>
                  </a:lnTo>
                  <a:cubicBezTo>
                    <a:pt x="2000" y="3239"/>
                    <a:pt x="1927" y="3349"/>
                    <a:pt x="1883" y="3349"/>
                  </a:cubicBezTo>
                  <a:cubicBezTo>
                    <a:pt x="1876" y="3349"/>
                    <a:pt x="1868" y="3341"/>
                    <a:pt x="1868" y="3334"/>
                  </a:cubicBezTo>
                  <a:cubicBezTo>
                    <a:pt x="1861" y="3327"/>
                    <a:pt x="1854" y="3305"/>
                    <a:pt x="1883" y="3224"/>
                  </a:cubicBezTo>
                  <a:cubicBezTo>
                    <a:pt x="1898" y="3165"/>
                    <a:pt x="1912" y="3129"/>
                    <a:pt x="1927" y="3100"/>
                  </a:cubicBezTo>
                  <a:cubicBezTo>
                    <a:pt x="1934" y="3078"/>
                    <a:pt x="1942" y="3063"/>
                    <a:pt x="1942" y="3056"/>
                  </a:cubicBezTo>
                  <a:cubicBezTo>
                    <a:pt x="1942" y="3056"/>
                    <a:pt x="1942" y="3056"/>
                    <a:pt x="1934" y="3056"/>
                  </a:cubicBezTo>
                  <a:cubicBezTo>
                    <a:pt x="1934" y="3056"/>
                    <a:pt x="1934" y="3056"/>
                    <a:pt x="1927" y="3056"/>
                  </a:cubicBezTo>
                  <a:cubicBezTo>
                    <a:pt x="1927" y="3056"/>
                    <a:pt x="1920" y="3048"/>
                    <a:pt x="1912" y="3048"/>
                  </a:cubicBezTo>
                  <a:cubicBezTo>
                    <a:pt x="1854" y="3026"/>
                    <a:pt x="1832" y="2990"/>
                    <a:pt x="1846" y="2931"/>
                  </a:cubicBezTo>
                  <a:cubicBezTo>
                    <a:pt x="1854" y="2902"/>
                    <a:pt x="1839" y="2836"/>
                    <a:pt x="1817" y="2806"/>
                  </a:cubicBezTo>
                  <a:cubicBezTo>
                    <a:pt x="1802" y="2792"/>
                    <a:pt x="1795" y="2784"/>
                    <a:pt x="1788" y="2784"/>
                  </a:cubicBezTo>
                  <a:cubicBezTo>
                    <a:pt x="1780" y="2784"/>
                    <a:pt x="1780" y="2784"/>
                    <a:pt x="1773" y="2792"/>
                  </a:cubicBezTo>
                  <a:cubicBezTo>
                    <a:pt x="1751" y="2792"/>
                    <a:pt x="1737" y="2814"/>
                    <a:pt x="1722" y="2836"/>
                  </a:cubicBezTo>
                  <a:cubicBezTo>
                    <a:pt x="1700" y="2865"/>
                    <a:pt x="1678" y="2894"/>
                    <a:pt x="1649" y="2894"/>
                  </a:cubicBezTo>
                  <a:cubicBezTo>
                    <a:pt x="1627" y="2894"/>
                    <a:pt x="1612" y="2887"/>
                    <a:pt x="1590" y="2865"/>
                  </a:cubicBezTo>
                  <a:cubicBezTo>
                    <a:pt x="1568" y="2843"/>
                    <a:pt x="1546" y="2821"/>
                    <a:pt x="1539" y="2821"/>
                  </a:cubicBezTo>
                  <a:cubicBezTo>
                    <a:pt x="1539" y="2821"/>
                    <a:pt x="1531" y="2829"/>
                    <a:pt x="1531" y="2843"/>
                  </a:cubicBezTo>
                  <a:cubicBezTo>
                    <a:pt x="1524" y="2850"/>
                    <a:pt x="1509" y="2865"/>
                    <a:pt x="1502" y="2887"/>
                  </a:cubicBezTo>
                  <a:cubicBezTo>
                    <a:pt x="1480" y="2909"/>
                    <a:pt x="1465" y="2924"/>
                    <a:pt x="1451" y="2924"/>
                  </a:cubicBezTo>
                  <a:cubicBezTo>
                    <a:pt x="1443" y="2924"/>
                    <a:pt x="1436" y="2916"/>
                    <a:pt x="1436" y="2909"/>
                  </a:cubicBezTo>
                  <a:cubicBezTo>
                    <a:pt x="1429" y="2909"/>
                    <a:pt x="1414" y="2887"/>
                    <a:pt x="1429" y="2770"/>
                  </a:cubicBezTo>
                  <a:cubicBezTo>
                    <a:pt x="1451" y="2601"/>
                    <a:pt x="1436" y="2572"/>
                    <a:pt x="1429" y="2572"/>
                  </a:cubicBezTo>
                  <a:cubicBezTo>
                    <a:pt x="1421" y="2572"/>
                    <a:pt x="1414" y="2572"/>
                    <a:pt x="1407" y="2572"/>
                  </a:cubicBezTo>
                  <a:cubicBezTo>
                    <a:pt x="1399" y="2572"/>
                    <a:pt x="1385" y="2579"/>
                    <a:pt x="1355" y="2594"/>
                  </a:cubicBezTo>
                  <a:cubicBezTo>
                    <a:pt x="1333" y="2609"/>
                    <a:pt x="1333" y="2609"/>
                    <a:pt x="1333" y="2609"/>
                  </a:cubicBezTo>
                  <a:cubicBezTo>
                    <a:pt x="1319" y="2616"/>
                    <a:pt x="1304" y="2623"/>
                    <a:pt x="1290" y="2638"/>
                  </a:cubicBezTo>
                  <a:cubicBezTo>
                    <a:pt x="1268" y="2653"/>
                    <a:pt x="1246" y="2667"/>
                    <a:pt x="1223" y="2667"/>
                  </a:cubicBezTo>
                  <a:cubicBezTo>
                    <a:pt x="1216" y="2667"/>
                    <a:pt x="1202" y="2667"/>
                    <a:pt x="1194" y="2660"/>
                  </a:cubicBezTo>
                  <a:cubicBezTo>
                    <a:pt x="1180" y="2645"/>
                    <a:pt x="1165" y="2631"/>
                    <a:pt x="1158" y="2616"/>
                  </a:cubicBezTo>
                  <a:cubicBezTo>
                    <a:pt x="1150" y="2601"/>
                    <a:pt x="1143" y="2587"/>
                    <a:pt x="1128" y="2587"/>
                  </a:cubicBezTo>
                  <a:cubicBezTo>
                    <a:pt x="1128" y="2587"/>
                    <a:pt x="1128" y="2579"/>
                    <a:pt x="1121" y="2579"/>
                  </a:cubicBezTo>
                  <a:cubicBezTo>
                    <a:pt x="1121" y="2579"/>
                    <a:pt x="1114" y="2587"/>
                    <a:pt x="1106" y="2594"/>
                  </a:cubicBezTo>
                  <a:cubicBezTo>
                    <a:pt x="1099" y="2601"/>
                    <a:pt x="1084" y="2616"/>
                    <a:pt x="1062" y="2631"/>
                  </a:cubicBezTo>
                  <a:cubicBezTo>
                    <a:pt x="1055" y="2631"/>
                    <a:pt x="1048" y="2638"/>
                    <a:pt x="1040" y="2638"/>
                  </a:cubicBezTo>
                  <a:cubicBezTo>
                    <a:pt x="1018" y="2638"/>
                    <a:pt x="1011" y="2623"/>
                    <a:pt x="997" y="2616"/>
                  </a:cubicBezTo>
                  <a:cubicBezTo>
                    <a:pt x="989" y="2601"/>
                    <a:pt x="982" y="2594"/>
                    <a:pt x="967" y="2594"/>
                  </a:cubicBezTo>
                  <a:lnTo>
                    <a:pt x="960" y="2594"/>
                  </a:lnTo>
                  <a:cubicBezTo>
                    <a:pt x="901" y="2609"/>
                    <a:pt x="850" y="2616"/>
                    <a:pt x="806" y="2653"/>
                  </a:cubicBezTo>
                  <a:cubicBezTo>
                    <a:pt x="769" y="2674"/>
                    <a:pt x="747" y="2726"/>
                    <a:pt x="747" y="2741"/>
                  </a:cubicBezTo>
                  <a:cubicBezTo>
                    <a:pt x="747" y="2748"/>
                    <a:pt x="762" y="2755"/>
                    <a:pt x="791" y="2755"/>
                  </a:cubicBezTo>
                  <a:cubicBezTo>
                    <a:pt x="799" y="2762"/>
                    <a:pt x="806" y="2762"/>
                    <a:pt x="813" y="2762"/>
                  </a:cubicBezTo>
                  <a:cubicBezTo>
                    <a:pt x="821" y="2762"/>
                    <a:pt x="835" y="2762"/>
                    <a:pt x="842" y="2762"/>
                  </a:cubicBezTo>
                  <a:cubicBezTo>
                    <a:pt x="850" y="2755"/>
                    <a:pt x="864" y="2755"/>
                    <a:pt x="872" y="2755"/>
                  </a:cubicBezTo>
                  <a:cubicBezTo>
                    <a:pt x="894" y="2755"/>
                    <a:pt x="916" y="2762"/>
                    <a:pt x="945" y="2784"/>
                  </a:cubicBezTo>
                  <a:cubicBezTo>
                    <a:pt x="989" y="2829"/>
                    <a:pt x="997" y="2894"/>
                    <a:pt x="967" y="2953"/>
                  </a:cubicBezTo>
                  <a:cubicBezTo>
                    <a:pt x="960" y="2960"/>
                    <a:pt x="960" y="2975"/>
                    <a:pt x="967" y="2982"/>
                  </a:cubicBezTo>
                  <a:cubicBezTo>
                    <a:pt x="967" y="3019"/>
                    <a:pt x="952" y="3041"/>
                    <a:pt x="879" y="3048"/>
                  </a:cubicBezTo>
                  <a:cubicBezTo>
                    <a:pt x="857" y="3048"/>
                    <a:pt x="842" y="3056"/>
                    <a:pt x="828" y="3056"/>
                  </a:cubicBezTo>
                  <a:cubicBezTo>
                    <a:pt x="725" y="3063"/>
                    <a:pt x="667" y="3070"/>
                    <a:pt x="667" y="3151"/>
                  </a:cubicBezTo>
                  <a:cubicBezTo>
                    <a:pt x="667" y="3246"/>
                    <a:pt x="615" y="3261"/>
                    <a:pt x="564" y="3283"/>
                  </a:cubicBezTo>
                  <a:cubicBezTo>
                    <a:pt x="549" y="3283"/>
                    <a:pt x="535" y="3290"/>
                    <a:pt x="520" y="3298"/>
                  </a:cubicBezTo>
                  <a:cubicBezTo>
                    <a:pt x="506" y="3305"/>
                    <a:pt x="483" y="3312"/>
                    <a:pt x="469" y="3312"/>
                  </a:cubicBezTo>
                  <a:cubicBezTo>
                    <a:pt x="447" y="3312"/>
                    <a:pt x="425" y="3305"/>
                    <a:pt x="403" y="3305"/>
                  </a:cubicBezTo>
                  <a:cubicBezTo>
                    <a:pt x="381" y="3298"/>
                    <a:pt x="366" y="3298"/>
                    <a:pt x="352" y="3298"/>
                  </a:cubicBezTo>
                  <a:cubicBezTo>
                    <a:pt x="330" y="3298"/>
                    <a:pt x="322" y="3298"/>
                    <a:pt x="308" y="3305"/>
                  </a:cubicBezTo>
                  <a:cubicBezTo>
                    <a:pt x="286" y="3319"/>
                    <a:pt x="286" y="3319"/>
                    <a:pt x="286" y="3319"/>
                  </a:cubicBezTo>
                  <a:cubicBezTo>
                    <a:pt x="286" y="3298"/>
                    <a:pt x="286" y="3298"/>
                    <a:pt x="286" y="3298"/>
                  </a:cubicBezTo>
                  <a:cubicBezTo>
                    <a:pt x="286" y="3268"/>
                    <a:pt x="278" y="3253"/>
                    <a:pt x="271" y="3246"/>
                  </a:cubicBezTo>
                  <a:cubicBezTo>
                    <a:pt x="271" y="3246"/>
                    <a:pt x="271" y="3239"/>
                    <a:pt x="256" y="3239"/>
                  </a:cubicBezTo>
                  <a:lnTo>
                    <a:pt x="242" y="3239"/>
                  </a:lnTo>
                  <a:cubicBezTo>
                    <a:pt x="234" y="3239"/>
                    <a:pt x="220" y="3239"/>
                    <a:pt x="212" y="3231"/>
                  </a:cubicBezTo>
                  <a:cubicBezTo>
                    <a:pt x="205" y="3224"/>
                    <a:pt x="198" y="3202"/>
                    <a:pt x="205" y="3180"/>
                  </a:cubicBezTo>
                  <a:cubicBezTo>
                    <a:pt x="212" y="3129"/>
                    <a:pt x="227" y="3122"/>
                    <a:pt x="242" y="3114"/>
                  </a:cubicBezTo>
                  <a:cubicBezTo>
                    <a:pt x="256" y="3114"/>
                    <a:pt x="264" y="3114"/>
                    <a:pt x="271" y="3085"/>
                  </a:cubicBezTo>
                  <a:cubicBezTo>
                    <a:pt x="286" y="3048"/>
                    <a:pt x="278" y="3026"/>
                    <a:pt x="278" y="2997"/>
                  </a:cubicBezTo>
                  <a:cubicBezTo>
                    <a:pt x="271" y="2975"/>
                    <a:pt x="271" y="2960"/>
                    <a:pt x="271" y="2931"/>
                  </a:cubicBezTo>
                  <a:cubicBezTo>
                    <a:pt x="271" y="2894"/>
                    <a:pt x="278" y="2880"/>
                    <a:pt x="300" y="2865"/>
                  </a:cubicBezTo>
                  <a:cubicBezTo>
                    <a:pt x="308" y="2858"/>
                    <a:pt x="315" y="2850"/>
                    <a:pt x="330" y="2814"/>
                  </a:cubicBezTo>
                  <a:cubicBezTo>
                    <a:pt x="344" y="2762"/>
                    <a:pt x="337" y="2741"/>
                    <a:pt x="330" y="2697"/>
                  </a:cubicBezTo>
                  <a:cubicBezTo>
                    <a:pt x="322" y="2682"/>
                    <a:pt x="322" y="2667"/>
                    <a:pt x="315" y="2638"/>
                  </a:cubicBezTo>
                  <a:cubicBezTo>
                    <a:pt x="308" y="2572"/>
                    <a:pt x="278" y="2535"/>
                    <a:pt x="249" y="2484"/>
                  </a:cubicBezTo>
                  <a:cubicBezTo>
                    <a:pt x="227" y="2440"/>
                    <a:pt x="227" y="2440"/>
                    <a:pt x="227" y="2440"/>
                  </a:cubicBezTo>
                  <a:cubicBezTo>
                    <a:pt x="190" y="2381"/>
                    <a:pt x="132" y="2293"/>
                    <a:pt x="110" y="2198"/>
                  </a:cubicBezTo>
                  <a:cubicBezTo>
                    <a:pt x="88" y="2096"/>
                    <a:pt x="88" y="1964"/>
                    <a:pt x="110" y="1920"/>
                  </a:cubicBezTo>
                  <a:cubicBezTo>
                    <a:pt x="124" y="1891"/>
                    <a:pt x="168" y="1795"/>
                    <a:pt x="117" y="1766"/>
                  </a:cubicBezTo>
                  <a:cubicBezTo>
                    <a:pt x="73" y="1737"/>
                    <a:pt x="0" y="1700"/>
                    <a:pt x="44" y="1597"/>
                  </a:cubicBezTo>
                  <a:cubicBezTo>
                    <a:pt x="51" y="1590"/>
                    <a:pt x="51" y="1590"/>
                    <a:pt x="51" y="1590"/>
                  </a:cubicBezTo>
                  <a:cubicBezTo>
                    <a:pt x="80" y="1517"/>
                    <a:pt x="95" y="1480"/>
                    <a:pt x="190" y="1443"/>
                  </a:cubicBezTo>
                  <a:cubicBezTo>
                    <a:pt x="212" y="1436"/>
                    <a:pt x="234" y="1436"/>
                    <a:pt x="249" y="1436"/>
                  </a:cubicBezTo>
                  <a:cubicBezTo>
                    <a:pt x="278" y="1436"/>
                    <a:pt x="308" y="1443"/>
                    <a:pt x="322" y="1451"/>
                  </a:cubicBezTo>
                  <a:cubicBezTo>
                    <a:pt x="337" y="1451"/>
                    <a:pt x="352" y="1458"/>
                    <a:pt x="366" y="1458"/>
                  </a:cubicBezTo>
                  <a:cubicBezTo>
                    <a:pt x="366" y="1458"/>
                    <a:pt x="366" y="1458"/>
                    <a:pt x="373" y="1458"/>
                  </a:cubicBezTo>
                  <a:cubicBezTo>
                    <a:pt x="373" y="1451"/>
                    <a:pt x="381" y="1451"/>
                    <a:pt x="381" y="1451"/>
                  </a:cubicBezTo>
                  <a:cubicBezTo>
                    <a:pt x="396" y="1451"/>
                    <a:pt x="403" y="1458"/>
                    <a:pt x="410" y="1465"/>
                  </a:cubicBezTo>
                  <a:lnTo>
                    <a:pt x="410" y="1465"/>
                  </a:lnTo>
                  <a:cubicBezTo>
                    <a:pt x="440" y="1429"/>
                    <a:pt x="483" y="1385"/>
                    <a:pt x="520" y="1378"/>
                  </a:cubicBezTo>
                  <a:cubicBezTo>
                    <a:pt x="557" y="1370"/>
                    <a:pt x="608" y="1363"/>
                    <a:pt x="659" y="1363"/>
                  </a:cubicBezTo>
                  <a:cubicBezTo>
                    <a:pt x="703" y="1363"/>
                    <a:pt x="740" y="1370"/>
                    <a:pt x="755" y="1378"/>
                  </a:cubicBezTo>
                  <a:cubicBezTo>
                    <a:pt x="791" y="1392"/>
                    <a:pt x="850" y="1429"/>
                    <a:pt x="887" y="1488"/>
                  </a:cubicBezTo>
                  <a:cubicBezTo>
                    <a:pt x="916" y="1517"/>
                    <a:pt x="967" y="1553"/>
                    <a:pt x="1018" y="1553"/>
                  </a:cubicBezTo>
                  <a:cubicBezTo>
                    <a:pt x="1033" y="1553"/>
                    <a:pt x="1040" y="1553"/>
                    <a:pt x="1055" y="1546"/>
                  </a:cubicBezTo>
                  <a:cubicBezTo>
                    <a:pt x="1114" y="1524"/>
                    <a:pt x="1143" y="1495"/>
                    <a:pt x="1143" y="1451"/>
                  </a:cubicBezTo>
                  <a:cubicBezTo>
                    <a:pt x="1143" y="1414"/>
                    <a:pt x="1165" y="1392"/>
                    <a:pt x="1180" y="1370"/>
                  </a:cubicBezTo>
                  <a:cubicBezTo>
                    <a:pt x="1187" y="1356"/>
                    <a:pt x="1202" y="1341"/>
                    <a:pt x="1202" y="1326"/>
                  </a:cubicBezTo>
                  <a:cubicBezTo>
                    <a:pt x="1202" y="1312"/>
                    <a:pt x="1194" y="1304"/>
                    <a:pt x="1180" y="1297"/>
                  </a:cubicBezTo>
                  <a:cubicBezTo>
                    <a:pt x="1158" y="1282"/>
                    <a:pt x="1136" y="1268"/>
                    <a:pt x="1136" y="1231"/>
                  </a:cubicBezTo>
                  <a:cubicBezTo>
                    <a:pt x="1136" y="1180"/>
                    <a:pt x="1121" y="1062"/>
                    <a:pt x="1121" y="1062"/>
                  </a:cubicBezTo>
                  <a:cubicBezTo>
                    <a:pt x="1121" y="1048"/>
                    <a:pt x="1121" y="1048"/>
                    <a:pt x="1121" y="1048"/>
                  </a:cubicBezTo>
                  <a:cubicBezTo>
                    <a:pt x="1136" y="1048"/>
                    <a:pt x="1136" y="1048"/>
                    <a:pt x="1136" y="1048"/>
                  </a:cubicBezTo>
                  <a:cubicBezTo>
                    <a:pt x="1150" y="1048"/>
                    <a:pt x="1260" y="1048"/>
                    <a:pt x="1297" y="1084"/>
                  </a:cubicBezTo>
                  <a:cubicBezTo>
                    <a:pt x="1297" y="1084"/>
                    <a:pt x="1304" y="1092"/>
                    <a:pt x="1326" y="1092"/>
                  </a:cubicBezTo>
                  <a:cubicBezTo>
                    <a:pt x="1355" y="1092"/>
                    <a:pt x="1407" y="1084"/>
                    <a:pt x="1436" y="1070"/>
                  </a:cubicBezTo>
                  <a:cubicBezTo>
                    <a:pt x="1421" y="1062"/>
                    <a:pt x="1407" y="1055"/>
                    <a:pt x="1399" y="1033"/>
                  </a:cubicBezTo>
                  <a:cubicBezTo>
                    <a:pt x="1399" y="1026"/>
                    <a:pt x="1399" y="1004"/>
                    <a:pt x="1421" y="982"/>
                  </a:cubicBezTo>
                  <a:cubicBezTo>
                    <a:pt x="1451" y="953"/>
                    <a:pt x="1480" y="945"/>
                    <a:pt x="1502" y="938"/>
                  </a:cubicBezTo>
                  <a:cubicBezTo>
                    <a:pt x="1531" y="938"/>
                    <a:pt x="1546" y="931"/>
                    <a:pt x="1568" y="909"/>
                  </a:cubicBezTo>
                  <a:cubicBezTo>
                    <a:pt x="1575" y="894"/>
                    <a:pt x="1582" y="887"/>
                    <a:pt x="1590" y="879"/>
                  </a:cubicBezTo>
                  <a:cubicBezTo>
                    <a:pt x="1619" y="843"/>
                    <a:pt x="1641" y="813"/>
                    <a:pt x="1641" y="755"/>
                  </a:cubicBezTo>
                  <a:cubicBezTo>
                    <a:pt x="1641" y="733"/>
                    <a:pt x="1634" y="711"/>
                    <a:pt x="1627" y="681"/>
                  </a:cubicBezTo>
                  <a:cubicBezTo>
                    <a:pt x="1605" y="638"/>
                    <a:pt x="1582" y="586"/>
                    <a:pt x="1634" y="520"/>
                  </a:cubicBezTo>
                  <a:cubicBezTo>
                    <a:pt x="1671" y="469"/>
                    <a:pt x="1692" y="447"/>
                    <a:pt x="1722" y="447"/>
                  </a:cubicBezTo>
                  <a:cubicBezTo>
                    <a:pt x="1737" y="447"/>
                    <a:pt x="1751" y="462"/>
                    <a:pt x="1773" y="469"/>
                  </a:cubicBezTo>
                  <a:cubicBezTo>
                    <a:pt x="1788" y="484"/>
                    <a:pt x="1788" y="484"/>
                    <a:pt x="1788" y="484"/>
                  </a:cubicBezTo>
                  <a:cubicBezTo>
                    <a:pt x="1810" y="491"/>
                    <a:pt x="1839" y="498"/>
                    <a:pt x="1868" y="498"/>
                  </a:cubicBezTo>
                  <a:cubicBezTo>
                    <a:pt x="1920" y="498"/>
                    <a:pt x="2000" y="484"/>
                    <a:pt x="2044" y="440"/>
                  </a:cubicBezTo>
                  <a:cubicBezTo>
                    <a:pt x="2073" y="410"/>
                    <a:pt x="2103" y="388"/>
                    <a:pt x="2132" y="366"/>
                  </a:cubicBezTo>
                  <a:cubicBezTo>
                    <a:pt x="2169" y="337"/>
                    <a:pt x="2205" y="315"/>
                    <a:pt x="2220" y="286"/>
                  </a:cubicBezTo>
                  <a:cubicBezTo>
                    <a:pt x="2235" y="264"/>
                    <a:pt x="2235" y="242"/>
                    <a:pt x="2235" y="220"/>
                  </a:cubicBezTo>
                  <a:cubicBezTo>
                    <a:pt x="2242" y="191"/>
                    <a:pt x="2242" y="154"/>
                    <a:pt x="2271" y="124"/>
                  </a:cubicBezTo>
                  <a:cubicBezTo>
                    <a:pt x="2286" y="103"/>
                    <a:pt x="2301" y="88"/>
                    <a:pt x="2323" y="73"/>
                  </a:cubicBezTo>
                  <a:cubicBezTo>
                    <a:pt x="2323" y="66"/>
                    <a:pt x="2323" y="66"/>
                    <a:pt x="2323" y="66"/>
                  </a:cubicBezTo>
                  <a:cubicBezTo>
                    <a:pt x="2345" y="51"/>
                    <a:pt x="2345" y="51"/>
                    <a:pt x="2345" y="51"/>
                  </a:cubicBezTo>
                  <a:lnTo>
                    <a:pt x="2345" y="51"/>
                  </a:lnTo>
                  <a:cubicBezTo>
                    <a:pt x="2374" y="29"/>
                    <a:pt x="2403" y="15"/>
                    <a:pt x="2425" y="7"/>
                  </a:cubicBezTo>
                  <a:cubicBezTo>
                    <a:pt x="2433" y="0"/>
                    <a:pt x="2433" y="0"/>
                    <a:pt x="2440" y="0"/>
                  </a:cubicBezTo>
                  <a:cubicBezTo>
                    <a:pt x="2454" y="0"/>
                    <a:pt x="2462" y="7"/>
                    <a:pt x="2462" y="15"/>
                  </a:cubicBezTo>
                  <a:cubicBezTo>
                    <a:pt x="2469" y="22"/>
                    <a:pt x="2477" y="29"/>
                    <a:pt x="2506" y="29"/>
                  </a:cubicBezTo>
                  <a:cubicBezTo>
                    <a:pt x="2528" y="29"/>
                    <a:pt x="2542" y="15"/>
                    <a:pt x="2557" y="7"/>
                  </a:cubicBezTo>
                  <a:cubicBezTo>
                    <a:pt x="2572" y="0"/>
                    <a:pt x="2587" y="0"/>
                    <a:pt x="2601" y="0"/>
                  </a:cubicBezTo>
                  <a:cubicBezTo>
                    <a:pt x="2616" y="0"/>
                    <a:pt x="2638" y="7"/>
                    <a:pt x="2652" y="29"/>
                  </a:cubicBezTo>
                  <a:cubicBezTo>
                    <a:pt x="2674" y="51"/>
                    <a:pt x="2689" y="73"/>
                    <a:pt x="2696" y="95"/>
                  </a:cubicBezTo>
                  <a:cubicBezTo>
                    <a:pt x="2733" y="147"/>
                    <a:pt x="2762" y="191"/>
                    <a:pt x="2814" y="198"/>
                  </a:cubicBezTo>
                  <a:cubicBezTo>
                    <a:pt x="2872" y="205"/>
                    <a:pt x="2880" y="227"/>
                    <a:pt x="2894" y="256"/>
                  </a:cubicBezTo>
                  <a:cubicBezTo>
                    <a:pt x="2902" y="271"/>
                    <a:pt x="2909" y="293"/>
                    <a:pt x="2931" y="315"/>
                  </a:cubicBezTo>
                  <a:cubicBezTo>
                    <a:pt x="2982" y="374"/>
                    <a:pt x="2997" y="403"/>
                    <a:pt x="3019" y="447"/>
                  </a:cubicBezTo>
                  <a:cubicBezTo>
                    <a:pt x="3041" y="484"/>
                    <a:pt x="3041" y="484"/>
                    <a:pt x="3041" y="484"/>
                  </a:cubicBezTo>
                  <a:cubicBezTo>
                    <a:pt x="3063" y="520"/>
                    <a:pt x="3077" y="542"/>
                    <a:pt x="3098" y="542"/>
                  </a:cubicBezTo>
                  <a:cubicBezTo>
                    <a:pt x="3106" y="542"/>
                    <a:pt x="3113" y="535"/>
                    <a:pt x="3113" y="535"/>
                  </a:cubicBezTo>
                  <a:cubicBezTo>
                    <a:pt x="3120" y="535"/>
                    <a:pt x="3128" y="535"/>
                    <a:pt x="3128" y="535"/>
                  </a:cubicBezTo>
                  <a:cubicBezTo>
                    <a:pt x="3164" y="535"/>
                    <a:pt x="3179" y="564"/>
                    <a:pt x="3194" y="586"/>
                  </a:cubicBezTo>
                  <a:cubicBezTo>
                    <a:pt x="3208" y="601"/>
                    <a:pt x="3216" y="615"/>
                    <a:pt x="3230" y="630"/>
                  </a:cubicBezTo>
                  <a:cubicBezTo>
                    <a:pt x="3245" y="645"/>
                    <a:pt x="3282" y="652"/>
                    <a:pt x="3326" y="652"/>
                  </a:cubicBezTo>
                  <a:cubicBezTo>
                    <a:pt x="3348" y="652"/>
                    <a:pt x="3370" y="652"/>
                    <a:pt x="3370" y="652"/>
                  </a:cubicBezTo>
                  <a:cubicBezTo>
                    <a:pt x="3399" y="652"/>
                    <a:pt x="3450" y="681"/>
                    <a:pt x="3450" y="747"/>
                  </a:cubicBezTo>
                  <a:cubicBezTo>
                    <a:pt x="3450" y="769"/>
                    <a:pt x="3458" y="791"/>
                    <a:pt x="3472" y="813"/>
                  </a:cubicBezTo>
                  <a:cubicBezTo>
                    <a:pt x="3479" y="835"/>
                    <a:pt x="3494" y="865"/>
                    <a:pt x="3487" y="909"/>
                  </a:cubicBezTo>
                  <a:cubicBezTo>
                    <a:pt x="3472" y="982"/>
                    <a:pt x="3465" y="1041"/>
                    <a:pt x="3523" y="1062"/>
                  </a:cubicBezTo>
                  <a:cubicBezTo>
                    <a:pt x="3589" y="1077"/>
                    <a:pt x="3655" y="1092"/>
                    <a:pt x="3655" y="1092"/>
                  </a:cubicBezTo>
                  <a:cubicBezTo>
                    <a:pt x="3655" y="1092"/>
                    <a:pt x="3677" y="1099"/>
                    <a:pt x="3692" y="1099"/>
                  </a:cubicBezTo>
                  <a:cubicBezTo>
                    <a:pt x="3707" y="1099"/>
                    <a:pt x="3714" y="1099"/>
                    <a:pt x="3721" y="1092"/>
                  </a:cubicBezTo>
                  <a:cubicBezTo>
                    <a:pt x="3729" y="1077"/>
                    <a:pt x="3736" y="1055"/>
                    <a:pt x="3729" y="1033"/>
                  </a:cubicBezTo>
                  <a:cubicBezTo>
                    <a:pt x="3721" y="997"/>
                    <a:pt x="3721" y="997"/>
                    <a:pt x="3721" y="997"/>
                  </a:cubicBezTo>
                  <a:cubicBezTo>
                    <a:pt x="3751" y="1019"/>
                    <a:pt x="3751" y="1019"/>
                    <a:pt x="3751" y="1019"/>
                  </a:cubicBezTo>
                  <a:cubicBezTo>
                    <a:pt x="3751" y="1019"/>
                    <a:pt x="3794" y="1041"/>
                    <a:pt x="3824" y="1041"/>
                  </a:cubicBezTo>
                  <a:cubicBezTo>
                    <a:pt x="3839" y="1041"/>
                    <a:pt x="3846" y="1041"/>
                    <a:pt x="3853" y="1033"/>
                  </a:cubicBezTo>
                  <a:cubicBezTo>
                    <a:pt x="3868" y="1011"/>
                    <a:pt x="3882" y="1004"/>
                    <a:pt x="3897" y="1004"/>
                  </a:cubicBezTo>
                  <a:cubicBezTo>
                    <a:pt x="3904" y="1004"/>
                    <a:pt x="3912" y="1004"/>
                    <a:pt x="3919" y="1004"/>
                  </a:cubicBezTo>
                  <a:cubicBezTo>
                    <a:pt x="3926" y="1011"/>
                    <a:pt x="3934" y="1011"/>
                    <a:pt x="3948" y="1011"/>
                  </a:cubicBezTo>
                  <a:cubicBezTo>
                    <a:pt x="3963" y="1011"/>
                    <a:pt x="3978" y="997"/>
                    <a:pt x="3985" y="974"/>
                  </a:cubicBezTo>
                  <a:cubicBezTo>
                    <a:pt x="3992" y="953"/>
                    <a:pt x="3978" y="931"/>
                    <a:pt x="3948" y="916"/>
                  </a:cubicBezTo>
                  <a:cubicBezTo>
                    <a:pt x="3926" y="901"/>
                    <a:pt x="3897" y="894"/>
                    <a:pt x="3868" y="879"/>
                  </a:cubicBezTo>
                  <a:cubicBezTo>
                    <a:pt x="3809" y="857"/>
                    <a:pt x="3758" y="835"/>
                    <a:pt x="3736" y="784"/>
                  </a:cubicBezTo>
                  <a:cubicBezTo>
                    <a:pt x="3736" y="762"/>
                    <a:pt x="3736" y="762"/>
                    <a:pt x="3736" y="762"/>
                  </a:cubicBezTo>
                  <a:cubicBezTo>
                    <a:pt x="3714" y="711"/>
                    <a:pt x="3699" y="667"/>
                    <a:pt x="3780" y="608"/>
                  </a:cubicBezTo>
                  <a:cubicBezTo>
                    <a:pt x="3802" y="593"/>
                    <a:pt x="3802" y="593"/>
                    <a:pt x="3802" y="593"/>
                  </a:cubicBezTo>
                  <a:cubicBezTo>
                    <a:pt x="3860" y="550"/>
                    <a:pt x="3875" y="535"/>
                    <a:pt x="3941" y="513"/>
                  </a:cubicBezTo>
                  <a:cubicBezTo>
                    <a:pt x="3963" y="506"/>
                    <a:pt x="3985" y="506"/>
                    <a:pt x="4007" y="506"/>
                  </a:cubicBezTo>
                  <a:cubicBezTo>
                    <a:pt x="4022" y="506"/>
                    <a:pt x="4036" y="506"/>
                    <a:pt x="4051" y="513"/>
                  </a:cubicBezTo>
                  <a:cubicBezTo>
                    <a:pt x="4066" y="513"/>
                    <a:pt x="4080" y="513"/>
                    <a:pt x="4095" y="513"/>
                  </a:cubicBezTo>
                  <a:cubicBezTo>
                    <a:pt x="4117" y="513"/>
                    <a:pt x="4227" y="520"/>
                    <a:pt x="4256" y="579"/>
                  </a:cubicBezTo>
                  <a:cubicBezTo>
                    <a:pt x="4271" y="608"/>
                    <a:pt x="4293" y="623"/>
                    <a:pt x="4293" y="623"/>
                  </a:cubicBezTo>
                  <a:cubicBezTo>
                    <a:pt x="4293" y="601"/>
                    <a:pt x="4308" y="593"/>
                    <a:pt x="4322" y="593"/>
                  </a:cubicBezTo>
                  <a:cubicBezTo>
                    <a:pt x="4337" y="593"/>
                    <a:pt x="4366" y="601"/>
                    <a:pt x="4410" y="630"/>
                  </a:cubicBezTo>
                  <a:lnTo>
                    <a:pt x="4417" y="630"/>
                  </a:lnTo>
                  <a:cubicBezTo>
                    <a:pt x="4454" y="630"/>
                    <a:pt x="4498" y="608"/>
                    <a:pt x="4513" y="593"/>
                  </a:cubicBezTo>
                  <a:cubicBezTo>
                    <a:pt x="4520" y="593"/>
                    <a:pt x="4534" y="593"/>
                    <a:pt x="4549" y="593"/>
                  </a:cubicBezTo>
                  <a:cubicBezTo>
                    <a:pt x="4571" y="593"/>
                    <a:pt x="4601" y="593"/>
                    <a:pt x="4622" y="623"/>
                  </a:cubicBezTo>
                  <a:cubicBezTo>
                    <a:pt x="4666" y="660"/>
                    <a:pt x="4644" y="747"/>
                    <a:pt x="4644" y="762"/>
                  </a:cubicBezTo>
                  <a:cubicBezTo>
                    <a:pt x="4637" y="762"/>
                    <a:pt x="4622" y="806"/>
                    <a:pt x="4652" y="835"/>
                  </a:cubicBezTo>
                  <a:cubicBezTo>
                    <a:pt x="4674" y="865"/>
                    <a:pt x="4703" y="879"/>
                    <a:pt x="4718" y="879"/>
                  </a:cubicBezTo>
                  <a:cubicBezTo>
                    <a:pt x="4725" y="879"/>
                    <a:pt x="4732" y="879"/>
                    <a:pt x="4740" y="872"/>
                  </a:cubicBezTo>
                  <a:cubicBezTo>
                    <a:pt x="4754" y="857"/>
                    <a:pt x="4762" y="850"/>
                    <a:pt x="4776" y="850"/>
                  </a:cubicBezTo>
                  <a:cubicBezTo>
                    <a:pt x="4791" y="850"/>
                    <a:pt x="4798" y="857"/>
                    <a:pt x="4806" y="865"/>
                  </a:cubicBezTo>
                  <a:cubicBezTo>
                    <a:pt x="4813" y="872"/>
                    <a:pt x="4820" y="879"/>
                    <a:pt x="4828" y="879"/>
                  </a:cubicBezTo>
                  <a:cubicBezTo>
                    <a:pt x="4835" y="879"/>
                    <a:pt x="4842" y="879"/>
                    <a:pt x="4842" y="879"/>
                  </a:cubicBezTo>
                  <a:cubicBezTo>
                    <a:pt x="4850" y="879"/>
                    <a:pt x="4857" y="879"/>
                    <a:pt x="4857" y="879"/>
                  </a:cubicBezTo>
                  <a:cubicBezTo>
                    <a:pt x="4872" y="879"/>
                    <a:pt x="4879" y="879"/>
                    <a:pt x="4886" y="872"/>
                  </a:cubicBezTo>
                  <a:cubicBezTo>
                    <a:pt x="4894" y="865"/>
                    <a:pt x="4901" y="835"/>
                    <a:pt x="4894" y="777"/>
                  </a:cubicBezTo>
                  <a:cubicBezTo>
                    <a:pt x="4894" y="725"/>
                    <a:pt x="4894" y="681"/>
                    <a:pt x="4894" y="638"/>
                  </a:cubicBezTo>
                  <a:cubicBezTo>
                    <a:pt x="4901" y="572"/>
                    <a:pt x="4901" y="513"/>
                    <a:pt x="4872" y="469"/>
                  </a:cubicBezTo>
                  <a:cubicBezTo>
                    <a:pt x="4828" y="388"/>
                    <a:pt x="4813" y="249"/>
                    <a:pt x="4813" y="249"/>
                  </a:cubicBezTo>
                  <a:cubicBezTo>
                    <a:pt x="4813" y="242"/>
                    <a:pt x="4813" y="242"/>
                    <a:pt x="4813" y="242"/>
                  </a:cubicBezTo>
                  <a:cubicBezTo>
                    <a:pt x="4820" y="234"/>
                    <a:pt x="4820" y="234"/>
                    <a:pt x="4820" y="234"/>
                  </a:cubicBezTo>
                  <a:cubicBezTo>
                    <a:pt x="4820" y="234"/>
                    <a:pt x="4864" y="198"/>
                    <a:pt x="4923" y="161"/>
                  </a:cubicBezTo>
                  <a:cubicBezTo>
                    <a:pt x="4974" y="132"/>
                    <a:pt x="5011" y="110"/>
                    <a:pt x="5018" y="81"/>
                  </a:cubicBezTo>
                  <a:cubicBezTo>
                    <a:pt x="5033" y="44"/>
                    <a:pt x="5077" y="44"/>
                    <a:pt x="5091" y="44"/>
                  </a:cubicBezTo>
                  <a:cubicBezTo>
                    <a:pt x="5106" y="44"/>
                    <a:pt x="5113" y="51"/>
                    <a:pt x="5128" y="51"/>
                  </a:cubicBezTo>
                  <a:cubicBezTo>
                    <a:pt x="5135" y="51"/>
                    <a:pt x="5150" y="51"/>
                    <a:pt x="5157" y="51"/>
                  </a:cubicBezTo>
                  <a:cubicBezTo>
                    <a:pt x="5179" y="51"/>
                    <a:pt x="5194" y="59"/>
                    <a:pt x="5209" y="73"/>
                  </a:cubicBezTo>
                  <a:cubicBezTo>
                    <a:pt x="5231" y="110"/>
                    <a:pt x="5231" y="176"/>
                    <a:pt x="5216" y="205"/>
                  </a:cubicBezTo>
                  <a:cubicBezTo>
                    <a:pt x="5216" y="220"/>
                    <a:pt x="5216" y="256"/>
                    <a:pt x="5238" y="286"/>
                  </a:cubicBezTo>
                  <a:cubicBezTo>
                    <a:pt x="5245" y="300"/>
                    <a:pt x="5253" y="315"/>
                    <a:pt x="5275" y="322"/>
                  </a:cubicBezTo>
                  <a:cubicBezTo>
                    <a:pt x="5341" y="337"/>
                    <a:pt x="5355" y="381"/>
                    <a:pt x="5370" y="425"/>
                  </a:cubicBezTo>
                  <a:cubicBezTo>
                    <a:pt x="5377" y="462"/>
                    <a:pt x="5407" y="513"/>
                    <a:pt x="5436" y="513"/>
                  </a:cubicBezTo>
                  <a:cubicBezTo>
                    <a:pt x="5443" y="513"/>
                    <a:pt x="5451" y="513"/>
                    <a:pt x="5458" y="506"/>
                  </a:cubicBezTo>
                  <a:cubicBezTo>
                    <a:pt x="5472" y="491"/>
                    <a:pt x="5487" y="469"/>
                    <a:pt x="5502" y="454"/>
                  </a:cubicBezTo>
                  <a:cubicBezTo>
                    <a:pt x="5524" y="432"/>
                    <a:pt x="5539" y="410"/>
                    <a:pt x="5560" y="410"/>
                  </a:cubicBezTo>
                  <a:cubicBezTo>
                    <a:pt x="5568" y="410"/>
                    <a:pt x="5575" y="410"/>
                    <a:pt x="5582" y="410"/>
                  </a:cubicBezTo>
                  <a:cubicBezTo>
                    <a:pt x="5604" y="425"/>
                    <a:pt x="5612" y="432"/>
                    <a:pt x="5626" y="447"/>
                  </a:cubicBezTo>
                  <a:cubicBezTo>
                    <a:pt x="5641" y="462"/>
                    <a:pt x="5648" y="469"/>
                    <a:pt x="5663" y="469"/>
                  </a:cubicBezTo>
                  <a:cubicBezTo>
                    <a:pt x="5678" y="469"/>
                    <a:pt x="5685" y="462"/>
                    <a:pt x="5700" y="462"/>
                  </a:cubicBezTo>
                  <a:cubicBezTo>
                    <a:pt x="5773" y="425"/>
                    <a:pt x="5883" y="381"/>
                    <a:pt x="5956" y="381"/>
                  </a:cubicBezTo>
                  <a:cubicBezTo>
                    <a:pt x="5985" y="381"/>
                    <a:pt x="6000" y="381"/>
                    <a:pt x="6000" y="403"/>
                  </a:cubicBezTo>
                  <a:cubicBezTo>
                    <a:pt x="6007" y="410"/>
                    <a:pt x="6007" y="410"/>
                    <a:pt x="6044" y="410"/>
                  </a:cubicBezTo>
                  <a:cubicBezTo>
                    <a:pt x="6132" y="410"/>
                    <a:pt x="6139" y="410"/>
                    <a:pt x="6198" y="381"/>
                  </a:cubicBezTo>
                  <a:cubicBezTo>
                    <a:pt x="6220" y="366"/>
                    <a:pt x="6249" y="359"/>
                    <a:pt x="6271" y="352"/>
                  </a:cubicBezTo>
                  <a:cubicBezTo>
                    <a:pt x="6271" y="352"/>
                    <a:pt x="6279" y="352"/>
                    <a:pt x="6286" y="352"/>
                  </a:cubicBezTo>
                  <a:cubicBezTo>
                    <a:pt x="6315" y="352"/>
                    <a:pt x="6337" y="366"/>
                    <a:pt x="6352" y="381"/>
                  </a:cubicBezTo>
                  <a:cubicBezTo>
                    <a:pt x="6359" y="403"/>
                    <a:pt x="6366" y="425"/>
                    <a:pt x="6366" y="462"/>
                  </a:cubicBezTo>
                  <a:cubicBezTo>
                    <a:pt x="6374" y="506"/>
                    <a:pt x="6381" y="564"/>
                    <a:pt x="6410" y="572"/>
                  </a:cubicBezTo>
                  <a:cubicBezTo>
                    <a:pt x="6469" y="593"/>
                    <a:pt x="6520" y="615"/>
                    <a:pt x="6564" y="615"/>
                  </a:cubicBezTo>
                  <a:cubicBezTo>
                    <a:pt x="6572" y="615"/>
                    <a:pt x="6601" y="615"/>
                    <a:pt x="6718" y="681"/>
                  </a:cubicBezTo>
                  <a:cubicBezTo>
                    <a:pt x="6725" y="681"/>
                    <a:pt x="6725" y="681"/>
                    <a:pt x="6725" y="681"/>
                  </a:cubicBezTo>
                  <a:cubicBezTo>
                    <a:pt x="6725" y="689"/>
                    <a:pt x="6725" y="689"/>
                    <a:pt x="6725" y="689"/>
                  </a:cubicBezTo>
                  <a:cubicBezTo>
                    <a:pt x="6740" y="711"/>
                    <a:pt x="6770" y="762"/>
                    <a:pt x="6755" y="806"/>
                  </a:cubicBezTo>
                  <a:cubicBezTo>
                    <a:pt x="6747" y="828"/>
                    <a:pt x="6733" y="843"/>
                    <a:pt x="6718" y="850"/>
                  </a:cubicBezTo>
                  <a:cubicBezTo>
                    <a:pt x="6696" y="865"/>
                    <a:pt x="6682" y="879"/>
                    <a:pt x="6682" y="901"/>
                  </a:cubicBezTo>
                  <a:cubicBezTo>
                    <a:pt x="6682" y="931"/>
                    <a:pt x="6703" y="945"/>
                    <a:pt x="6725" y="960"/>
                  </a:cubicBezTo>
                  <a:cubicBezTo>
                    <a:pt x="6762" y="967"/>
                    <a:pt x="6777" y="982"/>
                    <a:pt x="6791" y="989"/>
                  </a:cubicBezTo>
                  <a:cubicBezTo>
                    <a:pt x="6813" y="1004"/>
                    <a:pt x="6828" y="1019"/>
                    <a:pt x="6872" y="1026"/>
                  </a:cubicBezTo>
                  <a:cubicBezTo>
                    <a:pt x="6909" y="1026"/>
                    <a:pt x="6931" y="1048"/>
                    <a:pt x="6938" y="1077"/>
                  </a:cubicBezTo>
                  <a:cubicBezTo>
                    <a:pt x="6953" y="1121"/>
                    <a:pt x="6945" y="1172"/>
                    <a:pt x="6916" y="1194"/>
                  </a:cubicBezTo>
                  <a:cubicBezTo>
                    <a:pt x="6901" y="1216"/>
                    <a:pt x="6887" y="1253"/>
                    <a:pt x="6894" y="1290"/>
                  </a:cubicBezTo>
                  <a:cubicBezTo>
                    <a:pt x="6894" y="1312"/>
                    <a:pt x="6901" y="1334"/>
                    <a:pt x="6916" y="1348"/>
                  </a:cubicBezTo>
                  <a:cubicBezTo>
                    <a:pt x="6923" y="1356"/>
                    <a:pt x="6938" y="1363"/>
                    <a:pt x="6953" y="1370"/>
                  </a:cubicBezTo>
                  <a:cubicBezTo>
                    <a:pt x="6989" y="1385"/>
                    <a:pt x="7026" y="1407"/>
                    <a:pt x="7055" y="1465"/>
                  </a:cubicBezTo>
                  <a:cubicBezTo>
                    <a:pt x="7077" y="1510"/>
                    <a:pt x="7106" y="1524"/>
                    <a:pt x="7158" y="1546"/>
                  </a:cubicBezTo>
                  <a:cubicBezTo>
                    <a:pt x="7187" y="1561"/>
                    <a:pt x="7216" y="1575"/>
                    <a:pt x="7253" y="1605"/>
                  </a:cubicBezTo>
                  <a:cubicBezTo>
                    <a:pt x="7275" y="1619"/>
                    <a:pt x="7290" y="1634"/>
                    <a:pt x="7304" y="1641"/>
                  </a:cubicBezTo>
                  <a:cubicBezTo>
                    <a:pt x="7348" y="1678"/>
                    <a:pt x="7370" y="1693"/>
                    <a:pt x="7429" y="1707"/>
                  </a:cubicBezTo>
                  <a:cubicBezTo>
                    <a:pt x="7488" y="1715"/>
                    <a:pt x="7546" y="1744"/>
                    <a:pt x="7553" y="1781"/>
                  </a:cubicBezTo>
                  <a:cubicBezTo>
                    <a:pt x="7561" y="1803"/>
                    <a:pt x="7553" y="1824"/>
                    <a:pt x="7539" y="1847"/>
                  </a:cubicBezTo>
                  <a:cubicBezTo>
                    <a:pt x="7524" y="1854"/>
                    <a:pt x="7524" y="1869"/>
                    <a:pt x="7524" y="1876"/>
                  </a:cubicBezTo>
                  <a:cubicBezTo>
                    <a:pt x="7524" y="1883"/>
                    <a:pt x="7546" y="1905"/>
                    <a:pt x="7612" y="1934"/>
                  </a:cubicBezTo>
                  <a:cubicBezTo>
                    <a:pt x="7649" y="1949"/>
                    <a:pt x="7678" y="1964"/>
                    <a:pt x="7678" y="1993"/>
                  </a:cubicBezTo>
                  <a:cubicBezTo>
                    <a:pt x="7693" y="2037"/>
                    <a:pt x="7663" y="2081"/>
                    <a:pt x="7634" y="2118"/>
                  </a:cubicBezTo>
                  <a:cubicBezTo>
                    <a:pt x="7575" y="2176"/>
                    <a:pt x="7568" y="2206"/>
                    <a:pt x="7539" y="2293"/>
                  </a:cubicBezTo>
                  <a:cubicBezTo>
                    <a:pt x="7532" y="2301"/>
                    <a:pt x="7532" y="2301"/>
                    <a:pt x="7532" y="2301"/>
                  </a:cubicBezTo>
                  <a:cubicBezTo>
                    <a:pt x="7524" y="2330"/>
                    <a:pt x="7517" y="2352"/>
                    <a:pt x="7524" y="2360"/>
                  </a:cubicBezTo>
                  <a:cubicBezTo>
                    <a:pt x="7539" y="2374"/>
                    <a:pt x="7553" y="2374"/>
                    <a:pt x="7553" y="2374"/>
                  </a:cubicBezTo>
                  <a:cubicBezTo>
                    <a:pt x="7605" y="2374"/>
                    <a:pt x="7605" y="2374"/>
                    <a:pt x="7605" y="2374"/>
                  </a:cubicBezTo>
                  <a:cubicBezTo>
                    <a:pt x="7561" y="2403"/>
                    <a:pt x="7561" y="2403"/>
                    <a:pt x="7561" y="2403"/>
                  </a:cubicBezTo>
                  <a:cubicBezTo>
                    <a:pt x="7561" y="2403"/>
                    <a:pt x="7480" y="2448"/>
                    <a:pt x="7436" y="2499"/>
                  </a:cubicBezTo>
                  <a:cubicBezTo>
                    <a:pt x="7400" y="2550"/>
                    <a:pt x="7414" y="2572"/>
                    <a:pt x="7451" y="2616"/>
                  </a:cubicBezTo>
                  <a:cubicBezTo>
                    <a:pt x="7480" y="2653"/>
                    <a:pt x="7568" y="2689"/>
                    <a:pt x="7620" y="2704"/>
                  </a:cubicBezTo>
                  <a:cubicBezTo>
                    <a:pt x="7685" y="2719"/>
                    <a:pt x="7663" y="2821"/>
                    <a:pt x="7656" y="2865"/>
                  </a:cubicBezTo>
                  <a:cubicBezTo>
                    <a:pt x="7649" y="2887"/>
                    <a:pt x="7663" y="2894"/>
                    <a:pt x="7700" y="2909"/>
                  </a:cubicBezTo>
                  <a:cubicBezTo>
                    <a:pt x="7715" y="2924"/>
                    <a:pt x="7737" y="2931"/>
                    <a:pt x="7744" y="2946"/>
                  </a:cubicBezTo>
                  <a:cubicBezTo>
                    <a:pt x="7766" y="2982"/>
                    <a:pt x="7832" y="3165"/>
                    <a:pt x="7846" y="3217"/>
                  </a:cubicBezTo>
                  <a:cubicBezTo>
                    <a:pt x="7869" y="3224"/>
                    <a:pt x="7942" y="3253"/>
                    <a:pt x="7949" y="3312"/>
                  </a:cubicBezTo>
                  <a:cubicBezTo>
                    <a:pt x="7956" y="3334"/>
                    <a:pt x="7956" y="3363"/>
                    <a:pt x="7956" y="3393"/>
                  </a:cubicBezTo>
                  <a:cubicBezTo>
                    <a:pt x="7956" y="3451"/>
                    <a:pt x="7956" y="3524"/>
                    <a:pt x="7979" y="3554"/>
                  </a:cubicBezTo>
                  <a:cubicBezTo>
                    <a:pt x="7986" y="3561"/>
                    <a:pt x="7993" y="3561"/>
                    <a:pt x="8008" y="3561"/>
                  </a:cubicBezTo>
                  <a:cubicBezTo>
                    <a:pt x="8103" y="3561"/>
                    <a:pt x="8220" y="3679"/>
                    <a:pt x="8257" y="3774"/>
                  </a:cubicBezTo>
                  <a:cubicBezTo>
                    <a:pt x="8272" y="3825"/>
                    <a:pt x="8301" y="3832"/>
                    <a:pt x="8330" y="3832"/>
                  </a:cubicBezTo>
                  <a:cubicBezTo>
                    <a:pt x="8360" y="3832"/>
                    <a:pt x="8403" y="3818"/>
                    <a:pt x="8455" y="3810"/>
                  </a:cubicBezTo>
                  <a:cubicBezTo>
                    <a:pt x="8477" y="3803"/>
                    <a:pt x="8477" y="3803"/>
                    <a:pt x="8477" y="3803"/>
                  </a:cubicBezTo>
                  <a:cubicBezTo>
                    <a:pt x="8491" y="3796"/>
                    <a:pt x="8513" y="3796"/>
                    <a:pt x="8528" y="3796"/>
                  </a:cubicBezTo>
                  <a:cubicBezTo>
                    <a:pt x="8638" y="3796"/>
                    <a:pt x="8733" y="3891"/>
                    <a:pt x="8784" y="3942"/>
                  </a:cubicBezTo>
                  <a:cubicBezTo>
                    <a:pt x="8799" y="3957"/>
                    <a:pt x="8799" y="3957"/>
                    <a:pt x="8799" y="3957"/>
                  </a:cubicBezTo>
                  <a:cubicBezTo>
                    <a:pt x="8843" y="4001"/>
                    <a:pt x="8887" y="4052"/>
                    <a:pt x="8931" y="4111"/>
                  </a:cubicBezTo>
                  <a:cubicBezTo>
                    <a:pt x="8946" y="4133"/>
                    <a:pt x="8953" y="4155"/>
                    <a:pt x="8968" y="4169"/>
                  </a:cubicBezTo>
                  <a:cubicBezTo>
                    <a:pt x="8975" y="4199"/>
                    <a:pt x="8990" y="4228"/>
                    <a:pt x="9019" y="4243"/>
                  </a:cubicBezTo>
                  <a:cubicBezTo>
                    <a:pt x="9070" y="4272"/>
                    <a:pt x="9165" y="4345"/>
                    <a:pt x="9173" y="4411"/>
                  </a:cubicBezTo>
                  <a:cubicBezTo>
                    <a:pt x="9187" y="4455"/>
                    <a:pt x="9232" y="4499"/>
                    <a:pt x="9246" y="4514"/>
                  </a:cubicBezTo>
                  <a:cubicBezTo>
                    <a:pt x="9275" y="4514"/>
                    <a:pt x="9415" y="4514"/>
                    <a:pt x="9466" y="4529"/>
                  </a:cubicBezTo>
                  <a:cubicBezTo>
                    <a:pt x="9532" y="4543"/>
                    <a:pt x="9686" y="4719"/>
                    <a:pt x="9708" y="4778"/>
                  </a:cubicBezTo>
                  <a:cubicBezTo>
                    <a:pt x="9722" y="4807"/>
                    <a:pt x="9708" y="4851"/>
                    <a:pt x="9701" y="4895"/>
                  </a:cubicBezTo>
                  <a:cubicBezTo>
                    <a:pt x="9693" y="4910"/>
                    <a:pt x="9686" y="4939"/>
                    <a:pt x="9686" y="4946"/>
                  </a:cubicBezTo>
                  <a:cubicBezTo>
                    <a:pt x="9693" y="4953"/>
                    <a:pt x="9693" y="4953"/>
                    <a:pt x="9693" y="4953"/>
                  </a:cubicBezTo>
                  <a:cubicBezTo>
                    <a:pt x="9737" y="4961"/>
                    <a:pt x="9810" y="4990"/>
                    <a:pt x="9884" y="5049"/>
                  </a:cubicBezTo>
                  <a:cubicBezTo>
                    <a:pt x="9898" y="5063"/>
                    <a:pt x="9906" y="5063"/>
                    <a:pt x="9906" y="5063"/>
                  </a:cubicBezTo>
                  <a:cubicBezTo>
                    <a:pt x="9913" y="5063"/>
                    <a:pt x="9920" y="5049"/>
                    <a:pt x="9927" y="5034"/>
                  </a:cubicBezTo>
                  <a:cubicBezTo>
                    <a:pt x="9935" y="5012"/>
                    <a:pt x="9950" y="4975"/>
                    <a:pt x="9986" y="4975"/>
                  </a:cubicBezTo>
                  <a:cubicBezTo>
                    <a:pt x="9994" y="4975"/>
                    <a:pt x="9994" y="4975"/>
                    <a:pt x="10001" y="4983"/>
                  </a:cubicBezTo>
                  <a:cubicBezTo>
                    <a:pt x="10082" y="5005"/>
                    <a:pt x="10169" y="5027"/>
                    <a:pt x="10206" y="5115"/>
                  </a:cubicBezTo>
                  <a:cubicBezTo>
                    <a:pt x="10243" y="5195"/>
                    <a:pt x="10272" y="5232"/>
                    <a:pt x="10331" y="5239"/>
                  </a:cubicBezTo>
                  <a:cubicBezTo>
                    <a:pt x="10338" y="5239"/>
                    <a:pt x="10345" y="5239"/>
                    <a:pt x="10353" y="5239"/>
                  </a:cubicBezTo>
                  <a:cubicBezTo>
                    <a:pt x="10375" y="5239"/>
                    <a:pt x="10389" y="5239"/>
                    <a:pt x="10411" y="5232"/>
                  </a:cubicBezTo>
                  <a:cubicBezTo>
                    <a:pt x="10426" y="5232"/>
                    <a:pt x="10433" y="5224"/>
                    <a:pt x="10448" y="5224"/>
                  </a:cubicBezTo>
                  <a:cubicBezTo>
                    <a:pt x="10470" y="5224"/>
                    <a:pt x="10477" y="5239"/>
                    <a:pt x="10477" y="5254"/>
                  </a:cubicBezTo>
                  <a:cubicBezTo>
                    <a:pt x="10492" y="5283"/>
                    <a:pt x="10543" y="5371"/>
                    <a:pt x="10580" y="5415"/>
                  </a:cubicBezTo>
                  <a:cubicBezTo>
                    <a:pt x="10602" y="5452"/>
                    <a:pt x="10616" y="5481"/>
                    <a:pt x="10638" y="5518"/>
                  </a:cubicBezTo>
                  <a:cubicBezTo>
                    <a:pt x="10646" y="5532"/>
                    <a:pt x="10653" y="5547"/>
                    <a:pt x="10660" y="5569"/>
                  </a:cubicBezTo>
                  <a:cubicBezTo>
                    <a:pt x="10690" y="5620"/>
                    <a:pt x="10682" y="5657"/>
                    <a:pt x="10668" y="5708"/>
                  </a:cubicBezTo>
                  <a:cubicBezTo>
                    <a:pt x="10668" y="5730"/>
                    <a:pt x="10660" y="5752"/>
                    <a:pt x="10660" y="5781"/>
                  </a:cubicBezTo>
                  <a:cubicBezTo>
                    <a:pt x="10653" y="5848"/>
                    <a:pt x="10660" y="5862"/>
                    <a:pt x="10682" y="5884"/>
                  </a:cubicBezTo>
                  <a:cubicBezTo>
                    <a:pt x="10690" y="5891"/>
                    <a:pt x="10697" y="5899"/>
                    <a:pt x="10704" y="5921"/>
                  </a:cubicBezTo>
                  <a:cubicBezTo>
                    <a:pt x="10734" y="5965"/>
                    <a:pt x="10719" y="6016"/>
                    <a:pt x="10697" y="6082"/>
                  </a:cubicBezTo>
                  <a:cubicBezTo>
                    <a:pt x="10690" y="6111"/>
                    <a:pt x="10682" y="6141"/>
                    <a:pt x="10675" y="6177"/>
                  </a:cubicBezTo>
                  <a:cubicBezTo>
                    <a:pt x="10653" y="6250"/>
                    <a:pt x="10638" y="6272"/>
                    <a:pt x="10609" y="6287"/>
                  </a:cubicBezTo>
                  <a:cubicBezTo>
                    <a:pt x="10594" y="6294"/>
                    <a:pt x="10580" y="6309"/>
                    <a:pt x="10565" y="6331"/>
                  </a:cubicBezTo>
                  <a:cubicBezTo>
                    <a:pt x="10551" y="6360"/>
                    <a:pt x="10543" y="6382"/>
                    <a:pt x="10536" y="6404"/>
                  </a:cubicBezTo>
                  <a:cubicBezTo>
                    <a:pt x="10521" y="6434"/>
                    <a:pt x="10514" y="6463"/>
                    <a:pt x="10484" y="6478"/>
                  </a:cubicBezTo>
                  <a:cubicBezTo>
                    <a:pt x="10477" y="6485"/>
                    <a:pt x="10470" y="6492"/>
                    <a:pt x="10455" y="6492"/>
                  </a:cubicBezTo>
                  <a:lnTo>
                    <a:pt x="10455" y="6492"/>
                  </a:lnTo>
                  <a:cubicBezTo>
                    <a:pt x="10426" y="6492"/>
                    <a:pt x="10389" y="6456"/>
                    <a:pt x="10360" y="6419"/>
                  </a:cubicBezTo>
                  <a:cubicBezTo>
                    <a:pt x="10345" y="6404"/>
                    <a:pt x="10331" y="6390"/>
                    <a:pt x="10316" y="6382"/>
                  </a:cubicBezTo>
                  <a:cubicBezTo>
                    <a:pt x="10294" y="6360"/>
                    <a:pt x="10257" y="6353"/>
                    <a:pt x="10221" y="6346"/>
                  </a:cubicBezTo>
                  <a:cubicBezTo>
                    <a:pt x="10184" y="6338"/>
                    <a:pt x="10147" y="6331"/>
                    <a:pt x="10111" y="6316"/>
                  </a:cubicBezTo>
                  <a:cubicBezTo>
                    <a:pt x="10060" y="6294"/>
                    <a:pt x="10045" y="6272"/>
                    <a:pt x="10030" y="6258"/>
                  </a:cubicBezTo>
                  <a:lnTo>
                    <a:pt x="10023" y="6250"/>
                  </a:lnTo>
                  <a:cubicBezTo>
                    <a:pt x="10023" y="6250"/>
                    <a:pt x="10015" y="6258"/>
                    <a:pt x="10008" y="6265"/>
                  </a:cubicBezTo>
                  <a:cubicBezTo>
                    <a:pt x="9994" y="6280"/>
                    <a:pt x="9986" y="6294"/>
                    <a:pt x="9986" y="6302"/>
                  </a:cubicBezTo>
                  <a:cubicBezTo>
                    <a:pt x="9979" y="6316"/>
                    <a:pt x="9972" y="6331"/>
                    <a:pt x="9927" y="6360"/>
                  </a:cubicBezTo>
                  <a:cubicBezTo>
                    <a:pt x="9898" y="6375"/>
                    <a:pt x="9884" y="6382"/>
                    <a:pt x="9876" y="6382"/>
                  </a:cubicBezTo>
                  <a:cubicBezTo>
                    <a:pt x="9869" y="6390"/>
                    <a:pt x="9869" y="6390"/>
                    <a:pt x="9869" y="6390"/>
                  </a:cubicBezTo>
                  <a:cubicBezTo>
                    <a:pt x="9869" y="6390"/>
                    <a:pt x="9869" y="6397"/>
                    <a:pt x="9869" y="6412"/>
                  </a:cubicBezTo>
                  <a:cubicBezTo>
                    <a:pt x="9869" y="6463"/>
                    <a:pt x="9913" y="6588"/>
                    <a:pt x="9913" y="6588"/>
                  </a:cubicBezTo>
                  <a:cubicBezTo>
                    <a:pt x="9913" y="6595"/>
                    <a:pt x="9913" y="6595"/>
                    <a:pt x="9913" y="6595"/>
                  </a:cubicBezTo>
                  <a:cubicBezTo>
                    <a:pt x="9913" y="6602"/>
                    <a:pt x="9913" y="6602"/>
                    <a:pt x="9913" y="6602"/>
                  </a:cubicBezTo>
                  <a:cubicBezTo>
                    <a:pt x="9913" y="6602"/>
                    <a:pt x="9891" y="6668"/>
                    <a:pt x="9869" y="6749"/>
                  </a:cubicBezTo>
                  <a:cubicBezTo>
                    <a:pt x="9854" y="6785"/>
                    <a:pt x="9854" y="6815"/>
                    <a:pt x="9854" y="6851"/>
                  </a:cubicBezTo>
                  <a:cubicBezTo>
                    <a:pt x="9854" y="6888"/>
                    <a:pt x="9854" y="6932"/>
                    <a:pt x="9847" y="6983"/>
                  </a:cubicBezTo>
                  <a:cubicBezTo>
                    <a:pt x="9818" y="7100"/>
                    <a:pt x="9503" y="7276"/>
                    <a:pt x="9415" y="7298"/>
                  </a:cubicBezTo>
                  <a:cubicBezTo>
                    <a:pt x="9385" y="7306"/>
                    <a:pt x="9349" y="7313"/>
                    <a:pt x="9319" y="7320"/>
                  </a:cubicBezTo>
                  <a:cubicBezTo>
                    <a:pt x="9246" y="7335"/>
                    <a:pt x="9158" y="7357"/>
                    <a:pt x="9100" y="7379"/>
                  </a:cubicBezTo>
                  <a:cubicBezTo>
                    <a:pt x="9012" y="7416"/>
                    <a:pt x="8887" y="7548"/>
                    <a:pt x="8865" y="7577"/>
                  </a:cubicBezTo>
                  <a:cubicBezTo>
                    <a:pt x="8851" y="7599"/>
                    <a:pt x="8828" y="7599"/>
                    <a:pt x="8814" y="7599"/>
                  </a:cubicBezTo>
                  <a:cubicBezTo>
                    <a:pt x="8799" y="7599"/>
                    <a:pt x="8792" y="7599"/>
                    <a:pt x="8784" y="7599"/>
                  </a:cubicBezTo>
                  <a:cubicBezTo>
                    <a:pt x="8777" y="7599"/>
                    <a:pt x="8762" y="7599"/>
                    <a:pt x="8755" y="7599"/>
                  </a:cubicBezTo>
                  <a:cubicBezTo>
                    <a:pt x="8733" y="7599"/>
                    <a:pt x="8719" y="7599"/>
                    <a:pt x="8704" y="7606"/>
                  </a:cubicBezTo>
                  <a:cubicBezTo>
                    <a:pt x="8667" y="7613"/>
                    <a:pt x="8667" y="7635"/>
                    <a:pt x="8660" y="7665"/>
                  </a:cubicBezTo>
                  <a:cubicBezTo>
                    <a:pt x="8653" y="7694"/>
                    <a:pt x="8645" y="7731"/>
                    <a:pt x="8616" y="7767"/>
                  </a:cubicBezTo>
                  <a:cubicBezTo>
                    <a:pt x="8587" y="7819"/>
                    <a:pt x="8550" y="7841"/>
                    <a:pt x="8513" y="7862"/>
                  </a:cubicBezTo>
                  <a:cubicBezTo>
                    <a:pt x="8484" y="7877"/>
                    <a:pt x="8455" y="7892"/>
                    <a:pt x="8440" y="7929"/>
                  </a:cubicBezTo>
                  <a:cubicBezTo>
                    <a:pt x="8418" y="7965"/>
                    <a:pt x="8411" y="7994"/>
                    <a:pt x="8418" y="8031"/>
                  </a:cubicBezTo>
                  <a:cubicBezTo>
                    <a:pt x="8433" y="8060"/>
                    <a:pt x="8455" y="8090"/>
                    <a:pt x="8499" y="8112"/>
                  </a:cubicBezTo>
                  <a:cubicBezTo>
                    <a:pt x="8521" y="8119"/>
                    <a:pt x="8543" y="8134"/>
                    <a:pt x="8565" y="8141"/>
                  </a:cubicBezTo>
                  <a:cubicBezTo>
                    <a:pt x="8623" y="8163"/>
                    <a:pt x="8667" y="8178"/>
                    <a:pt x="8675" y="8243"/>
                  </a:cubicBezTo>
                  <a:cubicBezTo>
                    <a:pt x="8689" y="8317"/>
                    <a:pt x="8741" y="8383"/>
                    <a:pt x="8799" y="8405"/>
                  </a:cubicBezTo>
                  <a:cubicBezTo>
                    <a:pt x="8851" y="8419"/>
                    <a:pt x="8880" y="8478"/>
                    <a:pt x="8909" y="8544"/>
                  </a:cubicBezTo>
                  <a:cubicBezTo>
                    <a:pt x="8931" y="8581"/>
                    <a:pt x="8953" y="8625"/>
                    <a:pt x="8982" y="8669"/>
                  </a:cubicBezTo>
                  <a:cubicBezTo>
                    <a:pt x="9041" y="8771"/>
                    <a:pt x="8982" y="8852"/>
                    <a:pt x="8938" y="8925"/>
                  </a:cubicBezTo>
                  <a:cubicBezTo>
                    <a:pt x="8916" y="8954"/>
                    <a:pt x="8902" y="8976"/>
                    <a:pt x="8894" y="9006"/>
                  </a:cubicBezTo>
                  <a:cubicBezTo>
                    <a:pt x="8880" y="9035"/>
                    <a:pt x="8865" y="9057"/>
                    <a:pt x="8851" y="9079"/>
                  </a:cubicBezTo>
                  <a:cubicBezTo>
                    <a:pt x="8828" y="9108"/>
                    <a:pt x="8814" y="9123"/>
                    <a:pt x="8836" y="9174"/>
                  </a:cubicBezTo>
                  <a:cubicBezTo>
                    <a:pt x="8836" y="9189"/>
                    <a:pt x="8836" y="9189"/>
                    <a:pt x="8836" y="9189"/>
                  </a:cubicBezTo>
                  <a:cubicBezTo>
                    <a:pt x="8858" y="9225"/>
                    <a:pt x="8865" y="9240"/>
                    <a:pt x="8872" y="9240"/>
                  </a:cubicBezTo>
                  <a:cubicBezTo>
                    <a:pt x="8894" y="9240"/>
                    <a:pt x="8938" y="9218"/>
                    <a:pt x="8982" y="9189"/>
                  </a:cubicBezTo>
                  <a:cubicBezTo>
                    <a:pt x="9004" y="9174"/>
                    <a:pt x="9034" y="9167"/>
                    <a:pt x="9056" y="9167"/>
                  </a:cubicBezTo>
                  <a:cubicBezTo>
                    <a:pt x="9136" y="9167"/>
                    <a:pt x="9180" y="9255"/>
                    <a:pt x="9217" y="9335"/>
                  </a:cubicBezTo>
                  <a:cubicBezTo>
                    <a:pt x="9232" y="9357"/>
                    <a:pt x="9239" y="9379"/>
                    <a:pt x="9253" y="9394"/>
                  </a:cubicBezTo>
                  <a:cubicBezTo>
                    <a:pt x="9312" y="9489"/>
                    <a:pt x="9261" y="9541"/>
                    <a:pt x="9202" y="9607"/>
                  </a:cubicBezTo>
                  <a:cubicBezTo>
                    <a:pt x="9180" y="9629"/>
                    <a:pt x="9180" y="9629"/>
                    <a:pt x="9180" y="9629"/>
                  </a:cubicBezTo>
                  <a:cubicBezTo>
                    <a:pt x="9136" y="9680"/>
                    <a:pt x="9151" y="9724"/>
                    <a:pt x="9158" y="9760"/>
                  </a:cubicBezTo>
                  <a:cubicBezTo>
                    <a:pt x="9158" y="9782"/>
                    <a:pt x="9165" y="9797"/>
                    <a:pt x="9165" y="9812"/>
                  </a:cubicBezTo>
                  <a:cubicBezTo>
                    <a:pt x="9165" y="9834"/>
                    <a:pt x="9173" y="9848"/>
                    <a:pt x="9180" y="9863"/>
                  </a:cubicBezTo>
                  <a:cubicBezTo>
                    <a:pt x="9202" y="9892"/>
                    <a:pt x="9217" y="9922"/>
                    <a:pt x="9180" y="9958"/>
                  </a:cubicBezTo>
                  <a:cubicBezTo>
                    <a:pt x="9165" y="9973"/>
                    <a:pt x="9158" y="9988"/>
                    <a:pt x="9151" y="10002"/>
                  </a:cubicBezTo>
                  <a:cubicBezTo>
                    <a:pt x="9136" y="10024"/>
                    <a:pt x="9122" y="10046"/>
                    <a:pt x="9085" y="10046"/>
                  </a:cubicBezTo>
                  <a:cubicBezTo>
                    <a:pt x="9078" y="10046"/>
                    <a:pt x="9078" y="10046"/>
                    <a:pt x="9070" y="10046"/>
                  </a:cubicBezTo>
                  <a:cubicBezTo>
                    <a:pt x="9012" y="10031"/>
                    <a:pt x="9012" y="10031"/>
                    <a:pt x="8916" y="10010"/>
                  </a:cubicBezTo>
                  <a:cubicBezTo>
                    <a:pt x="8865" y="9995"/>
                    <a:pt x="8828" y="9958"/>
                    <a:pt x="8784" y="9914"/>
                  </a:cubicBezTo>
                  <a:cubicBezTo>
                    <a:pt x="8755" y="9878"/>
                    <a:pt x="8719" y="9841"/>
                    <a:pt x="8682" y="9826"/>
                  </a:cubicBezTo>
                  <a:cubicBezTo>
                    <a:pt x="8609" y="9804"/>
                    <a:pt x="8557" y="9746"/>
                    <a:pt x="8543" y="9694"/>
                  </a:cubicBezTo>
                  <a:cubicBezTo>
                    <a:pt x="8535" y="9672"/>
                    <a:pt x="8543" y="9650"/>
                    <a:pt x="8557" y="9636"/>
                  </a:cubicBezTo>
                  <a:cubicBezTo>
                    <a:pt x="8565" y="9629"/>
                    <a:pt x="8572" y="9621"/>
                    <a:pt x="8579" y="9614"/>
                  </a:cubicBezTo>
                  <a:cubicBezTo>
                    <a:pt x="8594" y="9599"/>
                    <a:pt x="8609" y="9584"/>
                    <a:pt x="8609" y="9577"/>
                  </a:cubicBezTo>
                  <a:cubicBezTo>
                    <a:pt x="8609" y="9577"/>
                    <a:pt x="8609" y="9570"/>
                    <a:pt x="8579" y="9555"/>
                  </a:cubicBezTo>
                  <a:cubicBezTo>
                    <a:pt x="8521" y="9533"/>
                    <a:pt x="8506" y="9497"/>
                    <a:pt x="8491" y="9460"/>
                  </a:cubicBezTo>
                  <a:cubicBezTo>
                    <a:pt x="8484" y="9438"/>
                    <a:pt x="8477" y="9423"/>
                    <a:pt x="8455" y="9401"/>
                  </a:cubicBezTo>
                  <a:cubicBezTo>
                    <a:pt x="8440" y="9387"/>
                    <a:pt x="8418" y="9379"/>
                    <a:pt x="8381" y="9379"/>
                  </a:cubicBezTo>
                  <a:cubicBezTo>
                    <a:pt x="8352" y="9379"/>
                    <a:pt x="8323" y="9379"/>
                    <a:pt x="8294" y="9387"/>
                  </a:cubicBezTo>
                  <a:cubicBezTo>
                    <a:pt x="8264" y="9387"/>
                    <a:pt x="8264" y="9387"/>
                    <a:pt x="8264" y="9387"/>
                  </a:cubicBezTo>
                  <a:cubicBezTo>
                    <a:pt x="8191" y="9394"/>
                    <a:pt x="8162" y="9431"/>
                    <a:pt x="8118" y="9482"/>
                  </a:cubicBezTo>
                  <a:cubicBezTo>
                    <a:pt x="8110" y="9497"/>
                    <a:pt x="8096" y="9511"/>
                    <a:pt x="8081" y="9526"/>
                  </a:cubicBezTo>
                  <a:cubicBezTo>
                    <a:pt x="8052" y="9570"/>
                    <a:pt x="8022" y="9584"/>
                    <a:pt x="7993" y="9584"/>
                  </a:cubicBezTo>
                  <a:cubicBezTo>
                    <a:pt x="7971" y="9584"/>
                    <a:pt x="7949" y="9577"/>
                    <a:pt x="7927" y="9570"/>
                  </a:cubicBezTo>
                  <a:cubicBezTo>
                    <a:pt x="7920" y="9562"/>
                    <a:pt x="7905" y="9562"/>
                    <a:pt x="7898" y="9555"/>
                  </a:cubicBezTo>
                  <a:cubicBezTo>
                    <a:pt x="7839" y="9533"/>
                    <a:pt x="7803" y="9467"/>
                    <a:pt x="7781" y="9416"/>
                  </a:cubicBezTo>
                  <a:cubicBezTo>
                    <a:pt x="7766" y="9394"/>
                    <a:pt x="7759" y="9379"/>
                    <a:pt x="7751" y="9365"/>
                  </a:cubicBezTo>
                  <a:cubicBezTo>
                    <a:pt x="7744" y="9350"/>
                    <a:pt x="7707" y="9335"/>
                    <a:pt x="7656" y="9335"/>
                  </a:cubicBezTo>
                  <a:cubicBezTo>
                    <a:pt x="7605" y="9335"/>
                    <a:pt x="7539" y="9350"/>
                    <a:pt x="7480" y="9372"/>
                  </a:cubicBezTo>
                  <a:cubicBezTo>
                    <a:pt x="7414" y="9401"/>
                    <a:pt x="7378" y="9409"/>
                    <a:pt x="7356" y="9409"/>
                  </a:cubicBezTo>
                  <a:cubicBezTo>
                    <a:pt x="7341" y="9409"/>
                    <a:pt x="7334" y="9401"/>
                    <a:pt x="7326" y="9394"/>
                  </a:cubicBezTo>
                  <a:cubicBezTo>
                    <a:pt x="7319" y="9379"/>
                    <a:pt x="7326" y="9365"/>
                    <a:pt x="7334" y="9350"/>
                  </a:cubicBezTo>
                  <a:cubicBezTo>
                    <a:pt x="7356" y="9306"/>
                    <a:pt x="7363" y="9225"/>
                    <a:pt x="7356" y="9218"/>
                  </a:cubicBezTo>
                  <a:cubicBezTo>
                    <a:pt x="7326" y="9218"/>
                    <a:pt x="7304" y="9248"/>
                    <a:pt x="7275" y="9284"/>
                  </a:cubicBezTo>
                  <a:cubicBezTo>
                    <a:pt x="7260" y="9306"/>
                    <a:pt x="7238" y="9335"/>
                    <a:pt x="7209" y="9357"/>
                  </a:cubicBezTo>
                  <a:cubicBezTo>
                    <a:pt x="7158" y="9409"/>
                    <a:pt x="7180" y="9453"/>
                    <a:pt x="7231" y="9533"/>
                  </a:cubicBezTo>
                  <a:cubicBezTo>
                    <a:pt x="7246" y="9555"/>
                    <a:pt x="7246" y="9555"/>
                    <a:pt x="7246" y="9555"/>
                  </a:cubicBezTo>
                  <a:cubicBezTo>
                    <a:pt x="7282" y="9607"/>
                    <a:pt x="7290" y="9636"/>
                    <a:pt x="7282" y="9650"/>
                  </a:cubicBezTo>
                  <a:cubicBezTo>
                    <a:pt x="7275" y="9672"/>
                    <a:pt x="7253" y="9672"/>
                    <a:pt x="7216" y="9680"/>
                  </a:cubicBezTo>
                  <a:cubicBezTo>
                    <a:pt x="7180" y="9687"/>
                    <a:pt x="7158" y="9687"/>
                    <a:pt x="7129" y="9687"/>
                  </a:cubicBezTo>
                  <a:cubicBezTo>
                    <a:pt x="7106" y="9687"/>
                    <a:pt x="7084" y="9687"/>
                    <a:pt x="7048" y="9680"/>
                  </a:cubicBezTo>
                  <a:cubicBezTo>
                    <a:pt x="7019" y="9672"/>
                    <a:pt x="6975" y="9672"/>
                    <a:pt x="6938" y="9665"/>
                  </a:cubicBezTo>
                  <a:cubicBezTo>
                    <a:pt x="6894" y="9658"/>
                    <a:pt x="6857" y="9650"/>
                    <a:pt x="6821" y="9650"/>
                  </a:cubicBezTo>
                  <a:cubicBezTo>
                    <a:pt x="6821" y="9643"/>
                    <a:pt x="6813" y="9643"/>
                    <a:pt x="6806" y="9643"/>
                  </a:cubicBezTo>
                  <a:cubicBezTo>
                    <a:pt x="6725" y="9643"/>
                    <a:pt x="6528" y="9709"/>
                    <a:pt x="6462" y="9768"/>
                  </a:cubicBezTo>
                  <a:cubicBezTo>
                    <a:pt x="6432" y="9797"/>
                    <a:pt x="6389" y="9804"/>
                    <a:pt x="6330" y="9804"/>
                  </a:cubicBezTo>
                  <a:cubicBezTo>
                    <a:pt x="6293" y="9804"/>
                    <a:pt x="6256" y="9804"/>
                    <a:pt x="6227" y="9797"/>
                  </a:cubicBezTo>
                  <a:cubicBezTo>
                    <a:pt x="6191" y="9797"/>
                    <a:pt x="6169" y="9790"/>
                    <a:pt x="6139" y="9790"/>
                  </a:cubicBezTo>
                  <a:cubicBezTo>
                    <a:pt x="6132" y="9790"/>
                    <a:pt x="6125" y="9797"/>
                    <a:pt x="6110" y="9797"/>
                  </a:cubicBezTo>
                  <a:cubicBezTo>
                    <a:pt x="6088" y="9797"/>
                    <a:pt x="6088" y="9797"/>
                    <a:pt x="6088" y="9797"/>
                  </a:cubicBezTo>
                  <a:cubicBezTo>
                    <a:pt x="6015" y="9804"/>
                    <a:pt x="5956" y="9812"/>
                    <a:pt x="5898" y="9892"/>
                  </a:cubicBezTo>
                  <a:cubicBezTo>
                    <a:pt x="5868" y="9936"/>
                    <a:pt x="5875" y="9951"/>
                    <a:pt x="5883" y="9973"/>
                  </a:cubicBezTo>
                  <a:cubicBezTo>
                    <a:pt x="5883" y="9988"/>
                    <a:pt x="5898" y="10010"/>
                    <a:pt x="5861" y="10039"/>
                  </a:cubicBezTo>
                  <a:cubicBezTo>
                    <a:pt x="5824" y="10068"/>
                    <a:pt x="5773" y="10075"/>
                    <a:pt x="5736" y="10075"/>
                  </a:cubicBezTo>
                  <a:cubicBezTo>
                    <a:pt x="5707" y="10075"/>
                    <a:pt x="5685" y="10068"/>
                    <a:pt x="5656" y="10068"/>
                  </a:cubicBezTo>
                  <a:cubicBezTo>
                    <a:pt x="5634" y="10068"/>
                    <a:pt x="5612" y="10068"/>
                    <a:pt x="5590" y="10068"/>
                  </a:cubicBezTo>
                  <a:cubicBezTo>
                    <a:pt x="5509" y="10068"/>
                    <a:pt x="5502" y="10090"/>
                    <a:pt x="5494" y="10185"/>
                  </a:cubicBezTo>
                  <a:cubicBezTo>
                    <a:pt x="5487" y="10222"/>
                    <a:pt x="5494" y="10229"/>
                    <a:pt x="5494" y="10229"/>
                  </a:cubicBezTo>
                  <a:cubicBezTo>
                    <a:pt x="5494" y="10229"/>
                    <a:pt x="5502" y="10222"/>
                    <a:pt x="5509" y="10215"/>
                  </a:cubicBezTo>
                  <a:cubicBezTo>
                    <a:pt x="5539" y="10178"/>
                    <a:pt x="5539" y="10178"/>
                    <a:pt x="5539" y="10178"/>
                  </a:cubicBezTo>
                  <a:cubicBezTo>
                    <a:pt x="5539" y="10310"/>
                    <a:pt x="5539" y="10310"/>
                    <a:pt x="5539" y="10310"/>
                  </a:cubicBezTo>
                  <a:cubicBezTo>
                    <a:pt x="5516" y="10302"/>
                    <a:pt x="5516" y="10302"/>
                    <a:pt x="5516" y="10302"/>
                  </a:cubicBezTo>
                  <a:cubicBezTo>
                    <a:pt x="5516" y="10302"/>
                    <a:pt x="5472" y="10295"/>
                    <a:pt x="5392" y="10281"/>
                  </a:cubicBezTo>
                  <a:cubicBezTo>
                    <a:pt x="5392" y="10281"/>
                    <a:pt x="5384" y="10281"/>
                    <a:pt x="5377" y="10281"/>
                  </a:cubicBezTo>
                  <a:cubicBezTo>
                    <a:pt x="5326" y="10281"/>
                    <a:pt x="5297" y="10325"/>
                    <a:pt x="5253" y="10383"/>
                  </a:cubicBezTo>
                  <a:cubicBezTo>
                    <a:pt x="5238" y="10398"/>
                    <a:pt x="5238" y="10398"/>
                    <a:pt x="5238" y="10398"/>
                  </a:cubicBezTo>
                  <a:cubicBezTo>
                    <a:pt x="5209" y="10442"/>
                    <a:pt x="5194" y="10464"/>
                    <a:pt x="5165" y="10464"/>
                  </a:cubicBezTo>
                  <a:cubicBezTo>
                    <a:pt x="5150" y="10464"/>
                    <a:pt x="5135" y="10457"/>
                    <a:pt x="5113" y="10449"/>
                  </a:cubicBezTo>
                  <a:cubicBezTo>
                    <a:pt x="5099" y="10442"/>
                    <a:pt x="5099" y="10442"/>
                    <a:pt x="5099" y="10442"/>
                  </a:cubicBezTo>
                  <a:cubicBezTo>
                    <a:pt x="5070" y="10427"/>
                    <a:pt x="5062" y="10412"/>
                    <a:pt x="5062" y="10398"/>
                  </a:cubicBezTo>
                  <a:cubicBezTo>
                    <a:pt x="5062" y="10376"/>
                    <a:pt x="5070" y="10354"/>
                    <a:pt x="5084" y="10339"/>
                  </a:cubicBezTo>
                  <a:cubicBezTo>
                    <a:pt x="5055" y="10347"/>
                    <a:pt x="5025" y="10361"/>
                    <a:pt x="4989" y="10369"/>
                  </a:cubicBezTo>
                  <a:cubicBezTo>
                    <a:pt x="4894" y="10405"/>
                    <a:pt x="4776" y="10442"/>
                    <a:pt x="4681" y="10449"/>
                  </a:cubicBezTo>
                  <a:cubicBezTo>
                    <a:pt x="4674" y="10449"/>
                    <a:pt x="4666" y="10457"/>
                    <a:pt x="4652" y="10457"/>
                  </a:cubicBezTo>
                  <a:cubicBezTo>
                    <a:pt x="4534" y="10457"/>
                    <a:pt x="4520" y="10383"/>
                    <a:pt x="4513" y="10339"/>
                  </a:cubicBezTo>
                  <a:cubicBezTo>
                    <a:pt x="4513" y="10325"/>
                    <a:pt x="4513" y="10325"/>
                    <a:pt x="4513" y="10325"/>
                  </a:cubicBezTo>
                  <a:cubicBezTo>
                    <a:pt x="4498" y="10288"/>
                    <a:pt x="4454" y="10193"/>
                    <a:pt x="4403" y="10193"/>
                  </a:cubicBezTo>
                  <a:cubicBezTo>
                    <a:pt x="4344" y="10193"/>
                    <a:pt x="4344" y="10193"/>
                    <a:pt x="4344" y="10193"/>
                  </a:cubicBezTo>
                  <a:cubicBezTo>
                    <a:pt x="4293" y="10193"/>
                    <a:pt x="4256" y="10185"/>
                    <a:pt x="4249" y="10163"/>
                  </a:cubicBezTo>
                  <a:cubicBezTo>
                    <a:pt x="4241" y="10141"/>
                    <a:pt x="4271" y="10119"/>
                    <a:pt x="4285" y="10105"/>
                  </a:cubicBezTo>
                  <a:cubicBezTo>
                    <a:pt x="4315" y="10090"/>
                    <a:pt x="4322" y="10068"/>
                    <a:pt x="4315" y="10053"/>
                  </a:cubicBezTo>
                  <a:cubicBezTo>
                    <a:pt x="4308" y="10031"/>
                    <a:pt x="4285" y="10017"/>
                    <a:pt x="4256" y="10017"/>
                  </a:cubicBezTo>
                  <a:cubicBezTo>
                    <a:pt x="4241" y="10017"/>
                    <a:pt x="4227" y="10024"/>
                    <a:pt x="4212" y="10031"/>
                  </a:cubicBezTo>
                  <a:cubicBezTo>
                    <a:pt x="4168" y="10053"/>
                    <a:pt x="4132" y="10068"/>
                    <a:pt x="4095" y="10068"/>
                  </a:cubicBezTo>
                  <a:cubicBezTo>
                    <a:pt x="4066" y="10068"/>
                    <a:pt x="4044" y="10061"/>
                    <a:pt x="4014" y="10039"/>
                  </a:cubicBezTo>
                  <a:cubicBezTo>
                    <a:pt x="3992" y="10024"/>
                    <a:pt x="3948" y="10002"/>
                    <a:pt x="3897" y="9988"/>
                  </a:cubicBezTo>
                  <a:cubicBezTo>
                    <a:pt x="3860" y="9973"/>
                    <a:pt x="3817" y="9958"/>
                    <a:pt x="3794" y="9943"/>
                  </a:cubicBezTo>
                  <a:cubicBezTo>
                    <a:pt x="3765" y="9922"/>
                    <a:pt x="3736" y="9914"/>
                    <a:pt x="3714" y="9914"/>
                  </a:cubicBezTo>
                  <a:cubicBezTo>
                    <a:pt x="3685" y="9914"/>
                    <a:pt x="3663" y="9929"/>
                    <a:pt x="3655" y="9951"/>
                  </a:cubicBezTo>
                  <a:cubicBezTo>
                    <a:pt x="3633" y="10017"/>
                    <a:pt x="3531" y="10024"/>
                    <a:pt x="3487" y="10024"/>
                  </a:cubicBezTo>
                  <a:cubicBezTo>
                    <a:pt x="3465" y="10024"/>
                    <a:pt x="3443" y="10024"/>
                    <a:pt x="3421" y="10024"/>
                  </a:cubicBezTo>
                  <a:cubicBezTo>
                    <a:pt x="3391" y="10017"/>
                    <a:pt x="3370" y="9988"/>
                    <a:pt x="3355" y="9951"/>
                  </a:cubicBezTo>
                  <a:cubicBezTo>
                    <a:pt x="3355" y="9980"/>
                    <a:pt x="3348" y="10002"/>
                    <a:pt x="3340" y="10046"/>
                  </a:cubicBezTo>
                  <a:cubicBezTo>
                    <a:pt x="3318" y="10119"/>
                    <a:pt x="3340" y="10134"/>
                    <a:pt x="3377" y="10149"/>
                  </a:cubicBezTo>
                  <a:cubicBezTo>
                    <a:pt x="3391" y="10156"/>
                    <a:pt x="3406" y="10178"/>
                    <a:pt x="3413" y="10200"/>
                  </a:cubicBezTo>
                  <a:cubicBezTo>
                    <a:pt x="3428" y="10259"/>
                    <a:pt x="3421" y="10347"/>
                    <a:pt x="3391" y="10391"/>
                  </a:cubicBezTo>
                  <a:cubicBezTo>
                    <a:pt x="3384" y="10405"/>
                    <a:pt x="3370" y="10427"/>
                    <a:pt x="3362" y="10449"/>
                  </a:cubicBezTo>
                  <a:cubicBezTo>
                    <a:pt x="3348" y="10493"/>
                    <a:pt x="3333" y="10530"/>
                    <a:pt x="3289" y="10544"/>
                  </a:cubicBezTo>
                  <a:cubicBezTo>
                    <a:pt x="3252" y="10552"/>
                    <a:pt x="3164" y="10625"/>
                    <a:pt x="3120" y="10735"/>
                  </a:cubicBezTo>
                  <a:cubicBezTo>
                    <a:pt x="3077" y="10845"/>
                    <a:pt x="2931" y="10889"/>
                    <a:pt x="2843" y="10911"/>
                  </a:cubicBezTo>
                  <a:cubicBezTo>
                    <a:pt x="2821" y="10918"/>
                    <a:pt x="2821" y="10918"/>
                    <a:pt x="2821" y="10918"/>
                  </a:cubicBezTo>
                  <a:cubicBezTo>
                    <a:pt x="2806" y="10918"/>
                    <a:pt x="2792" y="10918"/>
                    <a:pt x="2784" y="10918"/>
                  </a:cubicBezTo>
                </a:path>
              </a:pathLst>
            </a:custGeom>
            <a:grpFill/>
            <a:ln w="6350" cmpd="sng">
              <a:solidFill>
                <a:schemeClr val="bg1"/>
              </a:solidFill>
            </a:ln>
            <a:effectLst/>
          </p:spPr>
          <p:txBody>
            <a:bodyPr wrap="none" anchor="ctr"/>
            <a:lstStyle/>
            <a:p>
              <a:pPr defTabSz="685663">
                <a:defRPr/>
              </a:pPr>
              <a:endParaRPr lang="en-US" sz="675" dirty="0">
                <a:latin typeface="Montserrat" charset="0"/>
              </a:endParaRPr>
            </a:p>
          </p:txBody>
        </p:sp>
        <p:sp>
          <p:nvSpPr>
            <p:cNvPr id="61" name="Freeform 60">
              <a:extLst>
                <a:ext uri="{FF2B5EF4-FFF2-40B4-BE49-F238E27FC236}">
                  <a16:creationId xmlns:a16="http://schemas.microsoft.com/office/drawing/2014/main" id="{C5EA8942-162F-254F-A13D-CF7929450F85}"/>
                </a:ext>
              </a:extLst>
            </p:cNvPr>
            <p:cNvSpPr>
              <a:spLocks noChangeArrowheads="1"/>
            </p:cNvSpPr>
            <p:nvPr/>
          </p:nvSpPr>
          <p:spPr bwMode="auto">
            <a:xfrm>
              <a:off x="5858100" y="8272266"/>
              <a:ext cx="4134795" cy="4162153"/>
            </a:xfrm>
            <a:custGeom>
              <a:avLst/>
              <a:gdLst>
                <a:gd name="T0" fmla="*/ 3663 w 10764"/>
                <a:gd name="T1" fmla="*/ 1128 h 10956"/>
                <a:gd name="T2" fmla="*/ 4337 w 10764"/>
                <a:gd name="T3" fmla="*/ 630 h 10956"/>
                <a:gd name="T4" fmla="*/ 4945 w 10764"/>
                <a:gd name="T5" fmla="*/ 198 h 10956"/>
                <a:gd name="T6" fmla="*/ 6286 w 10764"/>
                <a:gd name="T7" fmla="*/ 388 h 10956"/>
                <a:gd name="T8" fmla="*/ 7547 w 10764"/>
                <a:gd name="T9" fmla="*/ 1854 h 10956"/>
                <a:gd name="T10" fmla="*/ 8543 w 10764"/>
                <a:gd name="T11" fmla="*/ 3832 h 10956"/>
                <a:gd name="T12" fmla="*/ 10463 w 10764"/>
                <a:gd name="T13" fmla="*/ 5269 h 10956"/>
                <a:gd name="T14" fmla="*/ 9913 w 10764"/>
                <a:gd name="T15" fmla="*/ 6617 h 10956"/>
                <a:gd name="T16" fmla="*/ 8836 w 10764"/>
                <a:gd name="T17" fmla="*/ 9203 h 10956"/>
                <a:gd name="T18" fmla="*/ 8279 w 10764"/>
                <a:gd name="T19" fmla="*/ 9394 h 10956"/>
                <a:gd name="T20" fmla="*/ 6843 w 10764"/>
                <a:gd name="T21" fmla="*/ 9651 h 10956"/>
                <a:gd name="T22" fmla="*/ 5246 w 10764"/>
                <a:gd name="T23" fmla="*/ 10413 h 10956"/>
                <a:gd name="T24" fmla="*/ 3656 w 10764"/>
                <a:gd name="T25" fmla="*/ 9973 h 10956"/>
                <a:gd name="T26" fmla="*/ 2631 w 10764"/>
                <a:gd name="T27" fmla="*/ 10625 h 10956"/>
                <a:gd name="T28" fmla="*/ 1561 w 10764"/>
                <a:gd name="T29" fmla="*/ 9995 h 10956"/>
                <a:gd name="T30" fmla="*/ 2645 w 10764"/>
                <a:gd name="T31" fmla="*/ 8273 h 10956"/>
                <a:gd name="T32" fmla="*/ 2997 w 10764"/>
                <a:gd name="T33" fmla="*/ 6470 h 10956"/>
                <a:gd name="T34" fmla="*/ 2726 w 10764"/>
                <a:gd name="T35" fmla="*/ 4873 h 10956"/>
                <a:gd name="T36" fmla="*/ 2015 w 10764"/>
                <a:gd name="T37" fmla="*/ 3239 h 10956"/>
                <a:gd name="T38" fmla="*/ 1341 w 10764"/>
                <a:gd name="T39" fmla="*/ 2616 h 10956"/>
                <a:gd name="T40" fmla="*/ 887 w 10764"/>
                <a:gd name="T41" fmla="*/ 3056 h 10956"/>
                <a:gd name="T42" fmla="*/ 139 w 10764"/>
                <a:gd name="T43" fmla="*/ 1949 h 10956"/>
                <a:gd name="T44" fmla="*/ 1231 w 10764"/>
                <a:gd name="T45" fmla="*/ 1348 h 10956"/>
                <a:gd name="T46" fmla="*/ 2360 w 10764"/>
                <a:gd name="T47" fmla="*/ 95 h 10956"/>
                <a:gd name="T48" fmla="*/ 2360 w 10764"/>
                <a:gd name="T49" fmla="*/ 51 h 10956"/>
                <a:gd name="T50" fmla="*/ 1642 w 10764"/>
                <a:gd name="T51" fmla="*/ 777 h 10956"/>
                <a:gd name="T52" fmla="*/ 1143 w 10764"/>
                <a:gd name="T53" fmla="*/ 1473 h 10956"/>
                <a:gd name="T54" fmla="*/ 44 w 10764"/>
                <a:gd name="T55" fmla="*/ 1619 h 10956"/>
                <a:gd name="T56" fmla="*/ 213 w 10764"/>
                <a:gd name="T57" fmla="*/ 3261 h 10956"/>
                <a:gd name="T58" fmla="*/ 997 w 10764"/>
                <a:gd name="T59" fmla="*/ 3004 h 10956"/>
                <a:gd name="T60" fmla="*/ 1158 w 10764"/>
                <a:gd name="T61" fmla="*/ 2645 h 10956"/>
                <a:gd name="T62" fmla="*/ 1744 w 10764"/>
                <a:gd name="T63" fmla="*/ 2872 h 10956"/>
                <a:gd name="T64" fmla="*/ 2360 w 10764"/>
                <a:gd name="T65" fmla="*/ 3466 h 10956"/>
                <a:gd name="T66" fmla="*/ 2763 w 10764"/>
                <a:gd name="T67" fmla="*/ 4924 h 10956"/>
                <a:gd name="T68" fmla="*/ 3231 w 10764"/>
                <a:gd name="T69" fmla="*/ 6243 h 10956"/>
                <a:gd name="T70" fmla="*/ 2587 w 10764"/>
                <a:gd name="T71" fmla="*/ 6932 h 10956"/>
                <a:gd name="T72" fmla="*/ 2594 w 10764"/>
                <a:gd name="T73" fmla="*/ 9101 h 10956"/>
                <a:gd name="T74" fmla="*/ 1458 w 10764"/>
                <a:gd name="T75" fmla="*/ 9870 h 10956"/>
                <a:gd name="T76" fmla="*/ 2198 w 10764"/>
                <a:gd name="T77" fmla="*/ 10068 h 10956"/>
                <a:gd name="T78" fmla="*/ 2763 w 10764"/>
                <a:gd name="T79" fmla="*/ 10823 h 10956"/>
                <a:gd name="T80" fmla="*/ 3729 w 10764"/>
                <a:gd name="T81" fmla="*/ 9951 h 10956"/>
                <a:gd name="T82" fmla="*/ 4704 w 10764"/>
                <a:gd name="T83" fmla="*/ 10486 h 10956"/>
                <a:gd name="T84" fmla="*/ 5524 w 10764"/>
                <a:gd name="T85" fmla="*/ 10215 h 10956"/>
                <a:gd name="T86" fmla="*/ 6946 w 10764"/>
                <a:gd name="T87" fmla="*/ 9702 h 10956"/>
                <a:gd name="T88" fmla="*/ 7759 w 10764"/>
                <a:gd name="T89" fmla="*/ 9394 h 10956"/>
                <a:gd name="T90" fmla="*/ 8543 w 10764"/>
                <a:gd name="T91" fmla="*/ 9724 h 10956"/>
                <a:gd name="T92" fmla="*/ 8990 w 10764"/>
                <a:gd name="T93" fmla="*/ 9196 h 10956"/>
                <a:gd name="T94" fmla="*/ 8646 w 10764"/>
                <a:gd name="T95" fmla="*/ 7797 h 10956"/>
                <a:gd name="T96" fmla="*/ 9899 w 10764"/>
                <a:gd name="T97" fmla="*/ 6434 h 10956"/>
                <a:gd name="T98" fmla="*/ 10727 w 10764"/>
                <a:gd name="T99" fmla="*/ 6111 h 10956"/>
                <a:gd name="T100" fmla="*/ 9928 w 10764"/>
                <a:gd name="T101" fmla="*/ 5056 h 10956"/>
                <a:gd name="T102" fmla="*/ 8470 w 10764"/>
                <a:gd name="T103" fmla="*/ 3818 h 10956"/>
                <a:gd name="T104" fmla="*/ 7568 w 10764"/>
                <a:gd name="T105" fmla="*/ 2382 h 10956"/>
                <a:gd name="T106" fmla="*/ 6938 w 10764"/>
                <a:gd name="T107" fmla="*/ 1356 h 10956"/>
                <a:gd name="T108" fmla="*/ 6381 w 10764"/>
                <a:gd name="T109" fmla="*/ 396 h 10956"/>
                <a:gd name="T110" fmla="*/ 5451 w 10764"/>
                <a:gd name="T111" fmla="*/ 520 h 10956"/>
                <a:gd name="T112" fmla="*/ 4894 w 10764"/>
                <a:gd name="T113" fmla="*/ 806 h 10956"/>
                <a:gd name="T114" fmla="*/ 4528 w 10764"/>
                <a:gd name="T115" fmla="*/ 601 h 10956"/>
                <a:gd name="T116" fmla="*/ 3883 w 10764"/>
                <a:gd name="T117" fmla="*/ 916 h 10956"/>
                <a:gd name="T118" fmla="*/ 3538 w 10764"/>
                <a:gd name="T119" fmla="*/ 1070 h 10956"/>
                <a:gd name="T120" fmla="*/ 2953 w 10764"/>
                <a:gd name="T121" fmla="*/ 330 h 109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764" h="10956">
                  <a:moveTo>
                    <a:pt x="2616" y="37"/>
                  </a:moveTo>
                  <a:lnTo>
                    <a:pt x="2616" y="37"/>
                  </a:lnTo>
                  <a:cubicBezTo>
                    <a:pt x="2624" y="37"/>
                    <a:pt x="2638" y="44"/>
                    <a:pt x="2660" y="66"/>
                  </a:cubicBezTo>
                  <a:cubicBezTo>
                    <a:pt x="2719" y="132"/>
                    <a:pt x="2748" y="220"/>
                    <a:pt x="2829" y="234"/>
                  </a:cubicBezTo>
                  <a:cubicBezTo>
                    <a:pt x="2909" y="242"/>
                    <a:pt x="2873" y="278"/>
                    <a:pt x="2931" y="344"/>
                  </a:cubicBezTo>
                  <a:cubicBezTo>
                    <a:pt x="2990" y="418"/>
                    <a:pt x="2997" y="440"/>
                    <a:pt x="3034" y="498"/>
                  </a:cubicBezTo>
                  <a:cubicBezTo>
                    <a:pt x="3063" y="542"/>
                    <a:pt x="3078" y="579"/>
                    <a:pt x="3113" y="579"/>
                  </a:cubicBezTo>
                  <a:cubicBezTo>
                    <a:pt x="3121" y="579"/>
                    <a:pt x="3128" y="579"/>
                    <a:pt x="3135" y="572"/>
                  </a:cubicBezTo>
                  <a:lnTo>
                    <a:pt x="3143" y="572"/>
                  </a:lnTo>
                  <a:cubicBezTo>
                    <a:pt x="3194" y="572"/>
                    <a:pt x="3194" y="630"/>
                    <a:pt x="3238" y="667"/>
                  </a:cubicBezTo>
                  <a:cubicBezTo>
                    <a:pt x="3260" y="682"/>
                    <a:pt x="3311" y="689"/>
                    <a:pt x="3348" y="689"/>
                  </a:cubicBezTo>
                  <a:cubicBezTo>
                    <a:pt x="3370" y="689"/>
                    <a:pt x="3385" y="689"/>
                    <a:pt x="3385" y="689"/>
                  </a:cubicBezTo>
                  <a:cubicBezTo>
                    <a:pt x="3385" y="689"/>
                    <a:pt x="3450" y="696"/>
                    <a:pt x="3450" y="769"/>
                  </a:cubicBezTo>
                  <a:cubicBezTo>
                    <a:pt x="3450" y="835"/>
                    <a:pt x="3494" y="857"/>
                    <a:pt x="3487" y="923"/>
                  </a:cubicBezTo>
                  <a:cubicBezTo>
                    <a:pt x="3473" y="996"/>
                    <a:pt x="3465" y="1070"/>
                    <a:pt x="3531" y="1092"/>
                  </a:cubicBezTo>
                  <a:cubicBezTo>
                    <a:pt x="3597" y="1121"/>
                    <a:pt x="3663" y="1128"/>
                    <a:pt x="3663" y="1128"/>
                  </a:cubicBezTo>
                  <a:cubicBezTo>
                    <a:pt x="3663" y="1128"/>
                    <a:pt x="3685" y="1136"/>
                    <a:pt x="3707" y="1136"/>
                  </a:cubicBezTo>
                  <a:cubicBezTo>
                    <a:pt x="3736" y="1136"/>
                    <a:pt x="3773" y="1121"/>
                    <a:pt x="3758" y="1048"/>
                  </a:cubicBezTo>
                  <a:cubicBezTo>
                    <a:pt x="3758" y="1048"/>
                    <a:pt x="3802" y="1077"/>
                    <a:pt x="3839" y="1077"/>
                  </a:cubicBezTo>
                  <a:cubicBezTo>
                    <a:pt x="3861" y="1077"/>
                    <a:pt x="3875" y="1077"/>
                    <a:pt x="3883" y="1063"/>
                  </a:cubicBezTo>
                  <a:cubicBezTo>
                    <a:pt x="3897" y="1041"/>
                    <a:pt x="3905" y="1041"/>
                    <a:pt x="3912" y="1041"/>
                  </a:cubicBezTo>
                  <a:cubicBezTo>
                    <a:pt x="3927" y="1041"/>
                    <a:pt x="3934" y="1048"/>
                    <a:pt x="3963" y="1048"/>
                  </a:cubicBezTo>
                  <a:cubicBezTo>
                    <a:pt x="4007" y="1048"/>
                    <a:pt x="4051" y="967"/>
                    <a:pt x="3971" y="923"/>
                  </a:cubicBezTo>
                  <a:cubicBezTo>
                    <a:pt x="3890" y="879"/>
                    <a:pt x="3787" y="872"/>
                    <a:pt x="3766" y="799"/>
                  </a:cubicBezTo>
                  <a:cubicBezTo>
                    <a:pt x="3744" y="733"/>
                    <a:pt x="3722" y="696"/>
                    <a:pt x="3802" y="645"/>
                  </a:cubicBezTo>
                  <a:cubicBezTo>
                    <a:pt x="3883" y="586"/>
                    <a:pt x="3890" y="572"/>
                    <a:pt x="3963" y="550"/>
                  </a:cubicBezTo>
                  <a:cubicBezTo>
                    <a:pt x="3985" y="542"/>
                    <a:pt x="4000" y="542"/>
                    <a:pt x="4022" y="542"/>
                  </a:cubicBezTo>
                  <a:cubicBezTo>
                    <a:pt x="4051" y="542"/>
                    <a:pt x="4081" y="550"/>
                    <a:pt x="4110" y="550"/>
                  </a:cubicBezTo>
                  <a:cubicBezTo>
                    <a:pt x="4154" y="550"/>
                    <a:pt x="4235" y="564"/>
                    <a:pt x="4256" y="608"/>
                  </a:cubicBezTo>
                  <a:cubicBezTo>
                    <a:pt x="4271" y="637"/>
                    <a:pt x="4293" y="660"/>
                    <a:pt x="4308" y="660"/>
                  </a:cubicBezTo>
                  <a:cubicBezTo>
                    <a:pt x="4323" y="660"/>
                    <a:pt x="4323" y="652"/>
                    <a:pt x="4323" y="645"/>
                  </a:cubicBezTo>
                  <a:cubicBezTo>
                    <a:pt x="4323" y="630"/>
                    <a:pt x="4330" y="630"/>
                    <a:pt x="4337" y="630"/>
                  </a:cubicBezTo>
                  <a:cubicBezTo>
                    <a:pt x="4359" y="630"/>
                    <a:pt x="4388" y="652"/>
                    <a:pt x="4418" y="667"/>
                  </a:cubicBezTo>
                  <a:cubicBezTo>
                    <a:pt x="4418" y="667"/>
                    <a:pt x="4425" y="667"/>
                    <a:pt x="4432" y="667"/>
                  </a:cubicBezTo>
                  <a:cubicBezTo>
                    <a:pt x="4476" y="667"/>
                    <a:pt x="4542" y="630"/>
                    <a:pt x="4542" y="630"/>
                  </a:cubicBezTo>
                  <a:cubicBezTo>
                    <a:pt x="4542" y="630"/>
                    <a:pt x="4549" y="630"/>
                    <a:pt x="4564" y="630"/>
                  </a:cubicBezTo>
                  <a:cubicBezTo>
                    <a:pt x="4579" y="630"/>
                    <a:pt x="4608" y="630"/>
                    <a:pt x="4630" y="652"/>
                  </a:cubicBezTo>
                  <a:cubicBezTo>
                    <a:pt x="4667" y="689"/>
                    <a:pt x="4645" y="777"/>
                    <a:pt x="4645" y="777"/>
                  </a:cubicBezTo>
                  <a:cubicBezTo>
                    <a:pt x="4645" y="777"/>
                    <a:pt x="4616" y="835"/>
                    <a:pt x="4652" y="872"/>
                  </a:cubicBezTo>
                  <a:cubicBezTo>
                    <a:pt x="4674" y="894"/>
                    <a:pt x="4704" y="916"/>
                    <a:pt x="4733" y="916"/>
                  </a:cubicBezTo>
                  <a:cubicBezTo>
                    <a:pt x="4747" y="916"/>
                    <a:pt x="4755" y="916"/>
                    <a:pt x="4769" y="901"/>
                  </a:cubicBezTo>
                  <a:cubicBezTo>
                    <a:pt x="4777" y="894"/>
                    <a:pt x="4784" y="887"/>
                    <a:pt x="4791" y="887"/>
                  </a:cubicBezTo>
                  <a:cubicBezTo>
                    <a:pt x="4806" y="887"/>
                    <a:pt x="4821" y="916"/>
                    <a:pt x="4843" y="916"/>
                  </a:cubicBezTo>
                  <a:cubicBezTo>
                    <a:pt x="4857" y="916"/>
                    <a:pt x="4865" y="916"/>
                    <a:pt x="4872" y="916"/>
                  </a:cubicBezTo>
                  <a:cubicBezTo>
                    <a:pt x="4901" y="916"/>
                    <a:pt x="4931" y="901"/>
                    <a:pt x="4923" y="799"/>
                  </a:cubicBezTo>
                  <a:cubicBezTo>
                    <a:pt x="4916" y="667"/>
                    <a:pt x="4945" y="564"/>
                    <a:pt x="4901" y="484"/>
                  </a:cubicBezTo>
                  <a:cubicBezTo>
                    <a:pt x="4857" y="403"/>
                    <a:pt x="4843" y="271"/>
                    <a:pt x="4843" y="271"/>
                  </a:cubicBezTo>
                  <a:cubicBezTo>
                    <a:pt x="4843" y="271"/>
                    <a:pt x="4894" y="234"/>
                    <a:pt x="4945" y="198"/>
                  </a:cubicBezTo>
                  <a:cubicBezTo>
                    <a:pt x="5004" y="169"/>
                    <a:pt x="5040" y="146"/>
                    <a:pt x="5048" y="110"/>
                  </a:cubicBezTo>
                  <a:cubicBezTo>
                    <a:pt x="5055" y="88"/>
                    <a:pt x="5077" y="88"/>
                    <a:pt x="5106" y="88"/>
                  </a:cubicBezTo>
                  <a:cubicBezTo>
                    <a:pt x="5128" y="88"/>
                    <a:pt x="5150" y="88"/>
                    <a:pt x="5172" y="88"/>
                  </a:cubicBezTo>
                  <a:cubicBezTo>
                    <a:pt x="5231" y="88"/>
                    <a:pt x="5231" y="191"/>
                    <a:pt x="5216" y="220"/>
                  </a:cubicBezTo>
                  <a:cubicBezTo>
                    <a:pt x="5209" y="256"/>
                    <a:pt x="5231" y="344"/>
                    <a:pt x="5290" y="359"/>
                  </a:cubicBezTo>
                  <a:cubicBezTo>
                    <a:pt x="5341" y="366"/>
                    <a:pt x="5356" y="403"/>
                    <a:pt x="5370" y="447"/>
                  </a:cubicBezTo>
                  <a:cubicBezTo>
                    <a:pt x="5378" y="484"/>
                    <a:pt x="5407" y="550"/>
                    <a:pt x="5451" y="550"/>
                  </a:cubicBezTo>
                  <a:cubicBezTo>
                    <a:pt x="5458" y="550"/>
                    <a:pt x="5473" y="550"/>
                    <a:pt x="5480" y="542"/>
                  </a:cubicBezTo>
                  <a:cubicBezTo>
                    <a:pt x="5531" y="498"/>
                    <a:pt x="5546" y="447"/>
                    <a:pt x="5575" y="447"/>
                  </a:cubicBezTo>
                  <a:cubicBezTo>
                    <a:pt x="5583" y="447"/>
                    <a:pt x="5590" y="447"/>
                    <a:pt x="5590" y="447"/>
                  </a:cubicBezTo>
                  <a:cubicBezTo>
                    <a:pt x="5627" y="469"/>
                    <a:pt x="5641" y="506"/>
                    <a:pt x="5678" y="506"/>
                  </a:cubicBezTo>
                  <a:cubicBezTo>
                    <a:pt x="5693" y="506"/>
                    <a:pt x="5700" y="506"/>
                    <a:pt x="5715" y="498"/>
                  </a:cubicBezTo>
                  <a:cubicBezTo>
                    <a:pt x="5788" y="462"/>
                    <a:pt x="5898" y="418"/>
                    <a:pt x="5971" y="418"/>
                  </a:cubicBezTo>
                  <a:cubicBezTo>
                    <a:pt x="6037" y="418"/>
                    <a:pt x="5971" y="447"/>
                    <a:pt x="6059" y="447"/>
                  </a:cubicBezTo>
                  <a:cubicBezTo>
                    <a:pt x="6147" y="447"/>
                    <a:pt x="6162" y="447"/>
                    <a:pt x="6220" y="418"/>
                  </a:cubicBezTo>
                  <a:cubicBezTo>
                    <a:pt x="6242" y="403"/>
                    <a:pt x="6264" y="396"/>
                    <a:pt x="6286" y="388"/>
                  </a:cubicBezTo>
                  <a:cubicBezTo>
                    <a:pt x="6294" y="388"/>
                    <a:pt x="6294" y="396"/>
                    <a:pt x="6294" y="396"/>
                  </a:cubicBezTo>
                  <a:cubicBezTo>
                    <a:pt x="6294" y="396"/>
                    <a:pt x="6294" y="388"/>
                    <a:pt x="6286" y="388"/>
                  </a:cubicBezTo>
                  <a:cubicBezTo>
                    <a:pt x="6294" y="388"/>
                    <a:pt x="6294" y="388"/>
                    <a:pt x="6301" y="388"/>
                  </a:cubicBezTo>
                  <a:cubicBezTo>
                    <a:pt x="6323" y="388"/>
                    <a:pt x="6345" y="396"/>
                    <a:pt x="6352" y="418"/>
                  </a:cubicBezTo>
                  <a:cubicBezTo>
                    <a:pt x="6374" y="447"/>
                    <a:pt x="6367" y="586"/>
                    <a:pt x="6418" y="608"/>
                  </a:cubicBezTo>
                  <a:cubicBezTo>
                    <a:pt x="6477" y="630"/>
                    <a:pt x="6535" y="652"/>
                    <a:pt x="6579" y="652"/>
                  </a:cubicBezTo>
                  <a:cubicBezTo>
                    <a:pt x="6609" y="652"/>
                    <a:pt x="6682" y="689"/>
                    <a:pt x="6733" y="718"/>
                  </a:cubicBezTo>
                  <a:cubicBezTo>
                    <a:pt x="6740" y="733"/>
                    <a:pt x="6785" y="828"/>
                    <a:pt x="6726" y="857"/>
                  </a:cubicBezTo>
                  <a:cubicBezTo>
                    <a:pt x="6660" y="894"/>
                    <a:pt x="6667" y="967"/>
                    <a:pt x="6740" y="996"/>
                  </a:cubicBezTo>
                  <a:cubicBezTo>
                    <a:pt x="6806" y="1019"/>
                    <a:pt x="6806" y="1048"/>
                    <a:pt x="6887" y="1063"/>
                  </a:cubicBezTo>
                  <a:cubicBezTo>
                    <a:pt x="6968" y="1070"/>
                    <a:pt x="6953" y="1172"/>
                    <a:pt x="6916" y="1209"/>
                  </a:cubicBezTo>
                  <a:cubicBezTo>
                    <a:pt x="6887" y="1246"/>
                    <a:pt x="6872" y="1348"/>
                    <a:pt x="6916" y="1378"/>
                  </a:cubicBezTo>
                  <a:cubicBezTo>
                    <a:pt x="6968" y="1414"/>
                    <a:pt x="7019" y="1414"/>
                    <a:pt x="7056" y="1495"/>
                  </a:cubicBezTo>
                  <a:cubicBezTo>
                    <a:pt x="7092" y="1568"/>
                    <a:pt x="7173" y="1568"/>
                    <a:pt x="7261" y="1641"/>
                  </a:cubicBezTo>
                  <a:cubicBezTo>
                    <a:pt x="7349" y="1707"/>
                    <a:pt x="7363" y="1729"/>
                    <a:pt x="7444" y="1744"/>
                  </a:cubicBezTo>
                  <a:cubicBezTo>
                    <a:pt x="7517" y="1751"/>
                    <a:pt x="7590" y="1810"/>
                    <a:pt x="7547" y="1854"/>
                  </a:cubicBezTo>
                  <a:cubicBezTo>
                    <a:pt x="7495" y="1898"/>
                    <a:pt x="7532" y="1934"/>
                    <a:pt x="7620" y="1971"/>
                  </a:cubicBezTo>
                  <a:cubicBezTo>
                    <a:pt x="7715" y="2001"/>
                    <a:pt x="7693" y="2059"/>
                    <a:pt x="7635" y="2125"/>
                  </a:cubicBezTo>
                  <a:cubicBezTo>
                    <a:pt x="7576" y="2198"/>
                    <a:pt x="7568" y="2228"/>
                    <a:pt x="7532" y="2323"/>
                  </a:cubicBezTo>
                  <a:cubicBezTo>
                    <a:pt x="7495" y="2411"/>
                    <a:pt x="7568" y="2411"/>
                    <a:pt x="7568" y="2411"/>
                  </a:cubicBezTo>
                  <a:cubicBezTo>
                    <a:pt x="7568" y="2411"/>
                    <a:pt x="7488" y="2455"/>
                    <a:pt x="7444" y="2513"/>
                  </a:cubicBezTo>
                  <a:cubicBezTo>
                    <a:pt x="7393" y="2572"/>
                    <a:pt x="7422" y="2601"/>
                    <a:pt x="7451" y="2645"/>
                  </a:cubicBezTo>
                  <a:cubicBezTo>
                    <a:pt x="7488" y="2696"/>
                    <a:pt x="7590" y="2726"/>
                    <a:pt x="7635" y="2741"/>
                  </a:cubicBezTo>
                  <a:cubicBezTo>
                    <a:pt x="7678" y="2748"/>
                    <a:pt x="7671" y="2828"/>
                    <a:pt x="7656" y="2887"/>
                  </a:cubicBezTo>
                  <a:cubicBezTo>
                    <a:pt x="7642" y="2946"/>
                    <a:pt x="7722" y="2946"/>
                    <a:pt x="7744" y="2975"/>
                  </a:cubicBezTo>
                  <a:cubicBezTo>
                    <a:pt x="7766" y="3012"/>
                    <a:pt x="7847" y="3246"/>
                    <a:pt x="7847" y="3246"/>
                  </a:cubicBezTo>
                  <a:cubicBezTo>
                    <a:pt x="7847" y="3246"/>
                    <a:pt x="7942" y="3268"/>
                    <a:pt x="7949" y="3341"/>
                  </a:cubicBezTo>
                  <a:cubicBezTo>
                    <a:pt x="7964" y="3407"/>
                    <a:pt x="7928" y="3598"/>
                    <a:pt x="8023" y="3598"/>
                  </a:cubicBezTo>
                  <a:cubicBezTo>
                    <a:pt x="8111" y="3598"/>
                    <a:pt x="8221" y="3715"/>
                    <a:pt x="8257" y="3803"/>
                  </a:cubicBezTo>
                  <a:cubicBezTo>
                    <a:pt x="8272" y="3854"/>
                    <a:pt x="8301" y="3869"/>
                    <a:pt x="8345" y="3869"/>
                  </a:cubicBezTo>
                  <a:cubicBezTo>
                    <a:pt x="8382" y="3869"/>
                    <a:pt x="8433" y="3854"/>
                    <a:pt x="8499" y="3840"/>
                  </a:cubicBezTo>
                  <a:cubicBezTo>
                    <a:pt x="8514" y="3832"/>
                    <a:pt x="8528" y="3832"/>
                    <a:pt x="8543" y="3832"/>
                  </a:cubicBezTo>
                  <a:cubicBezTo>
                    <a:pt x="8660" y="3832"/>
                    <a:pt x="8748" y="3935"/>
                    <a:pt x="8799" y="3986"/>
                  </a:cubicBezTo>
                  <a:cubicBezTo>
                    <a:pt x="8858" y="4045"/>
                    <a:pt x="8902" y="4096"/>
                    <a:pt x="8939" y="4147"/>
                  </a:cubicBezTo>
                  <a:cubicBezTo>
                    <a:pt x="8968" y="4191"/>
                    <a:pt x="8968" y="4250"/>
                    <a:pt x="9027" y="4279"/>
                  </a:cubicBezTo>
                  <a:cubicBezTo>
                    <a:pt x="9085" y="4316"/>
                    <a:pt x="9166" y="4382"/>
                    <a:pt x="9173" y="4441"/>
                  </a:cubicBezTo>
                  <a:cubicBezTo>
                    <a:pt x="9188" y="4499"/>
                    <a:pt x="9254" y="4551"/>
                    <a:pt x="9254" y="4551"/>
                  </a:cubicBezTo>
                  <a:cubicBezTo>
                    <a:pt x="9254" y="4551"/>
                    <a:pt x="9422" y="4551"/>
                    <a:pt x="9481" y="4565"/>
                  </a:cubicBezTo>
                  <a:cubicBezTo>
                    <a:pt x="9540" y="4572"/>
                    <a:pt x="9686" y="4748"/>
                    <a:pt x="9708" y="4800"/>
                  </a:cubicBezTo>
                  <a:cubicBezTo>
                    <a:pt x="9730" y="4858"/>
                    <a:pt x="9664" y="4975"/>
                    <a:pt x="9693" y="4983"/>
                  </a:cubicBezTo>
                  <a:cubicBezTo>
                    <a:pt x="9730" y="4997"/>
                    <a:pt x="9811" y="5020"/>
                    <a:pt x="9891" y="5085"/>
                  </a:cubicBezTo>
                  <a:cubicBezTo>
                    <a:pt x="9906" y="5100"/>
                    <a:pt x="9913" y="5100"/>
                    <a:pt x="9921" y="5100"/>
                  </a:cubicBezTo>
                  <a:cubicBezTo>
                    <a:pt x="9957" y="5100"/>
                    <a:pt x="9950" y="5012"/>
                    <a:pt x="10001" y="5012"/>
                  </a:cubicBezTo>
                  <a:cubicBezTo>
                    <a:pt x="10001" y="5012"/>
                    <a:pt x="10009" y="5020"/>
                    <a:pt x="10016" y="5020"/>
                  </a:cubicBezTo>
                  <a:cubicBezTo>
                    <a:pt x="10097" y="5041"/>
                    <a:pt x="10170" y="5063"/>
                    <a:pt x="10206" y="5144"/>
                  </a:cubicBezTo>
                  <a:cubicBezTo>
                    <a:pt x="10243" y="5225"/>
                    <a:pt x="10272" y="5269"/>
                    <a:pt x="10346" y="5276"/>
                  </a:cubicBezTo>
                  <a:cubicBezTo>
                    <a:pt x="10353" y="5276"/>
                    <a:pt x="10360" y="5283"/>
                    <a:pt x="10368" y="5283"/>
                  </a:cubicBezTo>
                  <a:cubicBezTo>
                    <a:pt x="10404" y="5283"/>
                    <a:pt x="10441" y="5269"/>
                    <a:pt x="10463" y="5269"/>
                  </a:cubicBezTo>
                  <a:cubicBezTo>
                    <a:pt x="10470" y="5269"/>
                    <a:pt x="10478" y="5269"/>
                    <a:pt x="10478" y="5276"/>
                  </a:cubicBezTo>
                  <a:cubicBezTo>
                    <a:pt x="10492" y="5313"/>
                    <a:pt x="10551" y="5401"/>
                    <a:pt x="10580" y="5452"/>
                  </a:cubicBezTo>
                  <a:cubicBezTo>
                    <a:pt x="10617" y="5496"/>
                    <a:pt x="10624" y="5525"/>
                    <a:pt x="10661" y="5598"/>
                  </a:cubicBezTo>
                  <a:cubicBezTo>
                    <a:pt x="10697" y="5664"/>
                    <a:pt x="10675" y="5701"/>
                    <a:pt x="10661" y="5796"/>
                  </a:cubicBezTo>
                  <a:cubicBezTo>
                    <a:pt x="10646" y="5899"/>
                    <a:pt x="10675" y="5891"/>
                    <a:pt x="10705" y="5950"/>
                  </a:cubicBezTo>
                  <a:cubicBezTo>
                    <a:pt x="10741" y="6001"/>
                    <a:pt x="10697" y="6082"/>
                    <a:pt x="10675" y="6199"/>
                  </a:cubicBezTo>
                  <a:cubicBezTo>
                    <a:pt x="10646" y="6309"/>
                    <a:pt x="10617" y="6272"/>
                    <a:pt x="10573" y="6346"/>
                  </a:cubicBezTo>
                  <a:cubicBezTo>
                    <a:pt x="10521" y="6412"/>
                    <a:pt x="10536" y="6456"/>
                    <a:pt x="10492" y="6492"/>
                  </a:cubicBezTo>
                  <a:cubicBezTo>
                    <a:pt x="10485" y="6492"/>
                    <a:pt x="10478" y="6500"/>
                    <a:pt x="10470" y="6500"/>
                  </a:cubicBezTo>
                  <a:cubicBezTo>
                    <a:pt x="10426" y="6500"/>
                    <a:pt x="10382" y="6419"/>
                    <a:pt x="10346" y="6390"/>
                  </a:cubicBezTo>
                  <a:cubicBezTo>
                    <a:pt x="10294" y="6353"/>
                    <a:pt x="10221" y="6353"/>
                    <a:pt x="10126" y="6324"/>
                  </a:cubicBezTo>
                  <a:cubicBezTo>
                    <a:pt x="10060" y="6294"/>
                    <a:pt x="10052" y="6258"/>
                    <a:pt x="10038" y="6258"/>
                  </a:cubicBezTo>
                  <a:cubicBezTo>
                    <a:pt x="10030" y="6258"/>
                    <a:pt x="10023" y="6265"/>
                    <a:pt x="10016" y="6272"/>
                  </a:cubicBezTo>
                  <a:cubicBezTo>
                    <a:pt x="9972" y="6324"/>
                    <a:pt x="10001" y="6324"/>
                    <a:pt x="9935" y="6368"/>
                  </a:cubicBezTo>
                  <a:cubicBezTo>
                    <a:pt x="9869" y="6412"/>
                    <a:pt x="9869" y="6375"/>
                    <a:pt x="9869" y="6434"/>
                  </a:cubicBezTo>
                  <a:cubicBezTo>
                    <a:pt x="9869" y="6492"/>
                    <a:pt x="9913" y="6617"/>
                    <a:pt x="9913" y="6617"/>
                  </a:cubicBezTo>
                  <a:cubicBezTo>
                    <a:pt x="9913" y="6617"/>
                    <a:pt x="9891" y="6683"/>
                    <a:pt x="9869" y="6763"/>
                  </a:cubicBezTo>
                  <a:cubicBezTo>
                    <a:pt x="9847" y="6844"/>
                    <a:pt x="9869" y="6903"/>
                    <a:pt x="9847" y="6998"/>
                  </a:cubicBezTo>
                  <a:cubicBezTo>
                    <a:pt x="9825" y="7101"/>
                    <a:pt x="9518" y="7284"/>
                    <a:pt x="9422" y="7306"/>
                  </a:cubicBezTo>
                  <a:cubicBezTo>
                    <a:pt x="9334" y="7328"/>
                    <a:pt x="9195" y="7350"/>
                    <a:pt x="9107" y="7386"/>
                  </a:cubicBezTo>
                  <a:cubicBezTo>
                    <a:pt x="9019" y="7423"/>
                    <a:pt x="8895" y="7555"/>
                    <a:pt x="8873" y="7591"/>
                  </a:cubicBezTo>
                  <a:cubicBezTo>
                    <a:pt x="8858" y="7606"/>
                    <a:pt x="8843" y="7606"/>
                    <a:pt x="8829" y="7606"/>
                  </a:cubicBezTo>
                  <a:cubicBezTo>
                    <a:pt x="8807" y="7606"/>
                    <a:pt x="8792" y="7606"/>
                    <a:pt x="8770" y="7606"/>
                  </a:cubicBezTo>
                  <a:cubicBezTo>
                    <a:pt x="8748" y="7606"/>
                    <a:pt x="8734" y="7606"/>
                    <a:pt x="8711" y="7613"/>
                  </a:cubicBezTo>
                  <a:cubicBezTo>
                    <a:pt x="8646" y="7635"/>
                    <a:pt x="8675" y="7694"/>
                    <a:pt x="8624" y="7782"/>
                  </a:cubicBezTo>
                  <a:cubicBezTo>
                    <a:pt x="8565" y="7877"/>
                    <a:pt x="8485" y="7863"/>
                    <a:pt x="8440" y="7943"/>
                  </a:cubicBezTo>
                  <a:cubicBezTo>
                    <a:pt x="8396" y="8024"/>
                    <a:pt x="8418" y="8104"/>
                    <a:pt x="8506" y="8148"/>
                  </a:cubicBezTo>
                  <a:cubicBezTo>
                    <a:pt x="8594" y="8192"/>
                    <a:pt x="8668" y="8192"/>
                    <a:pt x="8675" y="8273"/>
                  </a:cubicBezTo>
                  <a:cubicBezTo>
                    <a:pt x="8690" y="8353"/>
                    <a:pt x="8748" y="8420"/>
                    <a:pt x="8814" y="8441"/>
                  </a:cubicBezTo>
                  <a:cubicBezTo>
                    <a:pt x="8880" y="8463"/>
                    <a:pt x="8902" y="8581"/>
                    <a:pt x="8983" y="8705"/>
                  </a:cubicBezTo>
                  <a:cubicBezTo>
                    <a:pt x="9063" y="8830"/>
                    <a:pt x="8924" y="8925"/>
                    <a:pt x="8895" y="9020"/>
                  </a:cubicBezTo>
                  <a:cubicBezTo>
                    <a:pt x="8858" y="9108"/>
                    <a:pt x="8799" y="9108"/>
                    <a:pt x="8836" y="9203"/>
                  </a:cubicBezTo>
                  <a:cubicBezTo>
                    <a:pt x="8858" y="9255"/>
                    <a:pt x="8866" y="9284"/>
                    <a:pt x="8887" y="9284"/>
                  </a:cubicBezTo>
                  <a:cubicBezTo>
                    <a:pt x="8909" y="9284"/>
                    <a:pt x="8946" y="9262"/>
                    <a:pt x="9005" y="9225"/>
                  </a:cubicBezTo>
                  <a:cubicBezTo>
                    <a:pt x="9027" y="9211"/>
                    <a:pt x="9049" y="9203"/>
                    <a:pt x="9071" y="9203"/>
                  </a:cubicBezTo>
                  <a:cubicBezTo>
                    <a:pt x="9159" y="9203"/>
                    <a:pt x="9210" y="9350"/>
                    <a:pt x="9254" y="9431"/>
                  </a:cubicBezTo>
                  <a:cubicBezTo>
                    <a:pt x="9312" y="9519"/>
                    <a:pt x="9254" y="9563"/>
                    <a:pt x="9188" y="9643"/>
                  </a:cubicBezTo>
                  <a:cubicBezTo>
                    <a:pt x="9122" y="9724"/>
                    <a:pt x="9166" y="9775"/>
                    <a:pt x="9166" y="9834"/>
                  </a:cubicBezTo>
                  <a:cubicBezTo>
                    <a:pt x="9166" y="9892"/>
                    <a:pt x="9232" y="9929"/>
                    <a:pt x="9188" y="9973"/>
                  </a:cubicBezTo>
                  <a:cubicBezTo>
                    <a:pt x="9144" y="10010"/>
                    <a:pt x="9144" y="10053"/>
                    <a:pt x="9100" y="10053"/>
                  </a:cubicBezTo>
                  <a:cubicBezTo>
                    <a:pt x="9093" y="10053"/>
                    <a:pt x="9093" y="10053"/>
                    <a:pt x="9085" y="10053"/>
                  </a:cubicBezTo>
                  <a:cubicBezTo>
                    <a:pt x="9027" y="10039"/>
                    <a:pt x="9027" y="10039"/>
                    <a:pt x="8939" y="10017"/>
                  </a:cubicBezTo>
                  <a:cubicBezTo>
                    <a:pt x="8843" y="9995"/>
                    <a:pt x="8792" y="9870"/>
                    <a:pt x="8697" y="9834"/>
                  </a:cubicBezTo>
                  <a:cubicBezTo>
                    <a:pt x="8609" y="9804"/>
                    <a:pt x="8543" y="9709"/>
                    <a:pt x="8587" y="9665"/>
                  </a:cubicBezTo>
                  <a:cubicBezTo>
                    <a:pt x="8631" y="9621"/>
                    <a:pt x="8675" y="9599"/>
                    <a:pt x="8594" y="9563"/>
                  </a:cubicBezTo>
                  <a:cubicBezTo>
                    <a:pt x="8521" y="9526"/>
                    <a:pt x="8528" y="9460"/>
                    <a:pt x="8485" y="9416"/>
                  </a:cubicBezTo>
                  <a:cubicBezTo>
                    <a:pt x="8462" y="9394"/>
                    <a:pt x="8433" y="9379"/>
                    <a:pt x="8396" y="9379"/>
                  </a:cubicBezTo>
                  <a:cubicBezTo>
                    <a:pt x="8360" y="9379"/>
                    <a:pt x="8323" y="9387"/>
                    <a:pt x="8279" y="9394"/>
                  </a:cubicBezTo>
                  <a:cubicBezTo>
                    <a:pt x="8177" y="9401"/>
                    <a:pt x="8155" y="9460"/>
                    <a:pt x="8089" y="9541"/>
                  </a:cubicBezTo>
                  <a:cubicBezTo>
                    <a:pt x="8052" y="9577"/>
                    <a:pt x="8030" y="9592"/>
                    <a:pt x="8008" y="9592"/>
                  </a:cubicBezTo>
                  <a:cubicBezTo>
                    <a:pt x="7979" y="9592"/>
                    <a:pt x="7949" y="9577"/>
                    <a:pt x="7920" y="9563"/>
                  </a:cubicBezTo>
                  <a:cubicBezTo>
                    <a:pt x="7847" y="9541"/>
                    <a:pt x="7818" y="9438"/>
                    <a:pt x="7781" y="9379"/>
                  </a:cubicBezTo>
                  <a:cubicBezTo>
                    <a:pt x="7766" y="9357"/>
                    <a:pt x="7722" y="9343"/>
                    <a:pt x="7671" y="9343"/>
                  </a:cubicBezTo>
                  <a:cubicBezTo>
                    <a:pt x="7612" y="9343"/>
                    <a:pt x="7547" y="9357"/>
                    <a:pt x="7488" y="9379"/>
                  </a:cubicBezTo>
                  <a:cubicBezTo>
                    <a:pt x="7429" y="9401"/>
                    <a:pt x="7393" y="9416"/>
                    <a:pt x="7371" y="9416"/>
                  </a:cubicBezTo>
                  <a:cubicBezTo>
                    <a:pt x="7356" y="9416"/>
                    <a:pt x="7349" y="9401"/>
                    <a:pt x="7363" y="9379"/>
                  </a:cubicBezTo>
                  <a:cubicBezTo>
                    <a:pt x="7385" y="9335"/>
                    <a:pt x="7407" y="9225"/>
                    <a:pt x="7371" y="9225"/>
                  </a:cubicBezTo>
                  <a:cubicBezTo>
                    <a:pt x="7363" y="9225"/>
                    <a:pt x="7363" y="9225"/>
                    <a:pt x="7363" y="9225"/>
                  </a:cubicBezTo>
                  <a:cubicBezTo>
                    <a:pt x="7319" y="9233"/>
                    <a:pt x="7283" y="9306"/>
                    <a:pt x="7217" y="9372"/>
                  </a:cubicBezTo>
                  <a:cubicBezTo>
                    <a:pt x="7144" y="9438"/>
                    <a:pt x="7195" y="9497"/>
                    <a:pt x="7246" y="9584"/>
                  </a:cubicBezTo>
                  <a:cubicBezTo>
                    <a:pt x="7305" y="9680"/>
                    <a:pt x="7297" y="9680"/>
                    <a:pt x="7224" y="9687"/>
                  </a:cubicBezTo>
                  <a:cubicBezTo>
                    <a:pt x="7195" y="9694"/>
                    <a:pt x="7173" y="9694"/>
                    <a:pt x="7144" y="9694"/>
                  </a:cubicBezTo>
                  <a:cubicBezTo>
                    <a:pt x="7121" y="9694"/>
                    <a:pt x="7099" y="9694"/>
                    <a:pt x="7070" y="9687"/>
                  </a:cubicBezTo>
                  <a:cubicBezTo>
                    <a:pt x="6997" y="9680"/>
                    <a:pt x="6909" y="9665"/>
                    <a:pt x="6843" y="9651"/>
                  </a:cubicBezTo>
                  <a:cubicBezTo>
                    <a:pt x="6836" y="9651"/>
                    <a:pt x="6828" y="9651"/>
                    <a:pt x="6821" y="9651"/>
                  </a:cubicBezTo>
                  <a:cubicBezTo>
                    <a:pt x="6740" y="9651"/>
                    <a:pt x="6543" y="9716"/>
                    <a:pt x="6469" y="9775"/>
                  </a:cubicBezTo>
                  <a:cubicBezTo>
                    <a:pt x="6433" y="9804"/>
                    <a:pt x="6389" y="9812"/>
                    <a:pt x="6345" y="9812"/>
                  </a:cubicBezTo>
                  <a:cubicBezTo>
                    <a:pt x="6279" y="9812"/>
                    <a:pt x="6206" y="9797"/>
                    <a:pt x="6154" y="9797"/>
                  </a:cubicBezTo>
                  <a:cubicBezTo>
                    <a:pt x="6147" y="9797"/>
                    <a:pt x="6132" y="9797"/>
                    <a:pt x="6125" y="9804"/>
                  </a:cubicBezTo>
                  <a:cubicBezTo>
                    <a:pt x="6037" y="9812"/>
                    <a:pt x="5971" y="9812"/>
                    <a:pt x="5898" y="9907"/>
                  </a:cubicBezTo>
                  <a:cubicBezTo>
                    <a:pt x="5832" y="9995"/>
                    <a:pt x="5920" y="10002"/>
                    <a:pt x="5868" y="10053"/>
                  </a:cubicBezTo>
                  <a:cubicBezTo>
                    <a:pt x="5839" y="10075"/>
                    <a:pt x="5795" y="10075"/>
                    <a:pt x="5751" y="10075"/>
                  </a:cubicBezTo>
                  <a:cubicBezTo>
                    <a:pt x="5700" y="10075"/>
                    <a:pt x="5649" y="10075"/>
                    <a:pt x="5605" y="10075"/>
                  </a:cubicBezTo>
                  <a:cubicBezTo>
                    <a:pt x="5517" y="10075"/>
                    <a:pt x="5502" y="10105"/>
                    <a:pt x="5495" y="10207"/>
                  </a:cubicBezTo>
                  <a:cubicBezTo>
                    <a:pt x="5487" y="10251"/>
                    <a:pt x="5495" y="10266"/>
                    <a:pt x="5502" y="10266"/>
                  </a:cubicBezTo>
                  <a:cubicBezTo>
                    <a:pt x="5517" y="10266"/>
                    <a:pt x="5539" y="10244"/>
                    <a:pt x="5539" y="10244"/>
                  </a:cubicBezTo>
                  <a:cubicBezTo>
                    <a:pt x="5539" y="10310"/>
                    <a:pt x="5539" y="10310"/>
                    <a:pt x="5539" y="10310"/>
                  </a:cubicBezTo>
                  <a:cubicBezTo>
                    <a:pt x="5539" y="10310"/>
                    <a:pt x="5495" y="10303"/>
                    <a:pt x="5414" y="10288"/>
                  </a:cubicBezTo>
                  <a:cubicBezTo>
                    <a:pt x="5407" y="10288"/>
                    <a:pt x="5399" y="10288"/>
                    <a:pt x="5392" y="10288"/>
                  </a:cubicBezTo>
                  <a:cubicBezTo>
                    <a:pt x="5326" y="10288"/>
                    <a:pt x="5297" y="10339"/>
                    <a:pt x="5246" y="10413"/>
                  </a:cubicBezTo>
                  <a:cubicBezTo>
                    <a:pt x="5209" y="10456"/>
                    <a:pt x="5194" y="10471"/>
                    <a:pt x="5180" y="10471"/>
                  </a:cubicBezTo>
                  <a:cubicBezTo>
                    <a:pt x="5165" y="10471"/>
                    <a:pt x="5150" y="10464"/>
                    <a:pt x="5121" y="10449"/>
                  </a:cubicBezTo>
                  <a:cubicBezTo>
                    <a:pt x="5048" y="10413"/>
                    <a:pt x="5143" y="10332"/>
                    <a:pt x="5143" y="10332"/>
                  </a:cubicBezTo>
                  <a:cubicBezTo>
                    <a:pt x="5063" y="10347"/>
                    <a:pt x="4843" y="10449"/>
                    <a:pt x="4696" y="10456"/>
                  </a:cubicBezTo>
                  <a:cubicBezTo>
                    <a:pt x="4689" y="10456"/>
                    <a:pt x="4681" y="10456"/>
                    <a:pt x="4667" y="10456"/>
                  </a:cubicBezTo>
                  <a:cubicBezTo>
                    <a:pt x="4549" y="10456"/>
                    <a:pt x="4549" y="10391"/>
                    <a:pt x="4542" y="10347"/>
                  </a:cubicBezTo>
                  <a:cubicBezTo>
                    <a:pt x="4528" y="10303"/>
                    <a:pt x="4484" y="10200"/>
                    <a:pt x="4418" y="10200"/>
                  </a:cubicBezTo>
                  <a:cubicBezTo>
                    <a:pt x="4396" y="10200"/>
                    <a:pt x="4374" y="10200"/>
                    <a:pt x="4359" y="10200"/>
                  </a:cubicBezTo>
                  <a:cubicBezTo>
                    <a:pt x="4300" y="10200"/>
                    <a:pt x="4242" y="10193"/>
                    <a:pt x="4315" y="10141"/>
                  </a:cubicBezTo>
                  <a:cubicBezTo>
                    <a:pt x="4381" y="10090"/>
                    <a:pt x="4337" y="10024"/>
                    <a:pt x="4271" y="10024"/>
                  </a:cubicBezTo>
                  <a:cubicBezTo>
                    <a:pt x="4256" y="10024"/>
                    <a:pt x="4235" y="10032"/>
                    <a:pt x="4220" y="10039"/>
                  </a:cubicBezTo>
                  <a:cubicBezTo>
                    <a:pt x="4176" y="10061"/>
                    <a:pt x="4147" y="10075"/>
                    <a:pt x="4110" y="10075"/>
                  </a:cubicBezTo>
                  <a:cubicBezTo>
                    <a:pt x="4088" y="10075"/>
                    <a:pt x="4059" y="10068"/>
                    <a:pt x="4044" y="10053"/>
                  </a:cubicBezTo>
                  <a:cubicBezTo>
                    <a:pt x="3993" y="10017"/>
                    <a:pt x="3868" y="9980"/>
                    <a:pt x="3817" y="9951"/>
                  </a:cubicBezTo>
                  <a:cubicBezTo>
                    <a:pt x="3787" y="9936"/>
                    <a:pt x="3758" y="9922"/>
                    <a:pt x="3729" y="9922"/>
                  </a:cubicBezTo>
                  <a:cubicBezTo>
                    <a:pt x="3692" y="9922"/>
                    <a:pt x="3670" y="9936"/>
                    <a:pt x="3656" y="9973"/>
                  </a:cubicBezTo>
                  <a:cubicBezTo>
                    <a:pt x="3641" y="10017"/>
                    <a:pt x="3568" y="10032"/>
                    <a:pt x="3502" y="10032"/>
                  </a:cubicBezTo>
                  <a:cubicBezTo>
                    <a:pt x="3480" y="10032"/>
                    <a:pt x="3458" y="10032"/>
                    <a:pt x="3443" y="10032"/>
                  </a:cubicBezTo>
                  <a:cubicBezTo>
                    <a:pt x="3392" y="10017"/>
                    <a:pt x="3355" y="9907"/>
                    <a:pt x="3348" y="9907"/>
                  </a:cubicBezTo>
                  <a:lnTo>
                    <a:pt x="3348" y="9914"/>
                  </a:lnTo>
                  <a:cubicBezTo>
                    <a:pt x="3348" y="9951"/>
                    <a:pt x="3363" y="9980"/>
                    <a:pt x="3341" y="10061"/>
                  </a:cubicBezTo>
                  <a:cubicBezTo>
                    <a:pt x="3318" y="10141"/>
                    <a:pt x="3341" y="10163"/>
                    <a:pt x="3385" y="10185"/>
                  </a:cubicBezTo>
                  <a:cubicBezTo>
                    <a:pt x="3428" y="10207"/>
                    <a:pt x="3428" y="10347"/>
                    <a:pt x="3392" y="10405"/>
                  </a:cubicBezTo>
                  <a:cubicBezTo>
                    <a:pt x="3363" y="10456"/>
                    <a:pt x="3348" y="10537"/>
                    <a:pt x="3304" y="10552"/>
                  </a:cubicBezTo>
                  <a:cubicBezTo>
                    <a:pt x="3260" y="10559"/>
                    <a:pt x="3165" y="10640"/>
                    <a:pt x="3121" y="10757"/>
                  </a:cubicBezTo>
                  <a:cubicBezTo>
                    <a:pt x="3078" y="10867"/>
                    <a:pt x="2909" y="10903"/>
                    <a:pt x="2829" y="10925"/>
                  </a:cubicBezTo>
                  <a:cubicBezTo>
                    <a:pt x="2821" y="10925"/>
                    <a:pt x="2807" y="10925"/>
                    <a:pt x="2799" y="10925"/>
                  </a:cubicBezTo>
                  <a:cubicBezTo>
                    <a:pt x="2748" y="10925"/>
                    <a:pt x="2741" y="10874"/>
                    <a:pt x="2785" y="10845"/>
                  </a:cubicBezTo>
                  <a:cubicBezTo>
                    <a:pt x="2829" y="10808"/>
                    <a:pt x="2829" y="10742"/>
                    <a:pt x="2851" y="10640"/>
                  </a:cubicBezTo>
                  <a:cubicBezTo>
                    <a:pt x="2865" y="10574"/>
                    <a:pt x="2829" y="10530"/>
                    <a:pt x="2792" y="10530"/>
                  </a:cubicBezTo>
                  <a:cubicBezTo>
                    <a:pt x="2770" y="10530"/>
                    <a:pt x="2755" y="10537"/>
                    <a:pt x="2748" y="10559"/>
                  </a:cubicBezTo>
                  <a:cubicBezTo>
                    <a:pt x="2733" y="10603"/>
                    <a:pt x="2682" y="10625"/>
                    <a:pt x="2631" y="10625"/>
                  </a:cubicBezTo>
                  <a:cubicBezTo>
                    <a:pt x="2602" y="10625"/>
                    <a:pt x="2579" y="10618"/>
                    <a:pt x="2557" y="10603"/>
                  </a:cubicBezTo>
                  <a:cubicBezTo>
                    <a:pt x="2499" y="10574"/>
                    <a:pt x="2499" y="10508"/>
                    <a:pt x="2557" y="10449"/>
                  </a:cubicBezTo>
                  <a:cubicBezTo>
                    <a:pt x="2609" y="10391"/>
                    <a:pt x="2528" y="10251"/>
                    <a:pt x="2492" y="10251"/>
                  </a:cubicBezTo>
                  <a:lnTo>
                    <a:pt x="2492" y="10251"/>
                  </a:lnTo>
                  <a:cubicBezTo>
                    <a:pt x="2484" y="10259"/>
                    <a:pt x="2477" y="10259"/>
                    <a:pt x="2469" y="10259"/>
                  </a:cubicBezTo>
                  <a:cubicBezTo>
                    <a:pt x="2426" y="10259"/>
                    <a:pt x="2367" y="10237"/>
                    <a:pt x="2330" y="10200"/>
                  </a:cubicBezTo>
                  <a:cubicBezTo>
                    <a:pt x="2286" y="10156"/>
                    <a:pt x="2272" y="10083"/>
                    <a:pt x="2250" y="10053"/>
                  </a:cubicBezTo>
                  <a:cubicBezTo>
                    <a:pt x="2243" y="10039"/>
                    <a:pt x="2228" y="10039"/>
                    <a:pt x="2198" y="10039"/>
                  </a:cubicBezTo>
                  <a:cubicBezTo>
                    <a:pt x="2147" y="10039"/>
                    <a:pt x="2074" y="10053"/>
                    <a:pt x="2023" y="10061"/>
                  </a:cubicBezTo>
                  <a:cubicBezTo>
                    <a:pt x="2015" y="10061"/>
                    <a:pt x="2008" y="10061"/>
                    <a:pt x="2001" y="10061"/>
                  </a:cubicBezTo>
                  <a:cubicBezTo>
                    <a:pt x="1949" y="10061"/>
                    <a:pt x="1927" y="10017"/>
                    <a:pt x="1942" y="9951"/>
                  </a:cubicBezTo>
                  <a:cubicBezTo>
                    <a:pt x="1957" y="9892"/>
                    <a:pt x="1913" y="9863"/>
                    <a:pt x="1869" y="9863"/>
                  </a:cubicBezTo>
                  <a:cubicBezTo>
                    <a:pt x="1854" y="9863"/>
                    <a:pt x="1832" y="9870"/>
                    <a:pt x="1817" y="9878"/>
                  </a:cubicBezTo>
                  <a:cubicBezTo>
                    <a:pt x="1774" y="9914"/>
                    <a:pt x="1752" y="10039"/>
                    <a:pt x="1752" y="10039"/>
                  </a:cubicBezTo>
                  <a:cubicBezTo>
                    <a:pt x="1752" y="10039"/>
                    <a:pt x="1752" y="10039"/>
                    <a:pt x="1752" y="10046"/>
                  </a:cubicBezTo>
                  <a:cubicBezTo>
                    <a:pt x="1700" y="10039"/>
                    <a:pt x="1605" y="10024"/>
                    <a:pt x="1561" y="9995"/>
                  </a:cubicBezTo>
                  <a:cubicBezTo>
                    <a:pt x="1488" y="9951"/>
                    <a:pt x="1436" y="9936"/>
                    <a:pt x="1480" y="9892"/>
                  </a:cubicBezTo>
                  <a:cubicBezTo>
                    <a:pt x="1524" y="9848"/>
                    <a:pt x="1642" y="9834"/>
                    <a:pt x="1707" y="9826"/>
                  </a:cubicBezTo>
                  <a:cubicBezTo>
                    <a:pt x="1774" y="9812"/>
                    <a:pt x="1854" y="9768"/>
                    <a:pt x="1898" y="9709"/>
                  </a:cubicBezTo>
                  <a:cubicBezTo>
                    <a:pt x="1935" y="9672"/>
                    <a:pt x="1964" y="9621"/>
                    <a:pt x="2023" y="9621"/>
                  </a:cubicBezTo>
                  <a:cubicBezTo>
                    <a:pt x="2045" y="9621"/>
                    <a:pt x="2067" y="9629"/>
                    <a:pt x="2088" y="9643"/>
                  </a:cubicBezTo>
                  <a:cubicBezTo>
                    <a:pt x="2125" y="9658"/>
                    <a:pt x="2155" y="9665"/>
                    <a:pt x="2184" y="9665"/>
                  </a:cubicBezTo>
                  <a:cubicBezTo>
                    <a:pt x="2243" y="9665"/>
                    <a:pt x="2294" y="9636"/>
                    <a:pt x="2338" y="9599"/>
                  </a:cubicBezTo>
                  <a:cubicBezTo>
                    <a:pt x="2367" y="9577"/>
                    <a:pt x="2389" y="9570"/>
                    <a:pt x="2411" y="9570"/>
                  </a:cubicBezTo>
                  <a:cubicBezTo>
                    <a:pt x="2455" y="9570"/>
                    <a:pt x="2499" y="9599"/>
                    <a:pt x="2514" y="9629"/>
                  </a:cubicBezTo>
                  <a:cubicBezTo>
                    <a:pt x="2514" y="9636"/>
                    <a:pt x="2521" y="9643"/>
                    <a:pt x="2528" y="9643"/>
                  </a:cubicBezTo>
                  <a:cubicBezTo>
                    <a:pt x="2565" y="9643"/>
                    <a:pt x="2653" y="9526"/>
                    <a:pt x="2602" y="9401"/>
                  </a:cubicBezTo>
                  <a:cubicBezTo>
                    <a:pt x="2543" y="9270"/>
                    <a:pt x="2462" y="9211"/>
                    <a:pt x="2536" y="9167"/>
                  </a:cubicBezTo>
                  <a:cubicBezTo>
                    <a:pt x="2602" y="9123"/>
                    <a:pt x="2682" y="9130"/>
                    <a:pt x="2579" y="9042"/>
                  </a:cubicBezTo>
                  <a:cubicBezTo>
                    <a:pt x="2477" y="8954"/>
                    <a:pt x="2514" y="8925"/>
                    <a:pt x="2543" y="8815"/>
                  </a:cubicBezTo>
                  <a:cubicBezTo>
                    <a:pt x="2579" y="8705"/>
                    <a:pt x="2440" y="8654"/>
                    <a:pt x="2514" y="8603"/>
                  </a:cubicBezTo>
                  <a:cubicBezTo>
                    <a:pt x="2579" y="8544"/>
                    <a:pt x="2645" y="8375"/>
                    <a:pt x="2645" y="8273"/>
                  </a:cubicBezTo>
                  <a:cubicBezTo>
                    <a:pt x="2645" y="8170"/>
                    <a:pt x="2477" y="7943"/>
                    <a:pt x="2462" y="7782"/>
                  </a:cubicBezTo>
                  <a:cubicBezTo>
                    <a:pt x="2455" y="7628"/>
                    <a:pt x="2462" y="7577"/>
                    <a:pt x="2462" y="7577"/>
                  </a:cubicBezTo>
                  <a:cubicBezTo>
                    <a:pt x="2462" y="7577"/>
                    <a:pt x="2330" y="7364"/>
                    <a:pt x="2264" y="7320"/>
                  </a:cubicBezTo>
                  <a:cubicBezTo>
                    <a:pt x="2191" y="7276"/>
                    <a:pt x="2272" y="7284"/>
                    <a:pt x="2330" y="7159"/>
                  </a:cubicBezTo>
                  <a:cubicBezTo>
                    <a:pt x="2382" y="7042"/>
                    <a:pt x="2469" y="6932"/>
                    <a:pt x="2521" y="6932"/>
                  </a:cubicBezTo>
                  <a:cubicBezTo>
                    <a:pt x="2528" y="6932"/>
                    <a:pt x="2528" y="6932"/>
                    <a:pt x="2536" y="6932"/>
                  </a:cubicBezTo>
                  <a:cubicBezTo>
                    <a:pt x="2565" y="6947"/>
                    <a:pt x="2594" y="6991"/>
                    <a:pt x="2631" y="6991"/>
                  </a:cubicBezTo>
                  <a:cubicBezTo>
                    <a:pt x="2645" y="6991"/>
                    <a:pt x="2660" y="6983"/>
                    <a:pt x="2682" y="6969"/>
                  </a:cubicBezTo>
                  <a:cubicBezTo>
                    <a:pt x="2748" y="6910"/>
                    <a:pt x="2807" y="6888"/>
                    <a:pt x="2851" y="6873"/>
                  </a:cubicBezTo>
                  <a:cubicBezTo>
                    <a:pt x="2895" y="6866"/>
                    <a:pt x="2814" y="6844"/>
                    <a:pt x="2829" y="6800"/>
                  </a:cubicBezTo>
                  <a:cubicBezTo>
                    <a:pt x="2836" y="6778"/>
                    <a:pt x="2851" y="6771"/>
                    <a:pt x="2865" y="6771"/>
                  </a:cubicBezTo>
                  <a:cubicBezTo>
                    <a:pt x="2887" y="6771"/>
                    <a:pt x="2909" y="6778"/>
                    <a:pt x="2931" y="6800"/>
                  </a:cubicBezTo>
                  <a:lnTo>
                    <a:pt x="2938" y="6800"/>
                  </a:lnTo>
                  <a:cubicBezTo>
                    <a:pt x="2975" y="6800"/>
                    <a:pt x="3026" y="6632"/>
                    <a:pt x="2968" y="6558"/>
                  </a:cubicBezTo>
                  <a:cubicBezTo>
                    <a:pt x="2909" y="6492"/>
                    <a:pt x="2924" y="6463"/>
                    <a:pt x="2968" y="6463"/>
                  </a:cubicBezTo>
                  <a:cubicBezTo>
                    <a:pt x="2975" y="6463"/>
                    <a:pt x="2990" y="6470"/>
                    <a:pt x="2997" y="6470"/>
                  </a:cubicBezTo>
                  <a:cubicBezTo>
                    <a:pt x="2997" y="6470"/>
                    <a:pt x="2814" y="6375"/>
                    <a:pt x="2843" y="6287"/>
                  </a:cubicBezTo>
                  <a:cubicBezTo>
                    <a:pt x="2858" y="6221"/>
                    <a:pt x="2865" y="6199"/>
                    <a:pt x="2909" y="6199"/>
                  </a:cubicBezTo>
                  <a:cubicBezTo>
                    <a:pt x="2924" y="6199"/>
                    <a:pt x="2946" y="6199"/>
                    <a:pt x="2975" y="6206"/>
                  </a:cubicBezTo>
                  <a:cubicBezTo>
                    <a:pt x="3063" y="6229"/>
                    <a:pt x="3099" y="6302"/>
                    <a:pt x="3128" y="6302"/>
                  </a:cubicBezTo>
                  <a:cubicBezTo>
                    <a:pt x="3135" y="6302"/>
                    <a:pt x="3143" y="6302"/>
                    <a:pt x="3143" y="6302"/>
                  </a:cubicBezTo>
                  <a:cubicBezTo>
                    <a:pt x="3165" y="6280"/>
                    <a:pt x="3201" y="6272"/>
                    <a:pt x="3231" y="6272"/>
                  </a:cubicBezTo>
                  <a:cubicBezTo>
                    <a:pt x="3245" y="6272"/>
                    <a:pt x="3267" y="6272"/>
                    <a:pt x="3282" y="6272"/>
                  </a:cubicBezTo>
                  <a:cubicBezTo>
                    <a:pt x="3318" y="6272"/>
                    <a:pt x="3385" y="6221"/>
                    <a:pt x="3341" y="6141"/>
                  </a:cubicBezTo>
                  <a:cubicBezTo>
                    <a:pt x="3289" y="6060"/>
                    <a:pt x="3245" y="6119"/>
                    <a:pt x="3216" y="6053"/>
                  </a:cubicBezTo>
                  <a:cubicBezTo>
                    <a:pt x="3179" y="5979"/>
                    <a:pt x="3179" y="5899"/>
                    <a:pt x="3223" y="5833"/>
                  </a:cubicBezTo>
                  <a:cubicBezTo>
                    <a:pt x="3267" y="5767"/>
                    <a:pt x="3245" y="5708"/>
                    <a:pt x="3223" y="5672"/>
                  </a:cubicBezTo>
                  <a:cubicBezTo>
                    <a:pt x="3201" y="5642"/>
                    <a:pt x="3260" y="5664"/>
                    <a:pt x="3267" y="5620"/>
                  </a:cubicBezTo>
                  <a:cubicBezTo>
                    <a:pt x="3282" y="5576"/>
                    <a:pt x="3267" y="5356"/>
                    <a:pt x="3143" y="5232"/>
                  </a:cubicBezTo>
                  <a:cubicBezTo>
                    <a:pt x="3019" y="5107"/>
                    <a:pt x="2953" y="5071"/>
                    <a:pt x="2873" y="5049"/>
                  </a:cubicBezTo>
                  <a:cubicBezTo>
                    <a:pt x="2792" y="5027"/>
                    <a:pt x="2829" y="4983"/>
                    <a:pt x="2814" y="4939"/>
                  </a:cubicBezTo>
                  <a:cubicBezTo>
                    <a:pt x="2807" y="4895"/>
                    <a:pt x="2748" y="4902"/>
                    <a:pt x="2726" y="4873"/>
                  </a:cubicBezTo>
                  <a:cubicBezTo>
                    <a:pt x="2704" y="4836"/>
                    <a:pt x="2741" y="4800"/>
                    <a:pt x="2785" y="4770"/>
                  </a:cubicBezTo>
                  <a:cubicBezTo>
                    <a:pt x="2829" y="4734"/>
                    <a:pt x="2829" y="4690"/>
                    <a:pt x="2748" y="4653"/>
                  </a:cubicBezTo>
                  <a:cubicBezTo>
                    <a:pt x="2667" y="4624"/>
                    <a:pt x="2536" y="4506"/>
                    <a:pt x="2536" y="4404"/>
                  </a:cubicBezTo>
                  <a:cubicBezTo>
                    <a:pt x="2536" y="4301"/>
                    <a:pt x="2602" y="4221"/>
                    <a:pt x="2557" y="4177"/>
                  </a:cubicBezTo>
                  <a:cubicBezTo>
                    <a:pt x="2514" y="4133"/>
                    <a:pt x="2462" y="4008"/>
                    <a:pt x="2499" y="3942"/>
                  </a:cubicBezTo>
                  <a:cubicBezTo>
                    <a:pt x="2528" y="3891"/>
                    <a:pt x="2572" y="3884"/>
                    <a:pt x="2594" y="3884"/>
                  </a:cubicBezTo>
                  <a:lnTo>
                    <a:pt x="2602" y="3884"/>
                  </a:lnTo>
                  <a:cubicBezTo>
                    <a:pt x="2602" y="3884"/>
                    <a:pt x="2594" y="3759"/>
                    <a:pt x="2543" y="3737"/>
                  </a:cubicBezTo>
                  <a:cubicBezTo>
                    <a:pt x="2499" y="3715"/>
                    <a:pt x="2462" y="3701"/>
                    <a:pt x="2477" y="3620"/>
                  </a:cubicBezTo>
                  <a:cubicBezTo>
                    <a:pt x="2492" y="3546"/>
                    <a:pt x="2455" y="3532"/>
                    <a:pt x="2440" y="3444"/>
                  </a:cubicBezTo>
                  <a:cubicBezTo>
                    <a:pt x="2440" y="3400"/>
                    <a:pt x="2426" y="3385"/>
                    <a:pt x="2404" y="3385"/>
                  </a:cubicBezTo>
                  <a:cubicBezTo>
                    <a:pt x="2382" y="3385"/>
                    <a:pt x="2352" y="3415"/>
                    <a:pt x="2330" y="3451"/>
                  </a:cubicBezTo>
                  <a:cubicBezTo>
                    <a:pt x="2294" y="3525"/>
                    <a:pt x="2330" y="3546"/>
                    <a:pt x="2213" y="3569"/>
                  </a:cubicBezTo>
                  <a:cubicBezTo>
                    <a:pt x="2206" y="3569"/>
                    <a:pt x="2191" y="3569"/>
                    <a:pt x="2176" y="3569"/>
                  </a:cubicBezTo>
                  <a:cubicBezTo>
                    <a:pt x="2096" y="3569"/>
                    <a:pt x="2081" y="3503"/>
                    <a:pt x="2081" y="3429"/>
                  </a:cubicBezTo>
                  <a:cubicBezTo>
                    <a:pt x="2081" y="3363"/>
                    <a:pt x="2045" y="3239"/>
                    <a:pt x="2015" y="3239"/>
                  </a:cubicBezTo>
                  <a:cubicBezTo>
                    <a:pt x="2008" y="3239"/>
                    <a:pt x="2008" y="3239"/>
                    <a:pt x="2001" y="3246"/>
                  </a:cubicBezTo>
                  <a:cubicBezTo>
                    <a:pt x="1979" y="3283"/>
                    <a:pt x="1927" y="3356"/>
                    <a:pt x="1898" y="3356"/>
                  </a:cubicBezTo>
                  <a:cubicBezTo>
                    <a:pt x="1883" y="3356"/>
                    <a:pt x="1883" y="3327"/>
                    <a:pt x="1913" y="3246"/>
                  </a:cubicBezTo>
                  <a:cubicBezTo>
                    <a:pt x="1979" y="3048"/>
                    <a:pt x="1993" y="3078"/>
                    <a:pt x="1935" y="3056"/>
                  </a:cubicBezTo>
                  <a:cubicBezTo>
                    <a:pt x="1876" y="3034"/>
                    <a:pt x="1869" y="2997"/>
                    <a:pt x="1876" y="2953"/>
                  </a:cubicBezTo>
                  <a:cubicBezTo>
                    <a:pt x="1883" y="2909"/>
                    <a:pt x="1861" y="2792"/>
                    <a:pt x="1803" y="2792"/>
                  </a:cubicBezTo>
                  <a:cubicBezTo>
                    <a:pt x="1795" y="2792"/>
                    <a:pt x="1788" y="2792"/>
                    <a:pt x="1788" y="2799"/>
                  </a:cubicBezTo>
                  <a:cubicBezTo>
                    <a:pt x="1729" y="2814"/>
                    <a:pt x="1707" y="2902"/>
                    <a:pt x="1664" y="2902"/>
                  </a:cubicBezTo>
                  <a:cubicBezTo>
                    <a:pt x="1649" y="2902"/>
                    <a:pt x="1634" y="2894"/>
                    <a:pt x="1612" y="2872"/>
                  </a:cubicBezTo>
                  <a:cubicBezTo>
                    <a:pt x="1583" y="2843"/>
                    <a:pt x="1568" y="2828"/>
                    <a:pt x="1554" y="2828"/>
                  </a:cubicBezTo>
                  <a:cubicBezTo>
                    <a:pt x="1539" y="2828"/>
                    <a:pt x="1532" y="2851"/>
                    <a:pt x="1502" y="2894"/>
                  </a:cubicBezTo>
                  <a:cubicBezTo>
                    <a:pt x="1488" y="2916"/>
                    <a:pt x="1473" y="2931"/>
                    <a:pt x="1466" y="2931"/>
                  </a:cubicBezTo>
                  <a:cubicBezTo>
                    <a:pt x="1444" y="2931"/>
                    <a:pt x="1451" y="2865"/>
                    <a:pt x="1458" y="2799"/>
                  </a:cubicBezTo>
                  <a:cubicBezTo>
                    <a:pt x="1466" y="2704"/>
                    <a:pt x="1480" y="2594"/>
                    <a:pt x="1444" y="2579"/>
                  </a:cubicBezTo>
                  <a:cubicBezTo>
                    <a:pt x="1436" y="2579"/>
                    <a:pt x="1429" y="2579"/>
                    <a:pt x="1422" y="2579"/>
                  </a:cubicBezTo>
                  <a:cubicBezTo>
                    <a:pt x="1400" y="2579"/>
                    <a:pt x="1385" y="2587"/>
                    <a:pt x="1341" y="2616"/>
                  </a:cubicBezTo>
                  <a:cubicBezTo>
                    <a:pt x="1297" y="2645"/>
                    <a:pt x="1268" y="2675"/>
                    <a:pt x="1238" y="2675"/>
                  </a:cubicBezTo>
                  <a:cubicBezTo>
                    <a:pt x="1231" y="2675"/>
                    <a:pt x="1224" y="2675"/>
                    <a:pt x="1217" y="2675"/>
                  </a:cubicBezTo>
                  <a:cubicBezTo>
                    <a:pt x="1187" y="2645"/>
                    <a:pt x="1187" y="2601"/>
                    <a:pt x="1151" y="2594"/>
                  </a:cubicBezTo>
                  <a:cubicBezTo>
                    <a:pt x="1143" y="2587"/>
                    <a:pt x="1143" y="2587"/>
                    <a:pt x="1136" y="2587"/>
                  </a:cubicBezTo>
                  <a:cubicBezTo>
                    <a:pt x="1114" y="2587"/>
                    <a:pt x="1114" y="2616"/>
                    <a:pt x="1070" y="2638"/>
                  </a:cubicBezTo>
                  <a:cubicBezTo>
                    <a:pt x="1063" y="2638"/>
                    <a:pt x="1063" y="2645"/>
                    <a:pt x="1055" y="2645"/>
                  </a:cubicBezTo>
                  <a:cubicBezTo>
                    <a:pt x="1026" y="2645"/>
                    <a:pt x="1019" y="2601"/>
                    <a:pt x="982" y="2601"/>
                  </a:cubicBezTo>
                  <a:cubicBezTo>
                    <a:pt x="975" y="2601"/>
                    <a:pt x="975" y="2601"/>
                    <a:pt x="967" y="2601"/>
                  </a:cubicBezTo>
                  <a:cubicBezTo>
                    <a:pt x="916" y="2616"/>
                    <a:pt x="857" y="2623"/>
                    <a:pt x="814" y="2660"/>
                  </a:cubicBezTo>
                  <a:cubicBezTo>
                    <a:pt x="762" y="2696"/>
                    <a:pt x="740" y="2763"/>
                    <a:pt x="740" y="2763"/>
                  </a:cubicBezTo>
                  <a:cubicBezTo>
                    <a:pt x="740" y="2763"/>
                    <a:pt x="740" y="2784"/>
                    <a:pt x="799" y="2799"/>
                  </a:cubicBezTo>
                  <a:cubicBezTo>
                    <a:pt x="806" y="2799"/>
                    <a:pt x="821" y="2799"/>
                    <a:pt x="828" y="2799"/>
                  </a:cubicBezTo>
                  <a:cubicBezTo>
                    <a:pt x="850" y="2799"/>
                    <a:pt x="865" y="2792"/>
                    <a:pt x="887" y="2792"/>
                  </a:cubicBezTo>
                  <a:cubicBezTo>
                    <a:pt x="909" y="2792"/>
                    <a:pt x="931" y="2799"/>
                    <a:pt x="945" y="2821"/>
                  </a:cubicBezTo>
                  <a:cubicBezTo>
                    <a:pt x="989" y="2865"/>
                    <a:pt x="989" y="2924"/>
                    <a:pt x="967" y="2968"/>
                  </a:cubicBezTo>
                  <a:cubicBezTo>
                    <a:pt x="945" y="3012"/>
                    <a:pt x="1004" y="3048"/>
                    <a:pt x="887" y="3056"/>
                  </a:cubicBezTo>
                  <a:cubicBezTo>
                    <a:pt x="777" y="3070"/>
                    <a:pt x="667" y="3056"/>
                    <a:pt x="667" y="3173"/>
                  </a:cubicBezTo>
                  <a:cubicBezTo>
                    <a:pt x="667" y="3283"/>
                    <a:pt x="594" y="3268"/>
                    <a:pt x="528" y="3305"/>
                  </a:cubicBezTo>
                  <a:cubicBezTo>
                    <a:pt x="513" y="3312"/>
                    <a:pt x="498" y="3312"/>
                    <a:pt x="484" y="3312"/>
                  </a:cubicBezTo>
                  <a:cubicBezTo>
                    <a:pt x="440" y="3312"/>
                    <a:pt x="403" y="3305"/>
                    <a:pt x="367" y="3305"/>
                  </a:cubicBezTo>
                  <a:cubicBezTo>
                    <a:pt x="345" y="3305"/>
                    <a:pt x="330" y="3305"/>
                    <a:pt x="315" y="3312"/>
                  </a:cubicBezTo>
                  <a:cubicBezTo>
                    <a:pt x="315" y="3297"/>
                    <a:pt x="308" y="3275"/>
                    <a:pt x="301" y="3261"/>
                  </a:cubicBezTo>
                  <a:cubicBezTo>
                    <a:pt x="293" y="3253"/>
                    <a:pt x="286" y="3246"/>
                    <a:pt x="271" y="3246"/>
                  </a:cubicBezTo>
                  <a:cubicBezTo>
                    <a:pt x="264" y="3246"/>
                    <a:pt x="264" y="3246"/>
                    <a:pt x="257" y="3246"/>
                  </a:cubicBezTo>
                  <a:cubicBezTo>
                    <a:pt x="242" y="3246"/>
                    <a:pt x="227" y="3246"/>
                    <a:pt x="235" y="3202"/>
                  </a:cubicBezTo>
                  <a:cubicBezTo>
                    <a:pt x="242" y="3122"/>
                    <a:pt x="279" y="3180"/>
                    <a:pt x="301" y="3114"/>
                  </a:cubicBezTo>
                  <a:cubicBezTo>
                    <a:pt x="323" y="3048"/>
                    <a:pt x="301" y="3019"/>
                    <a:pt x="301" y="2953"/>
                  </a:cubicBezTo>
                  <a:cubicBezTo>
                    <a:pt x="301" y="2887"/>
                    <a:pt x="337" y="2924"/>
                    <a:pt x="359" y="2843"/>
                  </a:cubicBezTo>
                  <a:cubicBezTo>
                    <a:pt x="381" y="2763"/>
                    <a:pt x="359" y="2741"/>
                    <a:pt x="345" y="2660"/>
                  </a:cubicBezTo>
                  <a:cubicBezTo>
                    <a:pt x="337" y="2579"/>
                    <a:pt x="301" y="2535"/>
                    <a:pt x="264" y="2477"/>
                  </a:cubicBezTo>
                  <a:cubicBezTo>
                    <a:pt x="235" y="2418"/>
                    <a:pt x="162" y="2323"/>
                    <a:pt x="139" y="2220"/>
                  </a:cubicBezTo>
                  <a:cubicBezTo>
                    <a:pt x="117" y="2118"/>
                    <a:pt x="117" y="1993"/>
                    <a:pt x="139" y="1949"/>
                  </a:cubicBezTo>
                  <a:cubicBezTo>
                    <a:pt x="162" y="1898"/>
                    <a:pt x="198" y="1810"/>
                    <a:pt x="139" y="1773"/>
                  </a:cubicBezTo>
                  <a:cubicBezTo>
                    <a:pt x="88" y="1744"/>
                    <a:pt x="37" y="1707"/>
                    <a:pt x="74" y="1627"/>
                  </a:cubicBezTo>
                  <a:cubicBezTo>
                    <a:pt x="110" y="1546"/>
                    <a:pt x="117" y="1517"/>
                    <a:pt x="213" y="1480"/>
                  </a:cubicBezTo>
                  <a:cubicBezTo>
                    <a:pt x="235" y="1473"/>
                    <a:pt x="249" y="1473"/>
                    <a:pt x="264" y="1473"/>
                  </a:cubicBezTo>
                  <a:cubicBezTo>
                    <a:pt x="315" y="1473"/>
                    <a:pt x="345" y="1495"/>
                    <a:pt x="381" y="1495"/>
                  </a:cubicBezTo>
                  <a:lnTo>
                    <a:pt x="388" y="1495"/>
                  </a:lnTo>
                  <a:cubicBezTo>
                    <a:pt x="396" y="1495"/>
                    <a:pt x="396" y="1487"/>
                    <a:pt x="396" y="1487"/>
                  </a:cubicBezTo>
                  <a:cubicBezTo>
                    <a:pt x="433" y="1487"/>
                    <a:pt x="388" y="1561"/>
                    <a:pt x="388" y="1561"/>
                  </a:cubicBezTo>
                  <a:cubicBezTo>
                    <a:pt x="388" y="1561"/>
                    <a:pt x="484" y="1422"/>
                    <a:pt x="542" y="1414"/>
                  </a:cubicBezTo>
                  <a:cubicBezTo>
                    <a:pt x="572" y="1407"/>
                    <a:pt x="630" y="1400"/>
                    <a:pt x="674" y="1400"/>
                  </a:cubicBezTo>
                  <a:cubicBezTo>
                    <a:pt x="711" y="1400"/>
                    <a:pt x="748" y="1400"/>
                    <a:pt x="762" y="1414"/>
                  </a:cubicBezTo>
                  <a:cubicBezTo>
                    <a:pt x="814" y="1436"/>
                    <a:pt x="857" y="1473"/>
                    <a:pt x="887" y="1517"/>
                  </a:cubicBezTo>
                  <a:cubicBezTo>
                    <a:pt x="916" y="1553"/>
                    <a:pt x="975" y="1590"/>
                    <a:pt x="1033" y="1590"/>
                  </a:cubicBezTo>
                  <a:cubicBezTo>
                    <a:pt x="1048" y="1590"/>
                    <a:pt x="1063" y="1590"/>
                    <a:pt x="1070" y="1583"/>
                  </a:cubicBezTo>
                  <a:cubicBezTo>
                    <a:pt x="1143" y="1561"/>
                    <a:pt x="1173" y="1524"/>
                    <a:pt x="1173" y="1473"/>
                  </a:cubicBezTo>
                  <a:cubicBezTo>
                    <a:pt x="1173" y="1414"/>
                    <a:pt x="1231" y="1392"/>
                    <a:pt x="1231" y="1348"/>
                  </a:cubicBezTo>
                  <a:cubicBezTo>
                    <a:pt x="1231" y="1297"/>
                    <a:pt x="1165" y="1312"/>
                    <a:pt x="1165" y="1253"/>
                  </a:cubicBezTo>
                  <a:cubicBezTo>
                    <a:pt x="1165" y="1194"/>
                    <a:pt x="1151" y="1084"/>
                    <a:pt x="1151" y="1084"/>
                  </a:cubicBezTo>
                  <a:cubicBezTo>
                    <a:pt x="1151" y="1084"/>
                    <a:pt x="1268" y="1084"/>
                    <a:pt x="1297" y="1121"/>
                  </a:cubicBezTo>
                  <a:cubicBezTo>
                    <a:pt x="1305" y="1128"/>
                    <a:pt x="1319" y="1128"/>
                    <a:pt x="1341" y="1128"/>
                  </a:cubicBezTo>
                  <a:cubicBezTo>
                    <a:pt x="1400" y="1128"/>
                    <a:pt x="1502" y="1092"/>
                    <a:pt x="1502" y="1092"/>
                  </a:cubicBezTo>
                  <a:cubicBezTo>
                    <a:pt x="1502" y="1092"/>
                    <a:pt x="1393" y="1070"/>
                    <a:pt x="1444" y="1019"/>
                  </a:cubicBezTo>
                  <a:cubicBezTo>
                    <a:pt x="1502" y="960"/>
                    <a:pt x="1546" y="996"/>
                    <a:pt x="1590" y="938"/>
                  </a:cubicBezTo>
                  <a:cubicBezTo>
                    <a:pt x="1642" y="879"/>
                    <a:pt x="1671" y="857"/>
                    <a:pt x="1671" y="777"/>
                  </a:cubicBezTo>
                  <a:cubicBezTo>
                    <a:pt x="1671" y="696"/>
                    <a:pt x="1590" y="645"/>
                    <a:pt x="1664" y="550"/>
                  </a:cubicBezTo>
                  <a:cubicBezTo>
                    <a:pt x="1700" y="506"/>
                    <a:pt x="1715" y="484"/>
                    <a:pt x="1737" y="484"/>
                  </a:cubicBezTo>
                  <a:cubicBezTo>
                    <a:pt x="1752" y="484"/>
                    <a:pt x="1774" y="498"/>
                    <a:pt x="1795" y="520"/>
                  </a:cubicBezTo>
                  <a:cubicBezTo>
                    <a:pt x="1817" y="528"/>
                    <a:pt x="1847" y="535"/>
                    <a:pt x="1883" y="535"/>
                  </a:cubicBezTo>
                  <a:cubicBezTo>
                    <a:pt x="1949" y="535"/>
                    <a:pt x="2023" y="513"/>
                    <a:pt x="2067" y="469"/>
                  </a:cubicBezTo>
                  <a:cubicBezTo>
                    <a:pt x="2140" y="403"/>
                    <a:pt x="2213" y="366"/>
                    <a:pt x="2250" y="315"/>
                  </a:cubicBezTo>
                  <a:cubicBezTo>
                    <a:pt x="2286" y="256"/>
                    <a:pt x="2250" y="213"/>
                    <a:pt x="2294" y="154"/>
                  </a:cubicBezTo>
                  <a:cubicBezTo>
                    <a:pt x="2316" y="132"/>
                    <a:pt x="2338" y="110"/>
                    <a:pt x="2360" y="95"/>
                  </a:cubicBezTo>
                  <a:cubicBezTo>
                    <a:pt x="2374" y="117"/>
                    <a:pt x="2374" y="117"/>
                    <a:pt x="2374" y="117"/>
                  </a:cubicBezTo>
                  <a:cubicBezTo>
                    <a:pt x="2360" y="95"/>
                    <a:pt x="2360" y="95"/>
                    <a:pt x="2360" y="95"/>
                  </a:cubicBezTo>
                  <a:cubicBezTo>
                    <a:pt x="2389" y="66"/>
                    <a:pt x="2426" y="51"/>
                    <a:pt x="2440" y="44"/>
                  </a:cubicBezTo>
                  <a:cubicBezTo>
                    <a:pt x="2448" y="37"/>
                    <a:pt x="2455" y="37"/>
                    <a:pt x="2455" y="37"/>
                  </a:cubicBezTo>
                  <a:cubicBezTo>
                    <a:pt x="2469" y="37"/>
                    <a:pt x="2462" y="66"/>
                    <a:pt x="2521" y="66"/>
                  </a:cubicBezTo>
                  <a:cubicBezTo>
                    <a:pt x="2565" y="66"/>
                    <a:pt x="2587" y="37"/>
                    <a:pt x="2616" y="37"/>
                  </a:cubicBezTo>
                  <a:lnTo>
                    <a:pt x="2616" y="0"/>
                  </a:lnTo>
                  <a:lnTo>
                    <a:pt x="2616" y="0"/>
                  </a:lnTo>
                  <a:lnTo>
                    <a:pt x="2616" y="0"/>
                  </a:lnTo>
                  <a:cubicBezTo>
                    <a:pt x="2594" y="0"/>
                    <a:pt x="2579" y="15"/>
                    <a:pt x="2565" y="22"/>
                  </a:cubicBezTo>
                  <a:cubicBezTo>
                    <a:pt x="2550" y="29"/>
                    <a:pt x="2543" y="37"/>
                    <a:pt x="2521" y="37"/>
                  </a:cubicBezTo>
                  <a:cubicBezTo>
                    <a:pt x="2499" y="37"/>
                    <a:pt x="2492" y="29"/>
                    <a:pt x="2492" y="22"/>
                  </a:cubicBezTo>
                  <a:cubicBezTo>
                    <a:pt x="2484" y="22"/>
                    <a:pt x="2477" y="7"/>
                    <a:pt x="2455" y="7"/>
                  </a:cubicBezTo>
                  <a:cubicBezTo>
                    <a:pt x="2448" y="7"/>
                    <a:pt x="2440" y="7"/>
                    <a:pt x="2433" y="15"/>
                  </a:cubicBezTo>
                  <a:cubicBezTo>
                    <a:pt x="2411" y="22"/>
                    <a:pt x="2389" y="29"/>
                    <a:pt x="2360" y="51"/>
                  </a:cubicBezTo>
                  <a:lnTo>
                    <a:pt x="2360" y="51"/>
                  </a:lnTo>
                  <a:cubicBezTo>
                    <a:pt x="2338" y="73"/>
                    <a:pt x="2338" y="73"/>
                    <a:pt x="2338" y="73"/>
                  </a:cubicBezTo>
                  <a:lnTo>
                    <a:pt x="2338" y="73"/>
                  </a:lnTo>
                  <a:cubicBezTo>
                    <a:pt x="2316" y="88"/>
                    <a:pt x="2316" y="88"/>
                    <a:pt x="2316" y="88"/>
                  </a:cubicBezTo>
                  <a:lnTo>
                    <a:pt x="2316" y="88"/>
                  </a:lnTo>
                  <a:cubicBezTo>
                    <a:pt x="2301" y="103"/>
                    <a:pt x="2286" y="117"/>
                    <a:pt x="2272" y="139"/>
                  </a:cubicBezTo>
                  <a:cubicBezTo>
                    <a:pt x="2243" y="176"/>
                    <a:pt x="2243" y="213"/>
                    <a:pt x="2235" y="234"/>
                  </a:cubicBezTo>
                  <a:cubicBezTo>
                    <a:pt x="2235" y="264"/>
                    <a:pt x="2235" y="278"/>
                    <a:pt x="2228" y="301"/>
                  </a:cubicBezTo>
                  <a:cubicBezTo>
                    <a:pt x="2206" y="322"/>
                    <a:pt x="2176" y="344"/>
                    <a:pt x="2140" y="374"/>
                  </a:cubicBezTo>
                  <a:cubicBezTo>
                    <a:pt x="2111" y="396"/>
                    <a:pt x="2081" y="418"/>
                    <a:pt x="2045" y="447"/>
                  </a:cubicBezTo>
                  <a:cubicBezTo>
                    <a:pt x="2015" y="484"/>
                    <a:pt x="1949" y="506"/>
                    <a:pt x="1883" y="506"/>
                  </a:cubicBezTo>
                  <a:cubicBezTo>
                    <a:pt x="1854" y="506"/>
                    <a:pt x="1825" y="498"/>
                    <a:pt x="1810" y="491"/>
                  </a:cubicBezTo>
                  <a:cubicBezTo>
                    <a:pt x="1810" y="491"/>
                    <a:pt x="1803" y="484"/>
                    <a:pt x="1795" y="484"/>
                  </a:cubicBezTo>
                  <a:cubicBezTo>
                    <a:pt x="1774" y="469"/>
                    <a:pt x="1759" y="454"/>
                    <a:pt x="1737" y="454"/>
                  </a:cubicBezTo>
                  <a:cubicBezTo>
                    <a:pt x="1700" y="454"/>
                    <a:pt x="1671" y="484"/>
                    <a:pt x="1634" y="535"/>
                  </a:cubicBezTo>
                  <a:cubicBezTo>
                    <a:pt x="1583" y="608"/>
                    <a:pt x="1605" y="667"/>
                    <a:pt x="1627" y="711"/>
                  </a:cubicBezTo>
                  <a:cubicBezTo>
                    <a:pt x="1634" y="733"/>
                    <a:pt x="1642" y="755"/>
                    <a:pt x="1642" y="777"/>
                  </a:cubicBezTo>
                  <a:cubicBezTo>
                    <a:pt x="1642" y="835"/>
                    <a:pt x="1627" y="850"/>
                    <a:pt x="1590" y="887"/>
                  </a:cubicBezTo>
                  <a:cubicBezTo>
                    <a:pt x="1583" y="901"/>
                    <a:pt x="1576" y="909"/>
                    <a:pt x="1568" y="916"/>
                  </a:cubicBezTo>
                  <a:cubicBezTo>
                    <a:pt x="1554" y="938"/>
                    <a:pt x="1539" y="945"/>
                    <a:pt x="1517" y="945"/>
                  </a:cubicBezTo>
                  <a:cubicBezTo>
                    <a:pt x="1488" y="953"/>
                    <a:pt x="1458" y="960"/>
                    <a:pt x="1422" y="996"/>
                  </a:cubicBezTo>
                  <a:cubicBezTo>
                    <a:pt x="1400" y="1019"/>
                    <a:pt x="1400" y="1048"/>
                    <a:pt x="1400" y="1063"/>
                  </a:cubicBezTo>
                  <a:cubicBezTo>
                    <a:pt x="1407" y="1070"/>
                    <a:pt x="1407" y="1077"/>
                    <a:pt x="1414" y="1084"/>
                  </a:cubicBezTo>
                  <a:cubicBezTo>
                    <a:pt x="1393" y="1092"/>
                    <a:pt x="1363" y="1099"/>
                    <a:pt x="1341" y="1099"/>
                  </a:cubicBezTo>
                  <a:cubicBezTo>
                    <a:pt x="1326" y="1099"/>
                    <a:pt x="1319" y="1099"/>
                    <a:pt x="1319" y="1099"/>
                  </a:cubicBezTo>
                  <a:cubicBezTo>
                    <a:pt x="1283" y="1055"/>
                    <a:pt x="1173" y="1055"/>
                    <a:pt x="1151" y="1055"/>
                  </a:cubicBezTo>
                  <a:cubicBezTo>
                    <a:pt x="1114" y="1055"/>
                    <a:pt x="1114" y="1055"/>
                    <a:pt x="1114" y="1055"/>
                  </a:cubicBezTo>
                  <a:cubicBezTo>
                    <a:pt x="1121" y="1084"/>
                    <a:pt x="1121" y="1084"/>
                    <a:pt x="1121" y="1084"/>
                  </a:cubicBezTo>
                  <a:cubicBezTo>
                    <a:pt x="1121" y="1092"/>
                    <a:pt x="1129" y="1202"/>
                    <a:pt x="1129" y="1253"/>
                  </a:cubicBezTo>
                  <a:cubicBezTo>
                    <a:pt x="1129" y="1304"/>
                    <a:pt x="1165" y="1319"/>
                    <a:pt x="1187" y="1334"/>
                  </a:cubicBezTo>
                  <a:cubicBezTo>
                    <a:pt x="1202" y="1341"/>
                    <a:pt x="1202" y="1341"/>
                    <a:pt x="1202" y="1348"/>
                  </a:cubicBezTo>
                  <a:cubicBezTo>
                    <a:pt x="1202" y="1356"/>
                    <a:pt x="1195" y="1363"/>
                    <a:pt x="1180" y="1378"/>
                  </a:cubicBezTo>
                  <a:cubicBezTo>
                    <a:pt x="1165" y="1400"/>
                    <a:pt x="1143" y="1429"/>
                    <a:pt x="1143" y="1473"/>
                  </a:cubicBezTo>
                  <a:cubicBezTo>
                    <a:pt x="1143" y="1502"/>
                    <a:pt x="1136" y="1532"/>
                    <a:pt x="1063" y="1553"/>
                  </a:cubicBezTo>
                  <a:cubicBezTo>
                    <a:pt x="1055" y="1553"/>
                    <a:pt x="1041" y="1561"/>
                    <a:pt x="1033" y="1561"/>
                  </a:cubicBezTo>
                  <a:cubicBezTo>
                    <a:pt x="989" y="1561"/>
                    <a:pt x="938" y="1524"/>
                    <a:pt x="916" y="1495"/>
                  </a:cubicBezTo>
                  <a:cubicBezTo>
                    <a:pt x="872" y="1436"/>
                    <a:pt x="821" y="1407"/>
                    <a:pt x="777" y="1385"/>
                  </a:cubicBezTo>
                  <a:cubicBezTo>
                    <a:pt x="755" y="1378"/>
                    <a:pt x="726" y="1370"/>
                    <a:pt x="674" y="1370"/>
                  </a:cubicBezTo>
                  <a:cubicBezTo>
                    <a:pt x="623" y="1370"/>
                    <a:pt x="564" y="1378"/>
                    <a:pt x="535" y="1385"/>
                  </a:cubicBezTo>
                  <a:cubicBezTo>
                    <a:pt x="498" y="1392"/>
                    <a:pt x="455" y="1429"/>
                    <a:pt x="425" y="1465"/>
                  </a:cubicBezTo>
                  <a:cubicBezTo>
                    <a:pt x="418" y="1465"/>
                    <a:pt x="411" y="1458"/>
                    <a:pt x="396" y="1458"/>
                  </a:cubicBezTo>
                  <a:lnTo>
                    <a:pt x="396" y="1458"/>
                  </a:lnTo>
                  <a:cubicBezTo>
                    <a:pt x="396" y="1458"/>
                    <a:pt x="388" y="1458"/>
                    <a:pt x="381" y="1465"/>
                  </a:cubicBezTo>
                  <a:lnTo>
                    <a:pt x="381" y="1465"/>
                  </a:lnTo>
                  <a:cubicBezTo>
                    <a:pt x="367" y="1465"/>
                    <a:pt x="359" y="1458"/>
                    <a:pt x="345" y="1458"/>
                  </a:cubicBezTo>
                  <a:cubicBezTo>
                    <a:pt x="323" y="1451"/>
                    <a:pt x="301" y="1436"/>
                    <a:pt x="264" y="1436"/>
                  </a:cubicBezTo>
                  <a:cubicBezTo>
                    <a:pt x="242" y="1436"/>
                    <a:pt x="220" y="1444"/>
                    <a:pt x="198" y="1451"/>
                  </a:cubicBezTo>
                  <a:cubicBezTo>
                    <a:pt x="103" y="1487"/>
                    <a:pt x="81" y="1532"/>
                    <a:pt x="52" y="1605"/>
                  </a:cubicBezTo>
                  <a:cubicBezTo>
                    <a:pt x="44" y="1619"/>
                    <a:pt x="44" y="1619"/>
                    <a:pt x="44" y="1619"/>
                  </a:cubicBezTo>
                  <a:cubicBezTo>
                    <a:pt x="0" y="1722"/>
                    <a:pt x="81" y="1773"/>
                    <a:pt x="125" y="1803"/>
                  </a:cubicBezTo>
                  <a:cubicBezTo>
                    <a:pt x="169" y="1825"/>
                    <a:pt x="117" y="1920"/>
                    <a:pt x="117" y="1934"/>
                  </a:cubicBezTo>
                  <a:cubicBezTo>
                    <a:pt x="88" y="1993"/>
                    <a:pt x="88" y="2125"/>
                    <a:pt x="110" y="2228"/>
                  </a:cubicBezTo>
                  <a:cubicBezTo>
                    <a:pt x="132" y="2315"/>
                    <a:pt x="191" y="2411"/>
                    <a:pt x="227" y="2470"/>
                  </a:cubicBezTo>
                  <a:cubicBezTo>
                    <a:pt x="242" y="2491"/>
                    <a:pt x="242" y="2491"/>
                    <a:pt x="242" y="2491"/>
                  </a:cubicBezTo>
                  <a:cubicBezTo>
                    <a:pt x="257" y="2513"/>
                    <a:pt x="257" y="2513"/>
                    <a:pt x="257" y="2513"/>
                  </a:cubicBezTo>
                  <a:cubicBezTo>
                    <a:pt x="286" y="2565"/>
                    <a:pt x="308" y="2601"/>
                    <a:pt x="315" y="2667"/>
                  </a:cubicBezTo>
                  <a:cubicBezTo>
                    <a:pt x="323" y="2689"/>
                    <a:pt x="323" y="2711"/>
                    <a:pt x="330" y="2726"/>
                  </a:cubicBezTo>
                  <a:cubicBezTo>
                    <a:pt x="337" y="2763"/>
                    <a:pt x="345" y="2784"/>
                    <a:pt x="330" y="2836"/>
                  </a:cubicBezTo>
                  <a:cubicBezTo>
                    <a:pt x="323" y="2865"/>
                    <a:pt x="308" y="2872"/>
                    <a:pt x="301" y="2880"/>
                  </a:cubicBezTo>
                  <a:cubicBezTo>
                    <a:pt x="286" y="2894"/>
                    <a:pt x="271" y="2909"/>
                    <a:pt x="271" y="2953"/>
                  </a:cubicBezTo>
                  <a:cubicBezTo>
                    <a:pt x="271" y="2982"/>
                    <a:pt x="271" y="3004"/>
                    <a:pt x="279" y="3019"/>
                  </a:cubicBezTo>
                  <a:cubicBezTo>
                    <a:pt x="279" y="3048"/>
                    <a:pt x="286" y="3070"/>
                    <a:pt x="271" y="3107"/>
                  </a:cubicBezTo>
                  <a:cubicBezTo>
                    <a:pt x="264" y="3122"/>
                    <a:pt x="264" y="3122"/>
                    <a:pt x="257" y="3122"/>
                  </a:cubicBezTo>
                  <a:cubicBezTo>
                    <a:pt x="227" y="3136"/>
                    <a:pt x="213" y="3151"/>
                    <a:pt x="205" y="3202"/>
                  </a:cubicBezTo>
                  <a:cubicBezTo>
                    <a:pt x="198" y="3217"/>
                    <a:pt x="198" y="3246"/>
                    <a:pt x="213" y="3261"/>
                  </a:cubicBezTo>
                  <a:cubicBezTo>
                    <a:pt x="227" y="3283"/>
                    <a:pt x="249" y="3283"/>
                    <a:pt x="257" y="3283"/>
                  </a:cubicBezTo>
                  <a:lnTo>
                    <a:pt x="264" y="3283"/>
                  </a:lnTo>
                  <a:cubicBezTo>
                    <a:pt x="271" y="3275"/>
                    <a:pt x="271" y="3275"/>
                    <a:pt x="271" y="3275"/>
                  </a:cubicBezTo>
                  <a:cubicBezTo>
                    <a:pt x="279" y="3275"/>
                    <a:pt x="279" y="3283"/>
                    <a:pt x="279" y="3283"/>
                  </a:cubicBezTo>
                  <a:cubicBezTo>
                    <a:pt x="279" y="3283"/>
                    <a:pt x="286" y="3290"/>
                    <a:pt x="286" y="3320"/>
                  </a:cubicBezTo>
                  <a:cubicBezTo>
                    <a:pt x="286" y="3371"/>
                    <a:pt x="286" y="3371"/>
                    <a:pt x="286" y="3371"/>
                  </a:cubicBezTo>
                  <a:cubicBezTo>
                    <a:pt x="330" y="3341"/>
                    <a:pt x="330" y="3341"/>
                    <a:pt x="330" y="3341"/>
                  </a:cubicBezTo>
                  <a:cubicBezTo>
                    <a:pt x="337" y="3334"/>
                    <a:pt x="352" y="3334"/>
                    <a:pt x="367" y="3334"/>
                  </a:cubicBezTo>
                  <a:cubicBezTo>
                    <a:pt x="381" y="3334"/>
                    <a:pt x="396" y="3334"/>
                    <a:pt x="418" y="3341"/>
                  </a:cubicBezTo>
                  <a:cubicBezTo>
                    <a:pt x="440" y="3341"/>
                    <a:pt x="462" y="3349"/>
                    <a:pt x="484" y="3349"/>
                  </a:cubicBezTo>
                  <a:cubicBezTo>
                    <a:pt x="506" y="3349"/>
                    <a:pt x="521" y="3341"/>
                    <a:pt x="542" y="3334"/>
                  </a:cubicBezTo>
                  <a:cubicBezTo>
                    <a:pt x="557" y="3327"/>
                    <a:pt x="572" y="3320"/>
                    <a:pt x="586" y="3320"/>
                  </a:cubicBezTo>
                  <a:cubicBezTo>
                    <a:pt x="638" y="3297"/>
                    <a:pt x="696" y="3275"/>
                    <a:pt x="696" y="3173"/>
                  </a:cubicBezTo>
                  <a:cubicBezTo>
                    <a:pt x="696" y="3107"/>
                    <a:pt x="733" y="3100"/>
                    <a:pt x="843" y="3092"/>
                  </a:cubicBezTo>
                  <a:cubicBezTo>
                    <a:pt x="857" y="3092"/>
                    <a:pt x="879" y="3085"/>
                    <a:pt x="894" y="3085"/>
                  </a:cubicBezTo>
                  <a:cubicBezTo>
                    <a:pt x="975" y="3078"/>
                    <a:pt x="997" y="3056"/>
                    <a:pt x="997" y="3004"/>
                  </a:cubicBezTo>
                  <a:cubicBezTo>
                    <a:pt x="997" y="2990"/>
                    <a:pt x="997" y="2990"/>
                    <a:pt x="997" y="2982"/>
                  </a:cubicBezTo>
                  <a:cubicBezTo>
                    <a:pt x="1026" y="2916"/>
                    <a:pt x="1019" y="2843"/>
                    <a:pt x="967" y="2799"/>
                  </a:cubicBezTo>
                  <a:cubicBezTo>
                    <a:pt x="938" y="2770"/>
                    <a:pt x="909" y="2763"/>
                    <a:pt x="887" y="2763"/>
                  </a:cubicBezTo>
                  <a:cubicBezTo>
                    <a:pt x="879" y="2763"/>
                    <a:pt x="865" y="2763"/>
                    <a:pt x="857" y="2763"/>
                  </a:cubicBezTo>
                  <a:cubicBezTo>
                    <a:pt x="843" y="2770"/>
                    <a:pt x="836" y="2770"/>
                    <a:pt x="828" y="2770"/>
                  </a:cubicBezTo>
                  <a:cubicBezTo>
                    <a:pt x="821" y="2770"/>
                    <a:pt x="814" y="2770"/>
                    <a:pt x="806" y="2763"/>
                  </a:cubicBezTo>
                  <a:cubicBezTo>
                    <a:pt x="792" y="2763"/>
                    <a:pt x="784" y="2763"/>
                    <a:pt x="777" y="2755"/>
                  </a:cubicBezTo>
                  <a:cubicBezTo>
                    <a:pt x="784" y="2741"/>
                    <a:pt x="806" y="2704"/>
                    <a:pt x="828" y="2682"/>
                  </a:cubicBezTo>
                  <a:cubicBezTo>
                    <a:pt x="872" y="2653"/>
                    <a:pt x="924" y="2645"/>
                    <a:pt x="975" y="2631"/>
                  </a:cubicBezTo>
                  <a:lnTo>
                    <a:pt x="982" y="2631"/>
                  </a:lnTo>
                  <a:cubicBezTo>
                    <a:pt x="989" y="2631"/>
                    <a:pt x="997" y="2638"/>
                    <a:pt x="1004" y="2645"/>
                  </a:cubicBezTo>
                  <a:cubicBezTo>
                    <a:pt x="1012" y="2660"/>
                    <a:pt x="1033" y="2675"/>
                    <a:pt x="1055" y="2675"/>
                  </a:cubicBezTo>
                  <a:cubicBezTo>
                    <a:pt x="1063" y="2675"/>
                    <a:pt x="1077" y="2667"/>
                    <a:pt x="1085" y="2667"/>
                  </a:cubicBezTo>
                  <a:cubicBezTo>
                    <a:pt x="1107" y="2653"/>
                    <a:pt x="1121" y="2638"/>
                    <a:pt x="1136" y="2631"/>
                  </a:cubicBezTo>
                  <a:cubicBezTo>
                    <a:pt x="1136" y="2623"/>
                    <a:pt x="1143" y="2623"/>
                    <a:pt x="1143" y="2616"/>
                  </a:cubicBezTo>
                  <a:cubicBezTo>
                    <a:pt x="1151" y="2623"/>
                    <a:pt x="1151" y="2631"/>
                    <a:pt x="1158" y="2645"/>
                  </a:cubicBezTo>
                  <a:cubicBezTo>
                    <a:pt x="1165" y="2660"/>
                    <a:pt x="1180" y="2682"/>
                    <a:pt x="1202" y="2696"/>
                  </a:cubicBezTo>
                  <a:cubicBezTo>
                    <a:pt x="1217" y="2704"/>
                    <a:pt x="1224" y="2704"/>
                    <a:pt x="1238" y="2704"/>
                  </a:cubicBezTo>
                  <a:cubicBezTo>
                    <a:pt x="1268" y="2704"/>
                    <a:pt x="1290" y="2689"/>
                    <a:pt x="1319" y="2667"/>
                  </a:cubicBezTo>
                  <a:cubicBezTo>
                    <a:pt x="1334" y="2660"/>
                    <a:pt x="1341" y="2653"/>
                    <a:pt x="1356" y="2638"/>
                  </a:cubicBezTo>
                  <a:cubicBezTo>
                    <a:pt x="1378" y="2631"/>
                    <a:pt x="1378" y="2631"/>
                    <a:pt x="1378" y="2631"/>
                  </a:cubicBezTo>
                  <a:cubicBezTo>
                    <a:pt x="1407" y="2616"/>
                    <a:pt x="1414" y="2609"/>
                    <a:pt x="1422" y="2609"/>
                  </a:cubicBezTo>
                  <a:cubicBezTo>
                    <a:pt x="1429" y="2609"/>
                    <a:pt x="1429" y="2609"/>
                    <a:pt x="1429" y="2609"/>
                  </a:cubicBezTo>
                  <a:cubicBezTo>
                    <a:pt x="1436" y="2623"/>
                    <a:pt x="1444" y="2660"/>
                    <a:pt x="1429" y="2792"/>
                  </a:cubicBezTo>
                  <a:cubicBezTo>
                    <a:pt x="1414" y="2902"/>
                    <a:pt x="1422" y="2931"/>
                    <a:pt x="1436" y="2946"/>
                  </a:cubicBezTo>
                  <a:cubicBezTo>
                    <a:pt x="1444" y="2953"/>
                    <a:pt x="1458" y="2960"/>
                    <a:pt x="1466" y="2960"/>
                  </a:cubicBezTo>
                  <a:cubicBezTo>
                    <a:pt x="1495" y="2960"/>
                    <a:pt x="1510" y="2938"/>
                    <a:pt x="1524" y="2916"/>
                  </a:cubicBezTo>
                  <a:cubicBezTo>
                    <a:pt x="1539" y="2894"/>
                    <a:pt x="1546" y="2880"/>
                    <a:pt x="1554" y="2872"/>
                  </a:cubicBezTo>
                  <a:cubicBezTo>
                    <a:pt x="1561" y="2865"/>
                    <a:pt x="1561" y="2865"/>
                    <a:pt x="1561" y="2865"/>
                  </a:cubicBezTo>
                  <a:cubicBezTo>
                    <a:pt x="1568" y="2872"/>
                    <a:pt x="1583" y="2887"/>
                    <a:pt x="1597" y="2894"/>
                  </a:cubicBezTo>
                  <a:cubicBezTo>
                    <a:pt x="1620" y="2916"/>
                    <a:pt x="1642" y="2931"/>
                    <a:pt x="1664" y="2931"/>
                  </a:cubicBezTo>
                  <a:cubicBezTo>
                    <a:pt x="1700" y="2931"/>
                    <a:pt x="1722" y="2902"/>
                    <a:pt x="1744" y="2872"/>
                  </a:cubicBezTo>
                  <a:cubicBezTo>
                    <a:pt x="1766" y="2851"/>
                    <a:pt x="1781" y="2828"/>
                    <a:pt x="1795" y="2821"/>
                  </a:cubicBezTo>
                  <a:cubicBezTo>
                    <a:pt x="1795" y="2821"/>
                    <a:pt x="1795" y="2821"/>
                    <a:pt x="1803" y="2821"/>
                  </a:cubicBezTo>
                  <a:cubicBezTo>
                    <a:pt x="1810" y="2821"/>
                    <a:pt x="1817" y="2828"/>
                    <a:pt x="1817" y="2836"/>
                  </a:cubicBezTo>
                  <a:cubicBezTo>
                    <a:pt x="1839" y="2865"/>
                    <a:pt x="1854" y="2924"/>
                    <a:pt x="1847" y="2946"/>
                  </a:cubicBezTo>
                  <a:cubicBezTo>
                    <a:pt x="1832" y="3012"/>
                    <a:pt x="1854" y="3056"/>
                    <a:pt x="1920" y="3085"/>
                  </a:cubicBezTo>
                  <a:cubicBezTo>
                    <a:pt x="1927" y="3085"/>
                    <a:pt x="1935" y="3085"/>
                    <a:pt x="1935" y="3092"/>
                  </a:cubicBezTo>
                  <a:cubicBezTo>
                    <a:pt x="1935" y="3100"/>
                    <a:pt x="1927" y="3107"/>
                    <a:pt x="1927" y="3122"/>
                  </a:cubicBezTo>
                  <a:cubicBezTo>
                    <a:pt x="1913" y="3144"/>
                    <a:pt x="1898" y="3180"/>
                    <a:pt x="1883" y="3239"/>
                  </a:cubicBezTo>
                  <a:cubicBezTo>
                    <a:pt x="1854" y="3320"/>
                    <a:pt x="1854" y="3349"/>
                    <a:pt x="1869" y="3371"/>
                  </a:cubicBezTo>
                  <a:cubicBezTo>
                    <a:pt x="1876" y="3378"/>
                    <a:pt x="1891" y="3385"/>
                    <a:pt x="1898" y="3385"/>
                  </a:cubicBezTo>
                  <a:cubicBezTo>
                    <a:pt x="1942" y="3385"/>
                    <a:pt x="1993" y="3312"/>
                    <a:pt x="2015" y="3283"/>
                  </a:cubicBezTo>
                  <a:cubicBezTo>
                    <a:pt x="2030" y="3312"/>
                    <a:pt x="2052" y="3378"/>
                    <a:pt x="2052" y="3429"/>
                  </a:cubicBezTo>
                  <a:cubicBezTo>
                    <a:pt x="2052" y="3569"/>
                    <a:pt x="2118" y="3598"/>
                    <a:pt x="2176" y="3598"/>
                  </a:cubicBezTo>
                  <a:cubicBezTo>
                    <a:pt x="2191" y="3598"/>
                    <a:pt x="2206" y="3598"/>
                    <a:pt x="2220" y="3598"/>
                  </a:cubicBezTo>
                  <a:cubicBezTo>
                    <a:pt x="2316" y="3576"/>
                    <a:pt x="2330" y="3554"/>
                    <a:pt x="2345" y="3510"/>
                  </a:cubicBezTo>
                  <a:cubicBezTo>
                    <a:pt x="2345" y="3495"/>
                    <a:pt x="2352" y="3481"/>
                    <a:pt x="2360" y="3466"/>
                  </a:cubicBezTo>
                  <a:cubicBezTo>
                    <a:pt x="2374" y="3429"/>
                    <a:pt x="2396" y="3415"/>
                    <a:pt x="2404" y="3415"/>
                  </a:cubicBezTo>
                  <a:cubicBezTo>
                    <a:pt x="2404" y="3415"/>
                    <a:pt x="2411" y="3429"/>
                    <a:pt x="2411" y="3444"/>
                  </a:cubicBezTo>
                  <a:cubicBezTo>
                    <a:pt x="2418" y="3488"/>
                    <a:pt x="2426" y="3517"/>
                    <a:pt x="2433" y="3539"/>
                  </a:cubicBezTo>
                  <a:cubicBezTo>
                    <a:pt x="2448" y="3561"/>
                    <a:pt x="2455" y="3583"/>
                    <a:pt x="2448" y="3620"/>
                  </a:cubicBezTo>
                  <a:cubicBezTo>
                    <a:pt x="2433" y="3715"/>
                    <a:pt x="2484" y="3737"/>
                    <a:pt x="2521" y="3759"/>
                  </a:cubicBezTo>
                  <a:cubicBezTo>
                    <a:pt x="2528" y="3766"/>
                    <a:pt x="2528" y="3766"/>
                    <a:pt x="2528" y="3766"/>
                  </a:cubicBezTo>
                  <a:cubicBezTo>
                    <a:pt x="2543" y="3774"/>
                    <a:pt x="2557" y="3810"/>
                    <a:pt x="2565" y="3854"/>
                  </a:cubicBezTo>
                  <a:cubicBezTo>
                    <a:pt x="2536" y="3862"/>
                    <a:pt x="2499" y="3876"/>
                    <a:pt x="2469" y="3928"/>
                  </a:cubicBezTo>
                  <a:cubicBezTo>
                    <a:pt x="2433" y="4008"/>
                    <a:pt x="2484" y="4147"/>
                    <a:pt x="2536" y="4199"/>
                  </a:cubicBezTo>
                  <a:cubicBezTo>
                    <a:pt x="2550" y="4213"/>
                    <a:pt x="2543" y="4235"/>
                    <a:pt x="2528" y="4279"/>
                  </a:cubicBezTo>
                  <a:cubicBezTo>
                    <a:pt x="2514" y="4316"/>
                    <a:pt x="2506" y="4360"/>
                    <a:pt x="2506" y="4404"/>
                  </a:cubicBezTo>
                  <a:cubicBezTo>
                    <a:pt x="2506" y="4529"/>
                    <a:pt x="2660" y="4646"/>
                    <a:pt x="2741" y="4682"/>
                  </a:cubicBezTo>
                  <a:cubicBezTo>
                    <a:pt x="2770" y="4697"/>
                    <a:pt x="2785" y="4712"/>
                    <a:pt x="2785" y="4719"/>
                  </a:cubicBezTo>
                  <a:cubicBezTo>
                    <a:pt x="2785" y="4726"/>
                    <a:pt x="2777" y="4734"/>
                    <a:pt x="2763" y="4741"/>
                  </a:cubicBezTo>
                  <a:cubicBezTo>
                    <a:pt x="2733" y="4770"/>
                    <a:pt x="2660" y="4822"/>
                    <a:pt x="2704" y="4887"/>
                  </a:cubicBezTo>
                  <a:cubicBezTo>
                    <a:pt x="2719" y="4910"/>
                    <a:pt x="2741" y="4917"/>
                    <a:pt x="2763" y="4924"/>
                  </a:cubicBezTo>
                  <a:cubicBezTo>
                    <a:pt x="2777" y="4932"/>
                    <a:pt x="2785" y="4939"/>
                    <a:pt x="2785" y="4946"/>
                  </a:cubicBezTo>
                  <a:cubicBezTo>
                    <a:pt x="2792" y="4953"/>
                    <a:pt x="2792" y="4968"/>
                    <a:pt x="2792" y="4975"/>
                  </a:cubicBezTo>
                  <a:cubicBezTo>
                    <a:pt x="2785" y="5005"/>
                    <a:pt x="2785" y="5056"/>
                    <a:pt x="2865" y="5078"/>
                  </a:cubicBezTo>
                  <a:cubicBezTo>
                    <a:pt x="2946" y="5100"/>
                    <a:pt x="3004" y="5137"/>
                    <a:pt x="3121" y="5254"/>
                  </a:cubicBezTo>
                  <a:cubicBezTo>
                    <a:pt x="3238" y="5371"/>
                    <a:pt x="3253" y="5569"/>
                    <a:pt x="3238" y="5613"/>
                  </a:cubicBezTo>
                  <a:cubicBezTo>
                    <a:pt x="3238" y="5613"/>
                    <a:pt x="3238" y="5620"/>
                    <a:pt x="3223" y="5620"/>
                  </a:cubicBezTo>
                  <a:cubicBezTo>
                    <a:pt x="3216" y="5628"/>
                    <a:pt x="3194" y="5635"/>
                    <a:pt x="3194" y="5650"/>
                  </a:cubicBezTo>
                  <a:cubicBezTo>
                    <a:pt x="3187" y="5672"/>
                    <a:pt x="3194" y="5686"/>
                    <a:pt x="3201" y="5694"/>
                  </a:cubicBezTo>
                  <a:cubicBezTo>
                    <a:pt x="3231" y="5738"/>
                    <a:pt x="3231" y="5774"/>
                    <a:pt x="3201" y="5818"/>
                  </a:cubicBezTo>
                  <a:cubicBezTo>
                    <a:pt x="3150" y="5891"/>
                    <a:pt x="3143" y="5979"/>
                    <a:pt x="3187" y="6060"/>
                  </a:cubicBezTo>
                  <a:cubicBezTo>
                    <a:pt x="3209" y="6111"/>
                    <a:pt x="3238" y="6119"/>
                    <a:pt x="3260" y="6119"/>
                  </a:cubicBezTo>
                  <a:cubicBezTo>
                    <a:pt x="3282" y="6126"/>
                    <a:pt x="3297" y="6126"/>
                    <a:pt x="3311" y="6155"/>
                  </a:cubicBezTo>
                  <a:cubicBezTo>
                    <a:pt x="3326" y="6177"/>
                    <a:pt x="3326" y="6199"/>
                    <a:pt x="3318" y="6221"/>
                  </a:cubicBezTo>
                  <a:cubicBezTo>
                    <a:pt x="3304" y="6236"/>
                    <a:pt x="3289" y="6243"/>
                    <a:pt x="3282" y="6243"/>
                  </a:cubicBezTo>
                  <a:cubicBezTo>
                    <a:pt x="3275" y="6243"/>
                    <a:pt x="3267" y="6243"/>
                    <a:pt x="3260" y="6243"/>
                  </a:cubicBezTo>
                  <a:cubicBezTo>
                    <a:pt x="3253" y="6243"/>
                    <a:pt x="3238" y="6243"/>
                    <a:pt x="3231" y="6243"/>
                  </a:cubicBezTo>
                  <a:cubicBezTo>
                    <a:pt x="3201" y="6243"/>
                    <a:pt x="3157" y="6251"/>
                    <a:pt x="3128" y="6272"/>
                  </a:cubicBezTo>
                  <a:cubicBezTo>
                    <a:pt x="3121" y="6272"/>
                    <a:pt x="3113" y="6258"/>
                    <a:pt x="3106" y="6258"/>
                  </a:cubicBezTo>
                  <a:cubicBezTo>
                    <a:pt x="3085" y="6229"/>
                    <a:pt x="3041" y="6192"/>
                    <a:pt x="2983" y="6177"/>
                  </a:cubicBezTo>
                  <a:cubicBezTo>
                    <a:pt x="2946" y="6170"/>
                    <a:pt x="2924" y="6170"/>
                    <a:pt x="2909" y="6170"/>
                  </a:cubicBezTo>
                  <a:cubicBezTo>
                    <a:pt x="2836" y="6170"/>
                    <a:pt x="2821" y="6221"/>
                    <a:pt x="2814" y="6280"/>
                  </a:cubicBezTo>
                  <a:cubicBezTo>
                    <a:pt x="2792" y="6353"/>
                    <a:pt x="2858" y="6412"/>
                    <a:pt x="2917" y="6456"/>
                  </a:cubicBezTo>
                  <a:cubicBezTo>
                    <a:pt x="2909" y="6456"/>
                    <a:pt x="2902" y="6463"/>
                    <a:pt x="2902" y="6470"/>
                  </a:cubicBezTo>
                  <a:cubicBezTo>
                    <a:pt x="2887" y="6507"/>
                    <a:pt x="2917" y="6551"/>
                    <a:pt x="2938" y="6580"/>
                  </a:cubicBezTo>
                  <a:cubicBezTo>
                    <a:pt x="2960" y="6602"/>
                    <a:pt x="2968" y="6639"/>
                    <a:pt x="2960" y="6683"/>
                  </a:cubicBezTo>
                  <a:cubicBezTo>
                    <a:pt x="2960" y="6720"/>
                    <a:pt x="2946" y="6749"/>
                    <a:pt x="2938" y="6763"/>
                  </a:cubicBezTo>
                  <a:cubicBezTo>
                    <a:pt x="2917" y="6749"/>
                    <a:pt x="2887" y="6734"/>
                    <a:pt x="2865" y="6734"/>
                  </a:cubicBezTo>
                  <a:cubicBezTo>
                    <a:pt x="2836" y="6734"/>
                    <a:pt x="2807" y="6756"/>
                    <a:pt x="2799" y="6793"/>
                  </a:cubicBezTo>
                  <a:cubicBezTo>
                    <a:pt x="2792" y="6815"/>
                    <a:pt x="2807" y="6837"/>
                    <a:pt x="2814" y="6859"/>
                  </a:cubicBezTo>
                  <a:cubicBezTo>
                    <a:pt x="2763" y="6873"/>
                    <a:pt x="2711" y="6903"/>
                    <a:pt x="2660" y="6947"/>
                  </a:cubicBezTo>
                  <a:cubicBezTo>
                    <a:pt x="2653" y="6954"/>
                    <a:pt x="2638" y="6961"/>
                    <a:pt x="2631" y="6961"/>
                  </a:cubicBezTo>
                  <a:cubicBezTo>
                    <a:pt x="2616" y="6961"/>
                    <a:pt x="2602" y="6947"/>
                    <a:pt x="2587" y="6932"/>
                  </a:cubicBezTo>
                  <a:cubicBezTo>
                    <a:pt x="2572" y="6925"/>
                    <a:pt x="2565" y="6917"/>
                    <a:pt x="2550" y="6903"/>
                  </a:cubicBezTo>
                  <a:cubicBezTo>
                    <a:pt x="2543" y="6903"/>
                    <a:pt x="2528" y="6903"/>
                    <a:pt x="2521" y="6903"/>
                  </a:cubicBezTo>
                  <a:cubicBezTo>
                    <a:pt x="2440" y="6903"/>
                    <a:pt x="2345" y="7049"/>
                    <a:pt x="2301" y="7144"/>
                  </a:cubicBezTo>
                  <a:cubicBezTo>
                    <a:pt x="2279" y="7196"/>
                    <a:pt x="2257" y="7225"/>
                    <a:pt x="2235" y="7240"/>
                  </a:cubicBezTo>
                  <a:cubicBezTo>
                    <a:pt x="2220" y="7254"/>
                    <a:pt x="2206" y="7269"/>
                    <a:pt x="2206" y="7291"/>
                  </a:cubicBezTo>
                  <a:cubicBezTo>
                    <a:pt x="2206" y="7320"/>
                    <a:pt x="2228" y="7335"/>
                    <a:pt x="2243" y="7342"/>
                  </a:cubicBezTo>
                  <a:cubicBezTo>
                    <a:pt x="2294" y="7379"/>
                    <a:pt x="2389" y="7518"/>
                    <a:pt x="2433" y="7584"/>
                  </a:cubicBezTo>
                  <a:cubicBezTo>
                    <a:pt x="2433" y="7613"/>
                    <a:pt x="2426" y="7665"/>
                    <a:pt x="2433" y="7782"/>
                  </a:cubicBezTo>
                  <a:cubicBezTo>
                    <a:pt x="2440" y="7877"/>
                    <a:pt x="2499" y="7987"/>
                    <a:pt x="2543" y="8082"/>
                  </a:cubicBezTo>
                  <a:cubicBezTo>
                    <a:pt x="2579" y="8156"/>
                    <a:pt x="2616" y="8229"/>
                    <a:pt x="2616" y="8273"/>
                  </a:cubicBezTo>
                  <a:cubicBezTo>
                    <a:pt x="2616" y="8368"/>
                    <a:pt x="2550" y="8529"/>
                    <a:pt x="2492" y="8573"/>
                  </a:cubicBezTo>
                  <a:cubicBezTo>
                    <a:pt x="2440" y="8625"/>
                    <a:pt x="2469" y="8669"/>
                    <a:pt x="2492" y="8705"/>
                  </a:cubicBezTo>
                  <a:cubicBezTo>
                    <a:pt x="2506" y="8734"/>
                    <a:pt x="2528" y="8764"/>
                    <a:pt x="2514" y="8808"/>
                  </a:cubicBezTo>
                  <a:cubicBezTo>
                    <a:pt x="2514" y="8822"/>
                    <a:pt x="2506" y="8837"/>
                    <a:pt x="2499" y="8852"/>
                  </a:cubicBezTo>
                  <a:cubicBezTo>
                    <a:pt x="2469" y="8932"/>
                    <a:pt x="2462" y="8976"/>
                    <a:pt x="2557" y="9064"/>
                  </a:cubicBezTo>
                  <a:cubicBezTo>
                    <a:pt x="2579" y="9086"/>
                    <a:pt x="2594" y="9094"/>
                    <a:pt x="2594" y="9101"/>
                  </a:cubicBezTo>
                  <a:cubicBezTo>
                    <a:pt x="2587" y="9108"/>
                    <a:pt x="2579" y="9108"/>
                    <a:pt x="2572" y="9115"/>
                  </a:cubicBezTo>
                  <a:cubicBezTo>
                    <a:pt x="2557" y="9123"/>
                    <a:pt x="2536" y="9130"/>
                    <a:pt x="2514" y="9138"/>
                  </a:cubicBezTo>
                  <a:cubicBezTo>
                    <a:pt x="2448" y="9189"/>
                    <a:pt x="2484" y="9247"/>
                    <a:pt x="2521" y="9306"/>
                  </a:cubicBezTo>
                  <a:cubicBezTo>
                    <a:pt x="2536" y="9343"/>
                    <a:pt x="2557" y="9372"/>
                    <a:pt x="2572" y="9416"/>
                  </a:cubicBezTo>
                  <a:cubicBezTo>
                    <a:pt x="2602" y="9475"/>
                    <a:pt x="2579" y="9533"/>
                    <a:pt x="2565" y="9555"/>
                  </a:cubicBezTo>
                  <a:cubicBezTo>
                    <a:pt x="2557" y="9584"/>
                    <a:pt x="2543" y="9599"/>
                    <a:pt x="2528" y="9606"/>
                  </a:cubicBezTo>
                  <a:cubicBezTo>
                    <a:pt x="2506" y="9570"/>
                    <a:pt x="2462" y="9541"/>
                    <a:pt x="2411" y="9541"/>
                  </a:cubicBezTo>
                  <a:cubicBezTo>
                    <a:pt x="2382" y="9541"/>
                    <a:pt x="2345" y="9555"/>
                    <a:pt x="2323" y="9577"/>
                  </a:cubicBezTo>
                  <a:cubicBezTo>
                    <a:pt x="2286" y="9606"/>
                    <a:pt x="2235" y="9636"/>
                    <a:pt x="2184" y="9636"/>
                  </a:cubicBezTo>
                  <a:cubicBezTo>
                    <a:pt x="2162" y="9636"/>
                    <a:pt x="2133" y="9629"/>
                    <a:pt x="2103" y="9614"/>
                  </a:cubicBezTo>
                  <a:cubicBezTo>
                    <a:pt x="2074" y="9599"/>
                    <a:pt x="2052" y="9592"/>
                    <a:pt x="2023" y="9592"/>
                  </a:cubicBezTo>
                  <a:cubicBezTo>
                    <a:pt x="1957" y="9592"/>
                    <a:pt x="1913" y="9643"/>
                    <a:pt x="1883" y="9680"/>
                  </a:cubicBezTo>
                  <a:cubicBezTo>
                    <a:pt x="1876" y="9694"/>
                    <a:pt x="1876" y="9694"/>
                    <a:pt x="1876" y="9694"/>
                  </a:cubicBezTo>
                  <a:cubicBezTo>
                    <a:pt x="1832" y="9738"/>
                    <a:pt x="1766" y="9782"/>
                    <a:pt x="1700" y="9797"/>
                  </a:cubicBezTo>
                  <a:cubicBezTo>
                    <a:pt x="1693" y="9797"/>
                    <a:pt x="1678" y="9797"/>
                    <a:pt x="1671" y="9797"/>
                  </a:cubicBezTo>
                  <a:cubicBezTo>
                    <a:pt x="1597" y="9812"/>
                    <a:pt x="1502" y="9826"/>
                    <a:pt x="1458" y="9870"/>
                  </a:cubicBezTo>
                  <a:cubicBezTo>
                    <a:pt x="1451" y="9878"/>
                    <a:pt x="1429" y="9900"/>
                    <a:pt x="1436" y="9929"/>
                  </a:cubicBezTo>
                  <a:cubicBezTo>
                    <a:pt x="1436" y="9958"/>
                    <a:pt x="1466" y="9973"/>
                    <a:pt x="1502" y="9995"/>
                  </a:cubicBezTo>
                  <a:cubicBezTo>
                    <a:pt x="1510" y="10002"/>
                    <a:pt x="1524" y="10010"/>
                    <a:pt x="1539" y="10017"/>
                  </a:cubicBezTo>
                  <a:cubicBezTo>
                    <a:pt x="1590" y="10053"/>
                    <a:pt x="1686" y="10068"/>
                    <a:pt x="1752" y="10075"/>
                  </a:cubicBezTo>
                  <a:cubicBezTo>
                    <a:pt x="1788" y="10083"/>
                    <a:pt x="1788" y="10083"/>
                    <a:pt x="1788" y="10083"/>
                  </a:cubicBezTo>
                  <a:cubicBezTo>
                    <a:pt x="1781" y="10046"/>
                    <a:pt x="1781" y="10046"/>
                    <a:pt x="1781" y="10046"/>
                  </a:cubicBezTo>
                  <a:cubicBezTo>
                    <a:pt x="1781" y="10039"/>
                    <a:pt x="1781" y="10039"/>
                    <a:pt x="1781" y="10039"/>
                  </a:cubicBezTo>
                  <a:cubicBezTo>
                    <a:pt x="1795" y="9995"/>
                    <a:pt x="1817" y="9922"/>
                    <a:pt x="1839" y="9907"/>
                  </a:cubicBezTo>
                  <a:cubicBezTo>
                    <a:pt x="1847" y="9900"/>
                    <a:pt x="1861" y="9892"/>
                    <a:pt x="1869" y="9892"/>
                  </a:cubicBezTo>
                  <a:cubicBezTo>
                    <a:pt x="1891" y="9892"/>
                    <a:pt x="1905" y="9900"/>
                    <a:pt x="1913" y="9914"/>
                  </a:cubicBezTo>
                  <a:cubicBezTo>
                    <a:pt x="1913" y="9914"/>
                    <a:pt x="1920" y="9922"/>
                    <a:pt x="1913" y="9944"/>
                  </a:cubicBezTo>
                  <a:cubicBezTo>
                    <a:pt x="1898" y="10002"/>
                    <a:pt x="1913" y="10039"/>
                    <a:pt x="1927" y="10061"/>
                  </a:cubicBezTo>
                  <a:cubicBezTo>
                    <a:pt x="1942" y="10083"/>
                    <a:pt x="1971" y="10097"/>
                    <a:pt x="2001" y="10097"/>
                  </a:cubicBezTo>
                  <a:cubicBezTo>
                    <a:pt x="2015" y="10097"/>
                    <a:pt x="2023" y="10090"/>
                    <a:pt x="2030" y="10090"/>
                  </a:cubicBezTo>
                  <a:cubicBezTo>
                    <a:pt x="2037" y="10090"/>
                    <a:pt x="2052" y="10090"/>
                    <a:pt x="2067" y="10083"/>
                  </a:cubicBezTo>
                  <a:cubicBezTo>
                    <a:pt x="2111" y="10075"/>
                    <a:pt x="2162" y="10068"/>
                    <a:pt x="2198" y="10068"/>
                  </a:cubicBezTo>
                  <a:cubicBezTo>
                    <a:pt x="2220" y="10068"/>
                    <a:pt x="2220" y="10068"/>
                    <a:pt x="2228" y="10068"/>
                  </a:cubicBezTo>
                  <a:cubicBezTo>
                    <a:pt x="2235" y="10083"/>
                    <a:pt x="2235" y="10097"/>
                    <a:pt x="2243" y="10112"/>
                  </a:cubicBezTo>
                  <a:cubicBezTo>
                    <a:pt x="2257" y="10141"/>
                    <a:pt x="2272" y="10185"/>
                    <a:pt x="2308" y="10222"/>
                  </a:cubicBezTo>
                  <a:cubicBezTo>
                    <a:pt x="2352" y="10266"/>
                    <a:pt x="2426" y="10288"/>
                    <a:pt x="2469" y="10288"/>
                  </a:cubicBezTo>
                  <a:cubicBezTo>
                    <a:pt x="2477" y="10288"/>
                    <a:pt x="2484" y="10288"/>
                    <a:pt x="2492" y="10288"/>
                  </a:cubicBezTo>
                  <a:cubicBezTo>
                    <a:pt x="2506" y="10295"/>
                    <a:pt x="2536" y="10332"/>
                    <a:pt x="2543" y="10376"/>
                  </a:cubicBezTo>
                  <a:cubicBezTo>
                    <a:pt x="2543" y="10391"/>
                    <a:pt x="2550" y="10413"/>
                    <a:pt x="2536" y="10427"/>
                  </a:cubicBezTo>
                  <a:cubicBezTo>
                    <a:pt x="2499" y="10464"/>
                    <a:pt x="2477" y="10508"/>
                    <a:pt x="2484" y="10552"/>
                  </a:cubicBezTo>
                  <a:cubicBezTo>
                    <a:pt x="2492" y="10581"/>
                    <a:pt x="2506" y="10610"/>
                    <a:pt x="2543" y="10632"/>
                  </a:cubicBezTo>
                  <a:cubicBezTo>
                    <a:pt x="2565" y="10647"/>
                    <a:pt x="2602" y="10654"/>
                    <a:pt x="2631" y="10654"/>
                  </a:cubicBezTo>
                  <a:cubicBezTo>
                    <a:pt x="2704" y="10654"/>
                    <a:pt x="2763" y="10625"/>
                    <a:pt x="2777" y="10574"/>
                  </a:cubicBezTo>
                  <a:cubicBezTo>
                    <a:pt x="2785" y="10559"/>
                    <a:pt x="2785" y="10559"/>
                    <a:pt x="2792" y="10559"/>
                  </a:cubicBezTo>
                  <a:cubicBezTo>
                    <a:pt x="2792" y="10559"/>
                    <a:pt x="2807" y="10559"/>
                    <a:pt x="2814" y="10574"/>
                  </a:cubicBezTo>
                  <a:cubicBezTo>
                    <a:pt x="2821" y="10581"/>
                    <a:pt x="2829" y="10603"/>
                    <a:pt x="2821" y="10632"/>
                  </a:cubicBezTo>
                  <a:cubicBezTo>
                    <a:pt x="2814" y="10662"/>
                    <a:pt x="2814" y="10684"/>
                    <a:pt x="2807" y="10706"/>
                  </a:cubicBezTo>
                  <a:cubicBezTo>
                    <a:pt x="2799" y="10764"/>
                    <a:pt x="2792" y="10801"/>
                    <a:pt x="2763" y="10823"/>
                  </a:cubicBezTo>
                  <a:cubicBezTo>
                    <a:pt x="2733" y="10845"/>
                    <a:pt x="2719" y="10882"/>
                    <a:pt x="2733" y="10911"/>
                  </a:cubicBezTo>
                  <a:cubicBezTo>
                    <a:pt x="2741" y="10940"/>
                    <a:pt x="2763" y="10955"/>
                    <a:pt x="2799" y="10955"/>
                  </a:cubicBezTo>
                  <a:cubicBezTo>
                    <a:pt x="2814" y="10955"/>
                    <a:pt x="2821" y="10955"/>
                    <a:pt x="2836" y="10955"/>
                  </a:cubicBezTo>
                  <a:cubicBezTo>
                    <a:pt x="2843" y="10947"/>
                    <a:pt x="2851" y="10947"/>
                    <a:pt x="2865" y="10947"/>
                  </a:cubicBezTo>
                  <a:cubicBezTo>
                    <a:pt x="2953" y="10918"/>
                    <a:pt x="3106" y="10882"/>
                    <a:pt x="3150" y="10764"/>
                  </a:cubicBezTo>
                  <a:cubicBezTo>
                    <a:pt x="3194" y="10662"/>
                    <a:pt x="3275" y="10589"/>
                    <a:pt x="3311" y="10581"/>
                  </a:cubicBezTo>
                  <a:cubicBezTo>
                    <a:pt x="3355" y="10566"/>
                    <a:pt x="3377" y="10522"/>
                    <a:pt x="3392" y="10479"/>
                  </a:cubicBezTo>
                  <a:cubicBezTo>
                    <a:pt x="3399" y="10456"/>
                    <a:pt x="3414" y="10434"/>
                    <a:pt x="3421" y="10420"/>
                  </a:cubicBezTo>
                  <a:cubicBezTo>
                    <a:pt x="3450" y="10369"/>
                    <a:pt x="3458" y="10281"/>
                    <a:pt x="3443" y="10222"/>
                  </a:cubicBezTo>
                  <a:cubicBezTo>
                    <a:pt x="3428" y="10193"/>
                    <a:pt x="3414" y="10171"/>
                    <a:pt x="3399" y="10156"/>
                  </a:cubicBezTo>
                  <a:cubicBezTo>
                    <a:pt x="3363" y="10141"/>
                    <a:pt x="3348" y="10134"/>
                    <a:pt x="3370" y="10068"/>
                  </a:cubicBezTo>
                  <a:cubicBezTo>
                    <a:pt x="3370" y="10053"/>
                    <a:pt x="3377" y="10032"/>
                    <a:pt x="3377" y="10017"/>
                  </a:cubicBezTo>
                  <a:cubicBezTo>
                    <a:pt x="3392" y="10039"/>
                    <a:pt x="3414" y="10053"/>
                    <a:pt x="3436" y="10061"/>
                  </a:cubicBezTo>
                  <a:cubicBezTo>
                    <a:pt x="3450" y="10061"/>
                    <a:pt x="3480" y="10061"/>
                    <a:pt x="3502" y="10061"/>
                  </a:cubicBezTo>
                  <a:cubicBezTo>
                    <a:pt x="3560" y="10061"/>
                    <a:pt x="3663" y="10053"/>
                    <a:pt x="3685" y="9980"/>
                  </a:cubicBezTo>
                  <a:cubicBezTo>
                    <a:pt x="3685" y="9965"/>
                    <a:pt x="3700" y="9951"/>
                    <a:pt x="3729" y="9951"/>
                  </a:cubicBezTo>
                  <a:cubicBezTo>
                    <a:pt x="3751" y="9951"/>
                    <a:pt x="3773" y="9958"/>
                    <a:pt x="3795" y="9973"/>
                  </a:cubicBezTo>
                  <a:cubicBezTo>
                    <a:pt x="3824" y="9995"/>
                    <a:pt x="3868" y="10010"/>
                    <a:pt x="3912" y="10024"/>
                  </a:cubicBezTo>
                  <a:cubicBezTo>
                    <a:pt x="3956" y="10039"/>
                    <a:pt x="4000" y="10061"/>
                    <a:pt x="4022" y="10075"/>
                  </a:cubicBezTo>
                  <a:cubicBezTo>
                    <a:pt x="4051" y="10097"/>
                    <a:pt x="4081" y="10105"/>
                    <a:pt x="4110" y="10105"/>
                  </a:cubicBezTo>
                  <a:cubicBezTo>
                    <a:pt x="4147" y="10105"/>
                    <a:pt x="4191" y="10090"/>
                    <a:pt x="4235" y="10068"/>
                  </a:cubicBezTo>
                  <a:cubicBezTo>
                    <a:pt x="4249" y="10061"/>
                    <a:pt x="4256" y="10053"/>
                    <a:pt x="4271" y="10053"/>
                  </a:cubicBezTo>
                  <a:cubicBezTo>
                    <a:pt x="4293" y="10053"/>
                    <a:pt x="4315" y="10068"/>
                    <a:pt x="4315" y="10083"/>
                  </a:cubicBezTo>
                  <a:cubicBezTo>
                    <a:pt x="4323" y="10097"/>
                    <a:pt x="4300" y="10112"/>
                    <a:pt x="4293" y="10120"/>
                  </a:cubicBezTo>
                  <a:cubicBezTo>
                    <a:pt x="4278" y="10127"/>
                    <a:pt x="4242" y="10156"/>
                    <a:pt x="4249" y="10193"/>
                  </a:cubicBezTo>
                  <a:cubicBezTo>
                    <a:pt x="4264" y="10229"/>
                    <a:pt x="4308" y="10229"/>
                    <a:pt x="4359" y="10229"/>
                  </a:cubicBezTo>
                  <a:cubicBezTo>
                    <a:pt x="4366" y="10229"/>
                    <a:pt x="4381" y="10229"/>
                    <a:pt x="4388" y="10229"/>
                  </a:cubicBezTo>
                  <a:cubicBezTo>
                    <a:pt x="4396" y="10229"/>
                    <a:pt x="4403" y="10229"/>
                    <a:pt x="4418" y="10229"/>
                  </a:cubicBezTo>
                  <a:cubicBezTo>
                    <a:pt x="4462" y="10229"/>
                    <a:pt x="4498" y="10310"/>
                    <a:pt x="4513" y="10354"/>
                  </a:cubicBezTo>
                  <a:cubicBezTo>
                    <a:pt x="4513" y="10354"/>
                    <a:pt x="4513" y="10361"/>
                    <a:pt x="4513" y="10369"/>
                  </a:cubicBezTo>
                  <a:cubicBezTo>
                    <a:pt x="4520" y="10413"/>
                    <a:pt x="4535" y="10493"/>
                    <a:pt x="4667" y="10493"/>
                  </a:cubicBezTo>
                  <a:cubicBezTo>
                    <a:pt x="4681" y="10493"/>
                    <a:pt x="4689" y="10493"/>
                    <a:pt x="4704" y="10486"/>
                  </a:cubicBezTo>
                  <a:cubicBezTo>
                    <a:pt x="4791" y="10479"/>
                    <a:pt x="4916" y="10442"/>
                    <a:pt x="5011" y="10405"/>
                  </a:cubicBezTo>
                  <a:cubicBezTo>
                    <a:pt x="5026" y="10398"/>
                    <a:pt x="5048" y="10391"/>
                    <a:pt x="5070" y="10383"/>
                  </a:cubicBezTo>
                  <a:cubicBezTo>
                    <a:pt x="5063" y="10398"/>
                    <a:pt x="5063" y="10413"/>
                    <a:pt x="5063" y="10420"/>
                  </a:cubicBezTo>
                  <a:cubicBezTo>
                    <a:pt x="5063" y="10434"/>
                    <a:pt x="5070" y="10456"/>
                    <a:pt x="5106" y="10471"/>
                  </a:cubicBezTo>
                  <a:cubicBezTo>
                    <a:pt x="5121" y="10486"/>
                    <a:pt x="5121" y="10486"/>
                    <a:pt x="5121" y="10486"/>
                  </a:cubicBezTo>
                  <a:cubicBezTo>
                    <a:pt x="5143" y="10493"/>
                    <a:pt x="5158" y="10501"/>
                    <a:pt x="5180" y="10501"/>
                  </a:cubicBezTo>
                  <a:cubicBezTo>
                    <a:pt x="5216" y="10501"/>
                    <a:pt x="5231" y="10479"/>
                    <a:pt x="5268" y="10434"/>
                  </a:cubicBezTo>
                  <a:cubicBezTo>
                    <a:pt x="5275" y="10420"/>
                    <a:pt x="5275" y="10420"/>
                    <a:pt x="5275" y="10420"/>
                  </a:cubicBezTo>
                  <a:cubicBezTo>
                    <a:pt x="5326" y="10347"/>
                    <a:pt x="5348" y="10317"/>
                    <a:pt x="5392" y="10317"/>
                  </a:cubicBezTo>
                  <a:cubicBezTo>
                    <a:pt x="5399" y="10317"/>
                    <a:pt x="5399" y="10317"/>
                    <a:pt x="5407" y="10317"/>
                  </a:cubicBezTo>
                  <a:cubicBezTo>
                    <a:pt x="5487" y="10332"/>
                    <a:pt x="5531" y="10339"/>
                    <a:pt x="5531" y="10339"/>
                  </a:cubicBezTo>
                  <a:cubicBezTo>
                    <a:pt x="5568" y="10347"/>
                    <a:pt x="5568" y="10347"/>
                    <a:pt x="5568" y="10347"/>
                  </a:cubicBezTo>
                  <a:cubicBezTo>
                    <a:pt x="5568" y="10310"/>
                    <a:pt x="5568" y="10310"/>
                    <a:pt x="5568" y="10310"/>
                  </a:cubicBezTo>
                  <a:cubicBezTo>
                    <a:pt x="5568" y="10244"/>
                    <a:pt x="5568" y="10244"/>
                    <a:pt x="5568" y="10244"/>
                  </a:cubicBezTo>
                  <a:cubicBezTo>
                    <a:pt x="5568" y="10156"/>
                    <a:pt x="5568" y="10156"/>
                    <a:pt x="5568" y="10156"/>
                  </a:cubicBezTo>
                  <a:cubicBezTo>
                    <a:pt x="5524" y="10215"/>
                    <a:pt x="5524" y="10215"/>
                    <a:pt x="5524" y="10215"/>
                  </a:cubicBezTo>
                  <a:lnTo>
                    <a:pt x="5524" y="10215"/>
                  </a:lnTo>
                  <a:cubicBezTo>
                    <a:pt x="5531" y="10112"/>
                    <a:pt x="5539" y="10105"/>
                    <a:pt x="5605" y="10105"/>
                  </a:cubicBezTo>
                  <a:cubicBezTo>
                    <a:pt x="5627" y="10105"/>
                    <a:pt x="5649" y="10105"/>
                    <a:pt x="5671" y="10105"/>
                  </a:cubicBezTo>
                  <a:cubicBezTo>
                    <a:pt x="5700" y="10105"/>
                    <a:pt x="5722" y="10112"/>
                    <a:pt x="5751" y="10112"/>
                  </a:cubicBezTo>
                  <a:cubicBezTo>
                    <a:pt x="5788" y="10112"/>
                    <a:pt x="5847" y="10105"/>
                    <a:pt x="5883" y="10075"/>
                  </a:cubicBezTo>
                  <a:cubicBezTo>
                    <a:pt x="5927" y="10039"/>
                    <a:pt x="5913" y="10010"/>
                    <a:pt x="5905" y="9988"/>
                  </a:cubicBezTo>
                  <a:cubicBezTo>
                    <a:pt x="5905" y="9973"/>
                    <a:pt x="5898" y="9958"/>
                    <a:pt x="5927" y="9922"/>
                  </a:cubicBezTo>
                  <a:cubicBezTo>
                    <a:pt x="5978" y="9848"/>
                    <a:pt x="6030" y="9841"/>
                    <a:pt x="6103" y="9834"/>
                  </a:cubicBezTo>
                  <a:cubicBezTo>
                    <a:pt x="6132" y="9834"/>
                    <a:pt x="6132" y="9834"/>
                    <a:pt x="6132" y="9834"/>
                  </a:cubicBezTo>
                  <a:cubicBezTo>
                    <a:pt x="6140" y="9834"/>
                    <a:pt x="6147" y="9834"/>
                    <a:pt x="6154" y="9834"/>
                  </a:cubicBezTo>
                  <a:cubicBezTo>
                    <a:pt x="6176" y="9834"/>
                    <a:pt x="6206" y="9834"/>
                    <a:pt x="6235" y="9834"/>
                  </a:cubicBezTo>
                  <a:cubicBezTo>
                    <a:pt x="6271" y="9841"/>
                    <a:pt x="6308" y="9841"/>
                    <a:pt x="6345" y="9841"/>
                  </a:cubicBezTo>
                  <a:cubicBezTo>
                    <a:pt x="6411" y="9841"/>
                    <a:pt x="6455" y="9826"/>
                    <a:pt x="6484" y="9804"/>
                  </a:cubicBezTo>
                  <a:cubicBezTo>
                    <a:pt x="6550" y="9746"/>
                    <a:pt x="6740" y="9680"/>
                    <a:pt x="6821" y="9680"/>
                  </a:cubicBezTo>
                  <a:cubicBezTo>
                    <a:pt x="6828" y="9680"/>
                    <a:pt x="6828" y="9680"/>
                    <a:pt x="6836" y="9687"/>
                  </a:cubicBezTo>
                  <a:cubicBezTo>
                    <a:pt x="6872" y="9687"/>
                    <a:pt x="6909" y="9694"/>
                    <a:pt x="6946" y="9702"/>
                  </a:cubicBezTo>
                  <a:cubicBezTo>
                    <a:pt x="6990" y="9709"/>
                    <a:pt x="7026" y="9709"/>
                    <a:pt x="7063" y="9716"/>
                  </a:cubicBezTo>
                  <a:cubicBezTo>
                    <a:pt x="7092" y="9724"/>
                    <a:pt x="7121" y="9724"/>
                    <a:pt x="7144" y="9724"/>
                  </a:cubicBezTo>
                  <a:cubicBezTo>
                    <a:pt x="7173" y="9724"/>
                    <a:pt x="7195" y="9724"/>
                    <a:pt x="7231" y="9716"/>
                  </a:cubicBezTo>
                  <a:lnTo>
                    <a:pt x="7231" y="9716"/>
                  </a:lnTo>
                  <a:cubicBezTo>
                    <a:pt x="7275" y="9709"/>
                    <a:pt x="7297" y="9709"/>
                    <a:pt x="7312" y="9680"/>
                  </a:cubicBezTo>
                  <a:cubicBezTo>
                    <a:pt x="7327" y="9651"/>
                    <a:pt x="7312" y="9621"/>
                    <a:pt x="7275" y="9570"/>
                  </a:cubicBezTo>
                  <a:cubicBezTo>
                    <a:pt x="7261" y="9548"/>
                    <a:pt x="7261" y="9548"/>
                    <a:pt x="7261" y="9548"/>
                  </a:cubicBezTo>
                  <a:cubicBezTo>
                    <a:pt x="7209" y="9467"/>
                    <a:pt x="7195" y="9438"/>
                    <a:pt x="7239" y="9394"/>
                  </a:cubicBezTo>
                  <a:cubicBezTo>
                    <a:pt x="7261" y="9365"/>
                    <a:pt x="7283" y="9343"/>
                    <a:pt x="7305" y="9313"/>
                  </a:cubicBezTo>
                  <a:cubicBezTo>
                    <a:pt x="7327" y="9291"/>
                    <a:pt x="7341" y="9270"/>
                    <a:pt x="7356" y="9255"/>
                  </a:cubicBezTo>
                  <a:cubicBezTo>
                    <a:pt x="7356" y="9284"/>
                    <a:pt x="7349" y="9335"/>
                    <a:pt x="7334" y="9365"/>
                  </a:cubicBezTo>
                  <a:cubicBezTo>
                    <a:pt x="7327" y="9379"/>
                    <a:pt x="7319" y="9401"/>
                    <a:pt x="7334" y="9423"/>
                  </a:cubicBezTo>
                  <a:cubicBezTo>
                    <a:pt x="7334" y="9438"/>
                    <a:pt x="7349" y="9445"/>
                    <a:pt x="7371" y="9445"/>
                  </a:cubicBezTo>
                  <a:cubicBezTo>
                    <a:pt x="7400" y="9445"/>
                    <a:pt x="7437" y="9438"/>
                    <a:pt x="7495" y="9409"/>
                  </a:cubicBezTo>
                  <a:cubicBezTo>
                    <a:pt x="7554" y="9387"/>
                    <a:pt x="7620" y="9372"/>
                    <a:pt x="7671" y="9372"/>
                  </a:cubicBezTo>
                  <a:cubicBezTo>
                    <a:pt x="7722" y="9372"/>
                    <a:pt x="7752" y="9387"/>
                    <a:pt x="7759" y="9394"/>
                  </a:cubicBezTo>
                  <a:cubicBezTo>
                    <a:pt x="7766" y="9409"/>
                    <a:pt x="7774" y="9423"/>
                    <a:pt x="7781" y="9438"/>
                  </a:cubicBezTo>
                  <a:cubicBezTo>
                    <a:pt x="7810" y="9497"/>
                    <a:pt x="7847" y="9570"/>
                    <a:pt x="7906" y="9592"/>
                  </a:cubicBezTo>
                  <a:cubicBezTo>
                    <a:pt x="7920" y="9599"/>
                    <a:pt x="7928" y="9599"/>
                    <a:pt x="7935" y="9606"/>
                  </a:cubicBezTo>
                  <a:cubicBezTo>
                    <a:pt x="7957" y="9614"/>
                    <a:pt x="7979" y="9621"/>
                    <a:pt x="8008" y="9621"/>
                  </a:cubicBezTo>
                  <a:cubicBezTo>
                    <a:pt x="8045" y="9621"/>
                    <a:pt x="8074" y="9599"/>
                    <a:pt x="8111" y="9563"/>
                  </a:cubicBezTo>
                  <a:cubicBezTo>
                    <a:pt x="8125" y="9548"/>
                    <a:pt x="8133" y="9533"/>
                    <a:pt x="8147" y="9519"/>
                  </a:cubicBezTo>
                  <a:cubicBezTo>
                    <a:pt x="8191" y="9460"/>
                    <a:pt x="8213" y="9431"/>
                    <a:pt x="8287" y="9423"/>
                  </a:cubicBezTo>
                  <a:cubicBezTo>
                    <a:pt x="8309" y="9423"/>
                    <a:pt x="8309" y="9423"/>
                    <a:pt x="8309" y="9423"/>
                  </a:cubicBezTo>
                  <a:cubicBezTo>
                    <a:pt x="8345" y="9416"/>
                    <a:pt x="8367" y="9416"/>
                    <a:pt x="8396" y="9416"/>
                  </a:cubicBezTo>
                  <a:cubicBezTo>
                    <a:pt x="8426" y="9416"/>
                    <a:pt x="8448" y="9423"/>
                    <a:pt x="8462" y="9438"/>
                  </a:cubicBezTo>
                  <a:cubicBezTo>
                    <a:pt x="8477" y="9453"/>
                    <a:pt x="8485" y="9467"/>
                    <a:pt x="8492" y="9489"/>
                  </a:cubicBezTo>
                  <a:cubicBezTo>
                    <a:pt x="8506" y="9526"/>
                    <a:pt x="8528" y="9563"/>
                    <a:pt x="8587" y="9592"/>
                  </a:cubicBezTo>
                  <a:cubicBezTo>
                    <a:pt x="8594" y="9599"/>
                    <a:pt x="8602" y="9599"/>
                    <a:pt x="8609" y="9599"/>
                  </a:cubicBezTo>
                  <a:cubicBezTo>
                    <a:pt x="8602" y="9606"/>
                    <a:pt x="8594" y="9614"/>
                    <a:pt x="8587" y="9621"/>
                  </a:cubicBezTo>
                  <a:cubicBezTo>
                    <a:pt x="8580" y="9629"/>
                    <a:pt x="8572" y="9636"/>
                    <a:pt x="8565" y="9643"/>
                  </a:cubicBezTo>
                  <a:cubicBezTo>
                    <a:pt x="8543" y="9665"/>
                    <a:pt x="8536" y="9694"/>
                    <a:pt x="8543" y="9724"/>
                  </a:cubicBezTo>
                  <a:cubicBezTo>
                    <a:pt x="8558" y="9775"/>
                    <a:pt x="8616" y="9834"/>
                    <a:pt x="8690" y="9863"/>
                  </a:cubicBezTo>
                  <a:cubicBezTo>
                    <a:pt x="8726" y="9878"/>
                    <a:pt x="8756" y="9914"/>
                    <a:pt x="8792" y="9944"/>
                  </a:cubicBezTo>
                  <a:cubicBezTo>
                    <a:pt x="8829" y="9988"/>
                    <a:pt x="8873" y="10032"/>
                    <a:pt x="8931" y="10046"/>
                  </a:cubicBezTo>
                  <a:cubicBezTo>
                    <a:pt x="9019" y="10068"/>
                    <a:pt x="9019" y="10068"/>
                    <a:pt x="9078" y="10083"/>
                  </a:cubicBezTo>
                  <a:cubicBezTo>
                    <a:pt x="9085" y="10083"/>
                    <a:pt x="9093" y="10083"/>
                    <a:pt x="9100" y="10083"/>
                  </a:cubicBezTo>
                  <a:cubicBezTo>
                    <a:pt x="9144" y="10083"/>
                    <a:pt x="9166" y="10053"/>
                    <a:pt x="9180" y="10032"/>
                  </a:cubicBezTo>
                  <a:cubicBezTo>
                    <a:pt x="9188" y="10017"/>
                    <a:pt x="9195" y="10002"/>
                    <a:pt x="9210" y="9995"/>
                  </a:cubicBezTo>
                  <a:cubicBezTo>
                    <a:pt x="9254" y="9951"/>
                    <a:pt x="9225" y="9907"/>
                    <a:pt x="9210" y="9878"/>
                  </a:cubicBezTo>
                  <a:cubicBezTo>
                    <a:pt x="9202" y="9863"/>
                    <a:pt x="9195" y="9848"/>
                    <a:pt x="9195" y="9834"/>
                  </a:cubicBezTo>
                  <a:cubicBezTo>
                    <a:pt x="9195" y="9819"/>
                    <a:pt x="9188" y="9797"/>
                    <a:pt x="9188" y="9782"/>
                  </a:cubicBezTo>
                  <a:cubicBezTo>
                    <a:pt x="9180" y="9738"/>
                    <a:pt x="9173" y="9709"/>
                    <a:pt x="9210" y="9665"/>
                  </a:cubicBezTo>
                  <a:cubicBezTo>
                    <a:pt x="9217" y="9651"/>
                    <a:pt x="9225" y="9643"/>
                    <a:pt x="9232" y="9636"/>
                  </a:cubicBezTo>
                  <a:cubicBezTo>
                    <a:pt x="9290" y="9570"/>
                    <a:pt x="9342" y="9511"/>
                    <a:pt x="9283" y="9409"/>
                  </a:cubicBezTo>
                  <a:cubicBezTo>
                    <a:pt x="9268" y="9394"/>
                    <a:pt x="9261" y="9372"/>
                    <a:pt x="9247" y="9350"/>
                  </a:cubicBezTo>
                  <a:cubicBezTo>
                    <a:pt x="9210" y="9270"/>
                    <a:pt x="9159" y="9167"/>
                    <a:pt x="9071" y="9167"/>
                  </a:cubicBezTo>
                  <a:cubicBezTo>
                    <a:pt x="9041" y="9167"/>
                    <a:pt x="9019" y="9182"/>
                    <a:pt x="8990" y="9196"/>
                  </a:cubicBezTo>
                  <a:cubicBezTo>
                    <a:pt x="8968" y="9211"/>
                    <a:pt x="8909" y="9247"/>
                    <a:pt x="8887" y="9247"/>
                  </a:cubicBezTo>
                  <a:cubicBezTo>
                    <a:pt x="8887" y="9247"/>
                    <a:pt x="8873" y="9225"/>
                    <a:pt x="8866" y="9203"/>
                  </a:cubicBezTo>
                  <a:cubicBezTo>
                    <a:pt x="8866" y="9189"/>
                    <a:pt x="8866" y="9189"/>
                    <a:pt x="8866" y="9189"/>
                  </a:cubicBezTo>
                  <a:cubicBezTo>
                    <a:pt x="8851" y="9145"/>
                    <a:pt x="8858" y="9138"/>
                    <a:pt x="8873" y="9108"/>
                  </a:cubicBezTo>
                  <a:cubicBezTo>
                    <a:pt x="8887" y="9086"/>
                    <a:pt x="8909" y="9064"/>
                    <a:pt x="8924" y="9028"/>
                  </a:cubicBezTo>
                  <a:cubicBezTo>
                    <a:pt x="8931" y="9006"/>
                    <a:pt x="8946" y="8984"/>
                    <a:pt x="8968" y="8954"/>
                  </a:cubicBezTo>
                  <a:cubicBezTo>
                    <a:pt x="9012" y="8881"/>
                    <a:pt x="9078" y="8793"/>
                    <a:pt x="9012" y="8683"/>
                  </a:cubicBezTo>
                  <a:cubicBezTo>
                    <a:pt x="8983" y="8639"/>
                    <a:pt x="8961" y="8595"/>
                    <a:pt x="8939" y="8559"/>
                  </a:cubicBezTo>
                  <a:cubicBezTo>
                    <a:pt x="8909" y="8485"/>
                    <a:pt x="8880" y="8434"/>
                    <a:pt x="8821" y="8412"/>
                  </a:cubicBezTo>
                  <a:cubicBezTo>
                    <a:pt x="8763" y="8390"/>
                    <a:pt x="8719" y="8332"/>
                    <a:pt x="8704" y="8265"/>
                  </a:cubicBezTo>
                  <a:cubicBezTo>
                    <a:pt x="8697" y="8192"/>
                    <a:pt x="8638" y="8170"/>
                    <a:pt x="8587" y="8148"/>
                  </a:cubicBezTo>
                  <a:cubicBezTo>
                    <a:pt x="8565" y="8141"/>
                    <a:pt x="8543" y="8134"/>
                    <a:pt x="8521" y="8119"/>
                  </a:cubicBezTo>
                  <a:cubicBezTo>
                    <a:pt x="8485" y="8097"/>
                    <a:pt x="8462" y="8075"/>
                    <a:pt x="8448" y="8046"/>
                  </a:cubicBezTo>
                  <a:cubicBezTo>
                    <a:pt x="8440" y="8016"/>
                    <a:pt x="8448" y="7987"/>
                    <a:pt x="8462" y="7958"/>
                  </a:cubicBezTo>
                  <a:cubicBezTo>
                    <a:pt x="8485" y="7929"/>
                    <a:pt x="8506" y="7914"/>
                    <a:pt x="8536" y="7892"/>
                  </a:cubicBezTo>
                  <a:cubicBezTo>
                    <a:pt x="8572" y="7877"/>
                    <a:pt x="8616" y="7855"/>
                    <a:pt x="8646" y="7797"/>
                  </a:cubicBezTo>
                  <a:cubicBezTo>
                    <a:pt x="8675" y="7753"/>
                    <a:pt x="8682" y="7716"/>
                    <a:pt x="8690" y="7694"/>
                  </a:cubicBezTo>
                  <a:cubicBezTo>
                    <a:pt x="8697" y="7657"/>
                    <a:pt x="8697" y="7650"/>
                    <a:pt x="8719" y="7643"/>
                  </a:cubicBezTo>
                  <a:cubicBezTo>
                    <a:pt x="8734" y="7635"/>
                    <a:pt x="8748" y="7635"/>
                    <a:pt x="8770" y="7635"/>
                  </a:cubicBezTo>
                  <a:cubicBezTo>
                    <a:pt x="8777" y="7635"/>
                    <a:pt x="8792" y="7635"/>
                    <a:pt x="8799" y="7635"/>
                  </a:cubicBezTo>
                  <a:cubicBezTo>
                    <a:pt x="8807" y="7635"/>
                    <a:pt x="8814" y="7635"/>
                    <a:pt x="8829" y="7635"/>
                  </a:cubicBezTo>
                  <a:cubicBezTo>
                    <a:pt x="8836" y="7635"/>
                    <a:pt x="8873" y="7635"/>
                    <a:pt x="8895" y="7606"/>
                  </a:cubicBezTo>
                  <a:cubicBezTo>
                    <a:pt x="8917" y="7570"/>
                    <a:pt x="9041" y="7445"/>
                    <a:pt x="9122" y="7415"/>
                  </a:cubicBezTo>
                  <a:cubicBezTo>
                    <a:pt x="9180" y="7394"/>
                    <a:pt x="9261" y="7372"/>
                    <a:pt x="9334" y="7357"/>
                  </a:cubicBezTo>
                  <a:cubicBezTo>
                    <a:pt x="9371" y="7350"/>
                    <a:pt x="9400" y="7342"/>
                    <a:pt x="9430" y="7335"/>
                  </a:cubicBezTo>
                  <a:cubicBezTo>
                    <a:pt x="9525" y="7313"/>
                    <a:pt x="9847" y="7130"/>
                    <a:pt x="9877" y="7005"/>
                  </a:cubicBezTo>
                  <a:cubicBezTo>
                    <a:pt x="9884" y="6954"/>
                    <a:pt x="9884" y="6910"/>
                    <a:pt x="9884" y="6873"/>
                  </a:cubicBezTo>
                  <a:cubicBezTo>
                    <a:pt x="9884" y="6837"/>
                    <a:pt x="9884" y="6807"/>
                    <a:pt x="9899" y="6771"/>
                  </a:cubicBezTo>
                  <a:cubicBezTo>
                    <a:pt x="9921" y="6697"/>
                    <a:pt x="9942" y="6624"/>
                    <a:pt x="9942" y="6624"/>
                  </a:cubicBezTo>
                  <a:cubicBezTo>
                    <a:pt x="9942" y="6617"/>
                    <a:pt x="9942" y="6617"/>
                    <a:pt x="9942" y="6617"/>
                  </a:cubicBezTo>
                  <a:cubicBezTo>
                    <a:pt x="9942" y="6602"/>
                    <a:pt x="9942" y="6602"/>
                    <a:pt x="9942" y="6602"/>
                  </a:cubicBezTo>
                  <a:cubicBezTo>
                    <a:pt x="9928" y="6573"/>
                    <a:pt x="9899" y="6478"/>
                    <a:pt x="9899" y="6434"/>
                  </a:cubicBezTo>
                  <a:cubicBezTo>
                    <a:pt x="9899" y="6426"/>
                    <a:pt x="9899" y="6426"/>
                    <a:pt x="9899" y="6419"/>
                  </a:cubicBezTo>
                  <a:cubicBezTo>
                    <a:pt x="9906" y="6419"/>
                    <a:pt x="9928" y="6412"/>
                    <a:pt x="9950" y="6390"/>
                  </a:cubicBezTo>
                  <a:cubicBezTo>
                    <a:pt x="9994" y="6360"/>
                    <a:pt x="10001" y="6346"/>
                    <a:pt x="10016" y="6331"/>
                  </a:cubicBezTo>
                  <a:cubicBezTo>
                    <a:pt x="10016" y="6316"/>
                    <a:pt x="10023" y="6309"/>
                    <a:pt x="10038" y="6294"/>
                  </a:cubicBezTo>
                  <a:lnTo>
                    <a:pt x="10038" y="6294"/>
                  </a:lnTo>
                  <a:cubicBezTo>
                    <a:pt x="10052" y="6309"/>
                    <a:pt x="10075" y="6331"/>
                    <a:pt x="10118" y="6353"/>
                  </a:cubicBezTo>
                  <a:cubicBezTo>
                    <a:pt x="10155" y="6368"/>
                    <a:pt x="10199" y="6375"/>
                    <a:pt x="10228" y="6382"/>
                  </a:cubicBezTo>
                  <a:cubicBezTo>
                    <a:pt x="10272" y="6390"/>
                    <a:pt x="10302" y="6397"/>
                    <a:pt x="10324" y="6412"/>
                  </a:cubicBezTo>
                  <a:cubicBezTo>
                    <a:pt x="10338" y="6419"/>
                    <a:pt x="10353" y="6441"/>
                    <a:pt x="10368" y="6456"/>
                  </a:cubicBezTo>
                  <a:cubicBezTo>
                    <a:pt x="10397" y="6492"/>
                    <a:pt x="10433" y="6529"/>
                    <a:pt x="10470" y="6529"/>
                  </a:cubicBezTo>
                  <a:cubicBezTo>
                    <a:pt x="10485" y="6529"/>
                    <a:pt x="10499" y="6522"/>
                    <a:pt x="10507" y="6514"/>
                  </a:cubicBezTo>
                  <a:cubicBezTo>
                    <a:pt x="10543" y="6492"/>
                    <a:pt x="10551" y="6463"/>
                    <a:pt x="10558" y="6434"/>
                  </a:cubicBezTo>
                  <a:cubicBezTo>
                    <a:pt x="10573" y="6412"/>
                    <a:pt x="10580" y="6390"/>
                    <a:pt x="10595" y="6360"/>
                  </a:cubicBezTo>
                  <a:cubicBezTo>
                    <a:pt x="10609" y="6338"/>
                    <a:pt x="10624" y="6331"/>
                    <a:pt x="10631" y="6324"/>
                  </a:cubicBezTo>
                  <a:cubicBezTo>
                    <a:pt x="10661" y="6302"/>
                    <a:pt x="10690" y="6280"/>
                    <a:pt x="10705" y="6199"/>
                  </a:cubicBezTo>
                  <a:cubicBezTo>
                    <a:pt x="10712" y="6170"/>
                    <a:pt x="10719" y="6141"/>
                    <a:pt x="10727" y="6111"/>
                  </a:cubicBezTo>
                  <a:cubicBezTo>
                    <a:pt x="10749" y="6038"/>
                    <a:pt x="10763" y="5979"/>
                    <a:pt x="10734" y="5928"/>
                  </a:cubicBezTo>
                  <a:cubicBezTo>
                    <a:pt x="10719" y="5913"/>
                    <a:pt x="10712" y="5906"/>
                    <a:pt x="10705" y="5899"/>
                  </a:cubicBezTo>
                  <a:cubicBezTo>
                    <a:pt x="10690" y="5877"/>
                    <a:pt x="10683" y="5870"/>
                    <a:pt x="10690" y="5803"/>
                  </a:cubicBezTo>
                  <a:cubicBezTo>
                    <a:pt x="10697" y="5774"/>
                    <a:pt x="10697" y="5752"/>
                    <a:pt x="10697" y="5738"/>
                  </a:cubicBezTo>
                  <a:cubicBezTo>
                    <a:pt x="10712" y="5679"/>
                    <a:pt x="10719" y="5642"/>
                    <a:pt x="10690" y="5584"/>
                  </a:cubicBezTo>
                  <a:cubicBezTo>
                    <a:pt x="10675" y="5562"/>
                    <a:pt x="10668" y="5547"/>
                    <a:pt x="10661" y="5532"/>
                  </a:cubicBezTo>
                  <a:cubicBezTo>
                    <a:pt x="10646" y="5496"/>
                    <a:pt x="10631" y="5466"/>
                    <a:pt x="10602" y="5430"/>
                  </a:cubicBezTo>
                  <a:cubicBezTo>
                    <a:pt x="10573" y="5386"/>
                    <a:pt x="10514" y="5298"/>
                    <a:pt x="10507" y="5269"/>
                  </a:cubicBezTo>
                  <a:cubicBezTo>
                    <a:pt x="10499" y="5246"/>
                    <a:pt x="10485" y="5232"/>
                    <a:pt x="10463" y="5232"/>
                  </a:cubicBezTo>
                  <a:cubicBezTo>
                    <a:pt x="10448" y="5232"/>
                    <a:pt x="10433" y="5239"/>
                    <a:pt x="10419" y="5239"/>
                  </a:cubicBezTo>
                  <a:cubicBezTo>
                    <a:pt x="10404" y="5246"/>
                    <a:pt x="10382" y="5246"/>
                    <a:pt x="10368" y="5246"/>
                  </a:cubicBezTo>
                  <a:cubicBezTo>
                    <a:pt x="10360" y="5246"/>
                    <a:pt x="10353" y="5246"/>
                    <a:pt x="10346" y="5246"/>
                  </a:cubicBezTo>
                  <a:cubicBezTo>
                    <a:pt x="10294" y="5239"/>
                    <a:pt x="10272" y="5210"/>
                    <a:pt x="10236" y="5129"/>
                  </a:cubicBezTo>
                  <a:cubicBezTo>
                    <a:pt x="10192" y="5034"/>
                    <a:pt x="10104" y="5012"/>
                    <a:pt x="10023" y="4990"/>
                  </a:cubicBezTo>
                  <a:cubicBezTo>
                    <a:pt x="10016" y="4983"/>
                    <a:pt x="10009" y="4983"/>
                    <a:pt x="10001" y="4983"/>
                  </a:cubicBezTo>
                  <a:cubicBezTo>
                    <a:pt x="9950" y="4983"/>
                    <a:pt x="9935" y="5027"/>
                    <a:pt x="9928" y="5056"/>
                  </a:cubicBezTo>
                  <a:cubicBezTo>
                    <a:pt x="9921" y="5056"/>
                    <a:pt x="9921" y="5063"/>
                    <a:pt x="9921" y="5071"/>
                  </a:cubicBezTo>
                  <a:cubicBezTo>
                    <a:pt x="9913" y="5071"/>
                    <a:pt x="9913" y="5063"/>
                    <a:pt x="9906" y="5063"/>
                  </a:cubicBezTo>
                  <a:cubicBezTo>
                    <a:pt x="9833" y="4997"/>
                    <a:pt x="9759" y="4968"/>
                    <a:pt x="9716" y="4961"/>
                  </a:cubicBezTo>
                  <a:cubicBezTo>
                    <a:pt x="9723" y="4946"/>
                    <a:pt x="9723" y="4932"/>
                    <a:pt x="9730" y="4917"/>
                  </a:cubicBezTo>
                  <a:cubicBezTo>
                    <a:pt x="9737" y="4873"/>
                    <a:pt x="9752" y="4829"/>
                    <a:pt x="9737" y="4792"/>
                  </a:cubicBezTo>
                  <a:cubicBezTo>
                    <a:pt x="9716" y="4726"/>
                    <a:pt x="9561" y="4551"/>
                    <a:pt x="9488" y="4536"/>
                  </a:cubicBezTo>
                  <a:cubicBezTo>
                    <a:pt x="9437" y="4521"/>
                    <a:pt x="9305" y="4521"/>
                    <a:pt x="9268" y="4521"/>
                  </a:cubicBezTo>
                  <a:cubicBezTo>
                    <a:pt x="9247" y="4506"/>
                    <a:pt x="9210" y="4463"/>
                    <a:pt x="9202" y="4433"/>
                  </a:cubicBezTo>
                  <a:cubicBezTo>
                    <a:pt x="9188" y="4360"/>
                    <a:pt x="9100" y="4287"/>
                    <a:pt x="9041" y="4257"/>
                  </a:cubicBezTo>
                  <a:cubicBezTo>
                    <a:pt x="9019" y="4235"/>
                    <a:pt x="9005" y="4213"/>
                    <a:pt x="8990" y="4184"/>
                  </a:cubicBezTo>
                  <a:cubicBezTo>
                    <a:pt x="8983" y="4170"/>
                    <a:pt x="8975" y="4147"/>
                    <a:pt x="8961" y="4125"/>
                  </a:cubicBezTo>
                  <a:cubicBezTo>
                    <a:pt x="8917" y="4067"/>
                    <a:pt x="8873" y="4008"/>
                    <a:pt x="8821" y="3964"/>
                  </a:cubicBezTo>
                  <a:cubicBezTo>
                    <a:pt x="8814" y="3957"/>
                    <a:pt x="8814" y="3957"/>
                    <a:pt x="8814" y="3957"/>
                  </a:cubicBezTo>
                  <a:cubicBezTo>
                    <a:pt x="8756" y="3898"/>
                    <a:pt x="8660" y="3803"/>
                    <a:pt x="8543" y="3803"/>
                  </a:cubicBezTo>
                  <a:cubicBezTo>
                    <a:pt x="8521" y="3803"/>
                    <a:pt x="8506" y="3803"/>
                    <a:pt x="8485" y="3810"/>
                  </a:cubicBezTo>
                  <a:cubicBezTo>
                    <a:pt x="8470" y="3818"/>
                    <a:pt x="8470" y="3818"/>
                    <a:pt x="8470" y="3818"/>
                  </a:cubicBezTo>
                  <a:cubicBezTo>
                    <a:pt x="8418" y="3825"/>
                    <a:pt x="8375" y="3840"/>
                    <a:pt x="8345" y="3840"/>
                  </a:cubicBezTo>
                  <a:cubicBezTo>
                    <a:pt x="8316" y="3840"/>
                    <a:pt x="8301" y="3832"/>
                    <a:pt x="8287" y="3796"/>
                  </a:cubicBezTo>
                  <a:cubicBezTo>
                    <a:pt x="8250" y="3693"/>
                    <a:pt x="8125" y="3569"/>
                    <a:pt x="8023" y="3569"/>
                  </a:cubicBezTo>
                  <a:cubicBezTo>
                    <a:pt x="8008" y="3569"/>
                    <a:pt x="8008" y="3569"/>
                    <a:pt x="8008" y="3569"/>
                  </a:cubicBezTo>
                  <a:cubicBezTo>
                    <a:pt x="7986" y="3539"/>
                    <a:pt x="7986" y="3466"/>
                    <a:pt x="7986" y="3415"/>
                  </a:cubicBezTo>
                  <a:cubicBezTo>
                    <a:pt x="7986" y="3385"/>
                    <a:pt x="7986" y="3356"/>
                    <a:pt x="7979" y="3334"/>
                  </a:cubicBezTo>
                  <a:cubicBezTo>
                    <a:pt x="7971" y="3268"/>
                    <a:pt x="7906" y="3239"/>
                    <a:pt x="7876" y="3224"/>
                  </a:cubicBezTo>
                  <a:cubicBezTo>
                    <a:pt x="7854" y="3165"/>
                    <a:pt x="7796" y="2990"/>
                    <a:pt x="7774" y="2960"/>
                  </a:cubicBezTo>
                  <a:cubicBezTo>
                    <a:pt x="7759" y="2938"/>
                    <a:pt x="7737" y="2931"/>
                    <a:pt x="7715" y="2924"/>
                  </a:cubicBezTo>
                  <a:cubicBezTo>
                    <a:pt x="7686" y="2902"/>
                    <a:pt x="7686" y="2902"/>
                    <a:pt x="7686" y="2894"/>
                  </a:cubicBezTo>
                  <a:cubicBezTo>
                    <a:pt x="7693" y="2851"/>
                    <a:pt x="7722" y="2726"/>
                    <a:pt x="7642" y="2711"/>
                  </a:cubicBezTo>
                  <a:cubicBezTo>
                    <a:pt x="7576" y="2696"/>
                    <a:pt x="7503" y="2660"/>
                    <a:pt x="7473" y="2631"/>
                  </a:cubicBezTo>
                  <a:cubicBezTo>
                    <a:pt x="7444" y="2587"/>
                    <a:pt x="7437" y="2572"/>
                    <a:pt x="7466" y="2528"/>
                  </a:cubicBezTo>
                  <a:cubicBezTo>
                    <a:pt x="7503" y="2477"/>
                    <a:pt x="7583" y="2440"/>
                    <a:pt x="7583" y="2440"/>
                  </a:cubicBezTo>
                  <a:cubicBezTo>
                    <a:pt x="7678" y="2382"/>
                    <a:pt x="7678" y="2382"/>
                    <a:pt x="7678" y="2382"/>
                  </a:cubicBezTo>
                  <a:cubicBezTo>
                    <a:pt x="7568" y="2382"/>
                    <a:pt x="7568" y="2382"/>
                    <a:pt x="7568" y="2382"/>
                  </a:cubicBezTo>
                  <a:cubicBezTo>
                    <a:pt x="7568" y="2382"/>
                    <a:pt x="7561" y="2382"/>
                    <a:pt x="7554" y="2374"/>
                  </a:cubicBezTo>
                  <a:cubicBezTo>
                    <a:pt x="7554" y="2367"/>
                    <a:pt x="7554" y="2352"/>
                    <a:pt x="7561" y="2330"/>
                  </a:cubicBezTo>
                  <a:cubicBezTo>
                    <a:pt x="7561" y="2323"/>
                    <a:pt x="7561" y="2323"/>
                    <a:pt x="7561" y="2323"/>
                  </a:cubicBezTo>
                  <a:cubicBezTo>
                    <a:pt x="7598" y="2235"/>
                    <a:pt x="7605" y="2206"/>
                    <a:pt x="7656" y="2147"/>
                  </a:cubicBezTo>
                  <a:cubicBezTo>
                    <a:pt x="7693" y="2103"/>
                    <a:pt x="7722" y="2059"/>
                    <a:pt x="7708" y="2008"/>
                  </a:cubicBezTo>
                  <a:cubicBezTo>
                    <a:pt x="7700" y="1978"/>
                    <a:pt x="7678" y="1956"/>
                    <a:pt x="7635" y="1942"/>
                  </a:cubicBezTo>
                  <a:cubicBezTo>
                    <a:pt x="7561" y="1913"/>
                    <a:pt x="7554" y="1898"/>
                    <a:pt x="7554" y="1891"/>
                  </a:cubicBezTo>
                  <a:cubicBezTo>
                    <a:pt x="7554" y="1891"/>
                    <a:pt x="7554" y="1883"/>
                    <a:pt x="7561" y="1876"/>
                  </a:cubicBezTo>
                  <a:cubicBezTo>
                    <a:pt x="7583" y="1854"/>
                    <a:pt x="7590" y="1825"/>
                    <a:pt x="7583" y="1803"/>
                  </a:cubicBezTo>
                  <a:cubicBezTo>
                    <a:pt x="7568" y="1759"/>
                    <a:pt x="7510" y="1722"/>
                    <a:pt x="7444" y="1715"/>
                  </a:cubicBezTo>
                  <a:cubicBezTo>
                    <a:pt x="7393" y="1700"/>
                    <a:pt x="7378" y="1693"/>
                    <a:pt x="7327" y="1656"/>
                  </a:cubicBezTo>
                  <a:cubicBezTo>
                    <a:pt x="7312" y="1641"/>
                    <a:pt x="7297" y="1627"/>
                    <a:pt x="7275" y="1612"/>
                  </a:cubicBezTo>
                  <a:cubicBezTo>
                    <a:pt x="7239" y="1590"/>
                    <a:pt x="7209" y="1568"/>
                    <a:pt x="7173" y="1553"/>
                  </a:cubicBezTo>
                  <a:cubicBezTo>
                    <a:pt x="7129" y="1532"/>
                    <a:pt x="7099" y="1517"/>
                    <a:pt x="7085" y="1480"/>
                  </a:cubicBezTo>
                  <a:cubicBezTo>
                    <a:pt x="7056" y="1414"/>
                    <a:pt x="7012" y="1392"/>
                    <a:pt x="6975" y="1378"/>
                  </a:cubicBezTo>
                  <a:cubicBezTo>
                    <a:pt x="6960" y="1370"/>
                    <a:pt x="6946" y="1363"/>
                    <a:pt x="6938" y="1356"/>
                  </a:cubicBezTo>
                  <a:cubicBezTo>
                    <a:pt x="6931" y="1348"/>
                    <a:pt x="6924" y="1334"/>
                    <a:pt x="6924" y="1312"/>
                  </a:cubicBezTo>
                  <a:cubicBezTo>
                    <a:pt x="6916" y="1275"/>
                    <a:pt x="6931" y="1238"/>
                    <a:pt x="6938" y="1231"/>
                  </a:cubicBezTo>
                  <a:cubicBezTo>
                    <a:pt x="6975" y="1202"/>
                    <a:pt x="6982" y="1143"/>
                    <a:pt x="6968" y="1099"/>
                  </a:cubicBezTo>
                  <a:cubicBezTo>
                    <a:pt x="6960" y="1063"/>
                    <a:pt x="6931" y="1041"/>
                    <a:pt x="6887" y="1033"/>
                  </a:cubicBezTo>
                  <a:cubicBezTo>
                    <a:pt x="6850" y="1026"/>
                    <a:pt x="6836" y="1019"/>
                    <a:pt x="6821" y="1004"/>
                  </a:cubicBezTo>
                  <a:cubicBezTo>
                    <a:pt x="6799" y="989"/>
                    <a:pt x="6785" y="975"/>
                    <a:pt x="6748" y="967"/>
                  </a:cubicBezTo>
                  <a:cubicBezTo>
                    <a:pt x="6726" y="960"/>
                    <a:pt x="6711" y="945"/>
                    <a:pt x="6711" y="923"/>
                  </a:cubicBezTo>
                  <a:cubicBezTo>
                    <a:pt x="6711" y="909"/>
                    <a:pt x="6718" y="894"/>
                    <a:pt x="6740" y="887"/>
                  </a:cubicBezTo>
                  <a:cubicBezTo>
                    <a:pt x="6762" y="872"/>
                    <a:pt x="6777" y="857"/>
                    <a:pt x="6785" y="835"/>
                  </a:cubicBezTo>
                  <a:cubicBezTo>
                    <a:pt x="6799" y="784"/>
                    <a:pt x="6770" y="725"/>
                    <a:pt x="6755" y="703"/>
                  </a:cubicBezTo>
                  <a:cubicBezTo>
                    <a:pt x="6755" y="689"/>
                    <a:pt x="6755" y="689"/>
                    <a:pt x="6755" y="689"/>
                  </a:cubicBezTo>
                  <a:cubicBezTo>
                    <a:pt x="6740" y="689"/>
                    <a:pt x="6740" y="689"/>
                    <a:pt x="6740" y="689"/>
                  </a:cubicBezTo>
                  <a:cubicBezTo>
                    <a:pt x="6623" y="623"/>
                    <a:pt x="6594" y="623"/>
                    <a:pt x="6579" y="623"/>
                  </a:cubicBezTo>
                  <a:cubicBezTo>
                    <a:pt x="6543" y="623"/>
                    <a:pt x="6484" y="601"/>
                    <a:pt x="6433" y="579"/>
                  </a:cubicBezTo>
                  <a:cubicBezTo>
                    <a:pt x="6411" y="572"/>
                    <a:pt x="6404" y="513"/>
                    <a:pt x="6396" y="476"/>
                  </a:cubicBezTo>
                  <a:cubicBezTo>
                    <a:pt x="6396" y="447"/>
                    <a:pt x="6389" y="418"/>
                    <a:pt x="6381" y="396"/>
                  </a:cubicBezTo>
                  <a:cubicBezTo>
                    <a:pt x="6359" y="374"/>
                    <a:pt x="6330" y="359"/>
                    <a:pt x="6301" y="359"/>
                  </a:cubicBezTo>
                  <a:cubicBezTo>
                    <a:pt x="6294" y="359"/>
                    <a:pt x="6294" y="359"/>
                    <a:pt x="6294" y="359"/>
                  </a:cubicBezTo>
                  <a:lnTo>
                    <a:pt x="6294" y="359"/>
                  </a:lnTo>
                  <a:cubicBezTo>
                    <a:pt x="6286" y="359"/>
                    <a:pt x="6286" y="359"/>
                    <a:pt x="6286" y="359"/>
                  </a:cubicBezTo>
                  <a:cubicBezTo>
                    <a:pt x="6257" y="359"/>
                    <a:pt x="6228" y="374"/>
                    <a:pt x="6198" y="388"/>
                  </a:cubicBezTo>
                  <a:cubicBezTo>
                    <a:pt x="6154" y="418"/>
                    <a:pt x="6147" y="418"/>
                    <a:pt x="6059" y="418"/>
                  </a:cubicBezTo>
                  <a:cubicBezTo>
                    <a:pt x="6044" y="418"/>
                    <a:pt x="6037" y="418"/>
                    <a:pt x="6030" y="418"/>
                  </a:cubicBezTo>
                  <a:cubicBezTo>
                    <a:pt x="6022" y="388"/>
                    <a:pt x="5993" y="381"/>
                    <a:pt x="5971" y="381"/>
                  </a:cubicBezTo>
                  <a:cubicBezTo>
                    <a:pt x="5898" y="381"/>
                    <a:pt x="5780" y="432"/>
                    <a:pt x="5707" y="469"/>
                  </a:cubicBezTo>
                  <a:cubicBezTo>
                    <a:pt x="5693" y="469"/>
                    <a:pt x="5685" y="476"/>
                    <a:pt x="5678" y="476"/>
                  </a:cubicBezTo>
                  <a:cubicBezTo>
                    <a:pt x="5671" y="476"/>
                    <a:pt x="5663" y="469"/>
                    <a:pt x="5649" y="454"/>
                  </a:cubicBezTo>
                  <a:cubicBezTo>
                    <a:pt x="5641" y="447"/>
                    <a:pt x="5627" y="432"/>
                    <a:pt x="5605" y="425"/>
                  </a:cubicBezTo>
                  <a:cubicBezTo>
                    <a:pt x="5597" y="418"/>
                    <a:pt x="5590" y="418"/>
                    <a:pt x="5575" y="418"/>
                  </a:cubicBezTo>
                  <a:cubicBezTo>
                    <a:pt x="5546" y="418"/>
                    <a:pt x="5524" y="440"/>
                    <a:pt x="5502" y="469"/>
                  </a:cubicBezTo>
                  <a:cubicBezTo>
                    <a:pt x="5495" y="484"/>
                    <a:pt x="5480" y="498"/>
                    <a:pt x="5458" y="513"/>
                  </a:cubicBezTo>
                  <a:cubicBezTo>
                    <a:pt x="5458" y="520"/>
                    <a:pt x="5451" y="520"/>
                    <a:pt x="5451" y="520"/>
                  </a:cubicBezTo>
                  <a:cubicBezTo>
                    <a:pt x="5436" y="520"/>
                    <a:pt x="5407" y="484"/>
                    <a:pt x="5399" y="440"/>
                  </a:cubicBezTo>
                  <a:cubicBezTo>
                    <a:pt x="5385" y="403"/>
                    <a:pt x="5370" y="344"/>
                    <a:pt x="5297" y="330"/>
                  </a:cubicBezTo>
                  <a:cubicBezTo>
                    <a:pt x="5282" y="322"/>
                    <a:pt x="5268" y="315"/>
                    <a:pt x="5260" y="301"/>
                  </a:cubicBezTo>
                  <a:cubicBezTo>
                    <a:pt x="5246" y="271"/>
                    <a:pt x="5246" y="242"/>
                    <a:pt x="5246" y="234"/>
                  </a:cubicBezTo>
                  <a:cubicBezTo>
                    <a:pt x="5260" y="205"/>
                    <a:pt x="5260" y="132"/>
                    <a:pt x="5231" y="88"/>
                  </a:cubicBezTo>
                  <a:cubicBezTo>
                    <a:pt x="5216" y="66"/>
                    <a:pt x="5194" y="59"/>
                    <a:pt x="5172" y="59"/>
                  </a:cubicBezTo>
                  <a:cubicBezTo>
                    <a:pt x="5165" y="59"/>
                    <a:pt x="5150" y="59"/>
                    <a:pt x="5143" y="59"/>
                  </a:cubicBezTo>
                  <a:cubicBezTo>
                    <a:pt x="5128" y="51"/>
                    <a:pt x="5121" y="51"/>
                    <a:pt x="5106" y="51"/>
                  </a:cubicBezTo>
                  <a:cubicBezTo>
                    <a:pt x="5085" y="51"/>
                    <a:pt x="5033" y="51"/>
                    <a:pt x="5018" y="103"/>
                  </a:cubicBezTo>
                  <a:cubicBezTo>
                    <a:pt x="5011" y="125"/>
                    <a:pt x="4982" y="146"/>
                    <a:pt x="4931" y="176"/>
                  </a:cubicBezTo>
                  <a:cubicBezTo>
                    <a:pt x="4872" y="205"/>
                    <a:pt x="4828" y="242"/>
                    <a:pt x="4828" y="242"/>
                  </a:cubicBezTo>
                  <a:cubicBezTo>
                    <a:pt x="4813" y="256"/>
                    <a:pt x="4813" y="256"/>
                    <a:pt x="4813" y="256"/>
                  </a:cubicBezTo>
                  <a:cubicBezTo>
                    <a:pt x="4813" y="271"/>
                    <a:pt x="4813" y="271"/>
                    <a:pt x="4813" y="271"/>
                  </a:cubicBezTo>
                  <a:cubicBezTo>
                    <a:pt x="4813" y="278"/>
                    <a:pt x="4828" y="410"/>
                    <a:pt x="4872" y="498"/>
                  </a:cubicBezTo>
                  <a:cubicBezTo>
                    <a:pt x="4901" y="542"/>
                    <a:pt x="4894" y="594"/>
                    <a:pt x="4894" y="660"/>
                  </a:cubicBezTo>
                  <a:cubicBezTo>
                    <a:pt x="4894" y="703"/>
                    <a:pt x="4887" y="747"/>
                    <a:pt x="4894" y="806"/>
                  </a:cubicBezTo>
                  <a:cubicBezTo>
                    <a:pt x="4901" y="865"/>
                    <a:pt x="4887" y="879"/>
                    <a:pt x="4887" y="879"/>
                  </a:cubicBezTo>
                  <a:cubicBezTo>
                    <a:pt x="4887" y="879"/>
                    <a:pt x="4887" y="887"/>
                    <a:pt x="4872" y="887"/>
                  </a:cubicBezTo>
                  <a:cubicBezTo>
                    <a:pt x="4872" y="887"/>
                    <a:pt x="4865" y="887"/>
                    <a:pt x="4857" y="887"/>
                  </a:cubicBezTo>
                  <a:cubicBezTo>
                    <a:pt x="4857" y="887"/>
                    <a:pt x="4850" y="887"/>
                    <a:pt x="4843" y="887"/>
                  </a:cubicBezTo>
                  <a:cubicBezTo>
                    <a:pt x="4843" y="887"/>
                    <a:pt x="4835" y="879"/>
                    <a:pt x="4828" y="879"/>
                  </a:cubicBezTo>
                  <a:cubicBezTo>
                    <a:pt x="4821" y="872"/>
                    <a:pt x="4806" y="857"/>
                    <a:pt x="4791" y="857"/>
                  </a:cubicBezTo>
                  <a:cubicBezTo>
                    <a:pt x="4777" y="857"/>
                    <a:pt x="4762" y="865"/>
                    <a:pt x="4747" y="879"/>
                  </a:cubicBezTo>
                  <a:cubicBezTo>
                    <a:pt x="4740" y="887"/>
                    <a:pt x="4740" y="887"/>
                    <a:pt x="4733" y="887"/>
                  </a:cubicBezTo>
                  <a:cubicBezTo>
                    <a:pt x="4725" y="887"/>
                    <a:pt x="4711" y="879"/>
                    <a:pt x="4674" y="850"/>
                  </a:cubicBezTo>
                  <a:cubicBezTo>
                    <a:pt x="4652" y="828"/>
                    <a:pt x="4667" y="791"/>
                    <a:pt x="4667" y="791"/>
                  </a:cubicBezTo>
                  <a:cubicBezTo>
                    <a:pt x="4667" y="784"/>
                    <a:pt x="4667" y="784"/>
                    <a:pt x="4667" y="784"/>
                  </a:cubicBezTo>
                  <a:cubicBezTo>
                    <a:pt x="4674" y="784"/>
                    <a:pt x="4674" y="784"/>
                    <a:pt x="4674" y="784"/>
                  </a:cubicBezTo>
                  <a:cubicBezTo>
                    <a:pt x="4674" y="769"/>
                    <a:pt x="4696" y="674"/>
                    <a:pt x="4652" y="630"/>
                  </a:cubicBezTo>
                  <a:cubicBezTo>
                    <a:pt x="4623" y="601"/>
                    <a:pt x="4586" y="601"/>
                    <a:pt x="4564" y="601"/>
                  </a:cubicBezTo>
                  <a:cubicBezTo>
                    <a:pt x="4549" y="601"/>
                    <a:pt x="4535" y="601"/>
                    <a:pt x="4535" y="601"/>
                  </a:cubicBezTo>
                  <a:cubicBezTo>
                    <a:pt x="4528" y="601"/>
                    <a:pt x="4528" y="601"/>
                    <a:pt x="4528" y="601"/>
                  </a:cubicBezTo>
                  <a:cubicBezTo>
                    <a:pt x="4520" y="608"/>
                    <a:pt x="4520" y="608"/>
                    <a:pt x="4520" y="608"/>
                  </a:cubicBezTo>
                  <a:cubicBezTo>
                    <a:pt x="4498" y="615"/>
                    <a:pt x="4462" y="637"/>
                    <a:pt x="4432" y="637"/>
                  </a:cubicBezTo>
                  <a:lnTo>
                    <a:pt x="4432" y="637"/>
                  </a:lnTo>
                  <a:cubicBezTo>
                    <a:pt x="4388" y="608"/>
                    <a:pt x="4359" y="594"/>
                    <a:pt x="4337" y="594"/>
                  </a:cubicBezTo>
                  <a:cubicBezTo>
                    <a:pt x="4323" y="594"/>
                    <a:pt x="4315" y="601"/>
                    <a:pt x="4308" y="608"/>
                  </a:cubicBezTo>
                  <a:cubicBezTo>
                    <a:pt x="4300" y="608"/>
                    <a:pt x="4300" y="615"/>
                    <a:pt x="4300" y="615"/>
                  </a:cubicBezTo>
                  <a:cubicBezTo>
                    <a:pt x="4293" y="615"/>
                    <a:pt x="4286" y="608"/>
                    <a:pt x="4286" y="594"/>
                  </a:cubicBezTo>
                  <a:cubicBezTo>
                    <a:pt x="4249" y="528"/>
                    <a:pt x="4139" y="520"/>
                    <a:pt x="4110" y="520"/>
                  </a:cubicBezTo>
                  <a:cubicBezTo>
                    <a:pt x="4095" y="520"/>
                    <a:pt x="4088" y="520"/>
                    <a:pt x="4073" y="513"/>
                  </a:cubicBezTo>
                  <a:cubicBezTo>
                    <a:pt x="4059" y="513"/>
                    <a:pt x="4037" y="513"/>
                    <a:pt x="4022" y="513"/>
                  </a:cubicBezTo>
                  <a:cubicBezTo>
                    <a:pt x="4000" y="513"/>
                    <a:pt x="3978" y="513"/>
                    <a:pt x="3949" y="520"/>
                  </a:cubicBezTo>
                  <a:cubicBezTo>
                    <a:pt x="3883" y="542"/>
                    <a:pt x="3868" y="557"/>
                    <a:pt x="3809" y="601"/>
                  </a:cubicBezTo>
                  <a:cubicBezTo>
                    <a:pt x="3787" y="615"/>
                    <a:pt x="3787" y="615"/>
                    <a:pt x="3787" y="615"/>
                  </a:cubicBezTo>
                  <a:cubicBezTo>
                    <a:pt x="3692" y="682"/>
                    <a:pt x="3714" y="733"/>
                    <a:pt x="3736" y="791"/>
                  </a:cubicBezTo>
                  <a:cubicBezTo>
                    <a:pt x="3736" y="813"/>
                    <a:pt x="3736" y="813"/>
                    <a:pt x="3736" y="813"/>
                  </a:cubicBezTo>
                  <a:cubicBezTo>
                    <a:pt x="3758" y="872"/>
                    <a:pt x="3817" y="894"/>
                    <a:pt x="3883" y="916"/>
                  </a:cubicBezTo>
                  <a:cubicBezTo>
                    <a:pt x="3905" y="931"/>
                    <a:pt x="3934" y="938"/>
                    <a:pt x="3956" y="953"/>
                  </a:cubicBezTo>
                  <a:cubicBezTo>
                    <a:pt x="3971" y="960"/>
                    <a:pt x="3993" y="975"/>
                    <a:pt x="3985" y="996"/>
                  </a:cubicBezTo>
                  <a:cubicBezTo>
                    <a:pt x="3978" y="1011"/>
                    <a:pt x="3971" y="1019"/>
                    <a:pt x="3963" y="1019"/>
                  </a:cubicBezTo>
                  <a:cubicBezTo>
                    <a:pt x="3949" y="1019"/>
                    <a:pt x="3941" y="1019"/>
                    <a:pt x="3941" y="1011"/>
                  </a:cubicBezTo>
                  <a:cubicBezTo>
                    <a:pt x="3934" y="1011"/>
                    <a:pt x="3919" y="1004"/>
                    <a:pt x="3912" y="1004"/>
                  </a:cubicBezTo>
                  <a:cubicBezTo>
                    <a:pt x="3890" y="1004"/>
                    <a:pt x="3868" y="1026"/>
                    <a:pt x="3861" y="1041"/>
                  </a:cubicBezTo>
                  <a:cubicBezTo>
                    <a:pt x="3854" y="1048"/>
                    <a:pt x="3854" y="1048"/>
                    <a:pt x="3839" y="1048"/>
                  </a:cubicBezTo>
                  <a:cubicBezTo>
                    <a:pt x="3817" y="1048"/>
                    <a:pt x="3780" y="1033"/>
                    <a:pt x="3773" y="1026"/>
                  </a:cubicBezTo>
                  <a:cubicBezTo>
                    <a:pt x="3714" y="989"/>
                    <a:pt x="3714" y="989"/>
                    <a:pt x="3714" y="989"/>
                  </a:cubicBezTo>
                  <a:cubicBezTo>
                    <a:pt x="3729" y="1055"/>
                    <a:pt x="3729" y="1055"/>
                    <a:pt x="3729" y="1055"/>
                  </a:cubicBezTo>
                  <a:cubicBezTo>
                    <a:pt x="3736" y="1092"/>
                    <a:pt x="3729" y="1099"/>
                    <a:pt x="3722" y="1099"/>
                  </a:cubicBezTo>
                  <a:cubicBezTo>
                    <a:pt x="3722" y="1106"/>
                    <a:pt x="3714" y="1106"/>
                    <a:pt x="3707" y="1106"/>
                  </a:cubicBezTo>
                  <a:cubicBezTo>
                    <a:pt x="3692" y="1106"/>
                    <a:pt x="3678" y="1099"/>
                    <a:pt x="3678" y="1099"/>
                  </a:cubicBezTo>
                  <a:lnTo>
                    <a:pt x="3678" y="1099"/>
                  </a:lnTo>
                  <a:cubicBezTo>
                    <a:pt x="3670" y="1099"/>
                    <a:pt x="3670" y="1099"/>
                    <a:pt x="3670" y="1099"/>
                  </a:cubicBezTo>
                  <a:cubicBezTo>
                    <a:pt x="3670" y="1099"/>
                    <a:pt x="3604" y="1084"/>
                    <a:pt x="3538" y="1070"/>
                  </a:cubicBezTo>
                  <a:cubicBezTo>
                    <a:pt x="3502" y="1055"/>
                    <a:pt x="3502" y="1011"/>
                    <a:pt x="3516" y="931"/>
                  </a:cubicBezTo>
                  <a:cubicBezTo>
                    <a:pt x="3524" y="887"/>
                    <a:pt x="3509" y="857"/>
                    <a:pt x="3494" y="828"/>
                  </a:cubicBezTo>
                  <a:cubicBezTo>
                    <a:pt x="3487" y="806"/>
                    <a:pt x="3480" y="791"/>
                    <a:pt x="3480" y="769"/>
                  </a:cubicBezTo>
                  <a:cubicBezTo>
                    <a:pt x="3480" y="689"/>
                    <a:pt x="3421" y="660"/>
                    <a:pt x="3385" y="660"/>
                  </a:cubicBezTo>
                  <a:lnTo>
                    <a:pt x="3385" y="660"/>
                  </a:lnTo>
                  <a:cubicBezTo>
                    <a:pt x="3377" y="660"/>
                    <a:pt x="3377" y="660"/>
                    <a:pt x="3377" y="660"/>
                  </a:cubicBezTo>
                  <a:cubicBezTo>
                    <a:pt x="3377" y="660"/>
                    <a:pt x="3363" y="660"/>
                    <a:pt x="3348" y="660"/>
                  </a:cubicBezTo>
                  <a:cubicBezTo>
                    <a:pt x="3304" y="660"/>
                    <a:pt x="3267" y="652"/>
                    <a:pt x="3253" y="637"/>
                  </a:cubicBezTo>
                  <a:cubicBezTo>
                    <a:pt x="3238" y="630"/>
                    <a:pt x="3231" y="615"/>
                    <a:pt x="3223" y="601"/>
                  </a:cubicBezTo>
                  <a:cubicBezTo>
                    <a:pt x="3209" y="579"/>
                    <a:pt x="3187" y="542"/>
                    <a:pt x="3143" y="542"/>
                  </a:cubicBezTo>
                  <a:cubicBezTo>
                    <a:pt x="3143" y="542"/>
                    <a:pt x="3135" y="542"/>
                    <a:pt x="3128" y="542"/>
                  </a:cubicBezTo>
                  <a:cubicBezTo>
                    <a:pt x="3121" y="542"/>
                    <a:pt x="3121" y="542"/>
                    <a:pt x="3113" y="542"/>
                  </a:cubicBezTo>
                  <a:cubicBezTo>
                    <a:pt x="3099" y="542"/>
                    <a:pt x="3092" y="542"/>
                    <a:pt x="3070" y="498"/>
                  </a:cubicBezTo>
                  <a:cubicBezTo>
                    <a:pt x="3063" y="491"/>
                    <a:pt x="3063" y="484"/>
                    <a:pt x="3056" y="476"/>
                  </a:cubicBezTo>
                  <a:cubicBezTo>
                    <a:pt x="3048" y="462"/>
                    <a:pt x="3048" y="462"/>
                    <a:pt x="3048" y="462"/>
                  </a:cubicBezTo>
                  <a:cubicBezTo>
                    <a:pt x="3019" y="418"/>
                    <a:pt x="3004" y="388"/>
                    <a:pt x="2953" y="330"/>
                  </a:cubicBezTo>
                  <a:cubicBezTo>
                    <a:pt x="2938" y="308"/>
                    <a:pt x="2931" y="286"/>
                    <a:pt x="2924" y="271"/>
                  </a:cubicBezTo>
                  <a:cubicBezTo>
                    <a:pt x="2909" y="234"/>
                    <a:pt x="2895" y="213"/>
                    <a:pt x="2836" y="205"/>
                  </a:cubicBezTo>
                  <a:cubicBezTo>
                    <a:pt x="2792" y="198"/>
                    <a:pt x="2763" y="154"/>
                    <a:pt x="2726" y="110"/>
                  </a:cubicBezTo>
                  <a:cubicBezTo>
                    <a:pt x="2711" y="88"/>
                    <a:pt x="2697" y="66"/>
                    <a:pt x="2682" y="44"/>
                  </a:cubicBezTo>
                  <a:cubicBezTo>
                    <a:pt x="2667" y="22"/>
                    <a:pt x="2645" y="0"/>
                    <a:pt x="2616" y="0"/>
                  </a:cubicBezTo>
                  <a:lnTo>
                    <a:pt x="2616" y="37"/>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dirty="0">
                <a:latin typeface="Montserrat" charset="0"/>
              </a:endParaRPr>
            </a:p>
          </p:txBody>
        </p:sp>
        <p:sp>
          <p:nvSpPr>
            <p:cNvPr id="62" name="Freeform 61">
              <a:extLst>
                <a:ext uri="{FF2B5EF4-FFF2-40B4-BE49-F238E27FC236}">
                  <a16:creationId xmlns:a16="http://schemas.microsoft.com/office/drawing/2014/main" id="{D77519FF-8A1E-F04E-9136-62C56D5F830D}"/>
                </a:ext>
              </a:extLst>
            </p:cNvPr>
            <p:cNvSpPr>
              <a:spLocks noChangeArrowheads="1"/>
            </p:cNvSpPr>
            <p:nvPr/>
          </p:nvSpPr>
          <p:spPr bwMode="auto">
            <a:xfrm>
              <a:off x="3501614" y="7785284"/>
              <a:ext cx="1986234" cy="2522461"/>
            </a:xfrm>
            <a:custGeom>
              <a:avLst/>
              <a:gdLst>
                <a:gd name="T0" fmla="*/ 4082 w 5167"/>
                <a:gd name="T1" fmla="*/ 6426 h 6639"/>
                <a:gd name="T2" fmla="*/ 3686 w 5167"/>
                <a:gd name="T3" fmla="*/ 6345 h 6639"/>
                <a:gd name="T4" fmla="*/ 3444 w 5167"/>
                <a:gd name="T5" fmla="*/ 6323 h 6639"/>
                <a:gd name="T6" fmla="*/ 3173 w 5167"/>
                <a:gd name="T7" fmla="*/ 6206 h 6639"/>
                <a:gd name="T8" fmla="*/ 2938 w 5167"/>
                <a:gd name="T9" fmla="*/ 5950 h 6639"/>
                <a:gd name="T10" fmla="*/ 2609 w 5167"/>
                <a:gd name="T11" fmla="*/ 5935 h 6639"/>
                <a:gd name="T12" fmla="*/ 2616 w 5167"/>
                <a:gd name="T13" fmla="*/ 5517 h 6639"/>
                <a:gd name="T14" fmla="*/ 2682 w 5167"/>
                <a:gd name="T15" fmla="*/ 5254 h 6639"/>
                <a:gd name="T16" fmla="*/ 2514 w 5167"/>
                <a:gd name="T17" fmla="*/ 4924 h 6639"/>
                <a:gd name="T18" fmla="*/ 2447 w 5167"/>
                <a:gd name="T19" fmla="*/ 4594 h 6639"/>
                <a:gd name="T20" fmla="*/ 2191 w 5167"/>
                <a:gd name="T21" fmla="*/ 4528 h 6639"/>
                <a:gd name="T22" fmla="*/ 1737 w 5167"/>
                <a:gd name="T23" fmla="*/ 4389 h 6639"/>
                <a:gd name="T24" fmla="*/ 1173 w 5167"/>
                <a:gd name="T25" fmla="*/ 4631 h 6639"/>
                <a:gd name="T26" fmla="*/ 887 w 5167"/>
                <a:gd name="T27" fmla="*/ 4660 h 6639"/>
                <a:gd name="T28" fmla="*/ 491 w 5167"/>
                <a:gd name="T29" fmla="*/ 4616 h 6639"/>
                <a:gd name="T30" fmla="*/ 777 w 5167"/>
                <a:gd name="T31" fmla="*/ 4066 h 6639"/>
                <a:gd name="T32" fmla="*/ 616 w 5167"/>
                <a:gd name="T33" fmla="*/ 3627 h 6639"/>
                <a:gd name="T34" fmla="*/ 249 w 5167"/>
                <a:gd name="T35" fmla="*/ 3283 h 6639"/>
                <a:gd name="T36" fmla="*/ 95 w 5167"/>
                <a:gd name="T37" fmla="*/ 2608 h 6639"/>
                <a:gd name="T38" fmla="*/ 249 w 5167"/>
                <a:gd name="T39" fmla="*/ 2220 h 6639"/>
                <a:gd name="T40" fmla="*/ 696 w 5167"/>
                <a:gd name="T41" fmla="*/ 1978 h 6639"/>
                <a:gd name="T42" fmla="*/ 696 w 5167"/>
                <a:gd name="T43" fmla="*/ 1788 h 6639"/>
                <a:gd name="T44" fmla="*/ 1048 w 5167"/>
                <a:gd name="T45" fmla="*/ 1810 h 6639"/>
                <a:gd name="T46" fmla="*/ 1319 w 5167"/>
                <a:gd name="T47" fmla="*/ 1905 h 6639"/>
                <a:gd name="T48" fmla="*/ 1510 w 5167"/>
                <a:gd name="T49" fmla="*/ 1722 h 6639"/>
                <a:gd name="T50" fmla="*/ 1590 w 5167"/>
                <a:gd name="T51" fmla="*/ 1524 h 6639"/>
                <a:gd name="T52" fmla="*/ 1803 w 5167"/>
                <a:gd name="T53" fmla="*/ 1326 h 6639"/>
                <a:gd name="T54" fmla="*/ 2037 w 5167"/>
                <a:gd name="T55" fmla="*/ 1143 h 6639"/>
                <a:gd name="T56" fmla="*/ 2433 w 5167"/>
                <a:gd name="T57" fmla="*/ 996 h 6639"/>
                <a:gd name="T58" fmla="*/ 2748 w 5167"/>
                <a:gd name="T59" fmla="*/ 908 h 6639"/>
                <a:gd name="T60" fmla="*/ 3173 w 5167"/>
                <a:gd name="T61" fmla="*/ 637 h 6639"/>
                <a:gd name="T62" fmla="*/ 3393 w 5167"/>
                <a:gd name="T63" fmla="*/ 571 h 6639"/>
                <a:gd name="T64" fmla="*/ 3561 w 5167"/>
                <a:gd name="T65" fmla="*/ 322 h 6639"/>
                <a:gd name="T66" fmla="*/ 3788 w 5167"/>
                <a:gd name="T67" fmla="*/ 22 h 6639"/>
                <a:gd name="T68" fmla="*/ 3979 w 5167"/>
                <a:gd name="T69" fmla="*/ 337 h 6639"/>
                <a:gd name="T70" fmla="*/ 4104 w 5167"/>
                <a:gd name="T71" fmla="*/ 637 h 6639"/>
                <a:gd name="T72" fmla="*/ 4279 w 5167"/>
                <a:gd name="T73" fmla="*/ 828 h 6639"/>
                <a:gd name="T74" fmla="*/ 4375 w 5167"/>
                <a:gd name="T75" fmla="*/ 908 h 6639"/>
                <a:gd name="T76" fmla="*/ 4250 w 5167"/>
                <a:gd name="T77" fmla="*/ 1370 h 6639"/>
                <a:gd name="T78" fmla="*/ 4089 w 5167"/>
                <a:gd name="T79" fmla="*/ 1553 h 6639"/>
                <a:gd name="T80" fmla="*/ 4023 w 5167"/>
                <a:gd name="T81" fmla="*/ 1810 h 6639"/>
                <a:gd name="T82" fmla="*/ 4287 w 5167"/>
                <a:gd name="T83" fmla="*/ 2051 h 6639"/>
                <a:gd name="T84" fmla="*/ 4155 w 5167"/>
                <a:gd name="T85" fmla="*/ 2301 h 6639"/>
                <a:gd name="T86" fmla="*/ 4126 w 5167"/>
                <a:gd name="T87" fmla="*/ 2454 h 6639"/>
                <a:gd name="T88" fmla="*/ 3876 w 5167"/>
                <a:gd name="T89" fmla="*/ 2542 h 6639"/>
                <a:gd name="T90" fmla="*/ 3920 w 5167"/>
                <a:gd name="T91" fmla="*/ 2806 h 6639"/>
                <a:gd name="T92" fmla="*/ 3745 w 5167"/>
                <a:gd name="T93" fmla="*/ 2857 h 6639"/>
                <a:gd name="T94" fmla="*/ 3766 w 5167"/>
                <a:gd name="T95" fmla="*/ 3107 h 6639"/>
                <a:gd name="T96" fmla="*/ 4228 w 5167"/>
                <a:gd name="T97" fmla="*/ 3114 h 6639"/>
                <a:gd name="T98" fmla="*/ 4653 w 5167"/>
                <a:gd name="T99" fmla="*/ 3092 h 6639"/>
                <a:gd name="T100" fmla="*/ 4888 w 5167"/>
                <a:gd name="T101" fmla="*/ 3605 h 6639"/>
                <a:gd name="T102" fmla="*/ 5056 w 5167"/>
                <a:gd name="T103" fmla="*/ 3920 h 6639"/>
                <a:gd name="T104" fmla="*/ 4844 w 5167"/>
                <a:gd name="T105" fmla="*/ 4220 h 6639"/>
                <a:gd name="T106" fmla="*/ 4997 w 5167"/>
                <a:gd name="T107" fmla="*/ 4792 h 6639"/>
                <a:gd name="T108" fmla="*/ 5122 w 5167"/>
                <a:gd name="T109" fmla="*/ 5026 h 6639"/>
                <a:gd name="T110" fmla="*/ 5056 w 5167"/>
                <a:gd name="T111" fmla="*/ 5422 h 6639"/>
                <a:gd name="T112" fmla="*/ 4851 w 5167"/>
                <a:gd name="T113" fmla="*/ 5942 h 6639"/>
                <a:gd name="T114" fmla="*/ 4485 w 5167"/>
                <a:gd name="T115" fmla="*/ 6638 h 6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67" h="6639">
                  <a:moveTo>
                    <a:pt x="4477" y="6631"/>
                  </a:moveTo>
                  <a:lnTo>
                    <a:pt x="4477" y="6631"/>
                  </a:lnTo>
                  <a:cubicBezTo>
                    <a:pt x="4455" y="6609"/>
                    <a:pt x="4389" y="6551"/>
                    <a:pt x="4338" y="6551"/>
                  </a:cubicBezTo>
                  <a:cubicBezTo>
                    <a:pt x="4272" y="6551"/>
                    <a:pt x="4228" y="6514"/>
                    <a:pt x="4191" y="6485"/>
                  </a:cubicBezTo>
                  <a:cubicBezTo>
                    <a:pt x="4184" y="6485"/>
                    <a:pt x="4177" y="6477"/>
                    <a:pt x="4169" y="6470"/>
                  </a:cubicBezTo>
                  <a:cubicBezTo>
                    <a:pt x="4147" y="6455"/>
                    <a:pt x="4118" y="6441"/>
                    <a:pt x="4082" y="6426"/>
                  </a:cubicBezTo>
                  <a:cubicBezTo>
                    <a:pt x="4045" y="6404"/>
                    <a:pt x="3994" y="6382"/>
                    <a:pt x="3964" y="6360"/>
                  </a:cubicBezTo>
                  <a:cubicBezTo>
                    <a:pt x="3935" y="6331"/>
                    <a:pt x="3913" y="6323"/>
                    <a:pt x="3898" y="6323"/>
                  </a:cubicBezTo>
                  <a:cubicBezTo>
                    <a:pt x="3884" y="6323"/>
                    <a:pt x="3869" y="6331"/>
                    <a:pt x="3847" y="6345"/>
                  </a:cubicBezTo>
                  <a:cubicBezTo>
                    <a:pt x="3825" y="6367"/>
                    <a:pt x="3796" y="6375"/>
                    <a:pt x="3774" y="6375"/>
                  </a:cubicBezTo>
                  <a:cubicBezTo>
                    <a:pt x="3752" y="6375"/>
                    <a:pt x="3730" y="6367"/>
                    <a:pt x="3700" y="6353"/>
                  </a:cubicBezTo>
                  <a:cubicBezTo>
                    <a:pt x="3686" y="6345"/>
                    <a:pt x="3686" y="6345"/>
                    <a:pt x="3686" y="6345"/>
                  </a:cubicBezTo>
                  <a:cubicBezTo>
                    <a:pt x="3657" y="6338"/>
                    <a:pt x="3642" y="6316"/>
                    <a:pt x="3627" y="6294"/>
                  </a:cubicBezTo>
                  <a:cubicBezTo>
                    <a:pt x="3620" y="6287"/>
                    <a:pt x="3613" y="6279"/>
                    <a:pt x="3605" y="6279"/>
                  </a:cubicBezTo>
                  <a:lnTo>
                    <a:pt x="3598" y="6279"/>
                  </a:lnTo>
                  <a:cubicBezTo>
                    <a:pt x="3583" y="6287"/>
                    <a:pt x="3576" y="6294"/>
                    <a:pt x="3561" y="6302"/>
                  </a:cubicBezTo>
                  <a:cubicBezTo>
                    <a:pt x="3539" y="6316"/>
                    <a:pt x="3517" y="6331"/>
                    <a:pt x="3481" y="6331"/>
                  </a:cubicBezTo>
                  <a:cubicBezTo>
                    <a:pt x="3473" y="6331"/>
                    <a:pt x="3459" y="6331"/>
                    <a:pt x="3444" y="6323"/>
                  </a:cubicBezTo>
                  <a:cubicBezTo>
                    <a:pt x="3437" y="6323"/>
                    <a:pt x="3429" y="6316"/>
                    <a:pt x="3422" y="6316"/>
                  </a:cubicBezTo>
                  <a:cubicBezTo>
                    <a:pt x="3415" y="6309"/>
                    <a:pt x="3407" y="6309"/>
                    <a:pt x="3400" y="6309"/>
                  </a:cubicBezTo>
                  <a:cubicBezTo>
                    <a:pt x="3393" y="6309"/>
                    <a:pt x="3378" y="6316"/>
                    <a:pt x="3364" y="6331"/>
                  </a:cubicBezTo>
                  <a:cubicBezTo>
                    <a:pt x="3349" y="6345"/>
                    <a:pt x="3334" y="6345"/>
                    <a:pt x="3319" y="6345"/>
                  </a:cubicBezTo>
                  <a:cubicBezTo>
                    <a:pt x="3261" y="6345"/>
                    <a:pt x="3209" y="6250"/>
                    <a:pt x="3202" y="6228"/>
                  </a:cubicBezTo>
                  <a:cubicBezTo>
                    <a:pt x="3195" y="6214"/>
                    <a:pt x="3188" y="6206"/>
                    <a:pt x="3173" y="6206"/>
                  </a:cubicBezTo>
                  <a:cubicBezTo>
                    <a:pt x="3166" y="6206"/>
                    <a:pt x="3158" y="6206"/>
                    <a:pt x="3151" y="6221"/>
                  </a:cubicBezTo>
                  <a:cubicBezTo>
                    <a:pt x="3136" y="6228"/>
                    <a:pt x="3129" y="6235"/>
                    <a:pt x="3122" y="6235"/>
                  </a:cubicBezTo>
                  <a:cubicBezTo>
                    <a:pt x="3100" y="6235"/>
                    <a:pt x="3078" y="6214"/>
                    <a:pt x="3048" y="6192"/>
                  </a:cubicBezTo>
                  <a:cubicBezTo>
                    <a:pt x="3034" y="6177"/>
                    <a:pt x="3012" y="6155"/>
                    <a:pt x="2990" y="6140"/>
                  </a:cubicBezTo>
                  <a:cubicBezTo>
                    <a:pt x="2938" y="6104"/>
                    <a:pt x="2938" y="6060"/>
                    <a:pt x="2938" y="6008"/>
                  </a:cubicBezTo>
                  <a:cubicBezTo>
                    <a:pt x="2938" y="5994"/>
                    <a:pt x="2938" y="5972"/>
                    <a:pt x="2938" y="5950"/>
                  </a:cubicBezTo>
                  <a:cubicBezTo>
                    <a:pt x="2931" y="5920"/>
                    <a:pt x="2902" y="5913"/>
                    <a:pt x="2858" y="5906"/>
                  </a:cubicBezTo>
                  <a:cubicBezTo>
                    <a:pt x="2836" y="5906"/>
                    <a:pt x="2814" y="5906"/>
                    <a:pt x="2799" y="5891"/>
                  </a:cubicBezTo>
                  <a:cubicBezTo>
                    <a:pt x="2799" y="5891"/>
                    <a:pt x="2792" y="5891"/>
                    <a:pt x="2777" y="5891"/>
                  </a:cubicBezTo>
                  <a:cubicBezTo>
                    <a:pt x="2733" y="5891"/>
                    <a:pt x="2675" y="5913"/>
                    <a:pt x="2660" y="5913"/>
                  </a:cubicBezTo>
                  <a:cubicBezTo>
                    <a:pt x="2653" y="5920"/>
                    <a:pt x="2609" y="5964"/>
                    <a:pt x="2609" y="5964"/>
                  </a:cubicBezTo>
                  <a:cubicBezTo>
                    <a:pt x="2609" y="5935"/>
                    <a:pt x="2609" y="5935"/>
                    <a:pt x="2609" y="5935"/>
                  </a:cubicBezTo>
                  <a:cubicBezTo>
                    <a:pt x="2601" y="5906"/>
                    <a:pt x="2601" y="5876"/>
                    <a:pt x="2594" y="5862"/>
                  </a:cubicBezTo>
                  <a:cubicBezTo>
                    <a:pt x="2594" y="5840"/>
                    <a:pt x="2579" y="5833"/>
                    <a:pt x="2557" y="5818"/>
                  </a:cubicBezTo>
                  <a:cubicBezTo>
                    <a:pt x="2535" y="5803"/>
                    <a:pt x="2514" y="5788"/>
                    <a:pt x="2499" y="5766"/>
                  </a:cubicBezTo>
                  <a:cubicBezTo>
                    <a:pt x="2455" y="5715"/>
                    <a:pt x="2477" y="5686"/>
                    <a:pt x="2506" y="5642"/>
                  </a:cubicBezTo>
                  <a:cubicBezTo>
                    <a:pt x="2514" y="5635"/>
                    <a:pt x="2514" y="5627"/>
                    <a:pt x="2521" y="5620"/>
                  </a:cubicBezTo>
                  <a:cubicBezTo>
                    <a:pt x="2565" y="5561"/>
                    <a:pt x="2572" y="5547"/>
                    <a:pt x="2616" y="5517"/>
                  </a:cubicBezTo>
                  <a:cubicBezTo>
                    <a:pt x="2645" y="5495"/>
                    <a:pt x="2653" y="5495"/>
                    <a:pt x="2667" y="5488"/>
                  </a:cubicBezTo>
                  <a:cubicBezTo>
                    <a:pt x="2675" y="5488"/>
                    <a:pt x="2682" y="5488"/>
                    <a:pt x="2697" y="5473"/>
                  </a:cubicBezTo>
                  <a:cubicBezTo>
                    <a:pt x="2719" y="5444"/>
                    <a:pt x="2733" y="5385"/>
                    <a:pt x="2741" y="5334"/>
                  </a:cubicBezTo>
                  <a:cubicBezTo>
                    <a:pt x="2741" y="5319"/>
                    <a:pt x="2741" y="5319"/>
                    <a:pt x="2741" y="5319"/>
                  </a:cubicBezTo>
                  <a:cubicBezTo>
                    <a:pt x="2741" y="5297"/>
                    <a:pt x="2741" y="5283"/>
                    <a:pt x="2726" y="5268"/>
                  </a:cubicBezTo>
                  <a:cubicBezTo>
                    <a:pt x="2719" y="5254"/>
                    <a:pt x="2704" y="5254"/>
                    <a:pt x="2682" y="5254"/>
                  </a:cubicBezTo>
                  <a:lnTo>
                    <a:pt x="2675" y="5254"/>
                  </a:lnTo>
                  <a:cubicBezTo>
                    <a:pt x="2667" y="5254"/>
                    <a:pt x="2660" y="5254"/>
                    <a:pt x="2660" y="5254"/>
                  </a:cubicBezTo>
                  <a:cubicBezTo>
                    <a:pt x="2594" y="5254"/>
                    <a:pt x="2535" y="5195"/>
                    <a:pt x="2528" y="5166"/>
                  </a:cubicBezTo>
                  <a:cubicBezTo>
                    <a:pt x="2521" y="5136"/>
                    <a:pt x="2506" y="5100"/>
                    <a:pt x="2455" y="5048"/>
                  </a:cubicBezTo>
                  <a:cubicBezTo>
                    <a:pt x="2433" y="5026"/>
                    <a:pt x="2426" y="5012"/>
                    <a:pt x="2426" y="4990"/>
                  </a:cubicBezTo>
                  <a:cubicBezTo>
                    <a:pt x="2433" y="4961"/>
                    <a:pt x="2462" y="4946"/>
                    <a:pt x="2514" y="4924"/>
                  </a:cubicBezTo>
                  <a:cubicBezTo>
                    <a:pt x="2521" y="4924"/>
                    <a:pt x="2528" y="4916"/>
                    <a:pt x="2528" y="4916"/>
                  </a:cubicBezTo>
                  <a:cubicBezTo>
                    <a:pt x="2528" y="4902"/>
                    <a:pt x="2521" y="4880"/>
                    <a:pt x="2514" y="4858"/>
                  </a:cubicBezTo>
                  <a:cubicBezTo>
                    <a:pt x="2499" y="4828"/>
                    <a:pt x="2484" y="4799"/>
                    <a:pt x="2492" y="4770"/>
                  </a:cubicBezTo>
                  <a:cubicBezTo>
                    <a:pt x="2506" y="4748"/>
                    <a:pt x="2506" y="4748"/>
                    <a:pt x="2506" y="4748"/>
                  </a:cubicBezTo>
                  <a:cubicBezTo>
                    <a:pt x="2514" y="4711"/>
                    <a:pt x="2528" y="4682"/>
                    <a:pt x="2521" y="4653"/>
                  </a:cubicBezTo>
                  <a:cubicBezTo>
                    <a:pt x="2514" y="4623"/>
                    <a:pt x="2477" y="4594"/>
                    <a:pt x="2447" y="4594"/>
                  </a:cubicBezTo>
                  <a:lnTo>
                    <a:pt x="2440" y="4594"/>
                  </a:lnTo>
                  <a:cubicBezTo>
                    <a:pt x="2433" y="4602"/>
                    <a:pt x="2418" y="4602"/>
                    <a:pt x="2411" y="4602"/>
                  </a:cubicBezTo>
                  <a:cubicBezTo>
                    <a:pt x="2367" y="4602"/>
                    <a:pt x="2308" y="4572"/>
                    <a:pt x="2286" y="4528"/>
                  </a:cubicBezTo>
                  <a:cubicBezTo>
                    <a:pt x="2272" y="4514"/>
                    <a:pt x="2250" y="4484"/>
                    <a:pt x="2242" y="4484"/>
                  </a:cubicBezTo>
                  <a:cubicBezTo>
                    <a:pt x="2242" y="4484"/>
                    <a:pt x="2235" y="4484"/>
                    <a:pt x="2220" y="4506"/>
                  </a:cubicBezTo>
                  <a:cubicBezTo>
                    <a:pt x="2213" y="4521"/>
                    <a:pt x="2198" y="4528"/>
                    <a:pt x="2191" y="4528"/>
                  </a:cubicBezTo>
                  <a:cubicBezTo>
                    <a:pt x="2162" y="4528"/>
                    <a:pt x="2140" y="4506"/>
                    <a:pt x="2118" y="4477"/>
                  </a:cubicBezTo>
                  <a:cubicBezTo>
                    <a:pt x="2103" y="4462"/>
                    <a:pt x="2088" y="4447"/>
                    <a:pt x="2074" y="4440"/>
                  </a:cubicBezTo>
                  <a:cubicBezTo>
                    <a:pt x="2059" y="4433"/>
                    <a:pt x="2037" y="4411"/>
                    <a:pt x="2023" y="4396"/>
                  </a:cubicBezTo>
                  <a:cubicBezTo>
                    <a:pt x="2001" y="4374"/>
                    <a:pt x="1978" y="4345"/>
                    <a:pt x="1957" y="4345"/>
                  </a:cubicBezTo>
                  <a:cubicBezTo>
                    <a:pt x="1949" y="4338"/>
                    <a:pt x="1935" y="4338"/>
                    <a:pt x="1927" y="4338"/>
                  </a:cubicBezTo>
                  <a:cubicBezTo>
                    <a:pt x="1883" y="4338"/>
                    <a:pt x="1810" y="4352"/>
                    <a:pt x="1737" y="4389"/>
                  </a:cubicBezTo>
                  <a:cubicBezTo>
                    <a:pt x="1649" y="4433"/>
                    <a:pt x="1597" y="4462"/>
                    <a:pt x="1539" y="4492"/>
                  </a:cubicBezTo>
                  <a:cubicBezTo>
                    <a:pt x="1502" y="4514"/>
                    <a:pt x="1502" y="4514"/>
                    <a:pt x="1502" y="4514"/>
                  </a:cubicBezTo>
                  <a:cubicBezTo>
                    <a:pt x="1458" y="4543"/>
                    <a:pt x="1414" y="4565"/>
                    <a:pt x="1378" y="4572"/>
                  </a:cubicBezTo>
                  <a:cubicBezTo>
                    <a:pt x="1341" y="4579"/>
                    <a:pt x="1312" y="4594"/>
                    <a:pt x="1261" y="4631"/>
                  </a:cubicBezTo>
                  <a:cubicBezTo>
                    <a:pt x="1246" y="4638"/>
                    <a:pt x="1231" y="4638"/>
                    <a:pt x="1216" y="4638"/>
                  </a:cubicBezTo>
                  <a:cubicBezTo>
                    <a:pt x="1202" y="4638"/>
                    <a:pt x="1187" y="4638"/>
                    <a:pt x="1173" y="4631"/>
                  </a:cubicBezTo>
                  <a:cubicBezTo>
                    <a:pt x="1165" y="4631"/>
                    <a:pt x="1158" y="4631"/>
                    <a:pt x="1143" y="4631"/>
                  </a:cubicBezTo>
                  <a:cubicBezTo>
                    <a:pt x="1136" y="4631"/>
                    <a:pt x="1128" y="4631"/>
                    <a:pt x="1121" y="4645"/>
                  </a:cubicBezTo>
                  <a:cubicBezTo>
                    <a:pt x="1070" y="4697"/>
                    <a:pt x="1026" y="4711"/>
                    <a:pt x="997" y="4711"/>
                  </a:cubicBezTo>
                  <a:cubicBezTo>
                    <a:pt x="982" y="4711"/>
                    <a:pt x="967" y="4697"/>
                    <a:pt x="953" y="4682"/>
                  </a:cubicBezTo>
                  <a:cubicBezTo>
                    <a:pt x="938" y="4675"/>
                    <a:pt x="923" y="4653"/>
                    <a:pt x="894" y="4653"/>
                  </a:cubicBezTo>
                  <a:cubicBezTo>
                    <a:pt x="894" y="4653"/>
                    <a:pt x="894" y="4653"/>
                    <a:pt x="887" y="4660"/>
                  </a:cubicBezTo>
                  <a:cubicBezTo>
                    <a:pt x="879" y="4660"/>
                    <a:pt x="872" y="4660"/>
                    <a:pt x="857" y="4660"/>
                  </a:cubicBezTo>
                  <a:cubicBezTo>
                    <a:pt x="792" y="4660"/>
                    <a:pt x="696" y="4638"/>
                    <a:pt x="623" y="4602"/>
                  </a:cubicBezTo>
                  <a:cubicBezTo>
                    <a:pt x="616" y="4602"/>
                    <a:pt x="601" y="4602"/>
                    <a:pt x="594" y="4602"/>
                  </a:cubicBezTo>
                  <a:cubicBezTo>
                    <a:pt x="572" y="4602"/>
                    <a:pt x="542" y="4609"/>
                    <a:pt x="513" y="4631"/>
                  </a:cubicBezTo>
                  <a:cubicBezTo>
                    <a:pt x="476" y="4653"/>
                    <a:pt x="476" y="4653"/>
                    <a:pt x="476" y="4653"/>
                  </a:cubicBezTo>
                  <a:cubicBezTo>
                    <a:pt x="491" y="4616"/>
                    <a:pt x="491" y="4616"/>
                    <a:pt x="491" y="4616"/>
                  </a:cubicBezTo>
                  <a:cubicBezTo>
                    <a:pt x="491" y="4594"/>
                    <a:pt x="498" y="4579"/>
                    <a:pt x="506" y="4557"/>
                  </a:cubicBezTo>
                  <a:cubicBezTo>
                    <a:pt x="513" y="4543"/>
                    <a:pt x="520" y="4521"/>
                    <a:pt x="528" y="4506"/>
                  </a:cubicBezTo>
                  <a:cubicBezTo>
                    <a:pt x="535" y="4440"/>
                    <a:pt x="579" y="4396"/>
                    <a:pt x="630" y="4338"/>
                  </a:cubicBezTo>
                  <a:cubicBezTo>
                    <a:pt x="674" y="4301"/>
                    <a:pt x="674" y="4272"/>
                    <a:pt x="674" y="4228"/>
                  </a:cubicBezTo>
                  <a:cubicBezTo>
                    <a:pt x="682" y="4213"/>
                    <a:pt x="682" y="4198"/>
                    <a:pt x="682" y="4176"/>
                  </a:cubicBezTo>
                  <a:cubicBezTo>
                    <a:pt x="696" y="4103"/>
                    <a:pt x="726" y="4088"/>
                    <a:pt x="777" y="4066"/>
                  </a:cubicBezTo>
                  <a:cubicBezTo>
                    <a:pt x="784" y="4059"/>
                    <a:pt x="799" y="4052"/>
                    <a:pt x="813" y="4045"/>
                  </a:cubicBezTo>
                  <a:cubicBezTo>
                    <a:pt x="850" y="4023"/>
                    <a:pt x="850" y="3986"/>
                    <a:pt x="850" y="3927"/>
                  </a:cubicBezTo>
                  <a:cubicBezTo>
                    <a:pt x="850" y="3891"/>
                    <a:pt x="850" y="3854"/>
                    <a:pt x="865" y="3825"/>
                  </a:cubicBezTo>
                  <a:cubicBezTo>
                    <a:pt x="872" y="3795"/>
                    <a:pt x="879" y="3781"/>
                    <a:pt x="865" y="3766"/>
                  </a:cubicBezTo>
                  <a:cubicBezTo>
                    <a:pt x="850" y="3744"/>
                    <a:pt x="821" y="3729"/>
                    <a:pt x="777" y="3729"/>
                  </a:cubicBezTo>
                  <a:cubicBezTo>
                    <a:pt x="696" y="3729"/>
                    <a:pt x="616" y="3700"/>
                    <a:pt x="616" y="3627"/>
                  </a:cubicBezTo>
                  <a:cubicBezTo>
                    <a:pt x="616" y="3576"/>
                    <a:pt x="608" y="3576"/>
                    <a:pt x="594" y="3576"/>
                  </a:cubicBezTo>
                  <a:cubicBezTo>
                    <a:pt x="579" y="3576"/>
                    <a:pt x="564" y="3583"/>
                    <a:pt x="542" y="3583"/>
                  </a:cubicBezTo>
                  <a:cubicBezTo>
                    <a:pt x="535" y="3583"/>
                    <a:pt x="528" y="3583"/>
                    <a:pt x="520" y="3583"/>
                  </a:cubicBezTo>
                  <a:cubicBezTo>
                    <a:pt x="476" y="3583"/>
                    <a:pt x="447" y="3554"/>
                    <a:pt x="418" y="3532"/>
                  </a:cubicBezTo>
                  <a:cubicBezTo>
                    <a:pt x="403" y="3517"/>
                    <a:pt x="388" y="3502"/>
                    <a:pt x="374" y="3488"/>
                  </a:cubicBezTo>
                  <a:cubicBezTo>
                    <a:pt x="301" y="3451"/>
                    <a:pt x="264" y="3378"/>
                    <a:pt x="249" y="3283"/>
                  </a:cubicBezTo>
                  <a:cubicBezTo>
                    <a:pt x="242" y="3209"/>
                    <a:pt x="220" y="3195"/>
                    <a:pt x="183" y="3165"/>
                  </a:cubicBezTo>
                  <a:cubicBezTo>
                    <a:pt x="176" y="3158"/>
                    <a:pt x="161" y="3143"/>
                    <a:pt x="154" y="3136"/>
                  </a:cubicBezTo>
                  <a:cubicBezTo>
                    <a:pt x="125" y="3107"/>
                    <a:pt x="110" y="3055"/>
                    <a:pt x="88" y="3004"/>
                  </a:cubicBezTo>
                  <a:cubicBezTo>
                    <a:pt x="73" y="2967"/>
                    <a:pt x="59" y="2931"/>
                    <a:pt x="37" y="2894"/>
                  </a:cubicBezTo>
                  <a:cubicBezTo>
                    <a:pt x="0" y="2828"/>
                    <a:pt x="29" y="2762"/>
                    <a:pt x="66" y="2689"/>
                  </a:cubicBezTo>
                  <a:cubicBezTo>
                    <a:pt x="73" y="2660"/>
                    <a:pt x="88" y="2638"/>
                    <a:pt x="95" y="2608"/>
                  </a:cubicBezTo>
                  <a:cubicBezTo>
                    <a:pt x="110" y="2572"/>
                    <a:pt x="110" y="2550"/>
                    <a:pt x="110" y="2535"/>
                  </a:cubicBezTo>
                  <a:cubicBezTo>
                    <a:pt x="117" y="2506"/>
                    <a:pt x="117" y="2498"/>
                    <a:pt x="154" y="2469"/>
                  </a:cubicBezTo>
                  <a:cubicBezTo>
                    <a:pt x="176" y="2447"/>
                    <a:pt x="191" y="2447"/>
                    <a:pt x="205" y="2440"/>
                  </a:cubicBezTo>
                  <a:cubicBezTo>
                    <a:pt x="205" y="2440"/>
                    <a:pt x="213" y="2440"/>
                    <a:pt x="213" y="2433"/>
                  </a:cubicBezTo>
                  <a:cubicBezTo>
                    <a:pt x="213" y="2433"/>
                    <a:pt x="198" y="2418"/>
                    <a:pt x="198" y="2403"/>
                  </a:cubicBezTo>
                  <a:cubicBezTo>
                    <a:pt x="161" y="2330"/>
                    <a:pt x="198" y="2257"/>
                    <a:pt x="249" y="2220"/>
                  </a:cubicBezTo>
                  <a:cubicBezTo>
                    <a:pt x="264" y="2205"/>
                    <a:pt x="286" y="2198"/>
                    <a:pt x="315" y="2191"/>
                  </a:cubicBezTo>
                  <a:cubicBezTo>
                    <a:pt x="359" y="2176"/>
                    <a:pt x="403" y="2154"/>
                    <a:pt x="425" y="2110"/>
                  </a:cubicBezTo>
                  <a:cubicBezTo>
                    <a:pt x="447" y="2051"/>
                    <a:pt x="484" y="2015"/>
                    <a:pt x="528" y="2015"/>
                  </a:cubicBezTo>
                  <a:cubicBezTo>
                    <a:pt x="542" y="2015"/>
                    <a:pt x="564" y="2022"/>
                    <a:pt x="579" y="2037"/>
                  </a:cubicBezTo>
                  <a:cubicBezTo>
                    <a:pt x="594" y="2044"/>
                    <a:pt x="601" y="2044"/>
                    <a:pt x="608" y="2044"/>
                  </a:cubicBezTo>
                  <a:cubicBezTo>
                    <a:pt x="637" y="2044"/>
                    <a:pt x="660" y="2015"/>
                    <a:pt x="696" y="1978"/>
                  </a:cubicBezTo>
                  <a:cubicBezTo>
                    <a:pt x="704" y="1964"/>
                    <a:pt x="704" y="1956"/>
                    <a:pt x="704" y="1949"/>
                  </a:cubicBezTo>
                  <a:cubicBezTo>
                    <a:pt x="704" y="1942"/>
                    <a:pt x="689" y="1927"/>
                    <a:pt x="674" y="1919"/>
                  </a:cubicBezTo>
                  <a:cubicBezTo>
                    <a:pt x="667" y="1912"/>
                    <a:pt x="652" y="1905"/>
                    <a:pt x="645" y="1897"/>
                  </a:cubicBezTo>
                  <a:cubicBezTo>
                    <a:pt x="637" y="1890"/>
                    <a:pt x="637" y="1890"/>
                    <a:pt x="637" y="1890"/>
                  </a:cubicBezTo>
                  <a:cubicBezTo>
                    <a:pt x="645" y="1868"/>
                    <a:pt x="645" y="1868"/>
                    <a:pt x="645" y="1868"/>
                  </a:cubicBezTo>
                  <a:cubicBezTo>
                    <a:pt x="652" y="1832"/>
                    <a:pt x="660" y="1795"/>
                    <a:pt x="696" y="1788"/>
                  </a:cubicBezTo>
                  <a:cubicBezTo>
                    <a:pt x="704" y="1788"/>
                    <a:pt x="711" y="1788"/>
                    <a:pt x="718" y="1788"/>
                  </a:cubicBezTo>
                  <a:cubicBezTo>
                    <a:pt x="755" y="1788"/>
                    <a:pt x="777" y="1810"/>
                    <a:pt x="799" y="1846"/>
                  </a:cubicBezTo>
                  <a:cubicBezTo>
                    <a:pt x="799" y="1854"/>
                    <a:pt x="806" y="1868"/>
                    <a:pt x="813" y="1883"/>
                  </a:cubicBezTo>
                  <a:cubicBezTo>
                    <a:pt x="828" y="1912"/>
                    <a:pt x="843" y="1949"/>
                    <a:pt x="857" y="1949"/>
                  </a:cubicBezTo>
                  <a:cubicBezTo>
                    <a:pt x="872" y="1949"/>
                    <a:pt x="879" y="1942"/>
                    <a:pt x="894" y="1927"/>
                  </a:cubicBezTo>
                  <a:cubicBezTo>
                    <a:pt x="960" y="1854"/>
                    <a:pt x="989" y="1832"/>
                    <a:pt x="1048" y="1810"/>
                  </a:cubicBezTo>
                  <a:cubicBezTo>
                    <a:pt x="1063" y="1810"/>
                    <a:pt x="1070" y="1810"/>
                    <a:pt x="1077" y="1810"/>
                  </a:cubicBezTo>
                  <a:cubicBezTo>
                    <a:pt x="1136" y="1810"/>
                    <a:pt x="1180" y="1861"/>
                    <a:pt x="1195" y="1883"/>
                  </a:cubicBezTo>
                  <a:cubicBezTo>
                    <a:pt x="1209" y="1905"/>
                    <a:pt x="1224" y="1912"/>
                    <a:pt x="1238" y="1912"/>
                  </a:cubicBezTo>
                  <a:cubicBezTo>
                    <a:pt x="1246" y="1912"/>
                    <a:pt x="1253" y="1912"/>
                    <a:pt x="1253" y="1897"/>
                  </a:cubicBezTo>
                  <a:cubicBezTo>
                    <a:pt x="1261" y="1876"/>
                    <a:pt x="1268" y="1876"/>
                    <a:pt x="1275" y="1876"/>
                  </a:cubicBezTo>
                  <a:cubicBezTo>
                    <a:pt x="1290" y="1876"/>
                    <a:pt x="1304" y="1890"/>
                    <a:pt x="1319" y="1905"/>
                  </a:cubicBezTo>
                  <a:cubicBezTo>
                    <a:pt x="1326" y="1912"/>
                    <a:pt x="1334" y="1919"/>
                    <a:pt x="1341" y="1927"/>
                  </a:cubicBezTo>
                  <a:cubicBezTo>
                    <a:pt x="1348" y="1934"/>
                    <a:pt x="1356" y="1942"/>
                    <a:pt x="1370" y="1942"/>
                  </a:cubicBezTo>
                  <a:cubicBezTo>
                    <a:pt x="1400" y="1942"/>
                    <a:pt x="1422" y="1927"/>
                    <a:pt x="1444" y="1919"/>
                  </a:cubicBezTo>
                  <a:cubicBezTo>
                    <a:pt x="1480" y="1897"/>
                    <a:pt x="1488" y="1868"/>
                    <a:pt x="1480" y="1832"/>
                  </a:cubicBezTo>
                  <a:cubicBezTo>
                    <a:pt x="1480" y="1810"/>
                    <a:pt x="1488" y="1780"/>
                    <a:pt x="1502" y="1766"/>
                  </a:cubicBezTo>
                  <a:cubicBezTo>
                    <a:pt x="1517" y="1736"/>
                    <a:pt x="1524" y="1729"/>
                    <a:pt x="1510" y="1722"/>
                  </a:cubicBezTo>
                  <a:cubicBezTo>
                    <a:pt x="1502" y="1707"/>
                    <a:pt x="1495" y="1707"/>
                    <a:pt x="1480" y="1700"/>
                  </a:cubicBezTo>
                  <a:cubicBezTo>
                    <a:pt x="1458" y="1685"/>
                    <a:pt x="1436" y="1670"/>
                    <a:pt x="1436" y="1626"/>
                  </a:cubicBezTo>
                  <a:cubicBezTo>
                    <a:pt x="1436" y="1612"/>
                    <a:pt x="1436" y="1604"/>
                    <a:pt x="1436" y="1597"/>
                  </a:cubicBezTo>
                  <a:cubicBezTo>
                    <a:pt x="1436" y="1560"/>
                    <a:pt x="1436" y="1531"/>
                    <a:pt x="1480" y="1495"/>
                  </a:cubicBezTo>
                  <a:cubicBezTo>
                    <a:pt x="1488" y="1480"/>
                    <a:pt x="1502" y="1473"/>
                    <a:pt x="1517" y="1473"/>
                  </a:cubicBezTo>
                  <a:cubicBezTo>
                    <a:pt x="1546" y="1473"/>
                    <a:pt x="1568" y="1502"/>
                    <a:pt x="1590" y="1524"/>
                  </a:cubicBezTo>
                  <a:cubicBezTo>
                    <a:pt x="1590" y="1524"/>
                    <a:pt x="1597" y="1531"/>
                    <a:pt x="1605" y="1538"/>
                  </a:cubicBezTo>
                  <a:cubicBezTo>
                    <a:pt x="1619" y="1553"/>
                    <a:pt x="1649" y="1583"/>
                    <a:pt x="1678" y="1583"/>
                  </a:cubicBezTo>
                  <a:cubicBezTo>
                    <a:pt x="1693" y="1583"/>
                    <a:pt x="1700" y="1583"/>
                    <a:pt x="1707" y="1568"/>
                  </a:cubicBezTo>
                  <a:cubicBezTo>
                    <a:pt x="1751" y="1516"/>
                    <a:pt x="1766" y="1473"/>
                    <a:pt x="1759" y="1451"/>
                  </a:cubicBezTo>
                  <a:cubicBezTo>
                    <a:pt x="1744" y="1428"/>
                    <a:pt x="1737" y="1392"/>
                    <a:pt x="1751" y="1363"/>
                  </a:cubicBezTo>
                  <a:cubicBezTo>
                    <a:pt x="1759" y="1341"/>
                    <a:pt x="1781" y="1333"/>
                    <a:pt x="1803" y="1326"/>
                  </a:cubicBezTo>
                  <a:cubicBezTo>
                    <a:pt x="1832" y="1326"/>
                    <a:pt x="1832" y="1319"/>
                    <a:pt x="1832" y="1289"/>
                  </a:cubicBezTo>
                  <a:cubicBezTo>
                    <a:pt x="1839" y="1282"/>
                    <a:pt x="1839" y="1282"/>
                    <a:pt x="1839" y="1275"/>
                  </a:cubicBezTo>
                  <a:cubicBezTo>
                    <a:pt x="1847" y="1238"/>
                    <a:pt x="1898" y="1231"/>
                    <a:pt x="1942" y="1231"/>
                  </a:cubicBezTo>
                  <a:cubicBezTo>
                    <a:pt x="1957" y="1231"/>
                    <a:pt x="1971" y="1231"/>
                    <a:pt x="1978" y="1223"/>
                  </a:cubicBezTo>
                  <a:cubicBezTo>
                    <a:pt x="1986" y="1223"/>
                    <a:pt x="1993" y="1216"/>
                    <a:pt x="2008" y="1194"/>
                  </a:cubicBezTo>
                  <a:cubicBezTo>
                    <a:pt x="2015" y="1179"/>
                    <a:pt x="2023" y="1165"/>
                    <a:pt x="2037" y="1143"/>
                  </a:cubicBezTo>
                  <a:cubicBezTo>
                    <a:pt x="2052" y="1128"/>
                    <a:pt x="2066" y="1121"/>
                    <a:pt x="2088" y="1121"/>
                  </a:cubicBezTo>
                  <a:cubicBezTo>
                    <a:pt x="2103" y="1121"/>
                    <a:pt x="2125" y="1128"/>
                    <a:pt x="2140" y="1135"/>
                  </a:cubicBezTo>
                  <a:cubicBezTo>
                    <a:pt x="2154" y="1135"/>
                    <a:pt x="2169" y="1143"/>
                    <a:pt x="2176" y="1143"/>
                  </a:cubicBezTo>
                  <a:cubicBezTo>
                    <a:pt x="2213" y="1143"/>
                    <a:pt x="2242" y="1128"/>
                    <a:pt x="2286" y="1092"/>
                  </a:cubicBezTo>
                  <a:cubicBezTo>
                    <a:pt x="2301" y="1084"/>
                    <a:pt x="2308" y="1077"/>
                    <a:pt x="2323" y="1062"/>
                  </a:cubicBezTo>
                  <a:cubicBezTo>
                    <a:pt x="2360" y="1033"/>
                    <a:pt x="2396" y="996"/>
                    <a:pt x="2433" y="996"/>
                  </a:cubicBezTo>
                  <a:cubicBezTo>
                    <a:pt x="2455" y="996"/>
                    <a:pt x="2477" y="1011"/>
                    <a:pt x="2499" y="1018"/>
                  </a:cubicBezTo>
                  <a:cubicBezTo>
                    <a:pt x="2521" y="1033"/>
                    <a:pt x="2543" y="1047"/>
                    <a:pt x="2565" y="1047"/>
                  </a:cubicBezTo>
                  <a:cubicBezTo>
                    <a:pt x="2572" y="1047"/>
                    <a:pt x="2572" y="1040"/>
                    <a:pt x="2579" y="1040"/>
                  </a:cubicBezTo>
                  <a:cubicBezTo>
                    <a:pt x="2594" y="1033"/>
                    <a:pt x="2609" y="1026"/>
                    <a:pt x="2631" y="1011"/>
                  </a:cubicBezTo>
                  <a:cubicBezTo>
                    <a:pt x="2660" y="996"/>
                    <a:pt x="2704" y="982"/>
                    <a:pt x="2719" y="960"/>
                  </a:cubicBezTo>
                  <a:cubicBezTo>
                    <a:pt x="2733" y="938"/>
                    <a:pt x="2741" y="930"/>
                    <a:pt x="2748" y="908"/>
                  </a:cubicBezTo>
                  <a:cubicBezTo>
                    <a:pt x="2755" y="894"/>
                    <a:pt x="2763" y="879"/>
                    <a:pt x="2777" y="857"/>
                  </a:cubicBezTo>
                  <a:cubicBezTo>
                    <a:pt x="2814" y="798"/>
                    <a:pt x="2880" y="762"/>
                    <a:pt x="2924" y="747"/>
                  </a:cubicBezTo>
                  <a:cubicBezTo>
                    <a:pt x="2931" y="747"/>
                    <a:pt x="2938" y="747"/>
                    <a:pt x="2953" y="747"/>
                  </a:cubicBezTo>
                  <a:cubicBezTo>
                    <a:pt x="2983" y="740"/>
                    <a:pt x="3026" y="733"/>
                    <a:pt x="3070" y="703"/>
                  </a:cubicBezTo>
                  <a:cubicBezTo>
                    <a:pt x="3078" y="696"/>
                    <a:pt x="3092" y="688"/>
                    <a:pt x="3100" y="681"/>
                  </a:cubicBezTo>
                  <a:cubicBezTo>
                    <a:pt x="3129" y="659"/>
                    <a:pt x="3151" y="637"/>
                    <a:pt x="3173" y="637"/>
                  </a:cubicBezTo>
                  <a:cubicBezTo>
                    <a:pt x="3180" y="637"/>
                    <a:pt x="3202" y="645"/>
                    <a:pt x="3202" y="666"/>
                  </a:cubicBezTo>
                  <a:cubicBezTo>
                    <a:pt x="3202" y="674"/>
                    <a:pt x="3209" y="674"/>
                    <a:pt x="3209" y="674"/>
                  </a:cubicBezTo>
                  <a:cubicBezTo>
                    <a:pt x="3209" y="674"/>
                    <a:pt x="3232" y="659"/>
                    <a:pt x="3232" y="637"/>
                  </a:cubicBezTo>
                  <a:cubicBezTo>
                    <a:pt x="3239" y="593"/>
                    <a:pt x="3268" y="593"/>
                    <a:pt x="3297" y="586"/>
                  </a:cubicBezTo>
                  <a:cubicBezTo>
                    <a:pt x="3312" y="586"/>
                    <a:pt x="3334" y="586"/>
                    <a:pt x="3356" y="578"/>
                  </a:cubicBezTo>
                  <a:cubicBezTo>
                    <a:pt x="3378" y="578"/>
                    <a:pt x="3385" y="571"/>
                    <a:pt x="3393" y="571"/>
                  </a:cubicBezTo>
                  <a:lnTo>
                    <a:pt x="3393" y="571"/>
                  </a:lnTo>
                  <a:cubicBezTo>
                    <a:pt x="3400" y="564"/>
                    <a:pt x="3400" y="557"/>
                    <a:pt x="3407" y="542"/>
                  </a:cubicBezTo>
                  <a:cubicBezTo>
                    <a:pt x="3407" y="527"/>
                    <a:pt x="3407" y="513"/>
                    <a:pt x="3415" y="505"/>
                  </a:cubicBezTo>
                  <a:cubicBezTo>
                    <a:pt x="3422" y="469"/>
                    <a:pt x="3429" y="439"/>
                    <a:pt x="3459" y="410"/>
                  </a:cubicBezTo>
                  <a:cubicBezTo>
                    <a:pt x="3481" y="381"/>
                    <a:pt x="3503" y="359"/>
                    <a:pt x="3525" y="344"/>
                  </a:cubicBezTo>
                  <a:cubicBezTo>
                    <a:pt x="3539" y="337"/>
                    <a:pt x="3554" y="329"/>
                    <a:pt x="3561" y="322"/>
                  </a:cubicBezTo>
                  <a:cubicBezTo>
                    <a:pt x="3576" y="307"/>
                    <a:pt x="3583" y="271"/>
                    <a:pt x="3583" y="242"/>
                  </a:cubicBezTo>
                  <a:cubicBezTo>
                    <a:pt x="3583" y="227"/>
                    <a:pt x="3591" y="212"/>
                    <a:pt x="3591" y="197"/>
                  </a:cubicBezTo>
                  <a:cubicBezTo>
                    <a:pt x="3591" y="190"/>
                    <a:pt x="3591" y="176"/>
                    <a:pt x="3591" y="168"/>
                  </a:cubicBezTo>
                  <a:cubicBezTo>
                    <a:pt x="3591" y="124"/>
                    <a:pt x="3591" y="80"/>
                    <a:pt x="3642" y="44"/>
                  </a:cubicBezTo>
                  <a:cubicBezTo>
                    <a:pt x="3686" y="14"/>
                    <a:pt x="3715" y="0"/>
                    <a:pt x="3737" y="0"/>
                  </a:cubicBezTo>
                  <a:cubicBezTo>
                    <a:pt x="3759" y="0"/>
                    <a:pt x="3774" y="7"/>
                    <a:pt x="3788" y="22"/>
                  </a:cubicBezTo>
                  <a:cubicBezTo>
                    <a:pt x="3818" y="66"/>
                    <a:pt x="3818" y="124"/>
                    <a:pt x="3788" y="168"/>
                  </a:cubicBezTo>
                  <a:cubicBezTo>
                    <a:pt x="3781" y="176"/>
                    <a:pt x="3781" y="183"/>
                    <a:pt x="3788" y="183"/>
                  </a:cubicBezTo>
                  <a:cubicBezTo>
                    <a:pt x="3788" y="205"/>
                    <a:pt x="3825" y="219"/>
                    <a:pt x="3847" y="227"/>
                  </a:cubicBezTo>
                  <a:cubicBezTo>
                    <a:pt x="3847" y="234"/>
                    <a:pt x="3847" y="234"/>
                    <a:pt x="3847" y="234"/>
                  </a:cubicBezTo>
                  <a:cubicBezTo>
                    <a:pt x="3884" y="249"/>
                    <a:pt x="3913" y="278"/>
                    <a:pt x="3935" y="315"/>
                  </a:cubicBezTo>
                  <a:cubicBezTo>
                    <a:pt x="3942" y="329"/>
                    <a:pt x="3964" y="337"/>
                    <a:pt x="3979" y="337"/>
                  </a:cubicBezTo>
                  <a:cubicBezTo>
                    <a:pt x="3986" y="337"/>
                    <a:pt x="3994" y="337"/>
                    <a:pt x="3994" y="337"/>
                  </a:cubicBezTo>
                  <a:cubicBezTo>
                    <a:pt x="4008" y="337"/>
                    <a:pt x="4067" y="344"/>
                    <a:pt x="4082" y="388"/>
                  </a:cubicBezTo>
                  <a:cubicBezTo>
                    <a:pt x="4089" y="417"/>
                    <a:pt x="4074" y="461"/>
                    <a:pt x="4059" y="491"/>
                  </a:cubicBezTo>
                  <a:cubicBezTo>
                    <a:pt x="4059" y="498"/>
                    <a:pt x="4052" y="498"/>
                    <a:pt x="4052" y="505"/>
                  </a:cubicBezTo>
                  <a:cubicBezTo>
                    <a:pt x="4045" y="527"/>
                    <a:pt x="4045" y="593"/>
                    <a:pt x="4067" y="608"/>
                  </a:cubicBezTo>
                  <a:cubicBezTo>
                    <a:pt x="4074" y="623"/>
                    <a:pt x="4089" y="630"/>
                    <a:pt x="4104" y="637"/>
                  </a:cubicBezTo>
                  <a:cubicBezTo>
                    <a:pt x="4118" y="652"/>
                    <a:pt x="4147" y="674"/>
                    <a:pt x="4162" y="696"/>
                  </a:cubicBezTo>
                  <a:cubicBezTo>
                    <a:pt x="4169" y="703"/>
                    <a:pt x="4177" y="718"/>
                    <a:pt x="4191" y="725"/>
                  </a:cubicBezTo>
                  <a:cubicBezTo>
                    <a:pt x="4214" y="740"/>
                    <a:pt x="4243" y="762"/>
                    <a:pt x="4235" y="798"/>
                  </a:cubicBezTo>
                  <a:cubicBezTo>
                    <a:pt x="4228" y="806"/>
                    <a:pt x="4228" y="820"/>
                    <a:pt x="4235" y="820"/>
                  </a:cubicBezTo>
                  <a:cubicBezTo>
                    <a:pt x="4235" y="828"/>
                    <a:pt x="4250" y="828"/>
                    <a:pt x="4257" y="828"/>
                  </a:cubicBezTo>
                  <a:cubicBezTo>
                    <a:pt x="4265" y="828"/>
                    <a:pt x="4272" y="828"/>
                    <a:pt x="4279" y="828"/>
                  </a:cubicBezTo>
                  <a:cubicBezTo>
                    <a:pt x="4287" y="828"/>
                    <a:pt x="4294" y="820"/>
                    <a:pt x="4301" y="820"/>
                  </a:cubicBezTo>
                  <a:cubicBezTo>
                    <a:pt x="4316" y="820"/>
                    <a:pt x="4331" y="813"/>
                    <a:pt x="4338" y="813"/>
                  </a:cubicBezTo>
                  <a:cubicBezTo>
                    <a:pt x="4353" y="813"/>
                    <a:pt x="4375" y="820"/>
                    <a:pt x="4375" y="850"/>
                  </a:cubicBezTo>
                  <a:lnTo>
                    <a:pt x="4375" y="850"/>
                  </a:lnTo>
                  <a:lnTo>
                    <a:pt x="4375" y="857"/>
                  </a:lnTo>
                  <a:cubicBezTo>
                    <a:pt x="4375" y="908"/>
                    <a:pt x="4375" y="908"/>
                    <a:pt x="4375" y="908"/>
                  </a:cubicBezTo>
                  <a:cubicBezTo>
                    <a:pt x="4375" y="945"/>
                    <a:pt x="4382" y="982"/>
                    <a:pt x="4404" y="1018"/>
                  </a:cubicBezTo>
                  <a:cubicBezTo>
                    <a:pt x="4433" y="1077"/>
                    <a:pt x="4477" y="1187"/>
                    <a:pt x="4433" y="1260"/>
                  </a:cubicBezTo>
                  <a:cubicBezTo>
                    <a:pt x="4426" y="1267"/>
                    <a:pt x="4419" y="1282"/>
                    <a:pt x="4411" y="1297"/>
                  </a:cubicBezTo>
                  <a:cubicBezTo>
                    <a:pt x="4382" y="1355"/>
                    <a:pt x="4360" y="1407"/>
                    <a:pt x="4316" y="1407"/>
                  </a:cubicBezTo>
                  <a:cubicBezTo>
                    <a:pt x="4309" y="1407"/>
                    <a:pt x="4309" y="1407"/>
                    <a:pt x="4309" y="1407"/>
                  </a:cubicBezTo>
                  <a:cubicBezTo>
                    <a:pt x="4279" y="1407"/>
                    <a:pt x="4265" y="1385"/>
                    <a:pt x="4250" y="1370"/>
                  </a:cubicBezTo>
                  <a:cubicBezTo>
                    <a:pt x="4243" y="1355"/>
                    <a:pt x="4228" y="1341"/>
                    <a:pt x="4214" y="1341"/>
                  </a:cubicBezTo>
                  <a:lnTo>
                    <a:pt x="4206" y="1341"/>
                  </a:lnTo>
                  <a:cubicBezTo>
                    <a:pt x="4177" y="1341"/>
                    <a:pt x="4155" y="1363"/>
                    <a:pt x="4140" y="1392"/>
                  </a:cubicBezTo>
                  <a:cubicBezTo>
                    <a:pt x="4133" y="1407"/>
                    <a:pt x="4118" y="1414"/>
                    <a:pt x="4111" y="1421"/>
                  </a:cubicBezTo>
                  <a:cubicBezTo>
                    <a:pt x="4089" y="1451"/>
                    <a:pt x="4067" y="1473"/>
                    <a:pt x="4074" y="1502"/>
                  </a:cubicBezTo>
                  <a:cubicBezTo>
                    <a:pt x="4074" y="1516"/>
                    <a:pt x="4082" y="1538"/>
                    <a:pt x="4089" y="1553"/>
                  </a:cubicBezTo>
                  <a:cubicBezTo>
                    <a:pt x="4096" y="1583"/>
                    <a:pt x="4111" y="1619"/>
                    <a:pt x="4104" y="1648"/>
                  </a:cubicBezTo>
                  <a:cubicBezTo>
                    <a:pt x="4104" y="1663"/>
                    <a:pt x="4104" y="1670"/>
                    <a:pt x="4104" y="1678"/>
                  </a:cubicBezTo>
                  <a:cubicBezTo>
                    <a:pt x="4096" y="1714"/>
                    <a:pt x="4096" y="1736"/>
                    <a:pt x="4059" y="1773"/>
                  </a:cubicBezTo>
                  <a:cubicBezTo>
                    <a:pt x="4045" y="1780"/>
                    <a:pt x="4045" y="1780"/>
                    <a:pt x="4045" y="1780"/>
                  </a:cubicBezTo>
                  <a:cubicBezTo>
                    <a:pt x="4038" y="1788"/>
                    <a:pt x="4023" y="1802"/>
                    <a:pt x="4023" y="1810"/>
                  </a:cubicBezTo>
                  <a:lnTo>
                    <a:pt x="4023" y="1810"/>
                  </a:lnTo>
                  <a:cubicBezTo>
                    <a:pt x="4030" y="1810"/>
                    <a:pt x="4038" y="1810"/>
                    <a:pt x="4059" y="1810"/>
                  </a:cubicBezTo>
                  <a:cubicBezTo>
                    <a:pt x="4133" y="1824"/>
                    <a:pt x="4169" y="1861"/>
                    <a:pt x="4199" y="1890"/>
                  </a:cubicBezTo>
                  <a:cubicBezTo>
                    <a:pt x="4214" y="1905"/>
                    <a:pt x="4214" y="1905"/>
                    <a:pt x="4214" y="1905"/>
                  </a:cubicBezTo>
                  <a:cubicBezTo>
                    <a:pt x="4235" y="1927"/>
                    <a:pt x="4243" y="1949"/>
                    <a:pt x="4250" y="1971"/>
                  </a:cubicBezTo>
                  <a:cubicBezTo>
                    <a:pt x="4250" y="1985"/>
                    <a:pt x="4250" y="1993"/>
                    <a:pt x="4257" y="2007"/>
                  </a:cubicBezTo>
                  <a:cubicBezTo>
                    <a:pt x="4265" y="2029"/>
                    <a:pt x="4272" y="2037"/>
                    <a:pt x="4287" y="2051"/>
                  </a:cubicBezTo>
                  <a:cubicBezTo>
                    <a:pt x="4294" y="2059"/>
                    <a:pt x="4301" y="2066"/>
                    <a:pt x="4316" y="2081"/>
                  </a:cubicBezTo>
                  <a:cubicBezTo>
                    <a:pt x="4345" y="2125"/>
                    <a:pt x="4360" y="2183"/>
                    <a:pt x="4353" y="2227"/>
                  </a:cubicBezTo>
                  <a:cubicBezTo>
                    <a:pt x="4345" y="2249"/>
                    <a:pt x="4338" y="2315"/>
                    <a:pt x="4294" y="2315"/>
                  </a:cubicBezTo>
                  <a:cubicBezTo>
                    <a:pt x="4279" y="2315"/>
                    <a:pt x="4265" y="2308"/>
                    <a:pt x="4250" y="2301"/>
                  </a:cubicBezTo>
                  <a:cubicBezTo>
                    <a:pt x="4235" y="2286"/>
                    <a:pt x="4214" y="2286"/>
                    <a:pt x="4206" y="2286"/>
                  </a:cubicBezTo>
                  <a:cubicBezTo>
                    <a:pt x="4184" y="2286"/>
                    <a:pt x="4162" y="2293"/>
                    <a:pt x="4155" y="2301"/>
                  </a:cubicBezTo>
                  <a:cubicBezTo>
                    <a:pt x="4155" y="2308"/>
                    <a:pt x="4155" y="2308"/>
                    <a:pt x="4155" y="2308"/>
                  </a:cubicBezTo>
                  <a:cubicBezTo>
                    <a:pt x="4155" y="2315"/>
                    <a:pt x="4162" y="2315"/>
                    <a:pt x="4177" y="2323"/>
                  </a:cubicBezTo>
                  <a:cubicBezTo>
                    <a:pt x="4191" y="2323"/>
                    <a:pt x="4221" y="2330"/>
                    <a:pt x="4221" y="2359"/>
                  </a:cubicBezTo>
                  <a:cubicBezTo>
                    <a:pt x="4228" y="2388"/>
                    <a:pt x="4221" y="2425"/>
                    <a:pt x="4206" y="2440"/>
                  </a:cubicBezTo>
                  <a:cubicBezTo>
                    <a:pt x="4191" y="2454"/>
                    <a:pt x="4177" y="2462"/>
                    <a:pt x="4162" y="2462"/>
                  </a:cubicBezTo>
                  <a:cubicBezTo>
                    <a:pt x="4147" y="2462"/>
                    <a:pt x="4140" y="2462"/>
                    <a:pt x="4126" y="2454"/>
                  </a:cubicBezTo>
                  <a:cubicBezTo>
                    <a:pt x="4111" y="2447"/>
                    <a:pt x="4096" y="2433"/>
                    <a:pt x="4082" y="2425"/>
                  </a:cubicBezTo>
                  <a:cubicBezTo>
                    <a:pt x="4067" y="2410"/>
                    <a:pt x="4052" y="2403"/>
                    <a:pt x="4045" y="2403"/>
                  </a:cubicBezTo>
                  <a:cubicBezTo>
                    <a:pt x="4038" y="2403"/>
                    <a:pt x="4038" y="2403"/>
                    <a:pt x="4023" y="2418"/>
                  </a:cubicBezTo>
                  <a:cubicBezTo>
                    <a:pt x="4008" y="2440"/>
                    <a:pt x="3979" y="2454"/>
                    <a:pt x="3957" y="2476"/>
                  </a:cubicBezTo>
                  <a:cubicBezTo>
                    <a:pt x="3942" y="2484"/>
                    <a:pt x="3928" y="2498"/>
                    <a:pt x="3913" y="2513"/>
                  </a:cubicBezTo>
                  <a:cubicBezTo>
                    <a:pt x="3906" y="2520"/>
                    <a:pt x="3891" y="2528"/>
                    <a:pt x="3876" y="2542"/>
                  </a:cubicBezTo>
                  <a:cubicBezTo>
                    <a:pt x="3854" y="2557"/>
                    <a:pt x="3825" y="2579"/>
                    <a:pt x="3825" y="2594"/>
                  </a:cubicBezTo>
                  <a:cubicBezTo>
                    <a:pt x="3825" y="2594"/>
                    <a:pt x="3825" y="2594"/>
                    <a:pt x="3832" y="2601"/>
                  </a:cubicBezTo>
                  <a:cubicBezTo>
                    <a:pt x="3854" y="2630"/>
                    <a:pt x="3884" y="2638"/>
                    <a:pt x="3906" y="2645"/>
                  </a:cubicBezTo>
                  <a:cubicBezTo>
                    <a:pt x="3913" y="2645"/>
                    <a:pt x="3913" y="2645"/>
                    <a:pt x="3913" y="2645"/>
                  </a:cubicBezTo>
                  <a:cubicBezTo>
                    <a:pt x="3950" y="2660"/>
                    <a:pt x="3972" y="2704"/>
                    <a:pt x="3957" y="2747"/>
                  </a:cubicBezTo>
                  <a:cubicBezTo>
                    <a:pt x="3957" y="2777"/>
                    <a:pt x="3950" y="2806"/>
                    <a:pt x="3920" y="2806"/>
                  </a:cubicBezTo>
                  <a:cubicBezTo>
                    <a:pt x="3913" y="2806"/>
                    <a:pt x="3898" y="2799"/>
                    <a:pt x="3884" y="2792"/>
                  </a:cubicBezTo>
                  <a:cubicBezTo>
                    <a:pt x="3869" y="2792"/>
                    <a:pt x="3854" y="2784"/>
                    <a:pt x="3840" y="2777"/>
                  </a:cubicBezTo>
                  <a:cubicBezTo>
                    <a:pt x="3818" y="2769"/>
                    <a:pt x="3796" y="2762"/>
                    <a:pt x="3788" y="2762"/>
                  </a:cubicBezTo>
                  <a:cubicBezTo>
                    <a:pt x="3781" y="2762"/>
                    <a:pt x="3781" y="2762"/>
                    <a:pt x="3781" y="2762"/>
                  </a:cubicBezTo>
                  <a:cubicBezTo>
                    <a:pt x="3766" y="2777"/>
                    <a:pt x="3759" y="2806"/>
                    <a:pt x="3759" y="2828"/>
                  </a:cubicBezTo>
                  <a:cubicBezTo>
                    <a:pt x="3752" y="2843"/>
                    <a:pt x="3752" y="2850"/>
                    <a:pt x="3745" y="2857"/>
                  </a:cubicBezTo>
                  <a:cubicBezTo>
                    <a:pt x="3737" y="2879"/>
                    <a:pt x="3723" y="2887"/>
                    <a:pt x="3715" y="2887"/>
                  </a:cubicBezTo>
                  <a:cubicBezTo>
                    <a:pt x="3700" y="2887"/>
                    <a:pt x="3693" y="2887"/>
                    <a:pt x="3678" y="2901"/>
                  </a:cubicBezTo>
                  <a:cubicBezTo>
                    <a:pt x="3649" y="2923"/>
                    <a:pt x="3627" y="2960"/>
                    <a:pt x="3635" y="2989"/>
                  </a:cubicBezTo>
                  <a:cubicBezTo>
                    <a:pt x="3635" y="2989"/>
                    <a:pt x="3635" y="2997"/>
                    <a:pt x="3649" y="3004"/>
                  </a:cubicBezTo>
                  <a:cubicBezTo>
                    <a:pt x="3657" y="3011"/>
                    <a:pt x="3671" y="3011"/>
                    <a:pt x="3678" y="3019"/>
                  </a:cubicBezTo>
                  <a:cubicBezTo>
                    <a:pt x="3715" y="3033"/>
                    <a:pt x="3752" y="3048"/>
                    <a:pt x="3766" y="3107"/>
                  </a:cubicBezTo>
                  <a:cubicBezTo>
                    <a:pt x="3781" y="3173"/>
                    <a:pt x="3796" y="3231"/>
                    <a:pt x="3832" y="3238"/>
                  </a:cubicBezTo>
                  <a:cubicBezTo>
                    <a:pt x="3840" y="3246"/>
                    <a:pt x="3854" y="3246"/>
                    <a:pt x="3884" y="3246"/>
                  </a:cubicBezTo>
                  <a:cubicBezTo>
                    <a:pt x="3920" y="3246"/>
                    <a:pt x="3964" y="3246"/>
                    <a:pt x="3972" y="3238"/>
                  </a:cubicBezTo>
                  <a:cubicBezTo>
                    <a:pt x="4001" y="3216"/>
                    <a:pt x="4030" y="3209"/>
                    <a:pt x="4052" y="3202"/>
                  </a:cubicBezTo>
                  <a:cubicBezTo>
                    <a:pt x="4074" y="3195"/>
                    <a:pt x="4089" y="3187"/>
                    <a:pt x="4104" y="3173"/>
                  </a:cubicBezTo>
                  <a:cubicBezTo>
                    <a:pt x="4140" y="3143"/>
                    <a:pt x="4177" y="3136"/>
                    <a:pt x="4228" y="3114"/>
                  </a:cubicBezTo>
                  <a:cubicBezTo>
                    <a:pt x="4294" y="3092"/>
                    <a:pt x="4294" y="3092"/>
                    <a:pt x="4294" y="3092"/>
                  </a:cubicBezTo>
                  <a:cubicBezTo>
                    <a:pt x="4353" y="3070"/>
                    <a:pt x="4419" y="3041"/>
                    <a:pt x="4455" y="3041"/>
                  </a:cubicBezTo>
                  <a:cubicBezTo>
                    <a:pt x="4463" y="3033"/>
                    <a:pt x="4463" y="3033"/>
                    <a:pt x="4463" y="3033"/>
                  </a:cubicBezTo>
                  <a:cubicBezTo>
                    <a:pt x="4477" y="3033"/>
                    <a:pt x="4507" y="3026"/>
                    <a:pt x="4536" y="3026"/>
                  </a:cubicBezTo>
                  <a:cubicBezTo>
                    <a:pt x="4573" y="3026"/>
                    <a:pt x="4602" y="3033"/>
                    <a:pt x="4616" y="3055"/>
                  </a:cubicBezTo>
                  <a:cubicBezTo>
                    <a:pt x="4631" y="3070"/>
                    <a:pt x="4638" y="3077"/>
                    <a:pt x="4653" y="3092"/>
                  </a:cubicBezTo>
                  <a:cubicBezTo>
                    <a:pt x="4682" y="3114"/>
                    <a:pt x="4704" y="3143"/>
                    <a:pt x="4734" y="3180"/>
                  </a:cubicBezTo>
                  <a:cubicBezTo>
                    <a:pt x="4741" y="3195"/>
                    <a:pt x="4756" y="3209"/>
                    <a:pt x="4770" y="3224"/>
                  </a:cubicBezTo>
                  <a:cubicBezTo>
                    <a:pt x="4800" y="3253"/>
                    <a:pt x="4836" y="3290"/>
                    <a:pt x="4829" y="3341"/>
                  </a:cubicBezTo>
                  <a:cubicBezTo>
                    <a:pt x="4822" y="3378"/>
                    <a:pt x="4807" y="3495"/>
                    <a:pt x="4829" y="3546"/>
                  </a:cubicBezTo>
                  <a:cubicBezTo>
                    <a:pt x="4836" y="3568"/>
                    <a:pt x="4844" y="3576"/>
                    <a:pt x="4851" y="3576"/>
                  </a:cubicBezTo>
                  <a:cubicBezTo>
                    <a:pt x="4858" y="3583"/>
                    <a:pt x="4873" y="3583"/>
                    <a:pt x="4888" y="3605"/>
                  </a:cubicBezTo>
                  <a:cubicBezTo>
                    <a:pt x="4902" y="3627"/>
                    <a:pt x="4902" y="3664"/>
                    <a:pt x="4902" y="3700"/>
                  </a:cubicBezTo>
                  <a:cubicBezTo>
                    <a:pt x="4902" y="3722"/>
                    <a:pt x="4902" y="3737"/>
                    <a:pt x="4902" y="3752"/>
                  </a:cubicBezTo>
                  <a:cubicBezTo>
                    <a:pt x="4909" y="3766"/>
                    <a:pt x="4909" y="3773"/>
                    <a:pt x="4909" y="3781"/>
                  </a:cubicBezTo>
                  <a:cubicBezTo>
                    <a:pt x="4917" y="3817"/>
                    <a:pt x="4917" y="3869"/>
                    <a:pt x="4946" y="3869"/>
                  </a:cubicBezTo>
                  <a:cubicBezTo>
                    <a:pt x="4968" y="3876"/>
                    <a:pt x="4983" y="3883"/>
                    <a:pt x="4997" y="3898"/>
                  </a:cubicBezTo>
                  <a:cubicBezTo>
                    <a:pt x="5012" y="3905"/>
                    <a:pt x="5027" y="3920"/>
                    <a:pt x="5056" y="3920"/>
                  </a:cubicBezTo>
                  <a:cubicBezTo>
                    <a:pt x="5071" y="3920"/>
                    <a:pt x="5071" y="3920"/>
                    <a:pt x="5071" y="3920"/>
                  </a:cubicBezTo>
                  <a:cubicBezTo>
                    <a:pt x="5085" y="3927"/>
                    <a:pt x="5100" y="3927"/>
                    <a:pt x="5107" y="3942"/>
                  </a:cubicBezTo>
                  <a:cubicBezTo>
                    <a:pt x="5115" y="3957"/>
                    <a:pt x="5100" y="3971"/>
                    <a:pt x="5064" y="4015"/>
                  </a:cubicBezTo>
                  <a:cubicBezTo>
                    <a:pt x="5041" y="4037"/>
                    <a:pt x="5034" y="4059"/>
                    <a:pt x="5019" y="4081"/>
                  </a:cubicBezTo>
                  <a:cubicBezTo>
                    <a:pt x="5012" y="4110"/>
                    <a:pt x="4997" y="4133"/>
                    <a:pt x="4946" y="4147"/>
                  </a:cubicBezTo>
                  <a:cubicBezTo>
                    <a:pt x="4866" y="4162"/>
                    <a:pt x="4851" y="4176"/>
                    <a:pt x="4844" y="4220"/>
                  </a:cubicBezTo>
                  <a:cubicBezTo>
                    <a:pt x="4836" y="4272"/>
                    <a:pt x="4851" y="4301"/>
                    <a:pt x="4880" y="4330"/>
                  </a:cubicBezTo>
                  <a:cubicBezTo>
                    <a:pt x="4931" y="4367"/>
                    <a:pt x="4954" y="4433"/>
                    <a:pt x="4961" y="4477"/>
                  </a:cubicBezTo>
                  <a:cubicBezTo>
                    <a:pt x="4968" y="4499"/>
                    <a:pt x="4983" y="4521"/>
                    <a:pt x="4983" y="4535"/>
                  </a:cubicBezTo>
                  <a:cubicBezTo>
                    <a:pt x="4997" y="4550"/>
                    <a:pt x="4997" y="4550"/>
                    <a:pt x="4997" y="4550"/>
                  </a:cubicBezTo>
                  <a:cubicBezTo>
                    <a:pt x="4983" y="4557"/>
                    <a:pt x="4983" y="4557"/>
                    <a:pt x="4983" y="4557"/>
                  </a:cubicBezTo>
                  <a:cubicBezTo>
                    <a:pt x="4976" y="4609"/>
                    <a:pt x="4961" y="4748"/>
                    <a:pt x="4997" y="4792"/>
                  </a:cubicBezTo>
                  <a:cubicBezTo>
                    <a:pt x="5005" y="4814"/>
                    <a:pt x="5019" y="4828"/>
                    <a:pt x="5034" y="4843"/>
                  </a:cubicBezTo>
                  <a:cubicBezTo>
                    <a:pt x="5064" y="4880"/>
                    <a:pt x="5093" y="4909"/>
                    <a:pt x="5049" y="4961"/>
                  </a:cubicBezTo>
                  <a:cubicBezTo>
                    <a:pt x="5041" y="4975"/>
                    <a:pt x="5034" y="4990"/>
                    <a:pt x="5041" y="4997"/>
                  </a:cubicBezTo>
                  <a:cubicBezTo>
                    <a:pt x="5049" y="5019"/>
                    <a:pt x="5078" y="5026"/>
                    <a:pt x="5100" y="5026"/>
                  </a:cubicBezTo>
                  <a:cubicBezTo>
                    <a:pt x="5107" y="5026"/>
                    <a:pt x="5115" y="5026"/>
                    <a:pt x="5115" y="5026"/>
                  </a:cubicBezTo>
                  <a:cubicBezTo>
                    <a:pt x="5122" y="5026"/>
                    <a:pt x="5122" y="5026"/>
                    <a:pt x="5122" y="5026"/>
                  </a:cubicBezTo>
                  <a:cubicBezTo>
                    <a:pt x="5137" y="5026"/>
                    <a:pt x="5144" y="5026"/>
                    <a:pt x="5151" y="5034"/>
                  </a:cubicBezTo>
                  <a:cubicBezTo>
                    <a:pt x="5166" y="5056"/>
                    <a:pt x="5159" y="5107"/>
                    <a:pt x="5144" y="5173"/>
                  </a:cubicBezTo>
                  <a:cubicBezTo>
                    <a:pt x="5137" y="5202"/>
                    <a:pt x="5137" y="5232"/>
                    <a:pt x="5137" y="5246"/>
                  </a:cubicBezTo>
                  <a:cubicBezTo>
                    <a:pt x="5137" y="5283"/>
                    <a:pt x="5115" y="5305"/>
                    <a:pt x="5093" y="5319"/>
                  </a:cubicBezTo>
                  <a:cubicBezTo>
                    <a:pt x="5078" y="5342"/>
                    <a:pt x="5064" y="5356"/>
                    <a:pt x="5056" y="5385"/>
                  </a:cubicBezTo>
                  <a:cubicBezTo>
                    <a:pt x="5049" y="5415"/>
                    <a:pt x="5049" y="5415"/>
                    <a:pt x="5056" y="5422"/>
                  </a:cubicBezTo>
                  <a:cubicBezTo>
                    <a:pt x="5071" y="5437"/>
                    <a:pt x="5085" y="5452"/>
                    <a:pt x="5085" y="5503"/>
                  </a:cubicBezTo>
                  <a:cubicBezTo>
                    <a:pt x="5085" y="5583"/>
                    <a:pt x="5071" y="5598"/>
                    <a:pt x="5027" y="5620"/>
                  </a:cubicBezTo>
                  <a:cubicBezTo>
                    <a:pt x="5019" y="5627"/>
                    <a:pt x="5005" y="5635"/>
                    <a:pt x="4990" y="5642"/>
                  </a:cubicBezTo>
                  <a:cubicBezTo>
                    <a:pt x="4924" y="5686"/>
                    <a:pt x="4902" y="5737"/>
                    <a:pt x="4917" y="5796"/>
                  </a:cubicBezTo>
                  <a:cubicBezTo>
                    <a:pt x="4939" y="5854"/>
                    <a:pt x="4902" y="5891"/>
                    <a:pt x="4873" y="5920"/>
                  </a:cubicBezTo>
                  <a:cubicBezTo>
                    <a:pt x="4866" y="5928"/>
                    <a:pt x="4851" y="5935"/>
                    <a:pt x="4851" y="5942"/>
                  </a:cubicBezTo>
                  <a:cubicBezTo>
                    <a:pt x="4836" y="5957"/>
                    <a:pt x="4836" y="5986"/>
                    <a:pt x="4844" y="6023"/>
                  </a:cubicBezTo>
                  <a:cubicBezTo>
                    <a:pt x="4844" y="6052"/>
                    <a:pt x="4844" y="6082"/>
                    <a:pt x="4836" y="6118"/>
                  </a:cubicBezTo>
                  <a:cubicBezTo>
                    <a:pt x="4836" y="6162"/>
                    <a:pt x="4807" y="6206"/>
                    <a:pt x="4778" y="6257"/>
                  </a:cubicBezTo>
                  <a:cubicBezTo>
                    <a:pt x="4741" y="6309"/>
                    <a:pt x="4704" y="6367"/>
                    <a:pt x="4668" y="6455"/>
                  </a:cubicBezTo>
                  <a:cubicBezTo>
                    <a:pt x="4609" y="6587"/>
                    <a:pt x="4550" y="6609"/>
                    <a:pt x="4536" y="6609"/>
                  </a:cubicBezTo>
                  <a:cubicBezTo>
                    <a:pt x="4485" y="6638"/>
                    <a:pt x="4485" y="6638"/>
                    <a:pt x="4485" y="6638"/>
                  </a:cubicBezTo>
                  <a:lnTo>
                    <a:pt x="4477" y="6631"/>
                  </a:lnTo>
                </a:path>
              </a:pathLst>
            </a:custGeom>
            <a:grpFill/>
            <a:ln w="6350" cmpd="sng">
              <a:solidFill>
                <a:schemeClr val="bg1"/>
              </a:solidFill>
            </a:ln>
            <a:effectLst/>
          </p:spPr>
          <p:txBody>
            <a:bodyPr wrap="none" anchor="ctr"/>
            <a:lstStyle/>
            <a:p>
              <a:pPr defTabSz="685663">
                <a:defRPr/>
              </a:pPr>
              <a:endParaRPr lang="en-US" sz="675">
                <a:latin typeface="Montserrat" charset="0"/>
              </a:endParaRPr>
            </a:p>
          </p:txBody>
        </p:sp>
        <p:sp>
          <p:nvSpPr>
            <p:cNvPr id="63" name="Freeform 62">
              <a:extLst>
                <a:ext uri="{FF2B5EF4-FFF2-40B4-BE49-F238E27FC236}">
                  <a16:creationId xmlns:a16="http://schemas.microsoft.com/office/drawing/2014/main" id="{1CE59302-D335-F74A-B1EC-BA8AEE8023B8}"/>
                </a:ext>
              </a:extLst>
            </p:cNvPr>
            <p:cNvSpPr>
              <a:spLocks noChangeArrowheads="1"/>
            </p:cNvSpPr>
            <p:nvPr/>
          </p:nvSpPr>
          <p:spPr bwMode="auto">
            <a:xfrm>
              <a:off x="3494318" y="7779811"/>
              <a:ext cx="1999001" cy="2531581"/>
            </a:xfrm>
            <a:custGeom>
              <a:avLst/>
              <a:gdLst>
                <a:gd name="T0" fmla="*/ 4053 w 5197"/>
                <a:gd name="T1" fmla="*/ 513 h 6669"/>
                <a:gd name="T2" fmla="*/ 4375 w 5197"/>
                <a:gd name="T3" fmla="*/ 916 h 6669"/>
                <a:gd name="T4" fmla="*/ 4060 w 5197"/>
                <a:gd name="T5" fmla="*/ 1773 h 6669"/>
                <a:gd name="T6" fmla="*/ 4221 w 5197"/>
                <a:gd name="T7" fmla="*/ 2381 h 6669"/>
                <a:gd name="T8" fmla="*/ 3899 w 5197"/>
                <a:gd name="T9" fmla="*/ 2792 h 6669"/>
                <a:gd name="T10" fmla="*/ 4133 w 5197"/>
                <a:gd name="T11" fmla="*/ 3202 h 6669"/>
                <a:gd name="T12" fmla="*/ 4954 w 5197"/>
                <a:gd name="T13" fmla="*/ 3898 h 6669"/>
                <a:gd name="T14" fmla="*/ 5056 w 5197"/>
                <a:gd name="T15" fmla="*/ 4968 h 6669"/>
                <a:gd name="T16" fmla="*/ 4837 w 5197"/>
                <a:gd name="T17" fmla="*/ 6133 h 6669"/>
                <a:gd name="T18" fmla="*/ 3789 w 5197"/>
                <a:gd name="T19" fmla="*/ 6375 h 6669"/>
                <a:gd name="T20" fmla="*/ 3188 w 5197"/>
                <a:gd name="T21" fmla="*/ 6207 h 6669"/>
                <a:gd name="T22" fmla="*/ 2521 w 5197"/>
                <a:gd name="T23" fmla="*/ 5767 h 6669"/>
                <a:gd name="T24" fmla="*/ 2536 w 5197"/>
                <a:gd name="T25" fmla="*/ 4953 h 6669"/>
                <a:gd name="T26" fmla="*/ 2096 w 5197"/>
                <a:gd name="T27" fmla="*/ 4441 h 6669"/>
                <a:gd name="T28" fmla="*/ 1012 w 5197"/>
                <a:gd name="T29" fmla="*/ 4704 h 6669"/>
                <a:gd name="T30" fmla="*/ 836 w 5197"/>
                <a:gd name="T31" fmla="*/ 4067 h 6669"/>
                <a:gd name="T32" fmla="*/ 67 w 5197"/>
                <a:gd name="T33" fmla="*/ 2902 h 6669"/>
                <a:gd name="T34" fmla="*/ 667 w 5197"/>
                <a:gd name="T35" fmla="*/ 1898 h 6669"/>
                <a:gd name="T36" fmla="*/ 1283 w 5197"/>
                <a:gd name="T37" fmla="*/ 1920 h 6669"/>
                <a:gd name="T38" fmla="*/ 1605 w 5197"/>
                <a:gd name="T39" fmla="*/ 1561 h 6669"/>
                <a:gd name="T40" fmla="*/ 2309 w 5197"/>
                <a:gd name="T41" fmla="*/ 1121 h 6669"/>
                <a:gd name="T42" fmla="*/ 3217 w 5197"/>
                <a:gd name="T43" fmla="*/ 703 h 6669"/>
                <a:gd name="T44" fmla="*/ 3752 w 5197"/>
                <a:gd name="T45" fmla="*/ 0 h 6669"/>
                <a:gd name="T46" fmla="*/ 3408 w 5197"/>
                <a:gd name="T47" fmla="*/ 550 h 6669"/>
                <a:gd name="T48" fmla="*/ 2931 w 5197"/>
                <a:gd name="T49" fmla="*/ 748 h 6669"/>
                <a:gd name="T50" fmla="*/ 2294 w 5197"/>
                <a:gd name="T51" fmla="*/ 1099 h 6669"/>
                <a:gd name="T52" fmla="*/ 1810 w 5197"/>
                <a:gd name="T53" fmla="*/ 1326 h 6669"/>
                <a:gd name="T54" fmla="*/ 1437 w 5197"/>
                <a:gd name="T55" fmla="*/ 1641 h 6669"/>
                <a:gd name="T56" fmla="*/ 1253 w 5197"/>
                <a:gd name="T57" fmla="*/ 1912 h 6669"/>
                <a:gd name="T58" fmla="*/ 704 w 5197"/>
                <a:gd name="T59" fmla="*/ 1788 h 6669"/>
                <a:gd name="T60" fmla="*/ 601 w 5197"/>
                <a:gd name="T61" fmla="*/ 2037 h 6669"/>
                <a:gd name="T62" fmla="*/ 67 w 5197"/>
                <a:gd name="T63" fmla="*/ 2697 h 6669"/>
                <a:gd name="T64" fmla="*/ 609 w 5197"/>
                <a:gd name="T65" fmla="*/ 3605 h 6669"/>
                <a:gd name="T66" fmla="*/ 675 w 5197"/>
                <a:gd name="T67" fmla="*/ 4235 h 6669"/>
                <a:gd name="T68" fmla="*/ 902 w 5197"/>
                <a:gd name="T69" fmla="*/ 4690 h 6669"/>
                <a:gd name="T70" fmla="*/ 1525 w 5197"/>
                <a:gd name="T71" fmla="*/ 4543 h 6669"/>
                <a:gd name="T72" fmla="*/ 2257 w 5197"/>
                <a:gd name="T73" fmla="*/ 4521 h 6669"/>
                <a:gd name="T74" fmla="*/ 2529 w 5197"/>
                <a:gd name="T75" fmla="*/ 4924 h 6669"/>
                <a:gd name="T76" fmla="*/ 2741 w 5197"/>
                <a:gd name="T77" fmla="*/ 5349 h 6669"/>
                <a:gd name="T78" fmla="*/ 2616 w 5197"/>
                <a:gd name="T79" fmla="*/ 6016 h 6669"/>
                <a:gd name="T80" fmla="*/ 3137 w 5197"/>
                <a:gd name="T81" fmla="*/ 6265 h 6669"/>
                <a:gd name="T82" fmla="*/ 3584 w 5197"/>
                <a:gd name="T83" fmla="*/ 6324 h 6669"/>
                <a:gd name="T84" fmla="*/ 4097 w 5197"/>
                <a:gd name="T85" fmla="*/ 6456 h 6669"/>
                <a:gd name="T86" fmla="*/ 4866 w 5197"/>
                <a:gd name="T87" fmla="*/ 6141 h 6669"/>
                <a:gd name="T88" fmla="*/ 5079 w 5197"/>
                <a:gd name="T89" fmla="*/ 5422 h 6669"/>
                <a:gd name="T90" fmla="*/ 5079 w 5197"/>
                <a:gd name="T91" fmla="*/ 4983 h 6669"/>
                <a:gd name="T92" fmla="*/ 5049 w 5197"/>
                <a:gd name="T93" fmla="*/ 4103 h 6669"/>
                <a:gd name="T94" fmla="*/ 4910 w 5197"/>
                <a:gd name="T95" fmla="*/ 3612 h 6669"/>
                <a:gd name="T96" fmla="*/ 4463 w 5197"/>
                <a:gd name="T97" fmla="*/ 3034 h 6669"/>
                <a:gd name="T98" fmla="*/ 3701 w 5197"/>
                <a:gd name="T99" fmla="*/ 3019 h 6669"/>
                <a:gd name="T100" fmla="*/ 3935 w 5197"/>
                <a:gd name="T101" fmla="*/ 2836 h 6669"/>
                <a:gd name="T102" fmla="*/ 4060 w 5197"/>
                <a:gd name="T103" fmla="*/ 2433 h 6669"/>
                <a:gd name="T104" fmla="*/ 4382 w 5197"/>
                <a:gd name="T105" fmla="*/ 2250 h 6669"/>
                <a:gd name="T106" fmla="*/ 4082 w 5197"/>
                <a:gd name="T107" fmla="*/ 1795 h 6669"/>
                <a:gd name="T108" fmla="*/ 4324 w 5197"/>
                <a:gd name="T109" fmla="*/ 1436 h 6669"/>
                <a:gd name="T110" fmla="*/ 4404 w 5197"/>
                <a:gd name="T111" fmla="*/ 872 h 6669"/>
                <a:gd name="T112" fmla="*/ 4214 w 5197"/>
                <a:gd name="T113" fmla="*/ 725 h 6669"/>
                <a:gd name="T114" fmla="*/ 3994 w 5197"/>
                <a:gd name="T115" fmla="*/ 337 h 6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97" h="6669">
                  <a:moveTo>
                    <a:pt x="3752" y="29"/>
                  </a:moveTo>
                  <a:lnTo>
                    <a:pt x="3752" y="29"/>
                  </a:lnTo>
                  <a:cubicBezTo>
                    <a:pt x="3767" y="29"/>
                    <a:pt x="3781" y="37"/>
                    <a:pt x="3789" y="51"/>
                  </a:cubicBezTo>
                  <a:cubicBezTo>
                    <a:pt x="3818" y="81"/>
                    <a:pt x="3818" y="132"/>
                    <a:pt x="3789" y="176"/>
                  </a:cubicBezTo>
                  <a:cubicBezTo>
                    <a:pt x="3767" y="220"/>
                    <a:pt x="3825" y="242"/>
                    <a:pt x="3862" y="264"/>
                  </a:cubicBezTo>
                  <a:cubicBezTo>
                    <a:pt x="3891" y="279"/>
                    <a:pt x="3921" y="300"/>
                    <a:pt x="3935" y="337"/>
                  </a:cubicBezTo>
                  <a:cubicBezTo>
                    <a:pt x="3950" y="359"/>
                    <a:pt x="3979" y="366"/>
                    <a:pt x="3994" y="366"/>
                  </a:cubicBezTo>
                  <a:cubicBezTo>
                    <a:pt x="4009" y="366"/>
                    <a:pt x="4009" y="366"/>
                    <a:pt x="4009" y="366"/>
                  </a:cubicBezTo>
                  <a:cubicBezTo>
                    <a:pt x="4009" y="366"/>
                    <a:pt x="4074" y="374"/>
                    <a:pt x="4082" y="403"/>
                  </a:cubicBezTo>
                  <a:cubicBezTo>
                    <a:pt x="4089" y="440"/>
                    <a:pt x="4060" y="491"/>
                    <a:pt x="4053" y="513"/>
                  </a:cubicBezTo>
                  <a:cubicBezTo>
                    <a:pt x="4045" y="542"/>
                    <a:pt x="4045" y="608"/>
                    <a:pt x="4074" y="638"/>
                  </a:cubicBezTo>
                  <a:cubicBezTo>
                    <a:pt x="4097" y="660"/>
                    <a:pt x="4141" y="689"/>
                    <a:pt x="4162" y="718"/>
                  </a:cubicBezTo>
                  <a:cubicBezTo>
                    <a:pt x="4192" y="755"/>
                    <a:pt x="4243" y="769"/>
                    <a:pt x="4236" y="813"/>
                  </a:cubicBezTo>
                  <a:cubicBezTo>
                    <a:pt x="4229" y="850"/>
                    <a:pt x="4243" y="857"/>
                    <a:pt x="4272" y="857"/>
                  </a:cubicBezTo>
                  <a:cubicBezTo>
                    <a:pt x="4280" y="857"/>
                    <a:pt x="4294" y="857"/>
                    <a:pt x="4302" y="857"/>
                  </a:cubicBezTo>
                  <a:cubicBezTo>
                    <a:pt x="4324" y="850"/>
                    <a:pt x="4338" y="843"/>
                    <a:pt x="4353" y="843"/>
                  </a:cubicBezTo>
                  <a:cubicBezTo>
                    <a:pt x="4368" y="843"/>
                    <a:pt x="4375" y="850"/>
                    <a:pt x="4375" y="872"/>
                  </a:cubicBezTo>
                  <a:cubicBezTo>
                    <a:pt x="4375" y="887"/>
                    <a:pt x="4375" y="901"/>
                    <a:pt x="4375" y="916"/>
                  </a:cubicBezTo>
                  <a:cubicBezTo>
                    <a:pt x="4346" y="960"/>
                    <a:pt x="4324" y="1004"/>
                    <a:pt x="4324" y="1004"/>
                  </a:cubicBezTo>
                  <a:cubicBezTo>
                    <a:pt x="4324" y="1004"/>
                    <a:pt x="4346" y="960"/>
                    <a:pt x="4375" y="916"/>
                  </a:cubicBezTo>
                  <a:cubicBezTo>
                    <a:pt x="4375" y="953"/>
                    <a:pt x="4375" y="1004"/>
                    <a:pt x="4404" y="1041"/>
                  </a:cubicBezTo>
                  <a:cubicBezTo>
                    <a:pt x="4434" y="1107"/>
                    <a:pt x="4470" y="1202"/>
                    <a:pt x="4434" y="1268"/>
                  </a:cubicBezTo>
                  <a:cubicBezTo>
                    <a:pt x="4404" y="1319"/>
                    <a:pt x="4375" y="1407"/>
                    <a:pt x="4331" y="1407"/>
                  </a:cubicBezTo>
                  <a:cubicBezTo>
                    <a:pt x="4331" y="1407"/>
                    <a:pt x="4331" y="1407"/>
                    <a:pt x="4324" y="1407"/>
                  </a:cubicBezTo>
                  <a:cubicBezTo>
                    <a:pt x="4287" y="1400"/>
                    <a:pt x="4272" y="1348"/>
                    <a:pt x="4236" y="1341"/>
                  </a:cubicBezTo>
                  <a:cubicBezTo>
                    <a:pt x="4229" y="1341"/>
                    <a:pt x="4221" y="1341"/>
                    <a:pt x="4221" y="1341"/>
                  </a:cubicBezTo>
                  <a:cubicBezTo>
                    <a:pt x="4184" y="1341"/>
                    <a:pt x="4162" y="1370"/>
                    <a:pt x="4141" y="1400"/>
                  </a:cubicBezTo>
                  <a:cubicBezTo>
                    <a:pt x="4111" y="1436"/>
                    <a:pt x="4060" y="1466"/>
                    <a:pt x="4074" y="1517"/>
                  </a:cubicBezTo>
                  <a:cubicBezTo>
                    <a:pt x="4082" y="1568"/>
                    <a:pt x="4111" y="1612"/>
                    <a:pt x="4104" y="1663"/>
                  </a:cubicBezTo>
                  <a:cubicBezTo>
                    <a:pt x="4097" y="1715"/>
                    <a:pt x="4104" y="1729"/>
                    <a:pt x="4060" y="1773"/>
                  </a:cubicBezTo>
                  <a:cubicBezTo>
                    <a:pt x="4023" y="1817"/>
                    <a:pt x="3994" y="1832"/>
                    <a:pt x="4074" y="1839"/>
                  </a:cubicBezTo>
                  <a:cubicBezTo>
                    <a:pt x="4148" y="1854"/>
                    <a:pt x="4184" y="1891"/>
                    <a:pt x="4214" y="1927"/>
                  </a:cubicBezTo>
                  <a:cubicBezTo>
                    <a:pt x="4250" y="1964"/>
                    <a:pt x="4243" y="1986"/>
                    <a:pt x="4258" y="2030"/>
                  </a:cubicBezTo>
                  <a:cubicBezTo>
                    <a:pt x="4272" y="2074"/>
                    <a:pt x="4294" y="2074"/>
                    <a:pt x="4316" y="2103"/>
                  </a:cubicBezTo>
                  <a:cubicBezTo>
                    <a:pt x="4346" y="2140"/>
                    <a:pt x="4360" y="2191"/>
                    <a:pt x="4353" y="2242"/>
                  </a:cubicBezTo>
                  <a:cubicBezTo>
                    <a:pt x="4346" y="2279"/>
                    <a:pt x="4331" y="2316"/>
                    <a:pt x="4309" y="2316"/>
                  </a:cubicBezTo>
                  <a:cubicBezTo>
                    <a:pt x="4302" y="2316"/>
                    <a:pt x="4287" y="2308"/>
                    <a:pt x="4272" y="2301"/>
                  </a:cubicBezTo>
                  <a:cubicBezTo>
                    <a:pt x="4258" y="2293"/>
                    <a:pt x="4236" y="2286"/>
                    <a:pt x="4221" y="2286"/>
                  </a:cubicBezTo>
                  <a:cubicBezTo>
                    <a:pt x="4184" y="2286"/>
                    <a:pt x="4148" y="2301"/>
                    <a:pt x="4155" y="2330"/>
                  </a:cubicBezTo>
                  <a:cubicBezTo>
                    <a:pt x="4162" y="2360"/>
                    <a:pt x="4214" y="2338"/>
                    <a:pt x="4221" y="2381"/>
                  </a:cubicBezTo>
                  <a:cubicBezTo>
                    <a:pt x="4229" y="2411"/>
                    <a:pt x="4214" y="2462"/>
                    <a:pt x="4177" y="2462"/>
                  </a:cubicBezTo>
                  <a:cubicBezTo>
                    <a:pt x="4170" y="2462"/>
                    <a:pt x="4162" y="2462"/>
                    <a:pt x="4148" y="2455"/>
                  </a:cubicBezTo>
                  <a:cubicBezTo>
                    <a:pt x="4104" y="2433"/>
                    <a:pt x="4082" y="2403"/>
                    <a:pt x="4060" y="2403"/>
                  </a:cubicBezTo>
                  <a:cubicBezTo>
                    <a:pt x="4045" y="2403"/>
                    <a:pt x="4038" y="2411"/>
                    <a:pt x="4031" y="2418"/>
                  </a:cubicBezTo>
                  <a:cubicBezTo>
                    <a:pt x="3994" y="2462"/>
                    <a:pt x="3950" y="2477"/>
                    <a:pt x="3921" y="2513"/>
                  </a:cubicBezTo>
                  <a:cubicBezTo>
                    <a:pt x="3884" y="2550"/>
                    <a:pt x="3796" y="2594"/>
                    <a:pt x="3833" y="2623"/>
                  </a:cubicBezTo>
                  <a:cubicBezTo>
                    <a:pt x="3869" y="2660"/>
                    <a:pt x="3899" y="2667"/>
                    <a:pt x="3928" y="2675"/>
                  </a:cubicBezTo>
                  <a:cubicBezTo>
                    <a:pt x="3950" y="2682"/>
                    <a:pt x="3972" y="2719"/>
                    <a:pt x="3957" y="2762"/>
                  </a:cubicBezTo>
                  <a:cubicBezTo>
                    <a:pt x="3957" y="2792"/>
                    <a:pt x="3950" y="2807"/>
                    <a:pt x="3935" y="2807"/>
                  </a:cubicBezTo>
                  <a:cubicBezTo>
                    <a:pt x="3928" y="2807"/>
                    <a:pt x="3921" y="2799"/>
                    <a:pt x="3899" y="2792"/>
                  </a:cubicBezTo>
                  <a:cubicBezTo>
                    <a:pt x="3862" y="2784"/>
                    <a:pt x="3825" y="2762"/>
                    <a:pt x="3803" y="2762"/>
                  </a:cubicBezTo>
                  <a:cubicBezTo>
                    <a:pt x="3796" y="2762"/>
                    <a:pt x="3789" y="2762"/>
                    <a:pt x="3781" y="2770"/>
                  </a:cubicBezTo>
                  <a:cubicBezTo>
                    <a:pt x="3767" y="2792"/>
                    <a:pt x="3760" y="2843"/>
                    <a:pt x="3745" y="2872"/>
                  </a:cubicBezTo>
                  <a:cubicBezTo>
                    <a:pt x="3738" y="2894"/>
                    <a:pt x="3715" y="2872"/>
                    <a:pt x="3679" y="2902"/>
                  </a:cubicBezTo>
                  <a:cubicBezTo>
                    <a:pt x="3650" y="2938"/>
                    <a:pt x="3606" y="3004"/>
                    <a:pt x="3657" y="3034"/>
                  </a:cubicBezTo>
                  <a:cubicBezTo>
                    <a:pt x="3708" y="3056"/>
                    <a:pt x="3745" y="3056"/>
                    <a:pt x="3767" y="3129"/>
                  </a:cubicBezTo>
                  <a:cubicBezTo>
                    <a:pt x="3781" y="3195"/>
                    <a:pt x="3796" y="3253"/>
                    <a:pt x="3840" y="3268"/>
                  </a:cubicBezTo>
                  <a:cubicBezTo>
                    <a:pt x="3855" y="3275"/>
                    <a:pt x="3877" y="3275"/>
                    <a:pt x="3899" y="3275"/>
                  </a:cubicBezTo>
                  <a:cubicBezTo>
                    <a:pt x="3943" y="3275"/>
                    <a:pt x="3994" y="3268"/>
                    <a:pt x="3994" y="3268"/>
                  </a:cubicBezTo>
                  <a:cubicBezTo>
                    <a:pt x="4045" y="3231"/>
                    <a:pt x="4089" y="3239"/>
                    <a:pt x="4133" y="3202"/>
                  </a:cubicBezTo>
                  <a:cubicBezTo>
                    <a:pt x="4170" y="3166"/>
                    <a:pt x="4206" y="3158"/>
                    <a:pt x="4272" y="3136"/>
                  </a:cubicBezTo>
                  <a:cubicBezTo>
                    <a:pt x="4346" y="3107"/>
                    <a:pt x="4426" y="3078"/>
                    <a:pt x="4470" y="3070"/>
                  </a:cubicBezTo>
                  <a:cubicBezTo>
                    <a:pt x="4492" y="3063"/>
                    <a:pt x="4522" y="3056"/>
                    <a:pt x="4551" y="3056"/>
                  </a:cubicBezTo>
                  <a:cubicBezTo>
                    <a:pt x="4573" y="3056"/>
                    <a:pt x="4602" y="3063"/>
                    <a:pt x="4624" y="3085"/>
                  </a:cubicBezTo>
                  <a:cubicBezTo>
                    <a:pt x="4668" y="3129"/>
                    <a:pt x="4697" y="3151"/>
                    <a:pt x="4734" y="3202"/>
                  </a:cubicBezTo>
                  <a:cubicBezTo>
                    <a:pt x="4771" y="3253"/>
                    <a:pt x="4837" y="3290"/>
                    <a:pt x="4829" y="3356"/>
                  </a:cubicBezTo>
                  <a:cubicBezTo>
                    <a:pt x="4822" y="3422"/>
                    <a:pt x="4807" y="3517"/>
                    <a:pt x="4829" y="3569"/>
                  </a:cubicBezTo>
                  <a:cubicBezTo>
                    <a:pt x="4844" y="3620"/>
                    <a:pt x="4859" y="3591"/>
                    <a:pt x="4888" y="3627"/>
                  </a:cubicBezTo>
                  <a:cubicBezTo>
                    <a:pt x="4910" y="3664"/>
                    <a:pt x="4895" y="3730"/>
                    <a:pt x="4903" y="3774"/>
                  </a:cubicBezTo>
                  <a:cubicBezTo>
                    <a:pt x="4910" y="3818"/>
                    <a:pt x="4910" y="3891"/>
                    <a:pt x="4954" y="3898"/>
                  </a:cubicBezTo>
                  <a:cubicBezTo>
                    <a:pt x="4998" y="3906"/>
                    <a:pt x="5012" y="3942"/>
                    <a:pt x="5064" y="3950"/>
                  </a:cubicBezTo>
                  <a:cubicBezTo>
                    <a:pt x="5115" y="3957"/>
                    <a:pt x="5122" y="3950"/>
                    <a:pt x="5064" y="4016"/>
                  </a:cubicBezTo>
                  <a:cubicBezTo>
                    <a:pt x="5005" y="4089"/>
                    <a:pt x="5034" y="4133"/>
                    <a:pt x="4954" y="4148"/>
                  </a:cubicBezTo>
                  <a:cubicBezTo>
                    <a:pt x="4881" y="4162"/>
                    <a:pt x="4851" y="4184"/>
                    <a:pt x="4844" y="4235"/>
                  </a:cubicBezTo>
                  <a:cubicBezTo>
                    <a:pt x="4837" y="4279"/>
                    <a:pt x="4844" y="4323"/>
                    <a:pt x="4888" y="4360"/>
                  </a:cubicBezTo>
                  <a:cubicBezTo>
                    <a:pt x="4932" y="4397"/>
                    <a:pt x="4954" y="4455"/>
                    <a:pt x="4961" y="4492"/>
                  </a:cubicBezTo>
                  <a:cubicBezTo>
                    <a:pt x="4969" y="4514"/>
                    <a:pt x="4976" y="4536"/>
                    <a:pt x="4991" y="4558"/>
                  </a:cubicBezTo>
                  <a:cubicBezTo>
                    <a:pt x="4983" y="4558"/>
                    <a:pt x="4983" y="4558"/>
                    <a:pt x="4983" y="4558"/>
                  </a:cubicBezTo>
                  <a:cubicBezTo>
                    <a:pt x="4983" y="4558"/>
                    <a:pt x="4954" y="4748"/>
                    <a:pt x="4998" y="4822"/>
                  </a:cubicBezTo>
                  <a:cubicBezTo>
                    <a:pt x="5042" y="4888"/>
                    <a:pt x="5100" y="4910"/>
                    <a:pt x="5056" y="4968"/>
                  </a:cubicBezTo>
                  <a:cubicBezTo>
                    <a:pt x="5012" y="5019"/>
                    <a:pt x="5064" y="5056"/>
                    <a:pt x="5115" y="5056"/>
                  </a:cubicBezTo>
                  <a:cubicBezTo>
                    <a:pt x="5122" y="5056"/>
                    <a:pt x="5130" y="5056"/>
                    <a:pt x="5137" y="5056"/>
                  </a:cubicBezTo>
                  <a:lnTo>
                    <a:pt x="5137" y="5056"/>
                  </a:lnTo>
                  <a:cubicBezTo>
                    <a:pt x="5188" y="5056"/>
                    <a:pt x="5137" y="5203"/>
                    <a:pt x="5137" y="5261"/>
                  </a:cubicBezTo>
                  <a:cubicBezTo>
                    <a:pt x="5137" y="5320"/>
                    <a:pt x="5079" y="5327"/>
                    <a:pt x="5056" y="5393"/>
                  </a:cubicBezTo>
                  <a:cubicBezTo>
                    <a:pt x="5034" y="5467"/>
                    <a:pt x="5086" y="5430"/>
                    <a:pt x="5086" y="5518"/>
                  </a:cubicBezTo>
                  <a:cubicBezTo>
                    <a:pt x="5086" y="5613"/>
                    <a:pt x="5064" y="5598"/>
                    <a:pt x="4998" y="5642"/>
                  </a:cubicBezTo>
                  <a:cubicBezTo>
                    <a:pt x="4932" y="5693"/>
                    <a:pt x="4895" y="5745"/>
                    <a:pt x="4917" y="5818"/>
                  </a:cubicBezTo>
                  <a:cubicBezTo>
                    <a:pt x="4939" y="5884"/>
                    <a:pt x="4873" y="5921"/>
                    <a:pt x="4851" y="5950"/>
                  </a:cubicBezTo>
                  <a:cubicBezTo>
                    <a:pt x="4829" y="5987"/>
                    <a:pt x="4851" y="6053"/>
                    <a:pt x="4837" y="6133"/>
                  </a:cubicBezTo>
                  <a:cubicBezTo>
                    <a:pt x="4829" y="6214"/>
                    <a:pt x="4741" y="6287"/>
                    <a:pt x="4668" y="6463"/>
                  </a:cubicBezTo>
                  <a:cubicBezTo>
                    <a:pt x="4610" y="6602"/>
                    <a:pt x="4551" y="6610"/>
                    <a:pt x="4543" y="6610"/>
                  </a:cubicBezTo>
                  <a:lnTo>
                    <a:pt x="4543" y="6610"/>
                  </a:lnTo>
                  <a:cubicBezTo>
                    <a:pt x="4500" y="6631"/>
                    <a:pt x="4500" y="6631"/>
                    <a:pt x="4500" y="6631"/>
                  </a:cubicBezTo>
                  <a:cubicBezTo>
                    <a:pt x="4470" y="6610"/>
                    <a:pt x="4404" y="6551"/>
                    <a:pt x="4353" y="6551"/>
                  </a:cubicBezTo>
                  <a:cubicBezTo>
                    <a:pt x="4287" y="6551"/>
                    <a:pt x="4236" y="6507"/>
                    <a:pt x="4192" y="6470"/>
                  </a:cubicBezTo>
                  <a:cubicBezTo>
                    <a:pt x="4148" y="6441"/>
                    <a:pt x="4045" y="6404"/>
                    <a:pt x="3987" y="6360"/>
                  </a:cubicBezTo>
                  <a:cubicBezTo>
                    <a:pt x="3957" y="6331"/>
                    <a:pt x="3935" y="6317"/>
                    <a:pt x="3913" y="6317"/>
                  </a:cubicBezTo>
                  <a:cubicBezTo>
                    <a:pt x="3899" y="6317"/>
                    <a:pt x="3877" y="6331"/>
                    <a:pt x="3855" y="6346"/>
                  </a:cubicBezTo>
                  <a:cubicBezTo>
                    <a:pt x="3825" y="6368"/>
                    <a:pt x="3811" y="6375"/>
                    <a:pt x="3789" y="6375"/>
                  </a:cubicBezTo>
                  <a:cubicBezTo>
                    <a:pt x="3767" y="6375"/>
                    <a:pt x="3738" y="6360"/>
                    <a:pt x="3708" y="6346"/>
                  </a:cubicBezTo>
                  <a:cubicBezTo>
                    <a:pt x="3657" y="6331"/>
                    <a:pt x="3650" y="6272"/>
                    <a:pt x="3620" y="6272"/>
                  </a:cubicBezTo>
                  <a:cubicBezTo>
                    <a:pt x="3613" y="6272"/>
                    <a:pt x="3613" y="6280"/>
                    <a:pt x="3606" y="6280"/>
                  </a:cubicBezTo>
                  <a:cubicBezTo>
                    <a:pt x="3569" y="6302"/>
                    <a:pt x="3540" y="6331"/>
                    <a:pt x="3496" y="6331"/>
                  </a:cubicBezTo>
                  <a:cubicBezTo>
                    <a:pt x="3488" y="6331"/>
                    <a:pt x="3481" y="6331"/>
                    <a:pt x="3466" y="6324"/>
                  </a:cubicBezTo>
                  <a:cubicBezTo>
                    <a:pt x="3437" y="6317"/>
                    <a:pt x="3430" y="6309"/>
                    <a:pt x="3415" y="6309"/>
                  </a:cubicBezTo>
                  <a:cubicBezTo>
                    <a:pt x="3408" y="6309"/>
                    <a:pt x="3393" y="6317"/>
                    <a:pt x="3364" y="6338"/>
                  </a:cubicBezTo>
                  <a:cubicBezTo>
                    <a:pt x="3356" y="6346"/>
                    <a:pt x="3349" y="6346"/>
                    <a:pt x="3334" y="6346"/>
                  </a:cubicBezTo>
                  <a:cubicBezTo>
                    <a:pt x="3291" y="6346"/>
                    <a:pt x="3239" y="6265"/>
                    <a:pt x="3232" y="6236"/>
                  </a:cubicBezTo>
                  <a:cubicBezTo>
                    <a:pt x="3224" y="6214"/>
                    <a:pt x="3203" y="6207"/>
                    <a:pt x="3188" y="6207"/>
                  </a:cubicBezTo>
                  <a:cubicBezTo>
                    <a:pt x="3173" y="6207"/>
                    <a:pt x="3159" y="6207"/>
                    <a:pt x="3151" y="6221"/>
                  </a:cubicBezTo>
                  <a:cubicBezTo>
                    <a:pt x="3144" y="6229"/>
                    <a:pt x="3144" y="6236"/>
                    <a:pt x="3137" y="6236"/>
                  </a:cubicBezTo>
                  <a:cubicBezTo>
                    <a:pt x="3107" y="6236"/>
                    <a:pt x="3071" y="6184"/>
                    <a:pt x="3012" y="6148"/>
                  </a:cubicBezTo>
                  <a:cubicBezTo>
                    <a:pt x="2946" y="6097"/>
                    <a:pt x="2983" y="6031"/>
                    <a:pt x="2968" y="5965"/>
                  </a:cubicBezTo>
                  <a:cubicBezTo>
                    <a:pt x="2961" y="5899"/>
                    <a:pt x="2858" y="5921"/>
                    <a:pt x="2822" y="5899"/>
                  </a:cubicBezTo>
                  <a:cubicBezTo>
                    <a:pt x="2814" y="5891"/>
                    <a:pt x="2807" y="5891"/>
                    <a:pt x="2792" y="5891"/>
                  </a:cubicBezTo>
                  <a:cubicBezTo>
                    <a:pt x="2741" y="5891"/>
                    <a:pt x="2660" y="5921"/>
                    <a:pt x="2660" y="5921"/>
                  </a:cubicBezTo>
                  <a:cubicBezTo>
                    <a:pt x="2660" y="5921"/>
                    <a:pt x="2653" y="5928"/>
                    <a:pt x="2638" y="5950"/>
                  </a:cubicBezTo>
                  <a:cubicBezTo>
                    <a:pt x="2631" y="5913"/>
                    <a:pt x="2631" y="5891"/>
                    <a:pt x="2624" y="5869"/>
                  </a:cubicBezTo>
                  <a:cubicBezTo>
                    <a:pt x="2616" y="5833"/>
                    <a:pt x="2565" y="5818"/>
                    <a:pt x="2521" y="5767"/>
                  </a:cubicBezTo>
                  <a:cubicBezTo>
                    <a:pt x="2484" y="5723"/>
                    <a:pt x="2507" y="5701"/>
                    <a:pt x="2550" y="5642"/>
                  </a:cubicBezTo>
                  <a:cubicBezTo>
                    <a:pt x="2594" y="5584"/>
                    <a:pt x="2602" y="5576"/>
                    <a:pt x="2646" y="5540"/>
                  </a:cubicBezTo>
                  <a:cubicBezTo>
                    <a:pt x="2682" y="5510"/>
                    <a:pt x="2682" y="5532"/>
                    <a:pt x="2719" y="5496"/>
                  </a:cubicBezTo>
                  <a:cubicBezTo>
                    <a:pt x="2756" y="5467"/>
                    <a:pt x="2763" y="5386"/>
                    <a:pt x="2770" y="5334"/>
                  </a:cubicBezTo>
                  <a:cubicBezTo>
                    <a:pt x="2778" y="5291"/>
                    <a:pt x="2748" y="5254"/>
                    <a:pt x="2697" y="5254"/>
                  </a:cubicBezTo>
                  <a:cubicBezTo>
                    <a:pt x="2697" y="5254"/>
                    <a:pt x="2690" y="5254"/>
                    <a:pt x="2682" y="5254"/>
                  </a:cubicBezTo>
                  <a:lnTo>
                    <a:pt x="2675" y="5254"/>
                  </a:lnTo>
                  <a:cubicBezTo>
                    <a:pt x="2616" y="5254"/>
                    <a:pt x="2565" y="5203"/>
                    <a:pt x="2558" y="5173"/>
                  </a:cubicBezTo>
                  <a:cubicBezTo>
                    <a:pt x="2550" y="5151"/>
                    <a:pt x="2536" y="5107"/>
                    <a:pt x="2484" y="5056"/>
                  </a:cubicBezTo>
                  <a:cubicBezTo>
                    <a:pt x="2433" y="5005"/>
                    <a:pt x="2462" y="4983"/>
                    <a:pt x="2536" y="4953"/>
                  </a:cubicBezTo>
                  <a:cubicBezTo>
                    <a:pt x="2602" y="4931"/>
                    <a:pt x="2507" y="4843"/>
                    <a:pt x="2521" y="4792"/>
                  </a:cubicBezTo>
                  <a:cubicBezTo>
                    <a:pt x="2543" y="4741"/>
                    <a:pt x="2558" y="4704"/>
                    <a:pt x="2550" y="4668"/>
                  </a:cubicBezTo>
                  <a:cubicBezTo>
                    <a:pt x="2543" y="4631"/>
                    <a:pt x="2499" y="4594"/>
                    <a:pt x="2462" y="4594"/>
                  </a:cubicBezTo>
                  <a:cubicBezTo>
                    <a:pt x="2455" y="4594"/>
                    <a:pt x="2455" y="4594"/>
                    <a:pt x="2448" y="4594"/>
                  </a:cubicBezTo>
                  <a:cubicBezTo>
                    <a:pt x="2441" y="4602"/>
                    <a:pt x="2433" y="4602"/>
                    <a:pt x="2426" y="4602"/>
                  </a:cubicBezTo>
                  <a:cubicBezTo>
                    <a:pt x="2389" y="4602"/>
                    <a:pt x="2338" y="4580"/>
                    <a:pt x="2309" y="4536"/>
                  </a:cubicBezTo>
                  <a:cubicBezTo>
                    <a:pt x="2294" y="4507"/>
                    <a:pt x="2279" y="4484"/>
                    <a:pt x="2257" y="4484"/>
                  </a:cubicBezTo>
                  <a:cubicBezTo>
                    <a:pt x="2250" y="4484"/>
                    <a:pt x="2243" y="4492"/>
                    <a:pt x="2228" y="4514"/>
                  </a:cubicBezTo>
                  <a:cubicBezTo>
                    <a:pt x="2221" y="4521"/>
                    <a:pt x="2213" y="4529"/>
                    <a:pt x="2206" y="4529"/>
                  </a:cubicBezTo>
                  <a:cubicBezTo>
                    <a:pt x="2169" y="4529"/>
                    <a:pt x="2133" y="4462"/>
                    <a:pt x="2096" y="4441"/>
                  </a:cubicBezTo>
                  <a:cubicBezTo>
                    <a:pt x="2060" y="4419"/>
                    <a:pt x="2023" y="4353"/>
                    <a:pt x="1972" y="4345"/>
                  </a:cubicBezTo>
                  <a:cubicBezTo>
                    <a:pt x="1964" y="4338"/>
                    <a:pt x="1950" y="4338"/>
                    <a:pt x="1942" y="4338"/>
                  </a:cubicBezTo>
                  <a:cubicBezTo>
                    <a:pt x="1891" y="4338"/>
                    <a:pt x="1810" y="4360"/>
                    <a:pt x="1744" y="4397"/>
                  </a:cubicBezTo>
                  <a:cubicBezTo>
                    <a:pt x="1657" y="4433"/>
                    <a:pt x="1605" y="4462"/>
                    <a:pt x="1547" y="4492"/>
                  </a:cubicBezTo>
                  <a:cubicBezTo>
                    <a:pt x="1488" y="4529"/>
                    <a:pt x="1437" y="4565"/>
                    <a:pt x="1393" y="4572"/>
                  </a:cubicBezTo>
                  <a:cubicBezTo>
                    <a:pt x="1349" y="4580"/>
                    <a:pt x="1319" y="4594"/>
                    <a:pt x="1268" y="4631"/>
                  </a:cubicBezTo>
                  <a:cubicBezTo>
                    <a:pt x="1253" y="4638"/>
                    <a:pt x="1246" y="4638"/>
                    <a:pt x="1231" y="4638"/>
                  </a:cubicBezTo>
                  <a:cubicBezTo>
                    <a:pt x="1210" y="4638"/>
                    <a:pt x="1180" y="4631"/>
                    <a:pt x="1158" y="4631"/>
                  </a:cubicBezTo>
                  <a:cubicBezTo>
                    <a:pt x="1143" y="4631"/>
                    <a:pt x="1136" y="4631"/>
                    <a:pt x="1122" y="4646"/>
                  </a:cubicBezTo>
                  <a:cubicBezTo>
                    <a:pt x="1078" y="4697"/>
                    <a:pt x="1034" y="4704"/>
                    <a:pt x="1012" y="4704"/>
                  </a:cubicBezTo>
                  <a:cubicBezTo>
                    <a:pt x="990" y="4704"/>
                    <a:pt x="960" y="4653"/>
                    <a:pt x="909" y="4653"/>
                  </a:cubicBezTo>
                  <a:cubicBezTo>
                    <a:pt x="909" y="4653"/>
                    <a:pt x="902" y="4653"/>
                    <a:pt x="902" y="4660"/>
                  </a:cubicBezTo>
                  <a:cubicBezTo>
                    <a:pt x="894" y="4660"/>
                    <a:pt x="880" y="4660"/>
                    <a:pt x="872" y="4660"/>
                  </a:cubicBezTo>
                  <a:cubicBezTo>
                    <a:pt x="807" y="4660"/>
                    <a:pt x="711" y="4638"/>
                    <a:pt x="645" y="4609"/>
                  </a:cubicBezTo>
                  <a:cubicBezTo>
                    <a:pt x="631" y="4602"/>
                    <a:pt x="623" y="4602"/>
                    <a:pt x="609" y="4602"/>
                  </a:cubicBezTo>
                  <a:cubicBezTo>
                    <a:pt x="579" y="4602"/>
                    <a:pt x="543" y="4617"/>
                    <a:pt x="521" y="4631"/>
                  </a:cubicBezTo>
                  <a:cubicBezTo>
                    <a:pt x="528" y="4594"/>
                    <a:pt x="550" y="4558"/>
                    <a:pt x="557" y="4521"/>
                  </a:cubicBezTo>
                  <a:cubicBezTo>
                    <a:pt x="565" y="4470"/>
                    <a:pt x="601" y="4419"/>
                    <a:pt x="652" y="4367"/>
                  </a:cubicBezTo>
                  <a:cubicBezTo>
                    <a:pt x="711" y="4309"/>
                    <a:pt x="704" y="4272"/>
                    <a:pt x="711" y="4191"/>
                  </a:cubicBezTo>
                  <a:cubicBezTo>
                    <a:pt x="726" y="4118"/>
                    <a:pt x="755" y="4118"/>
                    <a:pt x="836" y="4067"/>
                  </a:cubicBezTo>
                  <a:cubicBezTo>
                    <a:pt x="917" y="4023"/>
                    <a:pt x="858" y="3920"/>
                    <a:pt x="894" y="3840"/>
                  </a:cubicBezTo>
                  <a:cubicBezTo>
                    <a:pt x="931" y="3767"/>
                    <a:pt x="858" y="3730"/>
                    <a:pt x="792" y="3730"/>
                  </a:cubicBezTo>
                  <a:cubicBezTo>
                    <a:pt x="726" y="3730"/>
                    <a:pt x="645" y="3708"/>
                    <a:pt x="645" y="3642"/>
                  </a:cubicBezTo>
                  <a:cubicBezTo>
                    <a:pt x="645" y="3591"/>
                    <a:pt x="638" y="3576"/>
                    <a:pt x="609" y="3576"/>
                  </a:cubicBezTo>
                  <a:cubicBezTo>
                    <a:pt x="594" y="3576"/>
                    <a:pt x="579" y="3576"/>
                    <a:pt x="557" y="3583"/>
                  </a:cubicBezTo>
                  <a:cubicBezTo>
                    <a:pt x="550" y="3583"/>
                    <a:pt x="543" y="3583"/>
                    <a:pt x="535" y="3583"/>
                  </a:cubicBezTo>
                  <a:cubicBezTo>
                    <a:pt x="469" y="3583"/>
                    <a:pt x="448" y="3525"/>
                    <a:pt x="396" y="3495"/>
                  </a:cubicBezTo>
                  <a:cubicBezTo>
                    <a:pt x="338" y="3459"/>
                    <a:pt x="294" y="3400"/>
                    <a:pt x="279" y="3298"/>
                  </a:cubicBezTo>
                  <a:cubicBezTo>
                    <a:pt x="272" y="3195"/>
                    <a:pt x="228" y="3188"/>
                    <a:pt x="184" y="3143"/>
                  </a:cubicBezTo>
                  <a:cubicBezTo>
                    <a:pt x="132" y="3092"/>
                    <a:pt x="110" y="2982"/>
                    <a:pt x="67" y="2902"/>
                  </a:cubicBezTo>
                  <a:cubicBezTo>
                    <a:pt x="22" y="2821"/>
                    <a:pt x="88" y="2733"/>
                    <a:pt x="125" y="2631"/>
                  </a:cubicBezTo>
                  <a:cubicBezTo>
                    <a:pt x="154" y="2528"/>
                    <a:pt x="125" y="2543"/>
                    <a:pt x="184" y="2491"/>
                  </a:cubicBezTo>
                  <a:cubicBezTo>
                    <a:pt x="235" y="2448"/>
                    <a:pt x="257" y="2484"/>
                    <a:pt x="228" y="2418"/>
                  </a:cubicBezTo>
                  <a:cubicBezTo>
                    <a:pt x="191" y="2345"/>
                    <a:pt x="228" y="2279"/>
                    <a:pt x="272" y="2242"/>
                  </a:cubicBezTo>
                  <a:cubicBezTo>
                    <a:pt x="316" y="2213"/>
                    <a:pt x="418" y="2213"/>
                    <a:pt x="455" y="2132"/>
                  </a:cubicBezTo>
                  <a:cubicBezTo>
                    <a:pt x="477" y="2074"/>
                    <a:pt x="506" y="2052"/>
                    <a:pt x="543" y="2052"/>
                  </a:cubicBezTo>
                  <a:cubicBezTo>
                    <a:pt x="557" y="2052"/>
                    <a:pt x="572" y="2052"/>
                    <a:pt x="587" y="2066"/>
                  </a:cubicBezTo>
                  <a:cubicBezTo>
                    <a:pt x="601" y="2074"/>
                    <a:pt x="616" y="2074"/>
                    <a:pt x="623" y="2074"/>
                  </a:cubicBezTo>
                  <a:cubicBezTo>
                    <a:pt x="660" y="2074"/>
                    <a:pt x="689" y="2037"/>
                    <a:pt x="726" y="1993"/>
                  </a:cubicBezTo>
                  <a:cubicBezTo>
                    <a:pt x="762" y="1949"/>
                    <a:pt x="711" y="1934"/>
                    <a:pt x="667" y="1898"/>
                  </a:cubicBezTo>
                  <a:cubicBezTo>
                    <a:pt x="682" y="1861"/>
                    <a:pt x="682" y="1825"/>
                    <a:pt x="711" y="1817"/>
                  </a:cubicBezTo>
                  <a:cubicBezTo>
                    <a:pt x="719" y="1817"/>
                    <a:pt x="726" y="1817"/>
                    <a:pt x="733" y="1817"/>
                  </a:cubicBezTo>
                  <a:cubicBezTo>
                    <a:pt x="762" y="1817"/>
                    <a:pt x="777" y="1832"/>
                    <a:pt x="799" y="1869"/>
                  </a:cubicBezTo>
                  <a:cubicBezTo>
                    <a:pt x="821" y="1898"/>
                    <a:pt x="836" y="1979"/>
                    <a:pt x="872" y="1979"/>
                  </a:cubicBezTo>
                  <a:cubicBezTo>
                    <a:pt x="887" y="1979"/>
                    <a:pt x="902" y="1971"/>
                    <a:pt x="917" y="1957"/>
                  </a:cubicBezTo>
                  <a:cubicBezTo>
                    <a:pt x="982" y="1876"/>
                    <a:pt x="1012" y="1861"/>
                    <a:pt x="1070" y="1839"/>
                  </a:cubicBezTo>
                  <a:cubicBezTo>
                    <a:pt x="1078" y="1839"/>
                    <a:pt x="1085" y="1839"/>
                    <a:pt x="1092" y="1839"/>
                  </a:cubicBezTo>
                  <a:cubicBezTo>
                    <a:pt x="1143" y="1839"/>
                    <a:pt x="1173" y="1883"/>
                    <a:pt x="1195" y="1912"/>
                  </a:cubicBezTo>
                  <a:cubicBezTo>
                    <a:pt x="1210" y="1927"/>
                    <a:pt x="1239" y="1942"/>
                    <a:pt x="1253" y="1942"/>
                  </a:cubicBezTo>
                  <a:cubicBezTo>
                    <a:pt x="1268" y="1942"/>
                    <a:pt x="1276" y="1934"/>
                    <a:pt x="1283" y="1920"/>
                  </a:cubicBezTo>
                  <a:cubicBezTo>
                    <a:pt x="1283" y="1905"/>
                    <a:pt x="1290" y="1905"/>
                    <a:pt x="1290" y="1905"/>
                  </a:cubicBezTo>
                  <a:cubicBezTo>
                    <a:pt x="1305" y="1905"/>
                    <a:pt x="1327" y="1934"/>
                    <a:pt x="1341" y="1957"/>
                  </a:cubicBezTo>
                  <a:cubicBezTo>
                    <a:pt x="1356" y="1964"/>
                    <a:pt x="1371" y="1971"/>
                    <a:pt x="1385" y="1971"/>
                  </a:cubicBezTo>
                  <a:cubicBezTo>
                    <a:pt x="1415" y="1971"/>
                    <a:pt x="1444" y="1957"/>
                    <a:pt x="1466" y="1942"/>
                  </a:cubicBezTo>
                  <a:cubicBezTo>
                    <a:pt x="1510" y="1920"/>
                    <a:pt x="1517" y="1883"/>
                    <a:pt x="1510" y="1839"/>
                  </a:cubicBezTo>
                  <a:cubicBezTo>
                    <a:pt x="1503" y="1803"/>
                    <a:pt x="1569" y="1759"/>
                    <a:pt x="1539" y="1722"/>
                  </a:cubicBezTo>
                  <a:cubicBezTo>
                    <a:pt x="1503" y="1693"/>
                    <a:pt x="1466" y="1700"/>
                    <a:pt x="1466" y="1641"/>
                  </a:cubicBezTo>
                  <a:cubicBezTo>
                    <a:pt x="1466" y="1575"/>
                    <a:pt x="1459" y="1561"/>
                    <a:pt x="1503" y="1517"/>
                  </a:cubicBezTo>
                  <a:cubicBezTo>
                    <a:pt x="1517" y="1510"/>
                    <a:pt x="1525" y="1502"/>
                    <a:pt x="1532" y="1502"/>
                  </a:cubicBezTo>
                  <a:cubicBezTo>
                    <a:pt x="1561" y="1502"/>
                    <a:pt x="1583" y="1546"/>
                    <a:pt x="1605" y="1561"/>
                  </a:cubicBezTo>
                  <a:cubicBezTo>
                    <a:pt x="1627" y="1583"/>
                    <a:pt x="1657" y="1619"/>
                    <a:pt x="1693" y="1619"/>
                  </a:cubicBezTo>
                  <a:cubicBezTo>
                    <a:pt x="1708" y="1619"/>
                    <a:pt x="1722" y="1612"/>
                    <a:pt x="1730" y="1598"/>
                  </a:cubicBezTo>
                  <a:cubicBezTo>
                    <a:pt x="1774" y="1546"/>
                    <a:pt x="1803" y="1495"/>
                    <a:pt x="1781" y="1458"/>
                  </a:cubicBezTo>
                  <a:cubicBezTo>
                    <a:pt x="1766" y="1429"/>
                    <a:pt x="1766" y="1363"/>
                    <a:pt x="1818" y="1356"/>
                  </a:cubicBezTo>
                  <a:cubicBezTo>
                    <a:pt x="1869" y="1348"/>
                    <a:pt x="1862" y="1326"/>
                    <a:pt x="1869" y="1290"/>
                  </a:cubicBezTo>
                  <a:cubicBezTo>
                    <a:pt x="1876" y="1253"/>
                    <a:pt x="1972" y="1268"/>
                    <a:pt x="1993" y="1253"/>
                  </a:cubicBezTo>
                  <a:cubicBezTo>
                    <a:pt x="2023" y="1246"/>
                    <a:pt x="2030" y="1216"/>
                    <a:pt x="2067" y="1172"/>
                  </a:cubicBezTo>
                  <a:cubicBezTo>
                    <a:pt x="2074" y="1158"/>
                    <a:pt x="2089" y="1150"/>
                    <a:pt x="2103" y="1150"/>
                  </a:cubicBezTo>
                  <a:cubicBezTo>
                    <a:pt x="2133" y="1150"/>
                    <a:pt x="2162" y="1172"/>
                    <a:pt x="2191" y="1172"/>
                  </a:cubicBezTo>
                  <a:cubicBezTo>
                    <a:pt x="2235" y="1172"/>
                    <a:pt x="2272" y="1150"/>
                    <a:pt x="2309" y="1121"/>
                  </a:cubicBezTo>
                  <a:cubicBezTo>
                    <a:pt x="2353" y="1084"/>
                    <a:pt x="2404" y="1026"/>
                    <a:pt x="2448" y="1026"/>
                  </a:cubicBezTo>
                  <a:cubicBezTo>
                    <a:pt x="2484" y="1026"/>
                    <a:pt x="2536" y="1077"/>
                    <a:pt x="2580" y="1077"/>
                  </a:cubicBezTo>
                  <a:cubicBezTo>
                    <a:pt x="2587" y="1077"/>
                    <a:pt x="2594" y="1070"/>
                    <a:pt x="2602" y="1070"/>
                  </a:cubicBezTo>
                  <a:cubicBezTo>
                    <a:pt x="2646" y="1041"/>
                    <a:pt x="2719" y="1019"/>
                    <a:pt x="2748" y="982"/>
                  </a:cubicBezTo>
                  <a:cubicBezTo>
                    <a:pt x="2770" y="953"/>
                    <a:pt x="2770" y="938"/>
                    <a:pt x="2807" y="879"/>
                  </a:cubicBezTo>
                  <a:cubicBezTo>
                    <a:pt x="2836" y="821"/>
                    <a:pt x="2910" y="791"/>
                    <a:pt x="2939" y="777"/>
                  </a:cubicBezTo>
                  <a:cubicBezTo>
                    <a:pt x="2975" y="769"/>
                    <a:pt x="3034" y="769"/>
                    <a:pt x="3093" y="725"/>
                  </a:cubicBezTo>
                  <a:cubicBezTo>
                    <a:pt x="3137" y="696"/>
                    <a:pt x="3166" y="667"/>
                    <a:pt x="3188" y="667"/>
                  </a:cubicBezTo>
                  <a:cubicBezTo>
                    <a:pt x="3195" y="667"/>
                    <a:pt x="3203" y="674"/>
                    <a:pt x="3203" y="689"/>
                  </a:cubicBezTo>
                  <a:cubicBezTo>
                    <a:pt x="3210" y="703"/>
                    <a:pt x="3210" y="703"/>
                    <a:pt x="3217" y="703"/>
                  </a:cubicBezTo>
                  <a:cubicBezTo>
                    <a:pt x="3239" y="703"/>
                    <a:pt x="3261" y="681"/>
                    <a:pt x="3261" y="652"/>
                  </a:cubicBezTo>
                  <a:cubicBezTo>
                    <a:pt x="3269" y="608"/>
                    <a:pt x="3305" y="630"/>
                    <a:pt x="3371" y="608"/>
                  </a:cubicBezTo>
                  <a:cubicBezTo>
                    <a:pt x="3444" y="593"/>
                    <a:pt x="3415" y="616"/>
                    <a:pt x="3437" y="557"/>
                  </a:cubicBezTo>
                  <a:cubicBezTo>
                    <a:pt x="3452" y="498"/>
                    <a:pt x="3452" y="476"/>
                    <a:pt x="3481" y="432"/>
                  </a:cubicBezTo>
                  <a:cubicBezTo>
                    <a:pt x="3518" y="388"/>
                    <a:pt x="3562" y="374"/>
                    <a:pt x="3584" y="344"/>
                  </a:cubicBezTo>
                  <a:cubicBezTo>
                    <a:pt x="3613" y="322"/>
                    <a:pt x="3613" y="264"/>
                    <a:pt x="3620" y="220"/>
                  </a:cubicBezTo>
                  <a:cubicBezTo>
                    <a:pt x="3628" y="176"/>
                    <a:pt x="3606" y="117"/>
                    <a:pt x="3664" y="73"/>
                  </a:cubicBezTo>
                  <a:cubicBezTo>
                    <a:pt x="3701" y="44"/>
                    <a:pt x="3730" y="29"/>
                    <a:pt x="3752" y="29"/>
                  </a:cubicBezTo>
                  <a:lnTo>
                    <a:pt x="3752" y="0"/>
                  </a:lnTo>
                  <a:lnTo>
                    <a:pt x="3752" y="0"/>
                  </a:lnTo>
                  <a:lnTo>
                    <a:pt x="3752" y="0"/>
                  </a:lnTo>
                  <a:cubicBezTo>
                    <a:pt x="3730" y="0"/>
                    <a:pt x="3693" y="15"/>
                    <a:pt x="3642" y="51"/>
                  </a:cubicBezTo>
                  <a:cubicBezTo>
                    <a:pt x="3591" y="88"/>
                    <a:pt x="3591" y="139"/>
                    <a:pt x="3591" y="183"/>
                  </a:cubicBezTo>
                  <a:cubicBezTo>
                    <a:pt x="3591" y="191"/>
                    <a:pt x="3591" y="205"/>
                    <a:pt x="3591" y="212"/>
                  </a:cubicBezTo>
                  <a:cubicBezTo>
                    <a:pt x="3591" y="227"/>
                    <a:pt x="3584" y="234"/>
                    <a:pt x="3584" y="249"/>
                  </a:cubicBezTo>
                  <a:cubicBezTo>
                    <a:pt x="3584" y="279"/>
                    <a:pt x="3576" y="315"/>
                    <a:pt x="3562" y="322"/>
                  </a:cubicBezTo>
                  <a:cubicBezTo>
                    <a:pt x="3554" y="330"/>
                    <a:pt x="3547" y="337"/>
                    <a:pt x="3532" y="352"/>
                  </a:cubicBezTo>
                  <a:cubicBezTo>
                    <a:pt x="3510" y="366"/>
                    <a:pt x="3481" y="381"/>
                    <a:pt x="3459" y="410"/>
                  </a:cubicBezTo>
                  <a:cubicBezTo>
                    <a:pt x="3430" y="447"/>
                    <a:pt x="3422" y="476"/>
                    <a:pt x="3415" y="520"/>
                  </a:cubicBezTo>
                  <a:cubicBezTo>
                    <a:pt x="3408" y="528"/>
                    <a:pt x="3408" y="535"/>
                    <a:pt x="3408" y="550"/>
                  </a:cubicBezTo>
                  <a:cubicBezTo>
                    <a:pt x="3400" y="557"/>
                    <a:pt x="3400" y="564"/>
                    <a:pt x="3400" y="572"/>
                  </a:cubicBezTo>
                  <a:cubicBezTo>
                    <a:pt x="3393" y="572"/>
                    <a:pt x="3379" y="579"/>
                    <a:pt x="3364" y="579"/>
                  </a:cubicBezTo>
                  <a:cubicBezTo>
                    <a:pt x="3349" y="586"/>
                    <a:pt x="3327" y="586"/>
                    <a:pt x="3312" y="586"/>
                  </a:cubicBezTo>
                  <a:cubicBezTo>
                    <a:pt x="3283" y="593"/>
                    <a:pt x="3247" y="593"/>
                    <a:pt x="3232" y="645"/>
                  </a:cubicBezTo>
                  <a:cubicBezTo>
                    <a:pt x="3232" y="652"/>
                    <a:pt x="3232" y="660"/>
                    <a:pt x="3224" y="660"/>
                  </a:cubicBezTo>
                  <a:cubicBezTo>
                    <a:pt x="3217" y="638"/>
                    <a:pt x="3195" y="638"/>
                    <a:pt x="3188" y="638"/>
                  </a:cubicBezTo>
                  <a:cubicBezTo>
                    <a:pt x="3166" y="638"/>
                    <a:pt x="3137" y="660"/>
                    <a:pt x="3107" y="681"/>
                  </a:cubicBezTo>
                  <a:cubicBezTo>
                    <a:pt x="3093" y="689"/>
                    <a:pt x="3085" y="696"/>
                    <a:pt x="3078" y="703"/>
                  </a:cubicBezTo>
                  <a:cubicBezTo>
                    <a:pt x="3034" y="733"/>
                    <a:pt x="2998" y="740"/>
                    <a:pt x="2961" y="748"/>
                  </a:cubicBezTo>
                  <a:cubicBezTo>
                    <a:pt x="2953" y="748"/>
                    <a:pt x="2939" y="748"/>
                    <a:pt x="2931" y="748"/>
                  </a:cubicBezTo>
                  <a:cubicBezTo>
                    <a:pt x="2895" y="762"/>
                    <a:pt x="2814" y="799"/>
                    <a:pt x="2778" y="865"/>
                  </a:cubicBezTo>
                  <a:cubicBezTo>
                    <a:pt x="2763" y="887"/>
                    <a:pt x="2756" y="901"/>
                    <a:pt x="2748" y="916"/>
                  </a:cubicBezTo>
                  <a:cubicBezTo>
                    <a:pt x="2741" y="938"/>
                    <a:pt x="2734" y="945"/>
                    <a:pt x="2719" y="967"/>
                  </a:cubicBezTo>
                  <a:cubicBezTo>
                    <a:pt x="2704" y="982"/>
                    <a:pt x="2668" y="1004"/>
                    <a:pt x="2638" y="1019"/>
                  </a:cubicBezTo>
                  <a:cubicBezTo>
                    <a:pt x="2616" y="1026"/>
                    <a:pt x="2602" y="1033"/>
                    <a:pt x="2587" y="1041"/>
                  </a:cubicBezTo>
                  <a:lnTo>
                    <a:pt x="2580" y="1041"/>
                  </a:lnTo>
                  <a:cubicBezTo>
                    <a:pt x="2565" y="1041"/>
                    <a:pt x="2543" y="1033"/>
                    <a:pt x="2521" y="1026"/>
                  </a:cubicBezTo>
                  <a:cubicBezTo>
                    <a:pt x="2499" y="1011"/>
                    <a:pt x="2470" y="997"/>
                    <a:pt x="2448" y="997"/>
                  </a:cubicBezTo>
                  <a:cubicBezTo>
                    <a:pt x="2404" y="997"/>
                    <a:pt x="2367" y="1033"/>
                    <a:pt x="2323" y="1070"/>
                  </a:cubicBezTo>
                  <a:cubicBezTo>
                    <a:pt x="2316" y="1077"/>
                    <a:pt x="2301" y="1084"/>
                    <a:pt x="2294" y="1099"/>
                  </a:cubicBezTo>
                  <a:cubicBezTo>
                    <a:pt x="2250" y="1129"/>
                    <a:pt x="2228" y="1143"/>
                    <a:pt x="2191" y="1143"/>
                  </a:cubicBezTo>
                  <a:cubicBezTo>
                    <a:pt x="2184" y="1143"/>
                    <a:pt x="2169" y="1136"/>
                    <a:pt x="2155" y="1136"/>
                  </a:cubicBezTo>
                  <a:cubicBezTo>
                    <a:pt x="2140" y="1129"/>
                    <a:pt x="2125" y="1121"/>
                    <a:pt x="2103" y="1121"/>
                  </a:cubicBezTo>
                  <a:cubicBezTo>
                    <a:pt x="2081" y="1121"/>
                    <a:pt x="2060" y="1129"/>
                    <a:pt x="2038" y="1150"/>
                  </a:cubicBezTo>
                  <a:cubicBezTo>
                    <a:pt x="2030" y="1172"/>
                    <a:pt x="2016" y="1187"/>
                    <a:pt x="2008" y="1202"/>
                  </a:cubicBezTo>
                  <a:cubicBezTo>
                    <a:pt x="2001" y="1209"/>
                    <a:pt x="1993" y="1224"/>
                    <a:pt x="1986" y="1224"/>
                  </a:cubicBezTo>
                  <a:cubicBezTo>
                    <a:pt x="1986" y="1231"/>
                    <a:pt x="1964" y="1231"/>
                    <a:pt x="1957" y="1231"/>
                  </a:cubicBezTo>
                  <a:cubicBezTo>
                    <a:pt x="1906" y="1231"/>
                    <a:pt x="1854" y="1238"/>
                    <a:pt x="1840" y="1282"/>
                  </a:cubicBezTo>
                  <a:cubicBezTo>
                    <a:pt x="1840" y="1290"/>
                    <a:pt x="1840" y="1297"/>
                    <a:pt x="1832" y="1304"/>
                  </a:cubicBezTo>
                  <a:cubicBezTo>
                    <a:pt x="1832" y="1326"/>
                    <a:pt x="1832" y="1326"/>
                    <a:pt x="1810" y="1326"/>
                  </a:cubicBezTo>
                  <a:cubicBezTo>
                    <a:pt x="1788" y="1334"/>
                    <a:pt x="1766" y="1348"/>
                    <a:pt x="1752" y="1370"/>
                  </a:cubicBezTo>
                  <a:cubicBezTo>
                    <a:pt x="1737" y="1407"/>
                    <a:pt x="1744" y="1443"/>
                    <a:pt x="1759" y="1473"/>
                  </a:cubicBezTo>
                  <a:cubicBezTo>
                    <a:pt x="1766" y="1488"/>
                    <a:pt x="1752" y="1524"/>
                    <a:pt x="1708" y="1575"/>
                  </a:cubicBezTo>
                  <a:cubicBezTo>
                    <a:pt x="1700" y="1583"/>
                    <a:pt x="1700" y="1583"/>
                    <a:pt x="1693" y="1583"/>
                  </a:cubicBezTo>
                  <a:cubicBezTo>
                    <a:pt x="1671" y="1583"/>
                    <a:pt x="1642" y="1553"/>
                    <a:pt x="1627" y="1539"/>
                  </a:cubicBezTo>
                  <a:cubicBezTo>
                    <a:pt x="1620" y="1539"/>
                    <a:pt x="1620" y="1531"/>
                    <a:pt x="1612" y="1524"/>
                  </a:cubicBezTo>
                  <a:cubicBezTo>
                    <a:pt x="1598" y="1502"/>
                    <a:pt x="1569" y="1473"/>
                    <a:pt x="1532" y="1473"/>
                  </a:cubicBezTo>
                  <a:cubicBezTo>
                    <a:pt x="1517" y="1473"/>
                    <a:pt x="1495" y="1480"/>
                    <a:pt x="1481" y="1495"/>
                  </a:cubicBezTo>
                  <a:cubicBezTo>
                    <a:pt x="1437" y="1539"/>
                    <a:pt x="1437" y="1568"/>
                    <a:pt x="1437" y="1612"/>
                  </a:cubicBezTo>
                  <a:cubicBezTo>
                    <a:pt x="1437" y="1619"/>
                    <a:pt x="1437" y="1627"/>
                    <a:pt x="1437" y="1641"/>
                  </a:cubicBezTo>
                  <a:cubicBezTo>
                    <a:pt x="1437" y="1693"/>
                    <a:pt x="1466" y="1715"/>
                    <a:pt x="1488" y="1729"/>
                  </a:cubicBezTo>
                  <a:cubicBezTo>
                    <a:pt x="1503" y="1729"/>
                    <a:pt x="1510" y="1737"/>
                    <a:pt x="1517" y="1744"/>
                  </a:cubicBezTo>
                  <a:cubicBezTo>
                    <a:pt x="1517" y="1751"/>
                    <a:pt x="1510" y="1766"/>
                    <a:pt x="1503" y="1773"/>
                  </a:cubicBezTo>
                  <a:cubicBezTo>
                    <a:pt x="1495" y="1795"/>
                    <a:pt x="1473" y="1817"/>
                    <a:pt x="1481" y="1847"/>
                  </a:cubicBezTo>
                  <a:cubicBezTo>
                    <a:pt x="1488" y="1883"/>
                    <a:pt x="1481" y="1905"/>
                    <a:pt x="1451" y="1920"/>
                  </a:cubicBezTo>
                  <a:cubicBezTo>
                    <a:pt x="1437" y="1927"/>
                    <a:pt x="1407" y="1934"/>
                    <a:pt x="1385" y="1934"/>
                  </a:cubicBezTo>
                  <a:cubicBezTo>
                    <a:pt x="1378" y="1934"/>
                    <a:pt x="1371" y="1934"/>
                    <a:pt x="1363" y="1934"/>
                  </a:cubicBezTo>
                  <a:cubicBezTo>
                    <a:pt x="1356" y="1927"/>
                    <a:pt x="1349" y="1920"/>
                    <a:pt x="1349" y="1912"/>
                  </a:cubicBezTo>
                  <a:cubicBezTo>
                    <a:pt x="1327" y="1891"/>
                    <a:pt x="1312" y="1876"/>
                    <a:pt x="1290" y="1876"/>
                  </a:cubicBezTo>
                  <a:cubicBezTo>
                    <a:pt x="1283" y="1876"/>
                    <a:pt x="1261" y="1876"/>
                    <a:pt x="1253" y="1912"/>
                  </a:cubicBezTo>
                  <a:lnTo>
                    <a:pt x="1253" y="1912"/>
                  </a:lnTo>
                  <a:cubicBezTo>
                    <a:pt x="1246" y="1912"/>
                    <a:pt x="1231" y="1905"/>
                    <a:pt x="1224" y="1891"/>
                  </a:cubicBezTo>
                  <a:cubicBezTo>
                    <a:pt x="1202" y="1869"/>
                    <a:pt x="1158" y="1810"/>
                    <a:pt x="1092" y="1810"/>
                  </a:cubicBezTo>
                  <a:cubicBezTo>
                    <a:pt x="1085" y="1810"/>
                    <a:pt x="1070" y="1810"/>
                    <a:pt x="1063" y="1810"/>
                  </a:cubicBezTo>
                  <a:cubicBezTo>
                    <a:pt x="997" y="1832"/>
                    <a:pt x="968" y="1854"/>
                    <a:pt x="894" y="1934"/>
                  </a:cubicBezTo>
                  <a:cubicBezTo>
                    <a:pt x="880" y="1949"/>
                    <a:pt x="872" y="1949"/>
                    <a:pt x="872" y="1949"/>
                  </a:cubicBezTo>
                  <a:cubicBezTo>
                    <a:pt x="865" y="1942"/>
                    <a:pt x="850" y="1905"/>
                    <a:pt x="843" y="1891"/>
                  </a:cubicBezTo>
                  <a:cubicBezTo>
                    <a:pt x="836" y="1876"/>
                    <a:pt x="828" y="1861"/>
                    <a:pt x="821" y="1854"/>
                  </a:cubicBezTo>
                  <a:cubicBezTo>
                    <a:pt x="799" y="1817"/>
                    <a:pt x="777" y="1788"/>
                    <a:pt x="733" y="1788"/>
                  </a:cubicBezTo>
                  <a:cubicBezTo>
                    <a:pt x="726" y="1788"/>
                    <a:pt x="719" y="1788"/>
                    <a:pt x="704" y="1788"/>
                  </a:cubicBezTo>
                  <a:cubicBezTo>
                    <a:pt x="660" y="1795"/>
                    <a:pt x="652" y="1847"/>
                    <a:pt x="645" y="1883"/>
                  </a:cubicBezTo>
                  <a:cubicBezTo>
                    <a:pt x="638" y="1891"/>
                    <a:pt x="638" y="1891"/>
                    <a:pt x="638" y="1891"/>
                  </a:cubicBezTo>
                  <a:cubicBezTo>
                    <a:pt x="638" y="1912"/>
                    <a:pt x="638" y="1912"/>
                    <a:pt x="638" y="1912"/>
                  </a:cubicBezTo>
                  <a:cubicBezTo>
                    <a:pt x="652" y="1920"/>
                    <a:pt x="652" y="1920"/>
                    <a:pt x="652" y="1920"/>
                  </a:cubicBezTo>
                  <a:cubicBezTo>
                    <a:pt x="660" y="1934"/>
                    <a:pt x="667" y="1934"/>
                    <a:pt x="682" y="1942"/>
                  </a:cubicBezTo>
                  <a:cubicBezTo>
                    <a:pt x="689" y="1949"/>
                    <a:pt x="704" y="1964"/>
                    <a:pt x="704" y="1971"/>
                  </a:cubicBezTo>
                  <a:cubicBezTo>
                    <a:pt x="704" y="1971"/>
                    <a:pt x="704" y="1971"/>
                    <a:pt x="704" y="1979"/>
                  </a:cubicBezTo>
                  <a:cubicBezTo>
                    <a:pt x="697" y="1979"/>
                    <a:pt x="697" y="1979"/>
                    <a:pt x="697" y="1979"/>
                  </a:cubicBezTo>
                  <a:cubicBezTo>
                    <a:pt x="667" y="2015"/>
                    <a:pt x="645" y="2044"/>
                    <a:pt x="623" y="2044"/>
                  </a:cubicBezTo>
                  <a:cubicBezTo>
                    <a:pt x="616" y="2044"/>
                    <a:pt x="609" y="2044"/>
                    <a:pt x="601" y="2037"/>
                  </a:cubicBezTo>
                  <a:cubicBezTo>
                    <a:pt x="579" y="2022"/>
                    <a:pt x="557" y="2015"/>
                    <a:pt x="543" y="2015"/>
                  </a:cubicBezTo>
                  <a:cubicBezTo>
                    <a:pt x="491" y="2015"/>
                    <a:pt x="455" y="2052"/>
                    <a:pt x="426" y="2118"/>
                  </a:cubicBezTo>
                  <a:cubicBezTo>
                    <a:pt x="411" y="2162"/>
                    <a:pt x="367" y="2176"/>
                    <a:pt x="323" y="2191"/>
                  </a:cubicBezTo>
                  <a:cubicBezTo>
                    <a:pt x="294" y="2198"/>
                    <a:pt x="272" y="2206"/>
                    <a:pt x="250" y="2220"/>
                  </a:cubicBezTo>
                  <a:cubicBezTo>
                    <a:pt x="198" y="2264"/>
                    <a:pt x="154" y="2345"/>
                    <a:pt x="198" y="2425"/>
                  </a:cubicBezTo>
                  <a:cubicBezTo>
                    <a:pt x="198" y="2433"/>
                    <a:pt x="206" y="2440"/>
                    <a:pt x="206" y="2440"/>
                  </a:cubicBezTo>
                  <a:cubicBezTo>
                    <a:pt x="191" y="2448"/>
                    <a:pt x="176" y="2455"/>
                    <a:pt x="162" y="2469"/>
                  </a:cubicBezTo>
                  <a:cubicBezTo>
                    <a:pt x="125" y="2499"/>
                    <a:pt x="118" y="2513"/>
                    <a:pt x="110" y="2550"/>
                  </a:cubicBezTo>
                  <a:cubicBezTo>
                    <a:pt x="110" y="2565"/>
                    <a:pt x="110" y="2587"/>
                    <a:pt x="96" y="2623"/>
                  </a:cubicBezTo>
                  <a:cubicBezTo>
                    <a:pt x="88" y="2645"/>
                    <a:pt x="74" y="2675"/>
                    <a:pt x="67" y="2697"/>
                  </a:cubicBezTo>
                  <a:cubicBezTo>
                    <a:pt x="30" y="2770"/>
                    <a:pt x="0" y="2843"/>
                    <a:pt x="37" y="2916"/>
                  </a:cubicBezTo>
                  <a:cubicBezTo>
                    <a:pt x="59" y="2946"/>
                    <a:pt x="74" y="2990"/>
                    <a:pt x="88" y="3026"/>
                  </a:cubicBezTo>
                  <a:cubicBezTo>
                    <a:pt x="110" y="3078"/>
                    <a:pt x="125" y="3129"/>
                    <a:pt x="162" y="3166"/>
                  </a:cubicBezTo>
                  <a:cubicBezTo>
                    <a:pt x="169" y="3173"/>
                    <a:pt x="184" y="3180"/>
                    <a:pt x="191" y="3188"/>
                  </a:cubicBezTo>
                  <a:cubicBezTo>
                    <a:pt x="220" y="3217"/>
                    <a:pt x="242" y="3239"/>
                    <a:pt x="250" y="3305"/>
                  </a:cubicBezTo>
                  <a:cubicBezTo>
                    <a:pt x="264" y="3400"/>
                    <a:pt x="308" y="3473"/>
                    <a:pt x="381" y="3517"/>
                  </a:cubicBezTo>
                  <a:cubicBezTo>
                    <a:pt x="396" y="3525"/>
                    <a:pt x="411" y="3539"/>
                    <a:pt x="426" y="3554"/>
                  </a:cubicBezTo>
                  <a:cubicBezTo>
                    <a:pt x="448" y="3583"/>
                    <a:pt x="484" y="3612"/>
                    <a:pt x="535" y="3612"/>
                  </a:cubicBezTo>
                  <a:cubicBezTo>
                    <a:pt x="543" y="3612"/>
                    <a:pt x="550" y="3612"/>
                    <a:pt x="557" y="3612"/>
                  </a:cubicBezTo>
                  <a:cubicBezTo>
                    <a:pt x="579" y="3612"/>
                    <a:pt x="594" y="3605"/>
                    <a:pt x="609" y="3605"/>
                  </a:cubicBezTo>
                  <a:cubicBezTo>
                    <a:pt x="609" y="3605"/>
                    <a:pt x="609" y="3605"/>
                    <a:pt x="616" y="3605"/>
                  </a:cubicBezTo>
                  <a:cubicBezTo>
                    <a:pt x="616" y="3612"/>
                    <a:pt x="616" y="3620"/>
                    <a:pt x="616" y="3642"/>
                  </a:cubicBezTo>
                  <a:cubicBezTo>
                    <a:pt x="616" y="3715"/>
                    <a:pt x="682" y="3759"/>
                    <a:pt x="792" y="3759"/>
                  </a:cubicBezTo>
                  <a:cubicBezTo>
                    <a:pt x="828" y="3759"/>
                    <a:pt x="858" y="3774"/>
                    <a:pt x="865" y="3788"/>
                  </a:cubicBezTo>
                  <a:cubicBezTo>
                    <a:pt x="872" y="3796"/>
                    <a:pt x="872" y="3810"/>
                    <a:pt x="865" y="3832"/>
                  </a:cubicBezTo>
                  <a:cubicBezTo>
                    <a:pt x="850" y="3869"/>
                    <a:pt x="850" y="3913"/>
                    <a:pt x="850" y="3942"/>
                  </a:cubicBezTo>
                  <a:cubicBezTo>
                    <a:pt x="850" y="4001"/>
                    <a:pt x="850" y="4023"/>
                    <a:pt x="821" y="4045"/>
                  </a:cubicBezTo>
                  <a:cubicBezTo>
                    <a:pt x="807" y="4052"/>
                    <a:pt x="792" y="4060"/>
                    <a:pt x="785" y="4067"/>
                  </a:cubicBezTo>
                  <a:cubicBezTo>
                    <a:pt x="726" y="4096"/>
                    <a:pt x="697" y="4111"/>
                    <a:pt x="682" y="4191"/>
                  </a:cubicBezTo>
                  <a:cubicBezTo>
                    <a:pt x="682" y="4206"/>
                    <a:pt x="682" y="4221"/>
                    <a:pt x="675" y="4235"/>
                  </a:cubicBezTo>
                  <a:cubicBezTo>
                    <a:pt x="675" y="4287"/>
                    <a:pt x="675" y="4309"/>
                    <a:pt x="638" y="4345"/>
                  </a:cubicBezTo>
                  <a:cubicBezTo>
                    <a:pt x="579" y="4397"/>
                    <a:pt x="535" y="4448"/>
                    <a:pt x="528" y="4521"/>
                  </a:cubicBezTo>
                  <a:cubicBezTo>
                    <a:pt x="521" y="4536"/>
                    <a:pt x="513" y="4550"/>
                    <a:pt x="506" y="4572"/>
                  </a:cubicBezTo>
                  <a:cubicBezTo>
                    <a:pt x="499" y="4587"/>
                    <a:pt x="491" y="4602"/>
                    <a:pt x="491" y="4624"/>
                  </a:cubicBezTo>
                  <a:cubicBezTo>
                    <a:pt x="469" y="4697"/>
                    <a:pt x="469" y="4697"/>
                    <a:pt x="469" y="4697"/>
                  </a:cubicBezTo>
                  <a:cubicBezTo>
                    <a:pt x="535" y="4653"/>
                    <a:pt x="535" y="4653"/>
                    <a:pt x="535" y="4653"/>
                  </a:cubicBezTo>
                  <a:cubicBezTo>
                    <a:pt x="565" y="4638"/>
                    <a:pt x="587" y="4631"/>
                    <a:pt x="609" y="4631"/>
                  </a:cubicBezTo>
                  <a:cubicBezTo>
                    <a:pt x="616" y="4631"/>
                    <a:pt x="623" y="4631"/>
                    <a:pt x="631" y="4631"/>
                  </a:cubicBezTo>
                  <a:cubicBezTo>
                    <a:pt x="704" y="4668"/>
                    <a:pt x="807" y="4690"/>
                    <a:pt x="872" y="4690"/>
                  </a:cubicBezTo>
                  <a:cubicBezTo>
                    <a:pt x="887" y="4690"/>
                    <a:pt x="894" y="4690"/>
                    <a:pt x="902" y="4690"/>
                  </a:cubicBezTo>
                  <a:cubicBezTo>
                    <a:pt x="909" y="4690"/>
                    <a:pt x="909" y="4690"/>
                    <a:pt x="909" y="4690"/>
                  </a:cubicBezTo>
                  <a:cubicBezTo>
                    <a:pt x="931" y="4690"/>
                    <a:pt x="946" y="4697"/>
                    <a:pt x="960" y="4712"/>
                  </a:cubicBezTo>
                  <a:cubicBezTo>
                    <a:pt x="975" y="4726"/>
                    <a:pt x="990" y="4741"/>
                    <a:pt x="1012" y="4741"/>
                  </a:cubicBezTo>
                  <a:cubicBezTo>
                    <a:pt x="1048" y="4741"/>
                    <a:pt x="1092" y="4726"/>
                    <a:pt x="1143" y="4668"/>
                  </a:cubicBezTo>
                  <a:cubicBezTo>
                    <a:pt x="1151" y="4660"/>
                    <a:pt x="1158" y="4660"/>
                    <a:pt x="1158" y="4660"/>
                  </a:cubicBezTo>
                  <a:cubicBezTo>
                    <a:pt x="1166" y="4660"/>
                    <a:pt x="1180" y="4660"/>
                    <a:pt x="1188" y="4660"/>
                  </a:cubicBezTo>
                  <a:cubicBezTo>
                    <a:pt x="1202" y="4668"/>
                    <a:pt x="1217" y="4675"/>
                    <a:pt x="1231" y="4675"/>
                  </a:cubicBezTo>
                  <a:cubicBezTo>
                    <a:pt x="1253" y="4675"/>
                    <a:pt x="1268" y="4668"/>
                    <a:pt x="1283" y="4653"/>
                  </a:cubicBezTo>
                  <a:cubicBezTo>
                    <a:pt x="1334" y="4624"/>
                    <a:pt x="1363" y="4609"/>
                    <a:pt x="1400" y="4602"/>
                  </a:cubicBezTo>
                  <a:cubicBezTo>
                    <a:pt x="1437" y="4594"/>
                    <a:pt x="1481" y="4572"/>
                    <a:pt x="1525" y="4543"/>
                  </a:cubicBezTo>
                  <a:cubicBezTo>
                    <a:pt x="1539" y="4536"/>
                    <a:pt x="1547" y="4529"/>
                    <a:pt x="1561" y="4521"/>
                  </a:cubicBezTo>
                  <a:cubicBezTo>
                    <a:pt x="1620" y="4492"/>
                    <a:pt x="1664" y="4462"/>
                    <a:pt x="1752" y="4419"/>
                  </a:cubicBezTo>
                  <a:cubicBezTo>
                    <a:pt x="1818" y="4389"/>
                    <a:pt x="1891" y="4367"/>
                    <a:pt x="1942" y="4367"/>
                  </a:cubicBezTo>
                  <a:cubicBezTo>
                    <a:pt x="1950" y="4367"/>
                    <a:pt x="1957" y="4375"/>
                    <a:pt x="1964" y="4375"/>
                  </a:cubicBezTo>
                  <a:cubicBezTo>
                    <a:pt x="1986" y="4375"/>
                    <a:pt x="2008" y="4397"/>
                    <a:pt x="2030" y="4419"/>
                  </a:cubicBezTo>
                  <a:cubicBezTo>
                    <a:pt x="2045" y="4441"/>
                    <a:pt x="2060" y="4455"/>
                    <a:pt x="2081" y="4470"/>
                  </a:cubicBezTo>
                  <a:cubicBezTo>
                    <a:pt x="2096" y="4477"/>
                    <a:pt x="2103" y="4492"/>
                    <a:pt x="2118" y="4507"/>
                  </a:cubicBezTo>
                  <a:cubicBezTo>
                    <a:pt x="2148" y="4529"/>
                    <a:pt x="2169" y="4558"/>
                    <a:pt x="2206" y="4558"/>
                  </a:cubicBezTo>
                  <a:cubicBezTo>
                    <a:pt x="2213" y="4558"/>
                    <a:pt x="2235" y="4550"/>
                    <a:pt x="2250" y="4529"/>
                  </a:cubicBezTo>
                  <a:cubicBezTo>
                    <a:pt x="2257" y="4521"/>
                    <a:pt x="2257" y="4521"/>
                    <a:pt x="2257" y="4521"/>
                  </a:cubicBezTo>
                  <a:cubicBezTo>
                    <a:pt x="2265" y="4529"/>
                    <a:pt x="2279" y="4543"/>
                    <a:pt x="2287" y="4558"/>
                  </a:cubicBezTo>
                  <a:cubicBezTo>
                    <a:pt x="2316" y="4602"/>
                    <a:pt x="2375" y="4631"/>
                    <a:pt x="2426" y="4631"/>
                  </a:cubicBezTo>
                  <a:cubicBezTo>
                    <a:pt x="2433" y="4631"/>
                    <a:pt x="2448" y="4631"/>
                    <a:pt x="2462" y="4624"/>
                  </a:cubicBezTo>
                  <a:lnTo>
                    <a:pt x="2462" y="4624"/>
                  </a:lnTo>
                  <a:cubicBezTo>
                    <a:pt x="2484" y="4624"/>
                    <a:pt x="2514" y="4646"/>
                    <a:pt x="2521" y="4668"/>
                  </a:cubicBezTo>
                  <a:cubicBezTo>
                    <a:pt x="2529" y="4697"/>
                    <a:pt x="2514" y="4719"/>
                    <a:pt x="2507" y="4756"/>
                  </a:cubicBezTo>
                  <a:cubicBezTo>
                    <a:pt x="2499" y="4763"/>
                    <a:pt x="2499" y="4778"/>
                    <a:pt x="2492" y="4785"/>
                  </a:cubicBezTo>
                  <a:cubicBezTo>
                    <a:pt x="2484" y="4814"/>
                    <a:pt x="2499" y="4851"/>
                    <a:pt x="2514" y="4880"/>
                  </a:cubicBezTo>
                  <a:cubicBezTo>
                    <a:pt x="2521" y="4895"/>
                    <a:pt x="2529" y="4917"/>
                    <a:pt x="2529" y="4924"/>
                  </a:cubicBezTo>
                  <a:lnTo>
                    <a:pt x="2529" y="4924"/>
                  </a:lnTo>
                  <a:cubicBezTo>
                    <a:pt x="2529" y="4924"/>
                    <a:pt x="2529" y="4924"/>
                    <a:pt x="2521" y="4924"/>
                  </a:cubicBezTo>
                  <a:cubicBezTo>
                    <a:pt x="2477" y="4939"/>
                    <a:pt x="2433" y="4961"/>
                    <a:pt x="2426" y="4998"/>
                  </a:cubicBezTo>
                  <a:cubicBezTo>
                    <a:pt x="2419" y="5034"/>
                    <a:pt x="2448" y="5071"/>
                    <a:pt x="2462" y="5078"/>
                  </a:cubicBezTo>
                  <a:cubicBezTo>
                    <a:pt x="2507" y="5122"/>
                    <a:pt x="2521" y="5159"/>
                    <a:pt x="2529" y="5188"/>
                  </a:cubicBezTo>
                  <a:cubicBezTo>
                    <a:pt x="2543" y="5217"/>
                    <a:pt x="2602" y="5283"/>
                    <a:pt x="2675" y="5283"/>
                  </a:cubicBezTo>
                  <a:cubicBezTo>
                    <a:pt x="2682" y="5283"/>
                    <a:pt x="2682" y="5283"/>
                    <a:pt x="2690" y="5283"/>
                  </a:cubicBezTo>
                  <a:cubicBezTo>
                    <a:pt x="2697" y="5283"/>
                    <a:pt x="2697" y="5283"/>
                    <a:pt x="2697" y="5283"/>
                  </a:cubicBezTo>
                  <a:cubicBezTo>
                    <a:pt x="2712" y="5283"/>
                    <a:pt x="2726" y="5283"/>
                    <a:pt x="2734" y="5291"/>
                  </a:cubicBezTo>
                  <a:cubicBezTo>
                    <a:pt x="2741" y="5305"/>
                    <a:pt x="2741" y="5320"/>
                    <a:pt x="2741" y="5334"/>
                  </a:cubicBezTo>
                  <a:cubicBezTo>
                    <a:pt x="2741" y="5349"/>
                    <a:pt x="2741" y="5349"/>
                    <a:pt x="2741" y="5349"/>
                  </a:cubicBezTo>
                  <a:cubicBezTo>
                    <a:pt x="2734" y="5393"/>
                    <a:pt x="2719" y="5452"/>
                    <a:pt x="2697" y="5474"/>
                  </a:cubicBezTo>
                  <a:cubicBezTo>
                    <a:pt x="2690" y="5488"/>
                    <a:pt x="2682" y="5488"/>
                    <a:pt x="2675" y="5488"/>
                  </a:cubicBezTo>
                  <a:cubicBezTo>
                    <a:pt x="2660" y="5496"/>
                    <a:pt x="2646" y="5496"/>
                    <a:pt x="2624" y="5518"/>
                  </a:cubicBezTo>
                  <a:cubicBezTo>
                    <a:pt x="2580" y="5554"/>
                    <a:pt x="2572" y="5562"/>
                    <a:pt x="2521" y="5628"/>
                  </a:cubicBezTo>
                  <a:cubicBezTo>
                    <a:pt x="2521" y="5635"/>
                    <a:pt x="2514" y="5642"/>
                    <a:pt x="2507" y="5650"/>
                  </a:cubicBezTo>
                  <a:cubicBezTo>
                    <a:pt x="2477" y="5693"/>
                    <a:pt x="2448" y="5730"/>
                    <a:pt x="2499" y="5789"/>
                  </a:cubicBezTo>
                  <a:cubicBezTo>
                    <a:pt x="2521" y="5818"/>
                    <a:pt x="2543" y="5833"/>
                    <a:pt x="2565" y="5840"/>
                  </a:cubicBezTo>
                  <a:cubicBezTo>
                    <a:pt x="2580" y="5855"/>
                    <a:pt x="2594" y="5869"/>
                    <a:pt x="2594" y="5877"/>
                  </a:cubicBezTo>
                  <a:cubicBezTo>
                    <a:pt x="2602" y="5891"/>
                    <a:pt x="2602" y="5913"/>
                    <a:pt x="2609" y="5950"/>
                  </a:cubicBezTo>
                  <a:cubicBezTo>
                    <a:pt x="2616" y="6016"/>
                    <a:pt x="2616" y="6016"/>
                    <a:pt x="2616" y="6016"/>
                  </a:cubicBezTo>
                  <a:cubicBezTo>
                    <a:pt x="2660" y="5965"/>
                    <a:pt x="2660" y="5965"/>
                    <a:pt x="2660" y="5965"/>
                  </a:cubicBezTo>
                  <a:cubicBezTo>
                    <a:pt x="2668" y="5957"/>
                    <a:pt x="2675" y="5950"/>
                    <a:pt x="2682" y="5943"/>
                  </a:cubicBezTo>
                  <a:cubicBezTo>
                    <a:pt x="2704" y="5935"/>
                    <a:pt x="2763" y="5921"/>
                    <a:pt x="2792" y="5921"/>
                  </a:cubicBezTo>
                  <a:cubicBezTo>
                    <a:pt x="2800" y="5921"/>
                    <a:pt x="2807" y="5921"/>
                    <a:pt x="2807" y="5921"/>
                  </a:cubicBezTo>
                  <a:cubicBezTo>
                    <a:pt x="2822" y="5935"/>
                    <a:pt x="2843" y="5935"/>
                    <a:pt x="2873" y="5935"/>
                  </a:cubicBezTo>
                  <a:cubicBezTo>
                    <a:pt x="2917" y="5943"/>
                    <a:pt x="2939" y="5950"/>
                    <a:pt x="2939" y="5965"/>
                  </a:cubicBezTo>
                  <a:cubicBezTo>
                    <a:pt x="2939" y="5987"/>
                    <a:pt x="2939" y="6001"/>
                    <a:pt x="2939" y="6023"/>
                  </a:cubicBezTo>
                  <a:cubicBezTo>
                    <a:pt x="2939" y="6075"/>
                    <a:pt x="2939" y="6126"/>
                    <a:pt x="2998" y="6170"/>
                  </a:cubicBezTo>
                  <a:cubicBezTo>
                    <a:pt x="3019" y="6184"/>
                    <a:pt x="3041" y="6199"/>
                    <a:pt x="3056" y="6214"/>
                  </a:cubicBezTo>
                  <a:cubicBezTo>
                    <a:pt x="3085" y="6243"/>
                    <a:pt x="3107" y="6265"/>
                    <a:pt x="3137" y="6265"/>
                  </a:cubicBezTo>
                  <a:cubicBezTo>
                    <a:pt x="3151" y="6265"/>
                    <a:pt x="3166" y="6258"/>
                    <a:pt x="3173" y="6243"/>
                  </a:cubicBezTo>
                  <a:cubicBezTo>
                    <a:pt x="3181" y="6236"/>
                    <a:pt x="3181" y="6236"/>
                    <a:pt x="3188" y="6236"/>
                  </a:cubicBezTo>
                  <a:cubicBezTo>
                    <a:pt x="3188" y="6236"/>
                    <a:pt x="3195" y="6236"/>
                    <a:pt x="3203" y="6243"/>
                  </a:cubicBezTo>
                  <a:cubicBezTo>
                    <a:pt x="3210" y="6265"/>
                    <a:pt x="3261" y="6375"/>
                    <a:pt x="3334" y="6375"/>
                  </a:cubicBezTo>
                  <a:cubicBezTo>
                    <a:pt x="3356" y="6375"/>
                    <a:pt x="3371" y="6375"/>
                    <a:pt x="3386" y="6360"/>
                  </a:cubicBezTo>
                  <a:cubicBezTo>
                    <a:pt x="3393" y="6353"/>
                    <a:pt x="3415" y="6338"/>
                    <a:pt x="3415" y="6338"/>
                  </a:cubicBezTo>
                  <a:cubicBezTo>
                    <a:pt x="3415" y="6338"/>
                    <a:pt x="3422" y="6338"/>
                    <a:pt x="3430" y="6346"/>
                  </a:cubicBezTo>
                  <a:cubicBezTo>
                    <a:pt x="3437" y="6346"/>
                    <a:pt x="3444" y="6353"/>
                    <a:pt x="3459" y="6353"/>
                  </a:cubicBezTo>
                  <a:cubicBezTo>
                    <a:pt x="3474" y="6360"/>
                    <a:pt x="3481" y="6360"/>
                    <a:pt x="3496" y="6360"/>
                  </a:cubicBezTo>
                  <a:cubicBezTo>
                    <a:pt x="3532" y="6360"/>
                    <a:pt x="3562" y="6346"/>
                    <a:pt x="3584" y="6324"/>
                  </a:cubicBezTo>
                  <a:cubicBezTo>
                    <a:pt x="3598" y="6317"/>
                    <a:pt x="3606" y="6309"/>
                    <a:pt x="3620" y="6309"/>
                  </a:cubicBezTo>
                  <a:lnTo>
                    <a:pt x="3620" y="6309"/>
                  </a:lnTo>
                  <a:cubicBezTo>
                    <a:pt x="3620" y="6309"/>
                    <a:pt x="3628" y="6317"/>
                    <a:pt x="3628" y="6324"/>
                  </a:cubicBezTo>
                  <a:cubicBezTo>
                    <a:pt x="3642" y="6338"/>
                    <a:pt x="3664" y="6360"/>
                    <a:pt x="3693" y="6375"/>
                  </a:cubicBezTo>
                  <a:cubicBezTo>
                    <a:pt x="3701" y="6382"/>
                    <a:pt x="3708" y="6382"/>
                    <a:pt x="3715" y="6382"/>
                  </a:cubicBezTo>
                  <a:cubicBezTo>
                    <a:pt x="3738" y="6397"/>
                    <a:pt x="3760" y="6404"/>
                    <a:pt x="3789" y="6404"/>
                  </a:cubicBezTo>
                  <a:cubicBezTo>
                    <a:pt x="3818" y="6404"/>
                    <a:pt x="3847" y="6397"/>
                    <a:pt x="3869" y="6375"/>
                  </a:cubicBezTo>
                  <a:cubicBezTo>
                    <a:pt x="3891" y="6360"/>
                    <a:pt x="3906" y="6353"/>
                    <a:pt x="3913" y="6353"/>
                  </a:cubicBezTo>
                  <a:cubicBezTo>
                    <a:pt x="3928" y="6353"/>
                    <a:pt x="3943" y="6360"/>
                    <a:pt x="3972" y="6382"/>
                  </a:cubicBezTo>
                  <a:cubicBezTo>
                    <a:pt x="4001" y="6412"/>
                    <a:pt x="4053" y="6434"/>
                    <a:pt x="4097" y="6456"/>
                  </a:cubicBezTo>
                  <a:cubicBezTo>
                    <a:pt x="4126" y="6470"/>
                    <a:pt x="4155" y="6485"/>
                    <a:pt x="4177" y="6500"/>
                  </a:cubicBezTo>
                  <a:cubicBezTo>
                    <a:pt x="4184" y="6500"/>
                    <a:pt x="4184" y="6507"/>
                    <a:pt x="4192" y="6514"/>
                  </a:cubicBezTo>
                  <a:cubicBezTo>
                    <a:pt x="4236" y="6543"/>
                    <a:pt x="4287" y="6580"/>
                    <a:pt x="4353" y="6580"/>
                  </a:cubicBezTo>
                  <a:cubicBezTo>
                    <a:pt x="4390" y="6580"/>
                    <a:pt x="4441" y="6617"/>
                    <a:pt x="4478" y="6653"/>
                  </a:cubicBezTo>
                  <a:cubicBezTo>
                    <a:pt x="4492" y="6668"/>
                    <a:pt x="4492" y="6668"/>
                    <a:pt x="4492" y="6668"/>
                  </a:cubicBezTo>
                  <a:cubicBezTo>
                    <a:pt x="4514" y="6661"/>
                    <a:pt x="4514" y="6661"/>
                    <a:pt x="4514" y="6661"/>
                  </a:cubicBezTo>
                  <a:cubicBezTo>
                    <a:pt x="4551" y="6639"/>
                    <a:pt x="4551" y="6639"/>
                    <a:pt x="4551" y="6639"/>
                  </a:cubicBezTo>
                  <a:cubicBezTo>
                    <a:pt x="4580" y="6631"/>
                    <a:pt x="4646" y="6602"/>
                    <a:pt x="4697" y="6470"/>
                  </a:cubicBezTo>
                  <a:cubicBezTo>
                    <a:pt x="4734" y="6390"/>
                    <a:pt x="4771" y="6331"/>
                    <a:pt x="4800" y="6280"/>
                  </a:cubicBezTo>
                  <a:cubicBezTo>
                    <a:pt x="4837" y="6229"/>
                    <a:pt x="4866" y="6184"/>
                    <a:pt x="4866" y="6141"/>
                  </a:cubicBezTo>
                  <a:cubicBezTo>
                    <a:pt x="4873" y="6097"/>
                    <a:pt x="4873" y="6067"/>
                    <a:pt x="4873" y="6038"/>
                  </a:cubicBezTo>
                  <a:cubicBezTo>
                    <a:pt x="4873" y="6009"/>
                    <a:pt x="4866" y="5979"/>
                    <a:pt x="4873" y="5972"/>
                  </a:cubicBezTo>
                  <a:cubicBezTo>
                    <a:pt x="4881" y="5965"/>
                    <a:pt x="4888" y="5957"/>
                    <a:pt x="4895" y="5943"/>
                  </a:cubicBezTo>
                  <a:cubicBezTo>
                    <a:pt x="4924" y="5921"/>
                    <a:pt x="4969" y="5877"/>
                    <a:pt x="4946" y="5803"/>
                  </a:cubicBezTo>
                  <a:cubicBezTo>
                    <a:pt x="4939" y="5789"/>
                    <a:pt x="4924" y="5730"/>
                    <a:pt x="5012" y="5672"/>
                  </a:cubicBezTo>
                  <a:cubicBezTo>
                    <a:pt x="5027" y="5664"/>
                    <a:pt x="5042" y="5657"/>
                    <a:pt x="5049" y="5650"/>
                  </a:cubicBezTo>
                  <a:cubicBezTo>
                    <a:pt x="5100" y="5620"/>
                    <a:pt x="5122" y="5606"/>
                    <a:pt x="5122" y="5518"/>
                  </a:cubicBezTo>
                  <a:cubicBezTo>
                    <a:pt x="5122" y="5467"/>
                    <a:pt x="5100" y="5444"/>
                    <a:pt x="5086" y="5430"/>
                  </a:cubicBezTo>
                  <a:lnTo>
                    <a:pt x="5079" y="5422"/>
                  </a:lnTo>
                  <a:lnTo>
                    <a:pt x="5079" y="5422"/>
                  </a:lnTo>
                  <a:cubicBezTo>
                    <a:pt x="5079" y="5422"/>
                    <a:pt x="5079" y="5415"/>
                    <a:pt x="5086" y="5408"/>
                  </a:cubicBezTo>
                  <a:cubicBezTo>
                    <a:pt x="5093" y="5379"/>
                    <a:pt x="5108" y="5364"/>
                    <a:pt x="5122" y="5349"/>
                  </a:cubicBezTo>
                  <a:cubicBezTo>
                    <a:pt x="5144" y="5327"/>
                    <a:pt x="5166" y="5305"/>
                    <a:pt x="5166" y="5261"/>
                  </a:cubicBezTo>
                  <a:cubicBezTo>
                    <a:pt x="5166" y="5247"/>
                    <a:pt x="5166" y="5217"/>
                    <a:pt x="5174" y="5188"/>
                  </a:cubicBezTo>
                  <a:cubicBezTo>
                    <a:pt x="5188" y="5115"/>
                    <a:pt x="5196" y="5071"/>
                    <a:pt x="5174" y="5041"/>
                  </a:cubicBezTo>
                  <a:cubicBezTo>
                    <a:pt x="5166" y="5034"/>
                    <a:pt x="5152" y="5027"/>
                    <a:pt x="5137" y="5027"/>
                  </a:cubicBezTo>
                  <a:lnTo>
                    <a:pt x="5130" y="5027"/>
                  </a:lnTo>
                  <a:cubicBezTo>
                    <a:pt x="5122" y="5027"/>
                    <a:pt x="5122" y="5027"/>
                    <a:pt x="5115" y="5027"/>
                  </a:cubicBezTo>
                  <a:cubicBezTo>
                    <a:pt x="5093" y="5027"/>
                    <a:pt x="5079" y="5019"/>
                    <a:pt x="5071" y="5005"/>
                  </a:cubicBezTo>
                  <a:cubicBezTo>
                    <a:pt x="5071" y="5005"/>
                    <a:pt x="5071" y="4998"/>
                    <a:pt x="5079" y="4983"/>
                  </a:cubicBezTo>
                  <a:cubicBezTo>
                    <a:pt x="5130" y="4924"/>
                    <a:pt x="5086" y="4880"/>
                    <a:pt x="5056" y="4843"/>
                  </a:cubicBezTo>
                  <a:cubicBezTo>
                    <a:pt x="5049" y="4836"/>
                    <a:pt x="5034" y="4822"/>
                    <a:pt x="5020" y="4800"/>
                  </a:cubicBezTo>
                  <a:cubicBezTo>
                    <a:pt x="4998" y="4763"/>
                    <a:pt x="5005" y="4653"/>
                    <a:pt x="5012" y="4580"/>
                  </a:cubicBezTo>
                  <a:cubicBezTo>
                    <a:pt x="5034" y="4580"/>
                    <a:pt x="5034" y="4580"/>
                    <a:pt x="5034" y="4580"/>
                  </a:cubicBezTo>
                  <a:cubicBezTo>
                    <a:pt x="5012" y="4543"/>
                    <a:pt x="5012" y="4543"/>
                    <a:pt x="5012" y="4543"/>
                  </a:cubicBezTo>
                  <a:cubicBezTo>
                    <a:pt x="5005" y="4521"/>
                    <a:pt x="4998" y="4507"/>
                    <a:pt x="4991" y="4492"/>
                  </a:cubicBezTo>
                  <a:cubicBezTo>
                    <a:pt x="4983" y="4441"/>
                    <a:pt x="4954" y="4375"/>
                    <a:pt x="4910" y="4338"/>
                  </a:cubicBezTo>
                  <a:cubicBezTo>
                    <a:pt x="4873" y="4309"/>
                    <a:pt x="4866" y="4279"/>
                    <a:pt x="4873" y="4235"/>
                  </a:cubicBezTo>
                  <a:cubicBezTo>
                    <a:pt x="4881" y="4206"/>
                    <a:pt x="4888" y="4191"/>
                    <a:pt x="4961" y="4177"/>
                  </a:cubicBezTo>
                  <a:cubicBezTo>
                    <a:pt x="5020" y="4162"/>
                    <a:pt x="5034" y="4133"/>
                    <a:pt x="5049" y="4103"/>
                  </a:cubicBezTo>
                  <a:cubicBezTo>
                    <a:pt x="5056" y="4081"/>
                    <a:pt x="5071" y="4060"/>
                    <a:pt x="5086" y="4038"/>
                  </a:cubicBezTo>
                  <a:cubicBezTo>
                    <a:pt x="5130" y="3993"/>
                    <a:pt x="5144" y="3979"/>
                    <a:pt x="5137" y="3950"/>
                  </a:cubicBezTo>
                  <a:cubicBezTo>
                    <a:pt x="5130" y="3928"/>
                    <a:pt x="5108" y="3928"/>
                    <a:pt x="5086" y="3920"/>
                  </a:cubicBezTo>
                  <a:cubicBezTo>
                    <a:pt x="5079" y="3920"/>
                    <a:pt x="5079" y="3920"/>
                    <a:pt x="5071" y="3920"/>
                  </a:cubicBezTo>
                  <a:cubicBezTo>
                    <a:pt x="5049" y="3920"/>
                    <a:pt x="5034" y="3906"/>
                    <a:pt x="5020" y="3898"/>
                  </a:cubicBezTo>
                  <a:cubicBezTo>
                    <a:pt x="5005" y="3891"/>
                    <a:pt x="4991" y="3876"/>
                    <a:pt x="4961" y="3869"/>
                  </a:cubicBezTo>
                  <a:cubicBezTo>
                    <a:pt x="4946" y="3869"/>
                    <a:pt x="4939" y="3818"/>
                    <a:pt x="4939" y="3796"/>
                  </a:cubicBezTo>
                  <a:cubicBezTo>
                    <a:pt x="4939" y="3788"/>
                    <a:pt x="4939" y="3774"/>
                    <a:pt x="4932" y="3767"/>
                  </a:cubicBezTo>
                  <a:cubicBezTo>
                    <a:pt x="4932" y="3752"/>
                    <a:pt x="4932" y="3737"/>
                    <a:pt x="4932" y="3715"/>
                  </a:cubicBezTo>
                  <a:cubicBezTo>
                    <a:pt x="4932" y="3679"/>
                    <a:pt x="4932" y="3642"/>
                    <a:pt x="4910" y="3612"/>
                  </a:cubicBezTo>
                  <a:cubicBezTo>
                    <a:pt x="4895" y="3591"/>
                    <a:pt x="4881" y="3583"/>
                    <a:pt x="4873" y="3576"/>
                  </a:cubicBezTo>
                  <a:cubicBezTo>
                    <a:pt x="4866" y="3576"/>
                    <a:pt x="4859" y="3576"/>
                    <a:pt x="4859" y="3561"/>
                  </a:cubicBezTo>
                  <a:cubicBezTo>
                    <a:pt x="4837" y="3510"/>
                    <a:pt x="4851" y="3393"/>
                    <a:pt x="4859" y="3356"/>
                  </a:cubicBezTo>
                  <a:cubicBezTo>
                    <a:pt x="4866" y="3298"/>
                    <a:pt x="4829" y="3261"/>
                    <a:pt x="4793" y="3224"/>
                  </a:cubicBezTo>
                  <a:cubicBezTo>
                    <a:pt x="4778" y="3210"/>
                    <a:pt x="4771" y="3202"/>
                    <a:pt x="4756" y="3188"/>
                  </a:cubicBezTo>
                  <a:cubicBezTo>
                    <a:pt x="4734" y="3143"/>
                    <a:pt x="4705" y="3122"/>
                    <a:pt x="4675" y="3092"/>
                  </a:cubicBezTo>
                  <a:cubicBezTo>
                    <a:pt x="4668" y="3085"/>
                    <a:pt x="4653" y="3070"/>
                    <a:pt x="4646" y="3063"/>
                  </a:cubicBezTo>
                  <a:cubicBezTo>
                    <a:pt x="4624" y="3041"/>
                    <a:pt x="4588" y="3026"/>
                    <a:pt x="4551" y="3026"/>
                  </a:cubicBezTo>
                  <a:cubicBezTo>
                    <a:pt x="4522" y="3026"/>
                    <a:pt x="4492" y="3034"/>
                    <a:pt x="4470" y="3034"/>
                  </a:cubicBezTo>
                  <a:cubicBezTo>
                    <a:pt x="4463" y="3034"/>
                    <a:pt x="4463" y="3034"/>
                    <a:pt x="4463" y="3034"/>
                  </a:cubicBezTo>
                  <a:cubicBezTo>
                    <a:pt x="4426" y="3041"/>
                    <a:pt x="4368" y="3070"/>
                    <a:pt x="4302" y="3092"/>
                  </a:cubicBezTo>
                  <a:cubicBezTo>
                    <a:pt x="4265" y="3107"/>
                    <a:pt x="4265" y="3107"/>
                    <a:pt x="4265" y="3107"/>
                  </a:cubicBezTo>
                  <a:cubicBezTo>
                    <a:pt x="4236" y="3114"/>
                    <a:pt x="4236" y="3114"/>
                    <a:pt x="4236" y="3114"/>
                  </a:cubicBezTo>
                  <a:cubicBezTo>
                    <a:pt x="4184" y="3136"/>
                    <a:pt x="4148" y="3151"/>
                    <a:pt x="4111" y="3180"/>
                  </a:cubicBezTo>
                  <a:cubicBezTo>
                    <a:pt x="4097" y="3195"/>
                    <a:pt x="4082" y="3195"/>
                    <a:pt x="4060" y="3202"/>
                  </a:cubicBezTo>
                  <a:cubicBezTo>
                    <a:pt x="4038" y="3210"/>
                    <a:pt x="4009" y="3217"/>
                    <a:pt x="3979" y="3239"/>
                  </a:cubicBezTo>
                  <a:cubicBezTo>
                    <a:pt x="3965" y="3246"/>
                    <a:pt x="3935" y="3246"/>
                    <a:pt x="3899" y="3246"/>
                  </a:cubicBezTo>
                  <a:cubicBezTo>
                    <a:pt x="3869" y="3246"/>
                    <a:pt x="3855" y="3246"/>
                    <a:pt x="3855" y="3246"/>
                  </a:cubicBezTo>
                  <a:cubicBezTo>
                    <a:pt x="3825" y="3231"/>
                    <a:pt x="3811" y="3180"/>
                    <a:pt x="3796" y="3122"/>
                  </a:cubicBezTo>
                  <a:cubicBezTo>
                    <a:pt x="3774" y="3048"/>
                    <a:pt x="3738" y="3034"/>
                    <a:pt x="3701" y="3019"/>
                  </a:cubicBezTo>
                  <a:cubicBezTo>
                    <a:pt x="3686" y="3012"/>
                    <a:pt x="3679" y="3012"/>
                    <a:pt x="3672" y="3004"/>
                  </a:cubicBezTo>
                  <a:cubicBezTo>
                    <a:pt x="3664" y="3004"/>
                    <a:pt x="3664" y="2997"/>
                    <a:pt x="3664" y="2997"/>
                  </a:cubicBezTo>
                  <a:cubicBezTo>
                    <a:pt x="3657" y="2982"/>
                    <a:pt x="3679" y="2953"/>
                    <a:pt x="3701" y="2924"/>
                  </a:cubicBezTo>
                  <a:cubicBezTo>
                    <a:pt x="3708" y="2916"/>
                    <a:pt x="3715" y="2916"/>
                    <a:pt x="3730" y="2916"/>
                  </a:cubicBezTo>
                  <a:cubicBezTo>
                    <a:pt x="3738" y="2916"/>
                    <a:pt x="3767" y="2909"/>
                    <a:pt x="3774" y="2880"/>
                  </a:cubicBezTo>
                  <a:cubicBezTo>
                    <a:pt x="3781" y="2872"/>
                    <a:pt x="3781" y="2865"/>
                    <a:pt x="3789" y="2850"/>
                  </a:cubicBezTo>
                  <a:cubicBezTo>
                    <a:pt x="3789" y="2829"/>
                    <a:pt x="3796" y="2807"/>
                    <a:pt x="3803" y="2792"/>
                  </a:cubicBezTo>
                  <a:cubicBezTo>
                    <a:pt x="3818" y="2792"/>
                    <a:pt x="3833" y="2799"/>
                    <a:pt x="3847" y="2807"/>
                  </a:cubicBezTo>
                  <a:cubicBezTo>
                    <a:pt x="3862" y="2814"/>
                    <a:pt x="3877" y="2821"/>
                    <a:pt x="3891" y="2821"/>
                  </a:cubicBezTo>
                  <a:cubicBezTo>
                    <a:pt x="3913" y="2829"/>
                    <a:pt x="3928" y="2836"/>
                    <a:pt x="3935" y="2836"/>
                  </a:cubicBezTo>
                  <a:cubicBezTo>
                    <a:pt x="3979" y="2836"/>
                    <a:pt x="3987" y="2799"/>
                    <a:pt x="3987" y="2770"/>
                  </a:cubicBezTo>
                  <a:cubicBezTo>
                    <a:pt x="3994" y="2770"/>
                    <a:pt x="3994" y="2770"/>
                    <a:pt x="3994" y="2770"/>
                  </a:cubicBezTo>
                  <a:cubicBezTo>
                    <a:pt x="4001" y="2711"/>
                    <a:pt x="3979" y="2660"/>
                    <a:pt x="3935" y="2645"/>
                  </a:cubicBezTo>
                  <a:cubicBezTo>
                    <a:pt x="3928" y="2645"/>
                    <a:pt x="3928" y="2645"/>
                    <a:pt x="3928" y="2645"/>
                  </a:cubicBezTo>
                  <a:cubicBezTo>
                    <a:pt x="3906" y="2638"/>
                    <a:pt x="3884" y="2631"/>
                    <a:pt x="3855" y="2609"/>
                  </a:cubicBezTo>
                  <a:cubicBezTo>
                    <a:pt x="3862" y="2594"/>
                    <a:pt x="3891" y="2579"/>
                    <a:pt x="3899" y="2565"/>
                  </a:cubicBezTo>
                  <a:cubicBezTo>
                    <a:pt x="3913" y="2557"/>
                    <a:pt x="3928" y="2543"/>
                    <a:pt x="3943" y="2535"/>
                  </a:cubicBezTo>
                  <a:cubicBezTo>
                    <a:pt x="3950" y="2521"/>
                    <a:pt x="3965" y="2513"/>
                    <a:pt x="3979" y="2499"/>
                  </a:cubicBezTo>
                  <a:cubicBezTo>
                    <a:pt x="4001" y="2484"/>
                    <a:pt x="4031" y="2469"/>
                    <a:pt x="4053" y="2440"/>
                  </a:cubicBezTo>
                  <a:cubicBezTo>
                    <a:pt x="4060" y="2433"/>
                    <a:pt x="4060" y="2433"/>
                    <a:pt x="4060" y="2433"/>
                  </a:cubicBezTo>
                  <a:cubicBezTo>
                    <a:pt x="4060" y="2433"/>
                    <a:pt x="4074" y="2448"/>
                    <a:pt x="4089" y="2455"/>
                  </a:cubicBezTo>
                  <a:cubicBezTo>
                    <a:pt x="4104" y="2462"/>
                    <a:pt x="4119" y="2469"/>
                    <a:pt x="4133" y="2484"/>
                  </a:cubicBezTo>
                  <a:cubicBezTo>
                    <a:pt x="4148" y="2491"/>
                    <a:pt x="4162" y="2491"/>
                    <a:pt x="4177" y="2491"/>
                  </a:cubicBezTo>
                  <a:cubicBezTo>
                    <a:pt x="4199" y="2491"/>
                    <a:pt x="4221" y="2484"/>
                    <a:pt x="4236" y="2469"/>
                  </a:cubicBezTo>
                  <a:cubicBezTo>
                    <a:pt x="4258" y="2440"/>
                    <a:pt x="4258" y="2396"/>
                    <a:pt x="4250" y="2374"/>
                  </a:cubicBezTo>
                  <a:cubicBezTo>
                    <a:pt x="4243" y="2330"/>
                    <a:pt x="4214" y="2323"/>
                    <a:pt x="4199" y="2323"/>
                  </a:cubicBezTo>
                  <a:cubicBezTo>
                    <a:pt x="4199" y="2316"/>
                    <a:pt x="4206" y="2316"/>
                    <a:pt x="4221" y="2316"/>
                  </a:cubicBezTo>
                  <a:cubicBezTo>
                    <a:pt x="4229" y="2316"/>
                    <a:pt x="4243" y="2316"/>
                    <a:pt x="4258" y="2330"/>
                  </a:cubicBezTo>
                  <a:cubicBezTo>
                    <a:pt x="4272" y="2338"/>
                    <a:pt x="4294" y="2345"/>
                    <a:pt x="4309" y="2345"/>
                  </a:cubicBezTo>
                  <a:cubicBezTo>
                    <a:pt x="4368" y="2345"/>
                    <a:pt x="4375" y="2272"/>
                    <a:pt x="4382" y="2250"/>
                  </a:cubicBezTo>
                  <a:cubicBezTo>
                    <a:pt x="4390" y="2191"/>
                    <a:pt x="4375" y="2132"/>
                    <a:pt x="4338" y="2088"/>
                  </a:cubicBezTo>
                  <a:cubicBezTo>
                    <a:pt x="4331" y="2074"/>
                    <a:pt x="4324" y="2066"/>
                    <a:pt x="4309" y="2059"/>
                  </a:cubicBezTo>
                  <a:cubicBezTo>
                    <a:pt x="4302" y="2044"/>
                    <a:pt x="4294" y="2037"/>
                    <a:pt x="4287" y="2015"/>
                  </a:cubicBezTo>
                  <a:cubicBezTo>
                    <a:pt x="4280" y="2008"/>
                    <a:pt x="4280" y="1993"/>
                    <a:pt x="4280" y="1986"/>
                  </a:cubicBezTo>
                  <a:cubicBezTo>
                    <a:pt x="4272" y="1964"/>
                    <a:pt x="4265" y="1934"/>
                    <a:pt x="4236" y="1905"/>
                  </a:cubicBezTo>
                  <a:cubicBezTo>
                    <a:pt x="4229" y="1898"/>
                    <a:pt x="4229" y="1898"/>
                    <a:pt x="4229" y="1898"/>
                  </a:cubicBezTo>
                  <a:cubicBezTo>
                    <a:pt x="4192" y="1861"/>
                    <a:pt x="4155" y="1825"/>
                    <a:pt x="4074" y="1810"/>
                  </a:cubicBezTo>
                  <a:lnTo>
                    <a:pt x="4067" y="1810"/>
                  </a:lnTo>
                  <a:lnTo>
                    <a:pt x="4074" y="1810"/>
                  </a:lnTo>
                  <a:cubicBezTo>
                    <a:pt x="4082" y="1795"/>
                    <a:pt x="4082" y="1795"/>
                    <a:pt x="4082" y="1795"/>
                  </a:cubicBezTo>
                  <a:cubicBezTo>
                    <a:pt x="4126" y="1759"/>
                    <a:pt x="4126" y="1729"/>
                    <a:pt x="4133" y="1693"/>
                  </a:cubicBezTo>
                  <a:cubicBezTo>
                    <a:pt x="4133" y="1685"/>
                    <a:pt x="4133" y="1678"/>
                    <a:pt x="4133" y="1671"/>
                  </a:cubicBezTo>
                  <a:cubicBezTo>
                    <a:pt x="4141" y="1627"/>
                    <a:pt x="4126" y="1598"/>
                    <a:pt x="4119" y="1568"/>
                  </a:cubicBezTo>
                  <a:cubicBezTo>
                    <a:pt x="4111" y="1546"/>
                    <a:pt x="4104" y="1531"/>
                    <a:pt x="4104" y="1517"/>
                  </a:cubicBezTo>
                  <a:cubicBezTo>
                    <a:pt x="4097" y="1495"/>
                    <a:pt x="4111" y="1473"/>
                    <a:pt x="4141" y="1451"/>
                  </a:cubicBezTo>
                  <a:cubicBezTo>
                    <a:pt x="4148" y="1436"/>
                    <a:pt x="4155" y="1429"/>
                    <a:pt x="4162" y="1422"/>
                  </a:cubicBezTo>
                  <a:cubicBezTo>
                    <a:pt x="4184" y="1385"/>
                    <a:pt x="4199" y="1370"/>
                    <a:pt x="4221" y="1370"/>
                  </a:cubicBezTo>
                  <a:cubicBezTo>
                    <a:pt x="4221" y="1370"/>
                    <a:pt x="4221" y="1370"/>
                    <a:pt x="4229" y="1370"/>
                  </a:cubicBezTo>
                  <a:cubicBezTo>
                    <a:pt x="4236" y="1370"/>
                    <a:pt x="4243" y="1378"/>
                    <a:pt x="4258" y="1392"/>
                  </a:cubicBezTo>
                  <a:cubicBezTo>
                    <a:pt x="4272" y="1414"/>
                    <a:pt x="4287" y="1429"/>
                    <a:pt x="4324" y="1436"/>
                  </a:cubicBezTo>
                  <a:lnTo>
                    <a:pt x="4331" y="1436"/>
                  </a:lnTo>
                  <a:cubicBezTo>
                    <a:pt x="4382" y="1436"/>
                    <a:pt x="4412" y="1385"/>
                    <a:pt x="4441" y="1319"/>
                  </a:cubicBezTo>
                  <a:cubicBezTo>
                    <a:pt x="4448" y="1304"/>
                    <a:pt x="4455" y="1290"/>
                    <a:pt x="4463" y="1282"/>
                  </a:cubicBezTo>
                  <a:cubicBezTo>
                    <a:pt x="4507" y="1202"/>
                    <a:pt x="4463" y="1084"/>
                    <a:pt x="4426" y="1026"/>
                  </a:cubicBezTo>
                  <a:cubicBezTo>
                    <a:pt x="4412" y="997"/>
                    <a:pt x="4404" y="960"/>
                    <a:pt x="4404" y="923"/>
                  </a:cubicBezTo>
                  <a:cubicBezTo>
                    <a:pt x="4404" y="916"/>
                    <a:pt x="4404" y="916"/>
                    <a:pt x="4404" y="916"/>
                  </a:cubicBezTo>
                  <a:lnTo>
                    <a:pt x="4404" y="916"/>
                  </a:lnTo>
                  <a:cubicBezTo>
                    <a:pt x="4404" y="909"/>
                    <a:pt x="4404" y="909"/>
                    <a:pt x="4404" y="909"/>
                  </a:cubicBezTo>
                  <a:cubicBezTo>
                    <a:pt x="4404" y="901"/>
                    <a:pt x="4404" y="901"/>
                    <a:pt x="4404" y="894"/>
                  </a:cubicBezTo>
                  <a:cubicBezTo>
                    <a:pt x="4404" y="887"/>
                    <a:pt x="4404" y="879"/>
                    <a:pt x="4404" y="872"/>
                  </a:cubicBezTo>
                  <a:cubicBezTo>
                    <a:pt x="4404" y="872"/>
                    <a:pt x="4404" y="872"/>
                    <a:pt x="4404" y="865"/>
                  </a:cubicBezTo>
                  <a:cubicBezTo>
                    <a:pt x="4412" y="806"/>
                    <a:pt x="4412" y="806"/>
                    <a:pt x="4412" y="806"/>
                  </a:cubicBezTo>
                  <a:cubicBezTo>
                    <a:pt x="4397" y="828"/>
                    <a:pt x="4397" y="828"/>
                    <a:pt x="4397" y="828"/>
                  </a:cubicBezTo>
                  <a:cubicBezTo>
                    <a:pt x="4382" y="821"/>
                    <a:pt x="4368" y="813"/>
                    <a:pt x="4353" y="813"/>
                  </a:cubicBezTo>
                  <a:cubicBezTo>
                    <a:pt x="4346" y="813"/>
                    <a:pt x="4331" y="821"/>
                    <a:pt x="4316" y="821"/>
                  </a:cubicBezTo>
                  <a:cubicBezTo>
                    <a:pt x="4309" y="821"/>
                    <a:pt x="4302" y="828"/>
                    <a:pt x="4294" y="828"/>
                  </a:cubicBezTo>
                  <a:cubicBezTo>
                    <a:pt x="4287" y="828"/>
                    <a:pt x="4280" y="828"/>
                    <a:pt x="4272" y="828"/>
                  </a:cubicBezTo>
                  <a:cubicBezTo>
                    <a:pt x="4265" y="828"/>
                    <a:pt x="4265" y="828"/>
                    <a:pt x="4265" y="828"/>
                  </a:cubicBezTo>
                  <a:lnTo>
                    <a:pt x="4265" y="821"/>
                  </a:lnTo>
                  <a:cubicBezTo>
                    <a:pt x="4272" y="777"/>
                    <a:pt x="4236" y="748"/>
                    <a:pt x="4214" y="725"/>
                  </a:cubicBezTo>
                  <a:cubicBezTo>
                    <a:pt x="4206" y="718"/>
                    <a:pt x="4199" y="711"/>
                    <a:pt x="4192" y="703"/>
                  </a:cubicBezTo>
                  <a:cubicBezTo>
                    <a:pt x="4170" y="681"/>
                    <a:pt x="4148" y="660"/>
                    <a:pt x="4126" y="645"/>
                  </a:cubicBezTo>
                  <a:cubicBezTo>
                    <a:pt x="4111" y="630"/>
                    <a:pt x="4104" y="623"/>
                    <a:pt x="4089" y="616"/>
                  </a:cubicBezTo>
                  <a:cubicBezTo>
                    <a:pt x="4082" y="601"/>
                    <a:pt x="4074" y="550"/>
                    <a:pt x="4082" y="528"/>
                  </a:cubicBezTo>
                  <a:cubicBezTo>
                    <a:pt x="4082" y="520"/>
                    <a:pt x="4089" y="513"/>
                    <a:pt x="4089" y="513"/>
                  </a:cubicBezTo>
                  <a:cubicBezTo>
                    <a:pt x="4104" y="476"/>
                    <a:pt x="4119" y="432"/>
                    <a:pt x="4111" y="396"/>
                  </a:cubicBezTo>
                  <a:cubicBezTo>
                    <a:pt x="4097" y="344"/>
                    <a:pt x="4023" y="337"/>
                    <a:pt x="4016" y="330"/>
                  </a:cubicBezTo>
                  <a:cubicBezTo>
                    <a:pt x="4009" y="330"/>
                    <a:pt x="4009" y="330"/>
                    <a:pt x="4009" y="330"/>
                  </a:cubicBezTo>
                  <a:lnTo>
                    <a:pt x="4009" y="330"/>
                  </a:lnTo>
                  <a:cubicBezTo>
                    <a:pt x="4009" y="330"/>
                    <a:pt x="4001" y="337"/>
                    <a:pt x="3994" y="337"/>
                  </a:cubicBezTo>
                  <a:cubicBezTo>
                    <a:pt x="3979" y="337"/>
                    <a:pt x="3965" y="330"/>
                    <a:pt x="3965" y="322"/>
                  </a:cubicBezTo>
                  <a:cubicBezTo>
                    <a:pt x="3943" y="286"/>
                    <a:pt x="3913" y="257"/>
                    <a:pt x="3869" y="234"/>
                  </a:cubicBezTo>
                  <a:cubicBezTo>
                    <a:pt x="3862" y="227"/>
                    <a:pt x="3862" y="227"/>
                    <a:pt x="3862" y="227"/>
                  </a:cubicBezTo>
                  <a:cubicBezTo>
                    <a:pt x="3855" y="227"/>
                    <a:pt x="3818" y="205"/>
                    <a:pt x="3818" y="198"/>
                  </a:cubicBezTo>
                  <a:cubicBezTo>
                    <a:pt x="3818" y="198"/>
                    <a:pt x="3818" y="198"/>
                    <a:pt x="3818" y="191"/>
                  </a:cubicBezTo>
                  <a:cubicBezTo>
                    <a:pt x="3847" y="139"/>
                    <a:pt x="3847" y="73"/>
                    <a:pt x="3818" y="29"/>
                  </a:cubicBezTo>
                  <a:cubicBezTo>
                    <a:pt x="3803" y="7"/>
                    <a:pt x="3781" y="0"/>
                    <a:pt x="3752" y="0"/>
                  </a:cubicBezTo>
                  <a:lnTo>
                    <a:pt x="3752" y="29"/>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a:latin typeface="Montserrat" charset="0"/>
              </a:endParaRPr>
            </a:p>
          </p:txBody>
        </p:sp>
        <p:sp>
          <p:nvSpPr>
            <p:cNvPr id="64" name="Freeform 63">
              <a:extLst>
                <a:ext uri="{FF2B5EF4-FFF2-40B4-BE49-F238E27FC236}">
                  <a16:creationId xmlns:a16="http://schemas.microsoft.com/office/drawing/2014/main" id="{C7B12572-D624-ED44-B69D-0CC210C9288A}"/>
                </a:ext>
              </a:extLst>
            </p:cNvPr>
            <p:cNvSpPr>
              <a:spLocks noChangeArrowheads="1"/>
            </p:cNvSpPr>
            <p:nvPr/>
          </p:nvSpPr>
          <p:spPr bwMode="auto">
            <a:xfrm>
              <a:off x="4884135" y="6902513"/>
              <a:ext cx="2000825" cy="2841645"/>
            </a:xfrm>
            <a:custGeom>
              <a:avLst/>
              <a:gdLst>
                <a:gd name="T0" fmla="*/ 2323 w 5203"/>
                <a:gd name="T1" fmla="*/ 7224 h 7481"/>
                <a:gd name="T2" fmla="*/ 1868 w 5203"/>
                <a:gd name="T3" fmla="*/ 6755 h 7481"/>
                <a:gd name="T4" fmla="*/ 1539 w 5203"/>
                <a:gd name="T5" fmla="*/ 6960 h 7481"/>
                <a:gd name="T6" fmla="*/ 1341 w 5203"/>
                <a:gd name="T7" fmla="*/ 6440 h 7481"/>
                <a:gd name="T8" fmla="*/ 1282 w 5203"/>
                <a:gd name="T9" fmla="*/ 6110 h 7481"/>
                <a:gd name="T10" fmla="*/ 1150 w 5203"/>
                <a:gd name="T11" fmla="*/ 5568 h 7481"/>
                <a:gd name="T12" fmla="*/ 711 w 5203"/>
                <a:gd name="T13" fmla="*/ 5443 h 7481"/>
                <a:gd name="T14" fmla="*/ 286 w 5203"/>
                <a:gd name="T15" fmla="*/ 5597 h 7481"/>
                <a:gd name="T16" fmla="*/ 110 w 5203"/>
                <a:gd name="T17" fmla="*/ 5179 h 7481"/>
                <a:gd name="T18" fmla="*/ 322 w 5203"/>
                <a:gd name="T19" fmla="*/ 5091 h 7481"/>
                <a:gd name="T20" fmla="*/ 293 w 5203"/>
                <a:gd name="T21" fmla="*/ 4813 h 7481"/>
                <a:gd name="T22" fmla="*/ 586 w 5203"/>
                <a:gd name="T23" fmla="*/ 4747 h 7481"/>
                <a:gd name="T24" fmla="*/ 696 w 5203"/>
                <a:gd name="T25" fmla="*/ 4608 h 7481"/>
                <a:gd name="T26" fmla="*/ 579 w 5203"/>
                <a:gd name="T27" fmla="*/ 4234 h 7481"/>
                <a:gd name="T28" fmla="*/ 461 w 5203"/>
                <a:gd name="T29" fmla="*/ 3890 h 7481"/>
                <a:gd name="T30" fmla="*/ 718 w 5203"/>
                <a:gd name="T31" fmla="*/ 3699 h 7481"/>
                <a:gd name="T32" fmla="*/ 747 w 5203"/>
                <a:gd name="T33" fmla="*/ 3216 h 7481"/>
                <a:gd name="T34" fmla="*/ 850 w 5203"/>
                <a:gd name="T35" fmla="*/ 2776 h 7481"/>
                <a:gd name="T36" fmla="*/ 1216 w 5203"/>
                <a:gd name="T37" fmla="*/ 2615 h 7481"/>
                <a:gd name="T38" fmla="*/ 1473 w 5203"/>
                <a:gd name="T39" fmla="*/ 2402 h 7481"/>
                <a:gd name="T40" fmla="*/ 1634 w 5203"/>
                <a:gd name="T41" fmla="*/ 2095 h 7481"/>
                <a:gd name="T42" fmla="*/ 1912 w 5203"/>
                <a:gd name="T43" fmla="*/ 1845 h 7481"/>
                <a:gd name="T44" fmla="*/ 2096 w 5203"/>
                <a:gd name="T45" fmla="*/ 1568 h 7481"/>
                <a:gd name="T46" fmla="*/ 1802 w 5203"/>
                <a:gd name="T47" fmla="*/ 1377 h 7481"/>
                <a:gd name="T48" fmla="*/ 1876 w 5203"/>
                <a:gd name="T49" fmla="*/ 989 h 7481"/>
                <a:gd name="T50" fmla="*/ 2271 w 5203"/>
                <a:gd name="T51" fmla="*/ 879 h 7481"/>
                <a:gd name="T52" fmla="*/ 2403 w 5203"/>
                <a:gd name="T53" fmla="*/ 674 h 7481"/>
                <a:gd name="T54" fmla="*/ 2777 w 5203"/>
                <a:gd name="T55" fmla="*/ 506 h 7481"/>
                <a:gd name="T56" fmla="*/ 3041 w 5203"/>
                <a:gd name="T57" fmla="*/ 608 h 7481"/>
                <a:gd name="T58" fmla="*/ 3459 w 5203"/>
                <a:gd name="T59" fmla="*/ 73 h 7481"/>
                <a:gd name="T60" fmla="*/ 3722 w 5203"/>
                <a:gd name="T61" fmla="*/ 88 h 7481"/>
                <a:gd name="T62" fmla="*/ 3979 w 5203"/>
                <a:gd name="T63" fmla="*/ 286 h 7481"/>
                <a:gd name="T64" fmla="*/ 3905 w 5203"/>
                <a:gd name="T65" fmla="*/ 366 h 7481"/>
                <a:gd name="T66" fmla="*/ 3949 w 5203"/>
                <a:gd name="T67" fmla="*/ 806 h 7481"/>
                <a:gd name="T68" fmla="*/ 4125 w 5203"/>
                <a:gd name="T69" fmla="*/ 1187 h 7481"/>
                <a:gd name="T70" fmla="*/ 4147 w 5203"/>
                <a:gd name="T71" fmla="*/ 930 h 7481"/>
                <a:gd name="T72" fmla="*/ 4514 w 5203"/>
                <a:gd name="T73" fmla="*/ 791 h 7481"/>
                <a:gd name="T74" fmla="*/ 4616 w 5203"/>
                <a:gd name="T75" fmla="*/ 1106 h 7481"/>
                <a:gd name="T76" fmla="*/ 5202 w 5203"/>
                <a:gd name="T77" fmla="*/ 1560 h 7481"/>
                <a:gd name="T78" fmla="*/ 4997 w 5203"/>
                <a:gd name="T79" fmla="*/ 1684 h 7481"/>
                <a:gd name="T80" fmla="*/ 5063 w 5203"/>
                <a:gd name="T81" fmla="*/ 1875 h 7481"/>
                <a:gd name="T82" fmla="*/ 5137 w 5203"/>
                <a:gd name="T83" fmla="*/ 2146 h 7481"/>
                <a:gd name="T84" fmla="*/ 4799 w 5203"/>
                <a:gd name="T85" fmla="*/ 2124 h 7481"/>
                <a:gd name="T86" fmla="*/ 4653 w 5203"/>
                <a:gd name="T87" fmla="*/ 2358 h 7481"/>
                <a:gd name="T88" fmla="*/ 4887 w 5203"/>
                <a:gd name="T89" fmla="*/ 2564 h 7481"/>
                <a:gd name="T90" fmla="*/ 4638 w 5203"/>
                <a:gd name="T91" fmla="*/ 2857 h 7481"/>
                <a:gd name="T92" fmla="*/ 4506 w 5203"/>
                <a:gd name="T93" fmla="*/ 3238 h 7481"/>
                <a:gd name="T94" fmla="*/ 4638 w 5203"/>
                <a:gd name="T95" fmla="*/ 3274 h 7481"/>
                <a:gd name="T96" fmla="*/ 4902 w 5203"/>
                <a:gd name="T97" fmla="*/ 3421 h 7481"/>
                <a:gd name="T98" fmla="*/ 4917 w 5203"/>
                <a:gd name="T99" fmla="*/ 3699 h 7481"/>
                <a:gd name="T100" fmla="*/ 4418 w 5203"/>
                <a:gd name="T101" fmla="*/ 4154 h 7481"/>
                <a:gd name="T102" fmla="*/ 4162 w 5203"/>
                <a:gd name="T103" fmla="*/ 4520 h 7481"/>
                <a:gd name="T104" fmla="*/ 4045 w 5203"/>
                <a:gd name="T105" fmla="*/ 4710 h 7481"/>
                <a:gd name="T106" fmla="*/ 3752 w 5203"/>
                <a:gd name="T107" fmla="*/ 5011 h 7481"/>
                <a:gd name="T108" fmla="*/ 3077 w 5203"/>
                <a:gd name="T109" fmla="*/ 5033 h 7481"/>
                <a:gd name="T110" fmla="*/ 2748 w 5203"/>
                <a:gd name="T111" fmla="*/ 5099 h 7481"/>
                <a:gd name="T112" fmla="*/ 2828 w 5203"/>
                <a:gd name="T113" fmla="*/ 6095 h 7481"/>
                <a:gd name="T114" fmla="*/ 2850 w 5203"/>
                <a:gd name="T115" fmla="*/ 6718 h 7481"/>
                <a:gd name="T116" fmla="*/ 2865 w 5203"/>
                <a:gd name="T117" fmla="*/ 6916 h 7481"/>
                <a:gd name="T118" fmla="*/ 2726 w 5203"/>
                <a:gd name="T119" fmla="*/ 7129 h 7481"/>
                <a:gd name="T120" fmla="*/ 2411 w 5203"/>
                <a:gd name="T121" fmla="*/ 7400 h 7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03" h="7481">
                  <a:moveTo>
                    <a:pt x="2286" y="7480"/>
                  </a:moveTo>
                  <a:lnTo>
                    <a:pt x="2286" y="7480"/>
                  </a:lnTo>
                  <a:cubicBezTo>
                    <a:pt x="2271" y="7480"/>
                    <a:pt x="2264" y="7473"/>
                    <a:pt x="2257" y="7466"/>
                  </a:cubicBezTo>
                  <a:cubicBezTo>
                    <a:pt x="2242" y="7458"/>
                    <a:pt x="2242" y="7429"/>
                    <a:pt x="2242" y="7400"/>
                  </a:cubicBezTo>
                  <a:cubicBezTo>
                    <a:pt x="2249" y="7341"/>
                    <a:pt x="2249" y="7341"/>
                    <a:pt x="2249" y="7341"/>
                  </a:cubicBezTo>
                  <a:cubicBezTo>
                    <a:pt x="2249" y="7246"/>
                    <a:pt x="2249" y="7231"/>
                    <a:pt x="2301" y="7224"/>
                  </a:cubicBezTo>
                  <a:cubicBezTo>
                    <a:pt x="2308" y="7224"/>
                    <a:pt x="2315" y="7224"/>
                    <a:pt x="2323" y="7224"/>
                  </a:cubicBezTo>
                  <a:cubicBezTo>
                    <a:pt x="2359" y="7217"/>
                    <a:pt x="2396" y="7180"/>
                    <a:pt x="2389" y="7158"/>
                  </a:cubicBezTo>
                  <a:cubicBezTo>
                    <a:pt x="2389" y="7143"/>
                    <a:pt x="2374" y="7143"/>
                    <a:pt x="2359" y="7143"/>
                  </a:cubicBezTo>
                  <a:cubicBezTo>
                    <a:pt x="2279" y="7143"/>
                    <a:pt x="2242" y="7129"/>
                    <a:pt x="2228" y="7077"/>
                  </a:cubicBezTo>
                  <a:cubicBezTo>
                    <a:pt x="2198" y="7092"/>
                    <a:pt x="2147" y="7107"/>
                    <a:pt x="2096" y="7107"/>
                  </a:cubicBezTo>
                  <a:cubicBezTo>
                    <a:pt x="2037" y="7107"/>
                    <a:pt x="1964" y="7085"/>
                    <a:pt x="1949" y="6982"/>
                  </a:cubicBezTo>
                  <a:cubicBezTo>
                    <a:pt x="1942" y="6945"/>
                    <a:pt x="1934" y="6916"/>
                    <a:pt x="1934" y="6894"/>
                  </a:cubicBezTo>
                  <a:cubicBezTo>
                    <a:pt x="1912" y="6769"/>
                    <a:pt x="1912" y="6755"/>
                    <a:pt x="1868" y="6755"/>
                  </a:cubicBezTo>
                  <a:cubicBezTo>
                    <a:pt x="1868" y="6755"/>
                    <a:pt x="1861" y="6755"/>
                    <a:pt x="1854" y="6755"/>
                  </a:cubicBezTo>
                  <a:cubicBezTo>
                    <a:pt x="1824" y="6762"/>
                    <a:pt x="1795" y="6769"/>
                    <a:pt x="1780" y="6791"/>
                  </a:cubicBezTo>
                  <a:cubicBezTo>
                    <a:pt x="1766" y="6821"/>
                    <a:pt x="1759" y="6865"/>
                    <a:pt x="1773" y="6916"/>
                  </a:cubicBezTo>
                  <a:cubicBezTo>
                    <a:pt x="1788" y="6975"/>
                    <a:pt x="1780" y="7033"/>
                    <a:pt x="1751" y="7063"/>
                  </a:cubicBezTo>
                  <a:cubicBezTo>
                    <a:pt x="1737" y="7085"/>
                    <a:pt x="1715" y="7092"/>
                    <a:pt x="1692" y="7092"/>
                  </a:cubicBezTo>
                  <a:cubicBezTo>
                    <a:pt x="1678" y="7092"/>
                    <a:pt x="1663" y="7092"/>
                    <a:pt x="1649" y="7085"/>
                  </a:cubicBezTo>
                  <a:cubicBezTo>
                    <a:pt x="1612" y="7063"/>
                    <a:pt x="1575" y="7011"/>
                    <a:pt x="1539" y="6960"/>
                  </a:cubicBezTo>
                  <a:cubicBezTo>
                    <a:pt x="1502" y="6909"/>
                    <a:pt x="1466" y="6857"/>
                    <a:pt x="1436" y="6857"/>
                  </a:cubicBezTo>
                  <a:cubicBezTo>
                    <a:pt x="1370" y="6879"/>
                    <a:pt x="1370" y="6879"/>
                    <a:pt x="1370" y="6879"/>
                  </a:cubicBezTo>
                  <a:cubicBezTo>
                    <a:pt x="1363" y="6872"/>
                    <a:pt x="1363" y="6872"/>
                    <a:pt x="1363" y="6872"/>
                  </a:cubicBezTo>
                  <a:cubicBezTo>
                    <a:pt x="1356" y="6857"/>
                    <a:pt x="1341" y="6828"/>
                    <a:pt x="1333" y="6806"/>
                  </a:cubicBezTo>
                  <a:cubicBezTo>
                    <a:pt x="1326" y="6762"/>
                    <a:pt x="1304" y="6711"/>
                    <a:pt x="1268" y="6674"/>
                  </a:cubicBezTo>
                  <a:cubicBezTo>
                    <a:pt x="1224" y="6645"/>
                    <a:pt x="1209" y="6601"/>
                    <a:pt x="1216" y="6535"/>
                  </a:cubicBezTo>
                  <a:cubicBezTo>
                    <a:pt x="1224" y="6476"/>
                    <a:pt x="1260" y="6455"/>
                    <a:pt x="1341" y="6440"/>
                  </a:cubicBezTo>
                  <a:cubicBezTo>
                    <a:pt x="1378" y="6432"/>
                    <a:pt x="1385" y="6418"/>
                    <a:pt x="1399" y="6388"/>
                  </a:cubicBezTo>
                  <a:cubicBezTo>
                    <a:pt x="1407" y="6367"/>
                    <a:pt x="1414" y="6345"/>
                    <a:pt x="1443" y="6315"/>
                  </a:cubicBezTo>
                  <a:cubicBezTo>
                    <a:pt x="1451" y="6300"/>
                    <a:pt x="1466" y="6286"/>
                    <a:pt x="1473" y="6279"/>
                  </a:cubicBezTo>
                  <a:lnTo>
                    <a:pt x="1451" y="6271"/>
                  </a:lnTo>
                  <a:cubicBezTo>
                    <a:pt x="1421" y="6271"/>
                    <a:pt x="1399" y="6257"/>
                    <a:pt x="1385" y="6242"/>
                  </a:cubicBezTo>
                  <a:cubicBezTo>
                    <a:pt x="1370" y="6235"/>
                    <a:pt x="1356" y="6227"/>
                    <a:pt x="1341" y="6220"/>
                  </a:cubicBezTo>
                  <a:cubicBezTo>
                    <a:pt x="1297" y="6213"/>
                    <a:pt x="1290" y="6154"/>
                    <a:pt x="1282" y="6110"/>
                  </a:cubicBezTo>
                  <a:cubicBezTo>
                    <a:pt x="1282" y="6103"/>
                    <a:pt x="1275" y="6088"/>
                    <a:pt x="1275" y="6081"/>
                  </a:cubicBezTo>
                  <a:cubicBezTo>
                    <a:pt x="1275" y="6066"/>
                    <a:pt x="1275" y="6044"/>
                    <a:pt x="1275" y="6022"/>
                  </a:cubicBezTo>
                  <a:cubicBezTo>
                    <a:pt x="1275" y="5993"/>
                    <a:pt x="1275" y="5964"/>
                    <a:pt x="1260" y="5941"/>
                  </a:cubicBezTo>
                  <a:cubicBezTo>
                    <a:pt x="1253" y="5934"/>
                    <a:pt x="1246" y="5934"/>
                    <a:pt x="1238" y="5927"/>
                  </a:cubicBezTo>
                  <a:cubicBezTo>
                    <a:pt x="1224" y="5919"/>
                    <a:pt x="1209" y="5912"/>
                    <a:pt x="1202" y="5883"/>
                  </a:cubicBezTo>
                  <a:cubicBezTo>
                    <a:pt x="1180" y="5824"/>
                    <a:pt x="1194" y="5729"/>
                    <a:pt x="1202" y="5663"/>
                  </a:cubicBezTo>
                  <a:cubicBezTo>
                    <a:pt x="1202" y="5619"/>
                    <a:pt x="1180" y="5597"/>
                    <a:pt x="1150" y="5568"/>
                  </a:cubicBezTo>
                  <a:cubicBezTo>
                    <a:pt x="1136" y="5553"/>
                    <a:pt x="1121" y="5538"/>
                    <a:pt x="1106" y="5517"/>
                  </a:cubicBezTo>
                  <a:cubicBezTo>
                    <a:pt x="1084" y="5480"/>
                    <a:pt x="1062" y="5458"/>
                    <a:pt x="1033" y="5436"/>
                  </a:cubicBezTo>
                  <a:cubicBezTo>
                    <a:pt x="1018" y="5421"/>
                    <a:pt x="1011" y="5414"/>
                    <a:pt x="997" y="5399"/>
                  </a:cubicBezTo>
                  <a:cubicBezTo>
                    <a:pt x="982" y="5385"/>
                    <a:pt x="960" y="5377"/>
                    <a:pt x="938" y="5377"/>
                  </a:cubicBezTo>
                  <a:cubicBezTo>
                    <a:pt x="909" y="5377"/>
                    <a:pt x="887" y="5385"/>
                    <a:pt x="865" y="5385"/>
                  </a:cubicBezTo>
                  <a:cubicBezTo>
                    <a:pt x="857" y="5392"/>
                    <a:pt x="857" y="5392"/>
                    <a:pt x="857" y="5392"/>
                  </a:cubicBezTo>
                  <a:cubicBezTo>
                    <a:pt x="828" y="5392"/>
                    <a:pt x="762" y="5421"/>
                    <a:pt x="711" y="5443"/>
                  </a:cubicBezTo>
                  <a:cubicBezTo>
                    <a:pt x="637" y="5465"/>
                    <a:pt x="637" y="5465"/>
                    <a:pt x="637" y="5465"/>
                  </a:cubicBezTo>
                  <a:cubicBezTo>
                    <a:pt x="586" y="5487"/>
                    <a:pt x="564" y="5495"/>
                    <a:pt x="528" y="5524"/>
                  </a:cubicBezTo>
                  <a:cubicBezTo>
                    <a:pt x="506" y="5538"/>
                    <a:pt x="484" y="5546"/>
                    <a:pt x="461" y="5553"/>
                  </a:cubicBezTo>
                  <a:cubicBezTo>
                    <a:pt x="440" y="5560"/>
                    <a:pt x="418" y="5568"/>
                    <a:pt x="388" y="5590"/>
                  </a:cubicBezTo>
                  <a:lnTo>
                    <a:pt x="388" y="5590"/>
                  </a:lnTo>
                  <a:cubicBezTo>
                    <a:pt x="381" y="5590"/>
                    <a:pt x="381" y="5590"/>
                    <a:pt x="381" y="5590"/>
                  </a:cubicBezTo>
                  <a:cubicBezTo>
                    <a:pt x="381" y="5590"/>
                    <a:pt x="330" y="5597"/>
                    <a:pt x="286" y="5597"/>
                  </a:cubicBezTo>
                  <a:cubicBezTo>
                    <a:pt x="256" y="5597"/>
                    <a:pt x="234" y="5597"/>
                    <a:pt x="220" y="5590"/>
                  </a:cubicBezTo>
                  <a:cubicBezTo>
                    <a:pt x="168" y="5568"/>
                    <a:pt x="154" y="5502"/>
                    <a:pt x="139" y="5436"/>
                  </a:cubicBezTo>
                  <a:cubicBezTo>
                    <a:pt x="125" y="5392"/>
                    <a:pt x="102" y="5385"/>
                    <a:pt x="66" y="5370"/>
                  </a:cubicBezTo>
                  <a:cubicBezTo>
                    <a:pt x="59" y="5363"/>
                    <a:pt x="44" y="5363"/>
                    <a:pt x="37" y="5355"/>
                  </a:cubicBezTo>
                  <a:cubicBezTo>
                    <a:pt x="15" y="5348"/>
                    <a:pt x="7" y="5333"/>
                    <a:pt x="0" y="5311"/>
                  </a:cubicBezTo>
                  <a:cubicBezTo>
                    <a:pt x="0" y="5275"/>
                    <a:pt x="29" y="5231"/>
                    <a:pt x="59" y="5201"/>
                  </a:cubicBezTo>
                  <a:cubicBezTo>
                    <a:pt x="80" y="5179"/>
                    <a:pt x="95" y="5179"/>
                    <a:pt x="110" y="5179"/>
                  </a:cubicBezTo>
                  <a:cubicBezTo>
                    <a:pt x="117" y="5179"/>
                    <a:pt x="117" y="5179"/>
                    <a:pt x="117" y="5172"/>
                  </a:cubicBezTo>
                  <a:cubicBezTo>
                    <a:pt x="125" y="5165"/>
                    <a:pt x="125" y="5157"/>
                    <a:pt x="132" y="5143"/>
                  </a:cubicBezTo>
                  <a:cubicBezTo>
                    <a:pt x="132" y="5121"/>
                    <a:pt x="147" y="5084"/>
                    <a:pt x="154" y="5069"/>
                  </a:cubicBezTo>
                  <a:cubicBezTo>
                    <a:pt x="161" y="5062"/>
                    <a:pt x="168" y="5055"/>
                    <a:pt x="190" y="5055"/>
                  </a:cubicBezTo>
                  <a:cubicBezTo>
                    <a:pt x="205" y="5055"/>
                    <a:pt x="227" y="5062"/>
                    <a:pt x="249" y="5069"/>
                  </a:cubicBezTo>
                  <a:cubicBezTo>
                    <a:pt x="264" y="5077"/>
                    <a:pt x="278" y="5084"/>
                    <a:pt x="293" y="5084"/>
                  </a:cubicBezTo>
                  <a:cubicBezTo>
                    <a:pt x="300" y="5091"/>
                    <a:pt x="315" y="5091"/>
                    <a:pt x="322" y="5091"/>
                  </a:cubicBezTo>
                  <a:cubicBezTo>
                    <a:pt x="330" y="5091"/>
                    <a:pt x="330" y="5077"/>
                    <a:pt x="330" y="5069"/>
                  </a:cubicBezTo>
                  <a:cubicBezTo>
                    <a:pt x="337" y="5026"/>
                    <a:pt x="322" y="5004"/>
                    <a:pt x="308" y="4996"/>
                  </a:cubicBezTo>
                  <a:cubicBezTo>
                    <a:pt x="300" y="4996"/>
                    <a:pt x="300" y="4996"/>
                    <a:pt x="300" y="4996"/>
                  </a:cubicBezTo>
                  <a:cubicBezTo>
                    <a:pt x="278" y="4989"/>
                    <a:pt x="242" y="4974"/>
                    <a:pt x="212" y="4945"/>
                  </a:cubicBezTo>
                  <a:cubicBezTo>
                    <a:pt x="198" y="4930"/>
                    <a:pt x="198" y="4923"/>
                    <a:pt x="198" y="4916"/>
                  </a:cubicBezTo>
                  <a:cubicBezTo>
                    <a:pt x="198" y="4886"/>
                    <a:pt x="227" y="4864"/>
                    <a:pt x="264" y="4835"/>
                  </a:cubicBezTo>
                  <a:cubicBezTo>
                    <a:pt x="271" y="4828"/>
                    <a:pt x="286" y="4820"/>
                    <a:pt x="293" y="4813"/>
                  </a:cubicBezTo>
                  <a:cubicBezTo>
                    <a:pt x="308" y="4798"/>
                    <a:pt x="330" y="4784"/>
                    <a:pt x="344" y="4769"/>
                  </a:cubicBezTo>
                  <a:cubicBezTo>
                    <a:pt x="366" y="4755"/>
                    <a:pt x="388" y="4740"/>
                    <a:pt x="403" y="4718"/>
                  </a:cubicBezTo>
                  <a:cubicBezTo>
                    <a:pt x="418" y="4703"/>
                    <a:pt x="432" y="4696"/>
                    <a:pt x="447" y="4696"/>
                  </a:cubicBezTo>
                  <a:cubicBezTo>
                    <a:pt x="461" y="4696"/>
                    <a:pt x="484" y="4710"/>
                    <a:pt x="506" y="4725"/>
                  </a:cubicBezTo>
                  <a:cubicBezTo>
                    <a:pt x="513" y="4732"/>
                    <a:pt x="528" y="4740"/>
                    <a:pt x="542" y="4747"/>
                  </a:cubicBezTo>
                  <a:cubicBezTo>
                    <a:pt x="549" y="4755"/>
                    <a:pt x="557" y="4755"/>
                    <a:pt x="564" y="4755"/>
                  </a:cubicBezTo>
                  <a:cubicBezTo>
                    <a:pt x="571" y="4755"/>
                    <a:pt x="579" y="4755"/>
                    <a:pt x="586" y="4747"/>
                  </a:cubicBezTo>
                  <a:cubicBezTo>
                    <a:pt x="593" y="4732"/>
                    <a:pt x="601" y="4710"/>
                    <a:pt x="593" y="4688"/>
                  </a:cubicBezTo>
                  <a:cubicBezTo>
                    <a:pt x="593" y="4674"/>
                    <a:pt x="586" y="4674"/>
                    <a:pt x="571" y="4674"/>
                  </a:cubicBezTo>
                  <a:cubicBezTo>
                    <a:pt x="557" y="4667"/>
                    <a:pt x="535" y="4667"/>
                    <a:pt x="528" y="4637"/>
                  </a:cubicBezTo>
                  <a:cubicBezTo>
                    <a:pt x="528" y="4630"/>
                    <a:pt x="528" y="4615"/>
                    <a:pt x="535" y="4608"/>
                  </a:cubicBezTo>
                  <a:cubicBezTo>
                    <a:pt x="549" y="4586"/>
                    <a:pt x="579" y="4579"/>
                    <a:pt x="608" y="4579"/>
                  </a:cubicBezTo>
                  <a:cubicBezTo>
                    <a:pt x="623" y="4579"/>
                    <a:pt x="645" y="4579"/>
                    <a:pt x="674" y="4593"/>
                  </a:cubicBezTo>
                  <a:cubicBezTo>
                    <a:pt x="681" y="4600"/>
                    <a:pt x="689" y="4608"/>
                    <a:pt x="696" y="4608"/>
                  </a:cubicBezTo>
                  <a:cubicBezTo>
                    <a:pt x="711" y="4608"/>
                    <a:pt x="718" y="4586"/>
                    <a:pt x="725" y="4549"/>
                  </a:cubicBezTo>
                  <a:cubicBezTo>
                    <a:pt x="733" y="4498"/>
                    <a:pt x="711" y="4447"/>
                    <a:pt x="696" y="4425"/>
                  </a:cubicBezTo>
                  <a:cubicBezTo>
                    <a:pt x="681" y="4410"/>
                    <a:pt x="674" y="4403"/>
                    <a:pt x="667" y="4395"/>
                  </a:cubicBezTo>
                  <a:cubicBezTo>
                    <a:pt x="652" y="4381"/>
                    <a:pt x="645" y="4373"/>
                    <a:pt x="630" y="4344"/>
                  </a:cubicBezTo>
                  <a:cubicBezTo>
                    <a:pt x="623" y="4329"/>
                    <a:pt x="623" y="4315"/>
                    <a:pt x="616" y="4300"/>
                  </a:cubicBezTo>
                  <a:cubicBezTo>
                    <a:pt x="616" y="4278"/>
                    <a:pt x="608" y="4264"/>
                    <a:pt x="593" y="4249"/>
                  </a:cubicBezTo>
                  <a:cubicBezTo>
                    <a:pt x="579" y="4234"/>
                    <a:pt x="579" y="4234"/>
                    <a:pt x="579" y="4234"/>
                  </a:cubicBezTo>
                  <a:cubicBezTo>
                    <a:pt x="549" y="4205"/>
                    <a:pt x="520" y="4168"/>
                    <a:pt x="454" y="4168"/>
                  </a:cubicBezTo>
                  <a:cubicBezTo>
                    <a:pt x="425" y="4161"/>
                    <a:pt x="403" y="4154"/>
                    <a:pt x="396" y="4139"/>
                  </a:cubicBezTo>
                  <a:cubicBezTo>
                    <a:pt x="388" y="4117"/>
                    <a:pt x="403" y="4102"/>
                    <a:pt x="425" y="4080"/>
                  </a:cubicBezTo>
                  <a:cubicBezTo>
                    <a:pt x="440" y="4073"/>
                    <a:pt x="440" y="4073"/>
                    <a:pt x="440" y="4073"/>
                  </a:cubicBezTo>
                  <a:cubicBezTo>
                    <a:pt x="469" y="4044"/>
                    <a:pt x="469" y="4029"/>
                    <a:pt x="476" y="4000"/>
                  </a:cubicBezTo>
                  <a:cubicBezTo>
                    <a:pt x="476" y="3992"/>
                    <a:pt x="476" y="3978"/>
                    <a:pt x="476" y="3970"/>
                  </a:cubicBezTo>
                  <a:cubicBezTo>
                    <a:pt x="484" y="3941"/>
                    <a:pt x="469" y="3912"/>
                    <a:pt x="461" y="3890"/>
                  </a:cubicBezTo>
                  <a:cubicBezTo>
                    <a:pt x="454" y="3868"/>
                    <a:pt x="447" y="3853"/>
                    <a:pt x="440" y="3831"/>
                  </a:cubicBezTo>
                  <a:cubicBezTo>
                    <a:pt x="432" y="3780"/>
                    <a:pt x="469" y="3750"/>
                    <a:pt x="491" y="3721"/>
                  </a:cubicBezTo>
                  <a:cubicBezTo>
                    <a:pt x="498" y="3714"/>
                    <a:pt x="506" y="3707"/>
                    <a:pt x="513" y="3699"/>
                  </a:cubicBezTo>
                  <a:cubicBezTo>
                    <a:pt x="535" y="3670"/>
                    <a:pt x="564" y="3633"/>
                    <a:pt x="608" y="3633"/>
                  </a:cubicBezTo>
                  <a:cubicBezTo>
                    <a:pt x="616" y="3633"/>
                    <a:pt x="616" y="3633"/>
                    <a:pt x="623" y="3633"/>
                  </a:cubicBezTo>
                  <a:cubicBezTo>
                    <a:pt x="652" y="3641"/>
                    <a:pt x="667" y="3655"/>
                    <a:pt x="681" y="3670"/>
                  </a:cubicBezTo>
                  <a:cubicBezTo>
                    <a:pt x="689" y="3685"/>
                    <a:pt x="703" y="3699"/>
                    <a:pt x="718" y="3699"/>
                  </a:cubicBezTo>
                  <a:lnTo>
                    <a:pt x="718" y="3699"/>
                  </a:lnTo>
                  <a:cubicBezTo>
                    <a:pt x="740" y="3699"/>
                    <a:pt x="769" y="3648"/>
                    <a:pt x="784" y="3611"/>
                  </a:cubicBezTo>
                  <a:cubicBezTo>
                    <a:pt x="799" y="3589"/>
                    <a:pt x="806" y="3575"/>
                    <a:pt x="813" y="3567"/>
                  </a:cubicBezTo>
                  <a:cubicBezTo>
                    <a:pt x="842" y="3509"/>
                    <a:pt x="806" y="3414"/>
                    <a:pt x="777" y="3355"/>
                  </a:cubicBezTo>
                  <a:cubicBezTo>
                    <a:pt x="747" y="3311"/>
                    <a:pt x="747" y="3267"/>
                    <a:pt x="747" y="3223"/>
                  </a:cubicBezTo>
                  <a:cubicBezTo>
                    <a:pt x="747" y="3216"/>
                    <a:pt x="747" y="3216"/>
                    <a:pt x="747" y="3216"/>
                  </a:cubicBezTo>
                  <a:lnTo>
                    <a:pt x="747" y="3216"/>
                  </a:lnTo>
                  <a:cubicBezTo>
                    <a:pt x="769" y="3186"/>
                    <a:pt x="784" y="3164"/>
                    <a:pt x="806" y="3135"/>
                  </a:cubicBezTo>
                  <a:cubicBezTo>
                    <a:pt x="835" y="3091"/>
                    <a:pt x="835" y="3069"/>
                    <a:pt x="828" y="3025"/>
                  </a:cubicBezTo>
                  <a:cubicBezTo>
                    <a:pt x="821" y="3010"/>
                    <a:pt x="821" y="2996"/>
                    <a:pt x="821" y="2981"/>
                  </a:cubicBezTo>
                  <a:cubicBezTo>
                    <a:pt x="813" y="2945"/>
                    <a:pt x="806" y="2937"/>
                    <a:pt x="799" y="2930"/>
                  </a:cubicBezTo>
                  <a:cubicBezTo>
                    <a:pt x="791" y="2915"/>
                    <a:pt x="777" y="2908"/>
                    <a:pt x="777" y="2879"/>
                  </a:cubicBezTo>
                  <a:cubicBezTo>
                    <a:pt x="769" y="2835"/>
                    <a:pt x="791" y="2820"/>
                    <a:pt x="813" y="2805"/>
                  </a:cubicBezTo>
                  <a:cubicBezTo>
                    <a:pt x="828" y="2798"/>
                    <a:pt x="842" y="2791"/>
                    <a:pt x="850" y="2776"/>
                  </a:cubicBezTo>
                  <a:cubicBezTo>
                    <a:pt x="879" y="2725"/>
                    <a:pt x="909" y="2710"/>
                    <a:pt x="960" y="2681"/>
                  </a:cubicBezTo>
                  <a:cubicBezTo>
                    <a:pt x="982" y="2673"/>
                    <a:pt x="982" y="2673"/>
                    <a:pt x="982" y="2673"/>
                  </a:cubicBezTo>
                  <a:cubicBezTo>
                    <a:pt x="1026" y="2651"/>
                    <a:pt x="1033" y="2637"/>
                    <a:pt x="1040" y="2600"/>
                  </a:cubicBezTo>
                  <a:cubicBezTo>
                    <a:pt x="1048" y="2586"/>
                    <a:pt x="1048" y="2578"/>
                    <a:pt x="1055" y="2564"/>
                  </a:cubicBezTo>
                  <a:cubicBezTo>
                    <a:pt x="1062" y="2541"/>
                    <a:pt x="1077" y="2519"/>
                    <a:pt x="1099" y="2519"/>
                  </a:cubicBezTo>
                  <a:cubicBezTo>
                    <a:pt x="1121" y="2519"/>
                    <a:pt x="1136" y="2541"/>
                    <a:pt x="1150" y="2571"/>
                  </a:cubicBezTo>
                  <a:cubicBezTo>
                    <a:pt x="1172" y="2600"/>
                    <a:pt x="1180" y="2615"/>
                    <a:pt x="1216" y="2615"/>
                  </a:cubicBezTo>
                  <a:cubicBezTo>
                    <a:pt x="1231" y="2615"/>
                    <a:pt x="1246" y="2607"/>
                    <a:pt x="1268" y="2607"/>
                  </a:cubicBezTo>
                  <a:cubicBezTo>
                    <a:pt x="1333" y="2586"/>
                    <a:pt x="1333" y="2578"/>
                    <a:pt x="1348" y="2556"/>
                  </a:cubicBezTo>
                  <a:cubicBezTo>
                    <a:pt x="1348" y="2549"/>
                    <a:pt x="1356" y="2534"/>
                    <a:pt x="1363" y="2519"/>
                  </a:cubicBezTo>
                  <a:cubicBezTo>
                    <a:pt x="1392" y="2468"/>
                    <a:pt x="1399" y="2461"/>
                    <a:pt x="1429" y="2446"/>
                  </a:cubicBezTo>
                  <a:cubicBezTo>
                    <a:pt x="1436" y="2439"/>
                    <a:pt x="1443" y="2432"/>
                    <a:pt x="1451" y="2432"/>
                  </a:cubicBezTo>
                  <a:cubicBezTo>
                    <a:pt x="1473" y="2417"/>
                    <a:pt x="1473" y="2410"/>
                    <a:pt x="1473" y="2410"/>
                  </a:cubicBezTo>
                  <a:lnTo>
                    <a:pt x="1473" y="2402"/>
                  </a:lnTo>
                  <a:cubicBezTo>
                    <a:pt x="1466" y="2395"/>
                    <a:pt x="1466" y="2373"/>
                    <a:pt x="1466" y="2344"/>
                  </a:cubicBezTo>
                  <a:cubicBezTo>
                    <a:pt x="1466" y="2300"/>
                    <a:pt x="1480" y="2285"/>
                    <a:pt x="1502" y="2263"/>
                  </a:cubicBezTo>
                  <a:cubicBezTo>
                    <a:pt x="1509" y="2256"/>
                    <a:pt x="1524" y="2241"/>
                    <a:pt x="1531" y="2219"/>
                  </a:cubicBezTo>
                  <a:cubicBezTo>
                    <a:pt x="1553" y="2182"/>
                    <a:pt x="1575" y="2168"/>
                    <a:pt x="1590" y="2153"/>
                  </a:cubicBezTo>
                  <a:cubicBezTo>
                    <a:pt x="1605" y="2146"/>
                    <a:pt x="1612" y="2138"/>
                    <a:pt x="1627" y="2124"/>
                  </a:cubicBezTo>
                  <a:lnTo>
                    <a:pt x="1649" y="2102"/>
                  </a:lnTo>
                  <a:cubicBezTo>
                    <a:pt x="1649" y="2102"/>
                    <a:pt x="1641" y="2102"/>
                    <a:pt x="1634" y="2095"/>
                  </a:cubicBezTo>
                  <a:cubicBezTo>
                    <a:pt x="1605" y="2065"/>
                    <a:pt x="1590" y="2029"/>
                    <a:pt x="1575" y="1948"/>
                  </a:cubicBezTo>
                  <a:cubicBezTo>
                    <a:pt x="1561" y="1897"/>
                    <a:pt x="1575" y="1882"/>
                    <a:pt x="1612" y="1867"/>
                  </a:cubicBezTo>
                  <a:cubicBezTo>
                    <a:pt x="1619" y="1860"/>
                    <a:pt x="1634" y="1853"/>
                    <a:pt x="1656" y="1831"/>
                  </a:cubicBezTo>
                  <a:cubicBezTo>
                    <a:pt x="1678" y="1816"/>
                    <a:pt x="1700" y="1809"/>
                    <a:pt x="1729" y="1809"/>
                  </a:cubicBezTo>
                  <a:cubicBezTo>
                    <a:pt x="1759" y="1809"/>
                    <a:pt x="1788" y="1816"/>
                    <a:pt x="1810" y="1823"/>
                  </a:cubicBezTo>
                  <a:cubicBezTo>
                    <a:pt x="1832" y="1823"/>
                    <a:pt x="1854" y="1831"/>
                    <a:pt x="1868" y="1831"/>
                  </a:cubicBezTo>
                  <a:cubicBezTo>
                    <a:pt x="1890" y="1831"/>
                    <a:pt x="1905" y="1838"/>
                    <a:pt x="1912" y="1845"/>
                  </a:cubicBezTo>
                  <a:cubicBezTo>
                    <a:pt x="1927" y="1823"/>
                    <a:pt x="1949" y="1801"/>
                    <a:pt x="1986" y="1794"/>
                  </a:cubicBezTo>
                  <a:cubicBezTo>
                    <a:pt x="1993" y="1794"/>
                    <a:pt x="1993" y="1794"/>
                    <a:pt x="2000" y="1794"/>
                  </a:cubicBezTo>
                  <a:cubicBezTo>
                    <a:pt x="1993" y="1787"/>
                    <a:pt x="1993" y="1787"/>
                    <a:pt x="1986" y="1779"/>
                  </a:cubicBezTo>
                  <a:cubicBezTo>
                    <a:pt x="1942" y="1736"/>
                    <a:pt x="1971" y="1706"/>
                    <a:pt x="1993" y="1677"/>
                  </a:cubicBezTo>
                  <a:cubicBezTo>
                    <a:pt x="2000" y="1669"/>
                    <a:pt x="2008" y="1662"/>
                    <a:pt x="2008" y="1655"/>
                  </a:cubicBezTo>
                  <a:cubicBezTo>
                    <a:pt x="2022" y="1640"/>
                    <a:pt x="2037" y="1626"/>
                    <a:pt x="2052" y="1618"/>
                  </a:cubicBezTo>
                  <a:cubicBezTo>
                    <a:pt x="2066" y="1604"/>
                    <a:pt x="2081" y="1596"/>
                    <a:pt x="2096" y="1568"/>
                  </a:cubicBezTo>
                  <a:cubicBezTo>
                    <a:pt x="2118" y="1517"/>
                    <a:pt x="2118" y="1517"/>
                    <a:pt x="2103" y="1487"/>
                  </a:cubicBezTo>
                  <a:cubicBezTo>
                    <a:pt x="2088" y="1451"/>
                    <a:pt x="2074" y="1429"/>
                    <a:pt x="2059" y="1356"/>
                  </a:cubicBezTo>
                  <a:cubicBezTo>
                    <a:pt x="2052" y="1341"/>
                    <a:pt x="2052" y="1326"/>
                    <a:pt x="2052" y="1311"/>
                  </a:cubicBezTo>
                  <a:cubicBezTo>
                    <a:pt x="2044" y="1282"/>
                    <a:pt x="2044" y="1282"/>
                    <a:pt x="2030" y="1282"/>
                  </a:cubicBezTo>
                  <a:cubicBezTo>
                    <a:pt x="2030" y="1282"/>
                    <a:pt x="2022" y="1282"/>
                    <a:pt x="2015" y="1282"/>
                  </a:cubicBezTo>
                  <a:cubicBezTo>
                    <a:pt x="1956" y="1289"/>
                    <a:pt x="1927" y="1311"/>
                    <a:pt x="1890" y="1341"/>
                  </a:cubicBezTo>
                  <a:cubicBezTo>
                    <a:pt x="1861" y="1363"/>
                    <a:pt x="1832" y="1377"/>
                    <a:pt x="1802" y="1377"/>
                  </a:cubicBezTo>
                  <a:cubicBezTo>
                    <a:pt x="1788" y="1377"/>
                    <a:pt x="1773" y="1377"/>
                    <a:pt x="1759" y="1363"/>
                  </a:cubicBezTo>
                  <a:cubicBezTo>
                    <a:pt x="1737" y="1348"/>
                    <a:pt x="1729" y="1333"/>
                    <a:pt x="1729" y="1319"/>
                  </a:cubicBezTo>
                  <a:cubicBezTo>
                    <a:pt x="1722" y="1311"/>
                    <a:pt x="1722" y="1297"/>
                    <a:pt x="1707" y="1275"/>
                  </a:cubicBezTo>
                  <a:cubicBezTo>
                    <a:pt x="1670" y="1238"/>
                    <a:pt x="1692" y="1209"/>
                    <a:pt x="1722" y="1172"/>
                  </a:cubicBezTo>
                  <a:cubicBezTo>
                    <a:pt x="1729" y="1158"/>
                    <a:pt x="1744" y="1136"/>
                    <a:pt x="1751" y="1114"/>
                  </a:cubicBezTo>
                  <a:cubicBezTo>
                    <a:pt x="1788" y="1055"/>
                    <a:pt x="1802" y="1048"/>
                    <a:pt x="1839" y="1018"/>
                  </a:cubicBezTo>
                  <a:cubicBezTo>
                    <a:pt x="1847" y="1011"/>
                    <a:pt x="1861" y="1004"/>
                    <a:pt x="1876" y="989"/>
                  </a:cubicBezTo>
                  <a:cubicBezTo>
                    <a:pt x="1905" y="974"/>
                    <a:pt x="1920" y="952"/>
                    <a:pt x="1927" y="945"/>
                  </a:cubicBezTo>
                  <a:cubicBezTo>
                    <a:pt x="1934" y="923"/>
                    <a:pt x="1949" y="916"/>
                    <a:pt x="1978" y="916"/>
                  </a:cubicBezTo>
                  <a:cubicBezTo>
                    <a:pt x="1993" y="916"/>
                    <a:pt x="2000" y="916"/>
                    <a:pt x="2015" y="916"/>
                  </a:cubicBezTo>
                  <a:cubicBezTo>
                    <a:pt x="2030" y="916"/>
                    <a:pt x="2037" y="916"/>
                    <a:pt x="2044" y="916"/>
                  </a:cubicBezTo>
                  <a:cubicBezTo>
                    <a:pt x="2074" y="916"/>
                    <a:pt x="2096" y="908"/>
                    <a:pt x="2110" y="894"/>
                  </a:cubicBezTo>
                  <a:cubicBezTo>
                    <a:pt x="2140" y="865"/>
                    <a:pt x="2161" y="857"/>
                    <a:pt x="2191" y="857"/>
                  </a:cubicBezTo>
                  <a:cubicBezTo>
                    <a:pt x="2220" y="857"/>
                    <a:pt x="2242" y="865"/>
                    <a:pt x="2271" y="879"/>
                  </a:cubicBezTo>
                  <a:cubicBezTo>
                    <a:pt x="2279" y="887"/>
                    <a:pt x="2293" y="894"/>
                    <a:pt x="2308" y="894"/>
                  </a:cubicBezTo>
                  <a:cubicBezTo>
                    <a:pt x="2345" y="894"/>
                    <a:pt x="2381" y="879"/>
                    <a:pt x="2418" y="872"/>
                  </a:cubicBezTo>
                  <a:cubicBezTo>
                    <a:pt x="2440" y="865"/>
                    <a:pt x="2462" y="857"/>
                    <a:pt x="2477" y="857"/>
                  </a:cubicBezTo>
                  <a:cubicBezTo>
                    <a:pt x="2499" y="850"/>
                    <a:pt x="2513" y="842"/>
                    <a:pt x="2521" y="828"/>
                  </a:cubicBezTo>
                  <a:cubicBezTo>
                    <a:pt x="2528" y="813"/>
                    <a:pt x="2521" y="791"/>
                    <a:pt x="2513" y="777"/>
                  </a:cubicBezTo>
                  <a:cubicBezTo>
                    <a:pt x="2506" y="762"/>
                    <a:pt x="2491" y="747"/>
                    <a:pt x="2469" y="732"/>
                  </a:cubicBezTo>
                  <a:cubicBezTo>
                    <a:pt x="2447" y="718"/>
                    <a:pt x="2425" y="703"/>
                    <a:pt x="2403" y="674"/>
                  </a:cubicBezTo>
                  <a:cubicBezTo>
                    <a:pt x="2374" y="637"/>
                    <a:pt x="2359" y="623"/>
                    <a:pt x="2359" y="601"/>
                  </a:cubicBezTo>
                  <a:cubicBezTo>
                    <a:pt x="2359" y="579"/>
                    <a:pt x="2374" y="564"/>
                    <a:pt x="2403" y="542"/>
                  </a:cubicBezTo>
                  <a:cubicBezTo>
                    <a:pt x="2447" y="513"/>
                    <a:pt x="2506" y="491"/>
                    <a:pt x="2557" y="469"/>
                  </a:cubicBezTo>
                  <a:cubicBezTo>
                    <a:pt x="2579" y="461"/>
                    <a:pt x="2601" y="454"/>
                    <a:pt x="2623" y="447"/>
                  </a:cubicBezTo>
                  <a:cubicBezTo>
                    <a:pt x="2630" y="439"/>
                    <a:pt x="2638" y="439"/>
                    <a:pt x="2652" y="439"/>
                  </a:cubicBezTo>
                  <a:cubicBezTo>
                    <a:pt x="2682" y="439"/>
                    <a:pt x="2704" y="461"/>
                    <a:pt x="2726" y="476"/>
                  </a:cubicBezTo>
                  <a:cubicBezTo>
                    <a:pt x="2748" y="491"/>
                    <a:pt x="2762" y="498"/>
                    <a:pt x="2777" y="506"/>
                  </a:cubicBezTo>
                  <a:cubicBezTo>
                    <a:pt x="2806" y="520"/>
                    <a:pt x="2836" y="527"/>
                    <a:pt x="2843" y="549"/>
                  </a:cubicBezTo>
                  <a:cubicBezTo>
                    <a:pt x="2850" y="564"/>
                    <a:pt x="2843" y="586"/>
                    <a:pt x="2836" y="601"/>
                  </a:cubicBezTo>
                  <a:cubicBezTo>
                    <a:pt x="2828" y="623"/>
                    <a:pt x="2828" y="645"/>
                    <a:pt x="2836" y="659"/>
                  </a:cubicBezTo>
                  <a:cubicBezTo>
                    <a:pt x="2850" y="681"/>
                    <a:pt x="2872" y="696"/>
                    <a:pt x="2909" y="703"/>
                  </a:cubicBezTo>
                  <a:lnTo>
                    <a:pt x="2916" y="703"/>
                  </a:lnTo>
                  <a:cubicBezTo>
                    <a:pt x="2960" y="703"/>
                    <a:pt x="2982" y="674"/>
                    <a:pt x="3004" y="645"/>
                  </a:cubicBezTo>
                  <a:cubicBezTo>
                    <a:pt x="3019" y="637"/>
                    <a:pt x="3026" y="623"/>
                    <a:pt x="3041" y="608"/>
                  </a:cubicBezTo>
                  <a:cubicBezTo>
                    <a:pt x="3070" y="586"/>
                    <a:pt x="3136" y="520"/>
                    <a:pt x="3246" y="418"/>
                  </a:cubicBezTo>
                  <a:cubicBezTo>
                    <a:pt x="3290" y="373"/>
                    <a:pt x="3334" y="286"/>
                    <a:pt x="3349" y="242"/>
                  </a:cubicBezTo>
                  <a:cubicBezTo>
                    <a:pt x="3356" y="227"/>
                    <a:pt x="3356" y="227"/>
                    <a:pt x="3341" y="220"/>
                  </a:cubicBezTo>
                  <a:cubicBezTo>
                    <a:pt x="3327" y="212"/>
                    <a:pt x="3305" y="198"/>
                    <a:pt x="3305" y="168"/>
                  </a:cubicBezTo>
                  <a:cubicBezTo>
                    <a:pt x="3305" y="124"/>
                    <a:pt x="3356" y="95"/>
                    <a:pt x="3437" y="95"/>
                  </a:cubicBezTo>
                  <a:cubicBezTo>
                    <a:pt x="3459" y="95"/>
                    <a:pt x="3480" y="88"/>
                    <a:pt x="3495" y="73"/>
                  </a:cubicBezTo>
                  <a:cubicBezTo>
                    <a:pt x="3459" y="73"/>
                    <a:pt x="3459" y="73"/>
                    <a:pt x="3459" y="73"/>
                  </a:cubicBezTo>
                  <a:cubicBezTo>
                    <a:pt x="3495" y="44"/>
                    <a:pt x="3495" y="44"/>
                    <a:pt x="3495" y="44"/>
                  </a:cubicBezTo>
                  <a:cubicBezTo>
                    <a:pt x="3532" y="15"/>
                    <a:pt x="3561" y="0"/>
                    <a:pt x="3583" y="0"/>
                  </a:cubicBezTo>
                  <a:cubicBezTo>
                    <a:pt x="3583" y="0"/>
                    <a:pt x="3590" y="0"/>
                    <a:pt x="3590" y="7"/>
                  </a:cubicBezTo>
                  <a:cubicBezTo>
                    <a:pt x="3620" y="7"/>
                    <a:pt x="3634" y="37"/>
                    <a:pt x="3642" y="58"/>
                  </a:cubicBezTo>
                  <a:cubicBezTo>
                    <a:pt x="3656" y="80"/>
                    <a:pt x="3664" y="88"/>
                    <a:pt x="3671" y="88"/>
                  </a:cubicBezTo>
                  <a:cubicBezTo>
                    <a:pt x="3678" y="88"/>
                    <a:pt x="3686" y="88"/>
                    <a:pt x="3700" y="88"/>
                  </a:cubicBezTo>
                  <a:cubicBezTo>
                    <a:pt x="3708" y="88"/>
                    <a:pt x="3715" y="88"/>
                    <a:pt x="3722" y="88"/>
                  </a:cubicBezTo>
                  <a:cubicBezTo>
                    <a:pt x="3737" y="88"/>
                    <a:pt x="3766" y="88"/>
                    <a:pt x="3796" y="73"/>
                  </a:cubicBezTo>
                  <a:cubicBezTo>
                    <a:pt x="3825" y="58"/>
                    <a:pt x="3854" y="51"/>
                    <a:pt x="3876" y="51"/>
                  </a:cubicBezTo>
                  <a:cubicBezTo>
                    <a:pt x="3913" y="51"/>
                    <a:pt x="3935" y="66"/>
                    <a:pt x="3942" y="95"/>
                  </a:cubicBezTo>
                  <a:cubicBezTo>
                    <a:pt x="3949" y="124"/>
                    <a:pt x="3993" y="168"/>
                    <a:pt x="4037" y="190"/>
                  </a:cubicBezTo>
                  <a:cubicBezTo>
                    <a:pt x="4059" y="205"/>
                    <a:pt x="4059" y="234"/>
                    <a:pt x="4052" y="256"/>
                  </a:cubicBezTo>
                  <a:cubicBezTo>
                    <a:pt x="4045" y="278"/>
                    <a:pt x="4030" y="293"/>
                    <a:pt x="4008" y="293"/>
                  </a:cubicBezTo>
                  <a:cubicBezTo>
                    <a:pt x="4001" y="293"/>
                    <a:pt x="3993" y="293"/>
                    <a:pt x="3979" y="286"/>
                  </a:cubicBezTo>
                  <a:cubicBezTo>
                    <a:pt x="3957" y="278"/>
                    <a:pt x="3942" y="271"/>
                    <a:pt x="3928" y="271"/>
                  </a:cubicBezTo>
                  <a:cubicBezTo>
                    <a:pt x="3920" y="271"/>
                    <a:pt x="3920" y="278"/>
                    <a:pt x="3920" y="278"/>
                  </a:cubicBezTo>
                  <a:lnTo>
                    <a:pt x="3920" y="278"/>
                  </a:lnTo>
                  <a:cubicBezTo>
                    <a:pt x="3942" y="308"/>
                    <a:pt x="3964" y="337"/>
                    <a:pt x="3949" y="351"/>
                  </a:cubicBezTo>
                  <a:cubicBezTo>
                    <a:pt x="3949" y="359"/>
                    <a:pt x="3942" y="366"/>
                    <a:pt x="3920" y="366"/>
                  </a:cubicBezTo>
                  <a:cubicBezTo>
                    <a:pt x="3920" y="366"/>
                    <a:pt x="3913" y="366"/>
                    <a:pt x="3905" y="366"/>
                  </a:cubicBezTo>
                  <a:lnTo>
                    <a:pt x="3905" y="366"/>
                  </a:lnTo>
                  <a:cubicBezTo>
                    <a:pt x="3913" y="381"/>
                    <a:pt x="3928" y="418"/>
                    <a:pt x="3891" y="439"/>
                  </a:cubicBezTo>
                  <a:cubicBezTo>
                    <a:pt x="3876" y="454"/>
                    <a:pt x="3869" y="461"/>
                    <a:pt x="3869" y="476"/>
                  </a:cubicBezTo>
                  <a:cubicBezTo>
                    <a:pt x="3869" y="491"/>
                    <a:pt x="3876" y="506"/>
                    <a:pt x="3883" y="520"/>
                  </a:cubicBezTo>
                  <a:cubicBezTo>
                    <a:pt x="3913" y="542"/>
                    <a:pt x="3949" y="637"/>
                    <a:pt x="3942" y="674"/>
                  </a:cubicBezTo>
                  <a:cubicBezTo>
                    <a:pt x="3942" y="681"/>
                    <a:pt x="3942" y="689"/>
                    <a:pt x="3949" y="703"/>
                  </a:cubicBezTo>
                  <a:cubicBezTo>
                    <a:pt x="3964" y="718"/>
                    <a:pt x="3979" y="747"/>
                    <a:pt x="3957" y="784"/>
                  </a:cubicBezTo>
                  <a:cubicBezTo>
                    <a:pt x="3949" y="791"/>
                    <a:pt x="3949" y="798"/>
                    <a:pt x="3949" y="806"/>
                  </a:cubicBezTo>
                  <a:cubicBezTo>
                    <a:pt x="3928" y="842"/>
                    <a:pt x="3928" y="850"/>
                    <a:pt x="3869" y="857"/>
                  </a:cubicBezTo>
                  <a:cubicBezTo>
                    <a:pt x="3818" y="865"/>
                    <a:pt x="3810" y="887"/>
                    <a:pt x="3803" y="923"/>
                  </a:cubicBezTo>
                  <a:cubicBezTo>
                    <a:pt x="3803" y="938"/>
                    <a:pt x="3803" y="938"/>
                    <a:pt x="3803" y="938"/>
                  </a:cubicBezTo>
                  <a:cubicBezTo>
                    <a:pt x="3796" y="974"/>
                    <a:pt x="3788" y="1004"/>
                    <a:pt x="3832" y="1026"/>
                  </a:cubicBezTo>
                  <a:cubicBezTo>
                    <a:pt x="3854" y="1040"/>
                    <a:pt x="3891" y="1055"/>
                    <a:pt x="3928" y="1070"/>
                  </a:cubicBezTo>
                  <a:cubicBezTo>
                    <a:pt x="3993" y="1091"/>
                    <a:pt x="4052" y="1114"/>
                    <a:pt x="4067" y="1143"/>
                  </a:cubicBezTo>
                  <a:cubicBezTo>
                    <a:pt x="4096" y="1180"/>
                    <a:pt x="4118" y="1187"/>
                    <a:pt x="4125" y="1187"/>
                  </a:cubicBezTo>
                  <a:cubicBezTo>
                    <a:pt x="4132" y="1187"/>
                    <a:pt x="4147" y="1180"/>
                    <a:pt x="4155" y="1172"/>
                  </a:cubicBezTo>
                  <a:cubicBezTo>
                    <a:pt x="4162" y="1165"/>
                    <a:pt x="4162" y="1165"/>
                    <a:pt x="4162" y="1165"/>
                  </a:cubicBezTo>
                  <a:cubicBezTo>
                    <a:pt x="4184" y="1150"/>
                    <a:pt x="4199" y="1128"/>
                    <a:pt x="4199" y="1121"/>
                  </a:cubicBezTo>
                  <a:cubicBezTo>
                    <a:pt x="4199" y="1121"/>
                    <a:pt x="4199" y="1114"/>
                    <a:pt x="4177" y="1106"/>
                  </a:cubicBezTo>
                  <a:cubicBezTo>
                    <a:pt x="4111" y="1077"/>
                    <a:pt x="4081" y="1018"/>
                    <a:pt x="4081" y="989"/>
                  </a:cubicBezTo>
                  <a:cubicBezTo>
                    <a:pt x="4081" y="967"/>
                    <a:pt x="4089" y="960"/>
                    <a:pt x="4103" y="952"/>
                  </a:cubicBezTo>
                  <a:cubicBezTo>
                    <a:pt x="4111" y="952"/>
                    <a:pt x="4125" y="945"/>
                    <a:pt x="4147" y="930"/>
                  </a:cubicBezTo>
                  <a:cubicBezTo>
                    <a:pt x="4162" y="923"/>
                    <a:pt x="4177" y="916"/>
                    <a:pt x="4191" y="908"/>
                  </a:cubicBezTo>
                  <a:cubicBezTo>
                    <a:pt x="4228" y="887"/>
                    <a:pt x="4250" y="872"/>
                    <a:pt x="4264" y="842"/>
                  </a:cubicBezTo>
                  <a:cubicBezTo>
                    <a:pt x="4272" y="813"/>
                    <a:pt x="4309" y="784"/>
                    <a:pt x="4338" y="784"/>
                  </a:cubicBezTo>
                  <a:cubicBezTo>
                    <a:pt x="4352" y="784"/>
                    <a:pt x="4367" y="791"/>
                    <a:pt x="4374" y="806"/>
                  </a:cubicBezTo>
                  <a:cubicBezTo>
                    <a:pt x="4382" y="791"/>
                    <a:pt x="4389" y="777"/>
                    <a:pt x="4404" y="769"/>
                  </a:cubicBezTo>
                  <a:cubicBezTo>
                    <a:pt x="4426" y="762"/>
                    <a:pt x="4433" y="762"/>
                    <a:pt x="4448" y="762"/>
                  </a:cubicBezTo>
                  <a:cubicBezTo>
                    <a:pt x="4477" y="762"/>
                    <a:pt x="4492" y="769"/>
                    <a:pt x="4514" y="791"/>
                  </a:cubicBezTo>
                  <a:cubicBezTo>
                    <a:pt x="4543" y="806"/>
                    <a:pt x="4558" y="835"/>
                    <a:pt x="4565" y="872"/>
                  </a:cubicBezTo>
                  <a:lnTo>
                    <a:pt x="4565" y="872"/>
                  </a:lnTo>
                  <a:lnTo>
                    <a:pt x="4572" y="894"/>
                  </a:lnTo>
                  <a:lnTo>
                    <a:pt x="4572" y="901"/>
                  </a:lnTo>
                  <a:cubicBezTo>
                    <a:pt x="4572" y="908"/>
                    <a:pt x="4572" y="923"/>
                    <a:pt x="4572" y="930"/>
                  </a:cubicBezTo>
                  <a:cubicBezTo>
                    <a:pt x="4565" y="967"/>
                    <a:pt x="4565" y="1026"/>
                    <a:pt x="4580" y="1040"/>
                  </a:cubicBezTo>
                  <a:cubicBezTo>
                    <a:pt x="4609" y="1062"/>
                    <a:pt x="4609" y="1084"/>
                    <a:pt x="4616" y="1106"/>
                  </a:cubicBezTo>
                  <a:cubicBezTo>
                    <a:pt x="4616" y="1121"/>
                    <a:pt x="4616" y="1136"/>
                    <a:pt x="4631" y="1150"/>
                  </a:cubicBezTo>
                  <a:cubicBezTo>
                    <a:pt x="4653" y="1187"/>
                    <a:pt x="4675" y="1209"/>
                    <a:pt x="4726" y="1209"/>
                  </a:cubicBezTo>
                  <a:cubicBezTo>
                    <a:pt x="4785" y="1209"/>
                    <a:pt x="4799" y="1246"/>
                    <a:pt x="4814" y="1282"/>
                  </a:cubicBezTo>
                  <a:cubicBezTo>
                    <a:pt x="4814" y="1289"/>
                    <a:pt x="4814" y="1297"/>
                    <a:pt x="4814" y="1304"/>
                  </a:cubicBezTo>
                  <a:cubicBezTo>
                    <a:pt x="4829" y="1348"/>
                    <a:pt x="4909" y="1407"/>
                    <a:pt x="4968" y="1414"/>
                  </a:cubicBezTo>
                  <a:cubicBezTo>
                    <a:pt x="5027" y="1421"/>
                    <a:pt x="5151" y="1495"/>
                    <a:pt x="5173" y="1509"/>
                  </a:cubicBezTo>
                  <a:cubicBezTo>
                    <a:pt x="5195" y="1524"/>
                    <a:pt x="5202" y="1539"/>
                    <a:pt x="5202" y="1560"/>
                  </a:cubicBezTo>
                  <a:cubicBezTo>
                    <a:pt x="5202" y="1582"/>
                    <a:pt x="5188" y="1604"/>
                    <a:pt x="5159" y="1618"/>
                  </a:cubicBezTo>
                  <a:cubicBezTo>
                    <a:pt x="5144" y="1633"/>
                    <a:pt x="5144" y="1640"/>
                    <a:pt x="5144" y="1669"/>
                  </a:cubicBezTo>
                  <a:cubicBezTo>
                    <a:pt x="5151" y="1691"/>
                    <a:pt x="5151" y="1706"/>
                    <a:pt x="5151" y="1728"/>
                  </a:cubicBezTo>
                  <a:cubicBezTo>
                    <a:pt x="5144" y="1743"/>
                    <a:pt x="5144" y="1772"/>
                    <a:pt x="5114" y="1772"/>
                  </a:cubicBezTo>
                  <a:cubicBezTo>
                    <a:pt x="5100" y="1772"/>
                    <a:pt x="5085" y="1757"/>
                    <a:pt x="5071" y="1714"/>
                  </a:cubicBezTo>
                  <a:cubicBezTo>
                    <a:pt x="5049" y="1669"/>
                    <a:pt x="5034" y="1669"/>
                    <a:pt x="5034" y="1669"/>
                  </a:cubicBezTo>
                  <a:cubicBezTo>
                    <a:pt x="5027" y="1669"/>
                    <a:pt x="5012" y="1677"/>
                    <a:pt x="4997" y="1684"/>
                  </a:cubicBezTo>
                  <a:cubicBezTo>
                    <a:pt x="4983" y="1699"/>
                    <a:pt x="4975" y="1706"/>
                    <a:pt x="4975" y="1714"/>
                  </a:cubicBezTo>
                  <a:cubicBezTo>
                    <a:pt x="4975" y="1721"/>
                    <a:pt x="4983" y="1736"/>
                    <a:pt x="5012" y="1750"/>
                  </a:cubicBezTo>
                  <a:cubicBezTo>
                    <a:pt x="5063" y="1772"/>
                    <a:pt x="5114" y="1787"/>
                    <a:pt x="5114" y="1787"/>
                  </a:cubicBezTo>
                  <a:cubicBezTo>
                    <a:pt x="5129" y="1794"/>
                    <a:pt x="5129" y="1794"/>
                    <a:pt x="5129" y="1794"/>
                  </a:cubicBezTo>
                  <a:cubicBezTo>
                    <a:pt x="5122" y="1809"/>
                    <a:pt x="5122" y="1809"/>
                    <a:pt x="5122" y="1809"/>
                  </a:cubicBezTo>
                  <a:cubicBezTo>
                    <a:pt x="5122" y="1809"/>
                    <a:pt x="5114" y="1831"/>
                    <a:pt x="5078" y="1867"/>
                  </a:cubicBezTo>
                  <a:cubicBezTo>
                    <a:pt x="5063" y="1875"/>
                    <a:pt x="5063" y="1875"/>
                    <a:pt x="5063" y="1875"/>
                  </a:cubicBezTo>
                  <a:cubicBezTo>
                    <a:pt x="5056" y="1882"/>
                    <a:pt x="5049" y="1897"/>
                    <a:pt x="5049" y="1897"/>
                  </a:cubicBezTo>
                  <a:cubicBezTo>
                    <a:pt x="5049" y="1904"/>
                    <a:pt x="5049" y="1904"/>
                    <a:pt x="5063" y="1919"/>
                  </a:cubicBezTo>
                  <a:cubicBezTo>
                    <a:pt x="5078" y="1933"/>
                    <a:pt x="5085" y="1941"/>
                    <a:pt x="5100" y="1948"/>
                  </a:cubicBezTo>
                  <a:cubicBezTo>
                    <a:pt x="5114" y="1955"/>
                    <a:pt x="5129" y="1963"/>
                    <a:pt x="5137" y="1985"/>
                  </a:cubicBezTo>
                  <a:cubicBezTo>
                    <a:pt x="5144" y="1985"/>
                    <a:pt x="5144" y="1992"/>
                    <a:pt x="5151" y="1992"/>
                  </a:cubicBezTo>
                  <a:cubicBezTo>
                    <a:pt x="5166" y="2014"/>
                    <a:pt x="5188" y="2043"/>
                    <a:pt x="5159" y="2102"/>
                  </a:cubicBezTo>
                  <a:cubicBezTo>
                    <a:pt x="5144" y="2117"/>
                    <a:pt x="5144" y="2131"/>
                    <a:pt x="5137" y="2146"/>
                  </a:cubicBezTo>
                  <a:cubicBezTo>
                    <a:pt x="5122" y="2168"/>
                    <a:pt x="5114" y="2197"/>
                    <a:pt x="5078" y="2197"/>
                  </a:cubicBezTo>
                  <a:cubicBezTo>
                    <a:pt x="5071" y="2197"/>
                    <a:pt x="5063" y="2197"/>
                    <a:pt x="5056" y="2190"/>
                  </a:cubicBezTo>
                  <a:cubicBezTo>
                    <a:pt x="5019" y="2182"/>
                    <a:pt x="5004" y="2160"/>
                    <a:pt x="4990" y="2146"/>
                  </a:cubicBezTo>
                  <a:cubicBezTo>
                    <a:pt x="4983" y="2138"/>
                    <a:pt x="4975" y="2124"/>
                    <a:pt x="4968" y="2124"/>
                  </a:cubicBezTo>
                  <a:cubicBezTo>
                    <a:pt x="4939" y="2146"/>
                    <a:pt x="4909" y="2168"/>
                    <a:pt x="4887" y="2168"/>
                  </a:cubicBezTo>
                  <a:cubicBezTo>
                    <a:pt x="4865" y="2168"/>
                    <a:pt x="4851" y="2160"/>
                    <a:pt x="4843" y="2146"/>
                  </a:cubicBezTo>
                  <a:cubicBezTo>
                    <a:pt x="4836" y="2131"/>
                    <a:pt x="4814" y="2124"/>
                    <a:pt x="4799" y="2124"/>
                  </a:cubicBezTo>
                  <a:cubicBezTo>
                    <a:pt x="4799" y="2124"/>
                    <a:pt x="4792" y="2124"/>
                    <a:pt x="4785" y="2131"/>
                  </a:cubicBezTo>
                  <a:cubicBezTo>
                    <a:pt x="4785" y="2131"/>
                    <a:pt x="4785" y="2146"/>
                    <a:pt x="4785" y="2153"/>
                  </a:cubicBezTo>
                  <a:cubicBezTo>
                    <a:pt x="4799" y="2248"/>
                    <a:pt x="4821" y="2278"/>
                    <a:pt x="4836" y="2292"/>
                  </a:cubicBezTo>
                  <a:cubicBezTo>
                    <a:pt x="4858" y="2307"/>
                    <a:pt x="4887" y="2329"/>
                    <a:pt x="4880" y="2358"/>
                  </a:cubicBezTo>
                  <a:cubicBezTo>
                    <a:pt x="4873" y="2373"/>
                    <a:pt x="4843" y="2380"/>
                    <a:pt x="4814" y="2380"/>
                  </a:cubicBezTo>
                  <a:cubicBezTo>
                    <a:pt x="4719" y="2380"/>
                    <a:pt x="4690" y="2373"/>
                    <a:pt x="4660" y="2358"/>
                  </a:cubicBezTo>
                  <a:cubicBezTo>
                    <a:pt x="4660" y="2358"/>
                    <a:pt x="4660" y="2358"/>
                    <a:pt x="4653" y="2358"/>
                  </a:cubicBezTo>
                  <a:cubicBezTo>
                    <a:pt x="4646" y="2358"/>
                    <a:pt x="4638" y="2366"/>
                    <a:pt x="4638" y="2373"/>
                  </a:cubicBezTo>
                  <a:cubicBezTo>
                    <a:pt x="4638" y="2373"/>
                    <a:pt x="4638" y="2373"/>
                    <a:pt x="4638" y="2380"/>
                  </a:cubicBezTo>
                  <a:cubicBezTo>
                    <a:pt x="4660" y="2388"/>
                    <a:pt x="4675" y="2395"/>
                    <a:pt x="4690" y="2395"/>
                  </a:cubicBezTo>
                  <a:cubicBezTo>
                    <a:pt x="4704" y="2402"/>
                    <a:pt x="4719" y="2402"/>
                    <a:pt x="4733" y="2410"/>
                  </a:cubicBezTo>
                  <a:cubicBezTo>
                    <a:pt x="4763" y="2424"/>
                    <a:pt x="4792" y="2446"/>
                    <a:pt x="4829" y="2483"/>
                  </a:cubicBezTo>
                  <a:cubicBezTo>
                    <a:pt x="4843" y="2498"/>
                    <a:pt x="4843" y="2498"/>
                    <a:pt x="4843" y="2498"/>
                  </a:cubicBezTo>
                  <a:cubicBezTo>
                    <a:pt x="4873" y="2519"/>
                    <a:pt x="4895" y="2541"/>
                    <a:pt x="4887" y="2564"/>
                  </a:cubicBezTo>
                  <a:cubicBezTo>
                    <a:pt x="4880" y="2586"/>
                    <a:pt x="4851" y="2593"/>
                    <a:pt x="4829" y="2593"/>
                  </a:cubicBezTo>
                  <a:cubicBezTo>
                    <a:pt x="4785" y="2593"/>
                    <a:pt x="4778" y="2607"/>
                    <a:pt x="4778" y="2607"/>
                  </a:cubicBezTo>
                  <a:cubicBezTo>
                    <a:pt x="4778" y="2615"/>
                    <a:pt x="4785" y="2629"/>
                    <a:pt x="4792" y="2637"/>
                  </a:cubicBezTo>
                  <a:cubicBezTo>
                    <a:pt x="4807" y="2659"/>
                    <a:pt x="4821" y="2688"/>
                    <a:pt x="4807" y="2717"/>
                  </a:cubicBezTo>
                  <a:cubicBezTo>
                    <a:pt x="4799" y="2732"/>
                    <a:pt x="4785" y="2739"/>
                    <a:pt x="4763" y="2739"/>
                  </a:cubicBezTo>
                  <a:cubicBezTo>
                    <a:pt x="4711" y="2739"/>
                    <a:pt x="4653" y="2754"/>
                    <a:pt x="4638" y="2805"/>
                  </a:cubicBezTo>
                  <a:cubicBezTo>
                    <a:pt x="4631" y="2820"/>
                    <a:pt x="4638" y="2835"/>
                    <a:pt x="4638" y="2857"/>
                  </a:cubicBezTo>
                  <a:cubicBezTo>
                    <a:pt x="4646" y="2879"/>
                    <a:pt x="4660" y="2915"/>
                    <a:pt x="4623" y="2937"/>
                  </a:cubicBezTo>
                  <a:cubicBezTo>
                    <a:pt x="4609" y="2952"/>
                    <a:pt x="4594" y="2959"/>
                    <a:pt x="4587" y="2959"/>
                  </a:cubicBezTo>
                  <a:lnTo>
                    <a:pt x="4580" y="2967"/>
                  </a:lnTo>
                  <a:cubicBezTo>
                    <a:pt x="4580" y="2967"/>
                    <a:pt x="4587" y="2967"/>
                    <a:pt x="4594" y="2974"/>
                  </a:cubicBezTo>
                  <a:cubicBezTo>
                    <a:pt x="4631" y="3010"/>
                    <a:pt x="4638" y="3055"/>
                    <a:pt x="4602" y="3106"/>
                  </a:cubicBezTo>
                  <a:cubicBezTo>
                    <a:pt x="4594" y="3113"/>
                    <a:pt x="4587" y="3135"/>
                    <a:pt x="4580" y="3150"/>
                  </a:cubicBezTo>
                  <a:cubicBezTo>
                    <a:pt x="4565" y="3194"/>
                    <a:pt x="4543" y="3238"/>
                    <a:pt x="4506" y="3238"/>
                  </a:cubicBezTo>
                  <a:cubicBezTo>
                    <a:pt x="4499" y="3238"/>
                    <a:pt x="4499" y="3238"/>
                    <a:pt x="4492" y="3238"/>
                  </a:cubicBezTo>
                  <a:cubicBezTo>
                    <a:pt x="4492" y="3245"/>
                    <a:pt x="4492" y="3267"/>
                    <a:pt x="4499" y="3289"/>
                  </a:cubicBezTo>
                  <a:cubicBezTo>
                    <a:pt x="4506" y="3304"/>
                    <a:pt x="4506" y="3304"/>
                    <a:pt x="4506" y="3304"/>
                  </a:cubicBezTo>
                  <a:cubicBezTo>
                    <a:pt x="4514" y="3355"/>
                    <a:pt x="4528" y="3369"/>
                    <a:pt x="4565" y="3369"/>
                  </a:cubicBezTo>
                  <a:cubicBezTo>
                    <a:pt x="4594" y="3369"/>
                    <a:pt x="4646" y="3369"/>
                    <a:pt x="4653" y="3355"/>
                  </a:cubicBezTo>
                  <a:cubicBezTo>
                    <a:pt x="4660" y="3355"/>
                    <a:pt x="4653" y="3348"/>
                    <a:pt x="4653" y="3340"/>
                  </a:cubicBezTo>
                  <a:cubicBezTo>
                    <a:pt x="4646" y="3318"/>
                    <a:pt x="4631" y="3296"/>
                    <a:pt x="4638" y="3274"/>
                  </a:cubicBezTo>
                  <a:cubicBezTo>
                    <a:pt x="4646" y="3252"/>
                    <a:pt x="4668" y="3238"/>
                    <a:pt x="4697" y="3223"/>
                  </a:cubicBezTo>
                  <a:cubicBezTo>
                    <a:pt x="4704" y="3223"/>
                    <a:pt x="4711" y="3216"/>
                    <a:pt x="4719" y="3216"/>
                  </a:cubicBezTo>
                  <a:cubicBezTo>
                    <a:pt x="4748" y="3201"/>
                    <a:pt x="4763" y="3186"/>
                    <a:pt x="4792" y="3186"/>
                  </a:cubicBezTo>
                  <a:cubicBezTo>
                    <a:pt x="4799" y="3186"/>
                    <a:pt x="4807" y="3186"/>
                    <a:pt x="4814" y="3194"/>
                  </a:cubicBezTo>
                  <a:cubicBezTo>
                    <a:pt x="4851" y="3201"/>
                    <a:pt x="4858" y="3223"/>
                    <a:pt x="4865" y="3245"/>
                  </a:cubicBezTo>
                  <a:cubicBezTo>
                    <a:pt x="4873" y="3260"/>
                    <a:pt x="4880" y="3274"/>
                    <a:pt x="4887" y="3289"/>
                  </a:cubicBezTo>
                  <a:cubicBezTo>
                    <a:pt x="4931" y="3340"/>
                    <a:pt x="4909" y="3399"/>
                    <a:pt x="4902" y="3421"/>
                  </a:cubicBezTo>
                  <a:cubicBezTo>
                    <a:pt x="4902" y="3436"/>
                    <a:pt x="4895" y="3443"/>
                    <a:pt x="4887" y="3443"/>
                  </a:cubicBezTo>
                  <a:cubicBezTo>
                    <a:pt x="4873" y="3443"/>
                    <a:pt x="4873" y="3436"/>
                    <a:pt x="4865" y="3428"/>
                  </a:cubicBezTo>
                  <a:lnTo>
                    <a:pt x="4865" y="3436"/>
                  </a:lnTo>
                  <a:cubicBezTo>
                    <a:pt x="4851" y="3465"/>
                    <a:pt x="4851" y="3479"/>
                    <a:pt x="4858" y="3509"/>
                  </a:cubicBezTo>
                  <a:cubicBezTo>
                    <a:pt x="4865" y="3523"/>
                    <a:pt x="4865" y="3538"/>
                    <a:pt x="4865" y="3553"/>
                  </a:cubicBezTo>
                  <a:cubicBezTo>
                    <a:pt x="4873" y="3604"/>
                    <a:pt x="4887" y="3663"/>
                    <a:pt x="4895" y="3677"/>
                  </a:cubicBezTo>
                  <a:cubicBezTo>
                    <a:pt x="4917" y="3699"/>
                    <a:pt x="4917" y="3699"/>
                    <a:pt x="4917" y="3699"/>
                  </a:cubicBezTo>
                  <a:cubicBezTo>
                    <a:pt x="4902" y="3707"/>
                    <a:pt x="4902" y="3707"/>
                    <a:pt x="4902" y="3707"/>
                  </a:cubicBezTo>
                  <a:cubicBezTo>
                    <a:pt x="4880" y="3729"/>
                    <a:pt x="4858" y="3750"/>
                    <a:pt x="4843" y="3765"/>
                  </a:cubicBezTo>
                  <a:cubicBezTo>
                    <a:pt x="4821" y="3795"/>
                    <a:pt x="4821" y="3817"/>
                    <a:pt x="4821" y="3846"/>
                  </a:cubicBezTo>
                  <a:cubicBezTo>
                    <a:pt x="4814" y="3868"/>
                    <a:pt x="4814" y="3897"/>
                    <a:pt x="4799" y="3926"/>
                  </a:cubicBezTo>
                  <a:cubicBezTo>
                    <a:pt x="4778" y="3963"/>
                    <a:pt x="4741" y="3985"/>
                    <a:pt x="4704" y="4014"/>
                  </a:cubicBezTo>
                  <a:cubicBezTo>
                    <a:pt x="4675" y="4036"/>
                    <a:pt x="4646" y="4058"/>
                    <a:pt x="4616" y="4088"/>
                  </a:cubicBezTo>
                  <a:cubicBezTo>
                    <a:pt x="4565" y="4139"/>
                    <a:pt x="4484" y="4154"/>
                    <a:pt x="4418" y="4154"/>
                  </a:cubicBezTo>
                  <a:cubicBezTo>
                    <a:pt x="4382" y="4154"/>
                    <a:pt x="4345" y="4146"/>
                    <a:pt x="4323" y="4132"/>
                  </a:cubicBezTo>
                  <a:cubicBezTo>
                    <a:pt x="4309" y="4124"/>
                    <a:pt x="4309" y="4124"/>
                    <a:pt x="4309" y="4124"/>
                  </a:cubicBezTo>
                  <a:cubicBezTo>
                    <a:pt x="4294" y="4117"/>
                    <a:pt x="4279" y="4110"/>
                    <a:pt x="4272" y="4110"/>
                  </a:cubicBezTo>
                  <a:cubicBezTo>
                    <a:pt x="4257" y="4110"/>
                    <a:pt x="4235" y="4124"/>
                    <a:pt x="4206" y="4161"/>
                  </a:cubicBezTo>
                  <a:cubicBezTo>
                    <a:pt x="4169" y="4219"/>
                    <a:pt x="4184" y="4256"/>
                    <a:pt x="4199" y="4300"/>
                  </a:cubicBezTo>
                  <a:cubicBezTo>
                    <a:pt x="4213" y="4322"/>
                    <a:pt x="4221" y="4351"/>
                    <a:pt x="4221" y="4381"/>
                  </a:cubicBezTo>
                  <a:cubicBezTo>
                    <a:pt x="4221" y="4454"/>
                    <a:pt x="4199" y="4483"/>
                    <a:pt x="4162" y="4520"/>
                  </a:cubicBezTo>
                  <a:cubicBezTo>
                    <a:pt x="4155" y="4535"/>
                    <a:pt x="4147" y="4542"/>
                    <a:pt x="4140" y="4549"/>
                  </a:cubicBezTo>
                  <a:cubicBezTo>
                    <a:pt x="4111" y="4586"/>
                    <a:pt x="4089" y="4586"/>
                    <a:pt x="4059" y="4593"/>
                  </a:cubicBezTo>
                  <a:cubicBezTo>
                    <a:pt x="4037" y="4600"/>
                    <a:pt x="4015" y="4608"/>
                    <a:pt x="3993" y="4630"/>
                  </a:cubicBezTo>
                  <a:cubicBezTo>
                    <a:pt x="3986" y="4637"/>
                    <a:pt x="3979" y="4645"/>
                    <a:pt x="3979" y="4652"/>
                  </a:cubicBezTo>
                  <a:cubicBezTo>
                    <a:pt x="3986" y="4667"/>
                    <a:pt x="4015" y="4681"/>
                    <a:pt x="4037" y="4681"/>
                  </a:cubicBezTo>
                  <a:cubicBezTo>
                    <a:pt x="4096" y="4696"/>
                    <a:pt x="4096" y="4696"/>
                    <a:pt x="4096" y="4696"/>
                  </a:cubicBezTo>
                  <a:cubicBezTo>
                    <a:pt x="4045" y="4710"/>
                    <a:pt x="4045" y="4710"/>
                    <a:pt x="4045" y="4710"/>
                  </a:cubicBezTo>
                  <a:cubicBezTo>
                    <a:pt x="4037" y="4718"/>
                    <a:pt x="3942" y="4747"/>
                    <a:pt x="3876" y="4747"/>
                  </a:cubicBezTo>
                  <a:cubicBezTo>
                    <a:pt x="3847" y="4747"/>
                    <a:pt x="3832" y="4740"/>
                    <a:pt x="3825" y="4732"/>
                  </a:cubicBezTo>
                  <a:cubicBezTo>
                    <a:pt x="3803" y="4710"/>
                    <a:pt x="3744" y="4703"/>
                    <a:pt x="3700" y="4703"/>
                  </a:cubicBezTo>
                  <a:cubicBezTo>
                    <a:pt x="3708" y="4740"/>
                    <a:pt x="3715" y="4813"/>
                    <a:pt x="3715" y="4857"/>
                  </a:cubicBezTo>
                  <a:cubicBezTo>
                    <a:pt x="3715" y="4879"/>
                    <a:pt x="3722" y="4886"/>
                    <a:pt x="3744" y="4894"/>
                  </a:cubicBezTo>
                  <a:cubicBezTo>
                    <a:pt x="3759" y="4908"/>
                    <a:pt x="3781" y="4916"/>
                    <a:pt x="3781" y="4952"/>
                  </a:cubicBezTo>
                  <a:cubicBezTo>
                    <a:pt x="3781" y="4974"/>
                    <a:pt x="3766" y="4996"/>
                    <a:pt x="3752" y="5011"/>
                  </a:cubicBezTo>
                  <a:cubicBezTo>
                    <a:pt x="3737" y="5033"/>
                    <a:pt x="3722" y="5048"/>
                    <a:pt x="3722" y="5077"/>
                  </a:cubicBezTo>
                  <a:cubicBezTo>
                    <a:pt x="3722" y="5136"/>
                    <a:pt x="3686" y="5172"/>
                    <a:pt x="3612" y="5201"/>
                  </a:cubicBezTo>
                  <a:cubicBezTo>
                    <a:pt x="3598" y="5209"/>
                    <a:pt x="3583" y="5209"/>
                    <a:pt x="3568" y="5209"/>
                  </a:cubicBezTo>
                  <a:cubicBezTo>
                    <a:pt x="3502" y="5209"/>
                    <a:pt x="3444" y="5165"/>
                    <a:pt x="3414" y="5128"/>
                  </a:cubicBezTo>
                  <a:cubicBezTo>
                    <a:pt x="3378" y="5077"/>
                    <a:pt x="3327" y="5048"/>
                    <a:pt x="3297" y="5033"/>
                  </a:cubicBezTo>
                  <a:cubicBezTo>
                    <a:pt x="3283" y="5026"/>
                    <a:pt x="3253" y="5018"/>
                    <a:pt x="3209" y="5018"/>
                  </a:cubicBezTo>
                  <a:cubicBezTo>
                    <a:pt x="3165" y="5018"/>
                    <a:pt x="3107" y="5026"/>
                    <a:pt x="3077" y="5033"/>
                  </a:cubicBezTo>
                  <a:cubicBezTo>
                    <a:pt x="3041" y="5040"/>
                    <a:pt x="2975" y="5121"/>
                    <a:pt x="2938" y="5172"/>
                  </a:cubicBezTo>
                  <a:cubicBezTo>
                    <a:pt x="2916" y="5157"/>
                    <a:pt x="2916" y="5157"/>
                    <a:pt x="2916" y="5157"/>
                  </a:cubicBezTo>
                  <a:cubicBezTo>
                    <a:pt x="2923" y="5136"/>
                    <a:pt x="2931" y="5114"/>
                    <a:pt x="2931" y="5106"/>
                  </a:cubicBezTo>
                  <a:cubicBezTo>
                    <a:pt x="2923" y="5114"/>
                    <a:pt x="2916" y="5114"/>
                    <a:pt x="2916" y="5114"/>
                  </a:cubicBezTo>
                  <a:cubicBezTo>
                    <a:pt x="2894" y="5114"/>
                    <a:pt x="2880" y="5106"/>
                    <a:pt x="2865" y="5099"/>
                  </a:cubicBezTo>
                  <a:cubicBezTo>
                    <a:pt x="2850" y="5099"/>
                    <a:pt x="2828" y="5091"/>
                    <a:pt x="2799" y="5091"/>
                  </a:cubicBezTo>
                  <a:cubicBezTo>
                    <a:pt x="2784" y="5091"/>
                    <a:pt x="2770" y="5091"/>
                    <a:pt x="2748" y="5099"/>
                  </a:cubicBezTo>
                  <a:cubicBezTo>
                    <a:pt x="2667" y="5128"/>
                    <a:pt x="2660" y="5157"/>
                    <a:pt x="2623" y="5231"/>
                  </a:cubicBezTo>
                  <a:cubicBezTo>
                    <a:pt x="2623" y="5238"/>
                    <a:pt x="2623" y="5238"/>
                    <a:pt x="2623" y="5238"/>
                  </a:cubicBezTo>
                  <a:cubicBezTo>
                    <a:pt x="2594" y="5304"/>
                    <a:pt x="2630" y="5333"/>
                    <a:pt x="2682" y="5370"/>
                  </a:cubicBezTo>
                  <a:cubicBezTo>
                    <a:pt x="2755" y="5407"/>
                    <a:pt x="2711" y="5517"/>
                    <a:pt x="2689" y="5553"/>
                  </a:cubicBezTo>
                  <a:cubicBezTo>
                    <a:pt x="2667" y="5597"/>
                    <a:pt x="2667" y="5722"/>
                    <a:pt x="2689" y="5817"/>
                  </a:cubicBezTo>
                  <a:cubicBezTo>
                    <a:pt x="2711" y="5905"/>
                    <a:pt x="2762" y="5993"/>
                    <a:pt x="2799" y="6051"/>
                  </a:cubicBezTo>
                  <a:cubicBezTo>
                    <a:pt x="2828" y="6095"/>
                    <a:pt x="2828" y="6095"/>
                    <a:pt x="2828" y="6095"/>
                  </a:cubicBezTo>
                  <a:cubicBezTo>
                    <a:pt x="2858" y="6147"/>
                    <a:pt x="2887" y="6191"/>
                    <a:pt x="2894" y="6264"/>
                  </a:cubicBezTo>
                  <a:cubicBezTo>
                    <a:pt x="2902" y="6286"/>
                    <a:pt x="2902" y="6300"/>
                    <a:pt x="2909" y="6323"/>
                  </a:cubicBezTo>
                  <a:cubicBezTo>
                    <a:pt x="2916" y="6359"/>
                    <a:pt x="2923" y="6388"/>
                    <a:pt x="2909" y="6447"/>
                  </a:cubicBezTo>
                  <a:cubicBezTo>
                    <a:pt x="2894" y="6491"/>
                    <a:pt x="2880" y="6506"/>
                    <a:pt x="2865" y="6513"/>
                  </a:cubicBezTo>
                  <a:cubicBezTo>
                    <a:pt x="2858" y="6528"/>
                    <a:pt x="2850" y="6528"/>
                    <a:pt x="2850" y="6557"/>
                  </a:cubicBezTo>
                  <a:cubicBezTo>
                    <a:pt x="2850" y="6579"/>
                    <a:pt x="2850" y="6601"/>
                    <a:pt x="2858" y="6616"/>
                  </a:cubicBezTo>
                  <a:cubicBezTo>
                    <a:pt x="2865" y="6645"/>
                    <a:pt x="2865" y="6674"/>
                    <a:pt x="2850" y="6718"/>
                  </a:cubicBezTo>
                  <a:cubicBezTo>
                    <a:pt x="2836" y="6755"/>
                    <a:pt x="2821" y="6769"/>
                    <a:pt x="2806" y="6769"/>
                  </a:cubicBezTo>
                  <a:cubicBezTo>
                    <a:pt x="2792" y="6777"/>
                    <a:pt x="2784" y="6777"/>
                    <a:pt x="2784" y="6814"/>
                  </a:cubicBezTo>
                  <a:cubicBezTo>
                    <a:pt x="2777" y="6836"/>
                    <a:pt x="2784" y="6836"/>
                    <a:pt x="2784" y="6836"/>
                  </a:cubicBezTo>
                  <a:cubicBezTo>
                    <a:pt x="2799" y="6836"/>
                    <a:pt x="2799" y="6836"/>
                    <a:pt x="2799" y="6836"/>
                  </a:cubicBezTo>
                  <a:lnTo>
                    <a:pt x="2806" y="6836"/>
                  </a:lnTo>
                  <a:cubicBezTo>
                    <a:pt x="2814" y="6836"/>
                    <a:pt x="2836" y="6836"/>
                    <a:pt x="2850" y="6857"/>
                  </a:cubicBezTo>
                  <a:cubicBezTo>
                    <a:pt x="2858" y="6872"/>
                    <a:pt x="2865" y="6894"/>
                    <a:pt x="2865" y="6916"/>
                  </a:cubicBezTo>
                  <a:cubicBezTo>
                    <a:pt x="2865" y="6924"/>
                    <a:pt x="2865" y="6924"/>
                    <a:pt x="2865" y="6924"/>
                  </a:cubicBezTo>
                  <a:cubicBezTo>
                    <a:pt x="2814" y="6967"/>
                    <a:pt x="2814" y="6967"/>
                    <a:pt x="2814" y="6967"/>
                  </a:cubicBezTo>
                  <a:cubicBezTo>
                    <a:pt x="2894" y="7092"/>
                    <a:pt x="2894" y="7092"/>
                    <a:pt x="2894" y="7092"/>
                  </a:cubicBezTo>
                  <a:cubicBezTo>
                    <a:pt x="2872" y="7114"/>
                    <a:pt x="2872" y="7114"/>
                    <a:pt x="2872" y="7114"/>
                  </a:cubicBezTo>
                  <a:cubicBezTo>
                    <a:pt x="2858" y="7107"/>
                    <a:pt x="2806" y="7077"/>
                    <a:pt x="2777" y="7077"/>
                  </a:cubicBezTo>
                  <a:cubicBezTo>
                    <a:pt x="2755" y="7077"/>
                    <a:pt x="2748" y="7085"/>
                    <a:pt x="2748" y="7085"/>
                  </a:cubicBezTo>
                  <a:cubicBezTo>
                    <a:pt x="2740" y="7099"/>
                    <a:pt x="2733" y="7114"/>
                    <a:pt x="2726" y="7129"/>
                  </a:cubicBezTo>
                  <a:cubicBezTo>
                    <a:pt x="2711" y="7158"/>
                    <a:pt x="2704" y="7195"/>
                    <a:pt x="2667" y="7195"/>
                  </a:cubicBezTo>
                  <a:cubicBezTo>
                    <a:pt x="2652" y="7195"/>
                    <a:pt x="2630" y="7187"/>
                    <a:pt x="2609" y="7173"/>
                  </a:cubicBezTo>
                  <a:cubicBezTo>
                    <a:pt x="2587" y="7158"/>
                    <a:pt x="2572" y="7143"/>
                    <a:pt x="2557" y="7143"/>
                  </a:cubicBezTo>
                  <a:cubicBezTo>
                    <a:pt x="2535" y="7143"/>
                    <a:pt x="2528" y="7165"/>
                    <a:pt x="2513" y="7224"/>
                  </a:cubicBezTo>
                  <a:cubicBezTo>
                    <a:pt x="2506" y="7246"/>
                    <a:pt x="2499" y="7268"/>
                    <a:pt x="2499" y="7283"/>
                  </a:cubicBezTo>
                  <a:cubicBezTo>
                    <a:pt x="2499" y="7312"/>
                    <a:pt x="2491" y="7334"/>
                    <a:pt x="2455" y="7356"/>
                  </a:cubicBezTo>
                  <a:cubicBezTo>
                    <a:pt x="2447" y="7356"/>
                    <a:pt x="2425" y="7378"/>
                    <a:pt x="2411" y="7400"/>
                  </a:cubicBezTo>
                  <a:cubicBezTo>
                    <a:pt x="2352" y="7444"/>
                    <a:pt x="2315" y="7480"/>
                    <a:pt x="2286" y="7480"/>
                  </a:cubicBezTo>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65" name="Freeform 64">
              <a:extLst>
                <a:ext uri="{FF2B5EF4-FFF2-40B4-BE49-F238E27FC236}">
                  <a16:creationId xmlns:a16="http://schemas.microsoft.com/office/drawing/2014/main" id="{35CBB7EF-CAC1-614C-A708-9039BED8B52B}"/>
                </a:ext>
              </a:extLst>
            </p:cNvPr>
            <p:cNvSpPr>
              <a:spLocks noChangeArrowheads="1"/>
            </p:cNvSpPr>
            <p:nvPr/>
          </p:nvSpPr>
          <p:spPr bwMode="auto">
            <a:xfrm>
              <a:off x="4876839" y="6897041"/>
              <a:ext cx="2011769" cy="2854413"/>
            </a:xfrm>
            <a:custGeom>
              <a:avLst/>
              <a:gdLst>
                <a:gd name="T0" fmla="*/ 3950 w 5240"/>
                <a:gd name="T1" fmla="*/ 271 h 7511"/>
                <a:gd name="T2" fmla="*/ 4074 w 5240"/>
                <a:gd name="T3" fmla="*/ 1165 h 7511"/>
                <a:gd name="T4" fmla="*/ 4528 w 5240"/>
                <a:gd name="T5" fmla="*/ 813 h 7511"/>
                <a:gd name="T6" fmla="*/ 5159 w 5240"/>
                <a:gd name="T7" fmla="*/ 1743 h 7511"/>
                <a:gd name="T8" fmla="*/ 5078 w 5240"/>
                <a:gd name="T9" fmla="*/ 2190 h 7511"/>
                <a:gd name="T10" fmla="*/ 4748 w 5240"/>
                <a:gd name="T11" fmla="*/ 2439 h 7511"/>
                <a:gd name="T12" fmla="*/ 4690 w 5240"/>
                <a:gd name="T13" fmla="*/ 3348 h 7511"/>
                <a:gd name="T14" fmla="*/ 4851 w 5240"/>
                <a:gd name="T15" fmla="*/ 3773 h 7511"/>
                <a:gd name="T16" fmla="*/ 3854 w 5240"/>
                <a:gd name="T17" fmla="*/ 4740 h 7511"/>
                <a:gd name="T18" fmla="*/ 2953 w 5240"/>
                <a:gd name="T19" fmla="*/ 5106 h 7511"/>
                <a:gd name="T20" fmla="*/ 2858 w 5240"/>
                <a:gd name="T21" fmla="*/ 6572 h 7511"/>
                <a:gd name="T22" fmla="*/ 2689 w 5240"/>
                <a:gd name="T23" fmla="*/ 7195 h 7511"/>
                <a:gd name="T24" fmla="*/ 1890 w 5240"/>
                <a:gd name="T25" fmla="*/ 6755 h 7511"/>
                <a:gd name="T26" fmla="*/ 1473 w 5240"/>
                <a:gd name="T27" fmla="*/ 6338 h 7511"/>
                <a:gd name="T28" fmla="*/ 542 w 5240"/>
                <a:gd name="T29" fmla="*/ 5524 h 7511"/>
                <a:gd name="T30" fmla="*/ 366 w 5240"/>
                <a:gd name="T31" fmla="*/ 5084 h 7511"/>
                <a:gd name="T32" fmla="*/ 718 w 5240"/>
                <a:gd name="T33" fmla="*/ 4638 h 7511"/>
                <a:gd name="T34" fmla="*/ 733 w 5240"/>
                <a:gd name="T35" fmla="*/ 3729 h 7511"/>
                <a:gd name="T36" fmla="*/ 1158 w 5240"/>
                <a:gd name="T37" fmla="*/ 2593 h 7511"/>
                <a:gd name="T38" fmla="*/ 1890 w 5240"/>
                <a:gd name="T39" fmla="*/ 1860 h 7511"/>
                <a:gd name="T40" fmla="*/ 1824 w 5240"/>
                <a:gd name="T41" fmla="*/ 1378 h 7511"/>
                <a:gd name="T42" fmla="*/ 2543 w 5240"/>
                <a:gd name="T43" fmla="*/ 784 h 7511"/>
                <a:gd name="T44" fmla="*/ 3349 w 5240"/>
                <a:gd name="T45" fmla="*/ 183 h 7511"/>
                <a:gd name="T46" fmla="*/ 3363 w 5240"/>
                <a:gd name="T47" fmla="*/ 249 h 7511"/>
                <a:gd name="T48" fmla="*/ 2674 w 5240"/>
                <a:gd name="T49" fmla="*/ 440 h 7511"/>
                <a:gd name="T50" fmla="*/ 2330 w 5240"/>
                <a:gd name="T51" fmla="*/ 894 h 7511"/>
                <a:gd name="T52" fmla="*/ 1714 w 5240"/>
                <a:gd name="T53" fmla="*/ 1304 h 7511"/>
                <a:gd name="T54" fmla="*/ 2022 w 5240"/>
                <a:gd name="T55" fmla="*/ 1663 h 7511"/>
                <a:gd name="T56" fmla="*/ 1605 w 5240"/>
                <a:gd name="T57" fmla="*/ 2153 h 7511"/>
                <a:gd name="T58" fmla="*/ 1121 w 5240"/>
                <a:gd name="T59" fmla="*/ 2520 h 7511"/>
                <a:gd name="T60" fmla="*/ 762 w 5240"/>
                <a:gd name="T61" fmla="*/ 3223 h 7511"/>
                <a:gd name="T62" fmla="*/ 447 w 5240"/>
                <a:gd name="T63" fmla="*/ 3846 h 7511"/>
                <a:gd name="T64" fmla="*/ 681 w 5240"/>
                <a:gd name="T65" fmla="*/ 4425 h 7511"/>
                <a:gd name="T66" fmla="*/ 571 w 5240"/>
                <a:gd name="T67" fmla="*/ 4747 h 7511"/>
                <a:gd name="T68" fmla="*/ 337 w 5240"/>
                <a:gd name="T69" fmla="*/ 5077 h 7511"/>
                <a:gd name="T70" fmla="*/ 147 w 5240"/>
                <a:gd name="T71" fmla="*/ 5458 h 7511"/>
                <a:gd name="T72" fmla="*/ 894 w 5240"/>
                <a:gd name="T73" fmla="*/ 5414 h 7511"/>
                <a:gd name="T74" fmla="*/ 1290 w 5240"/>
                <a:gd name="T75" fmla="*/ 6125 h 7511"/>
                <a:gd name="T76" fmla="*/ 1407 w 5240"/>
                <a:gd name="T77" fmla="*/ 6909 h 7511"/>
                <a:gd name="T78" fmla="*/ 2118 w 5240"/>
                <a:gd name="T79" fmla="*/ 7144 h 7511"/>
                <a:gd name="T80" fmla="*/ 2440 w 5240"/>
                <a:gd name="T81" fmla="*/ 7422 h 7511"/>
                <a:gd name="T82" fmla="*/ 2850 w 5240"/>
                <a:gd name="T83" fmla="*/ 6990 h 7511"/>
                <a:gd name="T84" fmla="*/ 2828 w 5240"/>
                <a:gd name="T85" fmla="*/ 6799 h 7511"/>
                <a:gd name="T86" fmla="*/ 2726 w 5240"/>
                <a:gd name="T87" fmla="*/ 5575 h 7511"/>
                <a:gd name="T88" fmla="*/ 3312 w 5240"/>
                <a:gd name="T89" fmla="*/ 5063 h 7511"/>
                <a:gd name="T90" fmla="*/ 4067 w 5240"/>
                <a:gd name="T91" fmla="*/ 4740 h 7511"/>
                <a:gd name="T92" fmla="*/ 4323 w 5240"/>
                <a:gd name="T93" fmla="*/ 4154 h 7511"/>
                <a:gd name="T94" fmla="*/ 4902 w 5240"/>
                <a:gd name="T95" fmla="*/ 3568 h 7511"/>
                <a:gd name="T96" fmla="*/ 4660 w 5240"/>
                <a:gd name="T97" fmla="*/ 3363 h 7511"/>
                <a:gd name="T98" fmla="*/ 4785 w 5240"/>
                <a:gd name="T99" fmla="*/ 2769 h 7511"/>
                <a:gd name="T100" fmla="*/ 4865 w 5240"/>
                <a:gd name="T101" fmla="*/ 2293 h 7511"/>
                <a:gd name="T102" fmla="*/ 5188 w 5240"/>
                <a:gd name="T103" fmla="*/ 2124 h 7511"/>
                <a:gd name="T104" fmla="*/ 5188 w 5240"/>
                <a:gd name="T105" fmla="*/ 1684 h 7511"/>
                <a:gd name="T106" fmla="*/ 4609 w 5240"/>
                <a:gd name="T107" fmla="*/ 931 h 7511"/>
                <a:gd name="T108" fmla="*/ 4272 w 5240"/>
                <a:gd name="T109" fmla="*/ 857 h 7511"/>
                <a:gd name="T110" fmla="*/ 3862 w 5240"/>
                <a:gd name="T111" fmla="*/ 1026 h 7511"/>
                <a:gd name="T112" fmla="*/ 3986 w 5240"/>
                <a:gd name="T113" fmla="*/ 374 h 7511"/>
                <a:gd name="T114" fmla="*/ 3678 w 5240"/>
                <a:gd name="T115" fmla="*/ 66 h 7511"/>
                <a:gd name="T116" fmla="*/ 5012 w 5240"/>
                <a:gd name="T117" fmla="*/ 1729 h 7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240" h="7511">
                  <a:moveTo>
                    <a:pt x="3605" y="30"/>
                  </a:moveTo>
                  <a:lnTo>
                    <a:pt x="3605" y="30"/>
                  </a:lnTo>
                  <a:cubicBezTo>
                    <a:pt x="3605" y="30"/>
                    <a:pt x="3612" y="30"/>
                    <a:pt x="3612" y="37"/>
                  </a:cubicBezTo>
                  <a:cubicBezTo>
                    <a:pt x="3656" y="44"/>
                    <a:pt x="3649" y="117"/>
                    <a:pt x="3693" y="117"/>
                  </a:cubicBezTo>
                  <a:cubicBezTo>
                    <a:pt x="3708" y="117"/>
                    <a:pt x="3730" y="117"/>
                    <a:pt x="3744" y="117"/>
                  </a:cubicBezTo>
                  <a:cubicBezTo>
                    <a:pt x="3766" y="117"/>
                    <a:pt x="3788" y="117"/>
                    <a:pt x="3825" y="103"/>
                  </a:cubicBezTo>
                  <a:cubicBezTo>
                    <a:pt x="3847" y="88"/>
                    <a:pt x="3876" y="81"/>
                    <a:pt x="3898" y="81"/>
                  </a:cubicBezTo>
                  <a:cubicBezTo>
                    <a:pt x="3927" y="81"/>
                    <a:pt x="3942" y="88"/>
                    <a:pt x="3950" y="110"/>
                  </a:cubicBezTo>
                  <a:cubicBezTo>
                    <a:pt x="3957" y="154"/>
                    <a:pt x="4023" y="205"/>
                    <a:pt x="4052" y="220"/>
                  </a:cubicBezTo>
                  <a:cubicBezTo>
                    <a:pt x="4074" y="235"/>
                    <a:pt x="4067" y="293"/>
                    <a:pt x="4030" y="293"/>
                  </a:cubicBezTo>
                  <a:cubicBezTo>
                    <a:pt x="4023" y="293"/>
                    <a:pt x="4015" y="293"/>
                    <a:pt x="4008" y="286"/>
                  </a:cubicBezTo>
                  <a:cubicBezTo>
                    <a:pt x="3986" y="279"/>
                    <a:pt x="3964" y="271"/>
                    <a:pt x="3950" y="271"/>
                  </a:cubicBezTo>
                  <a:cubicBezTo>
                    <a:pt x="3927" y="271"/>
                    <a:pt x="3913" y="286"/>
                    <a:pt x="3935" y="308"/>
                  </a:cubicBezTo>
                  <a:cubicBezTo>
                    <a:pt x="3957" y="337"/>
                    <a:pt x="3979" y="366"/>
                    <a:pt x="3942" y="366"/>
                  </a:cubicBezTo>
                  <a:lnTo>
                    <a:pt x="3935" y="366"/>
                  </a:lnTo>
                  <a:cubicBezTo>
                    <a:pt x="3927" y="366"/>
                    <a:pt x="3927" y="366"/>
                    <a:pt x="3920" y="366"/>
                  </a:cubicBezTo>
                  <a:cubicBezTo>
                    <a:pt x="3891" y="366"/>
                    <a:pt x="3942" y="411"/>
                    <a:pt x="3905" y="440"/>
                  </a:cubicBezTo>
                  <a:cubicBezTo>
                    <a:pt x="3862" y="476"/>
                    <a:pt x="3869" y="521"/>
                    <a:pt x="3898" y="542"/>
                  </a:cubicBezTo>
                  <a:cubicBezTo>
                    <a:pt x="3920" y="572"/>
                    <a:pt x="3957" y="652"/>
                    <a:pt x="3950" y="689"/>
                  </a:cubicBezTo>
                  <a:cubicBezTo>
                    <a:pt x="3942" y="726"/>
                    <a:pt x="3993" y="740"/>
                    <a:pt x="3964" y="792"/>
                  </a:cubicBezTo>
                  <a:cubicBezTo>
                    <a:pt x="3942" y="843"/>
                    <a:pt x="3950" y="850"/>
                    <a:pt x="3891" y="857"/>
                  </a:cubicBezTo>
                  <a:cubicBezTo>
                    <a:pt x="3832" y="865"/>
                    <a:pt x="3825" y="894"/>
                    <a:pt x="3810" y="938"/>
                  </a:cubicBezTo>
                  <a:cubicBezTo>
                    <a:pt x="3803" y="975"/>
                    <a:pt x="3788" y="1019"/>
                    <a:pt x="3847" y="1055"/>
                  </a:cubicBezTo>
                  <a:cubicBezTo>
                    <a:pt x="3905" y="1085"/>
                    <a:pt x="4052" y="1129"/>
                    <a:pt x="4074" y="1165"/>
                  </a:cubicBezTo>
                  <a:cubicBezTo>
                    <a:pt x="4096" y="1187"/>
                    <a:pt x="4118" y="1216"/>
                    <a:pt x="4147" y="1216"/>
                  </a:cubicBezTo>
                  <a:cubicBezTo>
                    <a:pt x="4162" y="1216"/>
                    <a:pt x="4177" y="1209"/>
                    <a:pt x="4184" y="1202"/>
                  </a:cubicBezTo>
                  <a:cubicBezTo>
                    <a:pt x="4228" y="1158"/>
                    <a:pt x="4264" y="1129"/>
                    <a:pt x="4206" y="1106"/>
                  </a:cubicBezTo>
                  <a:cubicBezTo>
                    <a:pt x="4147" y="1077"/>
                    <a:pt x="4118" y="1026"/>
                    <a:pt x="4118" y="1004"/>
                  </a:cubicBezTo>
                  <a:cubicBezTo>
                    <a:pt x="4118" y="975"/>
                    <a:pt x="4125" y="997"/>
                    <a:pt x="4177" y="960"/>
                  </a:cubicBezTo>
                  <a:cubicBezTo>
                    <a:pt x="4228" y="923"/>
                    <a:pt x="4279" y="909"/>
                    <a:pt x="4294" y="865"/>
                  </a:cubicBezTo>
                  <a:cubicBezTo>
                    <a:pt x="4309" y="835"/>
                    <a:pt x="4338" y="813"/>
                    <a:pt x="4360" y="813"/>
                  </a:cubicBezTo>
                  <a:cubicBezTo>
                    <a:pt x="4374" y="813"/>
                    <a:pt x="4382" y="821"/>
                    <a:pt x="4382" y="835"/>
                  </a:cubicBezTo>
                  <a:cubicBezTo>
                    <a:pt x="4389" y="865"/>
                    <a:pt x="4411" y="902"/>
                    <a:pt x="4411" y="902"/>
                  </a:cubicBezTo>
                  <a:cubicBezTo>
                    <a:pt x="4411" y="902"/>
                    <a:pt x="4389" y="813"/>
                    <a:pt x="4433" y="799"/>
                  </a:cubicBezTo>
                  <a:cubicBezTo>
                    <a:pt x="4448" y="792"/>
                    <a:pt x="4462" y="792"/>
                    <a:pt x="4470" y="792"/>
                  </a:cubicBezTo>
                  <a:cubicBezTo>
                    <a:pt x="4492" y="792"/>
                    <a:pt x="4506" y="799"/>
                    <a:pt x="4528" y="813"/>
                  </a:cubicBezTo>
                  <a:cubicBezTo>
                    <a:pt x="4558" y="835"/>
                    <a:pt x="4572" y="872"/>
                    <a:pt x="4580" y="909"/>
                  </a:cubicBezTo>
                  <a:cubicBezTo>
                    <a:pt x="4558" y="916"/>
                    <a:pt x="4550" y="916"/>
                    <a:pt x="4550" y="916"/>
                  </a:cubicBezTo>
                  <a:cubicBezTo>
                    <a:pt x="4550" y="916"/>
                    <a:pt x="4558" y="916"/>
                    <a:pt x="4580" y="909"/>
                  </a:cubicBezTo>
                  <a:lnTo>
                    <a:pt x="4580" y="916"/>
                  </a:lnTo>
                  <a:cubicBezTo>
                    <a:pt x="4580" y="953"/>
                    <a:pt x="4558" y="1048"/>
                    <a:pt x="4594" y="1070"/>
                  </a:cubicBezTo>
                  <a:cubicBezTo>
                    <a:pt x="4631" y="1099"/>
                    <a:pt x="4609" y="1129"/>
                    <a:pt x="4638" y="1173"/>
                  </a:cubicBezTo>
                  <a:cubicBezTo>
                    <a:pt x="4660" y="1216"/>
                    <a:pt x="4690" y="1239"/>
                    <a:pt x="4748" y="1239"/>
                  </a:cubicBezTo>
                  <a:cubicBezTo>
                    <a:pt x="4807" y="1239"/>
                    <a:pt x="4807" y="1275"/>
                    <a:pt x="4821" y="1326"/>
                  </a:cubicBezTo>
                  <a:cubicBezTo>
                    <a:pt x="4843" y="1378"/>
                    <a:pt x="4924" y="1436"/>
                    <a:pt x="4983" y="1444"/>
                  </a:cubicBezTo>
                  <a:cubicBezTo>
                    <a:pt x="5049" y="1451"/>
                    <a:pt x="5166" y="1524"/>
                    <a:pt x="5188" y="1539"/>
                  </a:cubicBezTo>
                  <a:cubicBezTo>
                    <a:pt x="5217" y="1554"/>
                    <a:pt x="5217" y="1597"/>
                    <a:pt x="5173" y="1626"/>
                  </a:cubicBezTo>
                  <a:cubicBezTo>
                    <a:pt x="5129" y="1648"/>
                    <a:pt x="5166" y="1692"/>
                    <a:pt x="5159" y="1743"/>
                  </a:cubicBezTo>
                  <a:cubicBezTo>
                    <a:pt x="5151" y="1765"/>
                    <a:pt x="5144" y="1772"/>
                    <a:pt x="5136" y="1772"/>
                  </a:cubicBezTo>
                  <a:cubicBezTo>
                    <a:pt x="5129" y="1772"/>
                    <a:pt x="5122" y="1758"/>
                    <a:pt x="5107" y="1721"/>
                  </a:cubicBezTo>
                  <a:cubicBezTo>
                    <a:pt x="5093" y="1684"/>
                    <a:pt x="5071" y="1670"/>
                    <a:pt x="5056" y="1670"/>
                  </a:cubicBezTo>
                  <a:cubicBezTo>
                    <a:pt x="5041" y="1670"/>
                    <a:pt x="5026" y="1677"/>
                    <a:pt x="5012" y="1692"/>
                  </a:cubicBezTo>
                  <a:cubicBezTo>
                    <a:pt x="4968" y="1721"/>
                    <a:pt x="4975" y="1751"/>
                    <a:pt x="5026" y="1772"/>
                  </a:cubicBezTo>
                  <a:cubicBezTo>
                    <a:pt x="5078" y="1802"/>
                    <a:pt x="5129" y="1816"/>
                    <a:pt x="5129" y="1816"/>
                  </a:cubicBezTo>
                  <a:cubicBezTo>
                    <a:pt x="5129" y="1816"/>
                    <a:pt x="5122" y="1838"/>
                    <a:pt x="5085" y="1868"/>
                  </a:cubicBezTo>
                  <a:cubicBezTo>
                    <a:pt x="5056" y="1904"/>
                    <a:pt x="5034" y="1912"/>
                    <a:pt x="5071" y="1948"/>
                  </a:cubicBezTo>
                  <a:cubicBezTo>
                    <a:pt x="5107" y="1978"/>
                    <a:pt x="5129" y="1978"/>
                    <a:pt x="5151" y="2007"/>
                  </a:cubicBezTo>
                  <a:cubicBezTo>
                    <a:pt x="5166" y="2029"/>
                    <a:pt x="5195" y="2051"/>
                    <a:pt x="5166" y="2110"/>
                  </a:cubicBezTo>
                  <a:cubicBezTo>
                    <a:pt x="5136" y="2161"/>
                    <a:pt x="5136" y="2197"/>
                    <a:pt x="5100" y="2197"/>
                  </a:cubicBezTo>
                  <a:cubicBezTo>
                    <a:pt x="5093" y="2197"/>
                    <a:pt x="5085" y="2197"/>
                    <a:pt x="5078" y="2190"/>
                  </a:cubicBezTo>
                  <a:cubicBezTo>
                    <a:pt x="5026" y="2175"/>
                    <a:pt x="5012" y="2124"/>
                    <a:pt x="4990" y="2124"/>
                  </a:cubicBezTo>
                  <a:cubicBezTo>
                    <a:pt x="4990" y="2124"/>
                    <a:pt x="4983" y="2132"/>
                    <a:pt x="4975" y="2132"/>
                  </a:cubicBezTo>
                  <a:cubicBezTo>
                    <a:pt x="4953" y="2146"/>
                    <a:pt x="4931" y="2168"/>
                    <a:pt x="4909" y="2168"/>
                  </a:cubicBezTo>
                  <a:cubicBezTo>
                    <a:pt x="4895" y="2168"/>
                    <a:pt x="4887" y="2161"/>
                    <a:pt x="4873" y="2146"/>
                  </a:cubicBezTo>
                  <a:cubicBezTo>
                    <a:pt x="4865" y="2132"/>
                    <a:pt x="4843" y="2124"/>
                    <a:pt x="4821" y="2124"/>
                  </a:cubicBezTo>
                  <a:cubicBezTo>
                    <a:pt x="4800" y="2124"/>
                    <a:pt x="4785" y="2139"/>
                    <a:pt x="4792" y="2168"/>
                  </a:cubicBezTo>
                  <a:cubicBezTo>
                    <a:pt x="4800" y="2227"/>
                    <a:pt x="4814" y="2293"/>
                    <a:pt x="4851" y="2322"/>
                  </a:cubicBezTo>
                  <a:cubicBezTo>
                    <a:pt x="4887" y="2344"/>
                    <a:pt x="4924" y="2381"/>
                    <a:pt x="4836" y="2381"/>
                  </a:cubicBezTo>
                  <a:cubicBezTo>
                    <a:pt x="4741" y="2381"/>
                    <a:pt x="4712" y="2373"/>
                    <a:pt x="4690" y="2359"/>
                  </a:cubicBezTo>
                  <a:cubicBezTo>
                    <a:pt x="4682" y="2359"/>
                    <a:pt x="4682" y="2359"/>
                    <a:pt x="4675" y="2359"/>
                  </a:cubicBezTo>
                  <a:cubicBezTo>
                    <a:pt x="4653" y="2359"/>
                    <a:pt x="4624" y="2381"/>
                    <a:pt x="4653" y="2403"/>
                  </a:cubicBezTo>
                  <a:cubicBezTo>
                    <a:pt x="4690" y="2432"/>
                    <a:pt x="4712" y="2425"/>
                    <a:pt x="4748" y="2439"/>
                  </a:cubicBezTo>
                  <a:cubicBezTo>
                    <a:pt x="4785" y="2454"/>
                    <a:pt x="4807" y="2476"/>
                    <a:pt x="4843" y="2505"/>
                  </a:cubicBezTo>
                  <a:cubicBezTo>
                    <a:pt x="4873" y="2542"/>
                    <a:pt x="4931" y="2586"/>
                    <a:pt x="4851" y="2593"/>
                  </a:cubicBezTo>
                  <a:cubicBezTo>
                    <a:pt x="4763" y="2601"/>
                    <a:pt x="4785" y="2637"/>
                    <a:pt x="4800" y="2659"/>
                  </a:cubicBezTo>
                  <a:cubicBezTo>
                    <a:pt x="4814" y="2688"/>
                    <a:pt x="4843" y="2740"/>
                    <a:pt x="4785" y="2740"/>
                  </a:cubicBezTo>
                  <a:cubicBezTo>
                    <a:pt x="4719" y="2740"/>
                    <a:pt x="4660" y="2762"/>
                    <a:pt x="4645" y="2813"/>
                  </a:cubicBezTo>
                  <a:cubicBezTo>
                    <a:pt x="4631" y="2864"/>
                    <a:pt x="4682" y="2908"/>
                    <a:pt x="4638" y="2938"/>
                  </a:cubicBezTo>
                  <a:cubicBezTo>
                    <a:pt x="4594" y="2974"/>
                    <a:pt x="4558" y="2967"/>
                    <a:pt x="4602" y="3003"/>
                  </a:cubicBezTo>
                  <a:cubicBezTo>
                    <a:pt x="4645" y="3033"/>
                    <a:pt x="4638" y="3077"/>
                    <a:pt x="4609" y="3113"/>
                  </a:cubicBezTo>
                  <a:cubicBezTo>
                    <a:pt x="4587" y="3143"/>
                    <a:pt x="4572" y="3238"/>
                    <a:pt x="4528" y="3238"/>
                  </a:cubicBezTo>
                  <a:cubicBezTo>
                    <a:pt x="4484" y="3238"/>
                    <a:pt x="4499" y="3282"/>
                    <a:pt x="4506" y="3326"/>
                  </a:cubicBezTo>
                  <a:cubicBezTo>
                    <a:pt x="4521" y="3363"/>
                    <a:pt x="4536" y="3399"/>
                    <a:pt x="4587" y="3399"/>
                  </a:cubicBezTo>
                  <a:cubicBezTo>
                    <a:pt x="4638" y="3399"/>
                    <a:pt x="4712" y="3399"/>
                    <a:pt x="4690" y="3348"/>
                  </a:cubicBezTo>
                  <a:cubicBezTo>
                    <a:pt x="4660" y="3297"/>
                    <a:pt x="4675" y="3282"/>
                    <a:pt x="4719" y="3253"/>
                  </a:cubicBezTo>
                  <a:cubicBezTo>
                    <a:pt x="4763" y="3231"/>
                    <a:pt x="4785" y="3216"/>
                    <a:pt x="4814" y="3216"/>
                  </a:cubicBezTo>
                  <a:cubicBezTo>
                    <a:pt x="4821" y="3216"/>
                    <a:pt x="4829" y="3216"/>
                    <a:pt x="4836" y="3223"/>
                  </a:cubicBezTo>
                  <a:cubicBezTo>
                    <a:pt x="4873" y="3231"/>
                    <a:pt x="4865" y="3275"/>
                    <a:pt x="4902" y="3311"/>
                  </a:cubicBezTo>
                  <a:cubicBezTo>
                    <a:pt x="4931" y="3355"/>
                    <a:pt x="4917" y="3406"/>
                    <a:pt x="4909" y="3436"/>
                  </a:cubicBezTo>
                  <a:lnTo>
                    <a:pt x="4909" y="3436"/>
                  </a:lnTo>
                  <a:cubicBezTo>
                    <a:pt x="4902" y="3436"/>
                    <a:pt x="4902" y="3421"/>
                    <a:pt x="4895" y="3421"/>
                  </a:cubicBezTo>
                  <a:cubicBezTo>
                    <a:pt x="4887" y="3421"/>
                    <a:pt x="4880" y="3429"/>
                    <a:pt x="4873" y="3443"/>
                  </a:cubicBezTo>
                  <a:cubicBezTo>
                    <a:pt x="4851" y="3494"/>
                    <a:pt x="4865" y="3509"/>
                    <a:pt x="4873" y="3568"/>
                  </a:cubicBezTo>
                  <a:cubicBezTo>
                    <a:pt x="4887" y="3626"/>
                    <a:pt x="4902" y="3700"/>
                    <a:pt x="4902" y="3700"/>
                  </a:cubicBezTo>
                  <a:cubicBezTo>
                    <a:pt x="4917" y="3714"/>
                    <a:pt x="4917" y="3714"/>
                    <a:pt x="4917" y="3714"/>
                  </a:cubicBezTo>
                  <a:cubicBezTo>
                    <a:pt x="4895" y="3729"/>
                    <a:pt x="4873" y="3751"/>
                    <a:pt x="4851" y="3773"/>
                  </a:cubicBezTo>
                  <a:cubicBezTo>
                    <a:pt x="4807" y="3832"/>
                    <a:pt x="4843" y="3875"/>
                    <a:pt x="4807" y="3934"/>
                  </a:cubicBezTo>
                  <a:cubicBezTo>
                    <a:pt x="4770" y="3985"/>
                    <a:pt x="4697" y="4022"/>
                    <a:pt x="4624" y="4088"/>
                  </a:cubicBezTo>
                  <a:cubicBezTo>
                    <a:pt x="4580" y="4132"/>
                    <a:pt x="4506" y="4154"/>
                    <a:pt x="4440" y="4154"/>
                  </a:cubicBezTo>
                  <a:cubicBezTo>
                    <a:pt x="4404" y="4154"/>
                    <a:pt x="4374" y="4147"/>
                    <a:pt x="4352" y="4139"/>
                  </a:cubicBezTo>
                  <a:cubicBezTo>
                    <a:pt x="4331" y="4117"/>
                    <a:pt x="4309" y="4103"/>
                    <a:pt x="4294" y="4103"/>
                  </a:cubicBezTo>
                  <a:cubicBezTo>
                    <a:pt x="4272" y="4103"/>
                    <a:pt x="4257" y="4125"/>
                    <a:pt x="4221" y="4169"/>
                  </a:cubicBezTo>
                  <a:cubicBezTo>
                    <a:pt x="4147" y="4264"/>
                    <a:pt x="4228" y="4315"/>
                    <a:pt x="4228" y="4396"/>
                  </a:cubicBezTo>
                  <a:cubicBezTo>
                    <a:pt x="4228" y="4476"/>
                    <a:pt x="4199" y="4498"/>
                    <a:pt x="4147" y="4557"/>
                  </a:cubicBezTo>
                  <a:cubicBezTo>
                    <a:pt x="4103" y="4615"/>
                    <a:pt x="4059" y="4579"/>
                    <a:pt x="4001" y="4638"/>
                  </a:cubicBezTo>
                  <a:cubicBezTo>
                    <a:pt x="3950" y="4689"/>
                    <a:pt x="4059" y="4711"/>
                    <a:pt x="4059" y="4711"/>
                  </a:cubicBezTo>
                  <a:cubicBezTo>
                    <a:pt x="4059" y="4711"/>
                    <a:pt x="3957" y="4747"/>
                    <a:pt x="3898" y="4747"/>
                  </a:cubicBezTo>
                  <a:cubicBezTo>
                    <a:pt x="3876" y="4747"/>
                    <a:pt x="3862" y="4747"/>
                    <a:pt x="3854" y="4740"/>
                  </a:cubicBezTo>
                  <a:cubicBezTo>
                    <a:pt x="3825" y="4703"/>
                    <a:pt x="3708" y="4703"/>
                    <a:pt x="3708" y="4703"/>
                  </a:cubicBezTo>
                  <a:cubicBezTo>
                    <a:pt x="3708" y="4703"/>
                    <a:pt x="3722" y="4813"/>
                    <a:pt x="3722" y="4872"/>
                  </a:cubicBezTo>
                  <a:cubicBezTo>
                    <a:pt x="3722" y="4931"/>
                    <a:pt x="3788" y="4916"/>
                    <a:pt x="3788" y="4967"/>
                  </a:cubicBezTo>
                  <a:cubicBezTo>
                    <a:pt x="3788" y="5011"/>
                    <a:pt x="3730" y="5033"/>
                    <a:pt x="3730" y="5092"/>
                  </a:cubicBezTo>
                  <a:cubicBezTo>
                    <a:pt x="3730" y="5143"/>
                    <a:pt x="3700" y="5180"/>
                    <a:pt x="3627" y="5202"/>
                  </a:cubicBezTo>
                  <a:cubicBezTo>
                    <a:pt x="3620" y="5209"/>
                    <a:pt x="3605" y="5209"/>
                    <a:pt x="3590" y="5209"/>
                  </a:cubicBezTo>
                  <a:cubicBezTo>
                    <a:pt x="3532" y="5209"/>
                    <a:pt x="3473" y="5172"/>
                    <a:pt x="3444" y="5136"/>
                  </a:cubicBezTo>
                  <a:cubicBezTo>
                    <a:pt x="3414" y="5092"/>
                    <a:pt x="3371" y="5055"/>
                    <a:pt x="3319" y="5033"/>
                  </a:cubicBezTo>
                  <a:cubicBezTo>
                    <a:pt x="3305" y="5019"/>
                    <a:pt x="3268" y="5019"/>
                    <a:pt x="3231" y="5019"/>
                  </a:cubicBezTo>
                  <a:cubicBezTo>
                    <a:pt x="3187" y="5019"/>
                    <a:pt x="3129" y="5026"/>
                    <a:pt x="3099" y="5033"/>
                  </a:cubicBezTo>
                  <a:cubicBezTo>
                    <a:pt x="3041" y="5041"/>
                    <a:pt x="2945" y="5180"/>
                    <a:pt x="2945" y="5180"/>
                  </a:cubicBezTo>
                  <a:cubicBezTo>
                    <a:pt x="2945" y="5180"/>
                    <a:pt x="2990" y="5106"/>
                    <a:pt x="2953" y="5106"/>
                  </a:cubicBezTo>
                  <a:cubicBezTo>
                    <a:pt x="2953" y="5106"/>
                    <a:pt x="2953" y="5114"/>
                    <a:pt x="2945" y="5114"/>
                  </a:cubicBezTo>
                  <a:lnTo>
                    <a:pt x="2938" y="5114"/>
                  </a:lnTo>
                  <a:cubicBezTo>
                    <a:pt x="2902" y="5114"/>
                    <a:pt x="2872" y="5092"/>
                    <a:pt x="2821" y="5092"/>
                  </a:cubicBezTo>
                  <a:cubicBezTo>
                    <a:pt x="2806" y="5092"/>
                    <a:pt x="2792" y="5092"/>
                    <a:pt x="2770" y="5099"/>
                  </a:cubicBezTo>
                  <a:cubicBezTo>
                    <a:pt x="2674" y="5136"/>
                    <a:pt x="2667" y="5165"/>
                    <a:pt x="2631" y="5246"/>
                  </a:cubicBezTo>
                  <a:cubicBezTo>
                    <a:pt x="2594" y="5326"/>
                    <a:pt x="2645" y="5363"/>
                    <a:pt x="2696" y="5392"/>
                  </a:cubicBezTo>
                  <a:cubicBezTo>
                    <a:pt x="2755" y="5429"/>
                    <a:pt x="2719" y="5517"/>
                    <a:pt x="2696" y="5568"/>
                  </a:cubicBezTo>
                  <a:cubicBezTo>
                    <a:pt x="2674" y="5612"/>
                    <a:pt x="2674" y="5737"/>
                    <a:pt x="2696" y="5839"/>
                  </a:cubicBezTo>
                  <a:cubicBezTo>
                    <a:pt x="2719" y="5942"/>
                    <a:pt x="2792" y="6037"/>
                    <a:pt x="2821" y="6096"/>
                  </a:cubicBezTo>
                  <a:cubicBezTo>
                    <a:pt x="2858" y="6154"/>
                    <a:pt x="2894" y="6198"/>
                    <a:pt x="2902" y="6279"/>
                  </a:cubicBezTo>
                  <a:cubicBezTo>
                    <a:pt x="2916" y="6360"/>
                    <a:pt x="2938" y="6382"/>
                    <a:pt x="2916" y="6462"/>
                  </a:cubicBezTo>
                  <a:cubicBezTo>
                    <a:pt x="2894" y="6543"/>
                    <a:pt x="2858" y="6506"/>
                    <a:pt x="2858" y="6572"/>
                  </a:cubicBezTo>
                  <a:cubicBezTo>
                    <a:pt x="2858" y="6638"/>
                    <a:pt x="2880" y="6667"/>
                    <a:pt x="2858" y="6733"/>
                  </a:cubicBezTo>
                  <a:cubicBezTo>
                    <a:pt x="2836" y="6799"/>
                    <a:pt x="2799" y="6741"/>
                    <a:pt x="2792" y="6821"/>
                  </a:cubicBezTo>
                  <a:cubicBezTo>
                    <a:pt x="2784" y="6865"/>
                    <a:pt x="2799" y="6865"/>
                    <a:pt x="2814" y="6865"/>
                  </a:cubicBezTo>
                  <a:cubicBezTo>
                    <a:pt x="2821" y="6865"/>
                    <a:pt x="2821" y="6865"/>
                    <a:pt x="2828" y="6865"/>
                  </a:cubicBezTo>
                  <a:cubicBezTo>
                    <a:pt x="2843" y="6865"/>
                    <a:pt x="2850" y="6872"/>
                    <a:pt x="2858" y="6880"/>
                  </a:cubicBezTo>
                  <a:cubicBezTo>
                    <a:pt x="2865" y="6894"/>
                    <a:pt x="2872" y="6916"/>
                    <a:pt x="2872" y="6931"/>
                  </a:cubicBezTo>
                  <a:cubicBezTo>
                    <a:pt x="2872" y="6939"/>
                    <a:pt x="2872" y="6939"/>
                    <a:pt x="2872" y="6939"/>
                  </a:cubicBezTo>
                  <a:cubicBezTo>
                    <a:pt x="2814" y="6982"/>
                    <a:pt x="2814" y="6982"/>
                    <a:pt x="2814" y="6982"/>
                  </a:cubicBezTo>
                  <a:cubicBezTo>
                    <a:pt x="2902" y="7114"/>
                    <a:pt x="2902" y="7114"/>
                    <a:pt x="2902" y="7114"/>
                  </a:cubicBezTo>
                  <a:cubicBezTo>
                    <a:pt x="2902" y="7114"/>
                    <a:pt x="2843" y="7078"/>
                    <a:pt x="2799" y="7078"/>
                  </a:cubicBezTo>
                  <a:cubicBezTo>
                    <a:pt x="2777" y="7078"/>
                    <a:pt x="2762" y="7078"/>
                    <a:pt x="2755" y="7092"/>
                  </a:cubicBezTo>
                  <a:cubicBezTo>
                    <a:pt x="2733" y="7136"/>
                    <a:pt x="2726" y="7195"/>
                    <a:pt x="2689" y="7195"/>
                  </a:cubicBezTo>
                  <a:cubicBezTo>
                    <a:pt x="2674" y="7195"/>
                    <a:pt x="2660" y="7188"/>
                    <a:pt x="2645" y="7173"/>
                  </a:cubicBezTo>
                  <a:cubicBezTo>
                    <a:pt x="2616" y="7158"/>
                    <a:pt x="2594" y="7144"/>
                    <a:pt x="2579" y="7144"/>
                  </a:cubicBezTo>
                  <a:cubicBezTo>
                    <a:pt x="2550" y="7144"/>
                    <a:pt x="2535" y="7180"/>
                    <a:pt x="2521" y="7232"/>
                  </a:cubicBezTo>
                  <a:cubicBezTo>
                    <a:pt x="2499" y="7312"/>
                    <a:pt x="2521" y="7334"/>
                    <a:pt x="2469" y="7356"/>
                  </a:cubicBezTo>
                  <a:cubicBezTo>
                    <a:pt x="2440" y="7371"/>
                    <a:pt x="2352" y="7481"/>
                    <a:pt x="2308" y="7481"/>
                  </a:cubicBezTo>
                  <a:cubicBezTo>
                    <a:pt x="2286" y="7481"/>
                    <a:pt x="2279" y="7459"/>
                    <a:pt x="2279" y="7415"/>
                  </a:cubicBezTo>
                  <a:cubicBezTo>
                    <a:pt x="2293" y="7239"/>
                    <a:pt x="2279" y="7268"/>
                    <a:pt x="2345" y="7253"/>
                  </a:cubicBezTo>
                  <a:cubicBezTo>
                    <a:pt x="2418" y="7239"/>
                    <a:pt x="2469" y="7144"/>
                    <a:pt x="2381" y="7144"/>
                  </a:cubicBezTo>
                  <a:cubicBezTo>
                    <a:pt x="2293" y="7144"/>
                    <a:pt x="2271" y="7129"/>
                    <a:pt x="2257" y="7070"/>
                  </a:cubicBezTo>
                  <a:cubicBezTo>
                    <a:pt x="2257" y="7070"/>
                    <a:pt x="2183" y="7107"/>
                    <a:pt x="2118" y="7107"/>
                  </a:cubicBezTo>
                  <a:cubicBezTo>
                    <a:pt x="2059" y="7107"/>
                    <a:pt x="2000" y="7085"/>
                    <a:pt x="1986" y="6990"/>
                  </a:cubicBezTo>
                  <a:cubicBezTo>
                    <a:pt x="1956" y="6806"/>
                    <a:pt x="1964" y="6755"/>
                    <a:pt x="1890" y="6755"/>
                  </a:cubicBezTo>
                  <a:cubicBezTo>
                    <a:pt x="1890" y="6755"/>
                    <a:pt x="1883" y="6755"/>
                    <a:pt x="1869" y="6755"/>
                  </a:cubicBezTo>
                  <a:cubicBezTo>
                    <a:pt x="1781" y="6763"/>
                    <a:pt x="1759" y="6843"/>
                    <a:pt x="1781" y="6939"/>
                  </a:cubicBezTo>
                  <a:cubicBezTo>
                    <a:pt x="1802" y="7012"/>
                    <a:pt x="1773" y="7092"/>
                    <a:pt x="1714" y="7092"/>
                  </a:cubicBezTo>
                  <a:cubicBezTo>
                    <a:pt x="1707" y="7092"/>
                    <a:pt x="1692" y="7092"/>
                    <a:pt x="1678" y="7085"/>
                  </a:cubicBezTo>
                  <a:cubicBezTo>
                    <a:pt x="1605" y="7041"/>
                    <a:pt x="1517" y="6858"/>
                    <a:pt x="1458" y="6858"/>
                  </a:cubicBezTo>
                  <a:cubicBezTo>
                    <a:pt x="1458" y="6858"/>
                    <a:pt x="1458" y="6858"/>
                    <a:pt x="1451" y="6858"/>
                  </a:cubicBezTo>
                  <a:cubicBezTo>
                    <a:pt x="1414" y="6872"/>
                    <a:pt x="1400" y="6880"/>
                    <a:pt x="1400" y="6880"/>
                  </a:cubicBezTo>
                  <a:cubicBezTo>
                    <a:pt x="1385" y="6858"/>
                    <a:pt x="1378" y="6836"/>
                    <a:pt x="1370" y="6814"/>
                  </a:cubicBezTo>
                  <a:cubicBezTo>
                    <a:pt x="1363" y="6777"/>
                    <a:pt x="1341" y="6719"/>
                    <a:pt x="1297" y="6682"/>
                  </a:cubicBezTo>
                  <a:cubicBezTo>
                    <a:pt x="1253" y="6645"/>
                    <a:pt x="1246" y="6601"/>
                    <a:pt x="1253" y="6557"/>
                  </a:cubicBezTo>
                  <a:cubicBezTo>
                    <a:pt x="1260" y="6506"/>
                    <a:pt x="1290" y="6484"/>
                    <a:pt x="1363" y="6470"/>
                  </a:cubicBezTo>
                  <a:cubicBezTo>
                    <a:pt x="1443" y="6455"/>
                    <a:pt x="1414" y="6411"/>
                    <a:pt x="1473" y="6338"/>
                  </a:cubicBezTo>
                  <a:cubicBezTo>
                    <a:pt x="1531" y="6272"/>
                    <a:pt x="1524" y="6279"/>
                    <a:pt x="1473" y="6272"/>
                  </a:cubicBezTo>
                  <a:cubicBezTo>
                    <a:pt x="1421" y="6264"/>
                    <a:pt x="1407" y="6228"/>
                    <a:pt x="1363" y="6220"/>
                  </a:cubicBezTo>
                  <a:cubicBezTo>
                    <a:pt x="1319" y="6213"/>
                    <a:pt x="1319" y="6140"/>
                    <a:pt x="1312" y="6096"/>
                  </a:cubicBezTo>
                  <a:cubicBezTo>
                    <a:pt x="1304" y="6052"/>
                    <a:pt x="1319" y="5986"/>
                    <a:pt x="1297" y="5949"/>
                  </a:cubicBezTo>
                  <a:cubicBezTo>
                    <a:pt x="1268" y="5913"/>
                    <a:pt x="1253" y="5942"/>
                    <a:pt x="1238" y="5891"/>
                  </a:cubicBezTo>
                  <a:cubicBezTo>
                    <a:pt x="1216" y="5839"/>
                    <a:pt x="1231" y="5744"/>
                    <a:pt x="1238" y="5678"/>
                  </a:cubicBezTo>
                  <a:cubicBezTo>
                    <a:pt x="1246" y="5612"/>
                    <a:pt x="1180" y="5575"/>
                    <a:pt x="1143" y="5524"/>
                  </a:cubicBezTo>
                  <a:cubicBezTo>
                    <a:pt x="1106" y="5473"/>
                    <a:pt x="1077" y="5451"/>
                    <a:pt x="1033" y="5407"/>
                  </a:cubicBezTo>
                  <a:cubicBezTo>
                    <a:pt x="1011" y="5385"/>
                    <a:pt x="982" y="5378"/>
                    <a:pt x="960" y="5378"/>
                  </a:cubicBezTo>
                  <a:cubicBezTo>
                    <a:pt x="931" y="5378"/>
                    <a:pt x="901" y="5385"/>
                    <a:pt x="879" y="5392"/>
                  </a:cubicBezTo>
                  <a:cubicBezTo>
                    <a:pt x="835" y="5400"/>
                    <a:pt x="755" y="5429"/>
                    <a:pt x="681" y="5458"/>
                  </a:cubicBezTo>
                  <a:cubicBezTo>
                    <a:pt x="615" y="5480"/>
                    <a:pt x="579" y="5488"/>
                    <a:pt x="542" y="5524"/>
                  </a:cubicBezTo>
                  <a:cubicBezTo>
                    <a:pt x="498" y="5561"/>
                    <a:pt x="454" y="5553"/>
                    <a:pt x="403" y="5590"/>
                  </a:cubicBezTo>
                  <a:cubicBezTo>
                    <a:pt x="403" y="5590"/>
                    <a:pt x="352" y="5597"/>
                    <a:pt x="308" y="5597"/>
                  </a:cubicBezTo>
                  <a:cubicBezTo>
                    <a:pt x="286" y="5597"/>
                    <a:pt x="264" y="5597"/>
                    <a:pt x="249" y="5590"/>
                  </a:cubicBezTo>
                  <a:cubicBezTo>
                    <a:pt x="205" y="5575"/>
                    <a:pt x="190" y="5517"/>
                    <a:pt x="176" y="5451"/>
                  </a:cubicBezTo>
                  <a:cubicBezTo>
                    <a:pt x="154" y="5378"/>
                    <a:pt x="117" y="5378"/>
                    <a:pt x="66" y="5356"/>
                  </a:cubicBezTo>
                  <a:cubicBezTo>
                    <a:pt x="15" y="5326"/>
                    <a:pt x="59" y="5260"/>
                    <a:pt x="88" y="5224"/>
                  </a:cubicBezTo>
                  <a:cubicBezTo>
                    <a:pt x="124" y="5194"/>
                    <a:pt x="147" y="5216"/>
                    <a:pt x="154" y="5194"/>
                  </a:cubicBezTo>
                  <a:cubicBezTo>
                    <a:pt x="169" y="5165"/>
                    <a:pt x="176" y="5114"/>
                    <a:pt x="190" y="5092"/>
                  </a:cubicBezTo>
                  <a:cubicBezTo>
                    <a:pt x="198" y="5084"/>
                    <a:pt x="205" y="5084"/>
                    <a:pt x="212" y="5084"/>
                  </a:cubicBezTo>
                  <a:cubicBezTo>
                    <a:pt x="234" y="5084"/>
                    <a:pt x="271" y="5106"/>
                    <a:pt x="308" y="5114"/>
                  </a:cubicBezTo>
                  <a:cubicBezTo>
                    <a:pt x="330" y="5121"/>
                    <a:pt x="337" y="5129"/>
                    <a:pt x="344" y="5129"/>
                  </a:cubicBezTo>
                  <a:cubicBezTo>
                    <a:pt x="359" y="5129"/>
                    <a:pt x="366" y="5114"/>
                    <a:pt x="366" y="5084"/>
                  </a:cubicBezTo>
                  <a:cubicBezTo>
                    <a:pt x="381" y="5041"/>
                    <a:pt x="359" y="5004"/>
                    <a:pt x="337" y="4997"/>
                  </a:cubicBezTo>
                  <a:cubicBezTo>
                    <a:pt x="308" y="4989"/>
                    <a:pt x="278" y="4982"/>
                    <a:pt x="242" y="4945"/>
                  </a:cubicBezTo>
                  <a:cubicBezTo>
                    <a:pt x="205" y="4916"/>
                    <a:pt x="293" y="4872"/>
                    <a:pt x="330" y="4835"/>
                  </a:cubicBezTo>
                  <a:cubicBezTo>
                    <a:pt x="359" y="4799"/>
                    <a:pt x="403" y="4784"/>
                    <a:pt x="440" y="4740"/>
                  </a:cubicBezTo>
                  <a:cubicBezTo>
                    <a:pt x="447" y="4733"/>
                    <a:pt x="454" y="4725"/>
                    <a:pt x="469" y="4725"/>
                  </a:cubicBezTo>
                  <a:cubicBezTo>
                    <a:pt x="491" y="4725"/>
                    <a:pt x="513" y="4755"/>
                    <a:pt x="557" y="4777"/>
                  </a:cubicBezTo>
                  <a:cubicBezTo>
                    <a:pt x="571" y="4784"/>
                    <a:pt x="579" y="4784"/>
                    <a:pt x="586" y="4784"/>
                  </a:cubicBezTo>
                  <a:cubicBezTo>
                    <a:pt x="623" y="4784"/>
                    <a:pt x="638" y="4733"/>
                    <a:pt x="630" y="4703"/>
                  </a:cubicBezTo>
                  <a:cubicBezTo>
                    <a:pt x="623" y="4660"/>
                    <a:pt x="571" y="4682"/>
                    <a:pt x="564" y="4652"/>
                  </a:cubicBezTo>
                  <a:cubicBezTo>
                    <a:pt x="557" y="4623"/>
                    <a:pt x="593" y="4608"/>
                    <a:pt x="630" y="4608"/>
                  </a:cubicBezTo>
                  <a:cubicBezTo>
                    <a:pt x="645" y="4608"/>
                    <a:pt x="667" y="4615"/>
                    <a:pt x="681" y="4623"/>
                  </a:cubicBezTo>
                  <a:cubicBezTo>
                    <a:pt x="696" y="4630"/>
                    <a:pt x="711" y="4638"/>
                    <a:pt x="718" y="4638"/>
                  </a:cubicBezTo>
                  <a:cubicBezTo>
                    <a:pt x="740" y="4638"/>
                    <a:pt x="755" y="4601"/>
                    <a:pt x="762" y="4564"/>
                  </a:cubicBezTo>
                  <a:cubicBezTo>
                    <a:pt x="769" y="4513"/>
                    <a:pt x="755" y="4462"/>
                    <a:pt x="725" y="4425"/>
                  </a:cubicBezTo>
                  <a:cubicBezTo>
                    <a:pt x="703" y="4396"/>
                    <a:pt x="681" y="4396"/>
                    <a:pt x="667" y="4352"/>
                  </a:cubicBezTo>
                  <a:cubicBezTo>
                    <a:pt x="652" y="4308"/>
                    <a:pt x="659" y="4286"/>
                    <a:pt x="623" y="4249"/>
                  </a:cubicBezTo>
                  <a:cubicBezTo>
                    <a:pt x="593" y="4213"/>
                    <a:pt x="557" y="4176"/>
                    <a:pt x="483" y="4161"/>
                  </a:cubicBezTo>
                  <a:cubicBezTo>
                    <a:pt x="403" y="4154"/>
                    <a:pt x="432" y="4139"/>
                    <a:pt x="469" y="4095"/>
                  </a:cubicBezTo>
                  <a:cubicBezTo>
                    <a:pt x="513" y="4051"/>
                    <a:pt x="506" y="4037"/>
                    <a:pt x="513" y="3985"/>
                  </a:cubicBezTo>
                  <a:cubicBezTo>
                    <a:pt x="520" y="3934"/>
                    <a:pt x="491" y="3890"/>
                    <a:pt x="483" y="3839"/>
                  </a:cubicBezTo>
                  <a:cubicBezTo>
                    <a:pt x="469" y="3788"/>
                    <a:pt x="520" y="3758"/>
                    <a:pt x="550" y="3722"/>
                  </a:cubicBezTo>
                  <a:cubicBezTo>
                    <a:pt x="571" y="3692"/>
                    <a:pt x="593" y="3663"/>
                    <a:pt x="630" y="3663"/>
                  </a:cubicBezTo>
                  <a:cubicBezTo>
                    <a:pt x="630" y="3663"/>
                    <a:pt x="638" y="3663"/>
                    <a:pt x="645" y="3663"/>
                  </a:cubicBezTo>
                  <a:cubicBezTo>
                    <a:pt x="681" y="3670"/>
                    <a:pt x="696" y="3722"/>
                    <a:pt x="733" y="3729"/>
                  </a:cubicBezTo>
                  <a:cubicBezTo>
                    <a:pt x="740" y="3729"/>
                    <a:pt x="740" y="3729"/>
                    <a:pt x="740" y="3729"/>
                  </a:cubicBezTo>
                  <a:cubicBezTo>
                    <a:pt x="784" y="3729"/>
                    <a:pt x="813" y="3641"/>
                    <a:pt x="843" y="3590"/>
                  </a:cubicBezTo>
                  <a:cubicBezTo>
                    <a:pt x="879" y="3524"/>
                    <a:pt x="843" y="3429"/>
                    <a:pt x="813" y="3363"/>
                  </a:cubicBezTo>
                  <a:cubicBezTo>
                    <a:pt x="784" y="3326"/>
                    <a:pt x="784" y="3275"/>
                    <a:pt x="784" y="3238"/>
                  </a:cubicBezTo>
                  <a:cubicBezTo>
                    <a:pt x="799" y="3216"/>
                    <a:pt x="821" y="3187"/>
                    <a:pt x="835" y="3165"/>
                  </a:cubicBezTo>
                  <a:cubicBezTo>
                    <a:pt x="887" y="3091"/>
                    <a:pt x="864" y="3070"/>
                    <a:pt x="857" y="2989"/>
                  </a:cubicBezTo>
                  <a:cubicBezTo>
                    <a:pt x="843" y="2915"/>
                    <a:pt x="821" y="2952"/>
                    <a:pt x="813" y="2886"/>
                  </a:cubicBezTo>
                  <a:cubicBezTo>
                    <a:pt x="806" y="2828"/>
                    <a:pt x="864" y="2850"/>
                    <a:pt x="887" y="2798"/>
                  </a:cubicBezTo>
                  <a:cubicBezTo>
                    <a:pt x="916" y="2747"/>
                    <a:pt x="938" y="2740"/>
                    <a:pt x="1004" y="2703"/>
                  </a:cubicBezTo>
                  <a:cubicBezTo>
                    <a:pt x="1077" y="2666"/>
                    <a:pt x="1070" y="2644"/>
                    <a:pt x="1092" y="2586"/>
                  </a:cubicBezTo>
                  <a:cubicBezTo>
                    <a:pt x="1106" y="2556"/>
                    <a:pt x="1114" y="2549"/>
                    <a:pt x="1121" y="2549"/>
                  </a:cubicBezTo>
                  <a:cubicBezTo>
                    <a:pt x="1136" y="2549"/>
                    <a:pt x="1143" y="2564"/>
                    <a:pt x="1158" y="2593"/>
                  </a:cubicBezTo>
                  <a:cubicBezTo>
                    <a:pt x="1180" y="2622"/>
                    <a:pt x="1194" y="2644"/>
                    <a:pt x="1238" y="2644"/>
                  </a:cubicBezTo>
                  <a:cubicBezTo>
                    <a:pt x="1253" y="2644"/>
                    <a:pt x="1268" y="2644"/>
                    <a:pt x="1297" y="2637"/>
                  </a:cubicBezTo>
                  <a:cubicBezTo>
                    <a:pt x="1392" y="2608"/>
                    <a:pt x="1363" y="2601"/>
                    <a:pt x="1400" y="2542"/>
                  </a:cubicBezTo>
                  <a:cubicBezTo>
                    <a:pt x="1429" y="2483"/>
                    <a:pt x="1429" y="2491"/>
                    <a:pt x="1480" y="2454"/>
                  </a:cubicBezTo>
                  <a:cubicBezTo>
                    <a:pt x="1531" y="2425"/>
                    <a:pt x="1502" y="2432"/>
                    <a:pt x="1502" y="2359"/>
                  </a:cubicBezTo>
                  <a:cubicBezTo>
                    <a:pt x="1502" y="2293"/>
                    <a:pt x="1531" y="2300"/>
                    <a:pt x="1568" y="2241"/>
                  </a:cubicBezTo>
                  <a:cubicBezTo>
                    <a:pt x="1605" y="2183"/>
                    <a:pt x="1619" y="2190"/>
                    <a:pt x="1663" y="2146"/>
                  </a:cubicBezTo>
                  <a:cubicBezTo>
                    <a:pt x="1707" y="2110"/>
                    <a:pt x="1692" y="2124"/>
                    <a:pt x="1671" y="2102"/>
                  </a:cubicBezTo>
                  <a:cubicBezTo>
                    <a:pt x="1641" y="2073"/>
                    <a:pt x="1627" y="2036"/>
                    <a:pt x="1612" y="1963"/>
                  </a:cubicBezTo>
                  <a:cubicBezTo>
                    <a:pt x="1597" y="1882"/>
                    <a:pt x="1627" y="1912"/>
                    <a:pt x="1685" y="1860"/>
                  </a:cubicBezTo>
                  <a:cubicBezTo>
                    <a:pt x="1707" y="1846"/>
                    <a:pt x="1729" y="1838"/>
                    <a:pt x="1751" y="1838"/>
                  </a:cubicBezTo>
                  <a:cubicBezTo>
                    <a:pt x="1802" y="1838"/>
                    <a:pt x="1854" y="1860"/>
                    <a:pt x="1890" y="1860"/>
                  </a:cubicBezTo>
                  <a:cubicBezTo>
                    <a:pt x="1942" y="1860"/>
                    <a:pt x="1920" y="1904"/>
                    <a:pt x="1920" y="1904"/>
                  </a:cubicBezTo>
                  <a:cubicBezTo>
                    <a:pt x="1920" y="1904"/>
                    <a:pt x="1920" y="1897"/>
                    <a:pt x="1927" y="1897"/>
                  </a:cubicBezTo>
                  <a:cubicBezTo>
                    <a:pt x="1942" y="1868"/>
                    <a:pt x="1971" y="1838"/>
                    <a:pt x="2008" y="1824"/>
                  </a:cubicBezTo>
                  <a:cubicBezTo>
                    <a:pt x="2052" y="1816"/>
                    <a:pt x="2059" y="1824"/>
                    <a:pt x="2022" y="1787"/>
                  </a:cubicBezTo>
                  <a:cubicBezTo>
                    <a:pt x="1978" y="1743"/>
                    <a:pt x="2008" y="1721"/>
                    <a:pt x="2044" y="1684"/>
                  </a:cubicBezTo>
                  <a:cubicBezTo>
                    <a:pt x="2081" y="1641"/>
                    <a:pt x="2103" y="1641"/>
                    <a:pt x="2132" y="1590"/>
                  </a:cubicBezTo>
                  <a:cubicBezTo>
                    <a:pt x="2154" y="1539"/>
                    <a:pt x="2154" y="1532"/>
                    <a:pt x="2140" y="1495"/>
                  </a:cubicBezTo>
                  <a:cubicBezTo>
                    <a:pt x="2118" y="1466"/>
                    <a:pt x="2110" y="1436"/>
                    <a:pt x="2096" y="1371"/>
                  </a:cubicBezTo>
                  <a:cubicBezTo>
                    <a:pt x="2081" y="1312"/>
                    <a:pt x="2088" y="1282"/>
                    <a:pt x="2052" y="1282"/>
                  </a:cubicBezTo>
                  <a:cubicBezTo>
                    <a:pt x="2052" y="1282"/>
                    <a:pt x="2044" y="1282"/>
                    <a:pt x="2037" y="1282"/>
                  </a:cubicBezTo>
                  <a:cubicBezTo>
                    <a:pt x="1978" y="1290"/>
                    <a:pt x="1942" y="1312"/>
                    <a:pt x="1898" y="1341"/>
                  </a:cubicBezTo>
                  <a:cubicBezTo>
                    <a:pt x="1869" y="1363"/>
                    <a:pt x="1846" y="1378"/>
                    <a:pt x="1824" y="1378"/>
                  </a:cubicBezTo>
                  <a:cubicBezTo>
                    <a:pt x="1810" y="1378"/>
                    <a:pt x="1802" y="1378"/>
                    <a:pt x="1788" y="1371"/>
                  </a:cubicBezTo>
                  <a:cubicBezTo>
                    <a:pt x="1759" y="1341"/>
                    <a:pt x="1773" y="1326"/>
                    <a:pt x="1737" y="1282"/>
                  </a:cubicBezTo>
                  <a:cubicBezTo>
                    <a:pt x="1707" y="1239"/>
                    <a:pt x="1744" y="1216"/>
                    <a:pt x="1788" y="1136"/>
                  </a:cubicBezTo>
                  <a:cubicBezTo>
                    <a:pt x="1832" y="1063"/>
                    <a:pt x="1839" y="1070"/>
                    <a:pt x="1905" y="1019"/>
                  </a:cubicBezTo>
                  <a:cubicBezTo>
                    <a:pt x="1978" y="967"/>
                    <a:pt x="1949" y="945"/>
                    <a:pt x="2000" y="945"/>
                  </a:cubicBezTo>
                  <a:cubicBezTo>
                    <a:pt x="2022" y="945"/>
                    <a:pt x="2044" y="945"/>
                    <a:pt x="2066" y="945"/>
                  </a:cubicBezTo>
                  <a:cubicBezTo>
                    <a:pt x="2096" y="945"/>
                    <a:pt x="2125" y="938"/>
                    <a:pt x="2147" y="916"/>
                  </a:cubicBezTo>
                  <a:cubicBezTo>
                    <a:pt x="2169" y="894"/>
                    <a:pt x="2191" y="887"/>
                    <a:pt x="2213" y="887"/>
                  </a:cubicBezTo>
                  <a:cubicBezTo>
                    <a:pt x="2235" y="887"/>
                    <a:pt x="2257" y="894"/>
                    <a:pt x="2286" y="909"/>
                  </a:cubicBezTo>
                  <a:cubicBezTo>
                    <a:pt x="2293" y="916"/>
                    <a:pt x="2315" y="923"/>
                    <a:pt x="2330" y="923"/>
                  </a:cubicBezTo>
                  <a:cubicBezTo>
                    <a:pt x="2381" y="923"/>
                    <a:pt x="2447" y="894"/>
                    <a:pt x="2506" y="887"/>
                  </a:cubicBezTo>
                  <a:cubicBezTo>
                    <a:pt x="2579" y="865"/>
                    <a:pt x="2564" y="813"/>
                    <a:pt x="2543" y="784"/>
                  </a:cubicBezTo>
                  <a:cubicBezTo>
                    <a:pt x="2528" y="747"/>
                    <a:pt x="2477" y="733"/>
                    <a:pt x="2433" y="682"/>
                  </a:cubicBezTo>
                  <a:cubicBezTo>
                    <a:pt x="2396" y="630"/>
                    <a:pt x="2374" y="608"/>
                    <a:pt x="2433" y="572"/>
                  </a:cubicBezTo>
                  <a:cubicBezTo>
                    <a:pt x="2499" y="528"/>
                    <a:pt x="2587" y="498"/>
                    <a:pt x="2645" y="476"/>
                  </a:cubicBezTo>
                  <a:cubicBezTo>
                    <a:pt x="2660" y="469"/>
                    <a:pt x="2667" y="469"/>
                    <a:pt x="2674" y="469"/>
                  </a:cubicBezTo>
                  <a:cubicBezTo>
                    <a:pt x="2719" y="469"/>
                    <a:pt x="2748" y="521"/>
                    <a:pt x="2792" y="535"/>
                  </a:cubicBezTo>
                  <a:cubicBezTo>
                    <a:pt x="2843" y="550"/>
                    <a:pt x="2872" y="564"/>
                    <a:pt x="2843" y="608"/>
                  </a:cubicBezTo>
                  <a:cubicBezTo>
                    <a:pt x="2821" y="660"/>
                    <a:pt x="2850" y="726"/>
                    <a:pt x="2931" y="733"/>
                  </a:cubicBezTo>
                  <a:lnTo>
                    <a:pt x="2938" y="733"/>
                  </a:lnTo>
                  <a:cubicBezTo>
                    <a:pt x="3012" y="733"/>
                    <a:pt x="3033" y="667"/>
                    <a:pt x="3070" y="638"/>
                  </a:cubicBezTo>
                  <a:cubicBezTo>
                    <a:pt x="3114" y="601"/>
                    <a:pt x="3231" y="484"/>
                    <a:pt x="3275" y="440"/>
                  </a:cubicBezTo>
                  <a:cubicBezTo>
                    <a:pt x="3319" y="396"/>
                    <a:pt x="3363" y="315"/>
                    <a:pt x="3385" y="264"/>
                  </a:cubicBezTo>
                  <a:cubicBezTo>
                    <a:pt x="3414" y="213"/>
                    <a:pt x="3349" y="227"/>
                    <a:pt x="3349" y="183"/>
                  </a:cubicBezTo>
                  <a:cubicBezTo>
                    <a:pt x="3349" y="147"/>
                    <a:pt x="3400" y="125"/>
                    <a:pt x="3459" y="125"/>
                  </a:cubicBezTo>
                  <a:cubicBezTo>
                    <a:pt x="3517" y="125"/>
                    <a:pt x="3546" y="66"/>
                    <a:pt x="3546" y="66"/>
                  </a:cubicBezTo>
                  <a:cubicBezTo>
                    <a:pt x="3546" y="66"/>
                    <a:pt x="3539" y="66"/>
                    <a:pt x="3524" y="73"/>
                  </a:cubicBezTo>
                  <a:cubicBezTo>
                    <a:pt x="3546" y="52"/>
                    <a:pt x="3583" y="30"/>
                    <a:pt x="3605" y="30"/>
                  </a:cubicBezTo>
                  <a:lnTo>
                    <a:pt x="3605" y="0"/>
                  </a:lnTo>
                  <a:lnTo>
                    <a:pt x="3605" y="0"/>
                  </a:lnTo>
                  <a:lnTo>
                    <a:pt x="3605" y="0"/>
                  </a:lnTo>
                  <a:cubicBezTo>
                    <a:pt x="3576" y="0"/>
                    <a:pt x="3546" y="15"/>
                    <a:pt x="3510" y="44"/>
                  </a:cubicBezTo>
                  <a:cubicBezTo>
                    <a:pt x="3444" y="95"/>
                    <a:pt x="3444" y="95"/>
                    <a:pt x="3444" y="95"/>
                  </a:cubicBezTo>
                  <a:cubicBezTo>
                    <a:pt x="3363" y="103"/>
                    <a:pt x="3312" y="132"/>
                    <a:pt x="3312" y="183"/>
                  </a:cubicBezTo>
                  <a:cubicBezTo>
                    <a:pt x="3312" y="227"/>
                    <a:pt x="3341" y="242"/>
                    <a:pt x="3356" y="249"/>
                  </a:cubicBezTo>
                  <a:lnTo>
                    <a:pt x="3363" y="249"/>
                  </a:lnTo>
                  <a:lnTo>
                    <a:pt x="3363" y="249"/>
                  </a:lnTo>
                  <a:cubicBezTo>
                    <a:pt x="3341" y="293"/>
                    <a:pt x="3297" y="381"/>
                    <a:pt x="3253" y="418"/>
                  </a:cubicBezTo>
                  <a:cubicBezTo>
                    <a:pt x="3151" y="528"/>
                    <a:pt x="3085" y="594"/>
                    <a:pt x="3055" y="616"/>
                  </a:cubicBezTo>
                  <a:cubicBezTo>
                    <a:pt x="3041" y="623"/>
                    <a:pt x="3026" y="638"/>
                    <a:pt x="3019" y="652"/>
                  </a:cubicBezTo>
                  <a:cubicBezTo>
                    <a:pt x="2990" y="682"/>
                    <a:pt x="2975" y="704"/>
                    <a:pt x="2938" y="704"/>
                  </a:cubicBezTo>
                  <a:cubicBezTo>
                    <a:pt x="2938" y="704"/>
                    <a:pt x="2938" y="704"/>
                    <a:pt x="2931" y="704"/>
                  </a:cubicBezTo>
                  <a:cubicBezTo>
                    <a:pt x="2902" y="696"/>
                    <a:pt x="2880" y="682"/>
                    <a:pt x="2872" y="667"/>
                  </a:cubicBezTo>
                  <a:cubicBezTo>
                    <a:pt x="2865" y="652"/>
                    <a:pt x="2865" y="638"/>
                    <a:pt x="2872" y="623"/>
                  </a:cubicBezTo>
                  <a:cubicBezTo>
                    <a:pt x="2880" y="608"/>
                    <a:pt x="2887" y="579"/>
                    <a:pt x="2880" y="557"/>
                  </a:cubicBezTo>
                  <a:cubicBezTo>
                    <a:pt x="2865" y="528"/>
                    <a:pt x="2836" y="521"/>
                    <a:pt x="2799" y="506"/>
                  </a:cubicBezTo>
                  <a:cubicBezTo>
                    <a:pt x="2792" y="506"/>
                    <a:pt x="2777" y="491"/>
                    <a:pt x="2762" y="476"/>
                  </a:cubicBezTo>
                  <a:cubicBezTo>
                    <a:pt x="2740" y="462"/>
                    <a:pt x="2711" y="440"/>
                    <a:pt x="2674" y="440"/>
                  </a:cubicBezTo>
                  <a:cubicBezTo>
                    <a:pt x="2660" y="440"/>
                    <a:pt x="2645" y="440"/>
                    <a:pt x="2638" y="447"/>
                  </a:cubicBezTo>
                  <a:cubicBezTo>
                    <a:pt x="2616" y="454"/>
                    <a:pt x="2601" y="462"/>
                    <a:pt x="2579" y="469"/>
                  </a:cubicBezTo>
                  <a:cubicBezTo>
                    <a:pt x="2521" y="491"/>
                    <a:pt x="2462" y="513"/>
                    <a:pt x="2418" y="542"/>
                  </a:cubicBezTo>
                  <a:cubicBezTo>
                    <a:pt x="2396" y="564"/>
                    <a:pt x="2374" y="579"/>
                    <a:pt x="2367" y="608"/>
                  </a:cubicBezTo>
                  <a:cubicBezTo>
                    <a:pt x="2367" y="638"/>
                    <a:pt x="2381" y="667"/>
                    <a:pt x="2411" y="696"/>
                  </a:cubicBezTo>
                  <a:lnTo>
                    <a:pt x="2411" y="696"/>
                  </a:lnTo>
                  <a:cubicBezTo>
                    <a:pt x="2433" y="726"/>
                    <a:pt x="2462" y="747"/>
                    <a:pt x="2484" y="762"/>
                  </a:cubicBezTo>
                  <a:cubicBezTo>
                    <a:pt x="2499" y="777"/>
                    <a:pt x="2513" y="784"/>
                    <a:pt x="2521" y="799"/>
                  </a:cubicBezTo>
                  <a:cubicBezTo>
                    <a:pt x="2535" y="821"/>
                    <a:pt x="2528" y="835"/>
                    <a:pt x="2528" y="835"/>
                  </a:cubicBezTo>
                  <a:cubicBezTo>
                    <a:pt x="2528" y="843"/>
                    <a:pt x="2513" y="850"/>
                    <a:pt x="2499" y="857"/>
                  </a:cubicBezTo>
                  <a:cubicBezTo>
                    <a:pt x="2477" y="857"/>
                    <a:pt x="2455" y="865"/>
                    <a:pt x="2440" y="872"/>
                  </a:cubicBezTo>
                  <a:cubicBezTo>
                    <a:pt x="2403" y="880"/>
                    <a:pt x="2359" y="894"/>
                    <a:pt x="2330" y="894"/>
                  </a:cubicBezTo>
                  <a:cubicBezTo>
                    <a:pt x="2315" y="894"/>
                    <a:pt x="2308" y="887"/>
                    <a:pt x="2301" y="887"/>
                  </a:cubicBezTo>
                  <a:cubicBezTo>
                    <a:pt x="2271" y="865"/>
                    <a:pt x="2242" y="857"/>
                    <a:pt x="2213" y="857"/>
                  </a:cubicBezTo>
                  <a:cubicBezTo>
                    <a:pt x="2183" y="857"/>
                    <a:pt x="2154" y="872"/>
                    <a:pt x="2125" y="894"/>
                  </a:cubicBezTo>
                  <a:cubicBezTo>
                    <a:pt x="2110" y="909"/>
                    <a:pt x="2096" y="916"/>
                    <a:pt x="2066" y="916"/>
                  </a:cubicBezTo>
                  <a:cubicBezTo>
                    <a:pt x="2059" y="916"/>
                    <a:pt x="2052" y="916"/>
                    <a:pt x="2037" y="916"/>
                  </a:cubicBezTo>
                  <a:cubicBezTo>
                    <a:pt x="2030" y="916"/>
                    <a:pt x="2015" y="916"/>
                    <a:pt x="2000" y="916"/>
                  </a:cubicBezTo>
                  <a:cubicBezTo>
                    <a:pt x="1964" y="916"/>
                    <a:pt x="1949" y="931"/>
                    <a:pt x="1934" y="953"/>
                  </a:cubicBezTo>
                  <a:cubicBezTo>
                    <a:pt x="1927" y="960"/>
                    <a:pt x="1920" y="975"/>
                    <a:pt x="1890" y="997"/>
                  </a:cubicBezTo>
                  <a:cubicBezTo>
                    <a:pt x="1876" y="1004"/>
                    <a:pt x="1861" y="1019"/>
                    <a:pt x="1854" y="1019"/>
                  </a:cubicBezTo>
                  <a:cubicBezTo>
                    <a:pt x="1810" y="1048"/>
                    <a:pt x="1795" y="1063"/>
                    <a:pt x="1766" y="1121"/>
                  </a:cubicBezTo>
                  <a:cubicBezTo>
                    <a:pt x="1751" y="1143"/>
                    <a:pt x="1744" y="1158"/>
                    <a:pt x="1729" y="1173"/>
                  </a:cubicBezTo>
                  <a:cubicBezTo>
                    <a:pt x="1707" y="1216"/>
                    <a:pt x="1678" y="1253"/>
                    <a:pt x="1714" y="1304"/>
                  </a:cubicBezTo>
                  <a:cubicBezTo>
                    <a:pt x="1729" y="1319"/>
                    <a:pt x="1729" y="1326"/>
                    <a:pt x="1737" y="1341"/>
                  </a:cubicBezTo>
                  <a:cubicBezTo>
                    <a:pt x="1737" y="1356"/>
                    <a:pt x="1744" y="1371"/>
                    <a:pt x="1773" y="1392"/>
                  </a:cubicBezTo>
                  <a:cubicBezTo>
                    <a:pt x="1788" y="1407"/>
                    <a:pt x="1802" y="1414"/>
                    <a:pt x="1824" y="1414"/>
                  </a:cubicBezTo>
                  <a:cubicBezTo>
                    <a:pt x="1861" y="1414"/>
                    <a:pt x="1890" y="1392"/>
                    <a:pt x="1920" y="1363"/>
                  </a:cubicBezTo>
                  <a:cubicBezTo>
                    <a:pt x="1964" y="1334"/>
                    <a:pt x="1993" y="1319"/>
                    <a:pt x="2037" y="1312"/>
                  </a:cubicBezTo>
                  <a:cubicBezTo>
                    <a:pt x="2044" y="1312"/>
                    <a:pt x="2052" y="1312"/>
                    <a:pt x="2052" y="1312"/>
                  </a:cubicBezTo>
                  <a:cubicBezTo>
                    <a:pt x="2059" y="1319"/>
                    <a:pt x="2059" y="1326"/>
                    <a:pt x="2059" y="1326"/>
                  </a:cubicBezTo>
                  <a:cubicBezTo>
                    <a:pt x="2059" y="1341"/>
                    <a:pt x="2059" y="1356"/>
                    <a:pt x="2066" y="1378"/>
                  </a:cubicBezTo>
                  <a:cubicBezTo>
                    <a:pt x="2081" y="1444"/>
                    <a:pt x="2088" y="1473"/>
                    <a:pt x="2110" y="1510"/>
                  </a:cubicBezTo>
                  <a:cubicBezTo>
                    <a:pt x="2125" y="1532"/>
                    <a:pt x="2125" y="1532"/>
                    <a:pt x="2103" y="1575"/>
                  </a:cubicBezTo>
                  <a:cubicBezTo>
                    <a:pt x="2088" y="1597"/>
                    <a:pt x="2081" y="1611"/>
                    <a:pt x="2066" y="1619"/>
                  </a:cubicBezTo>
                  <a:cubicBezTo>
                    <a:pt x="2052" y="1633"/>
                    <a:pt x="2037" y="1641"/>
                    <a:pt x="2022" y="1663"/>
                  </a:cubicBezTo>
                  <a:cubicBezTo>
                    <a:pt x="2015" y="1670"/>
                    <a:pt x="2008" y="1677"/>
                    <a:pt x="2000" y="1684"/>
                  </a:cubicBezTo>
                  <a:cubicBezTo>
                    <a:pt x="1978" y="1706"/>
                    <a:pt x="1942" y="1751"/>
                    <a:pt x="1993" y="1802"/>
                  </a:cubicBezTo>
                  <a:cubicBezTo>
                    <a:pt x="1964" y="1809"/>
                    <a:pt x="1949" y="1824"/>
                    <a:pt x="1927" y="1838"/>
                  </a:cubicBezTo>
                  <a:cubicBezTo>
                    <a:pt x="1920" y="1831"/>
                    <a:pt x="1905" y="1831"/>
                    <a:pt x="1890" y="1831"/>
                  </a:cubicBezTo>
                  <a:cubicBezTo>
                    <a:pt x="1876" y="1831"/>
                    <a:pt x="1854" y="1824"/>
                    <a:pt x="1839" y="1824"/>
                  </a:cubicBezTo>
                  <a:cubicBezTo>
                    <a:pt x="1810" y="1816"/>
                    <a:pt x="1781" y="1809"/>
                    <a:pt x="1751" y="1809"/>
                  </a:cubicBezTo>
                  <a:cubicBezTo>
                    <a:pt x="1722" y="1809"/>
                    <a:pt x="1692" y="1816"/>
                    <a:pt x="1671" y="1838"/>
                  </a:cubicBezTo>
                  <a:cubicBezTo>
                    <a:pt x="1649" y="1853"/>
                    <a:pt x="1634" y="1860"/>
                    <a:pt x="1627" y="1868"/>
                  </a:cubicBezTo>
                  <a:cubicBezTo>
                    <a:pt x="1583" y="1882"/>
                    <a:pt x="1568" y="1904"/>
                    <a:pt x="1583" y="1970"/>
                  </a:cubicBezTo>
                  <a:cubicBezTo>
                    <a:pt x="1597" y="2044"/>
                    <a:pt x="1619" y="2088"/>
                    <a:pt x="1649" y="2117"/>
                  </a:cubicBezTo>
                  <a:cubicBezTo>
                    <a:pt x="1649" y="2124"/>
                    <a:pt x="1641" y="2124"/>
                    <a:pt x="1641" y="2124"/>
                  </a:cubicBezTo>
                  <a:cubicBezTo>
                    <a:pt x="1627" y="2139"/>
                    <a:pt x="1619" y="2146"/>
                    <a:pt x="1605" y="2153"/>
                  </a:cubicBezTo>
                  <a:cubicBezTo>
                    <a:pt x="1583" y="2168"/>
                    <a:pt x="1568" y="2183"/>
                    <a:pt x="1539" y="2227"/>
                  </a:cubicBezTo>
                  <a:cubicBezTo>
                    <a:pt x="1531" y="2249"/>
                    <a:pt x="1517" y="2256"/>
                    <a:pt x="1509" y="2271"/>
                  </a:cubicBezTo>
                  <a:cubicBezTo>
                    <a:pt x="1488" y="2285"/>
                    <a:pt x="1473" y="2307"/>
                    <a:pt x="1473" y="2359"/>
                  </a:cubicBezTo>
                  <a:cubicBezTo>
                    <a:pt x="1473" y="2395"/>
                    <a:pt x="1473" y="2410"/>
                    <a:pt x="1480" y="2425"/>
                  </a:cubicBezTo>
                  <a:cubicBezTo>
                    <a:pt x="1480" y="2425"/>
                    <a:pt x="1473" y="2425"/>
                    <a:pt x="1465" y="2432"/>
                  </a:cubicBezTo>
                  <a:cubicBezTo>
                    <a:pt x="1458" y="2439"/>
                    <a:pt x="1451" y="2439"/>
                    <a:pt x="1443" y="2447"/>
                  </a:cubicBezTo>
                  <a:cubicBezTo>
                    <a:pt x="1407" y="2469"/>
                    <a:pt x="1400" y="2476"/>
                    <a:pt x="1370" y="2527"/>
                  </a:cubicBezTo>
                  <a:cubicBezTo>
                    <a:pt x="1363" y="2542"/>
                    <a:pt x="1355" y="2556"/>
                    <a:pt x="1355" y="2564"/>
                  </a:cubicBezTo>
                  <a:cubicBezTo>
                    <a:pt x="1341" y="2586"/>
                    <a:pt x="1341" y="2593"/>
                    <a:pt x="1290" y="2608"/>
                  </a:cubicBezTo>
                  <a:cubicBezTo>
                    <a:pt x="1268" y="2608"/>
                    <a:pt x="1246" y="2615"/>
                    <a:pt x="1238" y="2615"/>
                  </a:cubicBezTo>
                  <a:cubicBezTo>
                    <a:pt x="1209" y="2615"/>
                    <a:pt x="1202" y="2608"/>
                    <a:pt x="1187" y="2579"/>
                  </a:cubicBezTo>
                  <a:cubicBezTo>
                    <a:pt x="1172" y="2549"/>
                    <a:pt x="1150" y="2520"/>
                    <a:pt x="1121" y="2520"/>
                  </a:cubicBezTo>
                  <a:cubicBezTo>
                    <a:pt x="1084" y="2520"/>
                    <a:pt x="1070" y="2556"/>
                    <a:pt x="1062" y="2571"/>
                  </a:cubicBezTo>
                  <a:cubicBezTo>
                    <a:pt x="1055" y="2586"/>
                    <a:pt x="1055" y="2601"/>
                    <a:pt x="1048" y="2608"/>
                  </a:cubicBezTo>
                  <a:cubicBezTo>
                    <a:pt x="1040" y="2644"/>
                    <a:pt x="1033" y="2652"/>
                    <a:pt x="997" y="2674"/>
                  </a:cubicBezTo>
                  <a:cubicBezTo>
                    <a:pt x="974" y="2681"/>
                    <a:pt x="974" y="2681"/>
                    <a:pt x="974" y="2681"/>
                  </a:cubicBezTo>
                  <a:cubicBezTo>
                    <a:pt x="916" y="2710"/>
                    <a:pt x="887" y="2725"/>
                    <a:pt x="864" y="2784"/>
                  </a:cubicBezTo>
                  <a:cubicBezTo>
                    <a:pt x="857" y="2798"/>
                    <a:pt x="843" y="2798"/>
                    <a:pt x="828" y="2806"/>
                  </a:cubicBezTo>
                  <a:cubicBezTo>
                    <a:pt x="806" y="2820"/>
                    <a:pt x="777" y="2842"/>
                    <a:pt x="784" y="2894"/>
                  </a:cubicBezTo>
                  <a:cubicBezTo>
                    <a:pt x="784" y="2930"/>
                    <a:pt x="799" y="2945"/>
                    <a:pt x="813" y="2952"/>
                  </a:cubicBezTo>
                  <a:cubicBezTo>
                    <a:pt x="813" y="2960"/>
                    <a:pt x="821" y="2967"/>
                    <a:pt x="821" y="2996"/>
                  </a:cubicBezTo>
                  <a:cubicBezTo>
                    <a:pt x="828" y="3011"/>
                    <a:pt x="828" y="3033"/>
                    <a:pt x="835" y="3047"/>
                  </a:cubicBezTo>
                  <a:cubicBezTo>
                    <a:pt x="843" y="3084"/>
                    <a:pt x="843" y="3099"/>
                    <a:pt x="813" y="3143"/>
                  </a:cubicBezTo>
                  <a:cubicBezTo>
                    <a:pt x="791" y="3172"/>
                    <a:pt x="769" y="3201"/>
                    <a:pt x="762" y="3223"/>
                  </a:cubicBezTo>
                  <a:cubicBezTo>
                    <a:pt x="755" y="3231"/>
                    <a:pt x="755" y="3231"/>
                    <a:pt x="755" y="3231"/>
                  </a:cubicBezTo>
                  <a:cubicBezTo>
                    <a:pt x="755" y="3238"/>
                    <a:pt x="755" y="3238"/>
                    <a:pt x="755" y="3238"/>
                  </a:cubicBezTo>
                  <a:cubicBezTo>
                    <a:pt x="755" y="3282"/>
                    <a:pt x="755" y="3333"/>
                    <a:pt x="784" y="3377"/>
                  </a:cubicBezTo>
                  <a:cubicBezTo>
                    <a:pt x="821" y="3443"/>
                    <a:pt x="843" y="3531"/>
                    <a:pt x="821" y="3575"/>
                  </a:cubicBezTo>
                  <a:cubicBezTo>
                    <a:pt x="813" y="3582"/>
                    <a:pt x="806" y="3597"/>
                    <a:pt x="799" y="3619"/>
                  </a:cubicBezTo>
                  <a:cubicBezTo>
                    <a:pt x="784" y="3641"/>
                    <a:pt x="755" y="3700"/>
                    <a:pt x="740" y="3700"/>
                  </a:cubicBezTo>
                  <a:cubicBezTo>
                    <a:pt x="733" y="3700"/>
                    <a:pt x="725" y="3692"/>
                    <a:pt x="711" y="3678"/>
                  </a:cubicBezTo>
                  <a:cubicBezTo>
                    <a:pt x="696" y="3663"/>
                    <a:pt x="681" y="3641"/>
                    <a:pt x="645" y="3634"/>
                  </a:cubicBezTo>
                  <a:cubicBezTo>
                    <a:pt x="645" y="3634"/>
                    <a:pt x="638" y="3634"/>
                    <a:pt x="630" y="3634"/>
                  </a:cubicBezTo>
                  <a:cubicBezTo>
                    <a:pt x="579" y="3634"/>
                    <a:pt x="550" y="3670"/>
                    <a:pt x="528" y="3700"/>
                  </a:cubicBezTo>
                  <a:cubicBezTo>
                    <a:pt x="520" y="3714"/>
                    <a:pt x="513" y="3722"/>
                    <a:pt x="506" y="3729"/>
                  </a:cubicBezTo>
                  <a:cubicBezTo>
                    <a:pt x="476" y="3758"/>
                    <a:pt x="440" y="3795"/>
                    <a:pt x="447" y="3846"/>
                  </a:cubicBezTo>
                  <a:cubicBezTo>
                    <a:pt x="454" y="3868"/>
                    <a:pt x="462" y="3890"/>
                    <a:pt x="469" y="3912"/>
                  </a:cubicBezTo>
                  <a:cubicBezTo>
                    <a:pt x="476" y="3934"/>
                    <a:pt x="491" y="3956"/>
                    <a:pt x="483" y="3978"/>
                  </a:cubicBezTo>
                  <a:cubicBezTo>
                    <a:pt x="483" y="3993"/>
                    <a:pt x="483" y="4000"/>
                    <a:pt x="483" y="4015"/>
                  </a:cubicBezTo>
                  <a:cubicBezTo>
                    <a:pt x="476" y="4037"/>
                    <a:pt x="476" y="4051"/>
                    <a:pt x="447" y="4073"/>
                  </a:cubicBezTo>
                  <a:cubicBezTo>
                    <a:pt x="440" y="4088"/>
                    <a:pt x="440" y="4088"/>
                    <a:pt x="440" y="4088"/>
                  </a:cubicBezTo>
                  <a:cubicBezTo>
                    <a:pt x="410" y="4110"/>
                    <a:pt x="396" y="4132"/>
                    <a:pt x="403" y="4161"/>
                  </a:cubicBezTo>
                  <a:cubicBezTo>
                    <a:pt x="410" y="4183"/>
                    <a:pt x="447" y="4191"/>
                    <a:pt x="476" y="4198"/>
                  </a:cubicBezTo>
                  <a:cubicBezTo>
                    <a:pt x="535" y="4198"/>
                    <a:pt x="564" y="4227"/>
                    <a:pt x="593" y="4264"/>
                  </a:cubicBezTo>
                  <a:cubicBezTo>
                    <a:pt x="601" y="4271"/>
                    <a:pt x="601" y="4271"/>
                    <a:pt x="601" y="4271"/>
                  </a:cubicBezTo>
                  <a:cubicBezTo>
                    <a:pt x="615" y="4286"/>
                    <a:pt x="623" y="4301"/>
                    <a:pt x="623" y="4322"/>
                  </a:cubicBezTo>
                  <a:cubicBezTo>
                    <a:pt x="630" y="4330"/>
                    <a:pt x="630" y="4344"/>
                    <a:pt x="638" y="4366"/>
                  </a:cubicBezTo>
                  <a:cubicBezTo>
                    <a:pt x="652" y="4396"/>
                    <a:pt x="667" y="4410"/>
                    <a:pt x="681" y="4425"/>
                  </a:cubicBezTo>
                  <a:cubicBezTo>
                    <a:pt x="689" y="4425"/>
                    <a:pt x="696" y="4432"/>
                    <a:pt x="703" y="4447"/>
                  </a:cubicBezTo>
                  <a:cubicBezTo>
                    <a:pt x="718" y="4469"/>
                    <a:pt x="740" y="4513"/>
                    <a:pt x="733" y="4557"/>
                  </a:cubicBezTo>
                  <a:cubicBezTo>
                    <a:pt x="725" y="4594"/>
                    <a:pt x="718" y="4608"/>
                    <a:pt x="718" y="4608"/>
                  </a:cubicBezTo>
                  <a:cubicBezTo>
                    <a:pt x="718" y="4608"/>
                    <a:pt x="711" y="4608"/>
                    <a:pt x="703" y="4601"/>
                  </a:cubicBezTo>
                  <a:cubicBezTo>
                    <a:pt x="681" y="4586"/>
                    <a:pt x="652" y="4579"/>
                    <a:pt x="630" y="4579"/>
                  </a:cubicBezTo>
                  <a:cubicBezTo>
                    <a:pt x="593" y="4579"/>
                    <a:pt x="564" y="4594"/>
                    <a:pt x="550" y="4608"/>
                  </a:cubicBezTo>
                  <a:cubicBezTo>
                    <a:pt x="535" y="4623"/>
                    <a:pt x="535" y="4638"/>
                    <a:pt x="535" y="4660"/>
                  </a:cubicBezTo>
                  <a:cubicBezTo>
                    <a:pt x="542" y="4689"/>
                    <a:pt x="571" y="4696"/>
                    <a:pt x="593" y="4703"/>
                  </a:cubicBezTo>
                  <a:lnTo>
                    <a:pt x="601" y="4703"/>
                  </a:lnTo>
                  <a:cubicBezTo>
                    <a:pt x="608" y="4718"/>
                    <a:pt x="601" y="4740"/>
                    <a:pt x="593" y="4747"/>
                  </a:cubicBezTo>
                  <a:cubicBezTo>
                    <a:pt x="593" y="4755"/>
                    <a:pt x="586" y="4755"/>
                    <a:pt x="586" y="4755"/>
                  </a:cubicBezTo>
                  <a:cubicBezTo>
                    <a:pt x="586" y="4755"/>
                    <a:pt x="579" y="4755"/>
                    <a:pt x="571" y="4747"/>
                  </a:cubicBezTo>
                  <a:cubicBezTo>
                    <a:pt x="557" y="4740"/>
                    <a:pt x="542" y="4733"/>
                    <a:pt x="535" y="4725"/>
                  </a:cubicBezTo>
                  <a:cubicBezTo>
                    <a:pt x="513" y="4711"/>
                    <a:pt x="491" y="4696"/>
                    <a:pt x="469" y="4696"/>
                  </a:cubicBezTo>
                  <a:cubicBezTo>
                    <a:pt x="447" y="4696"/>
                    <a:pt x="432" y="4703"/>
                    <a:pt x="410" y="4725"/>
                  </a:cubicBezTo>
                  <a:cubicBezTo>
                    <a:pt x="396" y="4747"/>
                    <a:pt x="374" y="4762"/>
                    <a:pt x="359" y="4777"/>
                  </a:cubicBezTo>
                  <a:cubicBezTo>
                    <a:pt x="337" y="4784"/>
                    <a:pt x="322" y="4799"/>
                    <a:pt x="308" y="4813"/>
                  </a:cubicBezTo>
                  <a:cubicBezTo>
                    <a:pt x="300" y="4821"/>
                    <a:pt x="286" y="4828"/>
                    <a:pt x="271" y="4843"/>
                  </a:cubicBezTo>
                  <a:cubicBezTo>
                    <a:pt x="242" y="4865"/>
                    <a:pt x="205" y="4894"/>
                    <a:pt x="205" y="4923"/>
                  </a:cubicBezTo>
                  <a:cubicBezTo>
                    <a:pt x="205" y="4938"/>
                    <a:pt x="205" y="4953"/>
                    <a:pt x="220" y="4967"/>
                  </a:cubicBezTo>
                  <a:cubicBezTo>
                    <a:pt x="256" y="5004"/>
                    <a:pt x="293" y="5019"/>
                    <a:pt x="315" y="5026"/>
                  </a:cubicBezTo>
                  <a:cubicBezTo>
                    <a:pt x="322" y="5026"/>
                    <a:pt x="322" y="5026"/>
                    <a:pt x="322" y="5026"/>
                  </a:cubicBezTo>
                  <a:cubicBezTo>
                    <a:pt x="337" y="5033"/>
                    <a:pt x="344" y="5048"/>
                    <a:pt x="337" y="5077"/>
                  </a:cubicBezTo>
                  <a:lnTo>
                    <a:pt x="337" y="5077"/>
                  </a:lnTo>
                  <a:cubicBezTo>
                    <a:pt x="337" y="5084"/>
                    <a:pt x="337" y="5092"/>
                    <a:pt x="337" y="5092"/>
                  </a:cubicBezTo>
                  <a:cubicBezTo>
                    <a:pt x="330" y="5092"/>
                    <a:pt x="330" y="5092"/>
                    <a:pt x="322" y="5084"/>
                  </a:cubicBezTo>
                  <a:cubicBezTo>
                    <a:pt x="308" y="5084"/>
                    <a:pt x="293" y="5077"/>
                    <a:pt x="278" y="5070"/>
                  </a:cubicBezTo>
                  <a:cubicBezTo>
                    <a:pt x="256" y="5063"/>
                    <a:pt x="234" y="5055"/>
                    <a:pt x="212" y="5055"/>
                  </a:cubicBezTo>
                  <a:cubicBezTo>
                    <a:pt x="190" y="5055"/>
                    <a:pt x="176" y="5063"/>
                    <a:pt x="169" y="5077"/>
                  </a:cubicBezTo>
                  <a:cubicBezTo>
                    <a:pt x="154" y="5099"/>
                    <a:pt x="139" y="5129"/>
                    <a:pt x="132" y="5158"/>
                  </a:cubicBezTo>
                  <a:cubicBezTo>
                    <a:pt x="132" y="5165"/>
                    <a:pt x="132" y="5172"/>
                    <a:pt x="132" y="5180"/>
                  </a:cubicBezTo>
                  <a:cubicBezTo>
                    <a:pt x="117" y="5180"/>
                    <a:pt x="95" y="5180"/>
                    <a:pt x="66" y="5209"/>
                  </a:cubicBezTo>
                  <a:cubicBezTo>
                    <a:pt x="59" y="5216"/>
                    <a:pt x="0" y="5275"/>
                    <a:pt x="7" y="5334"/>
                  </a:cubicBezTo>
                  <a:cubicBezTo>
                    <a:pt x="15" y="5356"/>
                    <a:pt x="29" y="5370"/>
                    <a:pt x="51" y="5385"/>
                  </a:cubicBezTo>
                  <a:cubicBezTo>
                    <a:pt x="59" y="5385"/>
                    <a:pt x="73" y="5392"/>
                    <a:pt x="88" y="5400"/>
                  </a:cubicBezTo>
                  <a:cubicBezTo>
                    <a:pt x="117" y="5414"/>
                    <a:pt x="132" y="5414"/>
                    <a:pt x="147" y="5458"/>
                  </a:cubicBezTo>
                  <a:cubicBezTo>
                    <a:pt x="161" y="5524"/>
                    <a:pt x="183" y="5597"/>
                    <a:pt x="242" y="5620"/>
                  </a:cubicBezTo>
                  <a:cubicBezTo>
                    <a:pt x="256" y="5627"/>
                    <a:pt x="278" y="5634"/>
                    <a:pt x="308" y="5634"/>
                  </a:cubicBezTo>
                  <a:cubicBezTo>
                    <a:pt x="359" y="5634"/>
                    <a:pt x="403" y="5627"/>
                    <a:pt x="410" y="5620"/>
                  </a:cubicBezTo>
                  <a:cubicBezTo>
                    <a:pt x="418" y="5620"/>
                    <a:pt x="418" y="5620"/>
                    <a:pt x="418" y="5620"/>
                  </a:cubicBezTo>
                  <a:cubicBezTo>
                    <a:pt x="425" y="5620"/>
                    <a:pt x="425" y="5620"/>
                    <a:pt x="425" y="5620"/>
                  </a:cubicBezTo>
                  <a:cubicBezTo>
                    <a:pt x="447" y="5597"/>
                    <a:pt x="469" y="5590"/>
                    <a:pt x="491" y="5583"/>
                  </a:cubicBezTo>
                  <a:cubicBezTo>
                    <a:pt x="513" y="5575"/>
                    <a:pt x="535" y="5568"/>
                    <a:pt x="557" y="5546"/>
                  </a:cubicBezTo>
                  <a:cubicBezTo>
                    <a:pt x="593" y="5524"/>
                    <a:pt x="615" y="5517"/>
                    <a:pt x="667" y="5495"/>
                  </a:cubicBezTo>
                  <a:cubicBezTo>
                    <a:pt x="696" y="5488"/>
                    <a:pt x="696" y="5488"/>
                    <a:pt x="696" y="5488"/>
                  </a:cubicBezTo>
                  <a:cubicBezTo>
                    <a:pt x="733" y="5473"/>
                    <a:pt x="733" y="5473"/>
                    <a:pt x="733" y="5473"/>
                  </a:cubicBezTo>
                  <a:cubicBezTo>
                    <a:pt x="791" y="5451"/>
                    <a:pt x="857" y="5422"/>
                    <a:pt x="887" y="5422"/>
                  </a:cubicBezTo>
                  <a:cubicBezTo>
                    <a:pt x="894" y="5414"/>
                    <a:pt x="894" y="5414"/>
                    <a:pt x="894" y="5414"/>
                  </a:cubicBezTo>
                  <a:cubicBezTo>
                    <a:pt x="916" y="5414"/>
                    <a:pt x="938" y="5407"/>
                    <a:pt x="960" y="5407"/>
                  </a:cubicBezTo>
                  <a:cubicBezTo>
                    <a:pt x="982" y="5407"/>
                    <a:pt x="997" y="5414"/>
                    <a:pt x="1011" y="5429"/>
                  </a:cubicBezTo>
                  <a:cubicBezTo>
                    <a:pt x="1026" y="5436"/>
                    <a:pt x="1033" y="5451"/>
                    <a:pt x="1040" y="5458"/>
                  </a:cubicBezTo>
                  <a:cubicBezTo>
                    <a:pt x="1070" y="5488"/>
                    <a:pt x="1092" y="5510"/>
                    <a:pt x="1121" y="5539"/>
                  </a:cubicBezTo>
                  <a:cubicBezTo>
                    <a:pt x="1128" y="5561"/>
                    <a:pt x="1143" y="5575"/>
                    <a:pt x="1158" y="5590"/>
                  </a:cubicBezTo>
                  <a:cubicBezTo>
                    <a:pt x="1194" y="5620"/>
                    <a:pt x="1209" y="5641"/>
                    <a:pt x="1209" y="5671"/>
                  </a:cubicBezTo>
                  <a:cubicBezTo>
                    <a:pt x="1194" y="5744"/>
                    <a:pt x="1187" y="5839"/>
                    <a:pt x="1209" y="5898"/>
                  </a:cubicBezTo>
                  <a:cubicBezTo>
                    <a:pt x="1224" y="5942"/>
                    <a:pt x="1238" y="5949"/>
                    <a:pt x="1260" y="5956"/>
                  </a:cubicBezTo>
                  <a:cubicBezTo>
                    <a:pt x="1260" y="5956"/>
                    <a:pt x="1268" y="5964"/>
                    <a:pt x="1275" y="5971"/>
                  </a:cubicBezTo>
                  <a:cubicBezTo>
                    <a:pt x="1282" y="5979"/>
                    <a:pt x="1282" y="6008"/>
                    <a:pt x="1282" y="6037"/>
                  </a:cubicBezTo>
                  <a:cubicBezTo>
                    <a:pt x="1282" y="6059"/>
                    <a:pt x="1282" y="6081"/>
                    <a:pt x="1282" y="6103"/>
                  </a:cubicBezTo>
                  <a:cubicBezTo>
                    <a:pt x="1282" y="6110"/>
                    <a:pt x="1290" y="6118"/>
                    <a:pt x="1290" y="6125"/>
                  </a:cubicBezTo>
                  <a:cubicBezTo>
                    <a:pt x="1297" y="6176"/>
                    <a:pt x="1304" y="6242"/>
                    <a:pt x="1355" y="6250"/>
                  </a:cubicBezTo>
                  <a:cubicBezTo>
                    <a:pt x="1370" y="6257"/>
                    <a:pt x="1385" y="6264"/>
                    <a:pt x="1400" y="6272"/>
                  </a:cubicBezTo>
                  <a:cubicBezTo>
                    <a:pt x="1414" y="6279"/>
                    <a:pt x="1436" y="6294"/>
                    <a:pt x="1465" y="6301"/>
                  </a:cubicBezTo>
                  <a:cubicBezTo>
                    <a:pt x="1465" y="6308"/>
                    <a:pt x="1458" y="6315"/>
                    <a:pt x="1451" y="6323"/>
                  </a:cubicBezTo>
                  <a:cubicBezTo>
                    <a:pt x="1429" y="6352"/>
                    <a:pt x="1414" y="6374"/>
                    <a:pt x="1407" y="6396"/>
                  </a:cubicBezTo>
                  <a:cubicBezTo>
                    <a:pt x="1392" y="6425"/>
                    <a:pt x="1392" y="6433"/>
                    <a:pt x="1355" y="6440"/>
                  </a:cubicBezTo>
                  <a:cubicBezTo>
                    <a:pt x="1275" y="6455"/>
                    <a:pt x="1238" y="6477"/>
                    <a:pt x="1224" y="6550"/>
                  </a:cubicBezTo>
                  <a:cubicBezTo>
                    <a:pt x="1209" y="6616"/>
                    <a:pt x="1231" y="6667"/>
                    <a:pt x="1275" y="6704"/>
                  </a:cubicBezTo>
                  <a:cubicBezTo>
                    <a:pt x="1312" y="6733"/>
                    <a:pt x="1333" y="6784"/>
                    <a:pt x="1341" y="6821"/>
                  </a:cubicBezTo>
                  <a:cubicBezTo>
                    <a:pt x="1348" y="6851"/>
                    <a:pt x="1363" y="6872"/>
                    <a:pt x="1370" y="6894"/>
                  </a:cubicBezTo>
                  <a:cubicBezTo>
                    <a:pt x="1385" y="6916"/>
                    <a:pt x="1385" y="6916"/>
                    <a:pt x="1385" y="6916"/>
                  </a:cubicBezTo>
                  <a:cubicBezTo>
                    <a:pt x="1407" y="6909"/>
                    <a:pt x="1407" y="6909"/>
                    <a:pt x="1407" y="6909"/>
                  </a:cubicBezTo>
                  <a:cubicBezTo>
                    <a:pt x="1465" y="6887"/>
                    <a:pt x="1465" y="6887"/>
                    <a:pt x="1465" y="6887"/>
                  </a:cubicBezTo>
                  <a:cubicBezTo>
                    <a:pt x="1480" y="6887"/>
                    <a:pt x="1524" y="6946"/>
                    <a:pt x="1546" y="6982"/>
                  </a:cubicBezTo>
                  <a:cubicBezTo>
                    <a:pt x="1583" y="7034"/>
                    <a:pt x="1619" y="7085"/>
                    <a:pt x="1663" y="7107"/>
                  </a:cubicBezTo>
                  <a:cubicBezTo>
                    <a:pt x="1678" y="7122"/>
                    <a:pt x="1700" y="7122"/>
                    <a:pt x="1714" y="7122"/>
                  </a:cubicBezTo>
                  <a:cubicBezTo>
                    <a:pt x="1744" y="7122"/>
                    <a:pt x="1766" y="7114"/>
                    <a:pt x="1788" y="7092"/>
                  </a:cubicBezTo>
                  <a:cubicBezTo>
                    <a:pt x="1817" y="7048"/>
                    <a:pt x="1824" y="6990"/>
                    <a:pt x="1810" y="6931"/>
                  </a:cubicBezTo>
                  <a:cubicBezTo>
                    <a:pt x="1795" y="6880"/>
                    <a:pt x="1802" y="6843"/>
                    <a:pt x="1817" y="6814"/>
                  </a:cubicBezTo>
                  <a:cubicBezTo>
                    <a:pt x="1832" y="6799"/>
                    <a:pt x="1846" y="6784"/>
                    <a:pt x="1876" y="6784"/>
                  </a:cubicBezTo>
                  <a:cubicBezTo>
                    <a:pt x="1883" y="6784"/>
                    <a:pt x="1890" y="6784"/>
                    <a:pt x="1890" y="6784"/>
                  </a:cubicBezTo>
                  <a:cubicBezTo>
                    <a:pt x="1920" y="6784"/>
                    <a:pt x="1920" y="6784"/>
                    <a:pt x="1942" y="6909"/>
                  </a:cubicBezTo>
                  <a:cubicBezTo>
                    <a:pt x="1942" y="6939"/>
                    <a:pt x="1949" y="6968"/>
                    <a:pt x="1956" y="6997"/>
                  </a:cubicBezTo>
                  <a:cubicBezTo>
                    <a:pt x="1971" y="7092"/>
                    <a:pt x="2030" y="7144"/>
                    <a:pt x="2118" y="7144"/>
                  </a:cubicBezTo>
                  <a:cubicBezTo>
                    <a:pt x="2162" y="7144"/>
                    <a:pt x="2205" y="7129"/>
                    <a:pt x="2235" y="7114"/>
                  </a:cubicBezTo>
                  <a:cubicBezTo>
                    <a:pt x="2257" y="7158"/>
                    <a:pt x="2301" y="7173"/>
                    <a:pt x="2381" y="7173"/>
                  </a:cubicBezTo>
                  <a:cubicBezTo>
                    <a:pt x="2396" y="7173"/>
                    <a:pt x="2396" y="7173"/>
                    <a:pt x="2396" y="7173"/>
                  </a:cubicBezTo>
                  <a:lnTo>
                    <a:pt x="2396" y="7173"/>
                  </a:lnTo>
                  <a:cubicBezTo>
                    <a:pt x="2396" y="7173"/>
                    <a:pt x="2396" y="7180"/>
                    <a:pt x="2389" y="7188"/>
                  </a:cubicBezTo>
                  <a:cubicBezTo>
                    <a:pt x="2381" y="7210"/>
                    <a:pt x="2359" y="7224"/>
                    <a:pt x="2345" y="7224"/>
                  </a:cubicBezTo>
                  <a:cubicBezTo>
                    <a:pt x="2337" y="7224"/>
                    <a:pt x="2330" y="7224"/>
                    <a:pt x="2323" y="7224"/>
                  </a:cubicBezTo>
                  <a:cubicBezTo>
                    <a:pt x="2257" y="7232"/>
                    <a:pt x="2257" y="7261"/>
                    <a:pt x="2250" y="7356"/>
                  </a:cubicBezTo>
                  <a:cubicBezTo>
                    <a:pt x="2250" y="7371"/>
                    <a:pt x="2250" y="7385"/>
                    <a:pt x="2250" y="7407"/>
                  </a:cubicBezTo>
                  <a:cubicBezTo>
                    <a:pt x="2250" y="7451"/>
                    <a:pt x="2250" y="7481"/>
                    <a:pt x="2271" y="7495"/>
                  </a:cubicBezTo>
                  <a:cubicBezTo>
                    <a:pt x="2279" y="7503"/>
                    <a:pt x="2293" y="7510"/>
                    <a:pt x="2308" y="7510"/>
                  </a:cubicBezTo>
                  <a:cubicBezTo>
                    <a:pt x="2345" y="7510"/>
                    <a:pt x="2381" y="7473"/>
                    <a:pt x="2440" y="7422"/>
                  </a:cubicBezTo>
                  <a:cubicBezTo>
                    <a:pt x="2455" y="7407"/>
                    <a:pt x="2477" y="7385"/>
                    <a:pt x="2484" y="7385"/>
                  </a:cubicBezTo>
                  <a:cubicBezTo>
                    <a:pt x="2528" y="7363"/>
                    <a:pt x="2535" y="7334"/>
                    <a:pt x="2535" y="7305"/>
                  </a:cubicBezTo>
                  <a:cubicBezTo>
                    <a:pt x="2535" y="7283"/>
                    <a:pt x="2543" y="7268"/>
                    <a:pt x="2550" y="7239"/>
                  </a:cubicBezTo>
                  <a:cubicBezTo>
                    <a:pt x="2550" y="7224"/>
                    <a:pt x="2564" y="7173"/>
                    <a:pt x="2579" y="7173"/>
                  </a:cubicBezTo>
                  <a:cubicBezTo>
                    <a:pt x="2587" y="7173"/>
                    <a:pt x="2594" y="7180"/>
                    <a:pt x="2623" y="7202"/>
                  </a:cubicBezTo>
                  <a:cubicBezTo>
                    <a:pt x="2645" y="7217"/>
                    <a:pt x="2667" y="7224"/>
                    <a:pt x="2689" y="7224"/>
                  </a:cubicBezTo>
                  <a:cubicBezTo>
                    <a:pt x="2733" y="7224"/>
                    <a:pt x="2748" y="7180"/>
                    <a:pt x="2762" y="7151"/>
                  </a:cubicBezTo>
                  <a:cubicBezTo>
                    <a:pt x="2770" y="7136"/>
                    <a:pt x="2777" y="7122"/>
                    <a:pt x="2784" y="7114"/>
                  </a:cubicBezTo>
                  <a:cubicBezTo>
                    <a:pt x="2784" y="7107"/>
                    <a:pt x="2784" y="7107"/>
                    <a:pt x="2799" y="7107"/>
                  </a:cubicBezTo>
                  <a:cubicBezTo>
                    <a:pt x="2828" y="7107"/>
                    <a:pt x="2872" y="7136"/>
                    <a:pt x="2887" y="7144"/>
                  </a:cubicBezTo>
                  <a:cubicBezTo>
                    <a:pt x="2931" y="7100"/>
                    <a:pt x="2931" y="7100"/>
                    <a:pt x="2931" y="7100"/>
                  </a:cubicBezTo>
                  <a:cubicBezTo>
                    <a:pt x="2850" y="6990"/>
                    <a:pt x="2850" y="6990"/>
                    <a:pt x="2850" y="6990"/>
                  </a:cubicBezTo>
                  <a:cubicBezTo>
                    <a:pt x="2887" y="6960"/>
                    <a:pt x="2887" y="6960"/>
                    <a:pt x="2887" y="6960"/>
                  </a:cubicBezTo>
                  <a:lnTo>
                    <a:pt x="2887" y="6960"/>
                  </a:lnTo>
                  <a:cubicBezTo>
                    <a:pt x="2894" y="6960"/>
                    <a:pt x="2894" y="6960"/>
                    <a:pt x="2894" y="6960"/>
                  </a:cubicBezTo>
                  <a:cubicBezTo>
                    <a:pt x="2902" y="6946"/>
                    <a:pt x="2902" y="6946"/>
                    <a:pt x="2902" y="6946"/>
                  </a:cubicBezTo>
                  <a:cubicBezTo>
                    <a:pt x="2902" y="6931"/>
                    <a:pt x="2902" y="6931"/>
                    <a:pt x="2902" y="6931"/>
                  </a:cubicBezTo>
                  <a:cubicBezTo>
                    <a:pt x="2902" y="6902"/>
                    <a:pt x="2894" y="6880"/>
                    <a:pt x="2880" y="6865"/>
                  </a:cubicBezTo>
                  <a:cubicBezTo>
                    <a:pt x="2872" y="6843"/>
                    <a:pt x="2858" y="6836"/>
                    <a:pt x="2828" y="6836"/>
                  </a:cubicBezTo>
                  <a:lnTo>
                    <a:pt x="2821" y="6836"/>
                  </a:lnTo>
                  <a:lnTo>
                    <a:pt x="2821" y="6829"/>
                  </a:lnTo>
                  <a:cubicBezTo>
                    <a:pt x="2821" y="6806"/>
                    <a:pt x="2828" y="6806"/>
                    <a:pt x="2828" y="6799"/>
                  </a:cubicBezTo>
                  <a:lnTo>
                    <a:pt x="2828" y="6799"/>
                  </a:lnTo>
                  <a:lnTo>
                    <a:pt x="2828" y="6799"/>
                  </a:lnTo>
                  <a:cubicBezTo>
                    <a:pt x="2850" y="6792"/>
                    <a:pt x="2872" y="6784"/>
                    <a:pt x="2887" y="6741"/>
                  </a:cubicBezTo>
                  <a:cubicBezTo>
                    <a:pt x="2902" y="6689"/>
                    <a:pt x="2902" y="6660"/>
                    <a:pt x="2894" y="6631"/>
                  </a:cubicBezTo>
                  <a:cubicBezTo>
                    <a:pt x="2894" y="6616"/>
                    <a:pt x="2887" y="6594"/>
                    <a:pt x="2887" y="6572"/>
                  </a:cubicBezTo>
                  <a:cubicBezTo>
                    <a:pt x="2887" y="6550"/>
                    <a:pt x="2887" y="6550"/>
                    <a:pt x="2902" y="6543"/>
                  </a:cubicBezTo>
                  <a:cubicBezTo>
                    <a:pt x="2909" y="6535"/>
                    <a:pt x="2931" y="6513"/>
                    <a:pt x="2945" y="6470"/>
                  </a:cubicBezTo>
                  <a:cubicBezTo>
                    <a:pt x="2960" y="6403"/>
                    <a:pt x="2953" y="6367"/>
                    <a:pt x="2945" y="6330"/>
                  </a:cubicBezTo>
                  <a:cubicBezTo>
                    <a:pt x="2938" y="6315"/>
                    <a:pt x="2938" y="6294"/>
                    <a:pt x="2931" y="6272"/>
                  </a:cubicBezTo>
                  <a:cubicBezTo>
                    <a:pt x="2924" y="6198"/>
                    <a:pt x="2894" y="6154"/>
                    <a:pt x="2865" y="6103"/>
                  </a:cubicBezTo>
                  <a:cubicBezTo>
                    <a:pt x="2850" y="6081"/>
                    <a:pt x="2850" y="6081"/>
                    <a:pt x="2850" y="6081"/>
                  </a:cubicBezTo>
                  <a:cubicBezTo>
                    <a:pt x="2836" y="6059"/>
                    <a:pt x="2836" y="6059"/>
                    <a:pt x="2836" y="6059"/>
                  </a:cubicBezTo>
                  <a:cubicBezTo>
                    <a:pt x="2799" y="6001"/>
                    <a:pt x="2748" y="5913"/>
                    <a:pt x="2726" y="5832"/>
                  </a:cubicBezTo>
                  <a:cubicBezTo>
                    <a:pt x="2704" y="5729"/>
                    <a:pt x="2711" y="5612"/>
                    <a:pt x="2726" y="5575"/>
                  </a:cubicBezTo>
                  <a:cubicBezTo>
                    <a:pt x="2777" y="5480"/>
                    <a:pt x="2770" y="5400"/>
                    <a:pt x="2711" y="5370"/>
                  </a:cubicBezTo>
                  <a:cubicBezTo>
                    <a:pt x="2652" y="5334"/>
                    <a:pt x="2638" y="5312"/>
                    <a:pt x="2660" y="5260"/>
                  </a:cubicBezTo>
                  <a:cubicBezTo>
                    <a:pt x="2660" y="5253"/>
                    <a:pt x="2660" y="5253"/>
                    <a:pt x="2660" y="5253"/>
                  </a:cubicBezTo>
                  <a:cubicBezTo>
                    <a:pt x="2689" y="5180"/>
                    <a:pt x="2704" y="5158"/>
                    <a:pt x="2777" y="5129"/>
                  </a:cubicBezTo>
                  <a:cubicBezTo>
                    <a:pt x="2792" y="5121"/>
                    <a:pt x="2806" y="5121"/>
                    <a:pt x="2821" y="5121"/>
                  </a:cubicBezTo>
                  <a:cubicBezTo>
                    <a:pt x="2843" y="5121"/>
                    <a:pt x="2865" y="5129"/>
                    <a:pt x="2880" y="5129"/>
                  </a:cubicBezTo>
                  <a:cubicBezTo>
                    <a:pt x="2902" y="5136"/>
                    <a:pt x="2916" y="5143"/>
                    <a:pt x="2931" y="5143"/>
                  </a:cubicBezTo>
                  <a:cubicBezTo>
                    <a:pt x="2931" y="5151"/>
                    <a:pt x="2924" y="5158"/>
                    <a:pt x="2924" y="5165"/>
                  </a:cubicBezTo>
                  <a:cubicBezTo>
                    <a:pt x="2975" y="5194"/>
                    <a:pt x="2975" y="5194"/>
                    <a:pt x="2975" y="5194"/>
                  </a:cubicBezTo>
                  <a:cubicBezTo>
                    <a:pt x="3012" y="5136"/>
                    <a:pt x="3078" y="5070"/>
                    <a:pt x="3099" y="5063"/>
                  </a:cubicBezTo>
                  <a:cubicBezTo>
                    <a:pt x="3136" y="5055"/>
                    <a:pt x="3187" y="5048"/>
                    <a:pt x="3231" y="5048"/>
                  </a:cubicBezTo>
                  <a:cubicBezTo>
                    <a:pt x="3283" y="5048"/>
                    <a:pt x="3305" y="5055"/>
                    <a:pt x="3312" y="5063"/>
                  </a:cubicBezTo>
                  <a:cubicBezTo>
                    <a:pt x="3341" y="5077"/>
                    <a:pt x="3385" y="5106"/>
                    <a:pt x="3422" y="5151"/>
                  </a:cubicBezTo>
                  <a:cubicBezTo>
                    <a:pt x="3451" y="5194"/>
                    <a:pt x="3517" y="5238"/>
                    <a:pt x="3590" y="5238"/>
                  </a:cubicBezTo>
                  <a:cubicBezTo>
                    <a:pt x="3605" y="5238"/>
                    <a:pt x="3620" y="5238"/>
                    <a:pt x="3642" y="5231"/>
                  </a:cubicBezTo>
                  <a:cubicBezTo>
                    <a:pt x="3722" y="5202"/>
                    <a:pt x="3759" y="5158"/>
                    <a:pt x="3759" y="5092"/>
                  </a:cubicBezTo>
                  <a:cubicBezTo>
                    <a:pt x="3759" y="5070"/>
                    <a:pt x="3774" y="5055"/>
                    <a:pt x="3788" y="5041"/>
                  </a:cubicBezTo>
                  <a:cubicBezTo>
                    <a:pt x="3803" y="5019"/>
                    <a:pt x="3818" y="4997"/>
                    <a:pt x="3818" y="4967"/>
                  </a:cubicBezTo>
                  <a:cubicBezTo>
                    <a:pt x="3818" y="4923"/>
                    <a:pt x="3788" y="4909"/>
                    <a:pt x="3774" y="4901"/>
                  </a:cubicBezTo>
                  <a:cubicBezTo>
                    <a:pt x="3752" y="4887"/>
                    <a:pt x="3752" y="4887"/>
                    <a:pt x="3752" y="4872"/>
                  </a:cubicBezTo>
                  <a:cubicBezTo>
                    <a:pt x="3752" y="4835"/>
                    <a:pt x="3744" y="4777"/>
                    <a:pt x="3744" y="4733"/>
                  </a:cubicBezTo>
                  <a:cubicBezTo>
                    <a:pt x="3781" y="4740"/>
                    <a:pt x="3825" y="4747"/>
                    <a:pt x="3832" y="4762"/>
                  </a:cubicBezTo>
                  <a:cubicBezTo>
                    <a:pt x="3847" y="4770"/>
                    <a:pt x="3869" y="4777"/>
                    <a:pt x="3898" y="4777"/>
                  </a:cubicBezTo>
                  <a:cubicBezTo>
                    <a:pt x="3964" y="4777"/>
                    <a:pt x="4067" y="4747"/>
                    <a:pt x="4067" y="4740"/>
                  </a:cubicBezTo>
                  <a:cubicBezTo>
                    <a:pt x="4177" y="4711"/>
                    <a:pt x="4177" y="4711"/>
                    <a:pt x="4177" y="4711"/>
                  </a:cubicBezTo>
                  <a:cubicBezTo>
                    <a:pt x="4067" y="4682"/>
                    <a:pt x="4067" y="4682"/>
                    <a:pt x="4067" y="4682"/>
                  </a:cubicBezTo>
                  <a:cubicBezTo>
                    <a:pt x="4045" y="4682"/>
                    <a:pt x="4023" y="4674"/>
                    <a:pt x="4015" y="4667"/>
                  </a:cubicBezTo>
                  <a:cubicBezTo>
                    <a:pt x="4015" y="4660"/>
                    <a:pt x="4023" y="4660"/>
                    <a:pt x="4023" y="4660"/>
                  </a:cubicBezTo>
                  <a:cubicBezTo>
                    <a:pt x="4045" y="4638"/>
                    <a:pt x="4067" y="4630"/>
                    <a:pt x="4089" y="4623"/>
                  </a:cubicBezTo>
                  <a:cubicBezTo>
                    <a:pt x="4111" y="4623"/>
                    <a:pt x="4147" y="4608"/>
                    <a:pt x="4177" y="4572"/>
                  </a:cubicBezTo>
                  <a:cubicBezTo>
                    <a:pt x="4184" y="4564"/>
                    <a:pt x="4191" y="4557"/>
                    <a:pt x="4199" y="4550"/>
                  </a:cubicBezTo>
                  <a:cubicBezTo>
                    <a:pt x="4228" y="4506"/>
                    <a:pt x="4257" y="4476"/>
                    <a:pt x="4257" y="4396"/>
                  </a:cubicBezTo>
                  <a:cubicBezTo>
                    <a:pt x="4257" y="4366"/>
                    <a:pt x="4250" y="4337"/>
                    <a:pt x="4235" y="4308"/>
                  </a:cubicBezTo>
                  <a:cubicBezTo>
                    <a:pt x="4221" y="4264"/>
                    <a:pt x="4206" y="4234"/>
                    <a:pt x="4243" y="4191"/>
                  </a:cubicBezTo>
                  <a:cubicBezTo>
                    <a:pt x="4279" y="4139"/>
                    <a:pt x="4294" y="4139"/>
                    <a:pt x="4294" y="4139"/>
                  </a:cubicBezTo>
                  <a:cubicBezTo>
                    <a:pt x="4301" y="4139"/>
                    <a:pt x="4309" y="4147"/>
                    <a:pt x="4323" y="4154"/>
                  </a:cubicBezTo>
                  <a:cubicBezTo>
                    <a:pt x="4323" y="4154"/>
                    <a:pt x="4331" y="4161"/>
                    <a:pt x="4338" y="4161"/>
                  </a:cubicBezTo>
                  <a:cubicBezTo>
                    <a:pt x="4360" y="4176"/>
                    <a:pt x="4396" y="4183"/>
                    <a:pt x="4440" y="4183"/>
                  </a:cubicBezTo>
                  <a:cubicBezTo>
                    <a:pt x="4506" y="4183"/>
                    <a:pt x="4594" y="4169"/>
                    <a:pt x="4645" y="4110"/>
                  </a:cubicBezTo>
                  <a:cubicBezTo>
                    <a:pt x="4675" y="4088"/>
                    <a:pt x="4704" y="4066"/>
                    <a:pt x="4733" y="4044"/>
                  </a:cubicBezTo>
                  <a:cubicBezTo>
                    <a:pt x="4770" y="4015"/>
                    <a:pt x="4814" y="3985"/>
                    <a:pt x="4836" y="3949"/>
                  </a:cubicBezTo>
                  <a:cubicBezTo>
                    <a:pt x="4851" y="3912"/>
                    <a:pt x="4858" y="3883"/>
                    <a:pt x="4858" y="3861"/>
                  </a:cubicBezTo>
                  <a:cubicBezTo>
                    <a:pt x="4858" y="3832"/>
                    <a:pt x="4858" y="3817"/>
                    <a:pt x="4880" y="3795"/>
                  </a:cubicBezTo>
                  <a:cubicBezTo>
                    <a:pt x="4895" y="3773"/>
                    <a:pt x="4909" y="3751"/>
                    <a:pt x="4931" y="3736"/>
                  </a:cubicBezTo>
                  <a:cubicBezTo>
                    <a:pt x="4953" y="3714"/>
                    <a:pt x="4953" y="3714"/>
                    <a:pt x="4953" y="3714"/>
                  </a:cubicBezTo>
                  <a:cubicBezTo>
                    <a:pt x="4939" y="3692"/>
                    <a:pt x="4939" y="3692"/>
                    <a:pt x="4939" y="3692"/>
                  </a:cubicBezTo>
                  <a:cubicBezTo>
                    <a:pt x="4931" y="3685"/>
                    <a:pt x="4931" y="3685"/>
                    <a:pt x="4931" y="3685"/>
                  </a:cubicBezTo>
                  <a:cubicBezTo>
                    <a:pt x="4924" y="3663"/>
                    <a:pt x="4909" y="3612"/>
                    <a:pt x="4902" y="3568"/>
                  </a:cubicBezTo>
                  <a:cubicBezTo>
                    <a:pt x="4902" y="3546"/>
                    <a:pt x="4902" y="3538"/>
                    <a:pt x="4895" y="3524"/>
                  </a:cubicBezTo>
                  <a:cubicBezTo>
                    <a:pt x="4895" y="3502"/>
                    <a:pt x="4887" y="3487"/>
                    <a:pt x="4895" y="3465"/>
                  </a:cubicBezTo>
                  <a:cubicBezTo>
                    <a:pt x="4902" y="3472"/>
                    <a:pt x="4902" y="3472"/>
                    <a:pt x="4909" y="3472"/>
                  </a:cubicBezTo>
                  <a:cubicBezTo>
                    <a:pt x="4909" y="3472"/>
                    <a:pt x="4931" y="3465"/>
                    <a:pt x="4939" y="3443"/>
                  </a:cubicBezTo>
                  <a:cubicBezTo>
                    <a:pt x="4946" y="3414"/>
                    <a:pt x="4968" y="3348"/>
                    <a:pt x="4924" y="3297"/>
                  </a:cubicBezTo>
                  <a:cubicBezTo>
                    <a:pt x="4917" y="3282"/>
                    <a:pt x="4909" y="3267"/>
                    <a:pt x="4902" y="3253"/>
                  </a:cubicBezTo>
                  <a:cubicBezTo>
                    <a:pt x="4895" y="3231"/>
                    <a:pt x="4880" y="3201"/>
                    <a:pt x="4836" y="3194"/>
                  </a:cubicBezTo>
                  <a:cubicBezTo>
                    <a:pt x="4829" y="3187"/>
                    <a:pt x="4821" y="3187"/>
                    <a:pt x="4814" y="3187"/>
                  </a:cubicBezTo>
                  <a:cubicBezTo>
                    <a:pt x="4785" y="3187"/>
                    <a:pt x="4763" y="3201"/>
                    <a:pt x="4733" y="3216"/>
                  </a:cubicBezTo>
                  <a:cubicBezTo>
                    <a:pt x="4726" y="3216"/>
                    <a:pt x="4719" y="3223"/>
                    <a:pt x="4712" y="3231"/>
                  </a:cubicBezTo>
                  <a:cubicBezTo>
                    <a:pt x="4675" y="3245"/>
                    <a:pt x="4653" y="3260"/>
                    <a:pt x="4645" y="3282"/>
                  </a:cubicBezTo>
                  <a:cubicBezTo>
                    <a:pt x="4638" y="3311"/>
                    <a:pt x="4653" y="3341"/>
                    <a:pt x="4660" y="3363"/>
                  </a:cubicBezTo>
                  <a:lnTo>
                    <a:pt x="4660" y="3363"/>
                  </a:lnTo>
                  <a:cubicBezTo>
                    <a:pt x="4645" y="3370"/>
                    <a:pt x="4602" y="3370"/>
                    <a:pt x="4587" y="3370"/>
                  </a:cubicBezTo>
                  <a:cubicBezTo>
                    <a:pt x="4565" y="3370"/>
                    <a:pt x="4550" y="3363"/>
                    <a:pt x="4543" y="3319"/>
                  </a:cubicBezTo>
                  <a:cubicBezTo>
                    <a:pt x="4536" y="3311"/>
                    <a:pt x="4536" y="3304"/>
                    <a:pt x="4536" y="3297"/>
                  </a:cubicBezTo>
                  <a:cubicBezTo>
                    <a:pt x="4536" y="3289"/>
                    <a:pt x="4528" y="3275"/>
                    <a:pt x="4528" y="3267"/>
                  </a:cubicBezTo>
                  <a:cubicBezTo>
                    <a:pt x="4580" y="3267"/>
                    <a:pt x="4602" y="3216"/>
                    <a:pt x="4616" y="3172"/>
                  </a:cubicBezTo>
                  <a:cubicBezTo>
                    <a:pt x="4624" y="3157"/>
                    <a:pt x="4631" y="3135"/>
                    <a:pt x="4638" y="3128"/>
                  </a:cubicBezTo>
                  <a:cubicBezTo>
                    <a:pt x="4675" y="3077"/>
                    <a:pt x="4675" y="3018"/>
                    <a:pt x="4631" y="2982"/>
                  </a:cubicBezTo>
                  <a:cubicBezTo>
                    <a:pt x="4638" y="2974"/>
                    <a:pt x="4645" y="2974"/>
                    <a:pt x="4653" y="2967"/>
                  </a:cubicBezTo>
                  <a:cubicBezTo>
                    <a:pt x="4697" y="2930"/>
                    <a:pt x="4682" y="2894"/>
                    <a:pt x="4675" y="2864"/>
                  </a:cubicBezTo>
                  <a:cubicBezTo>
                    <a:pt x="4675" y="2850"/>
                    <a:pt x="4668" y="2835"/>
                    <a:pt x="4675" y="2820"/>
                  </a:cubicBezTo>
                  <a:cubicBezTo>
                    <a:pt x="4690" y="2784"/>
                    <a:pt x="4741" y="2769"/>
                    <a:pt x="4785" y="2769"/>
                  </a:cubicBezTo>
                  <a:cubicBezTo>
                    <a:pt x="4821" y="2769"/>
                    <a:pt x="4836" y="2747"/>
                    <a:pt x="4843" y="2740"/>
                  </a:cubicBezTo>
                  <a:cubicBezTo>
                    <a:pt x="4858" y="2710"/>
                    <a:pt x="4851" y="2681"/>
                    <a:pt x="4821" y="2644"/>
                  </a:cubicBezTo>
                  <a:cubicBezTo>
                    <a:pt x="4821" y="2637"/>
                    <a:pt x="4821" y="2630"/>
                    <a:pt x="4814" y="2630"/>
                  </a:cubicBezTo>
                  <a:cubicBezTo>
                    <a:pt x="4821" y="2630"/>
                    <a:pt x="4829" y="2622"/>
                    <a:pt x="4851" y="2622"/>
                  </a:cubicBezTo>
                  <a:cubicBezTo>
                    <a:pt x="4865" y="2622"/>
                    <a:pt x="4909" y="2615"/>
                    <a:pt x="4924" y="2586"/>
                  </a:cubicBezTo>
                  <a:cubicBezTo>
                    <a:pt x="4931" y="2549"/>
                    <a:pt x="4902" y="2527"/>
                    <a:pt x="4880" y="2498"/>
                  </a:cubicBezTo>
                  <a:cubicBezTo>
                    <a:pt x="4873" y="2491"/>
                    <a:pt x="4865" y="2491"/>
                    <a:pt x="4865" y="2483"/>
                  </a:cubicBezTo>
                  <a:cubicBezTo>
                    <a:pt x="4821" y="2447"/>
                    <a:pt x="4792" y="2432"/>
                    <a:pt x="4763" y="2410"/>
                  </a:cubicBezTo>
                  <a:cubicBezTo>
                    <a:pt x="4755" y="2410"/>
                    <a:pt x="4755" y="2410"/>
                    <a:pt x="4748" y="2403"/>
                  </a:cubicBezTo>
                  <a:cubicBezTo>
                    <a:pt x="4770" y="2410"/>
                    <a:pt x="4800" y="2410"/>
                    <a:pt x="4836" y="2410"/>
                  </a:cubicBezTo>
                  <a:cubicBezTo>
                    <a:pt x="4858" y="2410"/>
                    <a:pt x="4909" y="2410"/>
                    <a:pt x="4917" y="2373"/>
                  </a:cubicBezTo>
                  <a:cubicBezTo>
                    <a:pt x="4931" y="2344"/>
                    <a:pt x="4895" y="2315"/>
                    <a:pt x="4865" y="2293"/>
                  </a:cubicBezTo>
                  <a:cubicBezTo>
                    <a:pt x="4858" y="2285"/>
                    <a:pt x="4836" y="2263"/>
                    <a:pt x="4821" y="2161"/>
                  </a:cubicBezTo>
                  <a:lnTo>
                    <a:pt x="4821" y="2153"/>
                  </a:lnTo>
                  <a:lnTo>
                    <a:pt x="4821" y="2153"/>
                  </a:lnTo>
                  <a:lnTo>
                    <a:pt x="4821" y="2153"/>
                  </a:lnTo>
                  <a:cubicBezTo>
                    <a:pt x="4836" y="2153"/>
                    <a:pt x="4843" y="2161"/>
                    <a:pt x="4851" y="2168"/>
                  </a:cubicBezTo>
                  <a:cubicBezTo>
                    <a:pt x="4865" y="2183"/>
                    <a:pt x="4887" y="2197"/>
                    <a:pt x="4909" y="2197"/>
                  </a:cubicBezTo>
                  <a:cubicBezTo>
                    <a:pt x="4939" y="2197"/>
                    <a:pt x="4968" y="2175"/>
                    <a:pt x="4990" y="2161"/>
                  </a:cubicBezTo>
                  <a:lnTo>
                    <a:pt x="4997" y="2168"/>
                  </a:lnTo>
                  <a:cubicBezTo>
                    <a:pt x="5012" y="2183"/>
                    <a:pt x="5034" y="2212"/>
                    <a:pt x="5071" y="2220"/>
                  </a:cubicBezTo>
                  <a:cubicBezTo>
                    <a:pt x="5085" y="2227"/>
                    <a:pt x="5093" y="2227"/>
                    <a:pt x="5100" y="2227"/>
                  </a:cubicBezTo>
                  <a:cubicBezTo>
                    <a:pt x="5144" y="2227"/>
                    <a:pt x="5159" y="2190"/>
                    <a:pt x="5173" y="2161"/>
                  </a:cubicBezTo>
                  <a:cubicBezTo>
                    <a:pt x="5181" y="2153"/>
                    <a:pt x="5181" y="2139"/>
                    <a:pt x="5188" y="2124"/>
                  </a:cubicBezTo>
                  <a:cubicBezTo>
                    <a:pt x="5232" y="2058"/>
                    <a:pt x="5202" y="2022"/>
                    <a:pt x="5181" y="2000"/>
                  </a:cubicBezTo>
                  <a:cubicBezTo>
                    <a:pt x="5181" y="1992"/>
                    <a:pt x="5173" y="1992"/>
                    <a:pt x="5173" y="1985"/>
                  </a:cubicBezTo>
                  <a:cubicBezTo>
                    <a:pt x="5159" y="1970"/>
                    <a:pt x="5144" y="1963"/>
                    <a:pt x="5129" y="1948"/>
                  </a:cubicBezTo>
                  <a:cubicBezTo>
                    <a:pt x="5122" y="1948"/>
                    <a:pt x="5107" y="1941"/>
                    <a:pt x="5093" y="1926"/>
                  </a:cubicBezTo>
                  <a:cubicBezTo>
                    <a:pt x="5085" y="1919"/>
                    <a:pt x="5085" y="1919"/>
                    <a:pt x="5085" y="1919"/>
                  </a:cubicBezTo>
                  <a:cubicBezTo>
                    <a:pt x="5085" y="1912"/>
                    <a:pt x="5093" y="1904"/>
                    <a:pt x="5100" y="1904"/>
                  </a:cubicBezTo>
                  <a:cubicBezTo>
                    <a:pt x="5107" y="1890"/>
                    <a:pt x="5107" y="1890"/>
                    <a:pt x="5107" y="1890"/>
                  </a:cubicBezTo>
                  <a:cubicBezTo>
                    <a:pt x="5144" y="1853"/>
                    <a:pt x="5159" y="1838"/>
                    <a:pt x="5159" y="1831"/>
                  </a:cubicBezTo>
                  <a:cubicBezTo>
                    <a:pt x="5173" y="1802"/>
                    <a:pt x="5173" y="1802"/>
                    <a:pt x="5173" y="1802"/>
                  </a:cubicBezTo>
                  <a:cubicBezTo>
                    <a:pt x="5166" y="1794"/>
                    <a:pt x="5166" y="1794"/>
                    <a:pt x="5166" y="1794"/>
                  </a:cubicBezTo>
                  <a:cubicBezTo>
                    <a:pt x="5181" y="1787"/>
                    <a:pt x="5188" y="1758"/>
                    <a:pt x="5188" y="1743"/>
                  </a:cubicBezTo>
                  <a:cubicBezTo>
                    <a:pt x="5188" y="1721"/>
                    <a:pt x="5188" y="1699"/>
                    <a:pt x="5188" y="1684"/>
                  </a:cubicBezTo>
                  <a:cubicBezTo>
                    <a:pt x="5181" y="1655"/>
                    <a:pt x="5181" y="1655"/>
                    <a:pt x="5188" y="1648"/>
                  </a:cubicBezTo>
                  <a:cubicBezTo>
                    <a:pt x="5217" y="1633"/>
                    <a:pt x="5239" y="1605"/>
                    <a:pt x="5239" y="1575"/>
                  </a:cubicBezTo>
                  <a:cubicBezTo>
                    <a:pt x="5239" y="1546"/>
                    <a:pt x="5224" y="1524"/>
                    <a:pt x="5210" y="1510"/>
                  </a:cubicBezTo>
                  <a:cubicBezTo>
                    <a:pt x="5188" y="1502"/>
                    <a:pt x="5063" y="1422"/>
                    <a:pt x="4990" y="1414"/>
                  </a:cubicBezTo>
                  <a:cubicBezTo>
                    <a:pt x="4939" y="1407"/>
                    <a:pt x="4865" y="1356"/>
                    <a:pt x="4851" y="1319"/>
                  </a:cubicBezTo>
                  <a:cubicBezTo>
                    <a:pt x="4851" y="1312"/>
                    <a:pt x="4851" y="1304"/>
                    <a:pt x="4851" y="1297"/>
                  </a:cubicBezTo>
                  <a:cubicBezTo>
                    <a:pt x="4836" y="1253"/>
                    <a:pt x="4821" y="1209"/>
                    <a:pt x="4748" y="1209"/>
                  </a:cubicBezTo>
                  <a:cubicBezTo>
                    <a:pt x="4704" y="1209"/>
                    <a:pt x="4682" y="1195"/>
                    <a:pt x="4660" y="1158"/>
                  </a:cubicBezTo>
                  <a:cubicBezTo>
                    <a:pt x="4653" y="1143"/>
                    <a:pt x="4653" y="1129"/>
                    <a:pt x="4653" y="1114"/>
                  </a:cubicBezTo>
                  <a:cubicBezTo>
                    <a:pt x="4645" y="1092"/>
                    <a:pt x="4638" y="1070"/>
                    <a:pt x="4616" y="1048"/>
                  </a:cubicBezTo>
                  <a:cubicBezTo>
                    <a:pt x="4602" y="1033"/>
                    <a:pt x="4602" y="967"/>
                    <a:pt x="4609" y="945"/>
                  </a:cubicBezTo>
                  <a:cubicBezTo>
                    <a:pt x="4609" y="938"/>
                    <a:pt x="4609" y="938"/>
                    <a:pt x="4609" y="931"/>
                  </a:cubicBezTo>
                  <a:lnTo>
                    <a:pt x="4609" y="931"/>
                  </a:lnTo>
                  <a:cubicBezTo>
                    <a:pt x="4609" y="916"/>
                    <a:pt x="4609" y="916"/>
                    <a:pt x="4609" y="916"/>
                  </a:cubicBezTo>
                  <a:lnTo>
                    <a:pt x="4609" y="916"/>
                  </a:lnTo>
                  <a:lnTo>
                    <a:pt x="4609" y="909"/>
                  </a:lnTo>
                  <a:cubicBezTo>
                    <a:pt x="4602" y="872"/>
                    <a:pt x="4602" y="872"/>
                    <a:pt x="4602" y="872"/>
                  </a:cubicBezTo>
                  <a:lnTo>
                    <a:pt x="4602" y="872"/>
                  </a:lnTo>
                  <a:cubicBezTo>
                    <a:pt x="4587" y="835"/>
                    <a:pt x="4572" y="813"/>
                    <a:pt x="4543" y="792"/>
                  </a:cubicBezTo>
                  <a:cubicBezTo>
                    <a:pt x="4521" y="777"/>
                    <a:pt x="4499" y="762"/>
                    <a:pt x="4470" y="762"/>
                  </a:cubicBezTo>
                  <a:cubicBezTo>
                    <a:pt x="4455" y="762"/>
                    <a:pt x="4440" y="762"/>
                    <a:pt x="4418" y="770"/>
                  </a:cubicBezTo>
                  <a:cubicBezTo>
                    <a:pt x="4411" y="777"/>
                    <a:pt x="4396" y="784"/>
                    <a:pt x="4389" y="799"/>
                  </a:cubicBezTo>
                  <a:cubicBezTo>
                    <a:pt x="4382" y="792"/>
                    <a:pt x="4374" y="784"/>
                    <a:pt x="4360" y="784"/>
                  </a:cubicBezTo>
                  <a:cubicBezTo>
                    <a:pt x="4323" y="784"/>
                    <a:pt x="4286" y="813"/>
                    <a:pt x="4272" y="857"/>
                  </a:cubicBezTo>
                  <a:cubicBezTo>
                    <a:pt x="4257" y="880"/>
                    <a:pt x="4235" y="894"/>
                    <a:pt x="4206" y="909"/>
                  </a:cubicBezTo>
                  <a:cubicBezTo>
                    <a:pt x="4191" y="916"/>
                    <a:pt x="4177" y="923"/>
                    <a:pt x="4162" y="938"/>
                  </a:cubicBezTo>
                  <a:cubicBezTo>
                    <a:pt x="4140" y="945"/>
                    <a:pt x="4133" y="953"/>
                    <a:pt x="4125" y="953"/>
                  </a:cubicBezTo>
                  <a:cubicBezTo>
                    <a:pt x="4103" y="960"/>
                    <a:pt x="4089" y="967"/>
                    <a:pt x="4089" y="1004"/>
                  </a:cubicBezTo>
                  <a:cubicBezTo>
                    <a:pt x="4089" y="1041"/>
                    <a:pt x="4125" y="1106"/>
                    <a:pt x="4191" y="1136"/>
                  </a:cubicBezTo>
                  <a:cubicBezTo>
                    <a:pt x="4199" y="1136"/>
                    <a:pt x="4199" y="1136"/>
                    <a:pt x="4206" y="1136"/>
                  </a:cubicBezTo>
                  <a:cubicBezTo>
                    <a:pt x="4199" y="1143"/>
                    <a:pt x="4184" y="1158"/>
                    <a:pt x="4177" y="1165"/>
                  </a:cubicBezTo>
                  <a:cubicBezTo>
                    <a:pt x="4162" y="1180"/>
                    <a:pt x="4162" y="1180"/>
                    <a:pt x="4162" y="1180"/>
                  </a:cubicBezTo>
                  <a:cubicBezTo>
                    <a:pt x="4154" y="1187"/>
                    <a:pt x="4154" y="1187"/>
                    <a:pt x="4147" y="1187"/>
                  </a:cubicBezTo>
                  <a:cubicBezTo>
                    <a:pt x="4147" y="1187"/>
                    <a:pt x="4125" y="1180"/>
                    <a:pt x="4103" y="1143"/>
                  </a:cubicBezTo>
                  <a:cubicBezTo>
                    <a:pt x="4081" y="1121"/>
                    <a:pt x="4030" y="1099"/>
                    <a:pt x="3957" y="1070"/>
                  </a:cubicBezTo>
                  <a:cubicBezTo>
                    <a:pt x="3920" y="1055"/>
                    <a:pt x="3883" y="1041"/>
                    <a:pt x="3862" y="1026"/>
                  </a:cubicBezTo>
                  <a:cubicBezTo>
                    <a:pt x="3832" y="1011"/>
                    <a:pt x="3832" y="997"/>
                    <a:pt x="3840" y="953"/>
                  </a:cubicBezTo>
                  <a:cubicBezTo>
                    <a:pt x="3840" y="938"/>
                    <a:pt x="3840" y="938"/>
                    <a:pt x="3840" y="938"/>
                  </a:cubicBezTo>
                  <a:cubicBezTo>
                    <a:pt x="3847" y="909"/>
                    <a:pt x="3854" y="894"/>
                    <a:pt x="3891" y="887"/>
                  </a:cubicBezTo>
                  <a:cubicBezTo>
                    <a:pt x="3950" y="880"/>
                    <a:pt x="3964" y="865"/>
                    <a:pt x="3986" y="828"/>
                  </a:cubicBezTo>
                  <a:cubicBezTo>
                    <a:pt x="3986" y="821"/>
                    <a:pt x="3986" y="813"/>
                    <a:pt x="3993" y="806"/>
                  </a:cubicBezTo>
                  <a:cubicBezTo>
                    <a:pt x="4015" y="762"/>
                    <a:pt x="3993" y="726"/>
                    <a:pt x="3986" y="711"/>
                  </a:cubicBezTo>
                  <a:cubicBezTo>
                    <a:pt x="3979" y="704"/>
                    <a:pt x="3979" y="696"/>
                    <a:pt x="3979" y="696"/>
                  </a:cubicBezTo>
                  <a:cubicBezTo>
                    <a:pt x="3993" y="645"/>
                    <a:pt x="3950" y="550"/>
                    <a:pt x="3920" y="521"/>
                  </a:cubicBezTo>
                  <a:cubicBezTo>
                    <a:pt x="3913" y="513"/>
                    <a:pt x="3905" y="506"/>
                    <a:pt x="3905" y="491"/>
                  </a:cubicBezTo>
                  <a:cubicBezTo>
                    <a:pt x="3905" y="484"/>
                    <a:pt x="3913" y="476"/>
                    <a:pt x="3927" y="462"/>
                  </a:cubicBezTo>
                  <a:cubicBezTo>
                    <a:pt x="3950" y="447"/>
                    <a:pt x="3957" y="418"/>
                    <a:pt x="3950" y="396"/>
                  </a:cubicBezTo>
                  <a:cubicBezTo>
                    <a:pt x="3971" y="396"/>
                    <a:pt x="3986" y="381"/>
                    <a:pt x="3986" y="374"/>
                  </a:cubicBezTo>
                  <a:cubicBezTo>
                    <a:pt x="4001" y="352"/>
                    <a:pt x="3986" y="330"/>
                    <a:pt x="3971" y="308"/>
                  </a:cubicBezTo>
                  <a:cubicBezTo>
                    <a:pt x="3979" y="308"/>
                    <a:pt x="3986" y="315"/>
                    <a:pt x="3993" y="315"/>
                  </a:cubicBezTo>
                  <a:cubicBezTo>
                    <a:pt x="4008" y="323"/>
                    <a:pt x="4023" y="323"/>
                    <a:pt x="4030" y="323"/>
                  </a:cubicBezTo>
                  <a:cubicBezTo>
                    <a:pt x="4059" y="323"/>
                    <a:pt x="4081" y="308"/>
                    <a:pt x="4089" y="279"/>
                  </a:cubicBezTo>
                  <a:cubicBezTo>
                    <a:pt x="4096" y="249"/>
                    <a:pt x="4096" y="213"/>
                    <a:pt x="4067" y="198"/>
                  </a:cubicBezTo>
                  <a:cubicBezTo>
                    <a:pt x="4030" y="169"/>
                    <a:pt x="3986" y="125"/>
                    <a:pt x="3979" y="103"/>
                  </a:cubicBezTo>
                  <a:cubicBezTo>
                    <a:pt x="3971" y="73"/>
                    <a:pt x="3942" y="52"/>
                    <a:pt x="3898" y="52"/>
                  </a:cubicBezTo>
                  <a:cubicBezTo>
                    <a:pt x="3876" y="52"/>
                    <a:pt x="3840" y="59"/>
                    <a:pt x="3810" y="73"/>
                  </a:cubicBezTo>
                  <a:cubicBezTo>
                    <a:pt x="3781" y="88"/>
                    <a:pt x="3766" y="88"/>
                    <a:pt x="3744" y="88"/>
                  </a:cubicBezTo>
                  <a:cubicBezTo>
                    <a:pt x="3737" y="88"/>
                    <a:pt x="3730" y="88"/>
                    <a:pt x="3722" y="88"/>
                  </a:cubicBezTo>
                  <a:cubicBezTo>
                    <a:pt x="3715" y="88"/>
                    <a:pt x="3700" y="88"/>
                    <a:pt x="3693" y="88"/>
                  </a:cubicBezTo>
                  <a:cubicBezTo>
                    <a:pt x="3693" y="88"/>
                    <a:pt x="3686" y="73"/>
                    <a:pt x="3678" y="66"/>
                  </a:cubicBezTo>
                  <a:cubicBezTo>
                    <a:pt x="3671" y="44"/>
                    <a:pt x="3656" y="7"/>
                    <a:pt x="3620" y="0"/>
                  </a:cubicBezTo>
                  <a:cubicBezTo>
                    <a:pt x="3612" y="0"/>
                    <a:pt x="3612" y="0"/>
                    <a:pt x="3605" y="0"/>
                  </a:cubicBezTo>
                  <a:lnTo>
                    <a:pt x="3605" y="0"/>
                  </a:lnTo>
                  <a:lnTo>
                    <a:pt x="3605" y="30"/>
                  </a:lnTo>
                  <a:close/>
                  <a:moveTo>
                    <a:pt x="5012" y="1729"/>
                  </a:moveTo>
                  <a:lnTo>
                    <a:pt x="5012" y="1729"/>
                  </a:lnTo>
                  <a:cubicBezTo>
                    <a:pt x="5019" y="1729"/>
                    <a:pt x="5019" y="1721"/>
                    <a:pt x="5034" y="1714"/>
                  </a:cubicBezTo>
                  <a:cubicBezTo>
                    <a:pt x="5049" y="1699"/>
                    <a:pt x="5056" y="1699"/>
                    <a:pt x="5056" y="1699"/>
                  </a:cubicBezTo>
                  <a:cubicBezTo>
                    <a:pt x="5056" y="1699"/>
                    <a:pt x="5063" y="1706"/>
                    <a:pt x="5078" y="1736"/>
                  </a:cubicBezTo>
                  <a:cubicBezTo>
                    <a:pt x="5085" y="1751"/>
                    <a:pt x="5085" y="1765"/>
                    <a:pt x="5093" y="1772"/>
                  </a:cubicBezTo>
                  <a:cubicBezTo>
                    <a:pt x="5078" y="1765"/>
                    <a:pt x="5063" y="1758"/>
                    <a:pt x="5041" y="1751"/>
                  </a:cubicBezTo>
                  <a:cubicBezTo>
                    <a:pt x="5019" y="1736"/>
                    <a:pt x="5019" y="1729"/>
                    <a:pt x="5012" y="1729"/>
                  </a:cubicBezTo>
                  <a:close/>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a:latin typeface="Montserrat" charset="0"/>
              </a:endParaRPr>
            </a:p>
          </p:txBody>
        </p:sp>
        <p:sp>
          <p:nvSpPr>
            <p:cNvPr id="66" name="Freeform 65">
              <a:extLst>
                <a:ext uri="{FF2B5EF4-FFF2-40B4-BE49-F238E27FC236}">
                  <a16:creationId xmlns:a16="http://schemas.microsoft.com/office/drawing/2014/main" id="{523170A8-2C9A-8642-A9D0-38949181FCEF}"/>
                </a:ext>
              </a:extLst>
            </p:cNvPr>
            <p:cNvSpPr>
              <a:spLocks noChangeArrowheads="1"/>
            </p:cNvSpPr>
            <p:nvPr/>
          </p:nvSpPr>
          <p:spPr bwMode="auto">
            <a:xfrm>
              <a:off x="6596783" y="6889745"/>
              <a:ext cx="2243404" cy="1820258"/>
            </a:xfrm>
            <a:custGeom>
              <a:avLst/>
              <a:gdLst>
                <a:gd name="T0" fmla="*/ 1538 w 5840"/>
                <a:gd name="T1" fmla="*/ 4491 h 4793"/>
                <a:gd name="T2" fmla="*/ 1215 w 5840"/>
                <a:gd name="T3" fmla="*/ 4227 h 4793"/>
                <a:gd name="T4" fmla="*/ 769 w 5840"/>
                <a:gd name="T5" fmla="*/ 3773 h 4793"/>
                <a:gd name="T6" fmla="*/ 528 w 5840"/>
                <a:gd name="T7" fmla="*/ 3700 h 4793"/>
                <a:gd name="T8" fmla="*/ 388 w 5840"/>
                <a:gd name="T9" fmla="*/ 3458 h 4793"/>
                <a:gd name="T10" fmla="*/ 278 w 5840"/>
                <a:gd name="T11" fmla="*/ 3275 h 4793"/>
                <a:gd name="T12" fmla="*/ 15 w 5840"/>
                <a:gd name="T13" fmla="*/ 3326 h 4793"/>
                <a:gd name="T14" fmla="*/ 117 w 5840"/>
                <a:gd name="T15" fmla="*/ 2974 h 4793"/>
                <a:gd name="T16" fmla="*/ 293 w 5840"/>
                <a:gd name="T17" fmla="*/ 2630 h 4793"/>
                <a:gd name="T18" fmla="*/ 168 w 5840"/>
                <a:gd name="T19" fmla="*/ 2439 h 4793"/>
                <a:gd name="T20" fmla="*/ 300 w 5840"/>
                <a:gd name="T21" fmla="*/ 2190 h 4793"/>
                <a:gd name="T22" fmla="*/ 557 w 5840"/>
                <a:gd name="T23" fmla="*/ 2161 h 4793"/>
                <a:gd name="T24" fmla="*/ 630 w 5840"/>
                <a:gd name="T25" fmla="*/ 2014 h 4793"/>
                <a:gd name="T26" fmla="*/ 491 w 5840"/>
                <a:gd name="T27" fmla="*/ 1758 h 4793"/>
                <a:gd name="T28" fmla="*/ 689 w 5840"/>
                <a:gd name="T29" fmla="*/ 1633 h 4793"/>
                <a:gd name="T30" fmla="*/ 147 w 5840"/>
                <a:gd name="T31" fmla="*/ 1202 h 4793"/>
                <a:gd name="T32" fmla="*/ 227 w 5840"/>
                <a:gd name="T33" fmla="*/ 850 h 4793"/>
                <a:gd name="T34" fmla="*/ 637 w 5840"/>
                <a:gd name="T35" fmla="*/ 579 h 4793"/>
                <a:gd name="T36" fmla="*/ 931 w 5840"/>
                <a:gd name="T37" fmla="*/ 433 h 4793"/>
                <a:gd name="T38" fmla="*/ 1377 w 5840"/>
                <a:gd name="T39" fmla="*/ 330 h 4793"/>
                <a:gd name="T40" fmla="*/ 1596 w 5840"/>
                <a:gd name="T41" fmla="*/ 249 h 4793"/>
                <a:gd name="T42" fmla="*/ 1648 w 5840"/>
                <a:gd name="T43" fmla="*/ 15 h 4793"/>
                <a:gd name="T44" fmla="*/ 1867 w 5840"/>
                <a:gd name="T45" fmla="*/ 7 h 4793"/>
                <a:gd name="T46" fmla="*/ 2124 w 5840"/>
                <a:gd name="T47" fmla="*/ 110 h 4793"/>
                <a:gd name="T48" fmla="*/ 2190 w 5840"/>
                <a:gd name="T49" fmla="*/ 403 h 4793"/>
                <a:gd name="T50" fmla="*/ 2403 w 5840"/>
                <a:gd name="T51" fmla="*/ 718 h 4793"/>
                <a:gd name="T52" fmla="*/ 2681 w 5840"/>
                <a:gd name="T53" fmla="*/ 777 h 4793"/>
                <a:gd name="T54" fmla="*/ 2871 w 5840"/>
                <a:gd name="T55" fmla="*/ 799 h 4793"/>
                <a:gd name="T56" fmla="*/ 3106 w 5840"/>
                <a:gd name="T57" fmla="*/ 828 h 4793"/>
                <a:gd name="T58" fmla="*/ 3311 w 5840"/>
                <a:gd name="T59" fmla="*/ 1099 h 4793"/>
                <a:gd name="T60" fmla="*/ 3135 w 5840"/>
                <a:gd name="T61" fmla="*/ 1334 h 4793"/>
                <a:gd name="T62" fmla="*/ 3326 w 5840"/>
                <a:gd name="T63" fmla="*/ 1619 h 4793"/>
                <a:gd name="T64" fmla="*/ 3655 w 5840"/>
                <a:gd name="T65" fmla="*/ 1751 h 4793"/>
                <a:gd name="T66" fmla="*/ 3927 w 5840"/>
                <a:gd name="T67" fmla="*/ 1912 h 4793"/>
                <a:gd name="T68" fmla="*/ 4212 w 5840"/>
                <a:gd name="T69" fmla="*/ 1890 h 4793"/>
                <a:gd name="T70" fmla="*/ 4593 w 5840"/>
                <a:gd name="T71" fmla="*/ 2146 h 4793"/>
                <a:gd name="T72" fmla="*/ 4908 w 5840"/>
                <a:gd name="T73" fmla="*/ 2219 h 4793"/>
                <a:gd name="T74" fmla="*/ 5026 w 5840"/>
                <a:gd name="T75" fmla="*/ 1970 h 4793"/>
                <a:gd name="T76" fmla="*/ 5084 w 5840"/>
                <a:gd name="T77" fmla="*/ 1721 h 4793"/>
                <a:gd name="T78" fmla="*/ 5451 w 5840"/>
                <a:gd name="T79" fmla="*/ 1816 h 4793"/>
                <a:gd name="T80" fmla="*/ 5715 w 5840"/>
                <a:gd name="T81" fmla="*/ 2022 h 4793"/>
                <a:gd name="T82" fmla="*/ 5707 w 5840"/>
                <a:gd name="T83" fmla="*/ 2388 h 4793"/>
                <a:gd name="T84" fmla="*/ 5392 w 5840"/>
                <a:gd name="T85" fmla="*/ 2556 h 4793"/>
                <a:gd name="T86" fmla="*/ 5216 w 5840"/>
                <a:gd name="T87" fmla="*/ 2608 h 4793"/>
                <a:gd name="T88" fmla="*/ 5070 w 5840"/>
                <a:gd name="T89" fmla="*/ 2681 h 4793"/>
                <a:gd name="T90" fmla="*/ 5018 w 5840"/>
                <a:gd name="T91" fmla="*/ 2872 h 4793"/>
                <a:gd name="T92" fmla="*/ 5070 w 5840"/>
                <a:gd name="T93" fmla="*/ 2923 h 4793"/>
                <a:gd name="T94" fmla="*/ 5121 w 5840"/>
                <a:gd name="T95" fmla="*/ 3231 h 4793"/>
                <a:gd name="T96" fmla="*/ 4842 w 5840"/>
                <a:gd name="T97" fmla="*/ 3355 h 4793"/>
                <a:gd name="T98" fmla="*/ 4710 w 5840"/>
                <a:gd name="T99" fmla="*/ 3502 h 4793"/>
                <a:gd name="T100" fmla="*/ 4520 w 5840"/>
                <a:gd name="T101" fmla="*/ 3341 h 4793"/>
                <a:gd name="T102" fmla="*/ 4278 w 5840"/>
                <a:gd name="T103" fmla="*/ 3604 h 4793"/>
                <a:gd name="T104" fmla="*/ 4286 w 5840"/>
                <a:gd name="T105" fmla="*/ 3963 h 4793"/>
                <a:gd name="T106" fmla="*/ 3802 w 5840"/>
                <a:gd name="T107" fmla="*/ 4147 h 4793"/>
                <a:gd name="T108" fmla="*/ 3531 w 5840"/>
                <a:gd name="T109" fmla="*/ 4205 h 4793"/>
                <a:gd name="T110" fmla="*/ 3216 w 5840"/>
                <a:gd name="T111" fmla="*/ 3744 h 4793"/>
                <a:gd name="T112" fmla="*/ 3018 w 5840"/>
                <a:gd name="T113" fmla="*/ 4440 h 4793"/>
                <a:gd name="T114" fmla="*/ 2857 w 5840"/>
                <a:gd name="T115" fmla="*/ 4557 h 4793"/>
                <a:gd name="T116" fmla="*/ 2622 w 5840"/>
                <a:gd name="T117" fmla="*/ 4286 h 4793"/>
                <a:gd name="T118" fmla="*/ 2146 w 5840"/>
                <a:gd name="T119" fmla="*/ 4205 h 4793"/>
                <a:gd name="T120" fmla="*/ 1977 w 5840"/>
                <a:gd name="T121" fmla="*/ 4513 h 4793"/>
                <a:gd name="T122" fmla="*/ 1919 w 5840"/>
                <a:gd name="T123" fmla="*/ 4733 h 47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40" h="4793">
                  <a:moveTo>
                    <a:pt x="1787" y="4792"/>
                  </a:moveTo>
                  <a:lnTo>
                    <a:pt x="1787" y="4792"/>
                  </a:lnTo>
                  <a:cubicBezTo>
                    <a:pt x="1765" y="4792"/>
                    <a:pt x="1743" y="4784"/>
                    <a:pt x="1743" y="4784"/>
                  </a:cubicBezTo>
                  <a:lnTo>
                    <a:pt x="1743" y="4784"/>
                  </a:lnTo>
                  <a:cubicBezTo>
                    <a:pt x="1736" y="4784"/>
                    <a:pt x="1670" y="4769"/>
                    <a:pt x="1604" y="4747"/>
                  </a:cubicBezTo>
                  <a:cubicBezTo>
                    <a:pt x="1523" y="4725"/>
                    <a:pt x="1538" y="4630"/>
                    <a:pt x="1553" y="4564"/>
                  </a:cubicBezTo>
                  <a:cubicBezTo>
                    <a:pt x="1553" y="4535"/>
                    <a:pt x="1545" y="4513"/>
                    <a:pt x="1538" y="4491"/>
                  </a:cubicBezTo>
                  <a:cubicBezTo>
                    <a:pt x="1523" y="4469"/>
                    <a:pt x="1516" y="4440"/>
                    <a:pt x="1516" y="4410"/>
                  </a:cubicBezTo>
                  <a:cubicBezTo>
                    <a:pt x="1516" y="4359"/>
                    <a:pt x="1465" y="4344"/>
                    <a:pt x="1465" y="4344"/>
                  </a:cubicBezTo>
                  <a:cubicBezTo>
                    <a:pt x="1457" y="4344"/>
                    <a:pt x="1443" y="4344"/>
                    <a:pt x="1421" y="4344"/>
                  </a:cubicBezTo>
                  <a:cubicBezTo>
                    <a:pt x="1384" y="4344"/>
                    <a:pt x="1340" y="4337"/>
                    <a:pt x="1303" y="4315"/>
                  </a:cubicBezTo>
                  <a:cubicBezTo>
                    <a:pt x="1289" y="4301"/>
                    <a:pt x="1274" y="4286"/>
                    <a:pt x="1267" y="4264"/>
                  </a:cubicBezTo>
                  <a:cubicBezTo>
                    <a:pt x="1252" y="4242"/>
                    <a:pt x="1245" y="4227"/>
                    <a:pt x="1223" y="4227"/>
                  </a:cubicBezTo>
                  <a:cubicBezTo>
                    <a:pt x="1223" y="4227"/>
                    <a:pt x="1223" y="4227"/>
                    <a:pt x="1215" y="4227"/>
                  </a:cubicBezTo>
                  <a:cubicBezTo>
                    <a:pt x="1208" y="4235"/>
                    <a:pt x="1201" y="4235"/>
                    <a:pt x="1193" y="4235"/>
                  </a:cubicBezTo>
                  <a:cubicBezTo>
                    <a:pt x="1150" y="4235"/>
                    <a:pt x="1136" y="4198"/>
                    <a:pt x="1114" y="4161"/>
                  </a:cubicBezTo>
                  <a:cubicBezTo>
                    <a:pt x="1092" y="4125"/>
                    <a:pt x="1092" y="4125"/>
                    <a:pt x="1092" y="4125"/>
                  </a:cubicBezTo>
                  <a:cubicBezTo>
                    <a:pt x="1063" y="4081"/>
                    <a:pt x="1048" y="4059"/>
                    <a:pt x="997" y="4000"/>
                  </a:cubicBezTo>
                  <a:cubicBezTo>
                    <a:pt x="975" y="3971"/>
                    <a:pt x="967" y="3949"/>
                    <a:pt x="960" y="3927"/>
                  </a:cubicBezTo>
                  <a:cubicBezTo>
                    <a:pt x="953" y="3905"/>
                    <a:pt x="945" y="3897"/>
                    <a:pt x="909" y="3890"/>
                  </a:cubicBezTo>
                  <a:cubicBezTo>
                    <a:pt x="843" y="3883"/>
                    <a:pt x="806" y="3824"/>
                    <a:pt x="769" y="3773"/>
                  </a:cubicBezTo>
                  <a:cubicBezTo>
                    <a:pt x="755" y="3751"/>
                    <a:pt x="740" y="3736"/>
                    <a:pt x="725" y="3714"/>
                  </a:cubicBezTo>
                  <a:cubicBezTo>
                    <a:pt x="711" y="3700"/>
                    <a:pt x="704" y="3692"/>
                    <a:pt x="696" y="3692"/>
                  </a:cubicBezTo>
                  <a:cubicBezTo>
                    <a:pt x="689" y="3692"/>
                    <a:pt x="682" y="3692"/>
                    <a:pt x="667" y="3700"/>
                  </a:cubicBezTo>
                  <a:cubicBezTo>
                    <a:pt x="652" y="3707"/>
                    <a:pt x="630" y="3722"/>
                    <a:pt x="601" y="3722"/>
                  </a:cubicBezTo>
                  <a:cubicBezTo>
                    <a:pt x="564" y="3722"/>
                    <a:pt x="549" y="3707"/>
                    <a:pt x="535" y="3700"/>
                  </a:cubicBezTo>
                  <a:lnTo>
                    <a:pt x="535" y="3692"/>
                  </a:lnTo>
                  <a:lnTo>
                    <a:pt x="528" y="3700"/>
                  </a:lnTo>
                  <a:cubicBezTo>
                    <a:pt x="506" y="3700"/>
                    <a:pt x="476" y="3722"/>
                    <a:pt x="447" y="3744"/>
                  </a:cubicBezTo>
                  <a:cubicBezTo>
                    <a:pt x="432" y="3758"/>
                    <a:pt x="432" y="3758"/>
                    <a:pt x="432" y="3758"/>
                  </a:cubicBezTo>
                  <a:cubicBezTo>
                    <a:pt x="410" y="3729"/>
                    <a:pt x="410" y="3729"/>
                    <a:pt x="410" y="3729"/>
                  </a:cubicBezTo>
                  <a:cubicBezTo>
                    <a:pt x="410" y="3722"/>
                    <a:pt x="410" y="3722"/>
                    <a:pt x="410" y="3722"/>
                  </a:cubicBezTo>
                  <a:cubicBezTo>
                    <a:pt x="410" y="3722"/>
                    <a:pt x="388" y="3656"/>
                    <a:pt x="381" y="3597"/>
                  </a:cubicBezTo>
                  <a:cubicBezTo>
                    <a:pt x="381" y="3575"/>
                    <a:pt x="381" y="3568"/>
                    <a:pt x="374" y="3553"/>
                  </a:cubicBezTo>
                  <a:cubicBezTo>
                    <a:pt x="366" y="3524"/>
                    <a:pt x="366" y="3502"/>
                    <a:pt x="388" y="3458"/>
                  </a:cubicBezTo>
                  <a:cubicBezTo>
                    <a:pt x="388" y="3443"/>
                    <a:pt x="403" y="3428"/>
                    <a:pt x="418" y="3428"/>
                  </a:cubicBezTo>
                  <a:lnTo>
                    <a:pt x="425" y="3428"/>
                  </a:lnTo>
                  <a:cubicBezTo>
                    <a:pt x="432" y="3406"/>
                    <a:pt x="432" y="3377"/>
                    <a:pt x="410" y="3348"/>
                  </a:cubicBezTo>
                  <a:cubicBezTo>
                    <a:pt x="396" y="3326"/>
                    <a:pt x="388" y="3311"/>
                    <a:pt x="381" y="3297"/>
                  </a:cubicBezTo>
                  <a:cubicBezTo>
                    <a:pt x="374" y="3267"/>
                    <a:pt x="366" y="3260"/>
                    <a:pt x="352" y="3260"/>
                  </a:cubicBezTo>
                  <a:cubicBezTo>
                    <a:pt x="344" y="3260"/>
                    <a:pt x="344" y="3253"/>
                    <a:pt x="337" y="3253"/>
                  </a:cubicBezTo>
                  <a:cubicBezTo>
                    <a:pt x="315" y="3253"/>
                    <a:pt x="300" y="3260"/>
                    <a:pt x="278" y="3275"/>
                  </a:cubicBezTo>
                  <a:cubicBezTo>
                    <a:pt x="271" y="3282"/>
                    <a:pt x="264" y="3282"/>
                    <a:pt x="249" y="3289"/>
                  </a:cubicBezTo>
                  <a:cubicBezTo>
                    <a:pt x="227" y="3304"/>
                    <a:pt x="220" y="3311"/>
                    <a:pt x="213" y="3319"/>
                  </a:cubicBezTo>
                  <a:cubicBezTo>
                    <a:pt x="213" y="3326"/>
                    <a:pt x="213" y="3341"/>
                    <a:pt x="227" y="3363"/>
                  </a:cubicBezTo>
                  <a:cubicBezTo>
                    <a:pt x="235" y="3385"/>
                    <a:pt x="235" y="3399"/>
                    <a:pt x="227" y="3406"/>
                  </a:cubicBezTo>
                  <a:cubicBezTo>
                    <a:pt x="205" y="3436"/>
                    <a:pt x="154" y="3436"/>
                    <a:pt x="110" y="3436"/>
                  </a:cubicBezTo>
                  <a:cubicBezTo>
                    <a:pt x="44" y="3436"/>
                    <a:pt x="22" y="3385"/>
                    <a:pt x="15" y="3348"/>
                  </a:cubicBezTo>
                  <a:cubicBezTo>
                    <a:pt x="15" y="3326"/>
                    <a:pt x="15" y="3326"/>
                    <a:pt x="15" y="3326"/>
                  </a:cubicBezTo>
                  <a:cubicBezTo>
                    <a:pt x="7" y="3304"/>
                    <a:pt x="0" y="3275"/>
                    <a:pt x="15" y="3260"/>
                  </a:cubicBezTo>
                  <a:cubicBezTo>
                    <a:pt x="22" y="3253"/>
                    <a:pt x="37" y="3245"/>
                    <a:pt x="51" y="3245"/>
                  </a:cubicBezTo>
                  <a:cubicBezTo>
                    <a:pt x="66" y="3245"/>
                    <a:pt x="81" y="3209"/>
                    <a:pt x="95" y="3179"/>
                  </a:cubicBezTo>
                  <a:cubicBezTo>
                    <a:pt x="103" y="3157"/>
                    <a:pt x="110" y="3135"/>
                    <a:pt x="125" y="3121"/>
                  </a:cubicBezTo>
                  <a:cubicBezTo>
                    <a:pt x="139" y="3099"/>
                    <a:pt x="154" y="3062"/>
                    <a:pt x="117" y="3033"/>
                  </a:cubicBezTo>
                  <a:cubicBezTo>
                    <a:pt x="103" y="3025"/>
                    <a:pt x="88" y="3011"/>
                    <a:pt x="95" y="2996"/>
                  </a:cubicBezTo>
                  <a:cubicBezTo>
                    <a:pt x="95" y="2982"/>
                    <a:pt x="103" y="2974"/>
                    <a:pt x="117" y="2974"/>
                  </a:cubicBezTo>
                  <a:cubicBezTo>
                    <a:pt x="125" y="2967"/>
                    <a:pt x="139" y="2960"/>
                    <a:pt x="154" y="2952"/>
                  </a:cubicBezTo>
                  <a:cubicBezTo>
                    <a:pt x="168" y="2937"/>
                    <a:pt x="161" y="2923"/>
                    <a:pt x="154" y="2901"/>
                  </a:cubicBezTo>
                  <a:cubicBezTo>
                    <a:pt x="154" y="2879"/>
                    <a:pt x="147" y="2857"/>
                    <a:pt x="154" y="2828"/>
                  </a:cubicBezTo>
                  <a:cubicBezTo>
                    <a:pt x="168" y="2776"/>
                    <a:pt x="235" y="2740"/>
                    <a:pt x="308" y="2740"/>
                  </a:cubicBezTo>
                  <a:cubicBezTo>
                    <a:pt x="315" y="2740"/>
                    <a:pt x="323" y="2740"/>
                    <a:pt x="323" y="2740"/>
                  </a:cubicBezTo>
                  <a:cubicBezTo>
                    <a:pt x="330" y="2732"/>
                    <a:pt x="323" y="2718"/>
                    <a:pt x="308" y="2688"/>
                  </a:cubicBezTo>
                  <a:cubicBezTo>
                    <a:pt x="300" y="2681"/>
                    <a:pt x="286" y="2652"/>
                    <a:pt x="293" y="2630"/>
                  </a:cubicBezTo>
                  <a:cubicBezTo>
                    <a:pt x="308" y="2615"/>
                    <a:pt x="330" y="2601"/>
                    <a:pt x="374" y="2601"/>
                  </a:cubicBezTo>
                  <a:cubicBezTo>
                    <a:pt x="396" y="2593"/>
                    <a:pt x="403" y="2593"/>
                    <a:pt x="403" y="2593"/>
                  </a:cubicBezTo>
                  <a:cubicBezTo>
                    <a:pt x="403" y="2586"/>
                    <a:pt x="381" y="2564"/>
                    <a:pt x="366" y="2556"/>
                  </a:cubicBezTo>
                  <a:cubicBezTo>
                    <a:pt x="352" y="2542"/>
                    <a:pt x="352" y="2542"/>
                    <a:pt x="352" y="2542"/>
                  </a:cubicBezTo>
                  <a:cubicBezTo>
                    <a:pt x="323" y="2505"/>
                    <a:pt x="293" y="2491"/>
                    <a:pt x="264" y="2476"/>
                  </a:cubicBezTo>
                  <a:cubicBezTo>
                    <a:pt x="249" y="2469"/>
                    <a:pt x="242" y="2469"/>
                    <a:pt x="227" y="2461"/>
                  </a:cubicBezTo>
                  <a:cubicBezTo>
                    <a:pt x="213" y="2461"/>
                    <a:pt x="191" y="2454"/>
                    <a:pt x="168" y="2439"/>
                  </a:cubicBezTo>
                  <a:cubicBezTo>
                    <a:pt x="147" y="2425"/>
                    <a:pt x="147" y="2403"/>
                    <a:pt x="154" y="2395"/>
                  </a:cubicBezTo>
                  <a:cubicBezTo>
                    <a:pt x="161" y="2381"/>
                    <a:pt x="183" y="2366"/>
                    <a:pt x="198" y="2366"/>
                  </a:cubicBezTo>
                  <a:cubicBezTo>
                    <a:pt x="205" y="2366"/>
                    <a:pt x="213" y="2366"/>
                    <a:pt x="220" y="2373"/>
                  </a:cubicBezTo>
                  <a:cubicBezTo>
                    <a:pt x="242" y="2381"/>
                    <a:pt x="264" y="2388"/>
                    <a:pt x="359" y="2388"/>
                  </a:cubicBezTo>
                  <a:cubicBezTo>
                    <a:pt x="388" y="2388"/>
                    <a:pt x="396" y="2381"/>
                    <a:pt x="396" y="2381"/>
                  </a:cubicBezTo>
                  <a:cubicBezTo>
                    <a:pt x="396" y="2381"/>
                    <a:pt x="374" y="2359"/>
                    <a:pt x="366" y="2351"/>
                  </a:cubicBezTo>
                  <a:cubicBezTo>
                    <a:pt x="330" y="2329"/>
                    <a:pt x="308" y="2278"/>
                    <a:pt x="300" y="2190"/>
                  </a:cubicBezTo>
                  <a:cubicBezTo>
                    <a:pt x="293" y="2168"/>
                    <a:pt x="300" y="2154"/>
                    <a:pt x="308" y="2146"/>
                  </a:cubicBezTo>
                  <a:cubicBezTo>
                    <a:pt x="315" y="2139"/>
                    <a:pt x="330" y="2132"/>
                    <a:pt x="344" y="2132"/>
                  </a:cubicBezTo>
                  <a:cubicBezTo>
                    <a:pt x="374" y="2132"/>
                    <a:pt x="396" y="2146"/>
                    <a:pt x="410" y="2161"/>
                  </a:cubicBezTo>
                  <a:cubicBezTo>
                    <a:pt x="418" y="2168"/>
                    <a:pt x="425" y="2175"/>
                    <a:pt x="432" y="2175"/>
                  </a:cubicBezTo>
                  <a:cubicBezTo>
                    <a:pt x="447" y="2175"/>
                    <a:pt x="476" y="2154"/>
                    <a:pt x="491" y="2139"/>
                  </a:cubicBezTo>
                  <a:cubicBezTo>
                    <a:pt x="498" y="2139"/>
                    <a:pt x="506" y="2132"/>
                    <a:pt x="513" y="2132"/>
                  </a:cubicBezTo>
                  <a:cubicBezTo>
                    <a:pt x="535" y="2132"/>
                    <a:pt x="542" y="2146"/>
                    <a:pt x="557" y="2161"/>
                  </a:cubicBezTo>
                  <a:cubicBezTo>
                    <a:pt x="572" y="2175"/>
                    <a:pt x="586" y="2190"/>
                    <a:pt x="608" y="2197"/>
                  </a:cubicBezTo>
                  <a:cubicBezTo>
                    <a:pt x="616" y="2205"/>
                    <a:pt x="623" y="2205"/>
                    <a:pt x="623" y="2205"/>
                  </a:cubicBezTo>
                  <a:cubicBezTo>
                    <a:pt x="637" y="2205"/>
                    <a:pt x="645" y="2197"/>
                    <a:pt x="652" y="2168"/>
                  </a:cubicBezTo>
                  <a:cubicBezTo>
                    <a:pt x="659" y="2154"/>
                    <a:pt x="667" y="2139"/>
                    <a:pt x="674" y="2124"/>
                  </a:cubicBezTo>
                  <a:cubicBezTo>
                    <a:pt x="696" y="2080"/>
                    <a:pt x="689" y="2066"/>
                    <a:pt x="667" y="2051"/>
                  </a:cubicBezTo>
                  <a:cubicBezTo>
                    <a:pt x="667" y="2044"/>
                    <a:pt x="659" y="2044"/>
                    <a:pt x="659" y="2036"/>
                  </a:cubicBezTo>
                  <a:cubicBezTo>
                    <a:pt x="652" y="2029"/>
                    <a:pt x="645" y="2022"/>
                    <a:pt x="630" y="2014"/>
                  </a:cubicBezTo>
                  <a:cubicBezTo>
                    <a:pt x="616" y="2007"/>
                    <a:pt x="601" y="2000"/>
                    <a:pt x="586" y="1978"/>
                  </a:cubicBezTo>
                  <a:cubicBezTo>
                    <a:pt x="572" y="1970"/>
                    <a:pt x="557" y="1956"/>
                    <a:pt x="557" y="1934"/>
                  </a:cubicBezTo>
                  <a:cubicBezTo>
                    <a:pt x="557" y="1919"/>
                    <a:pt x="572" y="1904"/>
                    <a:pt x="594" y="1890"/>
                  </a:cubicBezTo>
                  <a:cubicBezTo>
                    <a:pt x="601" y="1882"/>
                    <a:pt x="601" y="1882"/>
                    <a:pt x="601" y="1882"/>
                  </a:cubicBezTo>
                  <a:cubicBezTo>
                    <a:pt x="616" y="1868"/>
                    <a:pt x="623" y="1853"/>
                    <a:pt x="630" y="1846"/>
                  </a:cubicBezTo>
                  <a:cubicBezTo>
                    <a:pt x="608" y="1838"/>
                    <a:pt x="579" y="1831"/>
                    <a:pt x="542" y="1809"/>
                  </a:cubicBezTo>
                  <a:cubicBezTo>
                    <a:pt x="520" y="1802"/>
                    <a:pt x="498" y="1780"/>
                    <a:pt x="491" y="1758"/>
                  </a:cubicBezTo>
                  <a:cubicBezTo>
                    <a:pt x="491" y="1736"/>
                    <a:pt x="498" y="1721"/>
                    <a:pt x="528" y="1699"/>
                  </a:cubicBezTo>
                  <a:cubicBezTo>
                    <a:pt x="542" y="1685"/>
                    <a:pt x="564" y="1677"/>
                    <a:pt x="579" y="1677"/>
                  </a:cubicBezTo>
                  <a:cubicBezTo>
                    <a:pt x="608" y="1677"/>
                    <a:pt x="630" y="1714"/>
                    <a:pt x="645" y="1743"/>
                  </a:cubicBezTo>
                  <a:cubicBezTo>
                    <a:pt x="652" y="1758"/>
                    <a:pt x="659" y="1773"/>
                    <a:pt x="659" y="1780"/>
                  </a:cubicBezTo>
                  <a:cubicBezTo>
                    <a:pt x="659" y="1773"/>
                    <a:pt x="659" y="1765"/>
                    <a:pt x="667" y="1758"/>
                  </a:cubicBezTo>
                  <a:cubicBezTo>
                    <a:pt x="667" y="1743"/>
                    <a:pt x="667" y="1728"/>
                    <a:pt x="659" y="1714"/>
                  </a:cubicBezTo>
                  <a:cubicBezTo>
                    <a:pt x="659" y="1685"/>
                    <a:pt x="652" y="1655"/>
                    <a:pt x="689" y="1633"/>
                  </a:cubicBezTo>
                  <a:cubicBezTo>
                    <a:pt x="704" y="1619"/>
                    <a:pt x="718" y="1605"/>
                    <a:pt x="718" y="1597"/>
                  </a:cubicBezTo>
                  <a:cubicBezTo>
                    <a:pt x="718" y="1583"/>
                    <a:pt x="711" y="1576"/>
                    <a:pt x="704" y="1576"/>
                  </a:cubicBezTo>
                  <a:cubicBezTo>
                    <a:pt x="674" y="1554"/>
                    <a:pt x="564" y="1488"/>
                    <a:pt x="506" y="1480"/>
                  </a:cubicBezTo>
                  <a:cubicBezTo>
                    <a:pt x="447" y="1473"/>
                    <a:pt x="352" y="1414"/>
                    <a:pt x="330" y="1356"/>
                  </a:cubicBezTo>
                  <a:cubicBezTo>
                    <a:pt x="330" y="1348"/>
                    <a:pt x="330" y="1341"/>
                    <a:pt x="330" y="1334"/>
                  </a:cubicBezTo>
                  <a:cubicBezTo>
                    <a:pt x="315" y="1290"/>
                    <a:pt x="308" y="1275"/>
                    <a:pt x="271" y="1275"/>
                  </a:cubicBezTo>
                  <a:cubicBezTo>
                    <a:pt x="205" y="1275"/>
                    <a:pt x="176" y="1246"/>
                    <a:pt x="147" y="1202"/>
                  </a:cubicBezTo>
                  <a:cubicBezTo>
                    <a:pt x="132" y="1180"/>
                    <a:pt x="132" y="1165"/>
                    <a:pt x="132" y="1143"/>
                  </a:cubicBezTo>
                  <a:cubicBezTo>
                    <a:pt x="125" y="1128"/>
                    <a:pt x="125" y="1114"/>
                    <a:pt x="110" y="1107"/>
                  </a:cubicBezTo>
                  <a:cubicBezTo>
                    <a:pt x="73" y="1077"/>
                    <a:pt x="81" y="1011"/>
                    <a:pt x="81" y="967"/>
                  </a:cubicBezTo>
                  <a:cubicBezTo>
                    <a:pt x="88" y="953"/>
                    <a:pt x="88" y="945"/>
                    <a:pt x="88" y="938"/>
                  </a:cubicBezTo>
                  <a:cubicBezTo>
                    <a:pt x="81" y="916"/>
                    <a:pt x="81" y="916"/>
                    <a:pt x="81" y="916"/>
                  </a:cubicBezTo>
                  <a:cubicBezTo>
                    <a:pt x="95" y="916"/>
                    <a:pt x="95" y="916"/>
                    <a:pt x="95" y="916"/>
                  </a:cubicBezTo>
                  <a:cubicBezTo>
                    <a:pt x="183" y="887"/>
                    <a:pt x="220" y="865"/>
                    <a:pt x="227" y="850"/>
                  </a:cubicBezTo>
                  <a:cubicBezTo>
                    <a:pt x="249" y="814"/>
                    <a:pt x="315" y="755"/>
                    <a:pt x="359" y="748"/>
                  </a:cubicBezTo>
                  <a:cubicBezTo>
                    <a:pt x="374" y="748"/>
                    <a:pt x="396" y="748"/>
                    <a:pt x="410" y="748"/>
                  </a:cubicBezTo>
                  <a:cubicBezTo>
                    <a:pt x="432" y="748"/>
                    <a:pt x="454" y="748"/>
                    <a:pt x="476" y="748"/>
                  </a:cubicBezTo>
                  <a:lnTo>
                    <a:pt x="484" y="748"/>
                  </a:lnTo>
                  <a:cubicBezTo>
                    <a:pt x="520" y="748"/>
                    <a:pt x="579" y="726"/>
                    <a:pt x="586" y="704"/>
                  </a:cubicBezTo>
                  <a:cubicBezTo>
                    <a:pt x="594" y="689"/>
                    <a:pt x="601" y="667"/>
                    <a:pt x="601" y="652"/>
                  </a:cubicBezTo>
                  <a:cubicBezTo>
                    <a:pt x="608" y="623"/>
                    <a:pt x="608" y="594"/>
                    <a:pt x="637" y="579"/>
                  </a:cubicBezTo>
                  <a:cubicBezTo>
                    <a:pt x="637" y="579"/>
                    <a:pt x="645" y="579"/>
                    <a:pt x="652" y="579"/>
                  </a:cubicBezTo>
                  <a:cubicBezTo>
                    <a:pt x="659" y="579"/>
                    <a:pt x="674" y="586"/>
                    <a:pt x="682" y="594"/>
                  </a:cubicBezTo>
                  <a:cubicBezTo>
                    <a:pt x="696" y="601"/>
                    <a:pt x="704" y="608"/>
                    <a:pt x="711" y="608"/>
                  </a:cubicBezTo>
                  <a:cubicBezTo>
                    <a:pt x="718" y="608"/>
                    <a:pt x="725" y="601"/>
                    <a:pt x="733" y="601"/>
                  </a:cubicBezTo>
                  <a:cubicBezTo>
                    <a:pt x="740" y="594"/>
                    <a:pt x="755" y="586"/>
                    <a:pt x="762" y="572"/>
                  </a:cubicBezTo>
                  <a:cubicBezTo>
                    <a:pt x="791" y="550"/>
                    <a:pt x="828" y="528"/>
                    <a:pt x="843" y="506"/>
                  </a:cubicBezTo>
                  <a:cubicBezTo>
                    <a:pt x="872" y="469"/>
                    <a:pt x="887" y="455"/>
                    <a:pt x="931" y="433"/>
                  </a:cubicBezTo>
                  <a:cubicBezTo>
                    <a:pt x="967" y="410"/>
                    <a:pt x="975" y="410"/>
                    <a:pt x="982" y="374"/>
                  </a:cubicBezTo>
                  <a:cubicBezTo>
                    <a:pt x="982" y="352"/>
                    <a:pt x="982" y="352"/>
                    <a:pt x="982" y="352"/>
                  </a:cubicBezTo>
                  <a:cubicBezTo>
                    <a:pt x="982" y="308"/>
                    <a:pt x="989" y="257"/>
                    <a:pt x="1026" y="242"/>
                  </a:cubicBezTo>
                  <a:cubicBezTo>
                    <a:pt x="1063" y="220"/>
                    <a:pt x="1121" y="220"/>
                    <a:pt x="1143" y="220"/>
                  </a:cubicBezTo>
                  <a:cubicBezTo>
                    <a:pt x="1179" y="220"/>
                    <a:pt x="1252" y="242"/>
                    <a:pt x="1274" y="271"/>
                  </a:cubicBezTo>
                  <a:cubicBezTo>
                    <a:pt x="1303" y="301"/>
                    <a:pt x="1340" y="337"/>
                    <a:pt x="1362" y="337"/>
                  </a:cubicBezTo>
                  <a:cubicBezTo>
                    <a:pt x="1369" y="337"/>
                    <a:pt x="1369" y="337"/>
                    <a:pt x="1377" y="330"/>
                  </a:cubicBezTo>
                  <a:cubicBezTo>
                    <a:pt x="1391" y="323"/>
                    <a:pt x="1398" y="308"/>
                    <a:pt x="1406" y="293"/>
                  </a:cubicBezTo>
                  <a:cubicBezTo>
                    <a:pt x="1413" y="279"/>
                    <a:pt x="1421" y="264"/>
                    <a:pt x="1443" y="249"/>
                  </a:cubicBezTo>
                  <a:cubicBezTo>
                    <a:pt x="1457" y="242"/>
                    <a:pt x="1472" y="242"/>
                    <a:pt x="1486" y="242"/>
                  </a:cubicBezTo>
                  <a:cubicBezTo>
                    <a:pt x="1508" y="242"/>
                    <a:pt x="1523" y="249"/>
                    <a:pt x="1545" y="264"/>
                  </a:cubicBezTo>
                  <a:cubicBezTo>
                    <a:pt x="1545" y="271"/>
                    <a:pt x="1560" y="271"/>
                    <a:pt x="1567" y="271"/>
                  </a:cubicBezTo>
                  <a:cubicBezTo>
                    <a:pt x="1582" y="271"/>
                    <a:pt x="1596" y="264"/>
                    <a:pt x="1596" y="264"/>
                  </a:cubicBezTo>
                  <a:cubicBezTo>
                    <a:pt x="1596" y="257"/>
                    <a:pt x="1596" y="257"/>
                    <a:pt x="1596" y="249"/>
                  </a:cubicBezTo>
                  <a:cubicBezTo>
                    <a:pt x="1582" y="242"/>
                    <a:pt x="1574" y="235"/>
                    <a:pt x="1560" y="227"/>
                  </a:cubicBezTo>
                  <a:cubicBezTo>
                    <a:pt x="1545" y="213"/>
                    <a:pt x="1530" y="198"/>
                    <a:pt x="1530" y="161"/>
                  </a:cubicBezTo>
                  <a:cubicBezTo>
                    <a:pt x="1538" y="117"/>
                    <a:pt x="1560" y="103"/>
                    <a:pt x="1604" y="74"/>
                  </a:cubicBezTo>
                  <a:cubicBezTo>
                    <a:pt x="1618" y="66"/>
                    <a:pt x="1618" y="59"/>
                    <a:pt x="1626" y="52"/>
                  </a:cubicBezTo>
                  <a:lnTo>
                    <a:pt x="1626" y="44"/>
                  </a:lnTo>
                  <a:lnTo>
                    <a:pt x="1626" y="44"/>
                  </a:lnTo>
                  <a:cubicBezTo>
                    <a:pt x="1648" y="15"/>
                    <a:pt x="1648" y="15"/>
                    <a:pt x="1648" y="15"/>
                  </a:cubicBezTo>
                  <a:cubicBezTo>
                    <a:pt x="1655" y="22"/>
                    <a:pt x="1655" y="22"/>
                    <a:pt x="1655" y="22"/>
                  </a:cubicBezTo>
                  <a:cubicBezTo>
                    <a:pt x="1662" y="22"/>
                    <a:pt x="1670" y="15"/>
                    <a:pt x="1677" y="15"/>
                  </a:cubicBezTo>
                  <a:lnTo>
                    <a:pt x="1684" y="15"/>
                  </a:lnTo>
                  <a:cubicBezTo>
                    <a:pt x="1692" y="15"/>
                    <a:pt x="1692" y="22"/>
                    <a:pt x="1699" y="22"/>
                  </a:cubicBezTo>
                  <a:cubicBezTo>
                    <a:pt x="1721" y="22"/>
                    <a:pt x="1743" y="15"/>
                    <a:pt x="1765" y="15"/>
                  </a:cubicBezTo>
                  <a:cubicBezTo>
                    <a:pt x="1794" y="7"/>
                    <a:pt x="1816" y="0"/>
                    <a:pt x="1838" y="0"/>
                  </a:cubicBezTo>
                  <a:cubicBezTo>
                    <a:pt x="1846" y="0"/>
                    <a:pt x="1853" y="7"/>
                    <a:pt x="1867" y="7"/>
                  </a:cubicBezTo>
                  <a:cubicBezTo>
                    <a:pt x="1875" y="7"/>
                    <a:pt x="1889" y="15"/>
                    <a:pt x="1904" y="15"/>
                  </a:cubicBezTo>
                  <a:cubicBezTo>
                    <a:pt x="1934" y="22"/>
                    <a:pt x="1963" y="29"/>
                    <a:pt x="1985" y="44"/>
                  </a:cubicBezTo>
                  <a:cubicBezTo>
                    <a:pt x="1992" y="52"/>
                    <a:pt x="1999" y="59"/>
                    <a:pt x="2007" y="74"/>
                  </a:cubicBezTo>
                  <a:cubicBezTo>
                    <a:pt x="2021" y="88"/>
                    <a:pt x="2036" y="103"/>
                    <a:pt x="2051" y="103"/>
                  </a:cubicBezTo>
                  <a:cubicBezTo>
                    <a:pt x="2065" y="103"/>
                    <a:pt x="2073" y="103"/>
                    <a:pt x="2073" y="103"/>
                  </a:cubicBezTo>
                  <a:cubicBezTo>
                    <a:pt x="2087" y="103"/>
                    <a:pt x="2095" y="103"/>
                    <a:pt x="2102" y="103"/>
                  </a:cubicBezTo>
                  <a:cubicBezTo>
                    <a:pt x="2109" y="110"/>
                    <a:pt x="2117" y="110"/>
                    <a:pt x="2124" y="110"/>
                  </a:cubicBezTo>
                  <a:cubicBezTo>
                    <a:pt x="2153" y="110"/>
                    <a:pt x="2175" y="139"/>
                    <a:pt x="2175" y="169"/>
                  </a:cubicBezTo>
                  <a:cubicBezTo>
                    <a:pt x="2175" y="198"/>
                    <a:pt x="2168" y="220"/>
                    <a:pt x="2131" y="227"/>
                  </a:cubicBezTo>
                  <a:cubicBezTo>
                    <a:pt x="2095" y="227"/>
                    <a:pt x="2095" y="235"/>
                    <a:pt x="2095" y="235"/>
                  </a:cubicBezTo>
                  <a:cubicBezTo>
                    <a:pt x="2095" y="235"/>
                    <a:pt x="2087" y="242"/>
                    <a:pt x="2102" y="264"/>
                  </a:cubicBezTo>
                  <a:cubicBezTo>
                    <a:pt x="2117" y="279"/>
                    <a:pt x="2131" y="293"/>
                    <a:pt x="2146" y="308"/>
                  </a:cubicBezTo>
                  <a:cubicBezTo>
                    <a:pt x="2175" y="330"/>
                    <a:pt x="2190" y="345"/>
                    <a:pt x="2190" y="367"/>
                  </a:cubicBezTo>
                  <a:cubicBezTo>
                    <a:pt x="2197" y="374"/>
                    <a:pt x="2190" y="388"/>
                    <a:pt x="2190" y="403"/>
                  </a:cubicBezTo>
                  <a:cubicBezTo>
                    <a:pt x="2183" y="425"/>
                    <a:pt x="2183" y="433"/>
                    <a:pt x="2190" y="440"/>
                  </a:cubicBezTo>
                  <a:cubicBezTo>
                    <a:pt x="2212" y="462"/>
                    <a:pt x="2248" y="520"/>
                    <a:pt x="2248" y="557"/>
                  </a:cubicBezTo>
                  <a:cubicBezTo>
                    <a:pt x="2248" y="667"/>
                    <a:pt x="2248" y="667"/>
                    <a:pt x="2248" y="667"/>
                  </a:cubicBezTo>
                  <a:cubicBezTo>
                    <a:pt x="2248" y="704"/>
                    <a:pt x="2263" y="733"/>
                    <a:pt x="2285" y="740"/>
                  </a:cubicBezTo>
                  <a:cubicBezTo>
                    <a:pt x="2300" y="740"/>
                    <a:pt x="2307" y="748"/>
                    <a:pt x="2322" y="748"/>
                  </a:cubicBezTo>
                  <a:cubicBezTo>
                    <a:pt x="2336" y="748"/>
                    <a:pt x="2351" y="740"/>
                    <a:pt x="2373" y="733"/>
                  </a:cubicBezTo>
                  <a:cubicBezTo>
                    <a:pt x="2388" y="726"/>
                    <a:pt x="2395" y="726"/>
                    <a:pt x="2403" y="718"/>
                  </a:cubicBezTo>
                  <a:cubicBezTo>
                    <a:pt x="2417" y="711"/>
                    <a:pt x="2432" y="711"/>
                    <a:pt x="2439" y="711"/>
                  </a:cubicBezTo>
                  <a:cubicBezTo>
                    <a:pt x="2454" y="711"/>
                    <a:pt x="2461" y="711"/>
                    <a:pt x="2476" y="718"/>
                  </a:cubicBezTo>
                  <a:cubicBezTo>
                    <a:pt x="2490" y="726"/>
                    <a:pt x="2505" y="733"/>
                    <a:pt x="2527" y="748"/>
                  </a:cubicBezTo>
                  <a:cubicBezTo>
                    <a:pt x="2556" y="762"/>
                    <a:pt x="2578" y="777"/>
                    <a:pt x="2600" y="784"/>
                  </a:cubicBezTo>
                  <a:cubicBezTo>
                    <a:pt x="2608" y="792"/>
                    <a:pt x="2622" y="792"/>
                    <a:pt x="2637" y="792"/>
                  </a:cubicBezTo>
                  <a:cubicBezTo>
                    <a:pt x="2644" y="792"/>
                    <a:pt x="2652" y="792"/>
                    <a:pt x="2659" y="784"/>
                  </a:cubicBezTo>
                  <a:cubicBezTo>
                    <a:pt x="2674" y="777"/>
                    <a:pt x="2681" y="777"/>
                    <a:pt x="2681" y="777"/>
                  </a:cubicBezTo>
                  <a:cubicBezTo>
                    <a:pt x="2696" y="777"/>
                    <a:pt x="2703" y="784"/>
                    <a:pt x="2710" y="792"/>
                  </a:cubicBezTo>
                  <a:cubicBezTo>
                    <a:pt x="2717" y="792"/>
                    <a:pt x="2717" y="792"/>
                    <a:pt x="2717" y="792"/>
                  </a:cubicBezTo>
                  <a:cubicBezTo>
                    <a:pt x="2732" y="792"/>
                    <a:pt x="2739" y="792"/>
                    <a:pt x="2739" y="784"/>
                  </a:cubicBezTo>
                  <a:cubicBezTo>
                    <a:pt x="2754" y="777"/>
                    <a:pt x="2761" y="762"/>
                    <a:pt x="2784" y="762"/>
                  </a:cubicBezTo>
                  <a:cubicBezTo>
                    <a:pt x="2791" y="762"/>
                    <a:pt x="2791" y="762"/>
                    <a:pt x="2798" y="769"/>
                  </a:cubicBezTo>
                  <a:cubicBezTo>
                    <a:pt x="2820" y="769"/>
                    <a:pt x="2827" y="777"/>
                    <a:pt x="2842" y="784"/>
                  </a:cubicBezTo>
                  <a:cubicBezTo>
                    <a:pt x="2849" y="792"/>
                    <a:pt x="2857" y="799"/>
                    <a:pt x="2871" y="799"/>
                  </a:cubicBezTo>
                  <a:cubicBezTo>
                    <a:pt x="2871" y="799"/>
                    <a:pt x="2879" y="799"/>
                    <a:pt x="2879" y="792"/>
                  </a:cubicBezTo>
                  <a:cubicBezTo>
                    <a:pt x="2901" y="792"/>
                    <a:pt x="2915" y="784"/>
                    <a:pt x="2923" y="777"/>
                  </a:cubicBezTo>
                  <a:cubicBezTo>
                    <a:pt x="2930" y="769"/>
                    <a:pt x="2937" y="762"/>
                    <a:pt x="2959" y="762"/>
                  </a:cubicBezTo>
                  <a:cubicBezTo>
                    <a:pt x="2981" y="762"/>
                    <a:pt x="2989" y="784"/>
                    <a:pt x="2989" y="799"/>
                  </a:cubicBezTo>
                  <a:cubicBezTo>
                    <a:pt x="2996" y="806"/>
                    <a:pt x="2996" y="814"/>
                    <a:pt x="3011" y="814"/>
                  </a:cubicBezTo>
                  <a:cubicBezTo>
                    <a:pt x="3025" y="814"/>
                    <a:pt x="3040" y="814"/>
                    <a:pt x="3055" y="821"/>
                  </a:cubicBezTo>
                  <a:cubicBezTo>
                    <a:pt x="3069" y="821"/>
                    <a:pt x="3084" y="828"/>
                    <a:pt x="3106" y="828"/>
                  </a:cubicBezTo>
                  <a:cubicBezTo>
                    <a:pt x="3135" y="828"/>
                    <a:pt x="3150" y="843"/>
                    <a:pt x="3157" y="857"/>
                  </a:cubicBezTo>
                  <a:cubicBezTo>
                    <a:pt x="3172" y="879"/>
                    <a:pt x="3165" y="902"/>
                    <a:pt x="3157" y="924"/>
                  </a:cubicBezTo>
                  <a:cubicBezTo>
                    <a:pt x="3150" y="938"/>
                    <a:pt x="3143" y="938"/>
                    <a:pt x="3150" y="945"/>
                  </a:cubicBezTo>
                  <a:cubicBezTo>
                    <a:pt x="3150" y="953"/>
                    <a:pt x="3157" y="960"/>
                    <a:pt x="3172" y="967"/>
                  </a:cubicBezTo>
                  <a:cubicBezTo>
                    <a:pt x="3216" y="982"/>
                    <a:pt x="3223" y="989"/>
                    <a:pt x="3245" y="1026"/>
                  </a:cubicBezTo>
                  <a:cubicBezTo>
                    <a:pt x="3260" y="1063"/>
                    <a:pt x="3267" y="1070"/>
                    <a:pt x="3304" y="1092"/>
                  </a:cubicBezTo>
                  <a:cubicBezTo>
                    <a:pt x="3311" y="1099"/>
                    <a:pt x="3311" y="1099"/>
                    <a:pt x="3311" y="1099"/>
                  </a:cubicBezTo>
                  <a:cubicBezTo>
                    <a:pt x="3326" y="1107"/>
                    <a:pt x="3333" y="1114"/>
                    <a:pt x="3340" y="1128"/>
                  </a:cubicBezTo>
                  <a:cubicBezTo>
                    <a:pt x="3340" y="1143"/>
                    <a:pt x="3333" y="1158"/>
                    <a:pt x="3304" y="1187"/>
                  </a:cubicBezTo>
                  <a:cubicBezTo>
                    <a:pt x="3289" y="1209"/>
                    <a:pt x="3274" y="1238"/>
                    <a:pt x="3260" y="1261"/>
                  </a:cubicBezTo>
                  <a:cubicBezTo>
                    <a:pt x="3245" y="1297"/>
                    <a:pt x="3230" y="1326"/>
                    <a:pt x="3208" y="1326"/>
                  </a:cubicBezTo>
                  <a:cubicBezTo>
                    <a:pt x="3201" y="1326"/>
                    <a:pt x="3194" y="1319"/>
                    <a:pt x="3186" y="1319"/>
                  </a:cubicBezTo>
                  <a:cubicBezTo>
                    <a:pt x="3179" y="1319"/>
                    <a:pt x="3179" y="1319"/>
                    <a:pt x="3172" y="1319"/>
                  </a:cubicBezTo>
                  <a:cubicBezTo>
                    <a:pt x="3165" y="1319"/>
                    <a:pt x="3150" y="1319"/>
                    <a:pt x="3135" y="1334"/>
                  </a:cubicBezTo>
                  <a:cubicBezTo>
                    <a:pt x="3135" y="1334"/>
                    <a:pt x="3113" y="1348"/>
                    <a:pt x="3113" y="1356"/>
                  </a:cubicBezTo>
                  <a:cubicBezTo>
                    <a:pt x="3113" y="1356"/>
                    <a:pt x="3113" y="1356"/>
                    <a:pt x="3128" y="1370"/>
                  </a:cubicBezTo>
                  <a:cubicBezTo>
                    <a:pt x="3157" y="1400"/>
                    <a:pt x="3201" y="1407"/>
                    <a:pt x="3230" y="1414"/>
                  </a:cubicBezTo>
                  <a:cubicBezTo>
                    <a:pt x="3274" y="1422"/>
                    <a:pt x="3326" y="1444"/>
                    <a:pt x="3333" y="1488"/>
                  </a:cubicBezTo>
                  <a:cubicBezTo>
                    <a:pt x="3340" y="1495"/>
                    <a:pt x="3340" y="1502"/>
                    <a:pt x="3348" y="1510"/>
                  </a:cubicBezTo>
                  <a:cubicBezTo>
                    <a:pt x="3362" y="1539"/>
                    <a:pt x="3377" y="1576"/>
                    <a:pt x="3348" y="1605"/>
                  </a:cubicBezTo>
                  <a:cubicBezTo>
                    <a:pt x="3340" y="1612"/>
                    <a:pt x="3333" y="1612"/>
                    <a:pt x="3326" y="1619"/>
                  </a:cubicBezTo>
                  <a:cubicBezTo>
                    <a:pt x="3304" y="1633"/>
                    <a:pt x="3296" y="1641"/>
                    <a:pt x="3296" y="1648"/>
                  </a:cubicBezTo>
                  <a:cubicBezTo>
                    <a:pt x="3304" y="1677"/>
                    <a:pt x="3318" y="1692"/>
                    <a:pt x="3340" y="1706"/>
                  </a:cubicBezTo>
                  <a:cubicBezTo>
                    <a:pt x="3370" y="1736"/>
                    <a:pt x="3399" y="1751"/>
                    <a:pt x="3421" y="1751"/>
                  </a:cubicBezTo>
                  <a:cubicBezTo>
                    <a:pt x="3421" y="1751"/>
                    <a:pt x="3428" y="1751"/>
                    <a:pt x="3428" y="1743"/>
                  </a:cubicBezTo>
                  <a:cubicBezTo>
                    <a:pt x="3465" y="1736"/>
                    <a:pt x="3538" y="1714"/>
                    <a:pt x="3575" y="1714"/>
                  </a:cubicBezTo>
                  <a:cubicBezTo>
                    <a:pt x="3597" y="1714"/>
                    <a:pt x="3611" y="1721"/>
                    <a:pt x="3626" y="1736"/>
                  </a:cubicBezTo>
                  <a:cubicBezTo>
                    <a:pt x="3634" y="1743"/>
                    <a:pt x="3648" y="1751"/>
                    <a:pt x="3655" y="1751"/>
                  </a:cubicBezTo>
                  <a:cubicBezTo>
                    <a:pt x="3692" y="1751"/>
                    <a:pt x="3729" y="1743"/>
                    <a:pt x="3751" y="1743"/>
                  </a:cubicBezTo>
                  <a:lnTo>
                    <a:pt x="3751" y="1743"/>
                  </a:lnTo>
                  <a:cubicBezTo>
                    <a:pt x="3758" y="1736"/>
                    <a:pt x="3758" y="1736"/>
                    <a:pt x="3758" y="1736"/>
                  </a:cubicBezTo>
                  <a:cubicBezTo>
                    <a:pt x="3780" y="1736"/>
                    <a:pt x="3787" y="1765"/>
                    <a:pt x="3802" y="1787"/>
                  </a:cubicBezTo>
                  <a:cubicBezTo>
                    <a:pt x="3809" y="1802"/>
                    <a:pt x="3809" y="1816"/>
                    <a:pt x="3817" y="1816"/>
                  </a:cubicBezTo>
                  <a:cubicBezTo>
                    <a:pt x="3839" y="1853"/>
                    <a:pt x="3868" y="1875"/>
                    <a:pt x="3890" y="1882"/>
                  </a:cubicBezTo>
                  <a:cubicBezTo>
                    <a:pt x="3905" y="1890"/>
                    <a:pt x="3919" y="1904"/>
                    <a:pt x="3927" y="1912"/>
                  </a:cubicBezTo>
                  <a:cubicBezTo>
                    <a:pt x="3934" y="1926"/>
                    <a:pt x="3934" y="1926"/>
                    <a:pt x="3948" y="1926"/>
                  </a:cubicBezTo>
                  <a:lnTo>
                    <a:pt x="3956" y="1926"/>
                  </a:lnTo>
                  <a:cubicBezTo>
                    <a:pt x="3970" y="1926"/>
                    <a:pt x="3993" y="1926"/>
                    <a:pt x="4015" y="1926"/>
                  </a:cubicBezTo>
                  <a:cubicBezTo>
                    <a:pt x="4051" y="1926"/>
                    <a:pt x="4095" y="1919"/>
                    <a:pt x="4110" y="1912"/>
                  </a:cubicBezTo>
                  <a:cubicBezTo>
                    <a:pt x="4117" y="1904"/>
                    <a:pt x="4117" y="1904"/>
                    <a:pt x="4117" y="1904"/>
                  </a:cubicBezTo>
                  <a:cubicBezTo>
                    <a:pt x="4139" y="1890"/>
                    <a:pt x="4161" y="1882"/>
                    <a:pt x="4183" y="1882"/>
                  </a:cubicBezTo>
                  <a:cubicBezTo>
                    <a:pt x="4198" y="1882"/>
                    <a:pt x="4205" y="1882"/>
                    <a:pt x="4212" y="1890"/>
                  </a:cubicBezTo>
                  <a:cubicBezTo>
                    <a:pt x="4227" y="1897"/>
                    <a:pt x="4234" y="1912"/>
                    <a:pt x="4249" y="1926"/>
                  </a:cubicBezTo>
                  <a:cubicBezTo>
                    <a:pt x="4264" y="1956"/>
                    <a:pt x="4286" y="1985"/>
                    <a:pt x="4315" y="1985"/>
                  </a:cubicBezTo>
                  <a:cubicBezTo>
                    <a:pt x="4366" y="1985"/>
                    <a:pt x="4396" y="2000"/>
                    <a:pt x="4417" y="2051"/>
                  </a:cubicBezTo>
                  <a:cubicBezTo>
                    <a:pt x="4432" y="2087"/>
                    <a:pt x="4454" y="2139"/>
                    <a:pt x="4491" y="2139"/>
                  </a:cubicBezTo>
                  <a:cubicBezTo>
                    <a:pt x="4505" y="2146"/>
                    <a:pt x="4513" y="2146"/>
                    <a:pt x="4527" y="2146"/>
                  </a:cubicBezTo>
                  <a:cubicBezTo>
                    <a:pt x="4535" y="2154"/>
                    <a:pt x="4549" y="2154"/>
                    <a:pt x="4557" y="2154"/>
                  </a:cubicBezTo>
                  <a:cubicBezTo>
                    <a:pt x="4571" y="2154"/>
                    <a:pt x="4579" y="2154"/>
                    <a:pt x="4593" y="2146"/>
                  </a:cubicBezTo>
                  <a:cubicBezTo>
                    <a:pt x="4615" y="2132"/>
                    <a:pt x="4637" y="2124"/>
                    <a:pt x="4659" y="2124"/>
                  </a:cubicBezTo>
                  <a:cubicBezTo>
                    <a:pt x="4681" y="2124"/>
                    <a:pt x="4696" y="2132"/>
                    <a:pt x="4703" y="2146"/>
                  </a:cubicBezTo>
                  <a:cubicBezTo>
                    <a:pt x="4725" y="2175"/>
                    <a:pt x="4733" y="2190"/>
                    <a:pt x="4740" y="2190"/>
                  </a:cubicBezTo>
                  <a:cubicBezTo>
                    <a:pt x="4755" y="2183"/>
                    <a:pt x="4762" y="2175"/>
                    <a:pt x="4769" y="2168"/>
                  </a:cubicBezTo>
                  <a:cubicBezTo>
                    <a:pt x="4784" y="2146"/>
                    <a:pt x="4798" y="2132"/>
                    <a:pt x="4820" y="2132"/>
                  </a:cubicBezTo>
                  <a:cubicBezTo>
                    <a:pt x="4850" y="2132"/>
                    <a:pt x="4872" y="2154"/>
                    <a:pt x="4879" y="2183"/>
                  </a:cubicBezTo>
                  <a:cubicBezTo>
                    <a:pt x="4879" y="2190"/>
                    <a:pt x="4894" y="2219"/>
                    <a:pt x="4908" y="2219"/>
                  </a:cubicBezTo>
                  <a:lnTo>
                    <a:pt x="4916" y="2219"/>
                  </a:lnTo>
                  <a:cubicBezTo>
                    <a:pt x="4938" y="2205"/>
                    <a:pt x="4938" y="2205"/>
                    <a:pt x="4938" y="2190"/>
                  </a:cubicBezTo>
                  <a:cubicBezTo>
                    <a:pt x="4938" y="2183"/>
                    <a:pt x="4938" y="2168"/>
                    <a:pt x="4945" y="2154"/>
                  </a:cubicBezTo>
                  <a:cubicBezTo>
                    <a:pt x="4952" y="2139"/>
                    <a:pt x="4952" y="2139"/>
                    <a:pt x="4952" y="2139"/>
                  </a:cubicBezTo>
                  <a:cubicBezTo>
                    <a:pt x="4967" y="2110"/>
                    <a:pt x="4967" y="2102"/>
                    <a:pt x="5004" y="2073"/>
                  </a:cubicBezTo>
                  <a:cubicBezTo>
                    <a:pt x="5018" y="2058"/>
                    <a:pt x="5055" y="2022"/>
                    <a:pt x="5048" y="1992"/>
                  </a:cubicBezTo>
                  <a:cubicBezTo>
                    <a:pt x="5048" y="1978"/>
                    <a:pt x="5040" y="1978"/>
                    <a:pt x="5026" y="1970"/>
                  </a:cubicBezTo>
                  <a:cubicBezTo>
                    <a:pt x="5004" y="1963"/>
                    <a:pt x="4989" y="1956"/>
                    <a:pt x="4982" y="1926"/>
                  </a:cubicBezTo>
                  <a:cubicBezTo>
                    <a:pt x="4974" y="1919"/>
                    <a:pt x="4974" y="1919"/>
                    <a:pt x="4974" y="1919"/>
                  </a:cubicBezTo>
                  <a:cubicBezTo>
                    <a:pt x="4967" y="1890"/>
                    <a:pt x="4952" y="1853"/>
                    <a:pt x="4982" y="1816"/>
                  </a:cubicBezTo>
                  <a:cubicBezTo>
                    <a:pt x="4996" y="1802"/>
                    <a:pt x="5011" y="1765"/>
                    <a:pt x="5033" y="1728"/>
                  </a:cubicBezTo>
                  <a:lnTo>
                    <a:pt x="5033" y="1728"/>
                  </a:lnTo>
                  <a:cubicBezTo>
                    <a:pt x="5040" y="1721"/>
                    <a:pt x="5040" y="1721"/>
                    <a:pt x="5040" y="1721"/>
                  </a:cubicBezTo>
                  <a:cubicBezTo>
                    <a:pt x="5062" y="1721"/>
                    <a:pt x="5077" y="1721"/>
                    <a:pt x="5084" y="1721"/>
                  </a:cubicBezTo>
                  <a:cubicBezTo>
                    <a:pt x="5121" y="1721"/>
                    <a:pt x="5150" y="1728"/>
                    <a:pt x="5172" y="1765"/>
                  </a:cubicBezTo>
                  <a:cubicBezTo>
                    <a:pt x="5187" y="1787"/>
                    <a:pt x="5216" y="1794"/>
                    <a:pt x="5260" y="1794"/>
                  </a:cubicBezTo>
                  <a:cubicBezTo>
                    <a:pt x="5275" y="1794"/>
                    <a:pt x="5289" y="1794"/>
                    <a:pt x="5304" y="1794"/>
                  </a:cubicBezTo>
                  <a:cubicBezTo>
                    <a:pt x="5341" y="1787"/>
                    <a:pt x="5348" y="1780"/>
                    <a:pt x="5363" y="1780"/>
                  </a:cubicBezTo>
                  <a:cubicBezTo>
                    <a:pt x="5370" y="1773"/>
                    <a:pt x="5377" y="1773"/>
                    <a:pt x="5385" y="1773"/>
                  </a:cubicBezTo>
                  <a:cubicBezTo>
                    <a:pt x="5407" y="1773"/>
                    <a:pt x="5414" y="1787"/>
                    <a:pt x="5421" y="1794"/>
                  </a:cubicBezTo>
                  <a:cubicBezTo>
                    <a:pt x="5429" y="1802"/>
                    <a:pt x="5436" y="1816"/>
                    <a:pt x="5451" y="1816"/>
                  </a:cubicBezTo>
                  <a:cubicBezTo>
                    <a:pt x="5495" y="1824"/>
                    <a:pt x="5524" y="1846"/>
                    <a:pt x="5553" y="1912"/>
                  </a:cubicBezTo>
                  <a:cubicBezTo>
                    <a:pt x="5560" y="1934"/>
                    <a:pt x="5568" y="1948"/>
                    <a:pt x="5568" y="1970"/>
                  </a:cubicBezTo>
                  <a:cubicBezTo>
                    <a:pt x="5575" y="2000"/>
                    <a:pt x="5575" y="2014"/>
                    <a:pt x="5612" y="2022"/>
                  </a:cubicBezTo>
                  <a:cubicBezTo>
                    <a:pt x="5641" y="2029"/>
                    <a:pt x="5648" y="2029"/>
                    <a:pt x="5656" y="2036"/>
                  </a:cubicBezTo>
                  <a:cubicBezTo>
                    <a:pt x="5663" y="2036"/>
                    <a:pt x="5663" y="2036"/>
                    <a:pt x="5663" y="2036"/>
                  </a:cubicBezTo>
                  <a:cubicBezTo>
                    <a:pt x="5670" y="2036"/>
                    <a:pt x="5678" y="2036"/>
                    <a:pt x="5685" y="2029"/>
                  </a:cubicBezTo>
                  <a:cubicBezTo>
                    <a:pt x="5700" y="2029"/>
                    <a:pt x="5707" y="2022"/>
                    <a:pt x="5715" y="2022"/>
                  </a:cubicBezTo>
                  <a:cubicBezTo>
                    <a:pt x="5744" y="2022"/>
                    <a:pt x="5751" y="2051"/>
                    <a:pt x="5758" y="2073"/>
                  </a:cubicBezTo>
                  <a:cubicBezTo>
                    <a:pt x="5758" y="2080"/>
                    <a:pt x="5766" y="2087"/>
                    <a:pt x="5766" y="2095"/>
                  </a:cubicBezTo>
                  <a:cubicBezTo>
                    <a:pt x="5780" y="2124"/>
                    <a:pt x="5780" y="2124"/>
                    <a:pt x="5780" y="2124"/>
                  </a:cubicBezTo>
                  <a:cubicBezTo>
                    <a:pt x="5795" y="2154"/>
                    <a:pt x="5802" y="2190"/>
                    <a:pt x="5817" y="2242"/>
                  </a:cubicBezTo>
                  <a:cubicBezTo>
                    <a:pt x="5824" y="2263"/>
                    <a:pt x="5824" y="2263"/>
                    <a:pt x="5824" y="2263"/>
                  </a:cubicBezTo>
                  <a:cubicBezTo>
                    <a:pt x="5839" y="2322"/>
                    <a:pt x="5839" y="2337"/>
                    <a:pt x="5795" y="2373"/>
                  </a:cubicBezTo>
                  <a:cubicBezTo>
                    <a:pt x="5780" y="2381"/>
                    <a:pt x="5758" y="2388"/>
                    <a:pt x="5707" y="2388"/>
                  </a:cubicBezTo>
                  <a:lnTo>
                    <a:pt x="5707" y="2388"/>
                  </a:lnTo>
                  <a:cubicBezTo>
                    <a:pt x="5685" y="2388"/>
                    <a:pt x="5663" y="2388"/>
                    <a:pt x="5634" y="2388"/>
                  </a:cubicBezTo>
                  <a:cubicBezTo>
                    <a:pt x="5605" y="2381"/>
                    <a:pt x="5583" y="2381"/>
                    <a:pt x="5560" y="2381"/>
                  </a:cubicBezTo>
                  <a:cubicBezTo>
                    <a:pt x="5531" y="2381"/>
                    <a:pt x="5509" y="2388"/>
                    <a:pt x="5495" y="2388"/>
                  </a:cubicBezTo>
                  <a:cubicBezTo>
                    <a:pt x="5458" y="2410"/>
                    <a:pt x="5443" y="2432"/>
                    <a:pt x="5429" y="2469"/>
                  </a:cubicBezTo>
                  <a:cubicBezTo>
                    <a:pt x="5421" y="2476"/>
                    <a:pt x="5414" y="2483"/>
                    <a:pt x="5407" y="2491"/>
                  </a:cubicBezTo>
                  <a:cubicBezTo>
                    <a:pt x="5399" y="2513"/>
                    <a:pt x="5392" y="2542"/>
                    <a:pt x="5392" y="2556"/>
                  </a:cubicBezTo>
                  <a:cubicBezTo>
                    <a:pt x="5385" y="2586"/>
                    <a:pt x="5385" y="2601"/>
                    <a:pt x="5370" y="2608"/>
                  </a:cubicBezTo>
                  <a:cubicBezTo>
                    <a:pt x="5363" y="2615"/>
                    <a:pt x="5363" y="2615"/>
                    <a:pt x="5363" y="2615"/>
                  </a:cubicBezTo>
                  <a:lnTo>
                    <a:pt x="5363" y="2615"/>
                  </a:lnTo>
                  <a:cubicBezTo>
                    <a:pt x="5355" y="2615"/>
                    <a:pt x="5341" y="2615"/>
                    <a:pt x="5326" y="2549"/>
                  </a:cubicBezTo>
                  <a:cubicBezTo>
                    <a:pt x="5319" y="2564"/>
                    <a:pt x="5304" y="2571"/>
                    <a:pt x="5289" y="2578"/>
                  </a:cubicBezTo>
                  <a:cubicBezTo>
                    <a:pt x="5275" y="2586"/>
                    <a:pt x="5260" y="2586"/>
                    <a:pt x="5253" y="2586"/>
                  </a:cubicBezTo>
                  <a:cubicBezTo>
                    <a:pt x="5224" y="2593"/>
                    <a:pt x="5216" y="2593"/>
                    <a:pt x="5216" y="2608"/>
                  </a:cubicBezTo>
                  <a:cubicBezTo>
                    <a:pt x="5216" y="2615"/>
                    <a:pt x="5216" y="2615"/>
                    <a:pt x="5216" y="2615"/>
                  </a:cubicBezTo>
                  <a:cubicBezTo>
                    <a:pt x="5209" y="2644"/>
                    <a:pt x="5201" y="2666"/>
                    <a:pt x="5172" y="2666"/>
                  </a:cubicBezTo>
                  <a:cubicBezTo>
                    <a:pt x="5165" y="2666"/>
                    <a:pt x="5165" y="2666"/>
                    <a:pt x="5158" y="2659"/>
                  </a:cubicBezTo>
                  <a:cubicBezTo>
                    <a:pt x="5143" y="2659"/>
                    <a:pt x="5143" y="2659"/>
                    <a:pt x="5143" y="2659"/>
                  </a:cubicBezTo>
                  <a:cubicBezTo>
                    <a:pt x="5128" y="2652"/>
                    <a:pt x="5114" y="2652"/>
                    <a:pt x="5106" y="2652"/>
                  </a:cubicBezTo>
                  <a:cubicBezTo>
                    <a:pt x="5092" y="2652"/>
                    <a:pt x="5084" y="2652"/>
                    <a:pt x="5077" y="2666"/>
                  </a:cubicBezTo>
                  <a:cubicBezTo>
                    <a:pt x="5070" y="2674"/>
                    <a:pt x="5070" y="2674"/>
                    <a:pt x="5070" y="2681"/>
                  </a:cubicBezTo>
                  <a:cubicBezTo>
                    <a:pt x="5048" y="2703"/>
                    <a:pt x="5048" y="2710"/>
                    <a:pt x="5004" y="2725"/>
                  </a:cubicBezTo>
                  <a:cubicBezTo>
                    <a:pt x="4989" y="2725"/>
                    <a:pt x="4989" y="2725"/>
                    <a:pt x="4989" y="2725"/>
                  </a:cubicBezTo>
                  <a:cubicBezTo>
                    <a:pt x="4989" y="2732"/>
                    <a:pt x="5018" y="2747"/>
                    <a:pt x="5040" y="2754"/>
                  </a:cubicBezTo>
                  <a:cubicBezTo>
                    <a:pt x="5055" y="2754"/>
                    <a:pt x="5055" y="2754"/>
                    <a:pt x="5055" y="2754"/>
                  </a:cubicBezTo>
                  <a:cubicBezTo>
                    <a:pt x="5077" y="2762"/>
                    <a:pt x="5099" y="2762"/>
                    <a:pt x="5106" y="2776"/>
                  </a:cubicBezTo>
                  <a:cubicBezTo>
                    <a:pt x="5114" y="2791"/>
                    <a:pt x="5106" y="2813"/>
                    <a:pt x="5092" y="2828"/>
                  </a:cubicBezTo>
                  <a:cubicBezTo>
                    <a:pt x="5070" y="2864"/>
                    <a:pt x="5040" y="2864"/>
                    <a:pt x="5018" y="2872"/>
                  </a:cubicBezTo>
                  <a:cubicBezTo>
                    <a:pt x="5011" y="2872"/>
                    <a:pt x="5011" y="2872"/>
                    <a:pt x="5004" y="2872"/>
                  </a:cubicBezTo>
                  <a:cubicBezTo>
                    <a:pt x="4982" y="2879"/>
                    <a:pt x="4974" y="2901"/>
                    <a:pt x="4974" y="2937"/>
                  </a:cubicBezTo>
                  <a:cubicBezTo>
                    <a:pt x="4982" y="2937"/>
                    <a:pt x="4982" y="2945"/>
                    <a:pt x="4982" y="2945"/>
                  </a:cubicBezTo>
                  <a:cubicBezTo>
                    <a:pt x="4989" y="2945"/>
                    <a:pt x="5004" y="2930"/>
                    <a:pt x="5011" y="2923"/>
                  </a:cubicBezTo>
                  <a:cubicBezTo>
                    <a:pt x="5011" y="2923"/>
                    <a:pt x="5018" y="2916"/>
                    <a:pt x="5026" y="2916"/>
                  </a:cubicBezTo>
                  <a:cubicBezTo>
                    <a:pt x="5033" y="2908"/>
                    <a:pt x="5040" y="2908"/>
                    <a:pt x="5048" y="2908"/>
                  </a:cubicBezTo>
                  <a:cubicBezTo>
                    <a:pt x="5055" y="2908"/>
                    <a:pt x="5062" y="2916"/>
                    <a:pt x="5070" y="2923"/>
                  </a:cubicBezTo>
                  <a:cubicBezTo>
                    <a:pt x="5084" y="2937"/>
                    <a:pt x="5084" y="2960"/>
                    <a:pt x="5077" y="2982"/>
                  </a:cubicBezTo>
                  <a:cubicBezTo>
                    <a:pt x="5077" y="3004"/>
                    <a:pt x="5070" y="3011"/>
                    <a:pt x="5062" y="3018"/>
                  </a:cubicBezTo>
                  <a:cubicBezTo>
                    <a:pt x="5055" y="3025"/>
                    <a:pt x="5048" y="3033"/>
                    <a:pt x="5055" y="3040"/>
                  </a:cubicBezTo>
                  <a:cubicBezTo>
                    <a:pt x="5062" y="3069"/>
                    <a:pt x="5077" y="3084"/>
                    <a:pt x="5136" y="3092"/>
                  </a:cubicBezTo>
                  <a:cubicBezTo>
                    <a:pt x="5165" y="3099"/>
                    <a:pt x="5179" y="3113"/>
                    <a:pt x="5179" y="3135"/>
                  </a:cubicBezTo>
                  <a:cubicBezTo>
                    <a:pt x="5187" y="3165"/>
                    <a:pt x="5165" y="3209"/>
                    <a:pt x="5143" y="3223"/>
                  </a:cubicBezTo>
                  <a:cubicBezTo>
                    <a:pt x="5121" y="3231"/>
                    <a:pt x="5121" y="3231"/>
                    <a:pt x="5121" y="3231"/>
                  </a:cubicBezTo>
                  <a:cubicBezTo>
                    <a:pt x="5099" y="3238"/>
                    <a:pt x="5099" y="3245"/>
                    <a:pt x="5084" y="3260"/>
                  </a:cubicBezTo>
                  <a:cubicBezTo>
                    <a:pt x="5077" y="3267"/>
                    <a:pt x="5077" y="3267"/>
                    <a:pt x="5077" y="3267"/>
                  </a:cubicBezTo>
                  <a:cubicBezTo>
                    <a:pt x="5070" y="3289"/>
                    <a:pt x="5062" y="3297"/>
                    <a:pt x="5026" y="3311"/>
                  </a:cubicBezTo>
                  <a:cubicBezTo>
                    <a:pt x="5018" y="3311"/>
                    <a:pt x="5004" y="3311"/>
                    <a:pt x="4989" y="3311"/>
                  </a:cubicBezTo>
                  <a:cubicBezTo>
                    <a:pt x="4974" y="3311"/>
                    <a:pt x="4960" y="3311"/>
                    <a:pt x="4952" y="3311"/>
                  </a:cubicBezTo>
                  <a:cubicBezTo>
                    <a:pt x="4938" y="3319"/>
                    <a:pt x="4901" y="3348"/>
                    <a:pt x="4842" y="3348"/>
                  </a:cubicBezTo>
                  <a:cubicBezTo>
                    <a:pt x="4842" y="3355"/>
                    <a:pt x="4842" y="3355"/>
                    <a:pt x="4842" y="3355"/>
                  </a:cubicBezTo>
                  <a:cubicBezTo>
                    <a:pt x="4842" y="3363"/>
                    <a:pt x="4835" y="3370"/>
                    <a:pt x="4828" y="3377"/>
                  </a:cubicBezTo>
                  <a:cubicBezTo>
                    <a:pt x="4813" y="3406"/>
                    <a:pt x="4813" y="3406"/>
                    <a:pt x="4820" y="3428"/>
                  </a:cubicBezTo>
                  <a:cubicBezTo>
                    <a:pt x="4835" y="3451"/>
                    <a:pt x="4842" y="3494"/>
                    <a:pt x="4777" y="3531"/>
                  </a:cubicBezTo>
                  <a:cubicBezTo>
                    <a:pt x="4769" y="3531"/>
                    <a:pt x="4762" y="3531"/>
                    <a:pt x="4755" y="3531"/>
                  </a:cubicBezTo>
                  <a:cubicBezTo>
                    <a:pt x="4733" y="3531"/>
                    <a:pt x="4725" y="3516"/>
                    <a:pt x="4725" y="3502"/>
                  </a:cubicBezTo>
                  <a:cubicBezTo>
                    <a:pt x="4718" y="3494"/>
                    <a:pt x="4718" y="3487"/>
                    <a:pt x="4718" y="3487"/>
                  </a:cubicBezTo>
                  <a:cubicBezTo>
                    <a:pt x="4718" y="3487"/>
                    <a:pt x="4710" y="3494"/>
                    <a:pt x="4710" y="3502"/>
                  </a:cubicBezTo>
                  <a:cubicBezTo>
                    <a:pt x="4710" y="3516"/>
                    <a:pt x="4703" y="3546"/>
                    <a:pt x="4674" y="3568"/>
                  </a:cubicBezTo>
                  <a:cubicBezTo>
                    <a:pt x="4667" y="3582"/>
                    <a:pt x="4652" y="3590"/>
                    <a:pt x="4630" y="3590"/>
                  </a:cubicBezTo>
                  <a:cubicBezTo>
                    <a:pt x="4593" y="3590"/>
                    <a:pt x="4557" y="3546"/>
                    <a:pt x="4549" y="3516"/>
                  </a:cubicBezTo>
                  <a:cubicBezTo>
                    <a:pt x="4542" y="3494"/>
                    <a:pt x="4557" y="3465"/>
                    <a:pt x="4564" y="3451"/>
                  </a:cubicBezTo>
                  <a:cubicBezTo>
                    <a:pt x="4549" y="3436"/>
                    <a:pt x="4527" y="3406"/>
                    <a:pt x="4527" y="3377"/>
                  </a:cubicBezTo>
                  <a:cubicBezTo>
                    <a:pt x="4527" y="3370"/>
                    <a:pt x="4527" y="3355"/>
                    <a:pt x="4535" y="3348"/>
                  </a:cubicBezTo>
                  <a:cubicBezTo>
                    <a:pt x="4535" y="3348"/>
                    <a:pt x="4527" y="3341"/>
                    <a:pt x="4520" y="3341"/>
                  </a:cubicBezTo>
                  <a:cubicBezTo>
                    <a:pt x="4513" y="3341"/>
                    <a:pt x="4513" y="3348"/>
                    <a:pt x="4505" y="3355"/>
                  </a:cubicBezTo>
                  <a:cubicBezTo>
                    <a:pt x="4498" y="3377"/>
                    <a:pt x="4491" y="3385"/>
                    <a:pt x="4469" y="3392"/>
                  </a:cubicBezTo>
                  <a:cubicBezTo>
                    <a:pt x="4461" y="3399"/>
                    <a:pt x="4454" y="3399"/>
                    <a:pt x="4447" y="3406"/>
                  </a:cubicBezTo>
                  <a:cubicBezTo>
                    <a:pt x="4403" y="3436"/>
                    <a:pt x="4388" y="3443"/>
                    <a:pt x="4374" y="3487"/>
                  </a:cubicBezTo>
                  <a:cubicBezTo>
                    <a:pt x="4374" y="3494"/>
                    <a:pt x="4374" y="3494"/>
                    <a:pt x="4374" y="3494"/>
                  </a:cubicBezTo>
                  <a:cubicBezTo>
                    <a:pt x="4351" y="3546"/>
                    <a:pt x="4344" y="3582"/>
                    <a:pt x="4293" y="3590"/>
                  </a:cubicBezTo>
                  <a:cubicBezTo>
                    <a:pt x="4278" y="3590"/>
                    <a:pt x="4278" y="3597"/>
                    <a:pt x="4278" y="3604"/>
                  </a:cubicBezTo>
                  <a:cubicBezTo>
                    <a:pt x="4271" y="3612"/>
                    <a:pt x="4264" y="3626"/>
                    <a:pt x="4278" y="3670"/>
                  </a:cubicBezTo>
                  <a:cubicBezTo>
                    <a:pt x="4286" y="3685"/>
                    <a:pt x="4293" y="3692"/>
                    <a:pt x="4293" y="3692"/>
                  </a:cubicBezTo>
                  <a:cubicBezTo>
                    <a:pt x="4300" y="3692"/>
                    <a:pt x="4308" y="3692"/>
                    <a:pt x="4322" y="3678"/>
                  </a:cubicBezTo>
                  <a:cubicBezTo>
                    <a:pt x="4329" y="3663"/>
                    <a:pt x="4344" y="3663"/>
                    <a:pt x="4351" y="3663"/>
                  </a:cubicBezTo>
                  <a:cubicBezTo>
                    <a:pt x="4388" y="3663"/>
                    <a:pt x="4417" y="3707"/>
                    <a:pt x="4432" y="3758"/>
                  </a:cubicBezTo>
                  <a:cubicBezTo>
                    <a:pt x="4454" y="3824"/>
                    <a:pt x="4439" y="3846"/>
                    <a:pt x="4374" y="3883"/>
                  </a:cubicBezTo>
                  <a:cubicBezTo>
                    <a:pt x="4315" y="3919"/>
                    <a:pt x="4315" y="3927"/>
                    <a:pt x="4286" y="3963"/>
                  </a:cubicBezTo>
                  <a:cubicBezTo>
                    <a:pt x="4293" y="3985"/>
                    <a:pt x="4329" y="4000"/>
                    <a:pt x="4374" y="4015"/>
                  </a:cubicBezTo>
                  <a:cubicBezTo>
                    <a:pt x="4374" y="4044"/>
                    <a:pt x="4374" y="4044"/>
                    <a:pt x="4374" y="4044"/>
                  </a:cubicBezTo>
                  <a:cubicBezTo>
                    <a:pt x="4351" y="4051"/>
                    <a:pt x="4329" y="4059"/>
                    <a:pt x="4308" y="4066"/>
                  </a:cubicBezTo>
                  <a:cubicBezTo>
                    <a:pt x="4242" y="4103"/>
                    <a:pt x="4227" y="4103"/>
                    <a:pt x="4139" y="4103"/>
                  </a:cubicBezTo>
                  <a:cubicBezTo>
                    <a:pt x="4095" y="4103"/>
                    <a:pt x="4073" y="4095"/>
                    <a:pt x="4066" y="4073"/>
                  </a:cubicBezTo>
                  <a:cubicBezTo>
                    <a:pt x="4066" y="4073"/>
                    <a:pt x="4066" y="4073"/>
                    <a:pt x="4051" y="4073"/>
                  </a:cubicBezTo>
                  <a:cubicBezTo>
                    <a:pt x="3985" y="4073"/>
                    <a:pt x="3883" y="4110"/>
                    <a:pt x="3802" y="4147"/>
                  </a:cubicBezTo>
                  <a:cubicBezTo>
                    <a:pt x="3787" y="4154"/>
                    <a:pt x="3773" y="4161"/>
                    <a:pt x="3758" y="4161"/>
                  </a:cubicBezTo>
                  <a:cubicBezTo>
                    <a:pt x="3729" y="4161"/>
                    <a:pt x="3714" y="4147"/>
                    <a:pt x="3699" y="4132"/>
                  </a:cubicBezTo>
                  <a:cubicBezTo>
                    <a:pt x="3692" y="4117"/>
                    <a:pt x="3677" y="4110"/>
                    <a:pt x="3670" y="4103"/>
                  </a:cubicBezTo>
                  <a:cubicBezTo>
                    <a:pt x="3663" y="4103"/>
                    <a:pt x="3663" y="4103"/>
                    <a:pt x="3655" y="4103"/>
                  </a:cubicBezTo>
                  <a:cubicBezTo>
                    <a:pt x="3648" y="4103"/>
                    <a:pt x="3634" y="4117"/>
                    <a:pt x="3619" y="4132"/>
                  </a:cubicBezTo>
                  <a:cubicBezTo>
                    <a:pt x="3611" y="4154"/>
                    <a:pt x="3589" y="4176"/>
                    <a:pt x="3567" y="4191"/>
                  </a:cubicBezTo>
                  <a:cubicBezTo>
                    <a:pt x="3560" y="4205"/>
                    <a:pt x="3546" y="4205"/>
                    <a:pt x="3531" y="4205"/>
                  </a:cubicBezTo>
                  <a:cubicBezTo>
                    <a:pt x="3472" y="4205"/>
                    <a:pt x="3443" y="4125"/>
                    <a:pt x="3436" y="4095"/>
                  </a:cubicBezTo>
                  <a:cubicBezTo>
                    <a:pt x="3421" y="4051"/>
                    <a:pt x="3414" y="4022"/>
                    <a:pt x="3362" y="4015"/>
                  </a:cubicBezTo>
                  <a:cubicBezTo>
                    <a:pt x="3340" y="4007"/>
                    <a:pt x="3318" y="3993"/>
                    <a:pt x="3304" y="3963"/>
                  </a:cubicBezTo>
                  <a:cubicBezTo>
                    <a:pt x="3282" y="3934"/>
                    <a:pt x="3274" y="3883"/>
                    <a:pt x="3282" y="3861"/>
                  </a:cubicBezTo>
                  <a:cubicBezTo>
                    <a:pt x="3289" y="3839"/>
                    <a:pt x="3296" y="3780"/>
                    <a:pt x="3274" y="3751"/>
                  </a:cubicBezTo>
                  <a:cubicBezTo>
                    <a:pt x="3267" y="3744"/>
                    <a:pt x="3260" y="3744"/>
                    <a:pt x="3252" y="3744"/>
                  </a:cubicBezTo>
                  <a:cubicBezTo>
                    <a:pt x="3245" y="3744"/>
                    <a:pt x="3230" y="3744"/>
                    <a:pt x="3216" y="3744"/>
                  </a:cubicBezTo>
                  <a:cubicBezTo>
                    <a:pt x="3208" y="3744"/>
                    <a:pt x="3201" y="3744"/>
                    <a:pt x="3186" y="3744"/>
                  </a:cubicBezTo>
                  <a:cubicBezTo>
                    <a:pt x="3150" y="3744"/>
                    <a:pt x="3150" y="3751"/>
                    <a:pt x="3143" y="3758"/>
                  </a:cubicBezTo>
                  <a:cubicBezTo>
                    <a:pt x="3128" y="3795"/>
                    <a:pt x="3091" y="3817"/>
                    <a:pt x="3033" y="3854"/>
                  </a:cubicBezTo>
                  <a:cubicBezTo>
                    <a:pt x="2996" y="3883"/>
                    <a:pt x="2959" y="3905"/>
                    <a:pt x="2945" y="3919"/>
                  </a:cubicBezTo>
                  <a:cubicBezTo>
                    <a:pt x="2945" y="3949"/>
                    <a:pt x="2959" y="4051"/>
                    <a:pt x="2996" y="4117"/>
                  </a:cubicBezTo>
                  <a:cubicBezTo>
                    <a:pt x="3025" y="4169"/>
                    <a:pt x="3025" y="4235"/>
                    <a:pt x="3018" y="4301"/>
                  </a:cubicBezTo>
                  <a:cubicBezTo>
                    <a:pt x="3018" y="4344"/>
                    <a:pt x="3018" y="4388"/>
                    <a:pt x="3018" y="4440"/>
                  </a:cubicBezTo>
                  <a:cubicBezTo>
                    <a:pt x="3025" y="4498"/>
                    <a:pt x="3018" y="4535"/>
                    <a:pt x="3003" y="4557"/>
                  </a:cubicBezTo>
                  <a:cubicBezTo>
                    <a:pt x="2989" y="4572"/>
                    <a:pt x="2967" y="4572"/>
                    <a:pt x="2952" y="4572"/>
                  </a:cubicBezTo>
                  <a:cubicBezTo>
                    <a:pt x="2945" y="4572"/>
                    <a:pt x="2945" y="4572"/>
                    <a:pt x="2937" y="4572"/>
                  </a:cubicBezTo>
                  <a:cubicBezTo>
                    <a:pt x="2930" y="4572"/>
                    <a:pt x="2930" y="4572"/>
                    <a:pt x="2923" y="4572"/>
                  </a:cubicBezTo>
                  <a:cubicBezTo>
                    <a:pt x="2908" y="4572"/>
                    <a:pt x="2893" y="4564"/>
                    <a:pt x="2886" y="4557"/>
                  </a:cubicBezTo>
                  <a:cubicBezTo>
                    <a:pt x="2879" y="4550"/>
                    <a:pt x="2871" y="4550"/>
                    <a:pt x="2871" y="4550"/>
                  </a:cubicBezTo>
                  <a:cubicBezTo>
                    <a:pt x="2864" y="4550"/>
                    <a:pt x="2864" y="4550"/>
                    <a:pt x="2857" y="4557"/>
                  </a:cubicBezTo>
                  <a:cubicBezTo>
                    <a:pt x="2842" y="4564"/>
                    <a:pt x="2827" y="4572"/>
                    <a:pt x="2813" y="4572"/>
                  </a:cubicBezTo>
                  <a:cubicBezTo>
                    <a:pt x="2784" y="4572"/>
                    <a:pt x="2754" y="4557"/>
                    <a:pt x="2725" y="4520"/>
                  </a:cubicBezTo>
                  <a:cubicBezTo>
                    <a:pt x="2681" y="4476"/>
                    <a:pt x="2703" y="4418"/>
                    <a:pt x="2710" y="4410"/>
                  </a:cubicBezTo>
                  <a:cubicBezTo>
                    <a:pt x="2710" y="4396"/>
                    <a:pt x="2725" y="4330"/>
                    <a:pt x="2703" y="4308"/>
                  </a:cubicBezTo>
                  <a:cubicBezTo>
                    <a:pt x="2681" y="4286"/>
                    <a:pt x="2659" y="4286"/>
                    <a:pt x="2644" y="4286"/>
                  </a:cubicBezTo>
                  <a:cubicBezTo>
                    <a:pt x="2629" y="4286"/>
                    <a:pt x="2622" y="4286"/>
                    <a:pt x="2622" y="4286"/>
                  </a:cubicBezTo>
                  <a:lnTo>
                    <a:pt x="2622" y="4286"/>
                  </a:lnTo>
                  <a:cubicBezTo>
                    <a:pt x="2622" y="4286"/>
                    <a:pt x="2564" y="4330"/>
                    <a:pt x="2512" y="4330"/>
                  </a:cubicBezTo>
                  <a:cubicBezTo>
                    <a:pt x="2505" y="4330"/>
                    <a:pt x="2498" y="4323"/>
                    <a:pt x="2483" y="4315"/>
                  </a:cubicBezTo>
                  <a:cubicBezTo>
                    <a:pt x="2439" y="4286"/>
                    <a:pt x="2424" y="4286"/>
                    <a:pt x="2417" y="4286"/>
                  </a:cubicBezTo>
                  <a:cubicBezTo>
                    <a:pt x="2417" y="4308"/>
                    <a:pt x="2403" y="4315"/>
                    <a:pt x="2388" y="4315"/>
                  </a:cubicBezTo>
                  <a:cubicBezTo>
                    <a:pt x="2366" y="4315"/>
                    <a:pt x="2336" y="4286"/>
                    <a:pt x="2322" y="4256"/>
                  </a:cubicBezTo>
                  <a:cubicBezTo>
                    <a:pt x="2300" y="4220"/>
                    <a:pt x="2227" y="4205"/>
                    <a:pt x="2190" y="4205"/>
                  </a:cubicBezTo>
                  <a:cubicBezTo>
                    <a:pt x="2175" y="4205"/>
                    <a:pt x="2161" y="4205"/>
                    <a:pt x="2146" y="4205"/>
                  </a:cubicBezTo>
                  <a:cubicBezTo>
                    <a:pt x="2131" y="4198"/>
                    <a:pt x="2117" y="4198"/>
                    <a:pt x="2102" y="4198"/>
                  </a:cubicBezTo>
                  <a:cubicBezTo>
                    <a:pt x="2080" y="4198"/>
                    <a:pt x="2065" y="4198"/>
                    <a:pt x="2043" y="4205"/>
                  </a:cubicBezTo>
                  <a:cubicBezTo>
                    <a:pt x="1985" y="4227"/>
                    <a:pt x="1970" y="4235"/>
                    <a:pt x="1912" y="4278"/>
                  </a:cubicBezTo>
                  <a:cubicBezTo>
                    <a:pt x="1889" y="4293"/>
                    <a:pt x="1889" y="4293"/>
                    <a:pt x="1889" y="4293"/>
                  </a:cubicBezTo>
                  <a:cubicBezTo>
                    <a:pt x="1831" y="4337"/>
                    <a:pt x="1838" y="4359"/>
                    <a:pt x="1853" y="4418"/>
                  </a:cubicBezTo>
                  <a:cubicBezTo>
                    <a:pt x="1860" y="4440"/>
                    <a:pt x="1860" y="4440"/>
                    <a:pt x="1860" y="4440"/>
                  </a:cubicBezTo>
                  <a:cubicBezTo>
                    <a:pt x="1875" y="4476"/>
                    <a:pt x="1919" y="4491"/>
                    <a:pt x="1977" y="4513"/>
                  </a:cubicBezTo>
                  <a:cubicBezTo>
                    <a:pt x="2007" y="4528"/>
                    <a:pt x="2036" y="4535"/>
                    <a:pt x="2058" y="4550"/>
                  </a:cubicBezTo>
                  <a:cubicBezTo>
                    <a:pt x="2102" y="4579"/>
                    <a:pt x="2117" y="4608"/>
                    <a:pt x="2109" y="4652"/>
                  </a:cubicBezTo>
                  <a:cubicBezTo>
                    <a:pt x="2102" y="4682"/>
                    <a:pt x="2073" y="4704"/>
                    <a:pt x="2043" y="4704"/>
                  </a:cubicBezTo>
                  <a:cubicBezTo>
                    <a:pt x="2021" y="4704"/>
                    <a:pt x="2007" y="4704"/>
                    <a:pt x="1999" y="4696"/>
                  </a:cubicBezTo>
                  <a:lnTo>
                    <a:pt x="1992" y="4696"/>
                  </a:lnTo>
                  <a:cubicBezTo>
                    <a:pt x="1992" y="4696"/>
                    <a:pt x="1985" y="4696"/>
                    <a:pt x="1977" y="4711"/>
                  </a:cubicBezTo>
                  <a:cubicBezTo>
                    <a:pt x="1963" y="4725"/>
                    <a:pt x="1941" y="4733"/>
                    <a:pt x="1919" y="4733"/>
                  </a:cubicBezTo>
                  <a:cubicBezTo>
                    <a:pt x="1897" y="4733"/>
                    <a:pt x="1875" y="4725"/>
                    <a:pt x="1853" y="4718"/>
                  </a:cubicBezTo>
                  <a:cubicBezTo>
                    <a:pt x="1853" y="4740"/>
                    <a:pt x="1853" y="4762"/>
                    <a:pt x="1838" y="4769"/>
                  </a:cubicBezTo>
                  <a:cubicBezTo>
                    <a:pt x="1831" y="4784"/>
                    <a:pt x="1809" y="4792"/>
                    <a:pt x="1787" y="4792"/>
                  </a:cubicBezTo>
                </a:path>
              </a:pathLst>
            </a:custGeom>
            <a:solidFill>
              <a:schemeClr val="accent1"/>
            </a:solid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67" name="Freeform 66">
              <a:extLst>
                <a:ext uri="{FF2B5EF4-FFF2-40B4-BE49-F238E27FC236}">
                  <a16:creationId xmlns:a16="http://schemas.microsoft.com/office/drawing/2014/main" id="{26B7999F-9318-804D-8BEF-8C94640CCB95}"/>
                </a:ext>
              </a:extLst>
            </p:cNvPr>
            <p:cNvSpPr>
              <a:spLocks noChangeArrowheads="1"/>
            </p:cNvSpPr>
            <p:nvPr/>
          </p:nvSpPr>
          <p:spPr bwMode="auto">
            <a:xfrm>
              <a:off x="6589487" y="6880626"/>
              <a:ext cx="2257995" cy="1834849"/>
            </a:xfrm>
            <a:custGeom>
              <a:avLst/>
              <a:gdLst>
                <a:gd name="T0" fmla="*/ 2190 w 5877"/>
                <a:gd name="T1" fmla="*/ 477 h 4829"/>
                <a:gd name="T2" fmla="*/ 2732 w 5877"/>
                <a:gd name="T3" fmla="*/ 836 h 4829"/>
                <a:gd name="T4" fmla="*/ 3311 w 5877"/>
                <a:gd name="T5" fmla="*/ 1129 h 4829"/>
                <a:gd name="T6" fmla="*/ 3451 w 5877"/>
                <a:gd name="T7" fmla="*/ 1780 h 4829"/>
                <a:gd name="T8" fmla="*/ 4330 w 5877"/>
                <a:gd name="T9" fmla="*/ 2022 h 4829"/>
                <a:gd name="T10" fmla="*/ 4938 w 5877"/>
                <a:gd name="T11" fmla="*/ 2256 h 4829"/>
                <a:gd name="T12" fmla="*/ 5400 w 5877"/>
                <a:gd name="T13" fmla="*/ 1809 h 4829"/>
                <a:gd name="T14" fmla="*/ 5502 w 5877"/>
                <a:gd name="T15" fmla="*/ 2395 h 4829"/>
                <a:gd name="T16" fmla="*/ 5055 w 5877"/>
                <a:gd name="T17" fmla="*/ 2791 h 4829"/>
                <a:gd name="T18" fmla="*/ 5041 w 5877"/>
                <a:gd name="T19" fmla="*/ 3319 h 4829"/>
                <a:gd name="T20" fmla="*/ 4594 w 5877"/>
                <a:gd name="T21" fmla="*/ 3473 h 4829"/>
                <a:gd name="T22" fmla="*/ 4381 w 5877"/>
                <a:gd name="T23" fmla="*/ 3897 h 4829"/>
                <a:gd name="T24" fmla="*/ 3465 w 5877"/>
                <a:gd name="T25" fmla="*/ 4110 h 4829"/>
                <a:gd name="T26" fmla="*/ 2886 w 5877"/>
                <a:gd name="T27" fmla="*/ 4550 h 4829"/>
                <a:gd name="T28" fmla="*/ 2403 w 5877"/>
                <a:gd name="T29" fmla="*/ 4323 h 4829"/>
                <a:gd name="T30" fmla="*/ 1853 w 5877"/>
                <a:gd name="T31" fmla="*/ 4711 h 4829"/>
                <a:gd name="T32" fmla="*/ 1129 w 5877"/>
                <a:gd name="T33" fmla="*/ 4161 h 4829"/>
                <a:gd name="T34" fmla="*/ 433 w 5877"/>
                <a:gd name="T35" fmla="*/ 3465 h 4829"/>
                <a:gd name="T36" fmla="*/ 140 w 5877"/>
                <a:gd name="T37" fmla="*/ 3047 h 4829"/>
                <a:gd name="T38" fmla="*/ 389 w 5877"/>
                <a:gd name="T39" fmla="*/ 2366 h 4829"/>
                <a:gd name="T40" fmla="*/ 623 w 5877"/>
                <a:gd name="T41" fmla="*/ 1912 h 4829"/>
                <a:gd name="T42" fmla="*/ 286 w 5877"/>
                <a:gd name="T43" fmla="*/ 1283 h 4829"/>
                <a:gd name="T44" fmla="*/ 667 w 5877"/>
                <a:gd name="T45" fmla="*/ 616 h 4829"/>
                <a:gd name="T46" fmla="*/ 1501 w 5877"/>
                <a:gd name="T47" fmla="*/ 279 h 4829"/>
                <a:gd name="T48" fmla="*/ 1853 w 5877"/>
                <a:gd name="T49" fmla="*/ 44 h 4829"/>
                <a:gd name="T50" fmla="*/ 1501 w 5877"/>
                <a:gd name="T51" fmla="*/ 242 h 4829"/>
                <a:gd name="T52" fmla="*/ 770 w 5877"/>
                <a:gd name="T53" fmla="*/ 586 h 4829"/>
                <a:gd name="T54" fmla="*/ 228 w 5877"/>
                <a:gd name="T55" fmla="*/ 865 h 4829"/>
                <a:gd name="T56" fmla="*/ 521 w 5877"/>
                <a:gd name="T57" fmla="*/ 1517 h 4829"/>
                <a:gd name="T58" fmla="*/ 557 w 5877"/>
                <a:gd name="T59" fmla="*/ 1956 h 4829"/>
                <a:gd name="T60" fmla="*/ 447 w 5877"/>
                <a:gd name="T61" fmla="*/ 2183 h 4829"/>
                <a:gd name="T62" fmla="*/ 242 w 5877"/>
                <a:gd name="T63" fmla="*/ 2498 h 4829"/>
                <a:gd name="T64" fmla="*/ 154 w 5877"/>
                <a:gd name="T65" fmla="*/ 2959 h 4829"/>
                <a:gd name="T66" fmla="*/ 257 w 5877"/>
                <a:gd name="T67" fmla="*/ 3436 h 4829"/>
                <a:gd name="T68" fmla="*/ 381 w 5877"/>
                <a:gd name="T69" fmla="*/ 3619 h 4829"/>
                <a:gd name="T70" fmla="*/ 770 w 5877"/>
                <a:gd name="T71" fmla="*/ 3802 h 4829"/>
                <a:gd name="T72" fmla="*/ 1443 w 5877"/>
                <a:gd name="T73" fmla="*/ 4381 h 4829"/>
                <a:gd name="T74" fmla="*/ 2007 w 5877"/>
                <a:gd name="T75" fmla="*/ 4733 h 4829"/>
                <a:gd name="T76" fmla="*/ 2154 w 5877"/>
                <a:gd name="T77" fmla="*/ 4242 h 4829"/>
                <a:gd name="T78" fmla="*/ 2828 w 5877"/>
                <a:gd name="T79" fmla="*/ 4608 h 4829"/>
                <a:gd name="T80" fmla="*/ 3055 w 5877"/>
                <a:gd name="T81" fmla="*/ 3890 h 4829"/>
                <a:gd name="T82" fmla="*/ 3649 w 5877"/>
                <a:gd name="T83" fmla="*/ 4169 h 4829"/>
                <a:gd name="T84" fmla="*/ 4315 w 5877"/>
                <a:gd name="T85" fmla="*/ 3993 h 4829"/>
                <a:gd name="T86" fmla="*/ 4469 w 5877"/>
                <a:gd name="T87" fmla="*/ 3443 h 4829"/>
                <a:gd name="T88" fmla="*/ 4857 w 5877"/>
                <a:gd name="T89" fmla="*/ 3414 h 4829"/>
                <a:gd name="T90" fmla="*/ 5085 w 5877"/>
                <a:gd name="T91" fmla="*/ 3055 h 4829"/>
                <a:gd name="T92" fmla="*/ 5070 w 5877"/>
                <a:gd name="T93" fmla="*/ 2762 h 4829"/>
                <a:gd name="T94" fmla="*/ 5312 w 5877"/>
                <a:gd name="T95" fmla="*/ 2615 h 4829"/>
                <a:gd name="T96" fmla="*/ 5825 w 5877"/>
                <a:gd name="T97" fmla="*/ 2403 h 4829"/>
                <a:gd name="T98" fmla="*/ 5598 w 5877"/>
                <a:gd name="T99" fmla="*/ 1985 h 4829"/>
                <a:gd name="T100" fmla="*/ 5048 w 5877"/>
                <a:gd name="T101" fmla="*/ 1736 h 4829"/>
                <a:gd name="T102" fmla="*/ 4938 w 5877"/>
                <a:gd name="T103" fmla="*/ 2219 h 4829"/>
                <a:gd name="T104" fmla="*/ 4542 w 5877"/>
                <a:gd name="T105" fmla="*/ 2154 h 4829"/>
                <a:gd name="T106" fmla="*/ 3963 w 5877"/>
                <a:gd name="T107" fmla="*/ 1934 h 4829"/>
                <a:gd name="T108" fmla="*/ 3363 w 5877"/>
                <a:gd name="T109" fmla="*/ 1721 h 4829"/>
                <a:gd name="T110" fmla="*/ 3223 w 5877"/>
                <a:gd name="T111" fmla="*/ 1363 h 4829"/>
                <a:gd name="T112" fmla="*/ 3070 w 5877"/>
                <a:gd name="T113" fmla="*/ 828 h 4829"/>
                <a:gd name="T114" fmla="*/ 2747 w 5877"/>
                <a:gd name="T115" fmla="*/ 791 h 4829"/>
                <a:gd name="T116" fmla="*/ 2337 w 5877"/>
                <a:gd name="T117" fmla="*/ 755 h 4829"/>
                <a:gd name="T118" fmla="*/ 2139 w 5877"/>
                <a:gd name="T119" fmla="*/ 117 h 4829"/>
                <a:gd name="T120" fmla="*/ 1780 w 5877"/>
                <a:gd name="T121" fmla="*/ 15 h 4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77" h="4829">
                  <a:moveTo>
                    <a:pt x="1853" y="44"/>
                  </a:moveTo>
                  <a:lnTo>
                    <a:pt x="1853" y="44"/>
                  </a:lnTo>
                  <a:cubicBezTo>
                    <a:pt x="1861" y="44"/>
                    <a:pt x="1868" y="44"/>
                    <a:pt x="1875" y="44"/>
                  </a:cubicBezTo>
                  <a:cubicBezTo>
                    <a:pt x="1912" y="51"/>
                    <a:pt x="1963" y="51"/>
                    <a:pt x="1985" y="81"/>
                  </a:cubicBezTo>
                  <a:cubicBezTo>
                    <a:pt x="2014" y="96"/>
                    <a:pt x="2036" y="139"/>
                    <a:pt x="2066" y="139"/>
                  </a:cubicBezTo>
                  <a:lnTo>
                    <a:pt x="2073" y="139"/>
                  </a:lnTo>
                  <a:cubicBezTo>
                    <a:pt x="2080" y="139"/>
                    <a:pt x="2088" y="139"/>
                    <a:pt x="2088" y="139"/>
                  </a:cubicBezTo>
                  <a:cubicBezTo>
                    <a:pt x="2110" y="139"/>
                    <a:pt x="2117" y="147"/>
                    <a:pt x="2139" y="147"/>
                  </a:cubicBezTo>
                  <a:cubicBezTo>
                    <a:pt x="2168" y="147"/>
                    <a:pt x="2205" y="227"/>
                    <a:pt x="2139" y="227"/>
                  </a:cubicBezTo>
                  <a:cubicBezTo>
                    <a:pt x="2080" y="235"/>
                    <a:pt x="2088" y="257"/>
                    <a:pt x="2110" y="293"/>
                  </a:cubicBezTo>
                  <a:cubicBezTo>
                    <a:pt x="2132" y="330"/>
                    <a:pt x="2190" y="367"/>
                    <a:pt x="2190" y="389"/>
                  </a:cubicBezTo>
                  <a:cubicBezTo>
                    <a:pt x="2198" y="410"/>
                    <a:pt x="2168" y="455"/>
                    <a:pt x="2190" y="477"/>
                  </a:cubicBezTo>
                  <a:cubicBezTo>
                    <a:pt x="2212" y="498"/>
                    <a:pt x="2249" y="550"/>
                    <a:pt x="2249" y="579"/>
                  </a:cubicBezTo>
                  <a:cubicBezTo>
                    <a:pt x="2249" y="608"/>
                    <a:pt x="2249" y="652"/>
                    <a:pt x="2249" y="689"/>
                  </a:cubicBezTo>
                  <a:cubicBezTo>
                    <a:pt x="2249" y="733"/>
                    <a:pt x="2263" y="762"/>
                    <a:pt x="2293" y="777"/>
                  </a:cubicBezTo>
                  <a:cubicBezTo>
                    <a:pt x="2308" y="777"/>
                    <a:pt x="2322" y="784"/>
                    <a:pt x="2337" y="784"/>
                  </a:cubicBezTo>
                  <a:cubicBezTo>
                    <a:pt x="2351" y="784"/>
                    <a:pt x="2373" y="777"/>
                    <a:pt x="2395" y="770"/>
                  </a:cubicBezTo>
                  <a:cubicBezTo>
                    <a:pt x="2425" y="755"/>
                    <a:pt x="2439" y="748"/>
                    <a:pt x="2454" y="748"/>
                  </a:cubicBezTo>
                  <a:cubicBezTo>
                    <a:pt x="2461" y="748"/>
                    <a:pt x="2469" y="748"/>
                    <a:pt x="2483" y="755"/>
                  </a:cubicBezTo>
                  <a:cubicBezTo>
                    <a:pt x="2513" y="770"/>
                    <a:pt x="2579" y="806"/>
                    <a:pt x="2608" y="821"/>
                  </a:cubicBezTo>
                  <a:cubicBezTo>
                    <a:pt x="2623" y="828"/>
                    <a:pt x="2637" y="828"/>
                    <a:pt x="2652" y="828"/>
                  </a:cubicBezTo>
                  <a:cubicBezTo>
                    <a:pt x="2659" y="828"/>
                    <a:pt x="2674" y="828"/>
                    <a:pt x="2689" y="821"/>
                  </a:cubicBezTo>
                  <a:cubicBezTo>
                    <a:pt x="2689" y="814"/>
                    <a:pt x="2696" y="814"/>
                    <a:pt x="2696" y="814"/>
                  </a:cubicBezTo>
                  <a:cubicBezTo>
                    <a:pt x="2711" y="814"/>
                    <a:pt x="2718" y="836"/>
                    <a:pt x="2732" y="836"/>
                  </a:cubicBezTo>
                  <a:cubicBezTo>
                    <a:pt x="2740" y="836"/>
                    <a:pt x="2740" y="836"/>
                    <a:pt x="2740" y="828"/>
                  </a:cubicBezTo>
                  <a:cubicBezTo>
                    <a:pt x="2769" y="828"/>
                    <a:pt x="2769" y="799"/>
                    <a:pt x="2799" y="799"/>
                  </a:cubicBezTo>
                  <a:cubicBezTo>
                    <a:pt x="2806" y="799"/>
                    <a:pt x="2806" y="799"/>
                    <a:pt x="2813" y="806"/>
                  </a:cubicBezTo>
                  <a:cubicBezTo>
                    <a:pt x="2842" y="806"/>
                    <a:pt x="2850" y="836"/>
                    <a:pt x="2886" y="836"/>
                  </a:cubicBezTo>
                  <a:cubicBezTo>
                    <a:pt x="2886" y="836"/>
                    <a:pt x="2894" y="836"/>
                    <a:pt x="2901" y="828"/>
                  </a:cubicBezTo>
                  <a:cubicBezTo>
                    <a:pt x="2945" y="821"/>
                    <a:pt x="2945" y="806"/>
                    <a:pt x="2974" y="806"/>
                  </a:cubicBezTo>
                  <a:cubicBezTo>
                    <a:pt x="3004" y="806"/>
                    <a:pt x="2982" y="843"/>
                    <a:pt x="3018" y="850"/>
                  </a:cubicBezTo>
                  <a:cubicBezTo>
                    <a:pt x="3062" y="857"/>
                    <a:pt x="3077" y="857"/>
                    <a:pt x="3121" y="865"/>
                  </a:cubicBezTo>
                  <a:cubicBezTo>
                    <a:pt x="3165" y="872"/>
                    <a:pt x="3172" y="909"/>
                    <a:pt x="3158" y="938"/>
                  </a:cubicBezTo>
                  <a:cubicBezTo>
                    <a:pt x="3135" y="967"/>
                    <a:pt x="3143" y="982"/>
                    <a:pt x="3187" y="1004"/>
                  </a:cubicBezTo>
                  <a:cubicBezTo>
                    <a:pt x="3223" y="1019"/>
                    <a:pt x="3231" y="1026"/>
                    <a:pt x="3245" y="1055"/>
                  </a:cubicBezTo>
                  <a:cubicBezTo>
                    <a:pt x="3260" y="1092"/>
                    <a:pt x="3275" y="1107"/>
                    <a:pt x="3311" y="1129"/>
                  </a:cubicBezTo>
                  <a:cubicBezTo>
                    <a:pt x="3341" y="1150"/>
                    <a:pt x="3355" y="1150"/>
                    <a:pt x="3311" y="1202"/>
                  </a:cubicBezTo>
                  <a:cubicBezTo>
                    <a:pt x="3260" y="1253"/>
                    <a:pt x="3253" y="1334"/>
                    <a:pt x="3223" y="1334"/>
                  </a:cubicBezTo>
                  <a:cubicBezTo>
                    <a:pt x="3209" y="1334"/>
                    <a:pt x="3201" y="1326"/>
                    <a:pt x="3187" y="1326"/>
                  </a:cubicBezTo>
                  <a:cubicBezTo>
                    <a:pt x="3172" y="1326"/>
                    <a:pt x="3165" y="1334"/>
                    <a:pt x="3143" y="1341"/>
                  </a:cubicBezTo>
                  <a:cubicBezTo>
                    <a:pt x="3113" y="1363"/>
                    <a:pt x="3099" y="1378"/>
                    <a:pt x="3135" y="1407"/>
                  </a:cubicBezTo>
                  <a:cubicBezTo>
                    <a:pt x="3165" y="1429"/>
                    <a:pt x="3209" y="1444"/>
                    <a:pt x="3245" y="1451"/>
                  </a:cubicBezTo>
                  <a:cubicBezTo>
                    <a:pt x="3282" y="1458"/>
                    <a:pt x="3326" y="1480"/>
                    <a:pt x="3341" y="1510"/>
                  </a:cubicBezTo>
                  <a:cubicBezTo>
                    <a:pt x="3348" y="1546"/>
                    <a:pt x="3385" y="1590"/>
                    <a:pt x="3355" y="1612"/>
                  </a:cubicBezTo>
                  <a:cubicBezTo>
                    <a:pt x="3326" y="1634"/>
                    <a:pt x="3289" y="1641"/>
                    <a:pt x="3297" y="1677"/>
                  </a:cubicBezTo>
                  <a:cubicBezTo>
                    <a:pt x="3304" y="1707"/>
                    <a:pt x="3319" y="1728"/>
                    <a:pt x="3341" y="1743"/>
                  </a:cubicBezTo>
                  <a:cubicBezTo>
                    <a:pt x="3363" y="1758"/>
                    <a:pt x="3407" y="1787"/>
                    <a:pt x="3436" y="1787"/>
                  </a:cubicBezTo>
                  <a:cubicBezTo>
                    <a:pt x="3443" y="1787"/>
                    <a:pt x="3443" y="1787"/>
                    <a:pt x="3451" y="1780"/>
                  </a:cubicBezTo>
                  <a:cubicBezTo>
                    <a:pt x="3487" y="1773"/>
                    <a:pt x="3553" y="1750"/>
                    <a:pt x="3590" y="1750"/>
                  </a:cubicBezTo>
                  <a:cubicBezTo>
                    <a:pt x="3619" y="1750"/>
                    <a:pt x="3641" y="1787"/>
                    <a:pt x="3670" y="1787"/>
                  </a:cubicBezTo>
                  <a:cubicBezTo>
                    <a:pt x="3707" y="1787"/>
                    <a:pt x="3744" y="1780"/>
                    <a:pt x="3766" y="1780"/>
                  </a:cubicBezTo>
                  <a:lnTo>
                    <a:pt x="3773" y="1780"/>
                  </a:lnTo>
                  <a:cubicBezTo>
                    <a:pt x="3795" y="1780"/>
                    <a:pt x="3802" y="1831"/>
                    <a:pt x="3817" y="1853"/>
                  </a:cubicBezTo>
                  <a:cubicBezTo>
                    <a:pt x="3839" y="1875"/>
                    <a:pt x="3861" y="1904"/>
                    <a:pt x="3898" y="1919"/>
                  </a:cubicBezTo>
                  <a:cubicBezTo>
                    <a:pt x="3927" y="1926"/>
                    <a:pt x="3927" y="1963"/>
                    <a:pt x="3963" y="1963"/>
                  </a:cubicBezTo>
                  <a:lnTo>
                    <a:pt x="3971" y="1963"/>
                  </a:lnTo>
                  <a:cubicBezTo>
                    <a:pt x="4015" y="1956"/>
                    <a:pt x="4103" y="1963"/>
                    <a:pt x="4132" y="1948"/>
                  </a:cubicBezTo>
                  <a:cubicBezTo>
                    <a:pt x="4154" y="1934"/>
                    <a:pt x="4176" y="1919"/>
                    <a:pt x="4198" y="1919"/>
                  </a:cubicBezTo>
                  <a:cubicBezTo>
                    <a:pt x="4205" y="1919"/>
                    <a:pt x="4213" y="1919"/>
                    <a:pt x="4220" y="1926"/>
                  </a:cubicBezTo>
                  <a:cubicBezTo>
                    <a:pt x="4249" y="1948"/>
                    <a:pt x="4279" y="2022"/>
                    <a:pt x="4330" y="2022"/>
                  </a:cubicBezTo>
                  <a:cubicBezTo>
                    <a:pt x="4381" y="2022"/>
                    <a:pt x="4403" y="2036"/>
                    <a:pt x="4418" y="2080"/>
                  </a:cubicBezTo>
                  <a:cubicBezTo>
                    <a:pt x="4440" y="2117"/>
                    <a:pt x="4462" y="2176"/>
                    <a:pt x="4506" y="2183"/>
                  </a:cubicBezTo>
                  <a:cubicBezTo>
                    <a:pt x="4535" y="2183"/>
                    <a:pt x="4550" y="2190"/>
                    <a:pt x="4572" y="2190"/>
                  </a:cubicBezTo>
                  <a:cubicBezTo>
                    <a:pt x="4586" y="2190"/>
                    <a:pt x="4601" y="2190"/>
                    <a:pt x="4616" y="2183"/>
                  </a:cubicBezTo>
                  <a:cubicBezTo>
                    <a:pt x="4630" y="2168"/>
                    <a:pt x="4652" y="2161"/>
                    <a:pt x="4674" y="2161"/>
                  </a:cubicBezTo>
                  <a:cubicBezTo>
                    <a:pt x="4689" y="2161"/>
                    <a:pt x="4704" y="2168"/>
                    <a:pt x="4711" y="2183"/>
                  </a:cubicBezTo>
                  <a:cubicBezTo>
                    <a:pt x="4725" y="2205"/>
                    <a:pt x="4740" y="2227"/>
                    <a:pt x="4755" y="2227"/>
                  </a:cubicBezTo>
                  <a:cubicBezTo>
                    <a:pt x="4762" y="2227"/>
                    <a:pt x="4770" y="2227"/>
                    <a:pt x="4770" y="2227"/>
                  </a:cubicBezTo>
                  <a:cubicBezTo>
                    <a:pt x="4792" y="2205"/>
                    <a:pt x="4813" y="2168"/>
                    <a:pt x="4835" y="2168"/>
                  </a:cubicBezTo>
                  <a:cubicBezTo>
                    <a:pt x="4857" y="2168"/>
                    <a:pt x="4872" y="2190"/>
                    <a:pt x="4880" y="2205"/>
                  </a:cubicBezTo>
                  <a:cubicBezTo>
                    <a:pt x="4887" y="2219"/>
                    <a:pt x="4894" y="2256"/>
                    <a:pt x="4923" y="2256"/>
                  </a:cubicBezTo>
                  <a:cubicBezTo>
                    <a:pt x="4931" y="2256"/>
                    <a:pt x="4931" y="2256"/>
                    <a:pt x="4938" y="2256"/>
                  </a:cubicBezTo>
                  <a:cubicBezTo>
                    <a:pt x="4982" y="2227"/>
                    <a:pt x="4960" y="2219"/>
                    <a:pt x="4975" y="2183"/>
                  </a:cubicBezTo>
                  <a:cubicBezTo>
                    <a:pt x="4989" y="2139"/>
                    <a:pt x="4989" y="2132"/>
                    <a:pt x="5026" y="2102"/>
                  </a:cubicBezTo>
                  <a:cubicBezTo>
                    <a:pt x="5063" y="2080"/>
                    <a:pt x="5085" y="2044"/>
                    <a:pt x="5077" y="2007"/>
                  </a:cubicBezTo>
                  <a:cubicBezTo>
                    <a:pt x="5070" y="1978"/>
                    <a:pt x="5019" y="1978"/>
                    <a:pt x="5011" y="1948"/>
                  </a:cubicBezTo>
                  <a:cubicBezTo>
                    <a:pt x="4997" y="1912"/>
                    <a:pt x="4982" y="1882"/>
                    <a:pt x="5011" y="1846"/>
                  </a:cubicBezTo>
                  <a:cubicBezTo>
                    <a:pt x="5026" y="1824"/>
                    <a:pt x="5048" y="1787"/>
                    <a:pt x="5063" y="1758"/>
                  </a:cubicBezTo>
                  <a:lnTo>
                    <a:pt x="5063" y="1758"/>
                  </a:lnTo>
                  <a:cubicBezTo>
                    <a:pt x="5077" y="1758"/>
                    <a:pt x="5092" y="1758"/>
                    <a:pt x="5099" y="1758"/>
                  </a:cubicBezTo>
                  <a:cubicBezTo>
                    <a:pt x="5136" y="1758"/>
                    <a:pt x="5151" y="1765"/>
                    <a:pt x="5173" y="1795"/>
                  </a:cubicBezTo>
                  <a:cubicBezTo>
                    <a:pt x="5194" y="1816"/>
                    <a:pt x="5224" y="1831"/>
                    <a:pt x="5275" y="1831"/>
                  </a:cubicBezTo>
                  <a:cubicBezTo>
                    <a:pt x="5290" y="1831"/>
                    <a:pt x="5304" y="1831"/>
                    <a:pt x="5319" y="1831"/>
                  </a:cubicBezTo>
                  <a:cubicBezTo>
                    <a:pt x="5385" y="1816"/>
                    <a:pt x="5378" y="1809"/>
                    <a:pt x="5400" y="1809"/>
                  </a:cubicBezTo>
                  <a:cubicBezTo>
                    <a:pt x="5429" y="1809"/>
                    <a:pt x="5422" y="1846"/>
                    <a:pt x="5466" y="1853"/>
                  </a:cubicBezTo>
                  <a:cubicBezTo>
                    <a:pt x="5502" y="1860"/>
                    <a:pt x="5532" y="1882"/>
                    <a:pt x="5554" y="1941"/>
                  </a:cubicBezTo>
                  <a:cubicBezTo>
                    <a:pt x="5583" y="2000"/>
                    <a:pt x="5554" y="2044"/>
                    <a:pt x="5627" y="2058"/>
                  </a:cubicBezTo>
                  <a:cubicBezTo>
                    <a:pt x="5663" y="2066"/>
                    <a:pt x="5671" y="2073"/>
                    <a:pt x="5678" y="2073"/>
                  </a:cubicBezTo>
                  <a:cubicBezTo>
                    <a:pt x="5685" y="2073"/>
                    <a:pt x="5693" y="2073"/>
                    <a:pt x="5707" y="2066"/>
                  </a:cubicBezTo>
                  <a:cubicBezTo>
                    <a:pt x="5715" y="2066"/>
                    <a:pt x="5722" y="2058"/>
                    <a:pt x="5730" y="2058"/>
                  </a:cubicBezTo>
                  <a:cubicBezTo>
                    <a:pt x="5751" y="2058"/>
                    <a:pt x="5751" y="2088"/>
                    <a:pt x="5766" y="2124"/>
                  </a:cubicBezTo>
                  <a:cubicBezTo>
                    <a:pt x="5788" y="2168"/>
                    <a:pt x="5803" y="2205"/>
                    <a:pt x="5817" y="2271"/>
                  </a:cubicBezTo>
                  <a:cubicBezTo>
                    <a:pt x="5839" y="2337"/>
                    <a:pt x="5847" y="2344"/>
                    <a:pt x="5803" y="2381"/>
                  </a:cubicBezTo>
                  <a:cubicBezTo>
                    <a:pt x="5788" y="2388"/>
                    <a:pt x="5759" y="2395"/>
                    <a:pt x="5722" y="2395"/>
                  </a:cubicBezTo>
                  <a:cubicBezTo>
                    <a:pt x="5678" y="2395"/>
                    <a:pt x="5620" y="2388"/>
                    <a:pt x="5575" y="2388"/>
                  </a:cubicBezTo>
                  <a:cubicBezTo>
                    <a:pt x="5546" y="2388"/>
                    <a:pt x="5517" y="2388"/>
                    <a:pt x="5502" y="2395"/>
                  </a:cubicBezTo>
                  <a:cubicBezTo>
                    <a:pt x="5444" y="2425"/>
                    <a:pt x="5436" y="2469"/>
                    <a:pt x="5414" y="2505"/>
                  </a:cubicBezTo>
                  <a:cubicBezTo>
                    <a:pt x="5385" y="2549"/>
                    <a:pt x="5392" y="2608"/>
                    <a:pt x="5378" y="2615"/>
                  </a:cubicBezTo>
                  <a:cubicBezTo>
                    <a:pt x="5378" y="2623"/>
                    <a:pt x="5378" y="2623"/>
                    <a:pt x="5378" y="2623"/>
                  </a:cubicBezTo>
                  <a:cubicBezTo>
                    <a:pt x="5363" y="2623"/>
                    <a:pt x="5348" y="2527"/>
                    <a:pt x="5348" y="2527"/>
                  </a:cubicBezTo>
                  <a:cubicBezTo>
                    <a:pt x="5348" y="2527"/>
                    <a:pt x="5341" y="2571"/>
                    <a:pt x="5304" y="2586"/>
                  </a:cubicBezTo>
                  <a:cubicBezTo>
                    <a:pt x="5261" y="2600"/>
                    <a:pt x="5224" y="2593"/>
                    <a:pt x="5216" y="2630"/>
                  </a:cubicBezTo>
                  <a:cubicBezTo>
                    <a:pt x="5209" y="2652"/>
                    <a:pt x="5209" y="2674"/>
                    <a:pt x="5187" y="2674"/>
                  </a:cubicBezTo>
                  <a:cubicBezTo>
                    <a:pt x="5187" y="2674"/>
                    <a:pt x="5180" y="2674"/>
                    <a:pt x="5173" y="2666"/>
                  </a:cubicBezTo>
                  <a:cubicBezTo>
                    <a:pt x="5158" y="2666"/>
                    <a:pt x="5136" y="2659"/>
                    <a:pt x="5121" y="2659"/>
                  </a:cubicBezTo>
                  <a:cubicBezTo>
                    <a:pt x="5107" y="2659"/>
                    <a:pt x="5092" y="2659"/>
                    <a:pt x="5077" y="2681"/>
                  </a:cubicBezTo>
                  <a:cubicBezTo>
                    <a:pt x="5055" y="2710"/>
                    <a:pt x="5063" y="2710"/>
                    <a:pt x="5011" y="2732"/>
                  </a:cubicBezTo>
                  <a:cubicBezTo>
                    <a:pt x="4960" y="2747"/>
                    <a:pt x="5011" y="2784"/>
                    <a:pt x="5055" y="2791"/>
                  </a:cubicBezTo>
                  <a:cubicBezTo>
                    <a:pt x="5099" y="2798"/>
                    <a:pt x="5121" y="2798"/>
                    <a:pt x="5099" y="2842"/>
                  </a:cubicBezTo>
                  <a:cubicBezTo>
                    <a:pt x="5070" y="2879"/>
                    <a:pt x="5041" y="2872"/>
                    <a:pt x="5011" y="2879"/>
                  </a:cubicBezTo>
                  <a:cubicBezTo>
                    <a:pt x="4989" y="2894"/>
                    <a:pt x="4967" y="2916"/>
                    <a:pt x="4975" y="2959"/>
                  </a:cubicBezTo>
                  <a:cubicBezTo>
                    <a:pt x="4982" y="2974"/>
                    <a:pt x="4989" y="2982"/>
                    <a:pt x="4997" y="2982"/>
                  </a:cubicBezTo>
                  <a:cubicBezTo>
                    <a:pt x="5011" y="2982"/>
                    <a:pt x="5026" y="2959"/>
                    <a:pt x="5048" y="2952"/>
                  </a:cubicBezTo>
                  <a:cubicBezTo>
                    <a:pt x="5048" y="2945"/>
                    <a:pt x="5055" y="2945"/>
                    <a:pt x="5063" y="2945"/>
                  </a:cubicBezTo>
                  <a:cubicBezTo>
                    <a:pt x="5077" y="2945"/>
                    <a:pt x="5085" y="2974"/>
                    <a:pt x="5077" y="3004"/>
                  </a:cubicBezTo>
                  <a:cubicBezTo>
                    <a:pt x="5070" y="3033"/>
                    <a:pt x="5048" y="3033"/>
                    <a:pt x="5055" y="3069"/>
                  </a:cubicBezTo>
                  <a:cubicBezTo>
                    <a:pt x="5063" y="3106"/>
                    <a:pt x="5092" y="3121"/>
                    <a:pt x="5151" y="3128"/>
                  </a:cubicBezTo>
                  <a:cubicBezTo>
                    <a:pt x="5209" y="3135"/>
                    <a:pt x="5180" y="3216"/>
                    <a:pt x="5151" y="3231"/>
                  </a:cubicBezTo>
                  <a:cubicBezTo>
                    <a:pt x="5114" y="3245"/>
                    <a:pt x="5107" y="3245"/>
                    <a:pt x="5092" y="3275"/>
                  </a:cubicBezTo>
                  <a:cubicBezTo>
                    <a:pt x="5070" y="3297"/>
                    <a:pt x="5070" y="3304"/>
                    <a:pt x="5041" y="3319"/>
                  </a:cubicBezTo>
                  <a:cubicBezTo>
                    <a:pt x="5026" y="3319"/>
                    <a:pt x="5011" y="3319"/>
                    <a:pt x="5004" y="3319"/>
                  </a:cubicBezTo>
                  <a:cubicBezTo>
                    <a:pt x="4982" y="3319"/>
                    <a:pt x="4960" y="3319"/>
                    <a:pt x="4960" y="3319"/>
                  </a:cubicBezTo>
                  <a:cubicBezTo>
                    <a:pt x="4960" y="3319"/>
                    <a:pt x="4923" y="3348"/>
                    <a:pt x="4857" y="3355"/>
                  </a:cubicBezTo>
                  <a:cubicBezTo>
                    <a:pt x="4792" y="3370"/>
                    <a:pt x="4857" y="3355"/>
                    <a:pt x="4835" y="3392"/>
                  </a:cubicBezTo>
                  <a:cubicBezTo>
                    <a:pt x="4806" y="3428"/>
                    <a:pt x="4806" y="3428"/>
                    <a:pt x="4828" y="3458"/>
                  </a:cubicBezTo>
                  <a:cubicBezTo>
                    <a:pt x="4843" y="3495"/>
                    <a:pt x="4813" y="3516"/>
                    <a:pt x="4784" y="3538"/>
                  </a:cubicBezTo>
                  <a:cubicBezTo>
                    <a:pt x="4777" y="3538"/>
                    <a:pt x="4777" y="3538"/>
                    <a:pt x="4770" y="3538"/>
                  </a:cubicBezTo>
                  <a:cubicBezTo>
                    <a:pt x="4748" y="3538"/>
                    <a:pt x="4755" y="3495"/>
                    <a:pt x="4733" y="3495"/>
                  </a:cubicBezTo>
                  <a:cubicBezTo>
                    <a:pt x="4704" y="3495"/>
                    <a:pt x="4725" y="3538"/>
                    <a:pt x="4682" y="3582"/>
                  </a:cubicBezTo>
                  <a:cubicBezTo>
                    <a:pt x="4667" y="3590"/>
                    <a:pt x="4660" y="3597"/>
                    <a:pt x="4645" y="3597"/>
                  </a:cubicBezTo>
                  <a:cubicBezTo>
                    <a:pt x="4616" y="3597"/>
                    <a:pt x="4586" y="3553"/>
                    <a:pt x="4579" y="3538"/>
                  </a:cubicBezTo>
                  <a:cubicBezTo>
                    <a:pt x="4572" y="3509"/>
                    <a:pt x="4594" y="3473"/>
                    <a:pt x="4594" y="3473"/>
                  </a:cubicBezTo>
                  <a:cubicBezTo>
                    <a:pt x="4594" y="3473"/>
                    <a:pt x="4535" y="3407"/>
                    <a:pt x="4564" y="3385"/>
                  </a:cubicBezTo>
                  <a:cubicBezTo>
                    <a:pt x="4579" y="3370"/>
                    <a:pt x="4557" y="3348"/>
                    <a:pt x="4535" y="3348"/>
                  </a:cubicBezTo>
                  <a:cubicBezTo>
                    <a:pt x="4528" y="3348"/>
                    <a:pt x="4513" y="3355"/>
                    <a:pt x="4513" y="3370"/>
                  </a:cubicBezTo>
                  <a:cubicBezTo>
                    <a:pt x="4491" y="3399"/>
                    <a:pt x="4491" y="3392"/>
                    <a:pt x="4447" y="3421"/>
                  </a:cubicBezTo>
                  <a:cubicBezTo>
                    <a:pt x="4411" y="3443"/>
                    <a:pt x="4389" y="3450"/>
                    <a:pt x="4374" y="3502"/>
                  </a:cubicBezTo>
                  <a:cubicBezTo>
                    <a:pt x="4359" y="3553"/>
                    <a:pt x="4352" y="3590"/>
                    <a:pt x="4308" y="3597"/>
                  </a:cubicBezTo>
                  <a:cubicBezTo>
                    <a:pt x="4264" y="3604"/>
                    <a:pt x="4264" y="3648"/>
                    <a:pt x="4279" y="3700"/>
                  </a:cubicBezTo>
                  <a:cubicBezTo>
                    <a:pt x="4286" y="3722"/>
                    <a:pt x="4301" y="3729"/>
                    <a:pt x="4308" y="3729"/>
                  </a:cubicBezTo>
                  <a:cubicBezTo>
                    <a:pt x="4323" y="3729"/>
                    <a:pt x="4337" y="3722"/>
                    <a:pt x="4352" y="3707"/>
                  </a:cubicBezTo>
                  <a:cubicBezTo>
                    <a:pt x="4352" y="3700"/>
                    <a:pt x="4359" y="3700"/>
                    <a:pt x="4366" y="3700"/>
                  </a:cubicBezTo>
                  <a:cubicBezTo>
                    <a:pt x="4389" y="3700"/>
                    <a:pt x="4418" y="3736"/>
                    <a:pt x="4432" y="3780"/>
                  </a:cubicBezTo>
                  <a:cubicBezTo>
                    <a:pt x="4447" y="3846"/>
                    <a:pt x="4440" y="3861"/>
                    <a:pt x="4381" y="3897"/>
                  </a:cubicBezTo>
                  <a:cubicBezTo>
                    <a:pt x="4323" y="3927"/>
                    <a:pt x="4315" y="3934"/>
                    <a:pt x="4286" y="3978"/>
                  </a:cubicBezTo>
                  <a:cubicBezTo>
                    <a:pt x="4271" y="4015"/>
                    <a:pt x="4359" y="4044"/>
                    <a:pt x="4381" y="4051"/>
                  </a:cubicBezTo>
                  <a:cubicBezTo>
                    <a:pt x="4359" y="4059"/>
                    <a:pt x="4337" y="4066"/>
                    <a:pt x="4315" y="4081"/>
                  </a:cubicBezTo>
                  <a:cubicBezTo>
                    <a:pt x="4257" y="4110"/>
                    <a:pt x="4242" y="4110"/>
                    <a:pt x="4154" y="4110"/>
                  </a:cubicBezTo>
                  <a:cubicBezTo>
                    <a:pt x="4066" y="4110"/>
                    <a:pt x="4132" y="4081"/>
                    <a:pt x="4066" y="4081"/>
                  </a:cubicBezTo>
                  <a:cubicBezTo>
                    <a:pt x="3993" y="4081"/>
                    <a:pt x="3883" y="4125"/>
                    <a:pt x="3810" y="4161"/>
                  </a:cubicBezTo>
                  <a:cubicBezTo>
                    <a:pt x="3795" y="4169"/>
                    <a:pt x="3788" y="4169"/>
                    <a:pt x="3773" y="4169"/>
                  </a:cubicBezTo>
                  <a:cubicBezTo>
                    <a:pt x="3736" y="4169"/>
                    <a:pt x="3722" y="4132"/>
                    <a:pt x="3685" y="4110"/>
                  </a:cubicBezTo>
                  <a:cubicBezTo>
                    <a:pt x="3685" y="4110"/>
                    <a:pt x="3678" y="4110"/>
                    <a:pt x="3670" y="4110"/>
                  </a:cubicBezTo>
                  <a:cubicBezTo>
                    <a:pt x="3641" y="4110"/>
                    <a:pt x="3626" y="4161"/>
                    <a:pt x="3575" y="4205"/>
                  </a:cubicBezTo>
                  <a:cubicBezTo>
                    <a:pt x="3568" y="4213"/>
                    <a:pt x="3553" y="4213"/>
                    <a:pt x="3546" y="4213"/>
                  </a:cubicBezTo>
                  <a:cubicBezTo>
                    <a:pt x="3502" y="4213"/>
                    <a:pt x="3473" y="4147"/>
                    <a:pt x="3465" y="4110"/>
                  </a:cubicBezTo>
                  <a:cubicBezTo>
                    <a:pt x="3451" y="4066"/>
                    <a:pt x="3436" y="4029"/>
                    <a:pt x="3385" y="4022"/>
                  </a:cubicBezTo>
                  <a:cubicBezTo>
                    <a:pt x="3326" y="4007"/>
                    <a:pt x="3304" y="3919"/>
                    <a:pt x="3311" y="3883"/>
                  </a:cubicBezTo>
                  <a:cubicBezTo>
                    <a:pt x="3326" y="3854"/>
                    <a:pt x="3326" y="3751"/>
                    <a:pt x="3267" y="3751"/>
                  </a:cubicBezTo>
                  <a:cubicBezTo>
                    <a:pt x="3245" y="3751"/>
                    <a:pt x="3223" y="3751"/>
                    <a:pt x="3201" y="3751"/>
                  </a:cubicBezTo>
                  <a:cubicBezTo>
                    <a:pt x="3172" y="3751"/>
                    <a:pt x="3150" y="3751"/>
                    <a:pt x="3143" y="3773"/>
                  </a:cubicBezTo>
                  <a:cubicBezTo>
                    <a:pt x="3135" y="3809"/>
                    <a:pt x="3099" y="3832"/>
                    <a:pt x="3040" y="3861"/>
                  </a:cubicBezTo>
                  <a:cubicBezTo>
                    <a:pt x="2989" y="3897"/>
                    <a:pt x="2938" y="3934"/>
                    <a:pt x="2938" y="3934"/>
                  </a:cubicBezTo>
                  <a:cubicBezTo>
                    <a:pt x="2938" y="3934"/>
                    <a:pt x="2952" y="4066"/>
                    <a:pt x="2996" y="4147"/>
                  </a:cubicBezTo>
                  <a:cubicBezTo>
                    <a:pt x="3040" y="4227"/>
                    <a:pt x="3011" y="4330"/>
                    <a:pt x="3018" y="4462"/>
                  </a:cubicBezTo>
                  <a:cubicBezTo>
                    <a:pt x="3026" y="4564"/>
                    <a:pt x="2996" y="4579"/>
                    <a:pt x="2967" y="4579"/>
                  </a:cubicBezTo>
                  <a:cubicBezTo>
                    <a:pt x="2960" y="4579"/>
                    <a:pt x="2952" y="4579"/>
                    <a:pt x="2938" y="4579"/>
                  </a:cubicBezTo>
                  <a:cubicBezTo>
                    <a:pt x="2916" y="4579"/>
                    <a:pt x="2901" y="4550"/>
                    <a:pt x="2886" y="4550"/>
                  </a:cubicBezTo>
                  <a:cubicBezTo>
                    <a:pt x="2879" y="4550"/>
                    <a:pt x="2872" y="4557"/>
                    <a:pt x="2864" y="4564"/>
                  </a:cubicBezTo>
                  <a:cubicBezTo>
                    <a:pt x="2850" y="4579"/>
                    <a:pt x="2842" y="4579"/>
                    <a:pt x="2828" y="4579"/>
                  </a:cubicBezTo>
                  <a:cubicBezTo>
                    <a:pt x="2799" y="4579"/>
                    <a:pt x="2769" y="4557"/>
                    <a:pt x="2747" y="4535"/>
                  </a:cubicBezTo>
                  <a:cubicBezTo>
                    <a:pt x="2711" y="4498"/>
                    <a:pt x="2740" y="4440"/>
                    <a:pt x="2740" y="4440"/>
                  </a:cubicBezTo>
                  <a:cubicBezTo>
                    <a:pt x="2740" y="4440"/>
                    <a:pt x="2762" y="4352"/>
                    <a:pt x="2725" y="4315"/>
                  </a:cubicBezTo>
                  <a:cubicBezTo>
                    <a:pt x="2703" y="4293"/>
                    <a:pt x="2674" y="4293"/>
                    <a:pt x="2659" y="4293"/>
                  </a:cubicBezTo>
                  <a:cubicBezTo>
                    <a:pt x="2644" y="4293"/>
                    <a:pt x="2637" y="4293"/>
                    <a:pt x="2637" y="4293"/>
                  </a:cubicBezTo>
                  <a:cubicBezTo>
                    <a:pt x="2637" y="4293"/>
                    <a:pt x="2571" y="4330"/>
                    <a:pt x="2527" y="4330"/>
                  </a:cubicBezTo>
                  <a:cubicBezTo>
                    <a:pt x="2520" y="4330"/>
                    <a:pt x="2513" y="4330"/>
                    <a:pt x="2513" y="4330"/>
                  </a:cubicBezTo>
                  <a:cubicBezTo>
                    <a:pt x="2483" y="4315"/>
                    <a:pt x="2454" y="4293"/>
                    <a:pt x="2432" y="4293"/>
                  </a:cubicBezTo>
                  <a:cubicBezTo>
                    <a:pt x="2425" y="4293"/>
                    <a:pt x="2418" y="4293"/>
                    <a:pt x="2418" y="4308"/>
                  </a:cubicBezTo>
                  <a:cubicBezTo>
                    <a:pt x="2418" y="4315"/>
                    <a:pt x="2418" y="4323"/>
                    <a:pt x="2403" y="4323"/>
                  </a:cubicBezTo>
                  <a:cubicBezTo>
                    <a:pt x="2388" y="4323"/>
                    <a:pt x="2366" y="4300"/>
                    <a:pt x="2351" y="4271"/>
                  </a:cubicBezTo>
                  <a:cubicBezTo>
                    <a:pt x="2330" y="4227"/>
                    <a:pt x="2249" y="4213"/>
                    <a:pt x="2205" y="4213"/>
                  </a:cubicBezTo>
                  <a:cubicBezTo>
                    <a:pt x="2176" y="4213"/>
                    <a:pt x="2146" y="4205"/>
                    <a:pt x="2117" y="4205"/>
                  </a:cubicBezTo>
                  <a:cubicBezTo>
                    <a:pt x="2095" y="4205"/>
                    <a:pt x="2080" y="4205"/>
                    <a:pt x="2058" y="4213"/>
                  </a:cubicBezTo>
                  <a:cubicBezTo>
                    <a:pt x="1985" y="4235"/>
                    <a:pt x="1978" y="4249"/>
                    <a:pt x="1897" y="4308"/>
                  </a:cubicBezTo>
                  <a:cubicBezTo>
                    <a:pt x="1817" y="4359"/>
                    <a:pt x="1839" y="4396"/>
                    <a:pt x="1861" y="4462"/>
                  </a:cubicBezTo>
                  <a:cubicBezTo>
                    <a:pt x="1882" y="4535"/>
                    <a:pt x="1985" y="4542"/>
                    <a:pt x="2066" y="4586"/>
                  </a:cubicBezTo>
                  <a:cubicBezTo>
                    <a:pt x="2146" y="4630"/>
                    <a:pt x="2102" y="4711"/>
                    <a:pt x="2058" y="4711"/>
                  </a:cubicBezTo>
                  <a:cubicBezTo>
                    <a:pt x="2029" y="4711"/>
                    <a:pt x="2022" y="4704"/>
                    <a:pt x="2007" y="4704"/>
                  </a:cubicBezTo>
                  <a:cubicBezTo>
                    <a:pt x="2000" y="4704"/>
                    <a:pt x="1992" y="4704"/>
                    <a:pt x="1978" y="4726"/>
                  </a:cubicBezTo>
                  <a:cubicBezTo>
                    <a:pt x="1970" y="4740"/>
                    <a:pt x="1956" y="4740"/>
                    <a:pt x="1934" y="4740"/>
                  </a:cubicBezTo>
                  <a:cubicBezTo>
                    <a:pt x="1897" y="4740"/>
                    <a:pt x="1853" y="4711"/>
                    <a:pt x="1853" y="4711"/>
                  </a:cubicBezTo>
                  <a:cubicBezTo>
                    <a:pt x="1868" y="4784"/>
                    <a:pt x="1831" y="4799"/>
                    <a:pt x="1802" y="4799"/>
                  </a:cubicBezTo>
                  <a:cubicBezTo>
                    <a:pt x="1780" y="4799"/>
                    <a:pt x="1758" y="4791"/>
                    <a:pt x="1758" y="4791"/>
                  </a:cubicBezTo>
                  <a:cubicBezTo>
                    <a:pt x="1758" y="4791"/>
                    <a:pt x="1692" y="4784"/>
                    <a:pt x="1626" y="4755"/>
                  </a:cubicBezTo>
                  <a:cubicBezTo>
                    <a:pt x="1560" y="4733"/>
                    <a:pt x="1568" y="4659"/>
                    <a:pt x="1582" y="4586"/>
                  </a:cubicBezTo>
                  <a:cubicBezTo>
                    <a:pt x="1589" y="4520"/>
                    <a:pt x="1545" y="4498"/>
                    <a:pt x="1545" y="4432"/>
                  </a:cubicBezTo>
                  <a:cubicBezTo>
                    <a:pt x="1545" y="4359"/>
                    <a:pt x="1480" y="4352"/>
                    <a:pt x="1480" y="4352"/>
                  </a:cubicBezTo>
                  <a:cubicBezTo>
                    <a:pt x="1480" y="4352"/>
                    <a:pt x="1465" y="4352"/>
                    <a:pt x="1443" y="4352"/>
                  </a:cubicBezTo>
                  <a:cubicBezTo>
                    <a:pt x="1406" y="4352"/>
                    <a:pt x="1355" y="4345"/>
                    <a:pt x="1333" y="4330"/>
                  </a:cubicBezTo>
                  <a:cubicBezTo>
                    <a:pt x="1289" y="4293"/>
                    <a:pt x="1289" y="4235"/>
                    <a:pt x="1238" y="4235"/>
                  </a:cubicBezTo>
                  <a:lnTo>
                    <a:pt x="1230" y="4235"/>
                  </a:lnTo>
                  <a:cubicBezTo>
                    <a:pt x="1223" y="4242"/>
                    <a:pt x="1216" y="4242"/>
                    <a:pt x="1208" y="4242"/>
                  </a:cubicBezTo>
                  <a:cubicBezTo>
                    <a:pt x="1173" y="4242"/>
                    <a:pt x="1158" y="4205"/>
                    <a:pt x="1129" y="4161"/>
                  </a:cubicBezTo>
                  <a:cubicBezTo>
                    <a:pt x="1092" y="4103"/>
                    <a:pt x="1085" y="4081"/>
                    <a:pt x="1026" y="4007"/>
                  </a:cubicBezTo>
                  <a:cubicBezTo>
                    <a:pt x="968" y="3941"/>
                    <a:pt x="1004" y="3905"/>
                    <a:pt x="924" y="3897"/>
                  </a:cubicBezTo>
                  <a:cubicBezTo>
                    <a:pt x="843" y="3883"/>
                    <a:pt x="814" y="3795"/>
                    <a:pt x="755" y="3729"/>
                  </a:cubicBezTo>
                  <a:cubicBezTo>
                    <a:pt x="733" y="3707"/>
                    <a:pt x="719" y="3700"/>
                    <a:pt x="711" y="3700"/>
                  </a:cubicBezTo>
                  <a:cubicBezTo>
                    <a:pt x="682" y="3700"/>
                    <a:pt x="660" y="3729"/>
                    <a:pt x="616" y="3729"/>
                  </a:cubicBezTo>
                  <a:cubicBezTo>
                    <a:pt x="557" y="3729"/>
                    <a:pt x="564" y="3700"/>
                    <a:pt x="550" y="3700"/>
                  </a:cubicBezTo>
                  <a:cubicBezTo>
                    <a:pt x="550" y="3700"/>
                    <a:pt x="543" y="3700"/>
                    <a:pt x="535" y="3707"/>
                  </a:cubicBezTo>
                  <a:cubicBezTo>
                    <a:pt x="521" y="3714"/>
                    <a:pt x="484" y="3729"/>
                    <a:pt x="455" y="3758"/>
                  </a:cubicBezTo>
                  <a:cubicBezTo>
                    <a:pt x="440" y="3744"/>
                    <a:pt x="440" y="3744"/>
                    <a:pt x="440" y="3744"/>
                  </a:cubicBezTo>
                  <a:cubicBezTo>
                    <a:pt x="440" y="3744"/>
                    <a:pt x="425" y="3670"/>
                    <a:pt x="411" y="3612"/>
                  </a:cubicBezTo>
                  <a:cubicBezTo>
                    <a:pt x="403" y="3553"/>
                    <a:pt x="389" y="3538"/>
                    <a:pt x="411" y="3487"/>
                  </a:cubicBezTo>
                  <a:cubicBezTo>
                    <a:pt x="418" y="3473"/>
                    <a:pt x="425" y="3465"/>
                    <a:pt x="433" y="3465"/>
                  </a:cubicBezTo>
                  <a:cubicBezTo>
                    <a:pt x="440" y="3465"/>
                    <a:pt x="440" y="3480"/>
                    <a:pt x="447" y="3480"/>
                  </a:cubicBezTo>
                  <a:lnTo>
                    <a:pt x="447" y="3480"/>
                  </a:lnTo>
                  <a:cubicBezTo>
                    <a:pt x="455" y="3450"/>
                    <a:pt x="469" y="3399"/>
                    <a:pt x="440" y="3355"/>
                  </a:cubicBezTo>
                  <a:cubicBezTo>
                    <a:pt x="403" y="3319"/>
                    <a:pt x="411" y="3275"/>
                    <a:pt x="374" y="3267"/>
                  </a:cubicBezTo>
                  <a:cubicBezTo>
                    <a:pt x="367" y="3260"/>
                    <a:pt x="359" y="3260"/>
                    <a:pt x="352" y="3260"/>
                  </a:cubicBezTo>
                  <a:cubicBezTo>
                    <a:pt x="323" y="3260"/>
                    <a:pt x="301" y="3275"/>
                    <a:pt x="257" y="3297"/>
                  </a:cubicBezTo>
                  <a:cubicBezTo>
                    <a:pt x="213" y="3326"/>
                    <a:pt x="198" y="3341"/>
                    <a:pt x="228" y="3392"/>
                  </a:cubicBezTo>
                  <a:cubicBezTo>
                    <a:pt x="250" y="3443"/>
                    <a:pt x="176" y="3443"/>
                    <a:pt x="125" y="3443"/>
                  </a:cubicBezTo>
                  <a:cubicBezTo>
                    <a:pt x="74" y="3443"/>
                    <a:pt x="59" y="3407"/>
                    <a:pt x="44" y="3370"/>
                  </a:cubicBezTo>
                  <a:cubicBezTo>
                    <a:pt x="37" y="3326"/>
                    <a:pt x="22" y="3282"/>
                    <a:pt x="66" y="3282"/>
                  </a:cubicBezTo>
                  <a:cubicBezTo>
                    <a:pt x="110" y="3282"/>
                    <a:pt x="125" y="3187"/>
                    <a:pt x="147" y="3157"/>
                  </a:cubicBezTo>
                  <a:cubicBezTo>
                    <a:pt x="176" y="3121"/>
                    <a:pt x="183" y="3077"/>
                    <a:pt x="140" y="3047"/>
                  </a:cubicBezTo>
                  <a:cubicBezTo>
                    <a:pt x="96" y="3011"/>
                    <a:pt x="132" y="3018"/>
                    <a:pt x="176" y="2982"/>
                  </a:cubicBezTo>
                  <a:cubicBezTo>
                    <a:pt x="220" y="2952"/>
                    <a:pt x="169" y="2908"/>
                    <a:pt x="183" y="2857"/>
                  </a:cubicBezTo>
                  <a:cubicBezTo>
                    <a:pt x="198" y="2806"/>
                    <a:pt x="257" y="2784"/>
                    <a:pt x="323" y="2784"/>
                  </a:cubicBezTo>
                  <a:cubicBezTo>
                    <a:pt x="381" y="2784"/>
                    <a:pt x="352" y="2732"/>
                    <a:pt x="338" y="2703"/>
                  </a:cubicBezTo>
                  <a:cubicBezTo>
                    <a:pt x="323" y="2681"/>
                    <a:pt x="301" y="2645"/>
                    <a:pt x="389" y="2637"/>
                  </a:cubicBezTo>
                  <a:cubicBezTo>
                    <a:pt x="469" y="2630"/>
                    <a:pt x="411" y="2586"/>
                    <a:pt x="381" y="2549"/>
                  </a:cubicBezTo>
                  <a:cubicBezTo>
                    <a:pt x="345" y="2520"/>
                    <a:pt x="323" y="2498"/>
                    <a:pt x="286" y="2483"/>
                  </a:cubicBezTo>
                  <a:cubicBezTo>
                    <a:pt x="250" y="2469"/>
                    <a:pt x="228" y="2476"/>
                    <a:pt x="191" y="2447"/>
                  </a:cubicBezTo>
                  <a:cubicBezTo>
                    <a:pt x="162" y="2425"/>
                    <a:pt x="191" y="2403"/>
                    <a:pt x="213" y="2403"/>
                  </a:cubicBezTo>
                  <a:cubicBezTo>
                    <a:pt x="220" y="2403"/>
                    <a:pt x="220" y="2403"/>
                    <a:pt x="228" y="2403"/>
                  </a:cubicBezTo>
                  <a:cubicBezTo>
                    <a:pt x="250" y="2417"/>
                    <a:pt x="279" y="2425"/>
                    <a:pt x="374" y="2425"/>
                  </a:cubicBezTo>
                  <a:cubicBezTo>
                    <a:pt x="462" y="2425"/>
                    <a:pt x="425" y="2388"/>
                    <a:pt x="389" y="2366"/>
                  </a:cubicBezTo>
                  <a:cubicBezTo>
                    <a:pt x="352" y="2337"/>
                    <a:pt x="338" y="2271"/>
                    <a:pt x="330" y="2212"/>
                  </a:cubicBezTo>
                  <a:cubicBezTo>
                    <a:pt x="323" y="2183"/>
                    <a:pt x="338" y="2168"/>
                    <a:pt x="359" y="2168"/>
                  </a:cubicBezTo>
                  <a:cubicBezTo>
                    <a:pt x="381" y="2168"/>
                    <a:pt x="403" y="2176"/>
                    <a:pt x="411" y="2190"/>
                  </a:cubicBezTo>
                  <a:cubicBezTo>
                    <a:pt x="425" y="2205"/>
                    <a:pt x="433" y="2212"/>
                    <a:pt x="447" y="2212"/>
                  </a:cubicBezTo>
                  <a:cubicBezTo>
                    <a:pt x="469" y="2212"/>
                    <a:pt x="491" y="2190"/>
                    <a:pt x="513" y="2176"/>
                  </a:cubicBezTo>
                  <a:cubicBezTo>
                    <a:pt x="521" y="2176"/>
                    <a:pt x="528" y="2168"/>
                    <a:pt x="528" y="2168"/>
                  </a:cubicBezTo>
                  <a:cubicBezTo>
                    <a:pt x="550" y="2168"/>
                    <a:pt x="564" y="2219"/>
                    <a:pt x="616" y="2234"/>
                  </a:cubicBezTo>
                  <a:cubicBezTo>
                    <a:pt x="623" y="2241"/>
                    <a:pt x="631" y="2241"/>
                    <a:pt x="638" y="2241"/>
                  </a:cubicBezTo>
                  <a:cubicBezTo>
                    <a:pt x="674" y="2241"/>
                    <a:pt x="674" y="2205"/>
                    <a:pt x="704" y="2154"/>
                  </a:cubicBezTo>
                  <a:cubicBezTo>
                    <a:pt x="733" y="2095"/>
                    <a:pt x="704" y="2073"/>
                    <a:pt x="689" y="2051"/>
                  </a:cubicBezTo>
                  <a:cubicBezTo>
                    <a:pt x="667" y="2022"/>
                    <a:pt x="645" y="2022"/>
                    <a:pt x="609" y="1992"/>
                  </a:cubicBezTo>
                  <a:cubicBezTo>
                    <a:pt x="572" y="1956"/>
                    <a:pt x="594" y="1948"/>
                    <a:pt x="623" y="1912"/>
                  </a:cubicBezTo>
                  <a:cubicBezTo>
                    <a:pt x="660" y="1882"/>
                    <a:pt x="667" y="1860"/>
                    <a:pt x="667" y="1860"/>
                  </a:cubicBezTo>
                  <a:cubicBezTo>
                    <a:pt x="667" y="1860"/>
                    <a:pt x="616" y="1846"/>
                    <a:pt x="564" y="1816"/>
                  </a:cubicBezTo>
                  <a:cubicBezTo>
                    <a:pt x="513" y="1795"/>
                    <a:pt x="506" y="1765"/>
                    <a:pt x="550" y="1736"/>
                  </a:cubicBezTo>
                  <a:cubicBezTo>
                    <a:pt x="564" y="1721"/>
                    <a:pt x="579" y="1714"/>
                    <a:pt x="594" y="1714"/>
                  </a:cubicBezTo>
                  <a:cubicBezTo>
                    <a:pt x="609" y="1714"/>
                    <a:pt x="631" y="1728"/>
                    <a:pt x="645" y="1765"/>
                  </a:cubicBezTo>
                  <a:cubicBezTo>
                    <a:pt x="660" y="1802"/>
                    <a:pt x="667" y="1816"/>
                    <a:pt x="674" y="1816"/>
                  </a:cubicBezTo>
                  <a:cubicBezTo>
                    <a:pt x="682" y="1816"/>
                    <a:pt x="689" y="1809"/>
                    <a:pt x="697" y="1787"/>
                  </a:cubicBezTo>
                  <a:cubicBezTo>
                    <a:pt x="704" y="1736"/>
                    <a:pt x="667" y="1692"/>
                    <a:pt x="711" y="1670"/>
                  </a:cubicBezTo>
                  <a:cubicBezTo>
                    <a:pt x="755" y="1641"/>
                    <a:pt x="755" y="1598"/>
                    <a:pt x="726" y="1583"/>
                  </a:cubicBezTo>
                  <a:cubicBezTo>
                    <a:pt x="704" y="1568"/>
                    <a:pt x="587" y="1495"/>
                    <a:pt x="521" y="1488"/>
                  </a:cubicBezTo>
                  <a:cubicBezTo>
                    <a:pt x="462" y="1480"/>
                    <a:pt x="381" y="1422"/>
                    <a:pt x="359" y="1370"/>
                  </a:cubicBezTo>
                  <a:cubicBezTo>
                    <a:pt x="345" y="1319"/>
                    <a:pt x="345" y="1283"/>
                    <a:pt x="286" y="1283"/>
                  </a:cubicBezTo>
                  <a:cubicBezTo>
                    <a:pt x="228" y="1283"/>
                    <a:pt x="198" y="1260"/>
                    <a:pt x="176" y="1217"/>
                  </a:cubicBezTo>
                  <a:cubicBezTo>
                    <a:pt x="147" y="1173"/>
                    <a:pt x="169" y="1143"/>
                    <a:pt x="132" y="1114"/>
                  </a:cubicBezTo>
                  <a:cubicBezTo>
                    <a:pt x="96" y="1092"/>
                    <a:pt x="118" y="997"/>
                    <a:pt x="118" y="960"/>
                  </a:cubicBezTo>
                  <a:lnTo>
                    <a:pt x="118" y="953"/>
                  </a:lnTo>
                  <a:cubicBezTo>
                    <a:pt x="162" y="938"/>
                    <a:pt x="242" y="909"/>
                    <a:pt x="257" y="879"/>
                  </a:cubicBezTo>
                  <a:cubicBezTo>
                    <a:pt x="279" y="850"/>
                    <a:pt x="338" y="791"/>
                    <a:pt x="374" y="784"/>
                  </a:cubicBezTo>
                  <a:cubicBezTo>
                    <a:pt x="389" y="784"/>
                    <a:pt x="411" y="784"/>
                    <a:pt x="425" y="784"/>
                  </a:cubicBezTo>
                  <a:cubicBezTo>
                    <a:pt x="447" y="784"/>
                    <a:pt x="469" y="784"/>
                    <a:pt x="484" y="784"/>
                  </a:cubicBezTo>
                  <a:cubicBezTo>
                    <a:pt x="491" y="784"/>
                    <a:pt x="499" y="784"/>
                    <a:pt x="499" y="784"/>
                  </a:cubicBezTo>
                  <a:cubicBezTo>
                    <a:pt x="543" y="784"/>
                    <a:pt x="601" y="762"/>
                    <a:pt x="616" y="733"/>
                  </a:cubicBezTo>
                  <a:cubicBezTo>
                    <a:pt x="638" y="689"/>
                    <a:pt x="631" y="630"/>
                    <a:pt x="660" y="616"/>
                  </a:cubicBezTo>
                  <a:cubicBezTo>
                    <a:pt x="660" y="616"/>
                    <a:pt x="660" y="616"/>
                    <a:pt x="667" y="616"/>
                  </a:cubicBezTo>
                  <a:cubicBezTo>
                    <a:pt x="682" y="616"/>
                    <a:pt x="704" y="645"/>
                    <a:pt x="726" y="645"/>
                  </a:cubicBezTo>
                  <a:cubicBezTo>
                    <a:pt x="733" y="645"/>
                    <a:pt x="740" y="638"/>
                    <a:pt x="755" y="630"/>
                  </a:cubicBezTo>
                  <a:cubicBezTo>
                    <a:pt x="799" y="601"/>
                    <a:pt x="843" y="572"/>
                    <a:pt x="872" y="535"/>
                  </a:cubicBezTo>
                  <a:cubicBezTo>
                    <a:pt x="902" y="506"/>
                    <a:pt x="909" y="491"/>
                    <a:pt x="953" y="469"/>
                  </a:cubicBezTo>
                  <a:cubicBezTo>
                    <a:pt x="990" y="447"/>
                    <a:pt x="1004" y="440"/>
                    <a:pt x="1012" y="396"/>
                  </a:cubicBezTo>
                  <a:cubicBezTo>
                    <a:pt x="1012" y="352"/>
                    <a:pt x="1012" y="293"/>
                    <a:pt x="1048" y="279"/>
                  </a:cubicBezTo>
                  <a:cubicBezTo>
                    <a:pt x="1085" y="257"/>
                    <a:pt x="1136" y="257"/>
                    <a:pt x="1158" y="257"/>
                  </a:cubicBezTo>
                  <a:cubicBezTo>
                    <a:pt x="1187" y="257"/>
                    <a:pt x="1260" y="279"/>
                    <a:pt x="1282" y="308"/>
                  </a:cubicBezTo>
                  <a:cubicBezTo>
                    <a:pt x="1296" y="330"/>
                    <a:pt x="1340" y="374"/>
                    <a:pt x="1377" y="374"/>
                  </a:cubicBezTo>
                  <a:cubicBezTo>
                    <a:pt x="1384" y="374"/>
                    <a:pt x="1392" y="374"/>
                    <a:pt x="1399" y="367"/>
                  </a:cubicBezTo>
                  <a:cubicBezTo>
                    <a:pt x="1436" y="345"/>
                    <a:pt x="1436" y="308"/>
                    <a:pt x="1465" y="286"/>
                  </a:cubicBezTo>
                  <a:cubicBezTo>
                    <a:pt x="1480" y="279"/>
                    <a:pt x="1494" y="279"/>
                    <a:pt x="1501" y="279"/>
                  </a:cubicBezTo>
                  <a:cubicBezTo>
                    <a:pt x="1516" y="279"/>
                    <a:pt x="1531" y="286"/>
                    <a:pt x="1545" y="301"/>
                  </a:cubicBezTo>
                  <a:cubicBezTo>
                    <a:pt x="1553" y="308"/>
                    <a:pt x="1568" y="308"/>
                    <a:pt x="1582" y="308"/>
                  </a:cubicBezTo>
                  <a:cubicBezTo>
                    <a:pt x="1611" y="308"/>
                    <a:pt x="1641" y="293"/>
                    <a:pt x="1619" y="264"/>
                  </a:cubicBezTo>
                  <a:cubicBezTo>
                    <a:pt x="1589" y="227"/>
                    <a:pt x="1560" y="227"/>
                    <a:pt x="1560" y="183"/>
                  </a:cubicBezTo>
                  <a:cubicBezTo>
                    <a:pt x="1568" y="147"/>
                    <a:pt x="1589" y="132"/>
                    <a:pt x="1626" y="110"/>
                  </a:cubicBezTo>
                  <a:cubicBezTo>
                    <a:pt x="1648" y="103"/>
                    <a:pt x="1655" y="81"/>
                    <a:pt x="1663" y="66"/>
                  </a:cubicBezTo>
                  <a:cubicBezTo>
                    <a:pt x="1677" y="132"/>
                    <a:pt x="1677" y="132"/>
                    <a:pt x="1677" y="132"/>
                  </a:cubicBezTo>
                  <a:cubicBezTo>
                    <a:pt x="1663" y="66"/>
                    <a:pt x="1663" y="66"/>
                    <a:pt x="1663" y="66"/>
                  </a:cubicBezTo>
                  <a:cubicBezTo>
                    <a:pt x="1670" y="59"/>
                    <a:pt x="1677" y="51"/>
                    <a:pt x="1692" y="51"/>
                  </a:cubicBezTo>
                  <a:lnTo>
                    <a:pt x="1699" y="51"/>
                  </a:lnTo>
                  <a:cubicBezTo>
                    <a:pt x="1707" y="59"/>
                    <a:pt x="1707" y="59"/>
                    <a:pt x="1714" y="59"/>
                  </a:cubicBezTo>
                  <a:cubicBezTo>
                    <a:pt x="1758" y="59"/>
                    <a:pt x="1809" y="44"/>
                    <a:pt x="1853" y="44"/>
                  </a:cubicBezTo>
                  <a:lnTo>
                    <a:pt x="1670" y="0"/>
                  </a:lnTo>
                  <a:lnTo>
                    <a:pt x="1670" y="0"/>
                  </a:lnTo>
                  <a:cubicBezTo>
                    <a:pt x="1633" y="51"/>
                    <a:pt x="1633" y="51"/>
                    <a:pt x="1633" y="51"/>
                  </a:cubicBezTo>
                  <a:cubicBezTo>
                    <a:pt x="1626" y="66"/>
                    <a:pt x="1626" y="66"/>
                    <a:pt x="1626" y="66"/>
                  </a:cubicBezTo>
                  <a:lnTo>
                    <a:pt x="1626" y="66"/>
                  </a:lnTo>
                  <a:cubicBezTo>
                    <a:pt x="1626" y="74"/>
                    <a:pt x="1619" y="81"/>
                    <a:pt x="1611" y="88"/>
                  </a:cubicBezTo>
                  <a:cubicBezTo>
                    <a:pt x="1568" y="110"/>
                    <a:pt x="1538" y="125"/>
                    <a:pt x="1531" y="183"/>
                  </a:cubicBezTo>
                  <a:cubicBezTo>
                    <a:pt x="1523" y="227"/>
                    <a:pt x="1553" y="242"/>
                    <a:pt x="1568" y="257"/>
                  </a:cubicBezTo>
                  <a:cubicBezTo>
                    <a:pt x="1575" y="264"/>
                    <a:pt x="1582" y="271"/>
                    <a:pt x="1589" y="279"/>
                  </a:cubicBezTo>
                  <a:cubicBezTo>
                    <a:pt x="1589" y="279"/>
                    <a:pt x="1589" y="279"/>
                    <a:pt x="1582" y="279"/>
                  </a:cubicBezTo>
                  <a:cubicBezTo>
                    <a:pt x="1575" y="279"/>
                    <a:pt x="1568" y="279"/>
                    <a:pt x="1568" y="279"/>
                  </a:cubicBezTo>
                  <a:cubicBezTo>
                    <a:pt x="1553" y="264"/>
                    <a:pt x="1531" y="242"/>
                    <a:pt x="1501" y="242"/>
                  </a:cubicBezTo>
                  <a:cubicBezTo>
                    <a:pt x="1487" y="242"/>
                    <a:pt x="1465" y="249"/>
                    <a:pt x="1450" y="257"/>
                  </a:cubicBezTo>
                  <a:cubicBezTo>
                    <a:pt x="1428" y="271"/>
                    <a:pt x="1413" y="293"/>
                    <a:pt x="1406" y="308"/>
                  </a:cubicBezTo>
                  <a:cubicBezTo>
                    <a:pt x="1399" y="323"/>
                    <a:pt x="1399" y="330"/>
                    <a:pt x="1384" y="337"/>
                  </a:cubicBezTo>
                  <a:cubicBezTo>
                    <a:pt x="1384" y="337"/>
                    <a:pt x="1384" y="345"/>
                    <a:pt x="1377" y="345"/>
                  </a:cubicBezTo>
                  <a:cubicBezTo>
                    <a:pt x="1362" y="345"/>
                    <a:pt x="1326" y="315"/>
                    <a:pt x="1304" y="286"/>
                  </a:cubicBezTo>
                  <a:cubicBezTo>
                    <a:pt x="1274" y="242"/>
                    <a:pt x="1187" y="227"/>
                    <a:pt x="1158" y="227"/>
                  </a:cubicBezTo>
                  <a:cubicBezTo>
                    <a:pt x="1129" y="227"/>
                    <a:pt x="1078" y="227"/>
                    <a:pt x="1033" y="249"/>
                  </a:cubicBezTo>
                  <a:cubicBezTo>
                    <a:pt x="990" y="271"/>
                    <a:pt x="982" y="323"/>
                    <a:pt x="982" y="374"/>
                  </a:cubicBezTo>
                  <a:cubicBezTo>
                    <a:pt x="982" y="374"/>
                    <a:pt x="982" y="381"/>
                    <a:pt x="975" y="389"/>
                  </a:cubicBezTo>
                  <a:cubicBezTo>
                    <a:pt x="975" y="418"/>
                    <a:pt x="975" y="418"/>
                    <a:pt x="938" y="440"/>
                  </a:cubicBezTo>
                  <a:cubicBezTo>
                    <a:pt x="894" y="469"/>
                    <a:pt x="880" y="477"/>
                    <a:pt x="850" y="520"/>
                  </a:cubicBezTo>
                  <a:cubicBezTo>
                    <a:pt x="828" y="542"/>
                    <a:pt x="799" y="565"/>
                    <a:pt x="770" y="586"/>
                  </a:cubicBezTo>
                  <a:cubicBezTo>
                    <a:pt x="755" y="594"/>
                    <a:pt x="748" y="601"/>
                    <a:pt x="733" y="608"/>
                  </a:cubicBezTo>
                  <a:lnTo>
                    <a:pt x="726" y="616"/>
                  </a:lnTo>
                  <a:cubicBezTo>
                    <a:pt x="726" y="616"/>
                    <a:pt x="719" y="608"/>
                    <a:pt x="711" y="601"/>
                  </a:cubicBezTo>
                  <a:cubicBezTo>
                    <a:pt x="697" y="594"/>
                    <a:pt x="682" y="586"/>
                    <a:pt x="667" y="586"/>
                  </a:cubicBezTo>
                  <a:cubicBezTo>
                    <a:pt x="660" y="586"/>
                    <a:pt x="652" y="586"/>
                    <a:pt x="645" y="586"/>
                  </a:cubicBezTo>
                  <a:cubicBezTo>
                    <a:pt x="616" y="601"/>
                    <a:pt x="609" y="638"/>
                    <a:pt x="601" y="674"/>
                  </a:cubicBezTo>
                  <a:cubicBezTo>
                    <a:pt x="601" y="689"/>
                    <a:pt x="594" y="704"/>
                    <a:pt x="587" y="718"/>
                  </a:cubicBezTo>
                  <a:cubicBezTo>
                    <a:pt x="579" y="740"/>
                    <a:pt x="535" y="755"/>
                    <a:pt x="499" y="755"/>
                  </a:cubicBezTo>
                  <a:lnTo>
                    <a:pt x="491" y="755"/>
                  </a:lnTo>
                  <a:cubicBezTo>
                    <a:pt x="469" y="755"/>
                    <a:pt x="447" y="755"/>
                    <a:pt x="425" y="755"/>
                  </a:cubicBezTo>
                  <a:cubicBezTo>
                    <a:pt x="411" y="755"/>
                    <a:pt x="389" y="755"/>
                    <a:pt x="367" y="755"/>
                  </a:cubicBezTo>
                  <a:cubicBezTo>
                    <a:pt x="323" y="762"/>
                    <a:pt x="250" y="836"/>
                    <a:pt x="228" y="865"/>
                  </a:cubicBezTo>
                  <a:cubicBezTo>
                    <a:pt x="220" y="872"/>
                    <a:pt x="183" y="894"/>
                    <a:pt x="103" y="924"/>
                  </a:cubicBezTo>
                  <a:cubicBezTo>
                    <a:pt x="81" y="931"/>
                    <a:pt x="81" y="931"/>
                    <a:pt x="81" y="931"/>
                  </a:cubicBezTo>
                  <a:cubicBezTo>
                    <a:pt x="81" y="953"/>
                    <a:pt x="81" y="953"/>
                    <a:pt x="81" y="953"/>
                  </a:cubicBezTo>
                  <a:cubicBezTo>
                    <a:pt x="88" y="960"/>
                    <a:pt x="88" y="960"/>
                    <a:pt x="88" y="960"/>
                  </a:cubicBezTo>
                  <a:cubicBezTo>
                    <a:pt x="88" y="967"/>
                    <a:pt x="88" y="975"/>
                    <a:pt x="81" y="989"/>
                  </a:cubicBezTo>
                  <a:cubicBezTo>
                    <a:pt x="81" y="1041"/>
                    <a:pt x="74" y="1107"/>
                    <a:pt x="118" y="1136"/>
                  </a:cubicBezTo>
                  <a:cubicBezTo>
                    <a:pt x="125" y="1143"/>
                    <a:pt x="125" y="1150"/>
                    <a:pt x="132" y="1173"/>
                  </a:cubicBezTo>
                  <a:cubicBezTo>
                    <a:pt x="132" y="1187"/>
                    <a:pt x="132" y="1209"/>
                    <a:pt x="147" y="1231"/>
                  </a:cubicBezTo>
                  <a:cubicBezTo>
                    <a:pt x="176" y="1283"/>
                    <a:pt x="213" y="1312"/>
                    <a:pt x="286" y="1312"/>
                  </a:cubicBezTo>
                  <a:cubicBezTo>
                    <a:pt x="315" y="1312"/>
                    <a:pt x="315" y="1319"/>
                    <a:pt x="330" y="1356"/>
                  </a:cubicBezTo>
                  <a:cubicBezTo>
                    <a:pt x="330" y="1363"/>
                    <a:pt x="330" y="1370"/>
                    <a:pt x="330" y="1378"/>
                  </a:cubicBezTo>
                  <a:cubicBezTo>
                    <a:pt x="352" y="1444"/>
                    <a:pt x="455" y="1510"/>
                    <a:pt x="521" y="1517"/>
                  </a:cubicBezTo>
                  <a:cubicBezTo>
                    <a:pt x="572" y="1524"/>
                    <a:pt x="682" y="1590"/>
                    <a:pt x="711" y="1605"/>
                  </a:cubicBezTo>
                  <a:cubicBezTo>
                    <a:pt x="711" y="1612"/>
                    <a:pt x="719" y="1612"/>
                    <a:pt x="719" y="1619"/>
                  </a:cubicBezTo>
                  <a:cubicBezTo>
                    <a:pt x="719" y="1627"/>
                    <a:pt x="711" y="1634"/>
                    <a:pt x="697" y="1641"/>
                  </a:cubicBezTo>
                  <a:cubicBezTo>
                    <a:pt x="652" y="1670"/>
                    <a:pt x="660" y="1707"/>
                    <a:pt x="660" y="1736"/>
                  </a:cubicBezTo>
                  <a:cubicBezTo>
                    <a:pt x="652" y="1714"/>
                    <a:pt x="631" y="1685"/>
                    <a:pt x="594" y="1685"/>
                  </a:cubicBezTo>
                  <a:cubicBezTo>
                    <a:pt x="572" y="1685"/>
                    <a:pt x="550" y="1692"/>
                    <a:pt x="528" y="1714"/>
                  </a:cubicBezTo>
                  <a:cubicBezTo>
                    <a:pt x="521" y="1721"/>
                    <a:pt x="491" y="1743"/>
                    <a:pt x="491" y="1780"/>
                  </a:cubicBezTo>
                  <a:cubicBezTo>
                    <a:pt x="499" y="1816"/>
                    <a:pt x="528" y="1831"/>
                    <a:pt x="550" y="1846"/>
                  </a:cubicBezTo>
                  <a:cubicBezTo>
                    <a:pt x="579" y="1860"/>
                    <a:pt x="601" y="1868"/>
                    <a:pt x="616" y="1875"/>
                  </a:cubicBezTo>
                  <a:cubicBezTo>
                    <a:pt x="616" y="1882"/>
                    <a:pt x="609" y="1882"/>
                    <a:pt x="601" y="1890"/>
                  </a:cubicBezTo>
                  <a:cubicBezTo>
                    <a:pt x="594" y="1904"/>
                    <a:pt x="594" y="1904"/>
                    <a:pt x="594" y="1904"/>
                  </a:cubicBezTo>
                  <a:cubicBezTo>
                    <a:pt x="579" y="1919"/>
                    <a:pt x="557" y="1934"/>
                    <a:pt x="557" y="1956"/>
                  </a:cubicBezTo>
                  <a:cubicBezTo>
                    <a:pt x="557" y="1978"/>
                    <a:pt x="572" y="2000"/>
                    <a:pt x="587" y="2014"/>
                  </a:cubicBezTo>
                  <a:cubicBezTo>
                    <a:pt x="609" y="2029"/>
                    <a:pt x="623" y="2044"/>
                    <a:pt x="638" y="2051"/>
                  </a:cubicBezTo>
                  <a:cubicBezTo>
                    <a:pt x="652" y="2058"/>
                    <a:pt x="652" y="2058"/>
                    <a:pt x="660" y="2066"/>
                  </a:cubicBezTo>
                  <a:cubicBezTo>
                    <a:pt x="667" y="2073"/>
                    <a:pt x="667" y="2080"/>
                    <a:pt x="674" y="2080"/>
                  </a:cubicBezTo>
                  <a:cubicBezTo>
                    <a:pt x="689" y="2102"/>
                    <a:pt x="697" y="2109"/>
                    <a:pt x="674" y="2139"/>
                  </a:cubicBezTo>
                  <a:cubicBezTo>
                    <a:pt x="667" y="2154"/>
                    <a:pt x="660" y="2168"/>
                    <a:pt x="652" y="2183"/>
                  </a:cubicBezTo>
                  <a:cubicBezTo>
                    <a:pt x="652" y="2197"/>
                    <a:pt x="645" y="2205"/>
                    <a:pt x="638" y="2212"/>
                  </a:cubicBezTo>
                  <a:cubicBezTo>
                    <a:pt x="638" y="2212"/>
                    <a:pt x="631" y="2212"/>
                    <a:pt x="623" y="2205"/>
                  </a:cubicBezTo>
                  <a:cubicBezTo>
                    <a:pt x="609" y="2205"/>
                    <a:pt x="594" y="2190"/>
                    <a:pt x="579" y="2176"/>
                  </a:cubicBezTo>
                  <a:cubicBezTo>
                    <a:pt x="572" y="2161"/>
                    <a:pt x="557" y="2139"/>
                    <a:pt x="528" y="2139"/>
                  </a:cubicBezTo>
                  <a:cubicBezTo>
                    <a:pt x="521" y="2139"/>
                    <a:pt x="506" y="2146"/>
                    <a:pt x="499" y="2154"/>
                  </a:cubicBezTo>
                  <a:cubicBezTo>
                    <a:pt x="477" y="2168"/>
                    <a:pt x="455" y="2183"/>
                    <a:pt x="447" y="2183"/>
                  </a:cubicBezTo>
                  <a:cubicBezTo>
                    <a:pt x="440" y="2183"/>
                    <a:pt x="440" y="2183"/>
                    <a:pt x="440" y="2176"/>
                  </a:cubicBezTo>
                  <a:cubicBezTo>
                    <a:pt x="418" y="2154"/>
                    <a:pt x="389" y="2139"/>
                    <a:pt x="359" y="2139"/>
                  </a:cubicBezTo>
                  <a:cubicBezTo>
                    <a:pt x="345" y="2139"/>
                    <a:pt x="323" y="2146"/>
                    <a:pt x="315" y="2161"/>
                  </a:cubicBezTo>
                  <a:cubicBezTo>
                    <a:pt x="301" y="2168"/>
                    <a:pt x="293" y="2183"/>
                    <a:pt x="301" y="2212"/>
                  </a:cubicBezTo>
                  <a:cubicBezTo>
                    <a:pt x="308" y="2307"/>
                    <a:pt x="338" y="2359"/>
                    <a:pt x="367" y="2388"/>
                  </a:cubicBezTo>
                  <a:cubicBezTo>
                    <a:pt x="374" y="2388"/>
                    <a:pt x="374" y="2388"/>
                    <a:pt x="374" y="2395"/>
                  </a:cubicBezTo>
                  <a:lnTo>
                    <a:pt x="374" y="2395"/>
                  </a:lnTo>
                  <a:cubicBezTo>
                    <a:pt x="286" y="2395"/>
                    <a:pt x="257" y="2388"/>
                    <a:pt x="235" y="2381"/>
                  </a:cubicBezTo>
                  <a:cubicBezTo>
                    <a:pt x="228" y="2373"/>
                    <a:pt x="220" y="2373"/>
                    <a:pt x="213" y="2373"/>
                  </a:cubicBezTo>
                  <a:cubicBezTo>
                    <a:pt x="191" y="2373"/>
                    <a:pt x="162" y="2388"/>
                    <a:pt x="154" y="2417"/>
                  </a:cubicBezTo>
                  <a:cubicBezTo>
                    <a:pt x="147" y="2425"/>
                    <a:pt x="140" y="2447"/>
                    <a:pt x="176" y="2476"/>
                  </a:cubicBezTo>
                  <a:cubicBezTo>
                    <a:pt x="198" y="2491"/>
                    <a:pt x="220" y="2498"/>
                    <a:pt x="242" y="2498"/>
                  </a:cubicBezTo>
                  <a:cubicBezTo>
                    <a:pt x="250" y="2505"/>
                    <a:pt x="264" y="2505"/>
                    <a:pt x="271" y="2513"/>
                  </a:cubicBezTo>
                  <a:cubicBezTo>
                    <a:pt x="301" y="2527"/>
                    <a:pt x="323" y="2542"/>
                    <a:pt x="359" y="2571"/>
                  </a:cubicBezTo>
                  <a:cubicBezTo>
                    <a:pt x="359" y="2578"/>
                    <a:pt x="367" y="2578"/>
                    <a:pt x="374" y="2586"/>
                  </a:cubicBezTo>
                  <a:cubicBezTo>
                    <a:pt x="381" y="2593"/>
                    <a:pt x="389" y="2600"/>
                    <a:pt x="389" y="2608"/>
                  </a:cubicBezTo>
                  <a:lnTo>
                    <a:pt x="389" y="2608"/>
                  </a:lnTo>
                  <a:cubicBezTo>
                    <a:pt x="352" y="2608"/>
                    <a:pt x="315" y="2615"/>
                    <a:pt x="301" y="2645"/>
                  </a:cubicBezTo>
                  <a:cubicBezTo>
                    <a:pt x="286" y="2681"/>
                    <a:pt x="301" y="2710"/>
                    <a:pt x="308" y="2718"/>
                  </a:cubicBezTo>
                  <a:cubicBezTo>
                    <a:pt x="323" y="2732"/>
                    <a:pt x="323" y="2747"/>
                    <a:pt x="323" y="2747"/>
                  </a:cubicBezTo>
                  <a:lnTo>
                    <a:pt x="323" y="2747"/>
                  </a:lnTo>
                  <a:cubicBezTo>
                    <a:pt x="242" y="2747"/>
                    <a:pt x="176" y="2791"/>
                    <a:pt x="154" y="2850"/>
                  </a:cubicBezTo>
                  <a:cubicBezTo>
                    <a:pt x="147" y="2879"/>
                    <a:pt x="154" y="2908"/>
                    <a:pt x="154" y="2923"/>
                  </a:cubicBezTo>
                  <a:cubicBezTo>
                    <a:pt x="162" y="2952"/>
                    <a:pt x="162" y="2952"/>
                    <a:pt x="154" y="2959"/>
                  </a:cubicBezTo>
                  <a:cubicBezTo>
                    <a:pt x="147" y="2967"/>
                    <a:pt x="132" y="2974"/>
                    <a:pt x="125" y="2982"/>
                  </a:cubicBezTo>
                  <a:cubicBezTo>
                    <a:pt x="110" y="2989"/>
                    <a:pt x="96" y="2996"/>
                    <a:pt x="88" y="3018"/>
                  </a:cubicBezTo>
                  <a:cubicBezTo>
                    <a:pt x="88" y="3040"/>
                    <a:pt x="110" y="3055"/>
                    <a:pt x="125" y="3069"/>
                  </a:cubicBezTo>
                  <a:cubicBezTo>
                    <a:pt x="132" y="3077"/>
                    <a:pt x="154" y="3091"/>
                    <a:pt x="125" y="3135"/>
                  </a:cubicBezTo>
                  <a:cubicBezTo>
                    <a:pt x="118" y="3150"/>
                    <a:pt x="103" y="3172"/>
                    <a:pt x="96" y="3194"/>
                  </a:cubicBezTo>
                  <a:cubicBezTo>
                    <a:pt x="88" y="3209"/>
                    <a:pt x="74" y="3245"/>
                    <a:pt x="66" y="3253"/>
                  </a:cubicBezTo>
                  <a:lnTo>
                    <a:pt x="66" y="3253"/>
                  </a:lnTo>
                  <a:cubicBezTo>
                    <a:pt x="37" y="3253"/>
                    <a:pt x="22" y="3260"/>
                    <a:pt x="15" y="3267"/>
                  </a:cubicBezTo>
                  <a:cubicBezTo>
                    <a:pt x="0" y="3297"/>
                    <a:pt x="8" y="3326"/>
                    <a:pt x="15" y="3355"/>
                  </a:cubicBezTo>
                  <a:cubicBezTo>
                    <a:pt x="15" y="3363"/>
                    <a:pt x="15" y="3370"/>
                    <a:pt x="15" y="3370"/>
                  </a:cubicBezTo>
                  <a:cubicBezTo>
                    <a:pt x="22" y="3399"/>
                    <a:pt x="37" y="3473"/>
                    <a:pt x="125" y="3473"/>
                  </a:cubicBezTo>
                  <a:cubicBezTo>
                    <a:pt x="176" y="3473"/>
                    <a:pt x="235" y="3473"/>
                    <a:pt x="257" y="3436"/>
                  </a:cubicBezTo>
                  <a:cubicBezTo>
                    <a:pt x="264" y="3428"/>
                    <a:pt x="264" y="3407"/>
                    <a:pt x="257" y="3377"/>
                  </a:cubicBezTo>
                  <a:cubicBezTo>
                    <a:pt x="242" y="3355"/>
                    <a:pt x="242" y="3348"/>
                    <a:pt x="242" y="3348"/>
                  </a:cubicBezTo>
                  <a:cubicBezTo>
                    <a:pt x="242" y="3348"/>
                    <a:pt x="250" y="3341"/>
                    <a:pt x="271" y="3326"/>
                  </a:cubicBezTo>
                  <a:cubicBezTo>
                    <a:pt x="286" y="3319"/>
                    <a:pt x="293" y="3319"/>
                    <a:pt x="301" y="3311"/>
                  </a:cubicBezTo>
                  <a:cubicBezTo>
                    <a:pt x="323" y="3297"/>
                    <a:pt x="338" y="3297"/>
                    <a:pt x="352" y="3297"/>
                  </a:cubicBezTo>
                  <a:cubicBezTo>
                    <a:pt x="352" y="3297"/>
                    <a:pt x="359" y="3297"/>
                    <a:pt x="367" y="3297"/>
                  </a:cubicBezTo>
                  <a:cubicBezTo>
                    <a:pt x="374" y="3297"/>
                    <a:pt x="374" y="3297"/>
                    <a:pt x="381" y="3319"/>
                  </a:cubicBezTo>
                  <a:cubicBezTo>
                    <a:pt x="389" y="3341"/>
                    <a:pt x="396" y="3355"/>
                    <a:pt x="418" y="3377"/>
                  </a:cubicBezTo>
                  <a:cubicBezTo>
                    <a:pt x="433" y="3392"/>
                    <a:pt x="433" y="3414"/>
                    <a:pt x="425" y="3436"/>
                  </a:cubicBezTo>
                  <a:cubicBezTo>
                    <a:pt x="403" y="3436"/>
                    <a:pt x="389" y="3465"/>
                    <a:pt x="389" y="3473"/>
                  </a:cubicBezTo>
                  <a:cubicBezTo>
                    <a:pt x="359" y="3516"/>
                    <a:pt x="367" y="3546"/>
                    <a:pt x="374" y="3582"/>
                  </a:cubicBezTo>
                  <a:cubicBezTo>
                    <a:pt x="381" y="3590"/>
                    <a:pt x="381" y="3604"/>
                    <a:pt x="381" y="3619"/>
                  </a:cubicBezTo>
                  <a:cubicBezTo>
                    <a:pt x="389" y="3678"/>
                    <a:pt x="411" y="3744"/>
                    <a:pt x="411" y="3751"/>
                  </a:cubicBezTo>
                  <a:cubicBezTo>
                    <a:pt x="411" y="3758"/>
                    <a:pt x="411" y="3758"/>
                    <a:pt x="411" y="3758"/>
                  </a:cubicBezTo>
                  <a:cubicBezTo>
                    <a:pt x="418" y="3758"/>
                    <a:pt x="418" y="3758"/>
                    <a:pt x="418" y="3758"/>
                  </a:cubicBezTo>
                  <a:cubicBezTo>
                    <a:pt x="425" y="3773"/>
                    <a:pt x="425" y="3773"/>
                    <a:pt x="425" y="3773"/>
                  </a:cubicBezTo>
                  <a:cubicBezTo>
                    <a:pt x="447" y="3802"/>
                    <a:pt x="447" y="3802"/>
                    <a:pt x="447" y="3802"/>
                  </a:cubicBezTo>
                  <a:cubicBezTo>
                    <a:pt x="469" y="3780"/>
                    <a:pt x="469" y="3780"/>
                    <a:pt x="469" y="3780"/>
                  </a:cubicBezTo>
                  <a:cubicBezTo>
                    <a:pt x="499" y="3758"/>
                    <a:pt x="528" y="3736"/>
                    <a:pt x="543" y="3736"/>
                  </a:cubicBezTo>
                  <a:cubicBezTo>
                    <a:pt x="557" y="3744"/>
                    <a:pt x="579" y="3758"/>
                    <a:pt x="616" y="3758"/>
                  </a:cubicBezTo>
                  <a:cubicBezTo>
                    <a:pt x="652" y="3758"/>
                    <a:pt x="674" y="3744"/>
                    <a:pt x="689" y="3736"/>
                  </a:cubicBezTo>
                  <a:cubicBezTo>
                    <a:pt x="697" y="3729"/>
                    <a:pt x="704" y="3729"/>
                    <a:pt x="711" y="3729"/>
                  </a:cubicBezTo>
                  <a:cubicBezTo>
                    <a:pt x="711" y="3729"/>
                    <a:pt x="711" y="3729"/>
                    <a:pt x="733" y="3744"/>
                  </a:cubicBezTo>
                  <a:cubicBezTo>
                    <a:pt x="748" y="3766"/>
                    <a:pt x="755" y="3788"/>
                    <a:pt x="770" y="3802"/>
                  </a:cubicBezTo>
                  <a:cubicBezTo>
                    <a:pt x="806" y="3861"/>
                    <a:pt x="850" y="3919"/>
                    <a:pt x="916" y="3927"/>
                  </a:cubicBezTo>
                  <a:cubicBezTo>
                    <a:pt x="953" y="3934"/>
                    <a:pt x="953" y="3934"/>
                    <a:pt x="960" y="3956"/>
                  </a:cubicBezTo>
                  <a:cubicBezTo>
                    <a:pt x="968" y="3978"/>
                    <a:pt x="975" y="4000"/>
                    <a:pt x="1004" y="4029"/>
                  </a:cubicBezTo>
                  <a:cubicBezTo>
                    <a:pt x="1048" y="4088"/>
                    <a:pt x="1063" y="4110"/>
                    <a:pt x="1092" y="4154"/>
                  </a:cubicBezTo>
                  <a:cubicBezTo>
                    <a:pt x="1099" y="4176"/>
                    <a:pt x="1099" y="4176"/>
                    <a:pt x="1099" y="4176"/>
                  </a:cubicBezTo>
                  <a:cubicBezTo>
                    <a:pt x="1107" y="4183"/>
                    <a:pt x="1107" y="4183"/>
                    <a:pt x="1114" y="4191"/>
                  </a:cubicBezTo>
                  <a:cubicBezTo>
                    <a:pt x="1136" y="4235"/>
                    <a:pt x="1158" y="4271"/>
                    <a:pt x="1208" y="4271"/>
                  </a:cubicBezTo>
                  <a:cubicBezTo>
                    <a:pt x="1216" y="4271"/>
                    <a:pt x="1223" y="4271"/>
                    <a:pt x="1238" y="4264"/>
                  </a:cubicBezTo>
                  <a:lnTo>
                    <a:pt x="1238" y="4264"/>
                  </a:lnTo>
                  <a:cubicBezTo>
                    <a:pt x="1245" y="4264"/>
                    <a:pt x="1252" y="4271"/>
                    <a:pt x="1267" y="4293"/>
                  </a:cubicBezTo>
                  <a:cubicBezTo>
                    <a:pt x="1274" y="4315"/>
                    <a:pt x="1289" y="4337"/>
                    <a:pt x="1311" y="4352"/>
                  </a:cubicBezTo>
                  <a:cubicBezTo>
                    <a:pt x="1340" y="4374"/>
                    <a:pt x="1384" y="4381"/>
                    <a:pt x="1443" y="4381"/>
                  </a:cubicBezTo>
                  <a:cubicBezTo>
                    <a:pt x="1458" y="4381"/>
                    <a:pt x="1472" y="4381"/>
                    <a:pt x="1480" y="4381"/>
                  </a:cubicBezTo>
                  <a:cubicBezTo>
                    <a:pt x="1487" y="4381"/>
                    <a:pt x="1516" y="4396"/>
                    <a:pt x="1516" y="4432"/>
                  </a:cubicBezTo>
                  <a:cubicBezTo>
                    <a:pt x="1516" y="4469"/>
                    <a:pt x="1523" y="4491"/>
                    <a:pt x="1538" y="4513"/>
                  </a:cubicBezTo>
                  <a:cubicBezTo>
                    <a:pt x="1545" y="4542"/>
                    <a:pt x="1553" y="4557"/>
                    <a:pt x="1553" y="4586"/>
                  </a:cubicBezTo>
                  <a:cubicBezTo>
                    <a:pt x="1538" y="4645"/>
                    <a:pt x="1523" y="4755"/>
                    <a:pt x="1619" y="4784"/>
                  </a:cubicBezTo>
                  <a:cubicBezTo>
                    <a:pt x="1677" y="4806"/>
                    <a:pt x="1736" y="4821"/>
                    <a:pt x="1751" y="4821"/>
                  </a:cubicBezTo>
                  <a:cubicBezTo>
                    <a:pt x="1758" y="4828"/>
                    <a:pt x="1780" y="4828"/>
                    <a:pt x="1802" y="4828"/>
                  </a:cubicBezTo>
                  <a:cubicBezTo>
                    <a:pt x="1839" y="4828"/>
                    <a:pt x="1853" y="4814"/>
                    <a:pt x="1868" y="4806"/>
                  </a:cubicBezTo>
                  <a:cubicBezTo>
                    <a:pt x="1875" y="4791"/>
                    <a:pt x="1882" y="4777"/>
                    <a:pt x="1882" y="4762"/>
                  </a:cubicBezTo>
                  <a:cubicBezTo>
                    <a:pt x="1897" y="4769"/>
                    <a:pt x="1919" y="4769"/>
                    <a:pt x="1934" y="4769"/>
                  </a:cubicBezTo>
                  <a:cubicBezTo>
                    <a:pt x="1970" y="4769"/>
                    <a:pt x="1992" y="4755"/>
                    <a:pt x="2000" y="4740"/>
                  </a:cubicBezTo>
                  <a:cubicBezTo>
                    <a:pt x="2007" y="4740"/>
                    <a:pt x="2007" y="4733"/>
                    <a:pt x="2007" y="4733"/>
                  </a:cubicBezTo>
                  <a:lnTo>
                    <a:pt x="2007" y="4733"/>
                  </a:lnTo>
                  <a:cubicBezTo>
                    <a:pt x="2022" y="4740"/>
                    <a:pt x="2036" y="4740"/>
                    <a:pt x="2058" y="4740"/>
                  </a:cubicBezTo>
                  <a:cubicBezTo>
                    <a:pt x="2095" y="4740"/>
                    <a:pt x="2124" y="4711"/>
                    <a:pt x="2139" y="4674"/>
                  </a:cubicBezTo>
                  <a:cubicBezTo>
                    <a:pt x="2146" y="4630"/>
                    <a:pt x="2132" y="4586"/>
                    <a:pt x="2080" y="4564"/>
                  </a:cubicBezTo>
                  <a:cubicBezTo>
                    <a:pt x="2051" y="4542"/>
                    <a:pt x="2022" y="4535"/>
                    <a:pt x="2000" y="4520"/>
                  </a:cubicBezTo>
                  <a:cubicBezTo>
                    <a:pt x="1949" y="4506"/>
                    <a:pt x="1904" y="4484"/>
                    <a:pt x="1890" y="4454"/>
                  </a:cubicBezTo>
                  <a:cubicBezTo>
                    <a:pt x="1890" y="4447"/>
                    <a:pt x="1890" y="4440"/>
                    <a:pt x="1882" y="4432"/>
                  </a:cubicBezTo>
                  <a:cubicBezTo>
                    <a:pt x="1868" y="4381"/>
                    <a:pt x="1861" y="4366"/>
                    <a:pt x="1912" y="4330"/>
                  </a:cubicBezTo>
                  <a:cubicBezTo>
                    <a:pt x="1941" y="4315"/>
                    <a:pt x="1941" y="4315"/>
                    <a:pt x="1941" y="4315"/>
                  </a:cubicBezTo>
                  <a:cubicBezTo>
                    <a:pt x="2000" y="4271"/>
                    <a:pt x="2007" y="4264"/>
                    <a:pt x="2066" y="4242"/>
                  </a:cubicBezTo>
                  <a:cubicBezTo>
                    <a:pt x="2080" y="4235"/>
                    <a:pt x="2102" y="4235"/>
                    <a:pt x="2117" y="4235"/>
                  </a:cubicBezTo>
                  <a:cubicBezTo>
                    <a:pt x="2132" y="4235"/>
                    <a:pt x="2139" y="4235"/>
                    <a:pt x="2154" y="4242"/>
                  </a:cubicBezTo>
                  <a:cubicBezTo>
                    <a:pt x="2168" y="4242"/>
                    <a:pt x="2183" y="4242"/>
                    <a:pt x="2205" y="4242"/>
                  </a:cubicBezTo>
                  <a:cubicBezTo>
                    <a:pt x="2256" y="4242"/>
                    <a:pt x="2308" y="4257"/>
                    <a:pt x="2322" y="4286"/>
                  </a:cubicBezTo>
                  <a:cubicBezTo>
                    <a:pt x="2337" y="4315"/>
                    <a:pt x="2373" y="4352"/>
                    <a:pt x="2403" y="4352"/>
                  </a:cubicBezTo>
                  <a:cubicBezTo>
                    <a:pt x="2425" y="4352"/>
                    <a:pt x="2439" y="4345"/>
                    <a:pt x="2447" y="4323"/>
                  </a:cubicBezTo>
                  <a:cubicBezTo>
                    <a:pt x="2454" y="4330"/>
                    <a:pt x="2469" y="4337"/>
                    <a:pt x="2491" y="4352"/>
                  </a:cubicBezTo>
                  <a:cubicBezTo>
                    <a:pt x="2505" y="4359"/>
                    <a:pt x="2513" y="4366"/>
                    <a:pt x="2527" y="4366"/>
                  </a:cubicBezTo>
                  <a:cubicBezTo>
                    <a:pt x="2571" y="4366"/>
                    <a:pt x="2630" y="4337"/>
                    <a:pt x="2644" y="4323"/>
                  </a:cubicBezTo>
                  <a:cubicBezTo>
                    <a:pt x="2644" y="4323"/>
                    <a:pt x="2652" y="4323"/>
                    <a:pt x="2659" y="4323"/>
                  </a:cubicBezTo>
                  <a:cubicBezTo>
                    <a:pt x="2674" y="4323"/>
                    <a:pt x="2689" y="4323"/>
                    <a:pt x="2703" y="4337"/>
                  </a:cubicBezTo>
                  <a:cubicBezTo>
                    <a:pt x="2718" y="4352"/>
                    <a:pt x="2718" y="4403"/>
                    <a:pt x="2711" y="4432"/>
                  </a:cubicBezTo>
                  <a:cubicBezTo>
                    <a:pt x="2696" y="4462"/>
                    <a:pt x="2689" y="4513"/>
                    <a:pt x="2725" y="4550"/>
                  </a:cubicBezTo>
                  <a:cubicBezTo>
                    <a:pt x="2762" y="4594"/>
                    <a:pt x="2799" y="4608"/>
                    <a:pt x="2828" y="4608"/>
                  </a:cubicBezTo>
                  <a:cubicBezTo>
                    <a:pt x="2850" y="4608"/>
                    <a:pt x="2864" y="4601"/>
                    <a:pt x="2879" y="4586"/>
                  </a:cubicBezTo>
                  <a:cubicBezTo>
                    <a:pt x="2886" y="4586"/>
                    <a:pt x="2886" y="4586"/>
                    <a:pt x="2886" y="4586"/>
                  </a:cubicBezTo>
                  <a:cubicBezTo>
                    <a:pt x="2886" y="4586"/>
                    <a:pt x="2886" y="4586"/>
                    <a:pt x="2894" y="4586"/>
                  </a:cubicBezTo>
                  <a:cubicBezTo>
                    <a:pt x="2901" y="4594"/>
                    <a:pt x="2916" y="4608"/>
                    <a:pt x="2938" y="4608"/>
                  </a:cubicBezTo>
                  <a:cubicBezTo>
                    <a:pt x="2945" y="4608"/>
                    <a:pt x="2945" y="4608"/>
                    <a:pt x="2952" y="4608"/>
                  </a:cubicBezTo>
                  <a:cubicBezTo>
                    <a:pt x="2960" y="4608"/>
                    <a:pt x="2960" y="4608"/>
                    <a:pt x="2967" y="4608"/>
                  </a:cubicBezTo>
                  <a:cubicBezTo>
                    <a:pt x="2974" y="4608"/>
                    <a:pt x="3004" y="4608"/>
                    <a:pt x="3026" y="4586"/>
                  </a:cubicBezTo>
                  <a:cubicBezTo>
                    <a:pt x="3048" y="4564"/>
                    <a:pt x="3055" y="4520"/>
                    <a:pt x="3048" y="4462"/>
                  </a:cubicBezTo>
                  <a:cubicBezTo>
                    <a:pt x="3048" y="4410"/>
                    <a:pt x="3048" y="4366"/>
                    <a:pt x="3048" y="4323"/>
                  </a:cubicBezTo>
                  <a:cubicBezTo>
                    <a:pt x="3055" y="4249"/>
                    <a:pt x="3055" y="4191"/>
                    <a:pt x="3026" y="4132"/>
                  </a:cubicBezTo>
                  <a:cubicBezTo>
                    <a:pt x="2989" y="4073"/>
                    <a:pt x="2974" y="3985"/>
                    <a:pt x="2974" y="3941"/>
                  </a:cubicBezTo>
                  <a:cubicBezTo>
                    <a:pt x="2989" y="3934"/>
                    <a:pt x="3018" y="3912"/>
                    <a:pt x="3055" y="3890"/>
                  </a:cubicBezTo>
                  <a:cubicBezTo>
                    <a:pt x="3121" y="3854"/>
                    <a:pt x="3158" y="3824"/>
                    <a:pt x="3172" y="3780"/>
                  </a:cubicBezTo>
                  <a:cubicBezTo>
                    <a:pt x="3172" y="3780"/>
                    <a:pt x="3180" y="3780"/>
                    <a:pt x="3201" y="3780"/>
                  </a:cubicBezTo>
                  <a:cubicBezTo>
                    <a:pt x="3216" y="3780"/>
                    <a:pt x="3223" y="3780"/>
                    <a:pt x="3231" y="3780"/>
                  </a:cubicBezTo>
                  <a:cubicBezTo>
                    <a:pt x="3245" y="3780"/>
                    <a:pt x="3260" y="3780"/>
                    <a:pt x="3267" y="3780"/>
                  </a:cubicBezTo>
                  <a:cubicBezTo>
                    <a:pt x="3275" y="3780"/>
                    <a:pt x="3275" y="3780"/>
                    <a:pt x="3275" y="3788"/>
                  </a:cubicBezTo>
                  <a:cubicBezTo>
                    <a:pt x="3297" y="3802"/>
                    <a:pt x="3289" y="3854"/>
                    <a:pt x="3282" y="3876"/>
                  </a:cubicBezTo>
                  <a:cubicBezTo>
                    <a:pt x="3275" y="3905"/>
                    <a:pt x="3282" y="3956"/>
                    <a:pt x="3304" y="3993"/>
                  </a:cubicBezTo>
                  <a:cubicBezTo>
                    <a:pt x="3326" y="4029"/>
                    <a:pt x="3348" y="4044"/>
                    <a:pt x="3377" y="4051"/>
                  </a:cubicBezTo>
                  <a:cubicBezTo>
                    <a:pt x="3414" y="4059"/>
                    <a:pt x="3421" y="4073"/>
                    <a:pt x="3436" y="4117"/>
                  </a:cubicBezTo>
                  <a:cubicBezTo>
                    <a:pt x="3443" y="4161"/>
                    <a:pt x="3480" y="4249"/>
                    <a:pt x="3546" y="4249"/>
                  </a:cubicBezTo>
                  <a:cubicBezTo>
                    <a:pt x="3561" y="4249"/>
                    <a:pt x="3575" y="4242"/>
                    <a:pt x="3597" y="4227"/>
                  </a:cubicBezTo>
                  <a:cubicBezTo>
                    <a:pt x="3619" y="4205"/>
                    <a:pt x="3634" y="4183"/>
                    <a:pt x="3649" y="4169"/>
                  </a:cubicBezTo>
                  <a:cubicBezTo>
                    <a:pt x="3656" y="4154"/>
                    <a:pt x="3670" y="4139"/>
                    <a:pt x="3670" y="4139"/>
                  </a:cubicBezTo>
                  <a:cubicBezTo>
                    <a:pt x="3670" y="4139"/>
                    <a:pt x="3670" y="4139"/>
                    <a:pt x="3678" y="4139"/>
                  </a:cubicBezTo>
                  <a:cubicBezTo>
                    <a:pt x="3685" y="4147"/>
                    <a:pt x="3692" y="4154"/>
                    <a:pt x="3700" y="4161"/>
                  </a:cubicBezTo>
                  <a:cubicBezTo>
                    <a:pt x="3722" y="4176"/>
                    <a:pt x="3744" y="4198"/>
                    <a:pt x="3773" y="4198"/>
                  </a:cubicBezTo>
                  <a:cubicBezTo>
                    <a:pt x="3795" y="4198"/>
                    <a:pt x="3810" y="4191"/>
                    <a:pt x="3824" y="4183"/>
                  </a:cubicBezTo>
                  <a:cubicBezTo>
                    <a:pt x="3898" y="4147"/>
                    <a:pt x="4008" y="4110"/>
                    <a:pt x="4066" y="4110"/>
                  </a:cubicBezTo>
                  <a:lnTo>
                    <a:pt x="4073" y="4110"/>
                  </a:lnTo>
                  <a:cubicBezTo>
                    <a:pt x="4088" y="4139"/>
                    <a:pt x="4110" y="4139"/>
                    <a:pt x="4154" y="4139"/>
                  </a:cubicBezTo>
                  <a:cubicBezTo>
                    <a:pt x="4242" y="4139"/>
                    <a:pt x="4264" y="4139"/>
                    <a:pt x="4330" y="4103"/>
                  </a:cubicBezTo>
                  <a:cubicBezTo>
                    <a:pt x="4344" y="4095"/>
                    <a:pt x="4366" y="4088"/>
                    <a:pt x="4389" y="4081"/>
                  </a:cubicBezTo>
                  <a:cubicBezTo>
                    <a:pt x="4396" y="4022"/>
                    <a:pt x="4396" y="4022"/>
                    <a:pt x="4396" y="4022"/>
                  </a:cubicBezTo>
                  <a:cubicBezTo>
                    <a:pt x="4352" y="4015"/>
                    <a:pt x="4330" y="4000"/>
                    <a:pt x="4315" y="3993"/>
                  </a:cubicBezTo>
                  <a:cubicBezTo>
                    <a:pt x="4337" y="3956"/>
                    <a:pt x="4344" y="3949"/>
                    <a:pt x="4396" y="3919"/>
                  </a:cubicBezTo>
                  <a:cubicBezTo>
                    <a:pt x="4469" y="3883"/>
                    <a:pt x="4484" y="3846"/>
                    <a:pt x="4462" y="3773"/>
                  </a:cubicBezTo>
                  <a:cubicBezTo>
                    <a:pt x="4447" y="3722"/>
                    <a:pt x="4411" y="3670"/>
                    <a:pt x="4366" y="3670"/>
                  </a:cubicBezTo>
                  <a:cubicBezTo>
                    <a:pt x="4352" y="3670"/>
                    <a:pt x="4337" y="3678"/>
                    <a:pt x="4330" y="3685"/>
                  </a:cubicBezTo>
                  <a:cubicBezTo>
                    <a:pt x="4323" y="3692"/>
                    <a:pt x="4315" y="3692"/>
                    <a:pt x="4315" y="3700"/>
                  </a:cubicBezTo>
                  <a:cubicBezTo>
                    <a:pt x="4315" y="3692"/>
                    <a:pt x="4308" y="3692"/>
                    <a:pt x="4308" y="3692"/>
                  </a:cubicBezTo>
                  <a:cubicBezTo>
                    <a:pt x="4293" y="3648"/>
                    <a:pt x="4301" y="3634"/>
                    <a:pt x="4301" y="3634"/>
                  </a:cubicBezTo>
                  <a:cubicBezTo>
                    <a:pt x="4301" y="3634"/>
                    <a:pt x="4308" y="3626"/>
                    <a:pt x="4315" y="3626"/>
                  </a:cubicBezTo>
                  <a:cubicBezTo>
                    <a:pt x="4366" y="3612"/>
                    <a:pt x="4381" y="3568"/>
                    <a:pt x="4403" y="3524"/>
                  </a:cubicBezTo>
                  <a:cubicBezTo>
                    <a:pt x="4403" y="3509"/>
                    <a:pt x="4403" y="3509"/>
                    <a:pt x="4403" y="3509"/>
                  </a:cubicBezTo>
                  <a:cubicBezTo>
                    <a:pt x="4418" y="3473"/>
                    <a:pt x="4425" y="3473"/>
                    <a:pt x="4462" y="3450"/>
                  </a:cubicBezTo>
                  <a:cubicBezTo>
                    <a:pt x="4469" y="3443"/>
                    <a:pt x="4469" y="3443"/>
                    <a:pt x="4469" y="3443"/>
                  </a:cubicBezTo>
                  <a:cubicBezTo>
                    <a:pt x="4476" y="3436"/>
                    <a:pt x="4484" y="3436"/>
                    <a:pt x="4491" y="3428"/>
                  </a:cubicBezTo>
                  <a:cubicBezTo>
                    <a:pt x="4506" y="3421"/>
                    <a:pt x="4513" y="3414"/>
                    <a:pt x="4528" y="3407"/>
                  </a:cubicBezTo>
                  <a:cubicBezTo>
                    <a:pt x="4528" y="3428"/>
                    <a:pt x="4542" y="3458"/>
                    <a:pt x="4557" y="3473"/>
                  </a:cubicBezTo>
                  <a:cubicBezTo>
                    <a:pt x="4550" y="3495"/>
                    <a:pt x="4542" y="3524"/>
                    <a:pt x="4550" y="3546"/>
                  </a:cubicBezTo>
                  <a:cubicBezTo>
                    <a:pt x="4557" y="3575"/>
                    <a:pt x="4594" y="3626"/>
                    <a:pt x="4645" y="3626"/>
                  </a:cubicBezTo>
                  <a:cubicBezTo>
                    <a:pt x="4667" y="3626"/>
                    <a:pt x="4689" y="3619"/>
                    <a:pt x="4704" y="3604"/>
                  </a:cubicBezTo>
                  <a:cubicBezTo>
                    <a:pt x="4718" y="3582"/>
                    <a:pt x="4725" y="3568"/>
                    <a:pt x="4733" y="3553"/>
                  </a:cubicBezTo>
                  <a:cubicBezTo>
                    <a:pt x="4740" y="3560"/>
                    <a:pt x="4755" y="3568"/>
                    <a:pt x="4770" y="3568"/>
                  </a:cubicBezTo>
                  <a:cubicBezTo>
                    <a:pt x="4777" y="3568"/>
                    <a:pt x="4784" y="3568"/>
                    <a:pt x="4799" y="3568"/>
                  </a:cubicBezTo>
                  <a:cubicBezTo>
                    <a:pt x="4880" y="3524"/>
                    <a:pt x="4857" y="3465"/>
                    <a:pt x="4850" y="3443"/>
                  </a:cubicBezTo>
                  <a:cubicBezTo>
                    <a:pt x="4850" y="3443"/>
                    <a:pt x="4843" y="3436"/>
                    <a:pt x="4843" y="3428"/>
                  </a:cubicBezTo>
                  <a:cubicBezTo>
                    <a:pt x="4850" y="3428"/>
                    <a:pt x="4850" y="3421"/>
                    <a:pt x="4857" y="3414"/>
                  </a:cubicBezTo>
                  <a:cubicBezTo>
                    <a:pt x="4865" y="3407"/>
                    <a:pt x="4865" y="3392"/>
                    <a:pt x="4872" y="3385"/>
                  </a:cubicBezTo>
                  <a:cubicBezTo>
                    <a:pt x="4916" y="3377"/>
                    <a:pt x="4953" y="3363"/>
                    <a:pt x="4967" y="3348"/>
                  </a:cubicBezTo>
                  <a:cubicBezTo>
                    <a:pt x="4982" y="3348"/>
                    <a:pt x="4989" y="3348"/>
                    <a:pt x="5004" y="3348"/>
                  </a:cubicBezTo>
                  <a:cubicBezTo>
                    <a:pt x="5019" y="3348"/>
                    <a:pt x="5033" y="3348"/>
                    <a:pt x="5048" y="3348"/>
                  </a:cubicBezTo>
                  <a:cubicBezTo>
                    <a:pt x="5085" y="3333"/>
                    <a:pt x="5092" y="3319"/>
                    <a:pt x="5107" y="3304"/>
                  </a:cubicBezTo>
                  <a:cubicBezTo>
                    <a:pt x="5107" y="3297"/>
                    <a:pt x="5114" y="3297"/>
                    <a:pt x="5114" y="3289"/>
                  </a:cubicBezTo>
                  <a:cubicBezTo>
                    <a:pt x="5121" y="3275"/>
                    <a:pt x="5129" y="3275"/>
                    <a:pt x="5143" y="3267"/>
                  </a:cubicBezTo>
                  <a:cubicBezTo>
                    <a:pt x="5151" y="3267"/>
                    <a:pt x="5158" y="3260"/>
                    <a:pt x="5158" y="3260"/>
                  </a:cubicBezTo>
                  <a:cubicBezTo>
                    <a:pt x="5194" y="3238"/>
                    <a:pt x="5216" y="3194"/>
                    <a:pt x="5216" y="3157"/>
                  </a:cubicBezTo>
                  <a:cubicBezTo>
                    <a:pt x="5209" y="3128"/>
                    <a:pt x="5187" y="3106"/>
                    <a:pt x="5151" y="3099"/>
                  </a:cubicBezTo>
                  <a:cubicBezTo>
                    <a:pt x="5092" y="3091"/>
                    <a:pt x="5085" y="3077"/>
                    <a:pt x="5085" y="3062"/>
                  </a:cubicBezTo>
                  <a:cubicBezTo>
                    <a:pt x="5085" y="3055"/>
                    <a:pt x="5085" y="3055"/>
                    <a:pt x="5085" y="3055"/>
                  </a:cubicBezTo>
                  <a:cubicBezTo>
                    <a:pt x="5085" y="3055"/>
                    <a:pt x="5085" y="3055"/>
                    <a:pt x="5085" y="3047"/>
                  </a:cubicBezTo>
                  <a:cubicBezTo>
                    <a:pt x="5092" y="3040"/>
                    <a:pt x="5107" y="3033"/>
                    <a:pt x="5107" y="3011"/>
                  </a:cubicBezTo>
                  <a:cubicBezTo>
                    <a:pt x="5114" y="2982"/>
                    <a:pt x="5114" y="2952"/>
                    <a:pt x="5099" y="2938"/>
                  </a:cubicBezTo>
                  <a:cubicBezTo>
                    <a:pt x="5085" y="2923"/>
                    <a:pt x="5077" y="2916"/>
                    <a:pt x="5063" y="2916"/>
                  </a:cubicBezTo>
                  <a:cubicBezTo>
                    <a:pt x="5048" y="2916"/>
                    <a:pt x="5041" y="2916"/>
                    <a:pt x="5026" y="2923"/>
                  </a:cubicBezTo>
                  <a:cubicBezTo>
                    <a:pt x="5026" y="2930"/>
                    <a:pt x="5019" y="2930"/>
                    <a:pt x="5019" y="2938"/>
                  </a:cubicBezTo>
                  <a:cubicBezTo>
                    <a:pt x="5011" y="2938"/>
                    <a:pt x="5011" y="2938"/>
                    <a:pt x="5004" y="2945"/>
                  </a:cubicBezTo>
                  <a:cubicBezTo>
                    <a:pt x="5004" y="2930"/>
                    <a:pt x="5011" y="2916"/>
                    <a:pt x="5019" y="2908"/>
                  </a:cubicBezTo>
                  <a:cubicBezTo>
                    <a:pt x="5026" y="2908"/>
                    <a:pt x="5033" y="2908"/>
                    <a:pt x="5041" y="2908"/>
                  </a:cubicBezTo>
                  <a:cubicBezTo>
                    <a:pt x="5063" y="2901"/>
                    <a:pt x="5099" y="2901"/>
                    <a:pt x="5121" y="2857"/>
                  </a:cubicBezTo>
                  <a:cubicBezTo>
                    <a:pt x="5136" y="2842"/>
                    <a:pt x="5143" y="2813"/>
                    <a:pt x="5136" y="2798"/>
                  </a:cubicBezTo>
                  <a:cubicBezTo>
                    <a:pt x="5121" y="2769"/>
                    <a:pt x="5099" y="2769"/>
                    <a:pt x="5070" y="2762"/>
                  </a:cubicBezTo>
                  <a:cubicBezTo>
                    <a:pt x="5063" y="2762"/>
                    <a:pt x="5063" y="2762"/>
                    <a:pt x="5063" y="2762"/>
                  </a:cubicBezTo>
                  <a:cubicBezTo>
                    <a:pt x="5055" y="2754"/>
                    <a:pt x="5048" y="2754"/>
                    <a:pt x="5041" y="2754"/>
                  </a:cubicBezTo>
                  <a:cubicBezTo>
                    <a:pt x="5070" y="2740"/>
                    <a:pt x="5077" y="2732"/>
                    <a:pt x="5092" y="2710"/>
                  </a:cubicBezTo>
                  <a:cubicBezTo>
                    <a:pt x="5099" y="2710"/>
                    <a:pt x="5099" y="2703"/>
                    <a:pt x="5107" y="2696"/>
                  </a:cubicBezTo>
                  <a:cubicBezTo>
                    <a:pt x="5107" y="2688"/>
                    <a:pt x="5114" y="2688"/>
                    <a:pt x="5121" y="2688"/>
                  </a:cubicBezTo>
                  <a:cubicBezTo>
                    <a:pt x="5129" y="2688"/>
                    <a:pt x="5136" y="2688"/>
                    <a:pt x="5151" y="2696"/>
                  </a:cubicBezTo>
                  <a:cubicBezTo>
                    <a:pt x="5158" y="2696"/>
                    <a:pt x="5158" y="2696"/>
                    <a:pt x="5165" y="2696"/>
                  </a:cubicBezTo>
                  <a:cubicBezTo>
                    <a:pt x="5173" y="2703"/>
                    <a:pt x="5180" y="2703"/>
                    <a:pt x="5187" y="2703"/>
                  </a:cubicBezTo>
                  <a:cubicBezTo>
                    <a:pt x="5231" y="2703"/>
                    <a:pt x="5239" y="2666"/>
                    <a:pt x="5246" y="2645"/>
                  </a:cubicBezTo>
                  <a:cubicBezTo>
                    <a:pt x="5246" y="2637"/>
                    <a:pt x="5246" y="2637"/>
                    <a:pt x="5246" y="2637"/>
                  </a:cubicBezTo>
                  <a:cubicBezTo>
                    <a:pt x="5246" y="2630"/>
                    <a:pt x="5261" y="2630"/>
                    <a:pt x="5268" y="2623"/>
                  </a:cubicBezTo>
                  <a:cubicBezTo>
                    <a:pt x="5282" y="2623"/>
                    <a:pt x="5297" y="2623"/>
                    <a:pt x="5312" y="2615"/>
                  </a:cubicBezTo>
                  <a:cubicBezTo>
                    <a:pt x="5319" y="2608"/>
                    <a:pt x="5326" y="2608"/>
                    <a:pt x="5334" y="2600"/>
                  </a:cubicBezTo>
                  <a:cubicBezTo>
                    <a:pt x="5341" y="2637"/>
                    <a:pt x="5356" y="2652"/>
                    <a:pt x="5378" y="2652"/>
                  </a:cubicBezTo>
                  <a:cubicBezTo>
                    <a:pt x="5385" y="2652"/>
                    <a:pt x="5385" y="2652"/>
                    <a:pt x="5385" y="2652"/>
                  </a:cubicBezTo>
                  <a:cubicBezTo>
                    <a:pt x="5392" y="2645"/>
                    <a:pt x="5392" y="2645"/>
                    <a:pt x="5392" y="2645"/>
                  </a:cubicBezTo>
                  <a:cubicBezTo>
                    <a:pt x="5414" y="2637"/>
                    <a:pt x="5414" y="2608"/>
                    <a:pt x="5422" y="2586"/>
                  </a:cubicBezTo>
                  <a:cubicBezTo>
                    <a:pt x="5422" y="2564"/>
                    <a:pt x="5429" y="2542"/>
                    <a:pt x="5436" y="2527"/>
                  </a:cubicBezTo>
                  <a:cubicBezTo>
                    <a:pt x="5444" y="2513"/>
                    <a:pt x="5451" y="2505"/>
                    <a:pt x="5451" y="2491"/>
                  </a:cubicBezTo>
                  <a:cubicBezTo>
                    <a:pt x="5473" y="2461"/>
                    <a:pt x="5480" y="2439"/>
                    <a:pt x="5517" y="2425"/>
                  </a:cubicBezTo>
                  <a:cubicBezTo>
                    <a:pt x="5524" y="2425"/>
                    <a:pt x="5539" y="2417"/>
                    <a:pt x="5575" y="2417"/>
                  </a:cubicBezTo>
                  <a:cubicBezTo>
                    <a:pt x="5598" y="2417"/>
                    <a:pt x="5620" y="2417"/>
                    <a:pt x="5649" y="2425"/>
                  </a:cubicBezTo>
                  <a:cubicBezTo>
                    <a:pt x="5678" y="2425"/>
                    <a:pt x="5700" y="2425"/>
                    <a:pt x="5722" y="2425"/>
                  </a:cubicBezTo>
                  <a:cubicBezTo>
                    <a:pt x="5773" y="2425"/>
                    <a:pt x="5803" y="2417"/>
                    <a:pt x="5825" y="2403"/>
                  </a:cubicBezTo>
                  <a:cubicBezTo>
                    <a:pt x="5876" y="2366"/>
                    <a:pt x="5869" y="2337"/>
                    <a:pt x="5854" y="2285"/>
                  </a:cubicBezTo>
                  <a:cubicBezTo>
                    <a:pt x="5847" y="2264"/>
                    <a:pt x="5847" y="2264"/>
                    <a:pt x="5847" y="2264"/>
                  </a:cubicBezTo>
                  <a:cubicBezTo>
                    <a:pt x="5832" y="2205"/>
                    <a:pt x="5817" y="2176"/>
                    <a:pt x="5810" y="2139"/>
                  </a:cubicBezTo>
                  <a:cubicBezTo>
                    <a:pt x="5803" y="2132"/>
                    <a:pt x="5803" y="2124"/>
                    <a:pt x="5795" y="2117"/>
                  </a:cubicBezTo>
                  <a:cubicBezTo>
                    <a:pt x="5795" y="2109"/>
                    <a:pt x="5788" y="2102"/>
                    <a:pt x="5788" y="2095"/>
                  </a:cubicBezTo>
                  <a:cubicBezTo>
                    <a:pt x="5781" y="2066"/>
                    <a:pt x="5766" y="2029"/>
                    <a:pt x="5730" y="2029"/>
                  </a:cubicBezTo>
                  <a:cubicBezTo>
                    <a:pt x="5722" y="2029"/>
                    <a:pt x="5707" y="2036"/>
                    <a:pt x="5700" y="2036"/>
                  </a:cubicBezTo>
                  <a:cubicBezTo>
                    <a:pt x="5693" y="2036"/>
                    <a:pt x="5693" y="2036"/>
                    <a:pt x="5693" y="2036"/>
                  </a:cubicBezTo>
                  <a:cubicBezTo>
                    <a:pt x="5685" y="2044"/>
                    <a:pt x="5685" y="2044"/>
                    <a:pt x="5678" y="2044"/>
                  </a:cubicBezTo>
                  <a:lnTo>
                    <a:pt x="5678" y="2044"/>
                  </a:lnTo>
                  <a:cubicBezTo>
                    <a:pt x="5671" y="2044"/>
                    <a:pt x="5656" y="2036"/>
                    <a:pt x="5634" y="2029"/>
                  </a:cubicBezTo>
                  <a:cubicBezTo>
                    <a:pt x="5605" y="2022"/>
                    <a:pt x="5605" y="2014"/>
                    <a:pt x="5598" y="1985"/>
                  </a:cubicBezTo>
                  <a:cubicBezTo>
                    <a:pt x="5598" y="1970"/>
                    <a:pt x="5590" y="1948"/>
                    <a:pt x="5583" y="1926"/>
                  </a:cubicBezTo>
                  <a:cubicBezTo>
                    <a:pt x="5554" y="1860"/>
                    <a:pt x="5524" y="1838"/>
                    <a:pt x="5466" y="1824"/>
                  </a:cubicBezTo>
                  <a:cubicBezTo>
                    <a:pt x="5458" y="1824"/>
                    <a:pt x="5458" y="1816"/>
                    <a:pt x="5451" y="1809"/>
                  </a:cubicBezTo>
                  <a:cubicBezTo>
                    <a:pt x="5444" y="1802"/>
                    <a:pt x="5429" y="1780"/>
                    <a:pt x="5400" y="1780"/>
                  </a:cubicBezTo>
                  <a:cubicBezTo>
                    <a:pt x="5385" y="1780"/>
                    <a:pt x="5378" y="1787"/>
                    <a:pt x="5370" y="1787"/>
                  </a:cubicBezTo>
                  <a:cubicBezTo>
                    <a:pt x="5363" y="1787"/>
                    <a:pt x="5348" y="1795"/>
                    <a:pt x="5312" y="1795"/>
                  </a:cubicBezTo>
                  <a:cubicBezTo>
                    <a:pt x="5297" y="1802"/>
                    <a:pt x="5282" y="1802"/>
                    <a:pt x="5275" y="1802"/>
                  </a:cubicBezTo>
                  <a:cubicBezTo>
                    <a:pt x="5239" y="1802"/>
                    <a:pt x="5209" y="1795"/>
                    <a:pt x="5194" y="1773"/>
                  </a:cubicBezTo>
                  <a:cubicBezTo>
                    <a:pt x="5173" y="1743"/>
                    <a:pt x="5143" y="1728"/>
                    <a:pt x="5099" y="1728"/>
                  </a:cubicBezTo>
                  <a:cubicBezTo>
                    <a:pt x="5085" y="1728"/>
                    <a:pt x="5077" y="1728"/>
                    <a:pt x="5055" y="1728"/>
                  </a:cubicBezTo>
                  <a:lnTo>
                    <a:pt x="5055" y="1728"/>
                  </a:lnTo>
                  <a:cubicBezTo>
                    <a:pt x="5048" y="1736"/>
                    <a:pt x="5048" y="1736"/>
                    <a:pt x="5048" y="1736"/>
                  </a:cubicBezTo>
                  <a:cubicBezTo>
                    <a:pt x="5041" y="1736"/>
                    <a:pt x="5041" y="1736"/>
                    <a:pt x="5041" y="1736"/>
                  </a:cubicBezTo>
                  <a:cubicBezTo>
                    <a:pt x="5033" y="1743"/>
                    <a:pt x="5033" y="1743"/>
                    <a:pt x="5033" y="1743"/>
                  </a:cubicBezTo>
                  <a:cubicBezTo>
                    <a:pt x="5019" y="1780"/>
                    <a:pt x="4997" y="1809"/>
                    <a:pt x="4982" y="1824"/>
                  </a:cubicBezTo>
                  <a:cubicBezTo>
                    <a:pt x="4953" y="1868"/>
                    <a:pt x="4967" y="1912"/>
                    <a:pt x="4975" y="1948"/>
                  </a:cubicBezTo>
                  <a:cubicBezTo>
                    <a:pt x="4982" y="1956"/>
                    <a:pt x="4982" y="1956"/>
                    <a:pt x="4982" y="1956"/>
                  </a:cubicBezTo>
                  <a:cubicBezTo>
                    <a:pt x="4989" y="1985"/>
                    <a:pt x="5011" y="2000"/>
                    <a:pt x="5033" y="2007"/>
                  </a:cubicBezTo>
                  <a:lnTo>
                    <a:pt x="5048" y="2014"/>
                  </a:lnTo>
                  <a:cubicBezTo>
                    <a:pt x="5048" y="2036"/>
                    <a:pt x="5033" y="2058"/>
                    <a:pt x="5004" y="2080"/>
                  </a:cubicBezTo>
                  <a:cubicBezTo>
                    <a:pt x="4975" y="2109"/>
                    <a:pt x="4967" y="2124"/>
                    <a:pt x="4953" y="2154"/>
                  </a:cubicBezTo>
                  <a:cubicBezTo>
                    <a:pt x="4945" y="2168"/>
                    <a:pt x="4945" y="2168"/>
                    <a:pt x="4945" y="2168"/>
                  </a:cubicBezTo>
                  <a:cubicBezTo>
                    <a:pt x="4938" y="2190"/>
                    <a:pt x="4938" y="2205"/>
                    <a:pt x="4938" y="2212"/>
                  </a:cubicBezTo>
                  <a:lnTo>
                    <a:pt x="4938" y="2219"/>
                  </a:lnTo>
                  <a:lnTo>
                    <a:pt x="4938" y="2219"/>
                  </a:lnTo>
                  <a:cubicBezTo>
                    <a:pt x="4938" y="2219"/>
                    <a:pt x="4931" y="2219"/>
                    <a:pt x="4923" y="2227"/>
                  </a:cubicBezTo>
                  <a:lnTo>
                    <a:pt x="4923" y="2227"/>
                  </a:lnTo>
                  <a:cubicBezTo>
                    <a:pt x="4923" y="2227"/>
                    <a:pt x="4916" y="2219"/>
                    <a:pt x="4909" y="2197"/>
                  </a:cubicBezTo>
                  <a:cubicBezTo>
                    <a:pt x="4901" y="2168"/>
                    <a:pt x="4872" y="2139"/>
                    <a:pt x="4835" y="2139"/>
                  </a:cubicBezTo>
                  <a:cubicBezTo>
                    <a:pt x="4806" y="2139"/>
                    <a:pt x="4784" y="2161"/>
                    <a:pt x="4770" y="2183"/>
                  </a:cubicBezTo>
                  <a:cubicBezTo>
                    <a:pt x="4770" y="2183"/>
                    <a:pt x="4762" y="2190"/>
                    <a:pt x="4755" y="2197"/>
                  </a:cubicBezTo>
                  <a:cubicBezTo>
                    <a:pt x="4755" y="2190"/>
                    <a:pt x="4748" y="2183"/>
                    <a:pt x="4733" y="2161"/>
                  </a:cubicBezTo>
                  <a:cubicBezTo>
                    <a:pt x="4718" y="2139"/>
                    <a:pt x="4696" y="2132"/>
                    <a:pt x="4674" y="2132"/>
                  </a:cubicBezTo>
                  <a:cubicBezTo>
                    <a:pt x="4652" y="2132"/>
                    <a:pt x="4623" y="2139"/>
                    <a:pt x="4594" y="2154"/>
                  </a:cubicBezTo>
                  <a:cubicBezTo>
                    <a:pt x="4586" y="2161"/>
                    <a:pt x="4579" y="2161"/>
                    <a:pt x="4572" y="2161"/>
                  </a:cubicBezTo>
                  <a:cubicBezTo>
                    <a:pt x="4564" y="2161"/>
                    <a:pt x="4557" y="2161"/>
                    <a:pt x="4542" y="2154"/>
                  </a:cubicBezTo>
                  <a:cubicBezTo>
                    <a:pt x="4535" y="2154"/>
                    <a:pt x="4520" y="2154"/>
                    <a:pt x="4506" y="2146"/>
                  </a:cubicBezTo>
                  <a:cubicBezTo>
                    <a:pt x="4484" y="2146"/>
                    <a:pt x="4462" y="2102"/>
                    <a:pt x="4447" y="2073"/>
                  </a:cubicBezTo>
                  <a:cubicBezTo>
                    <a:pt x="4447" y="2066"/>
                    <a:pt x="4447" y="2066"/>
                    <a:pt x="4447" y="2066"/>
                  </a:cubicBezTo>
                  <a:cubicBezTo>
                    <a:pt x="4425" y="2014"/>
                    <a:pt x="4389" y="1992"/>
                    <a:pt x="4330" y="1992"/>
                  </a:cubicBezTo>
                  <a:cubicBezTo>
                    <a:pt x="4308" y="1992"/>
                    <a:pt x="4293" y="1963"/>
                    <a:pt x="4271" y="1941"/>
                  </a:cubicBezTo>
                  <a:cubicBezTo>
                    <a:pt x="4264" y="1926"/>
                    <a:pt x="4249" y="1912"/>
                    <a:pt x="4242" y="1897"/>
                  </a:cubicBezTo>
                  <a:cubicBezTo>
                    <a:pt x="4227" y="1890"/>
                    <a:pt x="4213" y="1882"/>
                    <a:pt x="4198" y="1882"/>
                  </a:cubicBezTo>
                  <a:cubicBezTo>
                    <a:pt x="4169" y="1882"/>
                    <a:pt x="4147" y="1904"/>
                    <a:pt x="4125" y="1912"/>
                  </a:cubicBezTo>
                  <a:cubicBezTo>
                    <a:pt x="4125" y="1919"/>
                    <a:pt x="4117" y="1919"/>
                    <a:pt x="4117" y="1919"/>
                  </a:cubicBezTo>
                  <a:cubicBezTo>
                    <a:pt x="4103" y="1926"/>
                    <a:pt x="4059" y="1926"/>
                    <a:pt x="4030" y="1934"/>
                  </a:cubicBezTo>
                  <a:cubicBezTo>
                    <a:pt x="4008" y="1934"/>
                    <a:pt x="3985" y="1934"/>
                    <a:pt x="3971" y="1934"/>
                  </a:cubicBezTo>
                  <a:cubicBezTo>
                    <a:pt x="3963" y="1934"/>
                    <a:pt x="3963" y="1934"/>
                    <a:pt x="3963" y="1934"/>
                  </a:cubicBezTo>
                  <a:cubicBezTo>
                    <a:pt x="3956" y="1934"/>
                    <a:pt x="3956" y="1934"/>
                    <a:pt x="3949" y="1926"/>
                  </a:cubicBezTo>
                  <a:cubicBezTo>
                    <a:pt x="3942" y="1912"/>
                    <a:pt x="3934" y="1897"/>
                    <a:pt x="3905" y="1890"/>
                  </a:cubicBezTo>
                  <a:cubicBezTo>
                    <a:pt x="3890" y="1882"/>
                    <a:pt x="3868" y="1860"/>
                    <a:pt x="3846" y="1831"/>
                  </a:cubicBezTo>
                  <a:cubicBezTo>
                    <a:pt x="3839" y="1824"/>
                    <a:pt x="3832" y="1816"/>
                    <a:pt x="3832" y="1809"/>
                  </a:cubicBezTo>
                  <a:cubicBezTo>
                    <a:pt x="3817" y="1780"/>
                    <a:pt x="3802" y="1743"/>
                    <a:pt x="3773" y="1743"/>
                  </a:cubicBezTo>
                  <a:cubicBezTo>
                    <a:pt x="3766" y="1743"/>
                    <a:pt x="3766" y="1743"/>
                    <a:pt x="3758" y="1750"/>
                  </a:cubicBezTo>
                  <a:cubicBezTo>
                    <a:pt x="3736" y="1750"/>
                    <a:pt x="3700" y="1758"/>
                    <a:pt x="3670" y="1758"/>
                  </a:cubicBezTo>
                  <a:cubicBezTo>
                    <a:pt x="3663" y="1758"/>
                    <a:pt x="3656" y="1750"/>
                    <a:pt x="3649" y="1743"/>
                  </a:cubicBezTo>
                  <a:cubicBezTo>
                    <a:pt x="3634" y="1736"/>
                    <a:pt x="3612" y="1721"/>
                    <a:pt x="3590" y="1721"/>
                  </a:cubicBezTo>
                  <a:cubicBezTo>
                    <a:pt x="3553" y="1721"/>
                    <a:pt x="3494" y="1736"/>
                    <a:pt x="3443" y="1750"/>
                  </a:cubicBezTo>
                  <a:cubicBezTo>
                    <a:pt x="3436" y="1758"/>
                    <a:pt x="3436" y="1758"/>
                    <a:pt x="3436" y="1758"/>
                  </a:cubicBezTo>
                  <a:cubicBezTo>
                    <a:pt x="3421" y="1758"/>
                    <a:pt x="3392" y="1743"/>
                    <a:pt x="3363" y="1721"/>
                  </a:cubicBezTo>
                  <a:cubicBezTo>
                    <a:pt x="3341" y="1707"/>
                    <a:pt x="3333" y="1692"/>
                    <a:pt x="3326" y="1670"/>
                  </a:cubicBezTo>
                  <a:cubicBezTo>
                    <a:pt x="3326" y="1663"/>
                    <a:pt x="3341" y="1655"/>
                    <a:pt x="3348" y="1655"/>
                  </a:cubicBezTo>
                  <a:cubicBezTo>
                    <a:pt x="3355" y="1648"/>
                    <a:pt x="3363" y="1641"/>
                    <a:pt x="3370" y="1634"/>
                  </a:cubicBezTo>
                  <a:cubicBezTo>
                    <a:pt x="3414" y="1605"/>
                    <a:pt x="3392" y="1554"/>
                    <a:pt x="3377" y="1524"/>
                  </a:cubicBezTo>
                  <a:cubicBezTo>
                    <a:pt x="3370" y="1517"/>
                    <a:pt x="3370" y="1510"/>
                    <a:pt x="3363" y="1502"/>
                  </a:cubicBezTo>
                  <a:cubicBezTo>
                    <a:pt x="3348" y="1458"/>
                    <a:pt x="3297" y="1429"/>
                    <a:pt x="3253" y="1422"/>
                  </a:cubicBezTo>
                  <a:cubicBezTo>
                    <a:pt x="3223" y="1415"/>
                    <a:pt x="3180" y="1407"/>
                    <a:pt x="3150" y="1378"/>
                  </a:cubicBezTo>
                  <a:lnTo>
                    <a:pt x="3150" y="1378"/>
                  </a:lnTo>
                  <a:cubicBezTo>
                    <a:pt x="3150" y="1370"/>
                    <a:pt x="3158" y="1370"/>
                    <a:pt x="3165" y="1363"/>
                  </a:cubicBezTo>
                  <a:cubicBezTo>
                    <a:pt x="3172" y="1356"/>
                    <a:pt x="3180" y="1356"/>
                    <a:pt x="3187" y="1356"/>
                  </a:cubicBezTo>
                  <a:cubicBezTo>
                    <a:pt x="3187" y="1356"/>
                    <a:pt x="3194" y="1356"/>
                    <a:pt x="3201" y="1356"/>
                  </a:cubicBezTo>
                  <a:cubicBezTo>
                    <a:pt x="3209" y="1363"/>
                    <a:pt x="3216" y="1363"/>
                    <a:pt x="3223" y="1363"/>
                  </a:cubicBezTo>
                  <a:cubicBezTo>
                    <a:pt x="3260" y="1363"/>
                    <a:pt x="3275" y="1326"/>
                    <a:pt x="3289" y="1290"/>
                  </a:cubicBezTo>
                  <a:cubicBezTo>
                    <a:pt x="3304" y="1268"/>
                    <a:pt x="3311" y="1239"/>
                    <a:pt x="3333" y="1217"/>
                  </a:cubicBezTo>
                  <a:cubicBezTo>
                    <a:pt x="3355" y="1195"/>
                    <a:pt x="3370" y="1173"/>
                    <a:pt x="3370" y="1150"/>
                  </a:cubicBezTo>
                  <a:cubicBezTo>
                    <a:pt x="3363" y="1129"/>
                    <a:pt x="3348" y="1114"/>
                    <a:pt x="3333" y="1107"/>
                  </a:cubicBezTo>
                  <a:cubicBezTo>
                    <a:pt x="3326" y="1099"/>
                    <a:pt x="3326" y="1099"/>
                    <a:pt x="3326" y="1099"/>
                  </a:cubicBezTo>
                  <a:cubicBezTo>
                    <a:pt x="3297" y="1077"/>
                    <a:pt x="3289" y="1070"/>
                    <a:pt x="3275" y="1048"/>
                  </a:cubicBezTo>
                  <a:cubicBezTo>
                    <a:pt x="3253" y="1004"/>
                    <a:pt x="3245" y="997"/>
                    <a:pt x="3194" y="975"/>
                  </a:cubicBezTo>
                  <a:cubicBezTo>
                    <a:pt x="3187" y="967"/>
                    <a:pt x="3180" y="967"/>
                    <a:pt x="3180" y="960"/>
                  </a:cubicBezTo>
                  <a:cubicBezTo>
                    <a:pt x="3180" y="960"/>
                    <a:pt x="3180" y="960"/>
                    <a:pt x="3180" y="953"/>
                  </a:cubicBezTo>
                  <a:cubicBezTo>
                    <a:pt x="3194" y="931"/>
                    <a:pt x="3201" y="901"/>
                    <a:pt x="3187" y="879"/>
                  </a:cubicBezTo>
                  <a:cubicBezTo>
                    <a:pt x="3180" y="850"/>
                    <a:pt x="3158" y="836"/>
                    <a:pt x="3128" y="836"/>
                  </a:cubicBezTo>
                  <a:cubicBezTo>
                    <a:pt x="3099" y="836"/>
                    <a:pt x="3084" y="828"/>
                    <a:pt x="3070" y="828"/>
                  </a:cubicBezTo>
                  <a:cubicBezTo>
                    <a:pt x="3055" y="821"/>
                    <a:pt x="3040" y="821"/>
                    <a:pt x="3026" y="821"/>
                  </a:cubicBezTo>
                  <a:lnTo>
                    <a:pt x="3026" y="821"/>
                  </a:lnTo>
                  <a:lnTo>
                    <a:pt x="3026" y="821"/>
                  </a:lnTo>
                  <a:cubicBezTo>
                    <a:pt x="3026" y="814"/>
                    <a:pt x="3026" y="814"/>
                    <a:pt x="3018" y="814"/>
                  </a:cubicBezTo>
                  <a:cubicBezTo>
                    <a:pt x="3018" y="806"/>
                    <a:pt x="3011" y="770"/>
                    <a:pt x="2974" y="770"/>
                  </a:cubicBezTo>
                  <a:cubicBezTo>
                    <a:pt x="2952" y="770"/>
                    <a:pt x="2938" y="784"/>
                    <a:pt x="2930" y="784"/>
                  </a:cubicBezTo>
                  <a:cubicBezTo>
                    <a:pt x="2923" y="791"/>
                    <a:pt x="2908" y="799"/>
                    <a:pt x="2894" y="799"/>
                  </a:cubicBezTo>
                  <a:cubicBezTo>
                    <a:pt x="2886" y="806"/>
                    <a:pt x="2886" y="806"/>
                    <a:pt x="2886" y="806"/>
                  </a:cubicBezTo>
                  <a:cubicBezTo>
                    <a:pt x="2879" y="806"/>
                    <a:pt x="2872" y="799"/>
                    <a:pt x="2864" y="791"/>
                  </a:cubicBezTo>
                  <a:cubicBezTo>
                    <a:pt x="2850" y="784"/>
                    <a:pt x="2835" y="777"/>
                    <a:pt x="2813" y="770"/>
                  </a:cubicBezTo>
                  <a:cubicBezTo>
                    <a:pt x="2806" y="770"/>
                    <a:pt x="2806" y="770"/>
                    <a:pt x="2799" y="770"/>
                  </a:cubicBezTo>
                  <a:cubicBezTo>
                    <a:pt x="2769" y="770"/>
                    <a:pt x="2754" y="784"/>
                    <a:pt x="2747" y="791"/>
                  </a:cubicBezTo>
                  <a:cubicBezTo>
                    <a:pt x="2740" y="799"/>
                    <a:pt x="2740" y="799"/>
                    <a:pt x="2732" y="799"/>
                  </a:cubicBezTo>
                  <a:cubicBezTo>
                    <a:pt x="2740" y="799"/>
                    <a:pt x="2732" y="799"/>
                    <a:pt x="2732" y="799"/>
                  </a:cubicBezTo>
                  <a:cubicBezTo>
                    <a:pt x="2725" y="791"/>
                    <a:pt x="2718" y="784"/>
                    <a:pt x="2696" y="784"/>
                  </a:cubicBezTo>
                  <a:cubicBezTo>
                    <a:pt x="2689" y="784"/>
                    <a:pt x="2681" y="784"/>
                    <a:pt x="2667" y="791"/>
                  </a:cubicBezTo>
                  <a:cubicBezTo>
                    <a:pt x="2659" y="799"/>
                    <a:pt x="2652" y="799"/>
                    <a:pt x="2652" y="799"/>
                  </a:cubicBezTo>
                  <a:cubicBezTo>
                    <a:pt x="2637" y="799"/>
                    <a:pt x="2630" y="799"/>
                    <a:pt x="2615" y="791"/>
                  </a:cubicBezTo>
                  <a:cubicBezTo>
                    <a:pt x="2601" y="784"/>
                    <a:pt x="2571" y="770"/>
                    <a:pt x="2549" y="755"/>
                  </a:cubicBezTo>
                  <a:cubicBezTo>
                    <a:pt x="2527" y="740"/>
                    <a:pt x="2513" y="733"/>
                    <a:pt x="2498" y="726"/>
                  </a:cubicBezTo>
                  <a:cubicBezTo>
                    <a:pt x="2483" y="718"/>
                    <a:pt x="2469" y="718"/>
                    <a:pt x="2454" y="718"/>
                  </a:cubicBezTo>
                  <a:cubicBezTo>
                    <a:pt x="2439" y="718"/>
                    <a:pt x="2425" y="718"/>
                    <a:pt x="2418" y="726"/>
                  </a:cubicBezTo>
                  <a:cubicBezTo>
                    <a:pt x="2410" y="733"/>
                    <a:pt x="2395" y="733"/>
                    <a:pt x="2388" y="740"/>
                  </a:cubicBezTo>
                  <a:cubicBezTo>
                    <a:pt x="2366" y="748"/>
                    <a:pt x="2351" y="755"/>
                    <a:pt x="2337" y="755"/>
                  </a:cubicBezTo>
                  <a:cubicBezTo>
                    <a:pt x="2322" y="755"/>
                    <a:pt x="2315" y="748"/>
                    <a:pt x="2308" y="748"/>
                  </a:cubicBezTo>
                  <a:cubicBezTo>
                    <a:pt x="2293" y="740"/>
                    <a:pt x="2278" y="718"/>
                    <a:pt x="2278" y="689"/>
                  </a:cubicBezTo>
                  <a:cubicBezTo>
                    <a:pt x="2278" y="579"/>
                    <a:pt x="2278" y="579"/>
                    <a:pt x="2278" y="579"/>
                  </a:cubicBezTo>
                  <a:cubicBezTo>
                    <a:pt x="2278" y="535"/>
                    <a:pt x="2234" y="477"/>
                    <a:pt x="2212" y="455"/>
                  </a:cubicBezTo>
                  <a:cubicBezTo>
                    <a:pt x="2212" y="447"/>
                    <a:pt x="2220" y="432"/>
                    <a:pt x="2220" y="432"/>
                  </a:cubicBezTo>
                  <a:cubicBezTo>
                    <a:pt x="2220" y="418"/>
                    <a:pt x="2227" y="396"/>
                    <a:pt x="2220" y="381"/>
                  </a:cubicBezTo>
                  <a:cubicBezTo>
                    <a:pt x="2220" y="359"/>
                    <a:pt x="2198" y="345"/>
                    <a:pt x="2176" y="323"/>
                  </a:cubicBezTo>
                  <a:cubicBezTo>
                    <a:pt x="2161" y="308"/>
                    <a:pt x="2139" y="286"/>
                    <a:pt x="2132" y="279"/>
                  </a:cubicBezTo>
                  <a:cubicBezTo>
                    <a:pt x="2132" y="271"/>
                    <a:pt x="2124" y="264"/>
                    <a:pt x="2124" y="264"/>
                  </a:cubicBezTo>
                  <a:cubicBezTo>
                    <a:pt x="2132" y="264"/>
                    <a:pt x="2132" y="264"/>
                    <a:pt x="2146" y="264"/>
                  </a:cubicBezTo>
                  <a:cubicBezTo>
                    <a:pt x="2183" y="257"/>
                    <a:pt x="2205" y="227"/>
                    <a:pt x="2205" y="191"/>
                  </a:cubicBezTo>
                  <a:cubicBezTo>
                    <a:pt x="2205" y="154"/>
                    <a:pt x="2176" y="117"/>
                    <a:pt x="2139" y="117"/>
                  </a:cubicBezTo>
                  <a:cubicBezTo>
                    <a:pt x="2132" y="117"/>
                    <a:pt x="2132" y="117"/>
                    <a:pt x="2124" y="110"/>
                  </a:cubicBezTo>
                  <a:cubicBezTo>
                    <a:pt x="2117" y="110"/>
                    <a:pt x="2102" y="110"/>
                    <a:pt x="2088" y="110"/>
                  </a:cubicBezTo>
                  <a:cubicBezTo>
                    <a:pt x="2088" y="110"/>
                    <a:pt x="2080" y="110"/>
                    <a:pt x="2066" y="110"/>
                  </a:cubicBezTo>
                  <a:lnTo>
                    <a:pt x="2066" y="110"/>
                  </a:lnTo>
                  <a:cubicBezTo>
                    <a:pt x="2058" y="110"/>
                    <a:pt x="2044" y="96"/>
                    <a:pt x="2036" y="81"/>
                  </a:cubicBezTo>
                  <a:cubicBezTo>
                    <a:pt x="2029" y="74"/>
                    <a:pt x="2014" y="66"/>
                    <a:pt x="2007" y="51"/>
                  </a:cubicBezTo>
                  <a:cubicBezTo>
                    <a:pt x="1985" y="37"/>
                    <a:pt x="1949" y="29"/>
                    <a:pt x="1919" y="22"/>
                  </a:cubicBezTo>
                  <a:cubicBezTo>
                    <a:pt x="1904" y="22"/>
                    <a:pt x="1897" y="15"/>
                    <a:pt x="1882" y="15"/>
                  </a:cubicBezTo>
                  <a:cubicBezTo>
                    <a:pt x="1875" y="15"/>
                    <a:pt x="1861" y="8"/>
                    <a:pt x="1853" y="8"/>
                  </a:cubicBezTo>
                  <a:lnTo>
                    <a:pt x="1853" y="8"/>
                  </a:lnTo>
                  <a:lnTo>
                    <a:pt x="1853" y="8"/>
                  </a:lnTo>
                  <a:cubicBezTo>
                    <a:pt x="1831" y="8"/>
                    <a:pt x="1802" y="15"/>
                    <a:pt x="1780" y="15"/>
                  </a:cubicBezTo>
                  <a:cubicBezTo>
                    <a:pt x="1758" y="22"/>
                    <a:pt x="1736" y="22"/>
                    <a:pt x="1714" y="22"/>
                  </a:cubicBezTo>
                  <a:cubicBezTo>
                    <a:pt x="1707" y="22"/>
                    <a:pt x="1707" y="22"/>
                    <a:pt x="1699" y="22"/>
                  </a:cubicBezTo>
                  <a:lnTo>
                    <a:pt x="1692" y="22"/>
                  </a:lnTo>
                  <a:cubicBezTo>
                    <a:pt x="1685" y="22"/>
                    <a:pt x="1685" y="22"/>
                    <a:pt x="1677" y="22"/>
                  </a:cubicBezTo>
                  <a:cubicBezTo>
                    <a:pt x="1670" y="0"/>
                    <a:pt x="1670" y="0"/>
                    <a:pt x="1670" y="0"/>
                  </a:cubicBezTo>
                  <a:lnTo>
                    <a:pt x="1853" y="44"/>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a:latin typeface="Montserrat" charset="0"/>
              </a:endParaRPr>
            </a:p>
          </p:txBody>
        </p:sp>
        <p:sp>
          <p:nvSpPr>
            <p:cNvPr id="68" name="Freeform 67">
              <a:extLst>
                <a:ext uri="{FF2B5EF4-FFF2-40B4-BE49-F238E27FC236}">
                  <a16:creationId xmlns:a16="http://schemas.microsoft.com/office/drawing/2014/main" id="{E83C1844-4E31-3B41-9D43-9E9C8BDD6136}"/>
                </a:ext>
              </a:extLst>
            </p:cNvPr>
            <p:cNvSpPr>
              <a:spLocks noChangeArrowheads="1"/>
            </p:cNvSpPr>
            <p:nvPr/>
          </p:nvSpPr>
          <p:spPr bwMode="auto">
            <a:xfrm>
              <a:off x="7107476" y="5115086"/>
              <a:ext cx="2106610" cy="2630072"/>
            </a:xfrm>
            <a:custGeom>
              <a:avLst/>
              <a:gdLst>
                <a:gd name="T0" fmla="*/ 1824 w 5482"/>
                <a:gd name="T1" fmla="*/ 271 h 6924"/>
                <a:gd name="T2" fmla="*/ 1443 w 5482"/>
                <a:gd name="T3" fmla="*/ 571 h 6924"/>
                <a:gd name="T4" fmla="*/ 1040 w 5482"/>
                <a:gd name="T5" fmla="*/ 468 h 6924"/>
                <a:gd name="T6" fmla="*/ 461 w 5482"/>
                <a:gd name="T7" fmla="*/ 703 h 6924"/>
                <a:gd name="T8" fmla="*/ 644 w 5482"/>
                <a:gd name="T9" fmla="*/ 1341 h 6924"/>
                <a:gd name="T10" fmla="*/ 813 w 5482"/>
                <a:gd name="T11" fmla="*/ 1758 h 6924"/>
                <a:gd name="T12" fmla="*/ 886 w 5482"/>
                <a:gd name="T13" fmla="*/ 2124 h 6924"/>
                <a:gd name="T14" fmla="*/ 945 w 5482"/>
                <a:gd name="T15" fmla="*/ 2572 h 6924"/>
                <a:gd name="T16" fmla="*/ 1003 w 5482"/>
                <a:gd name="T17" fmla="*/ 2931 h 6924"/>
                <a:gd name="T18" fmla="*/ 813 w 5482"/>
                <a:gd name="T19" fmla="*/ 3326 h 6924"/>
                <a:gd name="T20" fmla="*/ 95 w 5482"/>
                <a:gd name="T21" fmla="*/ 3495 h 6924"/>
                <a:gd name="T22" fmla="*/ 212 w 5482"/>
                <a:gd name="T23" fmla="*/ 3810 h 6924"/>
                <a:gd name="T24" fmla="*/ 241 w 5482"/>
                <a:gd name="T25" fmla="*/ 4440 h 6924"/>
                <a:gd name="T26" fmla="*/ 527 w 5482"/>
                <a:gd name="T27" fmla="*/ 4689 h 6924"/>
                <a:gd name="T28" fmla="*/ 791 w 5482"/>
                <a:gd name="T29" fmla="*/ 4872 h 6924"/>
                <a:gd name="T30" fmla="*/ 901 w 5482"/>
                <a:gd name="T31" fmla="*/ 5224 h 6924"/>
                <a:gd name="T32" fmla="*/ 1135 w 5482"/>
                <a:gd name="T33" fmla="*/ 5400 h 6924"/>
                <a:gd name="T34" fmla="*/ 1465 w 5482"/>
                <a:gd name="T35" fmla="*/ 5451 h 6924"/>
                <a:gd name="T36" fmla="*/ 1773 w 5482"/>
                <a:gd name="T37" fmla="*/ 5510 h 6924"/>
                <a:gd name="T38" fmla="*/ 1963 w 5482"/>
                <a:gd name="T39" fmla="*/ 5774 h 6924"/>
                <a:gd name="T40" fmla="*/ 1787 w 5482"/>
                <a:gd name="T41" fmla="*/ 6052 h 6924"/>
                <a:gd name="T42" fmla="*/ 1949 w 5482"/>
                <a:gd name="T43" fmla="*/ 6322 h 6924"/>
                <a:gd name="T44" fmla="*/ 2322 w 5482"/>
                <a:gd name="T45" fmla="*/ 6432 h 6924"/>
                <a:gd name="T46" fmla="*/ 2623 w 5482"/>
                <a:gd name="T47" fmla="*/ 6608 h 6924"/>
                <a:gd name="T48" fmla="*/ 3070 w 5482"/>
                <a:gd name="T49" fmla="*/ 6725 h 6924"/>
                <a:gd name="T50" fmla="*/ 3422 w 5482"/>
                <a:gd name="T51" fmla="*/ 6872 h 6924"/>
                <a:gd name="T52" fmla="*/ 3627 w 5482"/>
                <a:gd name="T53" fmla="*/ 6828 h 6924"/>
                <a:gd name="T54" fmla="*/ 3663 w 5482"/>
                <a:gd name="T55" fmla="*/ 6491 h 6924"/>
                <a:gd name="T56" fmla="*/ 3517 w 5482"/>
                <a:gd name="T57" fmla="*/ 6133 h 6924"/>
                <a:gd name="T58" fmla="*/ 3407 w 5482"/>
                <a:gd name="T59" fmla="*/ 5686 h 6924"/>
                <a:gd name="T60" fmla="*/ 3392 w 5482"/>
                <a:gd name="T61" fmla="*/ 5224 h 6924"/>
                <a:gd name="T62" fmla="*/ 3561 w 5482"/>
                <a:gd name="T63" fmla="*/ 4843 h 6924"/>
                <a:gd name="T64" fmla="*/ 3927 w 5482"/>
                <a:gd name="T65" fmla="*/ 4741 h 6924"/>
                <a:gd name="T66" fmla="*/ 4227 w 5482"/>
                <a:gd name="T67" fmla="*/ 4660 h 6924"/>
                <a:gd name="T68" fmla="*/ 4594 w 5482"/>
                <a:gd name="T69" fmla="*/ 4521 h 6924"/>
                <a:gd name="T70" fmla="*/ 4997 w 5482"/>
                <a:gd name="T71" fmla="*/ 4491 h 6924"/>
                <a:gd name="T72" fmla="*/ 5283 w 5482"/>
                <a:gd name="T73" fmla="*/ 4447 h 6924"/>
                <a:gd name="T74" fmla="*/ 5400 w 5482"/>
                <a:gd name="T75" fmla="*/ 3949 h 6924"/>
                <a:gd name="T76" fmla="*/ 5034 w 5482"/>
                <a:gd name="T77" fmla="*/ 3641 h 6924"/>
                <a:gd name="T78" fmla="*/ 4653 w 5482"/>
                <a:gd name="T79" fmla="*/ 3473 h 6924"/>
                <a:gd name="T80" fmla="*/ 4242 w 5482"/>
                <a:gd name="T81" fmla="*/ 3422 h 6924"/>
                <a:gd name="T82" fmla="*/ 3876 w 5482"/>
                <a:gd name="T83" fmla="*/ 3348 h 6924"/>
                <a:gd name="T84" fmla="*/ 3429 w 5482"/>
                <a:gd name="T85" fmla="*/ 2901 h 6924"/>
                <a:gd name="T86" fmla="*/ 3465 w 5482"/>
                <a:gd name="T87" fmla="*/ 2462 h 6924"/>
                <a:gd name="T88" fmla="*/ 3590 w 5482"/>
                <a:gd name="T89" fmla="*/ 1817 h 6924"/>
                <a:gd name="T90" fmla="*/ 3268 w 5482"/>
                <a:gd name="T91" fmla="*/ 1736 h 6924"/>
                <a:gd name="T92" fmla="*/ 3268 w 5482"/>
                <a:gd name="T93" fmla="*/ 1384 h 6924"/>
                <a:gd name="T94" fmla="*/ 3290 w 5482"/>
                <a:gd name="T95" fmla="*/ 879 h 6924"/>
                <a:gd name="T96" fmla="*/ 3165 w 5482"/>
                <a:gd name="T97" fmla="*/ 586 h 6924"/>
                <a:gd name="T98" fmla="*/ 2689 w 5482"/>
                <a:gd name="T99" fmla="*/ 483 h 6924"/>
                <a:gd name="T100" fmla="*/ 2396 w 5482"/>
                <a:gd name="T101" fmla="*/ 205 h 6924"/>
                <a:gd name="T102" fmla="*/ 2125 w 5482"/>
                <a:gd name="T103" fmla="*/ 43 h 69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82" h="6924">
                  <a:moveTo>
                    <a:pt x="1956" y="146"/>
                  </a:moveTo>
                  <a:lnTo>
                    <a:pt x="1956" y="146"/>
                  </a:lnTo>
                  <a:cubicBezTo>
                    <a:pt x="1927" y="168"/>
                    <a:pt x="1890" y="124"/>
                    <a:pt x="1890" y="124"/>
                  </a:cubicBezTo>
                  <a:cubicBezTo>
                    <a:pt x="1890" y="124"/>
                    <a:pt x="1861" y="219"/>
                    <a:pt x="1824" y="271"/>
                  </a:cubicBezTo>
                  <a:cubicBezTo>
                    <a:pt x="1795" y="322"/>
                    <a:pt x="1861" y="351"/>
                    <a:pt x="1817" y="359"/>
                  </a:cubicBezTo>
                  <a:cubicBezTo>
                    <a:pt x="1780" y="373"/>
                    <a:pt x="1751" y="395"/>
                    <a:pt x="1707" y="432"/>
                  </a:cubicBezTo>
                  <a:cubicBezTo>
                    <a:pt x="1663" y="461"/>
                    <a:pt x="1612" y="491"/>
                    <a:pt x="1582" y="520"/>
                  </a:cubicBezTo>
                  <a:cubicBezTo>
                    <a:pt x="1546" y="556"/>
                    <a:pt x="1502" y="556"/>
                    <a:pt x="1443" y="571"/>
                  </a:cubicBezTo>
                  <a:cubicBezTo>
                    <a:pt x="1384" y="593"/>
                    <a:pt x="1392" y="586"/>
                    <a:pt x="1363" y="593"/>
                  </a:cubicBezTo>
                  <a:cubicBezTo>
                    <a:pt x="1326" y="600"/>
                    <a:pt x="1260" y="534"/>
                    <a:pt x="1209" y="505"/>
                  </a:cubicBezTo>
                  <a:cubicBezTo>
                    <a:pt x="1157" y="483"/>
                    <a:pt x="1150" y="505"/>
                    <a:pt x="1121" y="520"/>
                  </a:cubicBezTo>
                  <a:cubicBezTo>
                    <a:pt x="1099" y="542"/>
                    <a:pt x="1040" y="468"/>
                    <a:pt x="1040" y="468"/>
                  </a:cubicBezTo>
                  <a:cubicBezTo>
                    <a:pt x="1040" y="468"/>
                    <a:pt x="915" y="491"/>
                    <a:pt x="857" y="498"/>
                  </a:cubicBezTo>
                  <a:cubicBezTo>
                    <a:pt x="798" y="505"/>
                    <a:pt x="806" y="571"/>
                    <a:pt x="784" y="615"/>
                  </a:cubicBezTo>
                  <a:cubicBezTo>
                    <a:pt x="754" y="659"/>
                    <a:pt x="740" y="666"/>
                    <a:pt x="681" y="696"/>
                  </a:cubicBezTo>
                  <a:cubicBezTo>
                    <a:pt x="622" y="718"/>
                    <a:pt x="542" y="696"/>
                    <a:pt x="461" y="703"/>
                  </a:cubicBezTo>
                  <a:cubicBezTo>
                    <a:pt x="373" y="710"/>
                    <a:pt x="373" y="776"/>
                    <a:pt x="366" y="850"/>
                  </a:cubicBezTo>
                  <a:cubicBezTo>
                    <a:pt x="359" y="915"/>
                    <a:pt x="417" y="1040"/>
                    <a:pt x="425" y="1084"/>
                  </a:cubicBezTo>
                  <a:cubicBezTo>
                    <a:pt x="432" y="1128"/>
                    <a:pt x="527" y="1179"/>
                    <a:pt x="534" y="1209"/>
                  </a:cubicBezTo>
                  <a:cubicBezTo>
                    <a:pt x="534" y="1209"/>
                    <a:pt x="622" y="1289"/>
                    <a:pt x="644" y="1341"/>
                  </a:cubicBezTo>
                  <a:cubicBezTo>
                    <a:pt x="674" y="1392"/>
                    <a:pt x="688" y="1487"/>
                    <a:pt x="747" y="1450"/>
                  </a:cubicBezTo>
                  <a:cubicBezTo>
                    <a:pt x="806" y="1414"/>
                    <a:pt x="857" y="1443"/>
                    <a:pt x="842" y="1465"/>
                  </a:cubicBezTo>
                  <a:cubicBezTo>
                    <a:pt x="828" y="1494"/>
                    <a:pt x="791" y="1560"/>
                    <a:pt x="784" y="1604"/>
                  </a:cubicBezTo>
                  <a:cubicBezTo>
                    <a:pt x="776" y="1648"/>
                    <a:pt x="791" y="1700"/>
                    <a:pt x="813" y="1758"/>
                  </a:cubicBezTo>
                  <a:cubicBezTo>
                    <a:pt x="842" y="1817"/>
                    <a:pt x="915" y="1861"/>
                    <a:pt x="915" y="1861"/>
                  </a:cubicBezTo>
                  <a:cubicBezTo>
                    <a:pt x="915" y="1861"/>
                    <a:pt x="886" y="1861"/>
                    <a:pt x="828" y="1868"/>
                  </a:cubicBezTo>
                  <a:cubicBezTo>
                    <a:pt x="762" y="1875"/>
                    <a:pt x="776" y="1883"/>
                    <a:pt x="762" y="1949"/>
                  </a:cubicBezTo>
                  <a:cubicBezTo>
                    <a:pt x="754" y="2022"/>
                    <a:pt x="828" y="2088"/>
                    <a:pt x="886" y="2124"/>
                  </a:cubicBezTo>
                  <a:cubicBezTo>
                    <a:pt x="945" y="2154"/>
                    <a:pt x="974" y="2198"/>
                    <a:pt x="1040" y="2234"/>
                  </a:cubicBezTo>
                  <a:cubicBezTo>
                    <a:pt x="1099" y="2264"/>
                    <a:pt x="1040" y="2352"/>
                    <a:pt x="960" y="2366"/>
                  </a:cubicBezTo>
                  <a:cubicBezTo>
                    <a:pt x="886" y="2388"/>
                    <a:pt x="879" y="2403"/>
                    <a:pt x="923" y="2425"/>
                  </a:cubicBezTo>
                  <a:cubicBezTo>
                    <a:pt x="974" y="2454"/>
                    <a:pt x="952" y="2527"/>
                    <a:pt x="945" y="2572"/>
                  </a:cubicBezTo>
                  <a:cubicBezTo>
                    <a:pt x="938" y="2615"/>
                    <a:pt x="967" y="2645"/>
                    <a:pt x="1018" y="2689"/>
                  </a:cubicBezTo>
                  <a:cubicBezTo>
                    <a:pt x="1070" y="2733"/>
                    <a:pt x="1091" y="2747"/>
                    <a:pt x="1077" y="2777"/>
                  </a:cubicBezTo>
                  <a:cubicBezTo>
                    <a:pt x="1070" y="2799"/>
                    <a:pt x="996" y="2799"/>
                    <a:pt x="967" y="2828"/>
                  </a:cubicBezTo>
                  <a:cubicBezTo>
                    <a:pt x="945" y="2850"/>
                    <a:pt x="923" y="2909"/>
                    <a:pt x="1003" y="2931"/>
                  </a:cubicBezTo>
                  <a:cubicBezTo>
                    <a:pt x="1077" y="2945"/>
                    <a:pt x="1040" y="3011"/>
                    <a:pt x="1003" y="3062"/>
                  </a:cubicBezTo>
                  <a:cubicBezTo>
                    <a:pt x="967" y="3114"/>
                    <a:pt x="952" y="3136"/>
                    <a:pt x="886" y="3143"/>
                  </a:cubicBezTo>
                  <a:cubicBezTo>
                    <a:pt x="813" y="3150"/>
                    <a:pt x="798" y="3187"/>
                    <a:pt x="842" y="3224"/>
                  </a:cubicBezTo>
                  <a:cubicBezTo>
                    <a:pt x="886" y="3268"/>
                    <a:pt x="886" y="3297"/>
                    <a:pt x="813" y="3326"/>
                  </a:cubicBezTo>
                  <a:cubicBezTo>
                    <a:pt x="747" y="3363"/>
                    <a:pt x="703" y="3334"/>
                    <a:pt x="637" y="3355"/>
                  </a:cubicBezTo>
                  <a:cubicBezTo>
                    <a:pt x="571" y="3370"/>
                    <a:pt x="425" y="3363"/>
                    <a:pt x="351" y="3370"/>
                  </a:cubicBezTo>
                  <a:cubicBezTo>
                    <a:pt x="271" y="3377"/>
                    <a:pt x="249" y="3400"/>
                    <a:pt x="205" y="3458"/>
                  </a:cubicBezTo>
                  <a:cubicBezTo>
                    <a:pt x="161" y="3517"/>
                    <a:pt x="161" y="3495"/>
                    <a:pt x="95" y="3495"/>
                  </a:cubicBezTo>
                  <a:cubicBezTo>
                    <a:pt x="22" y="3495"/>
                    <a:pt x="36" y="3465"/>
                    <a:pt x="14" y="3524"/>
                  </a:cubicBezTo>
                  <a:cubicBezTo>
                    <a:pt x="0" y="3583"/>
                    <a:pt x="88" y="3612"/>
                    <a:pt x="146" y="3634"/>
                  </a:cubicBezTo>
                  <a:cubicBezTo>
                    <a:pt x="205" y="3663"/>
                    <a:pt x="197" y="3678"/>
                    <a:pt x="161" y="3722"/>
                  </a:cubicBezTo>
                  <a:cubicBezTo>
                    <a:pt x="124" y="3759"/>
                    <a:pt x="161" y="3773"/>
                    <a:pt x="212" y="3810"/>
                  </a:cubicBezTo>
                  <a:cubicBezTo>
                    <a:pt x="263" y="3854"/>
                    <a:pt x="220" y="3912"/>
                    <a:pt x="168" y="3964"/>
                  </a:cubicBezTo>
                  <a:cubicBezTo>
                    <a:pt x="117" y="4015"/>
                    <a:pt x="110" y="4015"/>
                    <a:pt x="88" y="4088"/>
                  </a:cubicBezTo>
                  <a:cubicBezTo>
                    <a:pt x="58" y="4154"/>
                    <a:pt x="102" y="4250"/>
                    <a:pt x="117" y="4301"/>
                  </a:cubicBezTo>
                  <a:cubicBezTo>
                    <a:pt x="139" y="4345"/>
                    <a:pt x="190" y="4396"/>
                    <a:pt x="241" y="4440"/>
                  </a:cubicBezTo>
                  <a:cubicBezTo>
                    <a:pt x="285" y="4484"/>
                    <a:pt x="278" y="4565"/>
                    <a:pt x="285" y="4638"/>
                  </a:cubicBezTo>
                  <a:cubicBezTo>
                    <a:pt x="315" y="4711"/>
                    <a:pt x="315" y="4711"/>
                    <a:pt x="315" y="4711"/>
                  </a:cubicBezTo>
                  <a:cubicBezTo>
                    <a:pt x="322" y="4704"/>
                    <a:pt x="329" y="4696"/>
                    <a:pt x="351" y="4696"/>
                  </a:cubicBezTo>
                  <a:cubicBezTo>
                    <a:pt x="403" y="4704"/>
                    <a:pt x="491" y="4674"/>
                    <a:pt x="527" y="4689"/>
                  </a:cubicBezTo>
                  <a:cubicBezTo>
                    <a:pt x="564" y="4696"/>
                    <a:pt x="615" y="4696"/>
                    <a:pt x="637" y="4726"/>
                  </a:cubicBezTo>
                  <a:cubicBezTo>
                    <a:pt x="666" y="4748"/>
                    <a:pt x="688" y="4792"/>
                    <a:pt x="725" y="4784"/>
                  </a:cubicBezTo>
                  <a:cubicBezTo>
                    <a:pt x="762" y="4777"/>
                    <a:pt x="762" y="4792"/>
                    <a:pt x="791" y="4792"/>
                  </a:cubicBezTo>
                  <a:cubicBezTo>
                    <a:pt x="820" y="4792"/>
                    <a:pt x="857" y="4872"/>
                    <a:pt x="791" y="4872"/>
                  </a:cubicBezTo>
                  <a:cubicBezTo>
                    <a:pt x="732" y="4880"/>
                    <a:pt x="740" y="4902"/>
                    <a:pt x="762" y="4938"/>
                  </a:cubicBezTo>
                  <a:cubicBezTo>
                    <a:pt x="784" y="4975"/>
                    <a:pt x="842" y="5012"/>
                    <a:pt x="842" y="5034"/>
                  </a:cubicBezTo>
                  <a:cubicBezTo>
                    <a:pt x="850" y="5055"/>
                    <a:pt x="820" y="5100"/>
                    <a:pt x="842" y="5122"/>
                  </a:cubicBezTo>
                  <a:cubicBezTo>
                    <a:pt x="864" y="5143"/>
                    <a:pt x="901" y="5195"/>
                    <a:pt x="901" y="5224"/>
                  </a:cubicBezTo>
                  <a:cubicBezTo>
                    <a:pt x="901" y="5253"/>
                    <a:pt x="901" y="5297"/>
                    <a:pt x="901" y="5334"/>
                  </a:cubicBezTo>
                  <a:cubicBezTo>
                    <a:pt x="901" y="5378"/>
                    <a:pt x="915" y="5407"/>
                    <a:pt x="945" y="5422"/>
                  </a:cubicBezTo>
                  <a:cubicBezTo>
                    <a:pt x="974" y="5429"/>
                    <a:pt x="1003" y="5429"/>
                    <a:pt x="1047" y="5415"/>
                  </a:cubicBezTo>
                  <a:cubicBezTo>
                    <a:pt x="1091" y="5400"/>
                    <a:pt x="1099" y="5378"/>
                    <a:pt x="1135" y="5400"/>
                  </a:cubicBezTo>
                  <a:cubicBezTo>
                    <a:pt x="1165" y="5415"/>
                    <a:pt x="1231" y="5451"/>
                    <a:pt x="1260" y="5466"/>
                  </a:cubicBezTo>
                  <a:cubicBezTo>
                    <a:pt x="1289" y="5473"/>
                    <a:pt x="1311" y="5481"/>
                    <a:pt x="1341" y="5466"/>
                  </a:cubicBezTo>
                  <a:cubicBezTo>
                    <a:pt x="1363" y="5451"/>
                    <a:pt x="1363" y="5481"/>
                    <a:pt x="1392" y="5473"/>
                  </a:cubicBezTo>
                  <a:cubicBezTo>
                    <a:pt x="1421" y="5473"/>
                    <a:pt x="1421" y="5444"/>
                    <a:pt x="1465" y="5451"/>
                  </a:cubicBezTo>
                  <a:cubicBezTo>
                    <a:pt x="1502" y="5451"/>
                    <a:pt x="1509" y="5488"/>
                    <a:pt x="1553" y="5473"/>
                  </a:cubicBezTo>
                  <a:cubicBezTo>
                    <a:pt x="1597" y="5466"/>
                    <a:pt x="1597" y="5451"/>
                    <a:pt x="1626" y="5451"/>
                  </a:cubicBezTo>
                  <a:cubicBezTo>
                    <a:pt x="1656" y="5451"/>
                    <a:pt x="1634" y="5488"/>
                    <a:pt x="1670" y="5495"/>
                  </a:cubicBezTo>
                  <a:cubicBezTo>
                    <a:pt x="1714" y="5502"/>
                    <a:pt x="1729" y="5502"/>
                    <a:pt x="1773" y="5510"/>
                  </a:cubicBezTo>
                  <a:cubicBezTo>
                    <a:pt x="1817" y="5517"/>
                    <a:pt x="1824" y="5554"/>
                    <a:pt x="1810" y="5583"/>
                  </a:cubicBezTo>
                  <a:cubicBezTo>
                    <a:pt x="1787" y="5612"/>
                    <a:pt x="1795" y="5627"/>
                    <a:pt x="1839" y="5649"/>
                  </a:cubicBezTo>
                  <a:cubicBezTo>
                    <a:pt x="1875" y="5664"/>
                    <a:pt x="1883" y="5671"/>
                    <a:pt x="1897" y="5700"/>
                  </a:cubicBezTo>
                  <a:cubicBezTo>
                    <a:pt x="1912" y="5737"/>
                    <a:pt x="1927" y="5752"/>
                    <a:pt x="1963" y="5774"/>
                  </a:cubicBezTo>
                  <a:cubicBezTo>
                    <a:pt x="1993" y="5795"/>
                    <a:pt x="2007" y="5795"/>
                    <a:pt x="1963" y="5847"/>
                  </a:cubicBezTo>
                  <a:cubicBezTo>
                    <a:pt x="1912" y="5898"/>
                    <a:pt x="1905" y="5979"/>
                    <a:pt x="1875" y="5979"/>
                  </a:cubicBezTo>
                  <a:cubicBezTo>
                    <a:pt x="1846" y="5979"/>
                    <a:pt x="1832" y="5964"/>
                    <a:pt x="1795" y="5986"/>
                  </a:cubicBezTo>
                  <a:cubicBezTo>
                    <a:pt x="1765" y="6008"/>
                    <a:pt x="1751" y="6023"/>
                    <a:pt x="1787" y="6052"/>
                  </a:cubicBezTo>
                  <a:cubicBezTo>
                    <a:pt x="1817" y="6074"/>
                    <a:pt x="1861" y="6089"/>
                    <a:pt x="1897" y="6096"/>
                  </a:cubicBezTo>
                  <a:cubicBezTo>
                    <a:pt x="1934" y="6103"/>
                    <a:pt x="1978" y="6125"/>
                    <a:pt x="1993" y="6155"/>
                  </a:cubicBezTo>
                  <a:cubicBezTo>
                    <a:pt x="2000" y="6191"/>
                    <a:pt x="2037" y="6235"/>
                    <a:pt x="2007" y="6257"/>
                  </a:cubicBezTo>
                  <a:cubicBezTo>
                    <a:pt x="1978" y="6279"/>
                    <a:pt x="1941" y="6286"/>
                    <a:pt x="1949" y="6322"/>
                  </a:cubicBezTo>
                  <a:cubicBezTo>
                    <a:pt x="1956" y="6352"/>
                    <a:pt x="1971" y="6373"/>
                    <a:pt x="1993" y="6388"/>
                  </a:cubicBezTo>
                  <a:cubicBezTo>
                    <a:pt x="2015" y="6403"/>
                    <a:pt x="2066" y="6440"/>
                    <a:pt x="2103" y="6425"/>
                  </a:cubicBezTo>
                  <a:cubicBezTo>
                    <a:pt x="2139" y="6418"/>
                    <a:pt x="2205" y="6395"/>
                    <a:pt x="2242" y="6395"/>
                  </a:cubicBezTo>
                  <a:cubicBezTo>
                    <a:pt x="2271" y="6395"/>
                    <a:pt x="2293" y="6432"/>
                    <a:pt x="2322" y="6432"/>
                  </a:cubicBezTo>
                  <a:cubicBezTo>
                    <a:pt x="2359" y="6432"/>
                    <a:pt x="2396" y="6425"/>
                    <a:pt x="2418" y="6425"/>
                  </a:cubicBezTo>
                  <a:cubicBezTo>
                    <a:pt x="2440" y="6418"/>
                    <a:pt x="2454" y="6476"/>
                    <a:pt x="2469" y="6498"/>
                  </a:cubicBezTo>
                  <a:cubicBezTo>
                    <a:pt x="2491" y="6520"/>
                    <a:pt x="2513" y="6549"/>
                    <a:pt x="2550" y="6564"/>
                  </a:cubicBezTo>
                  <a:cubicBezTo>
                    <a:pt x="2586" y="6571"/>
                    <a:pt x="2579" y="6615"/>
                    <a:pt x="2623" y="6608"/>
                  </a:cubicBezTo>
                  <a:cubicBezTo>
                    <a:pt x="2667" y="6601"/>
                    <a:pt x="2755" y="6608"/>
                    <a:pt x="2784" y="6593"/>
                  </a:cubicBezTo>
                  <a:cubicBezTo>
                    <a:pt x="2813" y="6571"/>
                    <a:pt x="2843" y="6549"/>
                    <a:pt x="2872" y="6571"/>
                  </a:cubicBezTo>
                  <a:cubicBezTo>
                    <a:pt x="2901" y="6593"/>
                    <a:pt x="2931" y="6667"/>
                    <a:pt x="2982" y="6667"/>
                  </a:cubicBezTo>
                  <a:cubicBezTo>
                    <a:pt x="3033" y="6667"/>
                    <a:pt x="3055" y="6681"/>
                    <a:pt x="3070" y="6725"/>
                  </a:cubicBezTo>
                  <a:cubicBezTo>
                    <a:pt x="3092" y="6762"/>
                    <a:pt x="3114" y="6821"/>
                    <a:pt x="3158" y="6828"/>
                  </a:cubicBezTo>
                  <a:cubicBezTo>
                    <a:pt x="3202" y="6828"/>
                    <a:pt x="3224" y="6850"/>
                    <a:pt x="3268" y="6828"/>
                  </a:cubicBezTo>
                  <a:cubicBezTo>
                    <a:pt x="3304" y="6799"/>
                    <a:pt x="3341" y="6799"/>
                    <a:pt x="3363" y="6828"/>
                  </a:cubicBezTo>
                  <a:cubicBezTo>
                    <a:pt x="3377" y="6850"/>
                    <a:pt x="3400" y="6886"/>
                    <a:pt x="3422" y="6872"/>
                  </a:cubicBezTo>
                  <a:cubicBezTo>
                    <a:pt x="3444" y="6850"/>
                    <a:pt x="3465" y="6813"/>
                    <a:pt x="3487" y="6813"/>
                  </a:cubicBezTo>
                  <a:cubicBezTo>
                    <a:pt x="3509" y="6813"/>
                    <a:pt x="3524" y="6835"/>
                    <a:pt x="3532" y="6850"/>
                  </a:cubicBezTo>
                  <a:cubicBezTo>
                    <a:pt x="3539" y="6872"/>
                    <a:pt x="3553" y="6923"/>
                    <a:pt x="3590" y="6901"/>
                  </a:cubicBezTo>
                  <a:cubicBezTo>
                    <a:pt x="3634" y="6872"/>
                    <a:pt x="3612" y="6864"/>
                    <a:pt x="3627" y="6828"/>
                  </a:cubicBezTo>
                  <a:cubicBezTo>
                    <a:pt x="3641" y="6784"/>
                    <a:pt x="3641" y="6777"/>
                    <a:pt x="3678" y="6747"/>
                  </a:cubicBezTo>
                  <a:cubicBezTo>
                    <a:pt x="3715" y="6725"/>
                    <a:pt x="3737" y="6689"/>
                    <a:pt x="3729" y="6652"/>
                  </a:cubicBezTo>
                  <a:cubicBezTo>
                    <a:pt x="3722" y="6623"/>
                    <a:pt x="3671" y="6623"/>
                    <a:pt x="3663" y="6593"/>
                  </a:cubicBezTo>
                  <a:cubicBezTo>
                    <a:pt x="3649" y="6557"/>
                    <a:pt x="3634" y="6527"/>
                    <a:pt x="3663" y="6491"/>
                  </a:cubicBezTo>
                  <a:cubicBezTo>
                    <a:pt x="3678" y="6469"/>
                    <a:pt x="3700" y="6432"/>
                    <a:pt x="3715" y="6403"/>
                  </a:cubicBezTo>
                  <a:cubicBezTo>
                    <a:pt x="3656" y="6410"/>
                    <a:pt x="3546" y="6388"/>
                    <a:pt x="3568" y="6352"/>
                  </a:cubicBezTo>
                  <a:cubicBezTo>
                    <a:pt x="3597" y="6322"/>
                    <a:pt x="3568" y="6279"/>
                    <a:pt x="3539" y="6279"/>
                  </a:cubicBezTo>
                  <a:cubicBezTo>
                    <a:pt x="3502" y="6279"/>
                    <a:pt x="3561" y="6184"/>
                    <a:pt x="3517" y="6133"/>
                  </a:cubicBezTo>
                  <a:cubicBezTo>
                    <a:pt x="3480" y="6081"/>
                    <a:pt x="3487" y="6052"/>
                    <a:pt x="3509" y="6023"/>
                  </a:cubicBezTo>
                  <a:cubicBezTo>
                    <a:pt x="3539" y="6001"/>
                    <a:pt x="3517" y="5964"/>
                    <a:pt x="3502" y="5928"/>
                  </a:cubicBezTo>
                  <a:cubicBezTo>
                    <a:pt x="3487" y="5898"/>
                    <a:pt x="3444" y="5928"/>
                    <a:pt x="3429" y="5847"/>
                  </a:cubicBezTo>
                  <a:cubicBezTo>
                    <a:pt x="3407" y="5759"/>
                    <a:pt x="3356" y="5708"/>
                    <a:pt x="3407" y="5686"/>
                  </a:cubicBezTo>
                  <a:cubicBezTo>
                    <a:pt x="3458" y="5656"/>
                    <a:pt x="3502" y="5649"/>
                    <a:pt x="3480" y="5576"/>
                  </a:cubicBezTo>
                  <a:cubicBezTo>
                    <a:pt x="3451" y="5495"/>
                    <a:pt x="3400" y="5429"/>
                    <a:pt x="3436" y="5393"/>
                  </a:cubicBezTo>
                  <a:cubicBezTo>
                    <a:pt x="3465" y="5363"/>
                    <a:pt x="3451" y="5312"/>
                    <a:pt x="3407" y="5312"/>
                  </a:cubicBezTo>
                  <a:cubicBezTo>
                    <a:pt x="3363" y="5312"/>
                    <a:pt x="3363" y="5283"/>
                    <a:pt x="3392" y="5224"/>
                  </a:cubicBezTo>
                  <a:cubicBezTo>
                    <a:pt x="3414" y="5165"/>
                    <a:pt x="3436" y="5165"/>
                    <a:pt x="3451" y="5136"/>
                  </a:cubicBezTo>
                  <a:cubicBezTo>
                    <a:pt x="3465" y="5114"/>
                    <a:pt x="3480" y="5048"/>
                    <a:pt x="3465" y="5012"/>
                  </a:cubicBezTo>
                  <a:cubicBezTo>
                    <a:pt x="3458" y="4975"/>
                    <a:pt x="3517" y="4953"/>
                    <a:pt x="3532" y="4924"/>
                  </a:cubicBezTo>
                  <a:cubicBezTo>
                    <a:pt x="3539" y="4902"/>
                    <a:pt x="3539" y="4858"/>
                    <a:pt x="3561" y="4843"/>
                  </a:cubicBezTo>
                  <a:cubicBezTo>
                    <a:pt x="3590" y="4828"/>
                    <a:pt x="3568" y="4887"/>
                    <a:pt x="3612" y="4872"/>
                  </a:cubicBezTo>
                  <a:cubicBezTo>
                    <a:pt x="3656" y="4865"/>
                    <a:pt x="3656" y="4850"/>
                    <a:pt x="3678" y="4828"/>
                  </a:cubicBezTo>
                  <a:cubicBezTo>
                    <a:pt x="3707" y="4799"/>
                    <a:pt x="3722" y="4755"/>
                    <a:pt x="3781" y="4755"/>
                  </a:cubicBezTo>
                  <a:cubicBezTo>
                    <a:pt x="3839" y="4755"/>
                    <a:pt x="3927" y="4741"/>
                    <a:pt x="3927" y="4741"/>
                  </a:cubicBezTo>
                  <a:cubicBezTo>
                    <a:pt x="3927" y="4741"/>
                    <a:pt x="3942" y="4704"/>
                    <a:pt x="3993" y="4704"/>
                  </a:cubicBezTo>
                  <a:cubicBezTo>
                    <a:pt x="4044" y="4704"/>
                    <a:pt x="4044" y="4741"/>
                    <a:pt x="4074" y="4741"/>
                  </a:cubicBezTo>
                  <a:cubicBezTo>
                    <a:pt x="4096" y="4741"/>
                    <a:pt x="4118" y="4726"/>
                    <a:pt x="4147" y="4696"/>
                  </a:cubicBezTo>
                  <a:cubicBezTo>
                    <a:pt x="4184" y="4674"/>
                    <a:pt x="4191" y="4674"/>
                    <a:pt x="4227" y="4660"/>
                  </a:cubicBezTo>
                  <a:cubicBezTo>
                    <a:pt x="4257" y="4653"/>
                    <a:pt x="4286" y="4653"/>
                    <a:pt x="4315" y="4653"/>
                  </a:cubicBezTo>
                  <a:cubicBezTo>
                    <a:pt x="4352" y="4653"/>
                    <a:pt x="4367" y="4653"/>
                    <a:pt x="4403" y="4601"/>
                  </a:cubicBezTo>
                  <a:cubicBezTo>
                    <a:pt x="4440" y="4550"/>
                    <a:pt x="4455" y="4499"/>
                    <a:pt x="4499" y="4491"/>
                  </a:cubicBezTo>
                  <a:cubicBezTo>
                    <a:pt x="4543" y="4484"/>
                    <a:pt x="4543" y="4528"/>
                    <a:pt x="4594" y="4521"/>
                  </a:cubicBezTo>
                  <a:cubicBezTo>
                    <a:pt x="4645" y="4513"/>
                    <a:pt x="4660" y="4499"/>
                    <a:pt x="4689" y="4462"/>
                  </a:cubicBezTo>
                  <a:cubicBezTo>
                    <a:pt x="4726" y="4418"/>
                    <a:pt x="4770" y="4396"/>
                    <a:pt x="4814" y="4418"/>
                  </a:cubicBezTo>
                  <a:cubicBezTo>
                    <a:pt x="4858" y="4433"/>
                    <a:pt x="4828" y="4499"/>
                    <a:pt x="4872" y="4499"/>
                  </a:cubicBezTo>
                  <a:cubicBezTo>
                    <a:pt x="4916" y="4499"/>
                    <a:pt x="4953" y="4535"/>
                    <a:pt x="4997" y="4491"/>
                  </a:cubicBezTo>
                  <a:cubicBezTo>
                    <a:pt x="5041" y="4447"/>
                    <a:pt x="5070" y="4411"/>
                    <a:pt x="5092" y="4418"/>
                  </a:cubicBezTo>
                  <a:cubicBezTo>
                    <a:pt x="5122" y="4425"/>
                    <a:pt x="5107" y="4499"/>
                    <a:pt x="5143" y="4499"/>
                  </a:cubicBezTo>
                  <a:cubicBezTo>
                    <a:pt x="5173" y="4499"/>
                    <a:pt x="5180" y="4491"/>
                    <a:pt x="5202" y="4513"/>
                  </a:cubicBezTo>
                  <a:cubicBezTo>
                    <a:pt x="5224" y="4491"/>
                    <a:pt x="5246" y="4469"/>
                    <a:pt x="5283" y="4447"/>
                  </a:cubicBezTo>
                  <a:cubicBezTo>
                    <a:pt x="5349" y="4411"/>
                    <a:pt x="5393" y="4396"/>
                    <a:pt x="5422" y="4345"/>
                  </a:cubicBezTo>
                  <a:cubicBezTo>
                    <a:pt x="5458" y="4301"/>
                    <a:pt x="5481" y="4227"/>
                    <a:pt x="5444" y="4205"/>
                  </a:cubicBezTo>
                  <a:cubicBezTo>
                    <a:pt x="5400" y="4176"/>
                    <a:pt x="5371" y="4125"/>
                    <a:pt x="5400" y="4074"/>
                  </a:cubicBezTo>
                  <a:cubicBezTo>
                    <a:pt x="5422" y="4022"/>
                    <a:pt x="5429" y="3971"/>
                    <a:pt x="5400" y="3949"/>
                  </a:cubicBezTo>
                  <a:cubicBezTo>
                    <a:pt x="5363" y="3920"/>
                    <a:pt x="5319" y="3898"/>
                    <a:pt x="5334" y="3854"/>
                  </a:cubicBezTo>
                  <a:cubicBezTo>
                    <a:pt x="5341" y="3810"/>
                    <a:pt x="5356" y="3700"/>
                    <a:pt x="5246" y="3736"/>
                  </a:cubicBezTo>
                  <a:cubicBezTo>
                    <a:pt x="5136" y="3773"/>
                    <a:pt x="5056" y="3722"/>
                    <a:pt x="5092" y="3685"/>
                  </a:cubicBezTo>
                  <a:cubicBezTo>
                    <a:pt x="5129" y="3649"/>
                    <a:pt x="5085" y="3641"/>
                    <a:pt x="5034" y="3641"/>
                  </a:cubicBezTo>
                  <a:cubicBezTo>
                    <a:pt x="4982" y="3641"/>
                    <a:pt x="4968" y="3634"/>
                    <a:pt x="4953" y="3590"/>
                  </a:cubicBezTo>
                  <a:cubicBezTo>
                    <a:pt x="4946" y="3546"/>
                    <a:pt x="4931" y="3510"/>
                    <a:pt x="4887" y="3539"/>
                  </a:cubicBezTo>
                  <a:cubicBezTo>
                    <a:pt x="4843" y="3575"/>
                    <a:pt x="4770" y="3612"/>
                    <a:pt x="4741" y="3531"/>
                  </a:cubicBezTo>
                  <a:cubicBezTo>
                    <a:pt x="4718" y="3458"/>
                    <a:pt x="4689" y="3465"/>
                    <a:pt x="4653" y="3473"/>
                  </a:cubicBezTo>
                  <a:cubicBezTo>
                    <a:pt x="4608" y="3480"/>
                    <a:pt x="4557" y="3451"/>
                    <a:pt x="4528" y="3414"/>
                  </a:cubicBezTo>
                  <a:cubicBezTo>
                    <a:pt x="4506" y="3377"/>
                    <a:pt x="4469" y="3422"/>
                    <a:pt x="4447" y="3385"/>
                  </a:cubicBezTo>
                  <a:cubicBezTo>
                    <a:pt x="4418" y="3355"/>
                    <a:pt x="4455" y="3312"/>
                    <a:pt x="4403" y="3326"/>
                  </a:cubicBezTo>
                  <a:cubicBezTo>
                    <a:pt x="4352" y="3348"/>
                    <a:pt x="4308" y="3385"/>
                    <a:pt x="4242" y="3422"/>
                  </a:cubicBezTo>
                  <a:cubicBezTo>
                    <a:pt x="4176" y="3458"/>
                    <a:pt x="4132" y="3487"/>
                    <a:pt x="4088" y="3429"/>
                  </a:cubicBezTo>
                  <a:cubicBezTo>
                    <a:pt x="4044" y="3370"/>
                    <a:pt x="4000" y="3334"/>
                    <a:pt x="3986" y="3304"/>
                  </a:cubicBezTo>
                  <a:cubicBezTo>
                    <a:pt x="3971" y="3268"/>
                    <a:pt x="3920" y="3282"/>
                    <a:pt x="3920" y="3282"/>
                  </a:cubicBezTo>
                  <a:cubicBezTo>
                    <a:pt x="3920" y="3282"/>
                    <a:pt x="3913" y="3363"/>
                    <a:pt x="3876" y="3348"/>
                  </a:cubicBezTo>
                  <a:cubicBezTo>
                    <a:pt x="3839" y="3326"/>
                    <a:pt x="3700" y="3238"/>
                    <a:pt x="3700" y="3238"/>
                  </a:cubicBezTo>
                  <a:cubicBezTo>
                    <a:pt x="3700" y="3238"/>
                    <a:pt x="3663" y="3224"/>
                    <a:pt x="3641" y="3158"/>
                  </a:cubicBezTo>
                  <a:cubicBezTo>
                    <a:pt x="3612" y="3092"/>
                    <a:pt x="3553" y="3084"/>
                    <a:pt x="3532" y="3048"/>
                  </a:cubicBezTo>
                  <a:cubicBezTo>
                    <a:pt x="3502" y="3011"/>
                    <a:pt x="3444" y="2960"/>
                    <a:pt x="3429" y="2901"/>
                  </a:cubicBezTo>
                  <a:cubicBezTo>
                    <a:pt x="3407" y="2843"/>
                    <a:pt x="3407" y="2799"/>
                    <a:pt x="3451" y="2747"/>
                  </a:cubicBezTo>
                  <a:cubicBezTo>
                    <a:pt x="3495" y="2696"/>
                    <a:pt x="3502" y="2725"/>
                    <a:pt x="3539" y="2696"/>
                  </a:cubicBezTo>
                  <a:cubicBezTo>
                    <a:pt x="3568" y="2674"/>
                    <a:pt x="3509" y="2645"/>
                    <a:pt x="3480" y="2615"/>
                  </a:cubicBezTo>
                  <a:cubicBezTo>
                    <a:pt x="3444" y="2579"/>
                    <a:pt x="3451" y="2550"/>
                    <a:pt x="3465" y="2462"/>
                  </a:cubicBezTo>
                  <a:cubicBezTo>
                    <a:pt x="3487" y="2374"/>
                    <a:pt x="3546" y="2352"/>
                    <a:pt x="3553" y="2308"/>
                  </a:cubicBezTo>
                  <a:cubicBezTo>
                    <a:pt x="3561" y="2264"/>
                    <a:pt x="3539" y="2234"/>
                    <a:pt x="3532" y="2183"/>
                  </a:cubicBezTo>
                  <a:cubicBezTo>
                    <a:pt x="3517" y="2132"/>
                    <a:pt x="3509" y="1985"/>
                    <a:pt x="3546" y="1941"/>
                  </a:cubicBezTo>
                  <a:cubicBezTo>
                    <a:pt x="3575" y="1897"/>
                    <a:pt x="3619" y="1846"/>
                    <a:pt x="3590" y="1817"/>
                  </a:cubicBezTo>
                  <a:cubicBezTo>
                    <a:pt x="3553" y="1780"/>
                    <a:pt x="3517" y="1824"/>
                    <a:pt x="3480" y="1795"/>
                  </a:cubicBezTo>
                  <a:cubicBezTo>
                    <a:pt x="3436" y="1773"/>
                    <a:pt x="3451" y="1685"/>
                    <a:pt x="3429" y="1677"/>
                  </a:cubicBezTo>
                  <a:cubicBezTo>
                    <a:pt x="3400" y="1670"/>
                    <a:pt x="3400" y="1670"/>
                    <a:pt x="3363" y="1707"/>
                  </a:cubicBezTo>
                  <a:cubicBezTo>
                    <a:pt x="3334" y="1736"/>
                    <a:pt x="3275" y="1787"/>
                    <a:pt x="3268" y="1736"/>
                  </a:cubicBezTo>
                  <a:cubicBezTo>
                    <a:pt x="3253" y="1685"/>
                    <a:pt x="3275" y="1685"/>
                    <a:pt x="3290" y="1663"/>
                  </a:cubicBezTo>
                  <a:cubicBezTo>
                    <a:pt x="3304" y="1634"/>
                    <a:pt x="3224" y="1626"/>
                    <a:pt x="3224" y="1626"/>
                  </a:cubicBezTo>
                  <a:cubicBezTo>
                    <a:pt x="3224" y="1626"/>
                    <a:pt x="3231" y="1597"/>
                    <a:pt x="3246" y="1546"/>
                  </a:cubicBezTo>
                  <a:cubicBezTo>
                    <a:pt x="3268" y="1494"/>
                    <a:pt x="3246" y="1406"/>
                    <a:pt x="3268" y="1384"/>
                  </a:cubicBezTo>
                  <a:cubicBezTo>
                    <a:pt x="3282" y="1355"/>
                    <a:pt x="3334" y="1348"/>
                    <a:pt x="3348" y="1318"/>
                  </a:cubicBezTo>
                  <a:cubicBezTo>
                    <a:pt x="3363" y="1296"/>
                    <a:pt x="3392" y="1231"/>
                    <a:pt x="3348" y="1143"/>
                  </a:cubicBezTo>
                  <a:cubicBezTo>
                    <a:pt x="3304" y="1055"/>
                    <a:pt x="3275" y="1025"/>
                    <a:pt x="3297" y="981"/>
                  </a:cubicBezTo>
                  <a:cubicBezTo>
                    <a:pt x="3326" y="937"/>
                    <a:pt x="3297" y="915"/>
                    <a:pt x="3290" y="879"/>
                  </a:cubicBezTo>
                  <a:cubicBezTo>
                    <a:pt x="3282" y="850"/>
                    <a:pt x="3312" y="813"/>
                    <a:pt x="3356" y="784"/>
                  </a:cubicBezTo>
                  <a:cubicBezTo>
                    <a:pt x="3400" y="762"/>
                    <a:pt x="3385" y="710"/>
                    <a:pt x="3363" y="666"/>
                  </a:cubicBezTo>
                  <a:cubicBezTo>
                    <a:pt x="3348" y="622"/>
                    <a:pt x="3275" y="534"/>
                    <a:pt x="3238" y="520"/>
                  </a:cubicBezTo>
                  <a:cubicBezTo>
                    <a:pt x="3202" y="512"/>
                    <a:pt x="3202" y="564"/>
                    <a:pt x="3165" y="586"/>
                  </a:cubicBezTo>
                  <a:cubicBezTo>
                    <a:pt x="3121" y="600"/>
                    <a:pt x="3128" y="542"/>
                    <a:pt x="3114" y="505"/>
                  </a:cubicBezTo>
                  <a:cubicBezTo>
                    <a:pt x="3092" y="468"/>
                    <a:pt x="3092" y="520"/>
                    <a:pt x="3041" y="512"/>
                  </a:cubicBezTo>
                  <a:cubicBezTo>
                    <a:pt x="2989" y="505"/>
                    <a:pt x="2916" y="491"/>
                    <a:pt x="2887" y="498"/>
                  </a:cubicBezTo>
                  <a:cubicBezTo>
                    <a:pt x="2865" y="505"/>
                    <a:pt x="2755" y="512"/>
                    <a:pt x="2689" y="483"/>
                  </a:cubicBezTo>
                  <a:cubicBezTo>
                    <a:pt x="2615" y="446"/>
                    <a:pt x="2542" y="432"/>
                    <a:pt x="2527" y="403"/>
                  </a:cubicBezTo>
                  <a:cubicBezTo>
                    <a:pt x="2506" y="381"/>
                    <a:pt x="2527" y="344"/>
                    <a:pt x="2542" y="307"/>
                  </a:cubicBezTo>
                  <a:cubicBezTo>
                    <a:pt x="2557" y="278"/>
                    <a:pt x="2506" y="249"/>
                    <a:pt x="2462" y="278"/>
                  </a:cubicBezTo>
                  <a:cubicBezTo>
                    <a:pt x="2425" y="300"/>
                    <a:pt x="2396" y="205"/>
                    <a:pt x="2396" y="205"/>
                  </a:cubicBezTo>
                  <a:cubicBezTo>
                    <a:pt x="2352" y="153"/>
                    <a:pt x="2337" y="146"/>
                    <a:pt x="2293" y="175"/>
                  </a:cubicBezTo>
                  <a:cubicBezTo>
                    <a:pt x="2249" y="197"/>
                    <a:pt x="2220" y="227"/>
                    <a:pt x="2213" y="175"/>
                  </a:cubicBezTo>
                  <a:cubicBezTo>
                    <a:pt x="2205" y="124"/>
                    <a:pt x="2191" y="124"/>
                    <a:pt x="2154" y="117"/>
                  </a:cubicBezTo>
                  <a:cubicBezTo>
                    <a:pt x="2110" y="109"/>
                    <a:pt x="2110" y="80"/>
                    <a:pt x="2125" y="43"/>
                  </a:cubicBezTo>
                  <a:cubicBezTo>
                    <a:pt x="2139" y="14"/>
                    <a:pt x="2117" y="0"/>
                    <a:pt x="2073" y="0"/>
                  </a:cubicBezTo>
                  <a:cubicBezTo>
                    <a:pt x="2051" y="22"/>
                    <a:pt x="2022" y="51"/>
                    <a:pt x="2022" y="73"/>
                  </a:cubicBezTo>
                  <a:cubicBezTo>
                    <a:pt x="2022" y="109"/>
                    <a:pt x="1978" y="131"/>
                    <a:pt x="1956" y="146"/>
                  </a:cubicBezTo>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69" name="Freeform 16">
              <a:extLst>
                <a:ext uri="{FF2B5EF4-FFF2-40B4-BE49-F238E27FC236}">
                  <a16:creationId xmlns:a16="http://schemas.microsoft.com/office/drawing/2014/main" id="{45C9A8A9-793A-F943-A9A2-85D6E66FB017}"/>
                </a:ext>
              </a:extLst>
            </p:cNvPr>
            <p:cNvSpPr>
              <a:spLocks noChangeArrowheads="1"/>
            </p:cNvSpPr>
            <p:nvPr/>
          </p:nvSpPr>
          <p:spPr bwMode="auto">
            <a:xfrm>
              <a:off x="4094384" y="4059044"/>
              <a:ext cx="3810138" cy="3310390"/>
            </a:xfrm>
            <a:custGeom>
              <a:avLst/>
              <a:gdLst>
                <a:gd name="T0" fmla="*/ 3153683 w 9914"/>
                <a:gd name="T1" fmla="*/ 905904 h 8714"/>
                <a:gd name="T2" fmla="*/ 2982120 w 9914"/>
                <a:gd name="T3" fmla="*/ 765721 h 8714"/>
                <a:gd name="T4" fmla="*/ 2759055 w 9914"/>
                <a:gd name="T5" fmla="*/ 647027 h 8714"/>
                <a:gd name="T6" fmla="*/ 2575118 w 9914"/>
                <a:gd name="T7" fmla="*/ 578919 h 8714"/>
                <a:gd name="T8" fmla="*/ 2345364 w 9914"/>
                <a:gd name="T9" fmla="*/ 557098 h 8714"/>
                <a:gd name="T10" fmla="*/ 2163768 w 9914"/>
                <a:gd name="T11" fmla="*/ 501554 h 8714"/>
                <a:gd name="T12" fmla="*/ 1980165 w 9914"/>
                <a:gd name="T13" fmla="*/ 361039 h 8714"/>
                <a:gd name="T14" fmla="*/ 1759441 w 9914"/>
                <a:gd name="T15" fmla="*/ 82325 h 8714"/>
                <a:gd name="T16" fmla="*/ 1313645 w 9914"/>
                <a:gd name="T17" fmla="*/ 31409 h 8714"/>
                <a:gd name="T18" fmla="*/ 1262142 w 9914"/>
                <a:gd name="T19" fmla="*/ 438405 h 8714"/>
                <a:gd name="T20" fmla="*/ 1058808 w 9914"/>
                <a:gd name="T21" fmla="*/ 356080 h 8714"/>
                <a:gd name="T22" fmla="*/ 1024362 w 9914"/>
                <a:gd name="T23" fmla="*/ 547510 h 8714"/>
                <a:gd name="T24" fmla="*/ 967843 w 9914"/>
                <a:gd name="T25" fmla="*/ 297890 h 8714"/>
                <a:gd name="T26" fmla="*/ 700967 w 9914"/>
                <a:gd name="T27" fmla="*/ 225154 h 8714"/>
                <a:gd name="T28" fmla="*/ 318713 w 9914"/>
                <a:gd name="T29" fmla="*/ 387489 h 8714"/>
                <a:gd name="T30" fmla="*/ 387271 w 9914"/>
                <a:gd name="T31" fmla="*/ 622561 h 8714"/>
                <a:gd name="T32" fmla="*/ 357841 w 9914"/>
                <a:gd name="T33" fmla="*/ 881769 h 8714"/>
                <a:gd name="T34" fmla="*/ 220724 w 9914"/>
                <a:gd name="T35" fmla="*/ 1388282 h 8714"/>
                <a:gd name="T36" fmla="*/ 27089 w 9914"/>
                <a:gd name="T37" fmla="*/ 1463333 h 8714"/>
                <a:gd name="T38" fmla="*/ 206009 w 9914"/>
                <a:gd name="T39" fmla="*/ 1574753 h 8714"/>
                <a:gd name="T40" fmla="*/ 240121 w 9914"/>
                <a:gd name="T41" fmla="*/ 1821727 h 8714"/>
                <a:gd name="T42" fmla="*/ 580906 w 9914"/>
                <a:gd name="T43" fmla="*/ 1678898 h 8714"/>
                <a:gd name="T44" fmla="*/ 671537 w 9914"/>
                <a:gd name="T45" fmla="*/ 1598888 h 8714"/>
                <a:gd name="T46" fmla="*/ 833402 w 9914"/>
                <a:gd name="T47" fmla="*/ 1688486 h 8714"/>
                <a:gd name="T48" fmla="*/ 823369 w 9914"/>
                <a:gd name="T49" fmla="*/ 1858096 h 8714"/>
                <a:gd name="T50" fmla="*/ 816011 w 9914"/>
                <a:gd name="T51" fmla="*/ 1996296 h 8714"/>
                <a:gd name="T52" fmla="*/ 994932 w 9914"/>
                <a:gd name="T53" fmla="*/ 2015802 h 8714"/>
                <a:gd name="T54" fmla="*/ 1181210 w 9914"/>
                <a:gd name="T55" fmla="*/ 1933147 h 8714"/>
                <a:gd name="T56" fmla="*/ 1183551 w 9914"/>
                <a:gd name="T57" fmla="*/ 1710308 h 8714"/>
                <a:gd name="T58" fmla="*/ 1195925 w 9914"/>
                <a:gd name="T59" fmla="*/ 1591614 h 8714"/>
                <a:gd name="T60" fmla="*/ 1345416 w 9914"/>
                <a:gd name="T61" fmla="*/ 1523837 h 8714"/>
                <a:gd name="T62" fmla="*/ 1539051 w 9914"/>
                <a:gd name="T63" fmla="*/ 1637571 h 8714"/>
                <a:gd name="T64" fmla="*/ 1639380 w 9914"/>
                <a:gd name="T65" fmla="*/ 1627983 h 8714"/>
                <a:gd name="T66" fmla="*/ 1580520 w 9914"/>
                <a:gd name="T67" fmla="*/ 1824372 h 8714"/>
                <a:gd name="T68" fmla="*/ 1609950 w 9914"/>
                <a:gd name="T69" fmla="*/ 1945380 h 8714"/>
                <a:gd name="T70" fmla="*/ 1688542 w 9914"/>
                <a:gd name="T71" fmla="*/ 2110030 h 8714"/>
                <a:gd name="T72" fmla="*/ 1847731 w 9914"/>
                <a:gd name="T73" fmla="*/ 2250544 h 8714"/>
                <a:gd name="T74" fmla="*/ 1838032 w 9914"/>
                <a:gd name="T75" fmla="*/ 2444619 h 8714"/>
                <a:gd name="T76" fmla="*/ 1958093 w 9914"/>
                <a:gd name="T77" fmla="*/ 2505123 h 8714"/>
                <a:gd name="T78" fmla="*/ 1994880 w 9914"/>
                <a:gd name="T79" fmla="*/ 2592076 h 8714"/>
                <a:gd name="T80" fmla="*/ 1980165 w 9914"/>
                <a:gd name="T81" fmla="*/ 2754412 h 8714"/>
                <a:gd name="T82" fmla="*/ 2085511 w 9914"/>
                <a:gd name="T83" fmla="*/ 2836737 h 8714"/>
                <a:gd name="T84" fmla="*/ 2154069 w 9914"/>
                <a:gd name="T85" fmla="*/ 2769290 h 8714"/>
                <a:gd name="T86" fmla="*/ 2296203 w 9914"/>
                <a:gd name="T87" fmla="*/ 2715729 h 8714"/>
                <a:gd name="T88" fmla="*/ 2462749 w 9914"/>
                <a:gd name="T89" fmla="*/ 2633404 h 8714"/>
                <a:gd name="T90" fmla="*/ 2599866 w 9914"/>
                <a:gd name="T91" fmla="*/ 2558353 h 8714"/>
                <a:gd name="T92" fmla="*/ 2692838 w 9914"/>
                <a:gd name="T93" fmla="*/ 2517025 h 8714"/>
                <a:gd name="T94" fmla="*/ 2661067 w 9914"/>
                <a:gd name="T95" fmla="*/ 2342787 h 8714"/>
                <a:gd name="T96" fmla="*/ 2670765 w 9914"/>
                <a:gd name="T97" fmla="*/ 2122263 h 8714"/>
                <a:gd name="T98" fmla="*/ 2834971 w 9914"/>
                <a:gd name="T99" fmla="*/ 2030019 h 8714"/>
                <a:gd name="T100" fmla="*/ 2957372 w 9914"/>
                <a:gd name="T101" fmla="*/ 1889835 h 8714"/>
                <a:gd name="T102" fmla="*/ 2930618 w 9914"/>
                <a:gd name="T103" fmla="*/ 1722541 h 8714"/>
                <a:gd name="T104" fmla="*/ 2898847 w 9914"/>
                <a:gd name="T105" fmla="*/ 1538384 h 8714"/>
                <a:gd name="T106" fmla="*/ 2871758 w 9914"/>
                <a:gd name="T107" fmla="*/ 1400184 h 8714"/>
                <a:gd name="T108" fmla="*/ 2776111 w 9914"/>
                <a:gd name="T109" fmla="*/ 1153209 h 8714"/>
                <a:gd name="T110" fmla="*/ 2996835 w 9914"/>
                <a:gd name="T111" fmla="*/ 1092706 h 8714"/>
                <a:gd name="T112" fmla="*/ 3192812 w 9914"/>
                <a:gd name="T113" fmla="*/ 1063611 h 8714"/>
                <a:gd name="T114" fmla="*/ 3298158 w 9914"/>
                <a:gd name="T115" fmla="*/ 944918 h 871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9914" h="8714">
                  <a:moveTo>
                    <a:pt x="9906" y="2777"/>
                  </a:moveTo>
                  <a:lnTo>
                    <a:pt x="9906" y="2777"/>
                  </a:lnTo>
                  <a:cubicBezTo>
                    <a:pt x="9855" y="2777"/>
                    <a:pt x="9833" y="2799"/>
                    <a:pt x="9767" y="2792"/>
                  </a:cubicBezTo>
                  <a:cubicBezTo>
                    <a:pt x="9708" y="2777"/>
                    <a:pt x="9664" y="2733"/>
                    <a:pt x="9598" y="2704"/>
                  </a:cubicBezTo>
                  <a:cubicBezTo>
                    <a:pt x="9532" y="2682"/>
                    <a:pt x="9474" y="2719"/>
                    <a:pt x="9430" y="2740"/>
                  </a:cubicBezTo>
                  <a:cubicBezTo>
                    <a:pt x="9386" y="2755"/>
                    <a:pt x="9342" y="2755"/>
                    <a:pt x="9305" y="2704"/>
                  </a:cubicBezTo>
                  <a:cubicBezTo>
                    <a:pt x="9261" y="2653"/>
                    <a:pt x="9195" y="2565"/>
                    <a:pt x="9239" y="2557"/>
                  </a:cubicBezTo>
                  <a:cubicBezTo>
                    <a:pt x="9195" y="2521"/>
                    <a:pt x="9115" y="2491"/>
                    <a:pt x="9056" y="2506"/>
                  </a:cubicBezTo>
                  <a:cubicBezTo>
                    <a:pt x="8975" y="2528"/>
                    <a:pt x="8975" y="2447"/>
                    <a:pt x="9027" y="2418"/>
                  </a:cubicBezTo>
                  <a:cubicBezTo>
                    <a:pt x="9078" y="2381"/>
                    <a:pt x="8968" y="2330"/>
                    <a:pt x="8917" y="2316"/>
                  </a:cubicBezTo>
                  <a:cubicBezTo>
                    <a:pt x="8865" y="2294"/>
                    <a:pt x="8778" y="2176"/>
                    <a:pt x="8755" y="2132"/>
                  </a:cubicBezTo>
                  <a:cubicBezTo>
                    <a:pt x="8741" y="2088"/>
                    <a:pt x="8682" y="2015"/>
                    <a:pt x="8638" y="1942"/>
                  </a:cubicBezTo>
                  <a:cubicBezTo>
                    <a:pt x="8594" y="1861"/>
                    <a:pt x="8572" y="1847"/>
                    <a:pt x="8506" y="1839"/>
                  </a:cubicBezTo>
                  <a:cubicBezTo>
                    <a:pt x="8433" y="1832"/>
                    <a:pt x="8426" y="1869"/>
                    <a:pt x="8382" y="1920"/>
                  </a:cubicBezTo>
                  <a:cubicBezTo>
                    <a:pt x="8338" y="1971"/>
                    <a:pt x="8294" y="1971"/>
                    <a:pt x="8250" y="1957"/>
                  </a:cubicBezTo>
                  <a:cubicBezTo>
                    <a:pt x="8206" y="1942"/>
                    <a:pt x="8140" y="1854"/>
                    <a:pt x="8111" y="1810"/>
                  </a:cubicBezTo>
                  <a:cubicBezTo>
                    <a:pt x="8089" y="1766"/>
                    <a:pt x="8060" y="1759"/>
                    <a:pt x="8015" y="1781"/>
                  </a:cubicBezTo>
                  <a:cubicBezTo>
                    <a:pt x="7986" y="1788"/>
                    <a:pt x="7935" y="1766"/>
                    <a:pt x="7905" y="1744"/>
                  </a:cubicBezTo>
                  <a:cubicBezTo>
                    <a:pt x="7891" y="1751"/>
                    <a:pt x="7869" y="1759"/>
                    <a:pt x="7854" y="1766"/>
                  </a:cubicBezTo>
                  <a:cubicBezTo>
                    <a:pt x="7818" y="1795"/>
                    <a:pt x="7752" y="1759"/>
                    <a:pt x="7700" y="1751"/>
                  </a:cubicBezTo>
                  <a:cubicBezTo>
                    <a:pt x="7650" y="1744"/>
                    <a:pt x="7570" y="1693"/>
                    <a:pt x="7533" y="1678"/>
                  </a:cubicBezTo>
                  <a:cubicBezTo>
                    <a:pt x="7504" y="1656"/>
                    <a:pt x="7408" y="1597"/>
                    <a:pt x="7364" y="1576"/>
                  </a:cubicBezTo>
                  <a:cubicBezTo>
                    <a:pt x="7320" y="1546"/>
                    <a:pt x="7291" y="1583"/>
                    <a:pt x="7240" y="1590"/>
                  </a:cubicBezTo>
                  <a:cubicBezTo>
                    <a:pt x="7189" y="1597"/>
                    <a:pt x="7181" y="1619"/>
                    <a:pt x="7144" y="1649"/>
                  </a:cubicBezTo>
                  <a:cubicBezTo>
                    <a:pt x="7108" y="1685"/>
                    <a:pt x="7079" y="1678"/>
                    <a:pt x="7013" y="1685"/>
                  </a:cubicBezTo>
                  <a:cubicBezTo>
                    <a:pt x="6954" y="1693"/>
                    <a:pt x="6881" y="1597"/>
                    <a:pt x="6837" y="1546"/>
                  </a:cubicBezTo>
                  <a:cubicBezTo>
                    <a:pt x="6793" y="1495"/>
                    <a:pt x="6778" y="1517"/>
                    <a:pt x="6727" y="1539"/>
                  </a:cubicBezTo>
                  <a:cubicBezTo>
                    <a:pt x="6675" y="1568"/>
                    <a:pt x="6668" y="1597"/>
                    <a:pt x="6624" y="1634"/>
                  </a:cubicBezTo>
                  <a:cubicBezTo>
                    <a:pt x="6580" y="1663"/>
                    <a:pt x="6522" y="1634"/>
                    <a:pt x="6507" y="1597"/>
                  </a:cubicBezTo>
                  <a:cubicBezTo>
                    <a:pt x="6492" y="1568"/>
                    <a:pt x="6507" y="1524"/>
                    <a:pt x="6470" y="1517"/>
                  </a:cubicBezTo>
                  <a:cubicBezTo>
                    <a:pt x="6441" y="1502"/>
                    <a:pt x="6412" y="1539"/>
                    <a:pt x="6368" y="1576"/>
                  </a:cubicBezTo>
                  <a:cubicBezTo>
                    <a:pt x="6324" y="1605"/>
                    <a:pt x="6302" y="1502"/>
                    <a:pt x="6265" y="1473"/>
                  </a:cubicBezTo>
                  <a:cubicBezTo>
                    <a:pt x="6236" y="1436"/>
                    <a:pt x="6243" y="1363"/>
                    <a:pt x="6251" y="1312"/>
                  </a:cubicBezTo>
                  <a:cubicBezTo>
                    <a:pt x="6258" y="1260"/>
                    <a:pt x="6214" y="1216"/>
                    <a:pt x="6177" y="1180"/>
                  </a:cubicBezTo>
                  <a:cubicBezTo>
                    <a:pt x="6133" y="1150"/>
                    <a:pt x="5994" y="1121"/>
                    <a:pt x="5921" y="1092"/>
                  </a:cubicBezTo>
                  <a:cubicBezTo>
                    <a:pt x="5840" y="1055"/>
                    <a:pt x="5730" y="879"/>
                    <a:pt x="5708" y="784"/>
                  </a:cubicBezTo>
                  <a:cubicBezTo>
                    <a:pt x="5679" y="689"/>
                    <a:pt x="5576" y="645"/>
                    <a:pt x="5540" y="594"/>
                  </a:cubicBezTo>
                  <a:cubicBezTo>
                    <a:pt x="5518" y="571"/>
                    <a:pt x="5459" y="476"/>
                    <a:pt x="5408" y="396"/>
                  </a:cubicBezTo>
                  <a:cubicBezTo>
                    <a:pt x="5415" y="410"/>
                    <a:pt x="5423" y="425"/>
                    <a:pt x="5423" y="425"/>
                  </a:cubicBezTo>
                  <a:cubicBezTo>
                    <a:pt x="5423" y="425"/>
                    <a:pt x="5342" y="308"/>
                    <a:pt x="5261" y="249"/>
                  </a:cubicBezTo>
                  <a:cubicBezTo>
                    <a:pt x="5181" y="198"/>
                    <a:pt x="5100" y="154"/>
                    <a:pt x="5012" y="161"/>
                  </a:cubicBezTo>
                  <a:cubicBezTo>
                    <a:pt x="4924" y="176"/>
                    <a:pt x="4829" y="161"/>
                    <a:pt x="4749" y="220"/>
                  </a:cubicBezTo>
                  <a:cubicBezTo>
                    <a:pt x="4675" y="278"/>
                    <a:pt x="4573" y="300"/>
                    <a:pt x="4448" y="278"/>
                  </a:cubicBezTo>
                  <a:cubicBezTo>
                    <a:pt x="4323" y="249"/>
                    <a:pt x="4243" y="308"/>
                    <a:pt x="4177" y="227"/>
                  </a:cubicBezTo>
                  <a:cubicBezTo>
                    <a:pt x="4104" y="154"/>
                    <a:pt x="4001" y="0"/>
                    <a:pt x="3928" y="95"/>
                  </a:cubicBezTo>
                  <a:cubicBezTo>
                    <a:pt x="3847" y="183"/>
                    <a:pt x="3789" y="249"/>
                    <a:pt x="3774" y="322"/>
                  </a:cubicBezTo>
                  <a:cubicBezTo>
                    <a:pt x="3767" y="388"/>
                    <a:pt x="3722" y="579"/>
                    <a:pt x="3671" y="659"/>
                  </a:cubicBezTo>
                  <a:cubicBezTo>
                    <a:pt x="3627" y="740"/>
                    <a:pt x="3664" y="901"/>
                    <a:pt x="3708" y="967"/>
                  </a:cubicBezTo>
                  <a:cubicBezTo>
                    <a:pt x="3752" y="1033"/>
                    <a:pt x="3774" y="1055"/>
                    <a:pt x="3774" y="1150"/>
                  </a:cubicBezTo>
                  <a:cubicBezTo>
                    <a:pt x="3774" y="1238"/>
                    <a:pt x="3774" y="1326"/>
                    <a:pt x="3774" y="1326"/>
                  </a:cubicBezTo>
                  <a:cubicBezTo>
                    <a:pt x="3774" y="1326"/>
                    <a:pt x="3744" y="1238"/>
                    <a:pt x="3701" y="1194"/>
                  </a:cubicBezTo>
                  <a:cubicBezTo>
                    <a:pt x="3649" y="1150"/>
                    <a:pt x="3701" y="1194"/>
                    <a:pt x="3605" y="1172"/>
                  </a:cubicBezTo>
                  <a:cubicBezTo>
                    <a:pt x="3518" y="1150"/>
                    <a:pt x="3518" y="1172"/>
                    <a:pt x="3459" y="1092"/>
                  </a:cubicBezTo>
                  <a:cubicBezTo>
                    <a:pt x="3400" y="1011"/>
                    <a:pt x="3356" y="901"/>
                    <a:pt x="3276" y="952"/>
                  </a:cubicBezTo>
                  <a:cubicBezTo>
                    <a:pt x="3202" y="1011"/>
                    <a:pt x="3166" y="1004"/>
                    <a:pt x="3166" y="1077"/>
                  </a:cubicBezTo>
                  <a:cubicBezTo>
                    <a:pt x="3166" y="1158"/>
                    <a:pt x="3166" y="1216"/>
                    <a:pt x="3144" y="1275"/>
                  </a:cubicBezTo>
                  <a:cubicBezTo>
                    <a:pt x="3122" y="1326"/>
                    <a:pt x="3188" y="1385"/>
                    <a:pt x="3232" y="1319"/>
                  </a:cubicBezTo>
                  <a:cubicBezTo>
                    <a:pt x="3276" y="1253"/>
                    <a:pt x="3298" y="1304"/>
                    <a:pt x="3312" y="1407"/>
                  </a:cubicBezTo>
                  <a:cubicBezTo>
                    <a:pt x="3327" y="1509"/>
                    <a:pt x="3312" y="1553"/>
                    <a:pt x="3254" y="1627"/>
                  </a:cubicBezTo>
                  <a:cubicBezTo>
                    <a:pt x="3202" y="1693"/>
                    <a:pt x="3144" y="1737"/>
                    <a:pt x="3063" y="1656"/>
                  </a:cubicBezTo>
                  <a:cubicBezTo>
                    <a:pt x="2982" y="1576"/>
                    <a:pt x="3004" y="1502"/>
                    <a:pt x="2902" y="1502"/>
                  </a:cubicBezTo>
                  <a:cubicBezTo>
                    <a:pt x="2799" y="1502"/>
                    <a:pt x="2748" y="1363"/>
                    <a:pt x="2814" y="1341"/>
                  </a:cubicBezTo>
                  <a:cubicBezTo>
                    <a:pt x="2880" y="1319"/>
                    <a:pt x="2961" y="1385"/>
                    <a:pt x="2997" y="1319"/>
                  </a:cubicBezTo>
                  <a:cubicBezTo>
                    <a:pt x="3027" y="1253"/>
                    <a:pt x="3041" y="1202"/>
                    <a:pt x="2997" y="1128"/>
                  </a:cubicBezTo>
                  <a:cubicBezTo>
                    <a:pt x="2946" y="1048"/>
                    <a:pt x="2924" y="945"/>
                    <a:pt x="2894" y="901"/>
                  </a:cubicBezTo>
                  <a:cubicBezTo>
                    <a:pt x="2858" y="850"/>
                    <a:pt x="2770" y="901"/>
                    <a:pt x="2770" y="799"/>
                  </a:cubicBezTo>
                  <a:cubicBezTo>
                    <a:pt x="2770" y="696"/>
                    <a:pt x="2792" y="674"/>
                    <a:pt x="2711" y="652"/>
                  </a:cubicBezTo>
                  <a:cubicBezTo>
                    <a:pt x="2711" y="652"/>
                    <a:pt x="2623" y="616"/>
                    <a:pt x="2550" y="616"/>
                  </a:cubicBezTo>
                  <a:cubicBezTo>
                    <a:pt x="2484" y="616"/>
                    <a:pt x="2418" y="579"/>
                    <a:pt x="2374" y="630"/>
                  </a:cubicBezTo>
                  <a:cubicBezTo>
                    <a:pt x="2323" y="674"/>
                    <a:pt x="2169" y="652"/>
                    <a:pt x="2096" y="681"/>
                  </a:cubicBezTo>
                  <a:cubicBezTo>
                    <a:pt x="2030" y="718"/>
                    <a:pt x="1818" y="806"/>
                    <a:pt x="1744" y="777"/>
                  </a:cubicBezTo>
                  <a:cubicBezTo>
                    <a:pt x="1678" y="740"/>
                    <a:pt x="1554" y="703"/>
                    <a:pt x="1473" y="726"/>
                  </a:cubicBezTo>
                  <a:cubicBezTo>
                    <a:pt x="1400" y="755"/>
                    <a:pt x="1224" y="726"/>
                    <a:pt x="1158" y="799"/>
                  </a:cubicBezTo>
                  <a:cubicBezTo>
                    <a:pt x="1092" y="865"/>
                    <a:pt x="968" y="952"/>
                    <a:pt x="923" y="1026"/>
                  </a:cubicBezTo>
                  <a:cubicBezTo>
                    <a:pt x="872" y="1092"/>
                    <a:pt x="887" y="1128"/>
                    <a:pt x="953" y="1172"/>
                  </a:cubicBezTo>
                  <a:cubicBezTo>
                    <a:pt x="1019" y="1216"/>
                    <a:pt x="997" y="1260"/>
                    <a:pt x="894" y="1253"/>
                  </a:cubicBezTo>
                  <a:cubicBezTo>
                    <a:pt x="799" y="1238"/>
                    <a:pt x="799" y="1253"/>
                    <a:pt x="770" y="1341"/>
                  </a:cubicBezTo>
                  <a:cubicBezTo>
                    <a:pt x="748" y="1429"/>
                    <a:pt x="748" y="1524"/>
                    <a:pt x="718" y="1612"/>
                  </a:cubicBezTo>
                  <a:cubicBezTo>
                    <a:pt x="682" y="1707"/>
                    <a:pt x="660" y="1854"/>
                    <a:pt x="784" y="1876"/>
                  </a:cubicBezTo>
                  <a:cubicBezTo>
                    <a:pt x="909" y="1898"/>
                    <a:pt x="1099" y="1861"/>
                    <a:pt x="1158" y="1883"/>
                  </a:cubicBezTo>
                  <a:cubicBezTo>
                    <a:pt x="1217" y="1905"/>
                    <a:pt x="1173" y="1883"/>
                    <a:pt x="1158" y="1978"/>
                  </a:cubicBezTo>
                  <a:cubicBezTo>
                    <a:pt x="1151" y="2066"/>
                    <a:pt x="1158" y="2132"/>
                    <a:pt x="1114" y="2176"/>
                  </a:cubicBezTo>
                  <a:cubicBezTo>
                    <a:pt x="1070" y="2228"/>
                    <a:pt x="1136" y="2235"/>
                    <a:pt x="1121" y="2330"/>
                  </a:cubicBezTo>
                  <a:cubicBezTo>
                    <a:pt x="1114" y="2418"/>
                    <a:pt x="1077" y="2359"/>
                    <a:pt x="1055" y="2440"/>
                  </a:cubicBezTo>
                  <a:cubicBezTo>
                    <a:pt x="1033" y="2521"/>
                    <a:pt x="1048" y="2557"/>
                    <a:pt x="1070" y="2667"/>
                  </a:cubicBezTo>
                  <a:cubicBezTo>
                    <a:pt x="1092" y="2777"/>
                    <a:pt x="1121" y="2953"/>
                    <a:pt x="1070" y="3056"/>
                  </a:cubicBezTo>
                  <a:cubicBezTo>
                    <a:pt x="1011" y="3158"/>
                    <a:pt x="931" y="3349"/>
                    <a:pt x="865" y="3429"/>
                  </a:cubicBezTo>
                  <a:cubicBezTo>
                    <a:pt x="799" y="3510"/>
                    <a:pt x="762" y="3657"/>
                    <a:pt x="770" y="3759"/>
                  </a:cubicBezTo>
                  <a:cubicBezTo>
                    <a:pt x="784" y="3854"/>
                    <a:pt x="740" y="4016"/>
                    <a:pt x="740" y="4059"/>
                  </a:cubicBezTo>
                  <a:cubicBezTo>
                    <a:pt x="740" y="4103"/>
                    <a:pt x="740" y="4243"/>
                    <a:pt x="660" y="4199"/>
                  </a:cubicBezTo>
                  <a:cubicBezTo>
                    <a:pt x="579" y="4155"/>
                    <a:pt x="520" y="4177"/>
                    <a:pt x="447" y="4155"/>
                  </a:cubicBezTo>
                  <a:cubicBezTo>
                    <a:pt x="367" y="4133"/>
                    <a:pt x="308" y="4081"/>
                    <a:pt x="249" y="4103"/>
                  </a:cubicBezTo>
                  <a:cubicBezTo>
                    <a:pt x="198" y="4133"/>
                    <a:pt x="44" y="4096"/>
                    <a:pt x="44" y="4177"/>
                  </a:cubicBezTo>
                  <a:cubicBezTo>
                    <a:pt x="44" y="4257"/>
                    <a:pt x="37" y="4323"/>
                    <a:pt x="73" y="4345"/>
                  </a:cubicBezTo>
                  <a:cubicBezTo>
                    <a:pt x="103" y="4367"/>
                    <a:pt x="147" y="4389"/>
                    <a:pt x="81" y="4426"/>
                  </a:cubicBezTo>
                  <a:cubicBezTo>
                    <a:pt x="15" y="4455"/>
                    <a:pt x="0" y="4448"/>
                    <a:pt x="0" y="4514"/>
                  </a:cubicBezTo>
                  <a:cubicBezTo>
                    <a:pt x="0" y="4580"/>
                    <a:pt x="0" y="4682"/>
                    <a:pt x="59" y="4704"/>
                  </a:cubicBezTo>
                  <a:cubicBezTo>
                    <a:pt x="118" y="4734"/>
                    <a:pt x="264" y="4785"/>
                    <a:pt x="330" y="4807"/>
                  </a:cubicBezTo>
                  <a:cubicBezTo>
                    <a:pt x="396" y="4829"/>
                    <a:pt x="513" y="4866"/>
                    <a:pt x="520" y="4821"/>
                  </a:cubicBezTo>
                  <a:cubicBezTo>
                    <a:pt x="535" y="4778"/>
                    <a:pt x="601" y="4675"/>
                    <a:pt x="616" y="4763"/>
                  </a:cubicBezTo>
                  <a:cubicBezTo>
                    <a:pt x="623" y="4858"/>
                    <a:pt x="696" y="4968"/>
                    <a:pt x="726" y="4990"/>
                  </a:cubicBezTo>
                  <a:cubicBezTo>
                    <a:pt x="762" y="5012"/>
                    <a:pt x="770" y="5129"/>
                    <a:pt x="726" y="5181"/>
                  </a:cubicBezTo>
                  <a:cubicBezTo>
                    <a:pt x="682" y="5239"/>
                    <a:pt x="623" y="5400"/>
                    <a:pt x="645" y="5430"/>
                  </a:cubicBezTo>
                  <a:cubicBezTo>
                    <a:pt x="674" y="5466"/>
                    <a:pt x="726" y="5503"/>
                    <a:pt x="726" y="5503"/>
                  </a:cubicBezTo>
                  <a:cubicBezTo>
                    <a:pt x="726" y="5503"/>
                    <a:pt x="726" y="5503"/>
                    <a:pt x="718" y="5510"/>
                  </a:cubicBezTo>
                  <a:cubicBezTo>
                    <a:pt x="755" y="5510"/>
                    <a:pt x="799" y="5503"/>
                    <a:pt x="821" y="5474"/>
                  </a:cubicBezTo>
                  <a:cubicBezTo>
                    <a:pt x="850" y="5422"/>
                    <a:pt x="1004" y="5430"/>
                    <a:pt x="1055" y="5422"/>
                  </a:cubicBezTo>
                  <a:cubicBezTo>
                    <a:pt x="1107" y="5415"/>
                    <a:pt x="1275" y="5400"/>
                    <a:pt x="1334" y="5342"/>
                  </a:cubicBezTo>
                  <a:cubicBezTo>
                    <a:pt x="1400" y="5283"/>
                    <a:pt x="1532" y="5203"/>
                    <a:pt x="1583" y="5173"/>
                  </a:cubicBezTo>
                  <a:cubicBezTo>
                    <a:pt x="1634" y="5137"/>
                    <a:pt x="1678" y="5107"/>
                    <a:pt x="1737" y="5078"/>
                  </a:cubicBezTo>
                  <a:cubicBezTo>
                    <a:pt x="1795" y="5041"/>
                    <a:pt x="1788" y="5034"/>
                    <a:pt x="1803" y="4997"/>
                  </a:cubicBezTo>
                  <a:cubicBezTo>
                    <a:pt x="1825" y="4968"/>
                    <a:pt x="1847" y="4946"/>
                    <a:pt x="1788" y="4909"/>
                  </a:cubicBezTo>
                  <a:cubicBezTo>
                    <a:pt x="1730" y="4866"/>
                    <a:pt x="1788" y="4844"/>
                    <a:pt x="1803" y="4807"/>
                  </a:cubicBezTo>
                  <a:cubicBezTo>
                    <a:pt x="1825" y="4763"/>
                    <a:pt x="1847" y="4719"/>
                    <a:pt x="1898" y="4756"/>
                  </a:cubicBezTo>
                  <a:cubicBezTo>
                    <a:pt x="1949" y="4785"/>
                    <a:pt x="1964" y="4821"/>
                    <a:pt x="2008" y="4836"/>
                  </a:cubicBezTo>
                  <a:cubicBezTo>
                    <a:pt x="2052" y="4858"/>
                    <a:pt x="2023" y="4909"/>
                    <a:pt x="2045" y="4953"/>
                  </a:cubicBezTo>
                  <a:cubicBezTo>
                    <a:pt x="2059" y="5005"/>
                    <a:pt x="2103" y="5019"/>
                    <a:pt x="2147" y="5027"/>
                  </a:cubicBezTo>
                  <a:cubicBezTo>
                    <a:pt x="2184" y="5034"/>
                    <a:pt x="2206" y="5056"/>
                    <a:pt x="2235" y="5085"/>
                  </a:cubicBezTo>
                  <a:cubicBezTo>
                    <a:pt x="2272" y="5107"/>
                    <a:pt x="2323" y="5107"/>
                    <a:pt x="2360" y="5085"/>
                  </a:cubicBezTo>
                  <a:cubicBezTo>
                    <a:pt x="2389" y="5056"/>
                    <a:pt x="2470" y="5071"/>
                    <a:pt x="2492" y="5107"/>
                  </a:cubicBezTo>
                  <a:cubicBezTo>
                    <a:pt x="2521" y="5151"/>
                    <a:pt x="2513" y="5232"/>
                    <a:pt x="2558" y="5247"/>
                  </a:cubicBezTo>
                  <a:cubicBezTo>
                    <a:pt x="2609" y="5261"/>
                    <a:pt x="2623" y="5312"/>
                    <a:pt x="2543" y="5320"/>
                  </a:cubicBezTo>
                  <a:cubicBezTo>
                    <a:pt x="2470" y="5335"/>
                    <a:pt x="2484" y="5371"/>
                    <a:pt x="2499" y="5408"/>
                  </a:cubicBezTo>
                  <a:cubicBezTo>
                    <a:pt x="2521" y="5445"/>
                    <a:pt x="2528" y="5445"/>
                    <a:pt x="2499" y="5496"/>
                  </a:cubicBezTo>
                  <a:cubicBezTo>
                    <a:pt x="2477" y="5547"/>
                    <a:pt x="2513" y="5598"/>
                    <a:pt x="2462" y="5620"/>
                  </a:cubicBezTo>
                  <a:cubicBezTo>
                    <a:pt x="2411" y="5642"/>
                    <a:pt x="2389" y="5671"/>
                    <a:pt x="2462" y="5716"/>
                  </a:cubicBezTo>
                  <a:cubicBezTo>
                    <a:pt x="2528" y="5759"/>
                    <a:pt x="2572" y="5774"/>
                    <a:pt x="2623" y="5767"/>
                  </a:cubicBezTo>
                  <a:cubicBezTo>
                    <a:pt x="2675" y="5759"/>
                    <a:pt x="2660" y="5789"/>
                    <a:pt x="2645" y="5847"/>
                  </a:cubicBezTo>
                  <a:cubicBezTo>
                    <a:pt x="2631" y="5906"/>
                    <a:pt x="2653" y="5943"/>
                    <a:pt x="2580" y="5972"/>
                  </a:cubicBezTo>
                  <a:cubicBezTo>
                    <a:pt x="2499" y="5994"/>
                    <a:pt x="2492" y="5994"/>
                    <a:pt x="2440" y="6038"/>
                  </a:cubicBezTo>
                  <a:cubicBezTo>
                    <a:pt x="2389" y="6082"/>
                    <a:pt x="2382" y="6089"/>
                    <a:pt x="2440" y="6119"/>
                  </a:cubicBezTo>
                  <a:cubicBezTo>
                    <a:pt x="2499" y="6155"/>
                    <a:pt x="2492" y="6221"/>
                    <a:pt x="2550" y="6207"/>
                  </a:cubicBezTo>
                  <a:cubicBezTo>
                    <a:pt x="2609" y="6192"/>
                    <a:pt x="2645" y="6170"/>
                    <a:pt x="2675" y="6140"/>
                  </a:cubicBezTo>
                  <a:cubicBezTo>
                    <a:pt x="2697" y="6104"/>
                    <a:pt x="2741" y="6104"/>
                    <a:pt x="2807" y="6111"/>
                  </a:cubicBezTo>
                  <a:cubicBezTo>
                    <a:pt x="2873" y="6119"/>
                    <a:pt x="2924" y="6119"/>
                    <a:pt x="2975" y="6097"/>
                  </a:cubicBezTo>
                  <a:cubicBezTo>
                    <a:pt x="3027" y="6067"/>
                    <a:pt x="3019" y="6045"/>
                    <a:pt x="3063" y="5994"/>
                  </a:cubicBezTo>
                  <a:cubicBezTo>
                    <a:pt x="3107" y="5943"/>
                    <a:pt x="3114" y="5899"/>
                    <a:pt x="3173" y="5906"/>
                  </a:cubicBezTo>
                  <a:cubicBezTo>
                    <a:pt x="3232" y="5921"/>
                    <a:pt x="3290" y="5891"/>
                    <a:pt x="3320" y="5928"/>
                  </a:cubicBezTo>
                  <a:cubicBezTo>
                    <a:pt x="3342" y="5957"/>
                    <a:pt x="3422" y="6009"/>
                    <a:pt x="3437" y="5957"/>
                  </a:cubicBezTo>
                  <a:cubicBezTo>
                    <a:pt x="3451" y="5906"/>
                    <a:pt x="3473" y="5877"/>
                    <a:pt x="3532" y="5847"/>
                  </a:cubicBezTo>
                  <a:cubicBezTo>
                    <a:pt x="3591" y="5826"/>
                    <a:pt x="3686" y="5789"/>
                    <a:pt x="3664" y="5745"/>
                  </a:cubicBezTo>
                  <a:cubicBezTo>
                    <a:pt x="3649" y="5708"/>
                    <a:pt x="3605" y="5708"/>
                    <a:pt x="3576" y="5679"/>
                  </a:cubicBezTo>
                  <a:cubicBezTo>
                    <a:pt x="3539" y="5657"/>
                    <a:pt x="3554" y="5664"/>
                    <a:pt x="3576" y="5598"/>
                  </a:cubicBezTo>
                  <a:cubicBezTo>
                    <a:pt x="3591" y="5525"/>
                    <a:pt x="3627" y="5312"/>
                    <a:pt x="3591" y="5283"/>
                  </a:cubicBezTo>
                  <a:cubicBezTo>
                    <a:pt x="3554" y="5247"/>
                    <a:pt x="3547" y="5232"/>
                    <a:pt x="3539" y="5173"/>
                  </a:cubicBezTo>
                  <a:cubicBezTo>
                    <a:pt x="3532" y="5107"/>
                    <a:pt x="3473" y="5071"/>
                    <a:pt x="3415" y="5049"/>
                  </a:cubicBezTo>
                  <a:cubicBezTo>
                    <a:pt x="3349" y="5034"/>
                    <a:pt x="3298" y="4997"/>
                    <a:pt x="3283" y="4953"/>
                  </a:cubicBezTo>
                  <a:cubicBezTo>
                    <a:pt x="3268" y="4917"/>
                    <a:pt x="3217" y="4836"/>
                    <a:pt x="3283" y="4836"/>
                  </a:cubicBezTo>
                  <a:cubicBezTo>
                    <a:pt x="3349" y="4836"/>
                    <a:pt x="3371" y="4866"/>
                    <a:pt x="3437" y="4858"/>
                  </a:cubicBezTo>
                  <a:cubicBezTo>
                    <a:pt x="3503" y="4844"/>
                    <a:pt x="3554" y="4873"/>
                    <a:pt x="3576" y="4814"/>
                  </a:cubicBezTo>
                  <a:cubicBezTo>
                    <a:pt x="3591" y="4756"/>
                    <a:pt x="3532" y="4726"/>
                    <a:pt x="3583" y="4697"/>
                  </a:cubicBezTo>
                  <a:cubicBezTo>
                    <a:pt x="3635" y="4660"/>
                    <a:pt x="3635" y="4616"/>
                    <a:pt x="3671" y="4616"/>
                  </a:cubicBezTo>
                  <a:cubicBezTo>
                    <a:pt x="3715" y="4616"/>
                    <a:pt x="3686" y="4675"/>
                    <a:pt x="3759" y="4660"/>
                  </a:cubicBezTo>
                  <a:cubicBezTo>
                    <a:pt x="3840" y="4646"/>
                    <a:pt x="3854" y="4646"/>
                    <a:pt x="3906" y="4609"/>
                  </a:cubicBezTo>
                  <a:cubicBezTo>
                    <a:pt x="3957" y="4572"/>
                    <a:pt x="3979" y="4572"/>
                    <a:pt x="4023" y="4609"/>
                  </a:cubicBezTo>
                  <a:cubicBezTo>
                    <a:pt x="4067" y="4646"/>
                    <a:pt x="4030" y="4697"/>
                    <a:pt x="4067" y="4741"/>
                  </a:cubicBezTo>
                  <a:cubicBezTo>
                    <a:pt x="4096" y="4792"/>
                    <a:pt x="4111" y="4873"/>
                    <a:pt x="4089" y="4909"/>
                  </a:cubicBezTo>
                  <a:cubicBezTo>
                    <a:pt x="4074" y="4939"/>
                    <a:pt x="4052" y="4990"/>
                    <a:pt x="4126" y="5019"/>
                  </a:cubicBezTo>
                  <a:cubicBezTo>
                    <a:pt x="4199" y="5041"/>
                    <a:pt x="4331" y="5071"/>
                    <a:pt x="4397" y="5034"/>
                  </a:cubicBezTo>
                  <a:cubicBezTo>
                    <a:pt x="4463" y="4997"/>
                    <a:pt x="4594" y="5027"/>
                    <a:pt x="4602" y="4953"/>
                  </a:cubicBezTo>
                  <a:cubicBezTo>
                    <a:pt x="4609" y="4888"/>
                    <a:pt x="4661" y="4880"/>
                    <a:pt x="4690" y="4814"/>
                  </a:cubicBezTo>
                  <a:cubicBezTo>
                    <a:pt x="4712" y="4741"/>
                    <a:pt x="4726" y="4712"/>
                    <a:pt x="4778" y="4704"/>
                  </a:cubicBezTo>
                  <a:cubicBezTo>
                    <a:pt x="4829" y="4697"/>
                    <a:pt x="4880" y="4668"/>
                    <a:pt x="4924" y="4712"/>
                  </a:cubicBezTo>
                  <a:cubicBezTo>
                    <a:pt x="4968" y="4756"/>
                    <a:pt x="4932" y="4792"/>
                    <a:pt x="4888" y="4821"/>
                  </a:cubicBezTo>
                  <a:cubicBezTo>
                    <a:pt x="4851" y="4844"/>
                    <a:pt x="4858" y="4895"/>
                    <a:pt x="4902" y="4924"/>
                  </a:cubicBezTo>
                  <a:cubicBezTo>
                    <a:pt x="4939" y="4946"/>
                    <a:pt x="4939" y="4990"/>
                    <a:pt x="4910" y="5034"/>
                  </a:cubicBezTo>
                  <a:cubicBezTo>
                    <a:pt x="4873" y="5078"/>
                    <a:pt x="4858" y="5195"/>
                    <a:pt x="4792" y="5203"/>
                  </a:cubicBezTo>
                  <a:cubicBezTo>
                    <a:pt x="4719" y="5210"/>
                    <a:pt x="4690" y="5217"/>
                    <a:pt x="4661" y="5283"/>
                  </a:cubicBezTo>
                  <a:cubicBezTo>
                    <a:pt x="4639" y="5342"/>
                    <a:pt x="4602" y="5386"/>
                    <a:pt x="4639" y="5415"/>
                  </a:cubicBezTo>
                  <a:cubicBezTo>
                    <a:pt x="4668" y="5452"/>
                    <a:pt x="4668" y="5496"/>
                    <a:pt x="4726" y="5518"/>
                  </a:cubicBezTo>
                  <a:cubicBezTo>
                    <a:pt x="4792" y="5547"/>
                    <a:pt x="4858" y="5562"/>
                    <a:pt x="4822" y="5584"/>
                  </a:cubicBezTo>
                  <a:cubicBezTo>
                    <a:pt x="4792" y="5613"/>
                    <a:pt x="4749" y="5620"/>
                    <a:pt x="4756" y="5657"/>
                  </a:cubicBezTo>
                  <a:cubicBezTo>
                    <a:pt x="4763" y="5686"/>
                    <a:pt x="4756" y="5716"/>
                    <a:pt x="4719" y="5730"/>
                  </a:cubicBezTo>
                  <a:cubicBezTo>
                    <a:pt x="4690" y="5745"/>
                    <a:pt x="4690" y="5811"/>
                    <a:pt x="4697" y="5833"/>
                  </a:cubicBezTo>
                  <a:cubicBezTo>
                    <a:pt x="4704" y="5855"/>
                    <a:pt x="4726" y="5884"/>
                    <a:pt x="4814" y="5884"/>
                  </a:cubicBezTo>
                  <a:cubicBezTo>
                    <a:pt x="4902" y="5884"/>
                    <a:pt x="4961" y="5877"/>
                    <a:pt x="4975" y="5921"/>
                  </a:cubicBezTo>
                  <a:cubicBezTo>
                    <a:pt x="4990" y="5957"/>
                    <a:pt x="4968" y="5987"/>
                    <a:pt x="4975" y="6023"/>
                  </a:cubicBezTo>
                  <a:cubicBezTo>
                    <a:pt x="4983" y="6053"/>
                    <a:pt x="5042" y="6089"/>
                    <a:pt x="5042" y="6089"/>
                  </a:cubicBezTo>
                  <a:cubicBezTo>
                    <a:pt x="5042" y="6089"/>
                    <a:pt x="5049" y="6185"/>
                    <a:pt x="5063" y="6236"/>
                  </a:cubicBezTo>
                  <a:cubicBezTo>
                    <a:pt x="5071" y="6280"/>
                    <a:pt x="5078" y="6346"/>
                    <a:pt x="5049" y="6382"/>
                  </a:cubicBezTo>
                  <a:cubicBezTo>
                    <a:pt x="5027" y="6426"/>
                    <a:pt x="5071" y="6507"/>
                    <a:pt x="5137" y="6456"/>
                  </a:cubicBezTo>
                  <a:cubicBezTo>
                    <a:pt x="5203" y="6404"/>
                    <a:pt x="5254" y="6456"/>
                    <a:pt x="5254" y="6514"/>
                  </a:cubicBezTo>
                  <a:cubicBezTo>
                    <a:pt x="5254" y="6573"/>
                    <a:pt x="5283" y="6624"/>
                    <a:pt x="5327" y="6624"/>
                  </a:cubicBezTo>
                  <a:cubicBezTo>
                    <a:pt x="5364" y="6624"/>
                    <a:pt x="5386" y="6683"/>
                    <a:pt x="5386" y="6749"/>
                  </a:cubicBezTo>
                  <a:cubicBezTo>
                    <a:pt x="5386" y="6822"/>
                    <a:pt x="5444" y="6822"/>
                    <a:pt x="5525" y="6807"/>
                  </a:cubicBezTo>
                  <a:cubicBezTo>
                    <a:pt x="5613" y="6800"/>
                    <a:pt x="5599" y="6881"/>
                    <a:pt x="5562" y="6932"/>
                  </a:cubicBezTo>
                  <a:cubicBezTo>
                    <a:pt x="5525" y="6983"/>
                    <a:pt x="5576" y="6961"/>
                    <a:pt x="5576" y="7012"/>
                  </a:cubicBezTo>
                  <a:cubicBezTo>
                    <a:pt x="5576" y="7064"/>
                    <a:pt x="5540" y="7108"/>
                    <a:pt x="5503" y="7130"/>
                  </a:cubicBezTo>
                  <a:cubicBezTo>
                    <a:pt x="5466" y="7159"/>
                    <a:pt x="5466" y="7196"/>
                    <a:pt x="5474" y="7254"/>
                  </a:cubicBezTo>
                  <a:cubicBezTo>
                    <a:pt x="5489" y="7313"/>
                    <a:pt x="5540" y="7357"/>
                    <a:pt x="5496" y="7394"/>
                  </a:cubicBezTo>
                  <a:cubicBezTo>
                    <a:pt x="5452" y="7438"/>
                    <a:pt x="5401" y="7474"/>
                    <a:pt x="5452" y="7518"/>
                  </a:cubicBezTo>
                  <a:cubicBezTo>
                    <a:pt x="5489" y="7547"/>
                    <a:pt x="5532" y="7547"/>
                    <a:pt x="5554" y="7547"/>
                  </a:cubicBezTo>
                  <a:cubicBezTo>
                    <a:pt x="5584" y="7526"/>
                    <a:pt x="5620" y="7504"/>
                    <a:pt x="5642" y="7511"/>
                  </a:cubicBezTo>
                  <a:cubicBezTo>
                    <a:pt x="5686" y="7518"/>
                    <a:pt x="5679" y="7591"/>
                    <a:pt x="5723" y="7591"/>
                  </a:cubicBezTo>
                  <a:cubicBezTo>
                    <a:pt x="5767" y="7591"/>
                    <a:pt x="5804" y="7599"/>
                    <a:pt x="5855" y="7577"/>
                  </a:cubicBezTo>
                  <a:cubicBezTo>
                    <a:pt x="5899" y="7547"/>
                    <a:pt x="5972" y="7540"/>
                    <a:pt x="5980" y="7584"/>
                  </a:cubicBezTo>
                  <a:cubicBezTo>
                    <a:pt x="5987" y="7628"/>
                    <a:pt x="6053" y="7679"/>
                    <a:pt x="6082" y="7694"/>
                  </a:cubicBezTo>
                  <a:cubicBezTo>
                    <a:pt x="6104" y="7709"/>
                    <a:pt x="6097" y="7789"/>
                    <a:pt x="6038" y="7760"/>
                  </a:cubicBezTo>
                  <a:cubicBezTo>
                    <a:pt x="5980" y="7738"/>
                    <a:pt x="5935" y="7745"/>
                    <a:pt x="5965" y="7782"/>
                  </a:cubicBezTo>
                  <a:cubicBezTo>
                    <a:pt x="5987" y="7811"/>
                    <a:pt x="6016" y="7848"/>
                    <a:pt x="5965" y="7840"/>
                  </a:cubicBezTo>
                  <a:cubicBezTo>
                    <a:pt x="5913" y="7833"/>
                    <a:pt x="5980" y="7885"/>
                    <a:pt x="5935" y="7914"/>
                  </a:cubicBezTo>
                  <a:cubicBezTo>
                    <a:pt x="5892" y="7950"/>
                    <a:pt x="5899" y="7995"/>
                    <a:pt x="5928" y="8016"/>
                  </a:cubicBezTo>
                  <a:cubicBezTo>
                    <a:pt x="5950" y="8046"/>
                    <a:pt x="5987" y="8126"/>
                    <a:pt x="5980" y="8163"/>
                  </a:cubicBezTo>
                  <a:cubicBezTo>
                    <a:pt x="5972" y="8200"/>
                    <a:pt x="6023" y="8214"/>
                    <a:pt x="5994" y="8266"/>
                  </a:cubicBezTo>
                  <a:cubicBezTo>
                    <a:pt x="5972" y="8317"/>
                    <a:pt x="5980" y="8324"/>
                    <a:pt x="5921" y="8331"/>
                  </a:cubicBezTo>
                  <a:cubicBezTo>
                    <a:pt x="5862" y="8339"/>
                    <a:pt x="5855" y="8368"/>
                    <a:pt x="5840" y="8412"/>
                  </a:cubicBezTo>
                  <a:cubicBezTo>
                    <a:pt x="5833" y="8449"/>
                    <a:pt x="5818" y="8493"/>
                    <a:pt x="5877" y="8529"/>
                  </a:cubicBezTo>
                  <a:cubicBezTo>
                    <a:pt x="5935" y="8559"/>
                    <a:pt x="6082" y="8603"/>
                    <a:pt x="6104" y="8639"/>
                  </a:cubicBezTo>
                  <a:cubicBezTo>
                    <a:pt x="6133" y="8676"/>
                    <a:pt x="6177" y="8713"/>
                    <a:pt x="6214" y="8676"/>
                  </a:cubicBezTo>
                  <a:cubicBezTo>
                    <a:pt x="6258" y="8632"/>
                    <a:pt x="6294" y="8603"/>
                    <a:pt x="6236" y="8580"/>
                  </a:cubicBezTo>
                  <a:cubicBezTo>
                    <a:pt x="6177" y="8551"/>
                    <a:pt x="6148" y="8500"/>
                    <a:pt x="6148" y="8478"/>
                  </a:cubicBezTo>
                  <a:cubicBezTo>
                    <a:pt x="6148" y="8449"/>
                    <a:pt x="6155" y="8471"/>
                    <a:pt x="6207" y="8434"/>
                  </a:cubicBezTo>
                  <a:cubicBezTo>
                    <a:pt x="6258" y="8397"/>
                    <a:pt x="6309" y="8383"/>
                    <a:pt x="6324" y="8339"/>
                  </a:cubicBezTo>
                  <a:cubicBezTo>
                    <a:pt x="6346" y="8295"/>
                    <a:pt x="6404" y="8273"/>
                    <a:pt x="6412" y="8309"/>
                  </a:cubicBezTo>
                  <a:cubicBezTo>
                    <a:pt x="6419" y="8339"/>
                    <a:pt x="6441" y="8376"/>
                    <a:pt x="6441" y="8376"/>
                  </a:cubicBezTo>
                  <a:cubicBezTo>
                    <a:pt x="6441" y="8376"/>
                    <a:pt x="6419" y="8287"/>
                    <a:pt x="6463" y="8273"/>
                  </a:cubicBezTo>
                  <a:cubicBezTo>
                    <a:pt x="6507" y="8258"/>
                    <a:pt x="6522" y="8266"/>
                    <a:pt x="6558" y="8287"/>
                  </a:cubicBezTo>
                  <a:cubicBezTo>
                    <a:pt x="6588" y="8309"/>
                    <a:pt x="6602" y="8346"/>
                    <a:pt x="6610" y="8383"/>
                  </a:cubicBezTo>
                  <a:cubicBezTo>
                    <a:pt x="6654" y="8368"/>
                    <a:pt x="6734" y="8339"/>
                    <a:pt x="6749" y="8309"/>
                  </a:cubicBezTo>
                  <a:cubicBezTo>
                    <a:pt x="6771" y="8280"/>
                    <a:pt x="6830" y="8221"/>
                    <a:pt x="6866" y="8214"/>
                  </a:cubicBezTo>
                  <a:cubicBezTo>
                    <a:pt x="6903" y="8207"/>
                    <a:pt x="6939" y="8207"/>
                    <a:pt x="6976" y="8214"/>
                  </a:cubicBezTo>
                  <a:cubicBezTo>
                    <a:pt x="7020" y="8221"/>
                    <a:pt x="7093" y="8200"/>
                    <a:pt x="7108" y="8163"/>
                  </a:cubicBezTo>
                  <a:cubicBezTo>
                    <a:pt x="7130" y="8119"/>
                    <a:pt x="7123" y="8060"/>
                    <a:pt x="7152" y="8046"/>
                  </a:cubicBezTo>
                  <a:cubicBezTo>
                    <a:pt x="7181" y="8038"/>
                    <a:pt x="7203" y="8097"/>
                    <a:pt x="7247" y="8060"/>
                  </a:cubicBezTo>
                  <a:cubicBezTo>
                    <a:pt x="7291" y="8031"/>
                    <a:pt x="7335" y="8002"/>
                    <a:pt x="7364" y="7965"/>
                  </a:cubicBezTo>
                  <a:cubicBezTo>
                    <a:pt x="7394" y="7936"/>
                    <a:pt x="7401" y="7921"/>
                    <a:pt x="7445" y="7899"/>
                  </a:cubicBezTo>
                  <a:cubicBezTo>
                    <a:pt x="7482" y="7877"/>
                    <a:pt x="7496" y="7870"/>
                    <a:pt x="7504" y="7826"/>
                  </a:cubicBezTo>
                  <a:cubicBezTo>
                    <a:pt x="7504" y="7782"/>
                    <a:pt x="7504" y="7723"/>
                    <a:pt x="7540" y="7709"/>
                  </a:cubicBezTo>
                  <a:cubicBezTo>
                    <a:pt x="7577" y="7687"/>
                    <a:pt x="7628" y="7687"/>
                    <a:pt x="7650" y="7687"/>
                  </a:cubicBezTo>
                  <a:cubicBezTo>
                    <a:pt x="7679" y="7687"/>
                    <a:pt x="7752" y="7709"/>
                    <a:pt x="7774" y="7738"/>
                  </a:cubicBezTo>
                  <a:cubicBezTo>
                    <a:pt x="7796" y="7760"/>
                    <a:pt x="7854" y="7819"/>
                    <a:pt x="7891" y="7797"/>
                  </a:cubicBezTo>
                  <a:cubicBezTo>
                    <a:pt x="7928" y="7775"/>
                    <a:pt x="7928" y="7738"/>
                    <a:pt x="7957" y="7716"/>
                  </a:cubicBezTo>
                  <a:cubicBezTo>
                    <a:pt x="7993" y="7701"/>
                    <a:pt x="8008" y="7701"/>
                    <a:pt x="8037" y="7731"/>
                  </a:cubicBezTo>
                  <a:cubicBezTo>
                    <a:pt x="8067" y="7760"/>
                    <a:pt x="8147" y="7738"/>
                    <a:pt x="8111" y="7694"/>
                  </a:cubicBezTo>
                  <a:cubicBezTo>
                    <a:pt x="8081" y="7657"/>
                    <a:pt x="8052" y="7657"/>
                    <a:pt x="8052" y="7613"/>
                  </a:cubicBezTo>
                  <a:cubicBezTo>
                    <a:pt x="8060" y="7577"/>
                    <a:pt x="8081" y="7562"/>
                    <a:pt x="8118" y="7540"/>
                  </a:cubicBezTo>
                  <a:cubicBezTo>
                    <a:pt x="8140" y="7533"/>
                    <a:pt x="8147" y="7511"/>
                    <a:pt x="8155" y="7496"/>
                  </a:cubicBezTo>
                  <a:cubicBezTo>
                    <a:pt x="8125" y="7423"/>
                    <a:pt x="8125" y="7423"/>
                    <a:pt x="8125" y="7423"/>
                  </a:cubicBezTo>
                  <a:cubicBezTo>
                    <a:pt x="8118" y="7350"/>
                    <a:pt x="8125" y="7269"/>
                    <a:pt x="8081" y="7225"/>
                  </a:cubicBezTo>
                  <a:cubicBezTo>
                    <a:pt x="8030" y="7181"/>
                    <a:pt x="7979" y="7130"/>
                    <a:pt x="7957" y="7086"/>
                  </a:cubicBezTo>
                  <a:cubicBezTo>
                    <a:pt x="7942" y="7035"/>
                    <a:pt x="7898" y="6939"/>
                    <a:pt x="7928" y="6873"/>
                  </a:cubicBezTo>
                  <a:cubicBezTo>
                    <a:pt x="7950" y="6800"/>
                    <a:pt x="7957" y="6800"/>
                    <a:pt x="8008" y="6749"/>
                  </a:cubicBezTo>
                  <a:cubicBezTo>
                    <a:pt x="8060" y="6697"/>
                    <a:pt x="8103" y="6639"/>
                    <a:pt x="8052" y="6595"/>
                  </a:cubicBezTo>
                  <a:cubicBezTo>
                    <a:pt x="8001" y="6558"/>
                    <a:pt x="7964" y="6544"/>
                    <a:pt x="8001" y="6507"/>
                  </a:cubicBezTo>
                  <a:cubicBezTo>
                    <a:pt x="8037" y="6463"/>
                    <a:pt x="8045" y="6448"/>
                    <a:pt x="7986" y="6419"/>
                  </a:cubicBezTo>
                  <a:cubicBezTo>
                    <a:pt x="7928" y="6397"/>
                    <a:pt x="7840" y="6368"/>
                    <a:pt x="7854" y="6309"/>
                  </a:cubicBezTo>
                  <a:cubicBezTo>
                    <a:pt x="7876" y="6250"/>
                    <a:pt x="7862" y="6280"/>
                    <a:pt x="7935" y="6280"/>
                  </a:cubicBezTo>
                  <a:cubicBezTo>
                    <a:pt x="8001" y="6280"/>
                    <a:pt x="8001" y="6302"/>
                    <a:pt x="8045" y="6243"/>
                  </a:cubicBezTo>
                  <a:cubicBezTo>
                    <a:pt x="8089" y="6185"/>
                    <a:pt x="8111" y="6162"/>
                    <a:pt x="8191" y="6155"/>
                  </a:cubicBezTo>
                  <a:cubicBezTo>
                    <a:pt x="8265" y="6148"/>
                    <a:pt x="8411" y="6155"/>
                    <a:pt x="8477" y="6140"/>
                  </a:cubicBezTo>
                  <a:cubicBezTo>
                    <a:pt x="8543" y="6119"/>
                    <a:pt x="8587" y="6148"/>
                    <a:pt x="8653" y="6111"/>
                  </a:cubicBezTo>
                  <a:cubicBezTo>
                    <a:pt x="8726" y="6082"/>
                    <a:pt x="8726" y="6053"/>
                    <a:pt x="8682" y="6009"/>
                  </a:cubicBezTo>
                  <a:cubicBezTo>
                    <a:pt x="8638" y="5972"/>
                    <a:pt x="8653" y="5935"/>
                    <a:pt x="8726" y="5928"/>
                  </a:cubicBezTo>
                  <a:cubicBezTo>
                    <a:pt x="8792" y="5921"/>
                    <a:pt x="8807" y="5899"/>
                    <a:pt x="8843" y="5847"/>
                  </a:cubicBezTo>
                  <a:cubicBezTo>
                    <a:pt x="8880" y="5796"/>
                    <a:pt x="8917" y="5730"/>
                    <a:pt x="8843" y="5716"/>
                  </a:cubicBezTo>
                  <a:cubicBezTo>
                    <a:pt x="8763" y="5694"/>
                    <a:pt x="8785" y="5635"/>
                    <a:pt x="8807" y="5613"/>
                  </a:cubicBezTo>
                  <a:cubicBezTo>
                    <a:pt x="8836" y="5584"/>
                    <a:pt x="8910" y="5584"/>
                    <a:pt x="8917" y="5562"/>
                  </a:cubicBezTo>
                  <a:cubicBezTo>
                    <a:pt x="8931" y="5532"/>
                    <a:pt x="8910" y="5518"/>
                    <a:pt x="8858" y="5474"/>
                  </a:cubicBezTo>
                  <a:cubicBezTo>
                    <a:pt x="8807" y="5430"/>
                    <a:pt x="8778" y="5400"/>
                    <a:pt x="8785" y="5357"/>
                  </a:cubicBezTo>
                  <a:cubicBezTo>
                    <a:pt x="8792" y="5312"/>
                    <a:pt x="8814" y="5239"/>
                    <a:pt x="8763" y="5210"/>
                  </a:cubicBezTo>
                  <a:cubicBezTo>
                    <a:pt x="8719" y="5188"/>
                    <a:pt x="8726" y="5173"/>
                    <a:pt x="8800" y="5151"/>
                  </a:cubicBezTo>
                  <a:cubicBezTo>
                    <a:pt x="8880" y="5137"/>
                    <a:pt x="8939" y="5049"/>
                    <a:pt x="8880" y="5019"/>
                  </a:cubicBezTo>
                  <a:cubicBezTo>
                    <a:pt x="8814" y="4983"/>
                    <a:pt x="8785" y="4939"/>
                    <a:pt x="8726" y="4909"/>
                  </a:cubicBezTo>
                  <a:cubicBezTo>
                    <a:pt x="8668" y="4873"/>
                    <a:pt x="8594" y="4807"/>
                    <a:pt x="8602" y="4734"/>
                  </a:cubicBezTo>
                  <a:cubicBezTo>
                    <a:pt x="8616" y="4668"/>
                    <a:pt x="8602" y="4660"/>
                    <a:pt x="8668" y="4653"/>
                  </a:cubicBezTo>
                  <a:cubicBezTo>
                    <a:pt x="8726" y="4646"/>
                    <a:pt x="8755" y="4646"/>
                    <a:pt x="8755" y="4646"/>
                  </a:cubicBezTo>
                  <a:cubicBezTo>
                    <a:pt x="8755" y="4646"/>
                    <a:pt x="8682" y="4602"/>
                    <a:pt x="8653" y="4543"/>
                  </a:cubicBezTo>
                  <a:cubicBezTo>
                    <a:pt x="8631" y="4485"/>
                    <a:pt x="8616" y="4433"/>
                    <a:pt x="8624" y="4389"/>
                  </a:cubicBezTo>
                  <a:cubicBezTo>
                    <a:pt x="8631" y="4345"/>
                    <a:pt x="8668" y="4279"/>
                    <a:pt x="8682" y="4250"/>
                  </a:cubicBezTo>
                  <a:cubicBezTo>
                    <a:pt x="8697" y="4228"/>
                    <a:pt x="8646" y="4199"/>
                    <a:pt x="8587" y="4235"/>
                  </a:cubicBezTo>
                  <a:cubicBezTo>
                    <a:pt x="8528" y="4272"/>
                    <a:pt x="8514" y="4177"/>
                    <a:pt x="8484" y="4126"/>
                  </a:cubicBezTo>
                  <a:cubicBezTo>
                    <a:pt x="8462" y="4074"/>
                    <a:pt x="8374" y="3994"/>
                    <a:pt x="8374" y="3994"/>
                  </a:cubicBezTo>
                  <a:cubicBezTo>
                    <a:pt x="8367" y="3964"/>
                    <a:pt x="8272" y="3913"/>
                    <a:pt x="8265" y="3869"/>
                  </a:cubicBezTo>
                  <a:cubicBezTo>
                    <a:pt x="8257" y="3825"/>
                    <a:pt x="8199" y="3700"/>
                    <a:pt x="8206" y="3635"/>
                  </a:cubicBezTo>
                  <a:cubicBezTo>
                    <a:pt x="8213" y="3561"/>
                    <a:pt x="8213" y="3495"/>
                    <a:pt x="8301" y="3488"/>
                  </a:cubicBezTo>
                  <a:cubicBezTo>
                    <a:pt x="8382" y="3481"/>
                    <a:pt x="8462" y="3503"/>
                    <a:pt x="8521" y="3481"/>
                  </a:cubicBezTo>
                  <a:cubicBezTo>
                    <a:pt x="8580" y="3451"/>
                    <a:pt x="8594" y="3444"/>
                    <a:pt x="8624" y="3400"/>
                  </a:cubicBezTo>
                  <a:cubicBezTo>
                    <a:pt x="8646" y="3356"/>
                    <a:pt x="8638" y="3290"/>
                    <a:pt x="8697" y="3283"/>
                  </a:cubicBezTo>
                  <a:cubicBezTo>
                    <a:pt x="8755" y="3276"/>
                    <a:pt x="8880" y="3253"/>
                    <a:pt x="8880" y="3253"/>
                  </a:cubicBezTo>
                  <a:cubicBezTo>
                    <a:pt x="8880" y="3253"/>
                    <a:pt x="8939" y="3327"/>
                    <a:pt x="8961" y="3305"/>
                  </a:cubicBezTo>
                  <a:cubicBezTo>
                    <a:pt x="8990" y="3290"/>
                    <a:pt x="8997" y="3268"/>
                    <a:pt x="9049" y="3290"/>
                  </a:cubicBezTo>
                  <a:cubicBezTo>
                    <a:pt x="9100" y="3319"/>
                    <a:pt x="9166" y="3385"/>
                    <a:pt x="9203" y="3378"/>
                  </a:cubicBezTo>
                  <a:cubicBezTo>
                    <a:pt x="9232" y="3371"/>
                    <a:pt x="9224" y="3378"/>
                    <a:pt x="9283" y="3356"/>
                  </a:cubicBezTo>
                  <a:cubicBezTo>
                    <a:pt x="9342" y="3341"/>
                    <a:pt x="9386" y="3341"/>
                    <a:pt x="9422" y="3305"/>
                  </a:cubicBezTo>
                  <a:cubicBezTo>
                    <a:pt x="9452" y="3276"/>
                    <a:pt x="9503" y="3246"/>
                    <a:pt x="9547" y="3217"/>
                  </a:cubicBezTo>
                  <a:cubicBezTo>
                    <a:pt x="9591" y="3180"/>
                    <a:pt x="9620" y="3158"/>
                    <a:pt x="9657" y="3144"/>
                  </a:cubicBezTo>
                  <a:cubicBezTo>
                    <a:pt x="9701" y="3136"/>
                    <a:pt x="9635" y="3107"/>
                    <a:pt x="9664" y="3056"/>
                  </a:cubicBezTo>
                  <a:cubicBezTo>
                    <a:pt x="9701" y="3004"/>
                    <a:pt x="9730" y="2909"/>
                    <a:pt x="9730" y="2909"/>
                  </a:cubicBezTo>
                  <a:cubicBezTo>
                    <a:pt x="9730" y="2909"/>
                    <a:pt x="9767" y="2953"/>
                    <a:pt x="9796" y="2931"/>
                  </a:cubicBezTo>
                  <a:cubicBezTo>
                    <a:pt x="9818" y="2916"/>
                    <a:pt x="9862" y="2894"/>
                    <a:pt x="9862" y="2858"/>
                  </a:cubicBezTo>
                  <a:cubicBezTo>
                    <a:pt x="9862" y="2836"/>
                    <a:pt x="9891" y="2807"/>
                    <a:pt x="9913" y="2785"/>
                  </a:cubicBezTo>
                  <a:lnTo>
                    <a:pt x="9906" y="2777"/>
                  </a:lnTo>
                </a:path>
              </a:pathLst>
            </a:custGeom>
            <a:grpFill/>
            <a:ln w="6350" cap="flat" cmpd="sng">
              <a:solidFill>
                <a:schemeClr val="bg1"/>
              </a:solidFill>
              <a:bevel/>
              <a:headEnd/>
              <a:tailEnd/>
            </a:ln>
          </p:spPr>
          <p:txBody>
            <a:bodyPr wrap="none" anchor="ctr"/>
            <a:lstStyle/>
            <a:p>
              <a:pPr defTabSz="685663">
                <a:defRPr/>
              </a:pPr>
              <a:endParaRPr lang="en-US" sz="675">
                <a:latin typeface="Montserrat" charset="0"/>
              </a:endParaRPr>
            </a:p>
          </p:txBody>
        </p:sp>
        <p:sp>
          <p:nvSpPr>
            <p:cNvPr id="70" name="Freeform 69">
              <a:extLst>
                <a:ext uri="{FF2B5EF4-FFF2-40B4-BE49-F238E27FC236}">
                  <a16:creationId xmlns:a16="http://schemas.microsoft.com/office/drawing/2014/main" id="{A4CE487E-1C76-004D-85D0-9DCEA59F3B89}"/>
                </a:ext>
              </a:extLst>
            </p:cNvPr>
            <p:cNvSpPr>
              <a:spLocks noChangeArrowheads="1"/>
            </p:cNvSpPr>
            <p:nvPr/>
          </p:nvSpPr>
          <p:spPr bwMode="auto">
            <a:xfrm>
              <a:off x="3373941" y="5791754"/>
              <a:ext cx="2878123" cy="2744979"/>
            </a:xfrm>
            <a:custGeom>
              <a:avLst/>
              <a:gdLst>
                <a:gd name="T0" fmla="*/ 974 w 7489"/>
                <a:gd name="T1" fmla="*/ 7143 h 7225"/>
                <a:gd name="T2" fmla="*/ 630 w 7489"/>
                <a:gd name="T3" fmla="*/ 6616 h 7225"/>
                <a:gd name="T4" fmla="*/ 717 w 7489"/>
                <a:gd name="T5" fmla="*/ 6213 h 7225"/>
                <a:gd name="T6" fmla="*/ 402 w 7489"/>
                <a:gd name="T7" fmla="*/ 5920 h 7225"/>
                <a:gd name="T8" fmla="*/ 256 w 7489"/>
                <a:gd name="T9" fmla="*/ 5502 h 7225"/>
                <a:gd name="T10" fmla="*/ 278 w 7489"/>
                <a:gd name="T11" fmla="*/ 5194 h 7225"/>
                <a:gd name="T12" fmla="*/ 36 w 7489"/>
                <a:gd name="T13" fmla="*/ 4974 h 7225"/>
                <a:gd name="T14" fmla="*/ 205 w 7489"/>
                <a:gd name="T15" fmla="*/ 4799 h 7225"/>
                <a:gd name="T16" fmla="*/ 571 w 7489"/>
                <a:gd name="T17" fmla="*/ 4426 h 7225"/>
                <a:gd name="T18" fmla="*/ 534 w 7489"/>
                <a:gd name="T19" fmla="*/ 4067 h 7225"/>
                <a:gd name="T20" fmla="*/ 674 w 7489"/>
                <a:gd name="T21" fmla="*/ 3158 h 7225"/>
                <a:gd name="T22" fmla="*/ 293 w 7489"/>
                <a:gd name="T23" fmla="*/ 2521 h 7225"/>
                <a:gd name="T24" fmla="*/ 446 w 7489"/>
                <a:gd name="T25" fmla="*/ 2140 h 7225"/>
                <a:gd name="T26" fmla="*/ 762 w 7489"/>
                <a:gd name="T27" fmla="*/ 2044 h 7225"/>
                <a:gd name="T28" fmla="*/ 1150 w 7489"/>
                <a:gd name="T29" fmla="*/ 2096 h 7225"/>
                <a:gd name="T30" fmla="*/ 1985 w 7489"/>
                <a:gd name="T31" fmla="*/ 1949 h 7225"/>
                <a:gd name="T32" fmla="*/ 1868 w 7489"/>
                <a:gd name="T33" fmla="*/ 1444 h 7225"/>
                <a:gd name="T34" fmla="*/ 2359 w 7489"/>
                <a:gd name="T35" fmla="*/ 1085 h 7225"/>
                <a:gd name="T36" fmla="*/ 2960 w 7489"/>
                <a:gd name="T37" fmla="*/ 843 h 7225"/>
                <a:gd name="T38" fmla="*/ 3619 w 7489"/>
                <a:gd name="T39" fmla="*/ 308 h 7225"/>
                <a:gd name="T40" fmla="*/ 4022 w 7489"/>
                <a:gd name="T41" fmla="*/ 447 h 7225"/>
                <a:gd name="T42" fmla="*/ 4491 w 7489"/>
                <a:gd name="T43" fmla="*/ 725 h 7225"/>
                <a:gd name="T44" fmla="*/ 4345 w 7489"/>
                <a:gd name="T45" fmla="*/ 1136 h 7225"/>
                <a:gd name="T46" fmla="*/ 4330 w 7489"/>
                <a:gd name="T47" fmla="*/ 1480 h 7225"/>
                <a:gd name="T48" fmla="*/ 4755 w 7489"/>
                <a:gd name="T49" fmla="*/ 1539 h 7225"/>
                <a:gd name="T50" fmla="*/ 5143 w 7489"/>
                <a:gd name="T51" fmla="*/ 1326 h 7225"/>
                <a:gd name="T52" fmla="*/ 5422 w 7489"/>
                <a:gd name="T53" fmla="*/ 1070 h 7225"/>
                <a:gd name="T54" fmla="*/ 5231 w 7489"/>
                <a:gd name="T55" fmla="*/ 271 h 7225"/>
                <a:gd name="T56" fmla="*/ 5546 w 7489"/>
                <a:gd name="T57" fmla="*/ 37 h 7225"/>
                <a:gd name="T58" fmla="*/ 5957 w 7489"/>
                <a:gd name="T59" fmla="*/ 169 h 7225"/>
                <a:gd name="T60" fmla="*/ 6550 w 7489"/>
                <a:gd name="T61" fmla="*/ 242 h 7225"/>
                <a:gd name="T62" fmla="*/ 6821 w 7489"/>
                <a:gd name="T63" fmla="*/ 396 h 7225"/>
                <a:gd name="T64" fmla="*/ 6645 w 7489"/>
                <a:gd name="T65" fmla="*/ 953 h 7225"/>
                <a:gd name="T66" fmla="*/ 6865 w 7489"/>
                <a:gd name="T67" fmla="*/ 1348 h 7225"/>
                <a:gd name="T68" fmla="*/ 6968 w 7489"/>
                <a:gd name="T69" fmla="*/ 1891 h 7225"/>
                <a:gd name="T70" fmla="*/ 7415 w 7489"/>
                <a:gd name="T71" fmla="*/ 2228 h 7225"/>
                <a:gd name="T72" fmla="*/ 7364 w 7489"/>
                <a:gd name="T73" fmla="*/ 2858 h 7225"/>
                <a:gd name="T74" fmla="*/ 7268 w 7489"/>
                <a:gd name="T75" fmla="*/ 3092 h 7225"/>
                <a:gd name="T76" fmla="*/ 6733 w 7489"/>
                <a:gd name="T77" fmla="*/ 3517 h 7225"/>
                <a:gd name="T78" fmla="*/ 6352 w 7489"/>
                <a:gd name="T79" fmla="*/ 3576 h 7225"/>
                <a:gd name="T80" fmla="*/ 6059 w 7489"/>
                <a:gd name="T81" fmla="*/ 3840 h 7225"/>
                <a:gd name="T82" fmla="*/ 5656 w 7489"/>
                <a:gd name="T83" fmla="*/ 4184 h 7225"/>
                <a:gd name="T84" fmla="*/ 6059 w 7489"/>
                <a:gd name="T85" fmla="*/ 4397 h 7225"/>
                <a:gd name="T86" fmla="*/ 5847 w 7489"/>
                <a:gd name="T87" fmla="*/ 4813 h 7225"/>
                <a:gd name="T88" fmla="*/ 5605 w 7489"/>
                <a:gd name="T89" fmla="*/ 4784 h 7225"/>
                <a:gd name="T90" fmla="*/ 5488 w 7489"/>
                <a:gd name="T91" fmla="*/ 5158 h 7225"/>
                <a:gd name="T92" fmla="*/ 5143 w 7489"/>
                <a:gd name="T93" fmla="*/ 5568 h 7225"/>
                <a:gd name="T94" fmla="*/ 4733 w 7489"/>
                <a:gd name="T95" fmla="*/ 5795 h 7225"/>
                <a:gd name="T96" fmla="*/ 4638 w 7489"/>
                <a:gd name="T97" fmla="*/ 6096 h 7225"/>
                <a:gd name="T98" fmla="*/ 4352 w 7489"/>
                <a:gd name="T99" fmla="*/ 5744 h 7225"/>
                <a:gd name="T100" fmla="*/ 4088 w 7489"/>
                <a:gd name="T101" fmla="*/ 5400 h 7225"/>
                <a:gd name="T102" fmla="*/ 3810 w 7489"/>
                <a:gd name="T103" fmla="*/ 5671 h 7225"/>
                <a:gd name="T104" fmla="*/ 3502 w 7489"/>
                <a:gd name="T105" fmla="*/ 5920 h 7225"/>
                <a:gd name="T106" fmla="*/ 2974 w 7489"/>
                <a:gd name="T107" fmla="*/ 6286 h 7225"/>
                <a:gd name="T108" fmla="*/ 2417 w 7489"/>
                <a:gd name="T109" fmla="*/ 6396 h 7225"/>
                <a:gd name="T110" fmla="*/ 2110 w 7489"/>
                <a:gd name="T111" fmla="*/ 6682 h 7225"/>
                <a:gd name="T112" fmla="*/ 1824 w 7489"/>
                <a:gd name="T113" fmla="*/ 6916 h 7225"/>
                <a:gd name="T114" fmla="*/ 1567 w 7489"/>
                <a:gd name="T115" fmla="*/ 7188 h 7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89" h="7225">
                  <a:moveTo>
                    <a:pt x="1186" y="7224"/>
                  </a:moveTo>
                  <a:lnTo>
                    <a:pt x="1186" y="7224"/>
                  </a:lnTo>
                  <a:cubicBezTo>
                    <a:pt x="1150" y="7224"/>
                    <a:pt x="1128" y="7180"/>
                    <a:pt x="1113" y="7136"/>
                  </a:cubicBezTo>
                  <a:cubicBezTo>
                    <a:pt x="1106" y="7129"/>
                    <a:pt x="1106" y="7114"/>
                    <a:pt x="1099" y="7107"/>
                  </a:cubicBezTo>
                  <a:cubicBezTo>
                    <a:pt x="1076" y="7070"/>
                    <a:pt x="1069" y="7063"/>
                    <a:pt x="1047" y="7063"/>
                  </a:cubicBezTo>
                  <a:cubicBezTo>
                    <a:pt x="1040" y="7063"/>
                    <a:pt x="1033" y="7063"/>
                    <a:pt x="1033" y="7063"/>
                  </a:cubicBezTo>
                  <a:cubicBezTo>
                    <a:pt x="1018" y="7063"/>
                    <a:pt x="1011" y="7085"/>
                    <a:pt x="1003" y="7122"/>
                  </a:cubicBezTo>
                  <a:cubicBezTo>
                    <a:pt x="996" y="7158"/>
                    <a:pt x="996" y="7158"/>
                    <a:pt x="996" y="7158"/>
                  </a:cubicBezTo>
                  <a:cubicBezTo>
                    <a:pt x="974" y="7143"/>
                    <a:pt x="974" y="7143"/>
                    <a:pt x="974" y="7143"/>
                  </a:cubicBezTo>
                  <a:cubicBezTo>
                    <a:pt x="959" y="7129"/>
                    <a:pt x="952" y="7122"/>
                    <a:pt x="945" y="7107"/>
                  </a:cubicBezTo>
                  <a:cubicBezTo>
                    <a:pt x="908" y="7048"/>
                    <a:pt x="923" y="7004"/>
                    <a:pt x="966" y="6916"/>
                  </a:cubicBezTo>
                  <a:cubicBezTo>
                    <a:pt x="996" y="6858"/>
                    <a:pt x="981" y="6850"/>
                    <a:pt x="959" y="6821"/>
                  </a:cubicBezTo>
                  <a:cubicBezTo>
                    <a:pt x="945" y="6806"/>
                    <a:pt x="937" y="6792"/>
                    <a:pt x="923" y="6770"/>
                  </a:cubicBezTo>
                  <a:cubicBezTo>
                    <a:pt x="893" y="6704"/>
                    <a:pt x="857" y="6660"/>
                    <a:pt x="791" y="6660"/>
                  </a:cubicBezTo>
                  <a:cubicBezTo>
                    <a:pt x="783" y="6660"/>
                    <a:pt x="769" y="6660"/>
                    <a:pt x="762" y="6660"/>
                  </a:cubicBezTo>
                  <a:cubicBezTo>
                    <a:pt x="732" y="6667"/>
                    <a:pt x="710" y="6674"/>
                    <a:pt x="695" y="6674"/>
                  </a:cubicBezTo>
                  <a:cubicBezTo>
                    <a:pt x="666" y="6674"/>
                    <a:pt x="652" y="6653"/>
                    <a:pt x="644" y="6638"/>
                  </a:cubicBezTo>
                  <a:cubicBezTo>
                    <a:pt x="644" y="6631"/>
                    <a:pt x="637" y="6623"/>
                    <a:pt x="630" y="6616"/>
                  </a:cubicBezTo>
                  <a:cubicBezTo>
                    <a:pt x="622" y="6601"/>
                    <a:pt x="615" y="6594"/>
                    <a:pt x="608" y="6587"/>
                  </a:cubicBezTo>
                  <a:cubicBezTo>
                    <a:pt x="586" y="6557"/>
                    <a:pt x="564" y="6535"/>
                    <a:pt x="578" y="6455"/>
                  </a:cubicBezTo>
                  <a:cubicBezTo>
                    <a:pt x="593" y="6396"/>
                    <a:pt x="608" y="6389"/>
                    <a:pt x="637" y="6374"/>
                  </a:cubicBezTo>
                  <a:cubicBezTo>
                    <a:pt x="652" y="6374"/>
                    <a:pt x="674" y="6360"/>
                    <a:pt x="710" y="6330"/>
                  </a:cubicBezTo>
                  <a:cubicBezTo>
                    <a:pt x="732" y="6315"/>
                    <a:pt x="754" y="6293"/>
                    <a:pt x="762" y="6286"/>
                  </a:cubicBezTo>
                  <a:lnTo>
                    <a:pt x="762" y="6286"/>
                  </a:lnTo>
                  <a:lnTo>
                    <a:pt x="754" y="6279"/>
                  </a:lnTo>
                  <a:cubicBezTo>
                    <a:pt x="747" y="6272"/>
                    <a:pt x="740" y="6257"/>
                    <a:pt x="732" y="6235"/>
                  </a:cubicBezTo>
                  <a:cubicBezTo>
                    <a:pt x="725" y="6213"/>
                    <a:pt x="717" y="6213"/>
                    <a:pt x="717" y="6213"/>
                  </a:cubicBezTo>
                  <a:cubicBezTo>
                    <a:pt x="710" y="6213"/>
                    <a:pt x="703" y="6213"/>
                    <a:pt x="703" y="6213"/>
                  </a:cubicBezTo>
                  <a:cubicBezTo>
                    <a:pt x="688" y="6220"/>
                    <a:pt x="674" y="6220"/>
                    <a:pt x="659" y="6220"/>
                  </a:cubicBezTo>
                  <a:cubicBezTo>
                    <a:pt x="644" y="6220"/>
                    <a:pt x="622" y="6220"/>
                    <a:pt x="600" y="6206"/>
                  </a:cubicBezTo>
                  <a:cubicBezTo>
                    <a:pt x="542" y="6184"/>
                    <a:pt x="534" y="6169"/>
                    <a:pt x="534" y="6132"/>
                  </a:cubicBezTo>
                  <a:cubicBezTo>
                    <a:pt x="534" y="6118"/>
                    <a:pt x="534" y="6096"/>
                    <a:pt x="527" y="6066"/>
                  </a:cubicBezTo>
                  <a:cubicBezTo>
                    <a:pt x="512" y="6030"/>
                    <a:pt x="505" y="6015"/>
                    <a:pt x="505" y="6000"/>
                  </a:cubicBezTo>
                  <a:cubicBezTo>
                    <a:pt x="490" y="5971"/>
                    <a:pt x="490" y="5964"/>
                    <a:pt x="468" y="5927"/>
                  </a:cubicBezTo>
                  <a:cubicBezTo>
                    <a:pt x="461" y="5912"/>
                    <a:pt x="454" y="5912"/>
                    <a:pt x="439" y="5912"/>
                  </a:cubicBezTo>
                  <a:cubicBezTo>
                    <a:pt x="432" y="5912"/>
                    <a:pt x="417" y="5912"/>
                    <a:pt x="402" y="5920"/>
                  </a:cubicBezTo>
                  <a:cubicBezTo>
                    <a:pt x="388" y="5927"/>
                    <a:pt x="373" y="5927"/>
                    <a:pt x="351" y="5927"/>
                  </a:cubicBezTo>
                  <a:cubicBezTo>
                    <a:pt x="344" y="5927"/>
                    <a:pt x="336" y="5927"/>
                    <a:pt x="329" y="5927"/>
                  </a:cubicBezTo>
                  <a:cubicBezTo>
                    <a:pt x="307" y="5920"/>
                    <a:pt x="285" y="5912"/>
                    <a:pt x="278" y="5891"/>
                  </a:cubicBezTo>
                  <a:cubicBezTo>
                    <a:pt x="263" y="5869"/>
                    <a:pt x="263" y="5832"/>
                    <a:pt x="278" y="5781"/>
                  </a:cubicBezTo>
                  <a:cubicBezTo>
                    <a:pt x="293" y="5737"/>
                    <a:pt x="285" y="5729"/>
                    <a:pt x="256" y="5722"/>
                  </a:cubicBezTo>
                  <a:cubicBezTo>
                    <a:pt x="249" y="5722"/>
                    <a:pt x="234" y="5715"/>
                    <a:pt x="226" y="5707"/>
                  </a:cubicBezTo>
                  <a:cubicBezTo>
                    <a:pt x="205" y="5700"/>
                    <a:pt x="161" y="5671"/>
                    <a:pt x="168" y="5641"/>
                  </a:cubicBezTo>
                  <a:cubicBezTo>
                    <a:pt x="168" y="5627"/>
                    <a:pt x="183" y="5619"/>
                    <a:pt x="205" y="5612"/>
                  </a:cubicBezTo>
                  <a:cubicBezTo>
                    <a:pt x="249" y="5605"/>
                    <a:pt x="256" y="5575"/>
                    <a:pt x="256" y="5502"/>
                  </a:cubicBezTo>
                  <a:cubicBezTo>
                    <a:pt x="256" y="5465"/>
                    <a:pt x="271" y="5451"/>
                    <a:pt x="300" y="5451"/>
                  </a:cubicBezTo>
                  <a:cubicBezTo>
                    <a:pt x="314" y="5451"/>
                    <a:pt x="322" y="5451"/>
                    <a:pt x="336" y="5451"/>
                  </a:cubicBezTo>
                  <a:cubicBezTo>
                    <a:pt x="351" y="5451"/>
                    <a:pt x="366" y="5458"/>
                    <a:pt x="381" y="5458"/>
                  </a:cubicBezTo>
                  <a:cubicBezTo>
                    <a:pt x="388" y="5458"/>
                    <a:pt x="395" y="5458"/>
                    <a:pt x="402" y="5451"/>
                  </a:cubicBezTo>
                  <a:cubicBezTo>
                    <a:pt x="410" y="5451"/>
                    <a:pt x="417" y="5451"/>
                    <a:pt x="424" y="5443"/>
                  </a:cubicBezTo>
                  <a:cubicBezTo>
                    <a:pt x="432" y="5429"/>
                    <a:pt x="424" y="5407"/>
                    <a:pt x="417" y="5378"/>
                  </a:cubicBezTo>
                  <a:cubicBezTo>
                    <a:pt x="417" y="5356"/>
                    <a:pt x="410" y="5334"/>
                    <a:pt x="410" y="5312"/>
                  </a:cubicBezTo>
                  <a:cubicBezTo>
                    <a:pt x="410" y="5238"/>
                    <a:pt x="410" y="5238"/>
                    <a:pt x="373" y="5238"/>
                  </a:cubicBezTo>
                  <a:cubicBezTo>
                    <a:pt x="336" y="5238"/>
                    <a:pt x="293" y="5224"/>
                    <a:pt x="278" y="5194"/>
                  </a:cubicBezTo>
                  <a:cubicBezTo>
                    <a:pt x="271" y="5172"/>
                    <a:pt x="263" y="5150"/>
                    <a:pt x="293" y="5106"/>
                  </a:cubicBezTo>
                  <a:cubicBezTo>
                    <a:pt x="300" y="5092"/>
                    <a:pt x="307" y="5070"/>
                    <a:pt x="307" y="5062"/>
                  </a:cubicBezTo>
                  <a:cubicBezTo>
                    <a:pt x="300" y="5055"/>
                    <a:pt x="285" y="5048"/>
                    <a:pt x="285" y="5048"/>
                  </a:cubicBezTo>
                  <a:cubicBezTo>
                    <a:pt x="278" y="5048"/>
                    <a:pt x="278" y="5055"/>
                    <a:pt x="271" y="5055"/>
                  </a:cubicBezTo>
                  <a:cubicBezTo>
                    <a:pt x="256" y="5055"/>
                    <a:pt x="241" y="5062"/>
                    <a:pt x="219" y="5062"/>
                  </a:cubicBezTo>
                  <a:cubicBezTo>
                    <a:pt x="197" y="5062"/>
                    <a:pt x="161" y="5062"/>
                    <a:pt x="109" y="5077"/>
                  </a:cubicBezTo>
                  <a:cubicBezTo>
                    <a:pt x="102" y="5077"/>
                    <a:pt x="87" y="5077"/>
                    <a:pt x="80" y="5077"/>
                  </a:cubicBezTo>
                  <a:cubicBezTo>
                    <a:pt x="65" y="5077"/>
                    <a:pt x="51" y="5077"/>
                    <a:pt x="43" y="5062"/>
                  </a:cubicBezTo>
                  <a:cubicBezTo>
                    <a:pt x="29" y="5048"/>
                    <a:pt x="29" y="5011"/>
                    <a:pt x="36" y="4974"/>
                  </a:cubicBezTo>
                  <a:cubicBezTo>
                    <a:pt x="36" y="4960"/>
                    <a:pt x="36" y="4945"/>
                    <a:pt x="36" y="4923"/>
                  </a:cubicBezTo>
                  <a:cubicBezTo>
                    <a:pt x="36" y="4894"/>
                    <a:pt x="29" y="4872"/>
                    <a:pt x="21" y="4850"/>
                  </a:cubicBezTo>
                  <a:cubicBezTo>
                    <a:pt x="7" y="4813"/>
                    <a:pt x="0" y="4784"/>
                    <a:pt x="29" y="4755"/>
                  </a:cubicBezTo>
                  <a:cubicBezTo>
                    <a:pt x="58" y="4733"/>
                    <a:pt x="73" y="4725"/>
                    <a:pt x="87" y="4725"/>
                  </a:cubicBezTo>
                  <a:cubicBezTo>
                    <a:pt x="102" y="4725"/>
                    <a:pt x="124" y="4733"/>
                    <a:pt x="124" y="4777"/>
                  </a:cubicBezTo>
                  <a:cubicBezTo>
                    <a:pt x="124" y="4791"/>
                    <a:pt x="131" y="4806"/>
                    <a:pt x="146" y="4821"/>
                  </a:cubicBezTo>
                  <a:cubicBezTo>
                    <a:pt x="161" y="4835"/>
                    <a:pt x="175" y="4843"/>
                    <a:pt x="183" y="4843"/>
                  </a:cubicBezTo>
                  <a:cubicBezTo>
                    <a:pt x="183" y="4843"/>
                    <a:pt x="183" y="4843"/>
                    <a:pt x="190" y="4835"/>
                  </a:cubicBezTo>
                  <a:cubicBezTo>
                    <a:pt x="190" y="4828"/>
                    <a:pt x="197" y="4813"/>
                    <a:pt x="205" y="4799"/>
                  </a:cubicBezTo>
                  <a:cubicBezTo>
                    <a:pt x="226" y="4762"/>
                    <a:pt x="249" y="4711"/>
                    <a:pt x="293" y="4674"/>
                  </a:cubicBezTo>
                  <a:cubicBezTo>
                    <a:pt x="314" y="4660"/>
                    <a:pt x="329" y="4652"/>
                    <a:pt x="344" y="4645"/>
                  </a:cubicBezTo>
                  <a:cubicBezTo>
                    <a:pt x="351" y="4638"/>
                    <a:pt x="358" y="4638"/>
                    <a:pt x="381" y="4601"/>
                  </a:cubicBezTo>
                  <a:cubicBezTo>
                    <a:pt x="410" y="4535"/>
                    <a:pt x="454" y="4520"/>
                    <a:pt x="505" y="4499"/>
                  </a:cubicBezTo>
                  <a:cubicBezTo>
                    <a:pt x="520" y="4492"/>
                    <a:pt x="520" y="4492"/>
                    <a:pt x="520" y="4492"/>
                  </a:cubicBezTo>
                  <a:cubicBezTo>
                    <a:pt x="549" y="4484"/>
                    <a:pt x="571" y="4477"/>
                    <a:pt x="578" y="4477"/>
                  </a:cubicBezTo>
                  <a:cubicBezTo>
                    <a:pt x="586" y="4477"/>
                    <a:pt x="593" y="4477"/>
                    <a:pt x="593" y="4477"/>
                  </a:cubicBezTo>
                  <a:cubicBezTo>
                    <a:pt x="593" y="4477"/>
                    <a:pt x="593" y="4477"/>
                    <a:pt x="593" y="4470"/>
                  </a:cubicBezTo>
                  <a:cubicBezTo>
                    <a:pt x="593" y="4448"/>
                    <a:pt x="571" y="4426"/>
                    <a:pt x="571" y="4426"/>
                  </a:cubicBezTo>
                  <a:cubicBezTo>
                    <a:pt x="564" y="4411"/>
                    <a:pt x="564" y="4411"/>
                    <a:pt x="564" y="4411"/>
                  </a:cubicBezTo>
                  <a:cubicBezTo>
                    <a:pt x="644" y="4353"/>
                    <a:pt x="644" y="4353"/>
                    <a:pt x="644" y="4353"/>
                  </a:cubicBezTo>
                  <a:cubicBezTo>
                    <a:pt x="644" y="4353"/>
                    <a:pt x="637" y="4353"/>
                    <a:pt x="630" y="4353"/>
                  </a:cubicBezTo>
                  <a:cubicBezTo>
                    <a:pt x="630" y="4353"/>
                    <a:pt x="615" y="4353"/>
                    <a:pt x="608" y="4360"/>
                  </a:cubicBezTo>
                  <a:cubicBezTo>
                    <a:pt x="571" y="4382"/>
                    <a:pt x="527" y="4404"/>
                    <a:pt x="483" y="4404"/>
                  </a:cubicBezTo>
                  <a:cubicBezTo>
                    <a:pt x="461" y="4404"/>
                    <a:pt x="439" y="4397"/>
                    <a:pt x="417" y="4382"/>
                  </a:cubicBezTo>
                  <a:cubicBezTo>
                    <a:pt x="402" y="4375"/>
                    <a:pt x="395" y="4360"/>
                    <a:pt x="388" y="4345"/>
                  </a:cubicBezTo>
                  <a:cubicBezTo>
                    <a:pt x="381" y="4272"/>
                    <a:pt x="461" y="4170"/>
                    <a:pt x="468" y="4155"/>
                  </a:cubicBezTo>
                  <a:cubicBezTo>
                    <a:pt x="490" y="4133"/>
                    <a:pt x="512" y="4104"/>
                    <a:pt x="534" y="4067"/>
                  </a:cubicBezTo>
                  <a:cubicBezTo>
                    <a:pt x="556" y="4023"/>
                    <a:pt x="578" y="3979"/>
                    <a:pt x="615" y="3928"/>
                  </a:cubicBezTo>
                  <a:cubicBezTo>
                    <a:pt x="652" y="3884"/>
                    <a:pt x="681" y="3869"/>
                    <a:pt x="695" y="3854"/>
                  </a:cubicBezTo>
                  <a:cubicBezTo>
                    <a:pt x="717" y="3840"/>
                    <a:pt x="732" y="3832"/>
                    <a:pt x="740" y="3803"/>
                  </a:cubicBezTo>
                  <a:cubicBezTo>
                    <a:pt x="747" y="3774"/>
                    <a:pt x="747" y="3744"/>
                    <a:pt x="747" y="3715"/>
                  </a:cubicBezTo>
                  <a:cubicBezTo>
                    <a:pt x="740" y="3679"/>
                    <a:pt x="740" y="3627"/>
                    <a:pt x="762" y="3569"/>
                  </a:cubicBezTo>
                  <a:cubicBezTo>
                    <a:pt x="798" y="3503"/>
                    <a:pt x="776" y="3444"/>
                    <a:pt x="754" y="3378"/>
                  </a:cubicBezTo>
                  <a:cubicBezTo>
                    <a:pt x="754" y="3363"/>
                    <a:pt x="747" y="3342"/>
                    <a:pt x="740" y="3320"/>
                  </a:cubicBezTo>
                  <a:cubicBezTo>
                    <a:pt x="725" y="3275"/>
                    <a:pt x="710" y="3246"/>
                    <a:pt x="703" y="3224"/>
                  </a:cubicBezTo>
                  <a:cubicBezTo>
                    <a:pt x="688" y="3210"/>
                    <a:pt x="681" y="3188"/>
                    <a:pt x="674" y="3158"/>
                  </a:cubicBezTo>
                  <a:cubicBezTo>
                    <a:pt x="659" y="3114"/>
                    <a:pt x="637" y="3070"/>
                    <a:pt x="564" y="2997"/>
                  </a:cubicBezTo>
                  <a:cubicBezTo>
                    <a:pt x="527" y="2968"/>
                    <a:pt x="512" y="2939"/>
                    <a:pt x="512" y="2916"/>
                  </a:cubicBezTo>
                  <a:cubicBezTo>
                    <a:pt x="512" y="2894"/>
                    <a:pt x="534" y="2873"/>
                    <a:pt x="564" y="2851"/>
                  </a:cubicBezTo>
                  <a:cubicBezTo>
                    <a:pt x="578" y="2843"/>
                    <a:pt x="578" y="2836"/>
                    <a:pt x="578" y="2836"/>
                  </a:cubicBezTo>
                  <a:cubicBezTo>
                    <a:pt x="578" y="2821"/>
                    <a:pt x="534" y="2806"/>
                    <a:pt x="505" y="2792"/>
                  </a:cubicBezTo>
                  <a:cubicBezTo>
                    <a:pt x="490" y="2785"/>
                    <a:pt x="490" y="2785"/>
                    <a:pt x="490" y="2785"/>
                  </a:cubicBezTo>
                  <a:cubicBezTo>
                    <a:pt x="424" y="2763"/>
                    <a:pt x="410" y="2726"/>
                    <a:pt x="410" y="2660"/>
                  </a:cubicBezTo>
                  <a:cubicBezTo>
                    <a:pt x="410" y="2587"/>
                    <a:pt x="410" y="2557"/>
                    <a:pt x="366" y="2535"/>
                  </a:cubicBezTo>
                  <a:cubicBezTo>
                    <a:pt x="336" y="2528"/>
                    <a:pt x="307" y="2521"/>
                    <a:pt x="293" y="2521"/>
                  </a:cubicBezTo>
                  <a:cubicBezTo>
                    <a:pt x="271" y="2521"/>
                    <a:pt x="263" y="2528"/>
                    <a:pt x="256" y="2528"/>
                  </a:cubicBezTo>
                  <a:cubicBezTo>
                    <a:pt x="226" y="2535"/>
                    <a:pt x="226" y="2535"/>
                    <a:pt x="226" y="2535"/>
                  </a:cubicBezTo>
                  <a:cubicBezTo>
                    <a:pt x="241" y="2506"/>
                    <a:pt x="241" y="2506"/>
                    <a:pt x="241" y="2506"/>
                  </a:cubicBezTo>
                  <a:cubicBezTo>
                    <a:pt x="241" y="2499"/>
                    <a:pt x="271" y="2462"/>
                    <a:pt x="329" y="2440"/>
                  </a:cubicBezTo>
                  <a:cubicBezTo>
                    <a:pt x="351" y="2433"/>
                    <a:pt x="351" y="2418"/>
                    <a:pt x="351" y="2418"/>
                  </a:cubicBezTo>
                  <a:cubicBezTo>
                    <a:pt x="358" y="2396"/>
                    <a:pt x="336" y="2367"/>
                    <a:pt x="300" y="2345"/>
                  </a:cubicBezTo>
                  <a:cubicBezTo>
                    <a:pt x="271" y="2316"/>
                    <a:pt x="249" y="2279"/>
                    <a:pt x="256" y="2250"/>
                  </a:cubicBezTo>
                  <a:cubicBezTo>
                    <a:pt x="263" y="2235"/>
                    <a:pt x="278" y="2213"/>
                    <a:pt x="322" y="2206"/>
                  </a:cubicBezTo>
                  <a:cubicBezTo>
                    <a:pt x="395" y="2191"/>
                    <a:pt x="432" y="2176"/>
                    <a:pt x="446" y="2140"/>
                  </a:cubicBezTo>
                  <a:cubicBezTo>
                    <a:pt x="461" y="2111"/>
                    <a:pt x="490" y="2089"/>
                    <a:pt x="520" y="2089"/>
                  </a:cubicBezTo>
                  <a:cubicBezTo>
                    <a:pt x="527" y="2089"/>
                    <a:pt x="549" y="2089"/>
                    <a:pt x="564" y="2118"/>
                  </a:cubicBezTo>
                  <a:cubicBezTo>
                    <a:pt x="586" y="2154"/>
                    <a:pt x="608" y="2169"/>
                    <a:pt x="688" y="2169"/>
                  </a:cubicBezTo>
                  <a:cubicBezTo>
                    <a:pt x="695" y="2169"/>
                    <a:pt x="703" y="2169"/>
                    <a:pt x="703" y="2169"/>
                  </a:cubicBezTo>
                  <a:cubicBezTo>
                    <a:pt x="710" y="2154"/>
                    <a:pt x="659" y="2096"/>
                    <a:pt x="644" y="2074"/>
                  </a:cubicBezTo>
                  <a:cubicBezTo>
                    <a:pt x="630" y="2066"/>
                    <a:pt x="622" y="2052"/>
                    <a:pt x="615" y="2044"/>
                  </a:cubicBezTo>
                  <a:cubicBezTo>
                    <a:pt x="600" y="2023"/>
                    <a:pt x="608" y="2008"/>
                    <a:pt x="608" y="2001"/>
                  </a:cubicBezTo>
                  <a:cubicBezTo>
                    <a:pt x="622" y="1964"/>
                    <a:pt x="688" y="1964"/>
                    <a:pt x="695" y="1964"/>
                  </a:cubicBezTo>
                  <a:cubicBezTo>
                    <a:pt x="732" y="1964"/>
                    <a:pt x="747" y="2008"/>
                    <a:pt x="762" y="2044"/>
                  </a:cubicBezTo>
                  <a:cubicBezTo>
                    <a:pt x="769" y="2059"/>
                    <a:pt x="776" y="2074"/>
                    <a:pt x="783" y="2089"/>
                  </a:cubicBezTo>
                  <a:cubicBezTo>
                    <a:pt x="791" y="2111"/>
                    <a:pt x="813" y="2118"/>
                    <a:pt x="857" y="2118"/>
                  </a:cubicBezTo>
                  <a:cubicBezTo>
                    <a:pt x="879" y="2118"/>
                    <a:pt x="901" y="2118"/>
                    <a:pt x="923" y="2111"/>
                  </a:cubicBezTo>
                  <a:cubicBezTo>
                    <a:pt x="930" y="2111"/>
                    <a:pt x="937" y="2111"/>
                    <a:pt x="945" y="2111"/>
                  </a:cubicBezTo>
                  <a:cubicBezTo>
                    <a:pt x="1011" y="2111"/>
                    <a:pt x="1076" y="2154"/>
                    <a:pt x="1128" y="2191"/>
                  </a:cubicBezTo>
                  <a:cubicBezTo>
                    <a:pt x="1157" y="2220"/>
                    <a:pt x="1179" y="2228"/>
                    <a:pt x="1194" y="2228"/>
                  </a:cubicBezTo>
                  <a:cubicBezTo>
                    <a:pt x="1194" y="2228"/>
                    <a:pt x="1201" y="2228"/>
                    <a:pt x="1208" y="2213"/>
                  </a:cubicBezTo>
                  <a:cubicBezTo>
                    <a:pt x="1208" y="2198"/>
                    <a:pt x="1194" y="2184"/>
                    <a:pt x="1179" y="2162"/>
                  </a:cubicBezTo>
                  <a:cubicBezTo>
                    <a:pt x="1157" y="2147"/>
                    <a:pt x="1142" y="2125"/>
                    <a:pt x="1150" y="2096"/>
                  </a:cubicBezTo>
                  <a:cubicBezTo>
                    <a:pt x="1157" y="2081"/>
                    <a:pt x="1172" y="2074"/>
                    <a:pt x="1186" y="2074"/>
                  </a:cubicBezTo>
                  <a:cubicBezTo>
                    <a:pt x="1223" y="2074"/>
                    <a:pt x="1267" y="2103"/>
                    <a:pt x="1296" y="2140"/>
                  </a:cubicBezTo>
                  <a:cubicBezTo>
                    <a:pt x="1311" y="2154"/>
                    <a:pt x="1326" y="2154"/>
                    <a:pt x="1340" y="2154"/>
                  </a:cubicBezTo>
                  <a:cubicBezTo>
                    <a:pt x="1377" y="2154"/>
                    <a:pt x="1428" y="2125"/>
                    <a:pt x="1450" y="2103"/>
                  </a:cubicBezTo>
                  <a:cubicBezTo>
                    <a:pt x="1487" y="2066"/>
                    <a:pt x="1663" y="2001"/>
                    <a:pt x="1729" y="1979"/>
                  </a:cubicBezTo>
                  <a:cubicBezTo>
                    <a:pt x="1743" y="1971"/>
                    <a:pt x="1758" y="1964"/>
                    <a:pt x="1773" y="1964"/>
                  </a:cubicBezTo>
                  <a:cubicBezTo>
                    <a:pt x="1809" y="1964"/>
                    <a:pt x="1846" y="1979"/>
                    <a:pt x="1861" y="2044"/>
                  </a:cubicBezTo>
                  <a:cubicBezTo>
                    <a:pt x="1861" y="2052"/>
                    <a:pt x="1861" y="2052"/>
                    <a:pt x="1868" y="2052"/>
                  </a:cubicBezTo>
                  <a:cubicBezTo>
                    <a:pt x="1897" y="2052"/>
                    <a:pt x="1963" y="2001"/>
                    <a:pt x="1985" y="1949"/>
                  </a:cubicBezTo>
                  <a:cubicBezTo>
                    <a:pt x="2014" y="1905"/>
                    <a:pt x="2022" y="1883"/>
                    <a:pt x="2044" y="1854"/>
                  </a:cubicBezTo>
                  <a:cubicBezTo>
                    <a:pt x="2051" y="1847"/>
                    <a:pt x="2058" y="1832"/>
                    <a:pt x="2066" y="1810"/>
                  </a:cubicBezTo>
                  <a:cubicBezTo>
                    <a:pt x="2088" y="1781"/>
                    <a:pt x="2088" y="1773"/>
                    <a:pt x="2066" y="1751"/>
                  </a:cubicBezTo>
                  <a:cubicBezTo>
                    <a:pt x="2058" y="1744"/>
                    <a:pt x="2051" y="1737"/>
                    <a:pt x="2044" y="1730"/>
                  </a:cubicBezTo>
                  <a:cubicBezTo>
                    <a:pt x="2014" y="1693"/>
                    <a:pt x="1971" y="1656"/>
                    <a:pt x="1912" y="1620"/>
                  </a:cubicBezTo>
                  <a:cubicBezTo>
                    <a:pt x="1890" y="1605"/>
                    <a:pt x="1890" y="1605"/>
                    <a:pt x="1890" y="1605"/>
                  </a:cubicBezTo>
                  <a:cubicBezTo>
                    <a:pt x="1846" y="1575"/>
                    <a:pt x="1817" y="1554"/>
                    <a:pt x="1817" y="1524"/>
                  </a:cubicBezTo>
                  <a:cubicBezTo>
                    <a:pt x="1809" y="1510"/>
                    <a:pt x="1817" y="1495"/>
                    <a:pt x="1831" y="1473"/>
                  </a:cubicBezTo>
                  <a:cubicBezTo>
                    <a:pt x="1846" y="1451"/>
                    <a:pt x="1853" y="1444"/>
                    <a:pt x="1868" y="1444"/>
                  </a:cubicBezTo>
                  <a:cubicBezTo>
                    <a:pt x="1875" y="1444"/>
                    <a:pt x="1883" y="1451"/>
                    <a:pt x="1883" y="1451"/>
                  </a:cubicBezTo>
                  <a:cubicBezTo>
                    <a:pt x="1890" y="1451"/>
                    <a:pt x="1890" y="1451"/>
                    <a:pt x="1890" y="1451"/>
                  </a:cubicBezTo>
                  <a:cubicBezTo>
                    <a:pt x="1890" y="1451"/>
                    <a:pt x="1897" y="1444"/>
                    <a:pt x="1897" y="1436"/>
                  </a:cubicBezTo>
                  <a:cubicBezTo>
                    <a:pt x="1912" y="1407"/>
                    <a:pt x="1956" y="1326"/>
                    <a:pt x="2036" y="1326"/>
                  </a:cubicBezTo>
                  <a:cubicBezTo>
                    <a:pt x="2102" y="1326"/>
                    <a:pt x="2132" y="1326"/>
                    <a:pt x="2161" y="1297"/>
                  </a:cubicBezTo>
                  <a:cubicBezTo>
                    <a:pt x="2176" y="1290"/>
                    <a:pt x="2183" y="1261"/>
                    <a:pt x="2198" y="1231"/>
                  </a:cubicBezTo>
                  <a:cubicBezTo>
                    <a:pt x="2212" y="1194"/>
                    <a:pt x="2227" y="1151"/>
                    <a:pt x="2256" y="1129"/>
                  </a:cubicBezTo>
                  <a:cubicBezTo>
                    <a:pt x="2278" y="1106"/>
                    <a:pt x="2300" y="1106"/>
                    <a:pt x="2322" y="1106"/>
                  </a:cubicBezTo>
                  <a:cubicBezTo>
                    <a:pt x="2344" y="1106"/>
                    <a:pt x="2352" y="1106"/>
                    <a:pt x="2359" y="1085"/>
                  </a:cubicBezTo>
                  <a:cubicBezTo>
                    <a:pt x="2366" y="1077"/>
                    <a:pt x="2374" y="1070"/>
                    <a:pt x="2374" y="1063"/>
                  </a:cubicBezTo>
                  <a:cubicBezTo>
                    <a:pt x="2388" y="1026"/>
                    <a:pt x="2403" y="989"/>
                    <a:pt x="2476" y="975"/>
                  </a:cubicBezTo>
                  <a:cubicBezTo>
                    <a:pt x="2527" y="967"/>
                    <a:pt x="2564" y="945"/>
                    <a:pt x="2586" y="931"/>
                  </a:cubicBezTo>
                  <a:cubicBezTo>
                    <a:pt x="2593" y="931"/>
                    <a:pt x="2593" y="931"/>
                    <a:pt x="2593" y="931"/>
                  </a:cubicBezTo>
                  <a:lnTo>
                    <a:pt x="2593" y="931"/>
                  </a:lnTo>
                  <a:cubicBezTo>
                    <a:pt x="2645" y="931"/>
                    <a:pt x="2667" y="916"/>
                    <a:pt x="2681" y="901"/>
                  </a:cubicBezTo>
                  <a:cubicBezTo>
                    <a:pt x="2711" y="857"/>
                    <a:pt x="2798" y="850"/>
                    <a:pt x="2879" y="850"/>
                  </a:cubicBezTo>
                  <a:cubicBezTo>
                    <a:pt x="2901" y="850"/>
                    <a:pt x="2916" y="850"/>
                    <a:pt x="2930" y="843"/>
                  </a:cubicBezTo>
                  <a:cubicBezTo>
                    <a:pt x="2938" y="843"/>
                    <a:pt x="2945" y="843"/>
                    <a:pt x="2960" y="843"/>
                  </a:cubicBezTo>
                  <a:cubicBezTo>
                    <a:pt x="3018" y="828"/>
                    <a:pt x="3150" y="813"/>
                    <a:pt x="3202" y="762"/>
                  </a:cubicBezTo>
                  <a:cubicBezTo>
                    <a:pt x="3245" y="718"/>
                    <a:pt x="3333" y="660"/>
                    <a:pt x="3399" y="623"/>
                  </a:cubicBezTo>
                  <a:cubicBezTo>
                    <a:pt x="3421" y="608"/>
                    <a:pt x="3436" y="601"/>
                    <a:pt x="3451" y="594"/>
                  </a:cubicBezTo>
                  <a:cubicBezTo>
                    <a:pt x="3502" y="557"/>
                    <a:pt x="3546" y="528"/>
                    <a:pt x="3605" y="498"/>
                  </a:cubicBezTo>
                  <a:cubicBezTo>
                    <a:pt x="3648" y="476"/>
                    <a:pt x="3648" y="462"/>
                    <a:pt x="3656" y="447"/>
                  </a:cubicBezTo>
                  <a:cubicBezTo>
                    <a:pt x="3663" y="440"/>
                    <a:pt x="3663" y="432"/>
                    <a:pt x="3663" y="425"/>
                  </a:cubicBezTo>
                  <a:cubicBezTo>
                    <a:pt x="3670" y="425"/>
                    <a:pt x="3670" y="418"/>
                    <a:pt x="3678" y="411"/>
                  </a:cubicBezTo>
                  <a:cubicBezTo>
                    <a:pt x="3685" y="388"/>
                    <a:pt x="3693" y="381"/>
                    <a:pt x="3656" y="352"/>
                  </a:cubicBezTo>
                  <a:cubicBezTo>
                    <a:pt x="3634" y="337"/>
                    <a:pt x="3626" y="323"/>
                    <a:pt x="3619" y="308"/>
                  </a:cubicBezTo>
                  <a:cubicBezTo>
                    <a:pt x="3619" y="293"/>
                    <a:pt x="3634" y="279"/>
                    <a:pt x="3641" y="264"/>
                  </a:cubicBezTo>
                  <a:cubicBezTo>
                    <a:pt x="3656" y="256"/>
                    <a:pt x="3663" y="242"/>
                    <a:pt x="3663" y="235"/>
                  </a:cubicBezTo>
                  <a:cubicBezTo>
                    <a:pt x="3678" y="198"/>
                    <a:pt x="3700" y="161"/>
                    <a:pt x="3736" y="161"/>
                  </a:cubicBezTo>
                  <a:cubicBezTo>
                    <a:pt x="3751" y="161"/>
                    <a:pt x="3766" y="169"/>
                    <a:pt x="3780" y="176"/>
                  </a:cubicBezTo>
                  <a:cubicBezTo>
                    <a:pt x="3802" y="191"/>
                    <a:pt x="3824" y="205"/>
                    <a:pt x="3839" y="220"/>
                  </a:cubicBezTo>
                  <a:cubicBezTo>
                    <a:pt x="3854" y="235"/>
                    <a:pt x="3868" y="249"/>
                    <a:pt x="3890" y="256"/>
                  </a:cubicBezTo>
                  <a:cubicBezTo>
                    <a:pt x="3927" y="271"/>
                    <a:pt x="3927" y="308"/>
                    <a:pt x="3927" y="337"/>
                  </a:cubicBezTo>
                  <a:cubicBezTo>
                    <a:pt x="3927" y="352"/>
                    <a:pt x="3927" y="366"/>
                    <a:pt x="3934" y="388"/>
                  </a:cubicBezTo>
                  <a:cubicBezTo>
                    <a:pt x="3949" y="432"/>
                    <a:pt x="3978" y="440"/>
                    <a:pt x="4022" y="447"/>
                  </a:cubicBezTo>
                  <a:cubicBezTo>
                    <a:pt x="4059" y="454"/>
                    <a:pt x="4074" y="469"/>
                    <a:pt x="4095" y="491"/>
                  </a:cubicBezTo>
                  <a:cubicBezTo>
                    <a:pt x="4103" y="491"/>
                    <a:pt x="4110" y="498"/>
                    <a:pt x="4125" y="506"/>
                  </a:cubicBezTo>
                  <a:cubicBezTo>
                    <a:pt x="4139" y="520"/>
                    <a:pt x="4154" y="520"/>
                    <a:pt x="4176" y="520"/>
                  </a:cubicBezTo>
                  <a:cubicBezTo>
                    <a:pt x="4191" y="520"/>
                    <a:pt x="4213" y="520"/>
                    <a:pt x="4220" y="506"/>
                  </a:cubicBezTo>
                  <a:cubicBezTo>
                    <a:pt x="4235" y="498"/>
                    <a:pt x="4257" y="491"/>
                    <a:pt x="4286" y="491"/>
                  </a:cubicBezTo>
                  <a:cubicBezTo>
                    <a:pt x="4323" y="491"/>
                    <a:pt x="4367" y="506"/>
                    <a:pt x="4381" y="535"/>
                  </a:cubicBezTo>
                  <a:cubicBezTo>
                    <a:pt x="4388" y="557"/>
                    <a:pt x="4396" y="579"/>
                    <a:pt x="4403" y="594"/>
                  </a:cubicBezTo>
                  <a:cubicBezTo>
                    <a:pt x="4411" y="638"/>
                    <a:pt x="4418" y="660"/>
                    <a:pt x="4440" y="667"/>
                  </a:cubicBezTo>
                  <a:cubicBezTo>
                    <a:pt x="4476" y="674"/>
                    <a:pt x="4491" y="704"/>
                    <a:pt x="4491" y="725"/>
                  </a:cubicBezTo>
                  <a:cubicBezTo>
                    <a:pt x="4491" y="740"/>
                    <a:pt x="4476" y="770"/>
                    <a:pt x="4418" y="770"/>
                  </a:cubicBezTo>
                  <a:cubicBezTo>
                    <a:pt x="4396" y="777"/>
                    <a:pt x="4381" y="784"/>
                    <a:pt x="4381" y="792"/>
                  </a:cubicBezTo>
                  <a:cubicBezTo>
                    <a:pt x="4374" y="799"/>
                    <a:pt x="4381" y="821"/>
                    <a:pt x="4388" y="835"/>
                  </a:cubicBezTo>
                  <a:cubicBezTo>
                    <a:pt x="4396" y="850"/>
                    <a:pt x="4396" y="850"/>
                    <a:pt x="4396" y="850"/>
                  </a:cubicBezTo>
                  <a:cubicBezTo>
                    <a:pt x="4411" y="880"/>
                    <a:pt x="4411" y="887"/>
                    <a:pt x="4388" y="938"/>
                  </a:cubicBezTo>
                  <a:cubicBezTo>
                    <a:pt x="4381" y="953"/>
                    <a:pt x="4381" y="975"/>
                    <a:pt x="4381" y="989"/>
                  </a:cubicBezTo>
                  <a:cubicBezTo>
                    <a:pt x="4381" y="1019"/>
                    <a:pt x="4381" y="1048"/>
                    <a:pt x="4337" y="1070"/>
                  </a:cubicBezTo>
                  <a:cubicBezTo>
                    <a:pt x="4308" y="1085"/>
                    <a:pt x="4308" y="1092"/>
                    <a:pt x="4308" y="1099"/>
                  </a:cubicBezTo>
                  <a:cubicBezTo>
                    <a:pt x="4308" y="1099"/>
                    <a:pt x="4308" y="1114"/>
                    <a:pt x="4345" y="1136"/>
                  </a:cubicBezTo>
                  <a:cubicBezTo>
                    <a:pt x="4403" y="1173"/>
                    <a:pt x="4433" y="1187"/>
                    <a:pt x="4469" y="1187"/>
                  </a:cubicBezTo>
                  <a:cubicBezTo>
                    <a:pt x="4476" y="1187"/>
                    <a:pt x="4484" y="1187"/>
                    <a:pt x="4491" y="1187"/>
                  </a:cubicBezTo>
                  <a:cubicBezTo>
                    <a:pt x="4498" y="1187"/>
                    <a:pt x="4506" y="1180"/>
                    <a:pt x="4506" y="1180"/>
                  </a:cubicBezTo>
                  <a:cubicBezTo>
                    <a:pt x="4528" y="1180"/>
                    <a:pt x="4535" y="1187"/>
                    <a:pt x="4543" y="1194"/>
                  </a:cubicBezTo>
                  <a:cubicBezTo>
                    <a:pt x="4557" y="1216"/>
                    <a:pt x="4550" y="1246"/>
                    <a:pt x="4535" y="1290"/>
                  </a:cubicBezTo>
                  <a:cubicBezTo>
                    <a:pt x="4528" y="1304"/>
                    <a:pt x="4528" y="1319"/>
                    <a:pt x="4528" y="1334"/>
                  </a:cubicBezTo>
                  <a:cubicBezTo>
                    <a:pt x="4528" y="1363"/>
                    <a:pt x="4520" y="1400"/>
                    <a:pt x="4455" y="1422"/>
                  </a:cubicBezTo>
                  <a:cubicBezTo>
                    <a:pt x="4440" y="1429"/>
                    <a:pt x="4440" y="1429"/>
                    <a:pt x="4440" y="1429"/>
                  </a:cubicBezTo>
                  <a:cubicBezTo>
                    <a:pt x="4381" y="1444"/>
                    <a:pt x="4374" y="1444"/>
                    <a:pt x="4330" y="1480"/>
                  </a:cubicBezTo>
                  <a:cubicBezTo>
                    <a:pt x="4315" y="1495"/>
                    <a:pt x="4293" y="1510"/>
                    <a:pt x="4293" y="1517"/>
                  </a:cubicBezTo>
                  <a:cubicBezTo>
                    <a:pt x="4293" y="1524"/>
                    <a:pt x="4293" y="1524"/>
                    <a:pt x="4323" y="1546"/>
                  </a:cubicBezTo>
                  <a:cubicBezTo>
                    <a:pt x="4352" y="1561"/>
                    <a:pt x="4367" y="1583"/>
                    <a:pt x="4381" y="1605"/>
                  </a:cubicBezTo>
                  <a:cubicBezTo>
                    <a:pt x="4396" y="1620"/>
                    <a:pt x="4396" y="1627"/>
                    <a:pt x="4411" y="1627"/>
                  </a:cubicBezTo>
                  <a:cubicBezTo>
                    <a:pt x="4418" y="1627"/>
                    <a:pt x="4418" y="1627"/>
                    <a:pt x="4425" y="1627"/>
                  </a:cubicBezTo>
                  <a:cubicBezTo>
                    <a:pt x="4484" y="1612"/>
                    <a:pt x="4513" y="1590"/>
                    <a:pt x="4535" y="1568"/>
                  </a:cubicBezTo>
                  <a:cubicBezTo>
                    <a:pt x="4557" y="1532"/>
                    <a:pt x="4594" y="1532"/>
                    <a:pt x="4623" y="1532"/>
                  </a:cubicBezTo>
                  <a:cubicBezTo>
                    <a:pt x="4638" y="1532"/>
                    <a:pt x="4660" y="1532"/>
                    <a:pt x="4682" y="1532"/>
                  </a:cubicBezTo>
                  <a:cubicBezTo>
                    <a:pt x="4711" y="1539"/>
                    <a:pt x="4733" y="1539"/>
                    <a:pt x="4755" y="1539"/>
                  </a:cubicBezTo>
                  <a:cubicBezTo>
                    <a:pt x="4792" y="1539"/>
                    <a:pt x="4821" y="1532"/>
                    <a:pt x="4843" y="1517"/>
                  </a:cubicBezTo>
                  <a:cubicBezTo>
                    <a:pt x="4872" y="1502"/>
                    <a:pt x="4879" y="1495"/>
                    <a:pt x="4894" y="1473"/>
                  </a:cubicBezTo>
                  <a:cubicBezTo>
                    <a:pt x="4902" y="1458"/>
                    <a:pt x="4909" y="1444"/>
                    <a:pt x="4924" y="1422"/>
                  </a:cubicBezTo>
                  <a:cubicBezTo>
                    <a:pt x="4938" y="1407"/>
                    <a:pt x="4945" y="1400"/>
                    <a:pt x="4953" y="1385"/>
                  </a:cubicBezTo>
                  <a:cubicBezTo>
                    <a:pt x="4975" y="1356"/>
                    <a:pt x="4989" y="1326"/>
                    <a:pt x="5033" y="1326"/>
                  </a:cubicBezTo>
                  <a:cubicBezTo>
                    <a:pt x="5041" y="1326"/>
                    <a:pt x="5048" y="1326"/>
                    <a:pt x="5048" y="1326"/>
                  </a:cubicBezTo>
                  <a:cubicBezTo>
                    <a:pt x="5063" y="1334"/>
                    <a:pt x="5070" y="1334"/>
                    <a:pt x="5077" y="1334"/>
                  </a:cubicBezTo>
                  <a:cubicBezTo>
                    <a:pt x="5092" y="1334"/>
                    <a:pt x="5099" y="1326"/>
                    <a:pt x="5114" y="1326"/>
                  </a:cubicBezTo>
                  <a:cubicBezTo>
                    <a:pt x="5121" y="1326"/>
                    <a:pt x="5136" y="1326"/>
                    <a:pt x="5143" y="1326"/>
                  </a:cubicBezTo>
                  <a:cubicBezTo>
                    <a:pt x="5165" y="1326"/>
                    <a:pt x="5187" y="1334"/>
                    <a:pt x="5202" y="1356"/>
                  </a:cubicBezTo>
                  <a:cubicBezTo>
                    <a:pt x="5224" y="1378"/>
                    <a:pt x="5260" y="1400"/>
                    <a:pt x="5283" y="1400"/>
                  </a:cubicBezTo>
                  <a:cubicBezTo>
                    <a:pt x="5290" y="1400"/>
                    <a:pt x="5297" y="1400"/>
                    <a:pt x="5297" y="1392"/>
                  </a:cubicBezTo>
                  <a:cubicBezTo>
                    <a:pt x="5312" y="1341"/>
                    <a:pt x="5334" y="1297"/>
                    <a:pt x="5400" y="1268"/>
                  </a:cubicBezTo>
                  <a:cubicBezTo>
                    <a:pt x="5414" y="1261"/>
                    <a:pt x="5414" y="1261"/>
                    <a:pt x="5414" y="1261"/>
                  </a:cubicBezTo>
                  <a:cubicBezTo>
                    <a:pt x="5458" y="1246"/>
                    <a:pt x="5539" y="1216"/>
                    <a:pt x="5524" y="1187"/>
                  </a:cubicBezTo>
                  <a:cubicBezTo>
                    <a:pt x="5517" y="1165"/>
                    <a:pt x="5502" y="1158"/>
                    <a:pt x="5480" y="1151"/>
                  </a:cubicBezTo>
                  <a:cubicBezTo>
                    <a:pt x="5466" y="1143"/>
                    <a:pt x="5451" y="1136"/>
                    <a:pt x="5436" y="1129"/>
                  </a:cubicBezTo>
                  <a:cubicBezTo>
                    <a:pt x="5414" y="1106"/>
                    <a:pt x="5407" y="1099"/>
                    <a:pt x="5422" y="1070"/>
                  </a:cubicBezTo>
                  <a:cubicBezTo>
                    <a:pt x="5422" y="1063"/>
                    <a:pt x="5429" y="1048"/>
                    <a:pt x="5436" y="1026"/>
                  </a:cubicBezTo>
                  <a:cubicBezTo>
                    <a:pt x="5458" y="931"/>
                    <a:pt x="5480" y="747"/>
                    <a:pt x="5451" y="725"/>
                  </a:cubicBezTo>
                  <a:cubicBezTo>
                    <a:pt x="5414" y="689"/>
                    <a:pt x="5407" y="667"/>
                    <a:pt x="5400" y="608"/>
                  </a:cubicBezTo>
                  <a:cubicBezTo>
                    <a:pt x="5393" y="550"/>
                    <a:pt x="5334" y="513"/>
                    <a:pt x="5283" y="498"/>
                  </a:cubicBezTo>
                  <a:cubicBezTo>
                    <a:pt x="5217" y="484"/>
                    <a:pt x="5165" y="440"/>
                    <a:pt x="5143" y="396"/>
                  </a:cubicBezTo>
                  <a:cubicBezTo>
                    <a:pt x="5143" y="388"/>
                    <a:pt x="5136" y="381"/>
                    <a:pt x="5136" y="374"/>
                  </a:cubicBezTo>
                  <a:cubicBezTo>
                    <a:pt x="5121" y="337"/>
                    <a:pt x="5099" y="301"/>
                    <a:pt x="5114" y="279"/>
                  </a:cubicBezTo>
                  <a:cubicBezTo>
                    <a:pt x="5121" y="264"/>
                    <a:pt x="5136" y="256"/>
                    <a:pt x="5158" y="256"/>
                  </a:cubicBezTo>
                  <a:cubicBezTo>
                    <a:pt x="5195" y="256"/>
                    <a:pt x="5217" y="264"/>
                    <a:pt x="5231" y="271"/>
                  </a:cubicBezTo>
                  <a:cubicBezTo>
                    <a:pt x="5253" y="271"/>
                    <a:pt x="5268" y="279"/>
                    <a:pt x="5283" y="279"/>
                  </a:cubicBezTo>
                  <a:cubicBezTo>
                    <a:pt x="5290" y="279"/>
                    <a:pt x="5297" y="279"/>
                    <a:pt x="5312" y="279"/>
                  </a:cubicBezTo>
                  <a:cubicBezTo>
                    <a:pt x="5326" y="271"/>
                    <a:pt x="5334" y="271"/>
                    <a:pt x="5348" y="271"/>
                  </a:cubicBezTo>
                  <a:cubicBezTo>
                    <a:pt x="5385" y="271"/>
                    <a:pt x="5385" y="271"/>
                    <a:pt x="5385" y="271"/>
                  </a:cubicBezTo>
                  <a:cubicBezTo>
                    <a:pt x="5414" y="271"/>
                    <a:pt x="5429" y="271"/>
                    <a:pt x="5436" y="242"/>
                  </a:cubicBezTo>
                  <a:cubicBezTo>
                    <a:pt x="5436" y="220"/>
                    <a:pt x="5436" y="205"/>
                    <a:pt x="5429" y="191"/>
                  </a:cubicBezTo>
                  <a:cubicBezTo>
                    <a:pt x="5422" y="169"/>
                    <a:pt x="5407" y="139"/>
                    <a:pt x="5451" y="117"/>
                  </a:cubicBezTo>
                  <a:cubicBezTo>
                    <a:pt x="5466" y="103"/>
                    <a:pt x="5480" y="88"/>
                    <a:pt x="5488" y="73"/>
                  </a:cubicBezTo>
                  <a:cubicBezTo>
                    <a:pt x="5502" y="59"/>
                    <a:pt x="5517" y="37"/>
                    <a:pt x="5546" y="37"/>
                  </a:cubicBezTo>
                  <a:cubicBezTo>
                    <a:pt x="5576" y="37"/>
                    <a:pt x="5583" y="59"/>
                    <a:pt x="5590" y="66"/>
                  </a:cubicBezTo>
                  <a:cubicBezTo>
                    <a:pt x="5597" y="81"/>
                    <a:pt x="5597" y="81"/>
                    <a:pt x="5612" y="81"/>
                  </a:cubicBezTo>
                  <a:cubicBezTo>
                    <a:pt x="5619" y="81"/>
                    <a:pt x="5627" y="81"/>
                    <a:pt x="5634" y="81"/>
                  </a:cubicBezTo>
                  <a:cubicBezTo>
                    <a:pt x="5656" y="73"/>
                    <a:pt x="5656" y="73"/>
                    <a:pt x="5656" y="73"/>
                  </a:cubicBezTo>
                  <a:cubicBezTo>
                    <a:pt x="5715" y="59"/>
                    <a:pt x="5729" y="59"/>
                    <a:pt x="5774" y="29"/>
                  </a:cubicBezTo>
                  <a:cubicBezTo>
                    <a:pt x="5803" y="15"/>
                    <a:pt x="5825" y="0"/>
                    <a:pt x="5839" y="0"/>
                  </a:cubicBezTo>
                  <a:cubicBezTo>
                    <a:pt x="5861" y="0"/>
                    <a:pt x="5883" y="15"/>
                    <a:pt x="5905" y="29"/>
                  </a:cubicBezTo>
                  <a:cubicBezTo>
                    <a:pt x="5935" y="51"/>
                    <a:pt x="5935" y="81"/>
                    <a:pt x="5935" y="110"/>
                  </a:cubicBezTo>
                  <a:cubicBezTo>
                    <a:pt x="5942" y="132"/>
                    <a:pt x="5942" y="154"/>
                    <a:pt x="5957" y="169"/>
                  </a:cubicBezTo>
                  <a:cubicBezTo>
                    <a:pt x="5986" y="220"/>
                    <a:pt x="6001" y="308"/>
                    <a:pt x="5979" y="344"/>
                  </a:cubicBezTo>
                  <a:cubicBezTo>
                    <a:pt x="5971" y="366"/>
                    <a:pt x="5957" y="388"/>
                    <a:pt x="5964" y="411"/>
                  </a:cubicBezTo>
                  <a:cubicBezTo>
                    <a:pt x="5971" y="418"/>
                    <a:pt x="5986" y="432"/>
                    <a:pt x="6008" y="440"/>
                  </a:cubicBezTo>
                  <a:cubicBezTo>
                    <a:pt x="6030" y="447"/>
                    <a:pt x="6110" y="469"/>
                    <a:pt x="6184" y="469"/>
                  </a:cubicBezTo>
                  <a:cubicBezTo>
                    <a:pt x="6220" y="469"/>
                    <a:pt x="6250" y="462"/>
                    <a:pt x="6264" y="454"/>
                  </a:cubicBezTo>
                  <a:cubicBezTo>
                    <a:pt x="6294" y="440"/>
                    <a:pt x="6330" y="440"/>
                    <a:pt x="6367" y="432"/>
                  </a:cubicBezTo>
                  <a:cubicBezTo>
                    <a:pt x="6426" y="425"/>
                    <a:pt x="6455" y="418"/>
                    <a:pt x="6462" y="388"/>
                  </a:cubicBezTo>
                  <a:cubicBezTo>
                    <a:pt x="6469" y="344"/>
                    <a:pt x="6484" y="323"/>
                    <a:pt x="6506" y="301"/>
                  </a:cubicBezTo>
                  <a:cubicBezTo>
                    <a:pt x="6521" y="286"/>
                    <a:pt x="6536" y="271"/>
                    <a:pt x="6550" y="242"/>
                  </a:cubicBezTo>
                  <a:cubicBezTo>
                    <a:pt x="6572" y="176"/>
                    <a:pt x="6594" y="132"/>
                    <a:pt x="6653" y="125"/>
                  </a:cubicBezTo>
                  <a:cubicBezTo>
                    <a:pt x="6660" y="117"/>
                    <a:pt x="6675" y="117"/>
                    <a:pt x="6682" y="117"/>
                  </a:cubicBezTo>
                  <a:cubicBezTo>
                    <a:pt x="6704" y="110"/>
                    <a:pt x="6719" y="110"/>
                    <a:pt x="6741" y="110"/>
                  </a:cubicBezTo>
                  <a:cubicBezTo>
                    <a:pt x="6770" y="110"/>
                    <a:pt x="6792" y="117"/>
                    <a:pt x="6814" y="132"/>
                  </a:cubicBezTo>
                  <a:cubicBezTo>
                    <a:pt x="6836" y="154"/>
                    <a:pt x="6836" y="176"/>
                    <a:pt x="6836" y="191"/>
                  </a:cubicBezTo>
                  <a:cubicBezTo>
                    <a:pt x="6829" y="227"/>
                    <a:pt x="6792" y="256"/>
                    <a:pt x="6770" y="271"/>
                  </a:cubicBezTo>
                  <a:cubicBezTo>
                    <a:pt x="6763" y="279"/>
                    <a:pt x="6755" y="286"/>
                    <a:pt x="6755" y="301"/>
                  </a:cubicBezTo>
                  <a:cubicBezTo>
                    <a:pt x="6755" y="315"/>
                    <a:pt x="6763" y="337"/>
                    <a:pt x="6785" y="344"/>
                  </a:cubicBezTo>
                  <a:cubicBezTo>
                    <a:pt x="6807" y="359"/>
                    <a:pt x="6814" y="374"/>
                    <a:pt x="6821" y="396"/>
                  </a:cubicBezTo>
                  <a:cubicBezTo>
                    <a:pt x="6829" y="425"/>
                    <a:pt x="6814" y="447"/>
                    <a:pt x="6792" y="476"/>
                  </a:cubicBezTo>
                  <a:cubicBezTo>
                    <a:pt x="6785" y="491"/>
                    <a:pt x="6777" y="513"/>
                    <a:pt x="6763" y="535"/>
                  </a:cubicBezTo>
                  <a:cubicBezTo>
                    <a:pt x="6741" y="586"/>
                    <a:pt x="6719" y="645"/>
                    <a:pt x="6667" y="652"/>
                  </a:cubicBezTo>
                  <a:cubicBezTo>
                    <a:pt x="6601" y="660"/>
                    <a:pt x="6572" y="667"/>
                    <a:pt x="6550" y="718"/>
                  </a:cubicBezTo>
                  <a:cubicBezTo>
                    <a:pt x="6543" y="733"/>
                    <a:pt x="6536" y="747"/>
                    <a:pt x="6536" y="755"/>
                  </a:cubicBezTo>
                  <a:cubicBezTo>
                    <a:pt x="6514" y="799"/>
                    <a:pt x="6506" y="821"/>
                    <a:pt x="6521" y="843"/>
                  </a:cubicBezTo>
                  <a:cubicBezTo>
                    <a:pt x="6536" y="857"/>
                    <a:pt x="6543" y="865"/>
                    <a:pt x="6550" y="880"/>
                  </a:cubicBezTo>
                  <a:cubicBezTo>
                    <a:pt x="6565" y="909"/>
                    <a:pt x="6579" y="923"/>
                    <a:pt x="6609" y="938"/>
                  </a:cubicBezTo>
                  <a:cubicBezTo>
                    <a:pt x="6624" y="945"/>
                    <a:pt x="6631" y="945"/>
                    <a:pt x="6645" y="953"/>
                  </a:cubicBezTo>
                  <a:cubicBezTo>
                    <a:pt x="6689" y="967"/>
                    <a:pt x="6719" y="982"/>
                    <a:pt x="6719" y="1004"/>
                  </a:cubicBezTo>
                  <a:cubicBezTo>
                    <a:pt x="6726" y="1011"/>
                    <a:pt x="6719" y="1026"/>
                    <a:pt x="6704" y="1033"/>
                  </a:cubicBezTo>
                  <a:cubicBezTo>
                    <a:pt x="6697" y="1041"/>
                    <a:pt x="6682" y="1048"/>
                    <a:pt x="6675" y="1055"/>
                  </a:cubicBezTo>
                  <a:cubicBezTo>
                    <a:pt x="6645" y="1070"/>
                    <a:pt x="6638" y="1077"/>
                    <a:pt x="6645" y="1085"/>
                  </a:cubicBezTo>
                  <a:cubicBezTo>
                    <a:pt x="6653" y="1129"/>
                    <a:pt x="6638" y="1158"/>
                    <a:pt x="6601" y="1180"/>
                  </a:cubicBezTo>
                  <a:cubicBezTo>
                    <a:pt x="6579" y="1194"/>
                    <a:pt x="6579" y="1238"/>
                    <a:pt x="6587" y="1261"/>
                  </a:cubicBezTo>
                  <a:cubicBezTo>
                    <a:pt x="6587" y="1275"/>
                    <a:pt x="6601" y="1304"/>
                    <a:pt x="6689" y="1304"/>
                  </a:cubicBezTo>
                  <a:cubicBezTo>
                    <a:pt x="6755" y="1304"/>
                    <a:pt x="6755" y="1304"/>
                    <a:pt x="6755" y="1304"/>
                  </a:cubicBezTo>
                  <a:cubicBezTo>
                    <a:pt x="6807" y="1304"/>
                    <a:pt x="6850" y="1304"/>
                    <a:pt x="6865" y="1348"/>
                  </a:cubicBezTo>
                  <a:cubicBezTo>
                    <a:pt x="6873" y="1378"/>
                    <a:pt x="6873" y="1400"/>
                    <a:pt x="6865" y="1414"/>
                  </a:cubicBezTo>
                  <a:cubicBezTo>
                    <a:pt x="6865" y="1429"/>
                    <a:pt x="6865" y="1444"/>
                    <a:pt x="6865" y="1451"/>
                  </a:cubicBezTo>
                  <a:cubicBezTo>
                    <a:pt x="6873" y="1473"/>
                    <a:pt x="6902" y="1495"/>
                    <a:pt x="6924" y="1510"/>
                  </a:cubicBezTo>
                  <a:cubicBezTo>
                    <a:pt x="6931" y="1517"/>
                    <a:pt x="6931" y="1517"/>
                    <a:pt x="6931" y="1517"/>
                  </a:cubicBezTo>
                  <a:cubicBezTo>
                    <a:pt x="6931" y="1524"/>
                    <a:pt x="6931" y="1524"/>
                    <a:pt x="6931" y="1524"/>
                  </a:cubicBezTo>
                  <a:cubicBezTo>
                    <a:pt x="6931" y="1524"/>
                    <a:pt x="6946" y="1612"/>
                    <a:pt x="6953" y="1663"/>
                  </a:cubicBezTo>
                  <a:cubicBezTo>
                    <a:pt x="6960" y="1707"/>
                    <a:pt x="6968" y="1781"/>
                    <a:pt x="6938" y="1825"/>
                  </a:cubicBezTo>
                  <a:cubicBezTo>
                    <a:pt x="6931" y="1839"/>
                    <a:pt x="6931" y="1861"/>
                    <a:pt x="6938" y="1876"/>
                  </a:cubicBezTo>
                  <a:cubicBezTo>
                    <a:pt x="6946" y="1876"/>
                    <a:pt x="6953" y="1891"/>
                    <a:pt x="6968" y="1891"/>
                  </a:cubicBezTo>
                  <a:cubicBezTo>
                    <a:pt x="6983" y="1891"/>
                    <a:pt x="6990" y="1883"/>
                    <a:pt x="7004" y="1876"/>
                  </a:cubicBezTo>
                  <a:cubicBezTo>
                    <a:pt x="7026" y="1861"/>
                    <a:pt x="7048" y="1854"/>
                    <a:pt x="7063" y="1854"/>
                  </a:cubicBezTo>
                  <a:cubicBezTo>
                    <a:pt x="7114" y="1854"/>
                    <a:pt x="7144" y="1898"/>
                    <a:pt x="7144" y="1949"/>
                  </a:cubicBezTo>
                  <a:cubicBezTo>
                    <a:pt x="7144" y="1993"/>
                    <a:pt x="7166" y="2044"/>
                    <a:pt x="7202" y="2044"/>
                  </a:cubicBezTo>
                  <a:cubicBezTo>
                    <a:pt x="7246" y="2044"/>
                    <a:pt x="7276" y="2096"/>
                    <a:pt x="7276" y="2184"/>
                  </a:cubicBezTo>
                  <a:cubicBezTo>
                    <a:pt x="7276" y="2213"/>
                    <a:pt x="7283" y="2220"/>
                    <a:pt x="7290" y="2220"/>
                  </a:cubicBezTo>
                  <a:cubicBezTo>
                    <a:pt x="7298" y="2228"/>
                    <a:pt x="7319" y="2235"/>
                    <a:pt x="7341" y="2235"/>
                  </a:cubicBezTo>
                  <a:cubicBezTo>
                    <a:pt x="7364" y="2235"/>
                    <a:pt x="7378" y="2235"/>
                    <a:pt x="7400" y="2228"/>
                  </a:cubicBezTo>
                  <a:cubicBezTo>
                    <a:pt x="7407" y="2228"/>
                    <a:pt x="7415" y="2228"/>
                    <a:pt x="7415" y="2228"/>
                  </a:cubicBezTo>
                  <a:cubicBezTo>
                    <a:pt x="7451" y="2228"/>
                    <a:pt x="7466" y="2242"/>
                    <a:pt x="7474" y="2257"/>
                  </a:cubicBezTo>
                  <a:cubicBezTo>
                    <a:pt x="7488" y="2294"/>
                    <a:pt x="7474" y="2338"/>
                    <a:pt x="7451" y="2374"/>
                  </a:cubicBezTo>
                  <a:cubicBezTo>
                    <a:pt x="7437" y="2389"/>
                    <a:pt x="7437" y="2389"/>
                    <a:pt x="7444" y="2396"/>
                  </a:cubicBezTo>
                  <a:cubicBezTo>
                    <a:pt x="7459" y="2411"/>
                    <a:pt x="7466" y="2418"/>
                    <a:pt x="7466" y="2447"/>
                  </a:cubicBezTo>
                  <a:cubicBezTo>
                    <a:pt x="7466" y="2506"/>
                    <a:pt x="7422" y="2550"/>
                    <a:pt x="7386" y="2580"/>
                  </a:cubicBezTo>
                  <a:cubicBezTo>
                    <a:pt x="7364" y="2601"/>
                    <a:pt x="7356" y="2623"/>
                    <a:pt x="7371" y="2682"/>
                  </a:cubicBezTo>
                  <a:cubicBezTo>
                    <a:pt x="7371" y="2704"/>
                    <a:pt x="7378" y="2719"/>
                    <a:pt x="7386" y="2741"/>
                  </a:cubicBezTo>
                  <a:cubicBezTo>
                    <a:pt x="7400" y="2770"/>
                    <a:pt x="7415" y="2806"/>
                    <a:pt x="7378" y="2843"/>
                  </a:cubicBezTo>
                  <a:cubicBezTo>
                    <a:pt x="7371" y="2851"/>
                    <a:pt x="7371" y="2851"/>
                    <a:pt x="7364" y="2858"/>
                  </a:cubicBezTo>
                  <a:cubicBezTo>
                    <a:pt x="7341" y="2880"/>
                    <a:pt x="7319" y="2902"/>
                    <a:pt x="7319" y="2916"/>
                  </a:cubicBezTo>
                  <a:cubicBezTo>
                    <a:pt x="7319" y="2924"/>
                    <a:pt x="7327" y="2931"/>
                    <a:pt x="7334" y="2939"/>
                  </a:cubicBezTo>
                  <a:cubicBezTo>
                    <a:pt x="7364" y="2961"/>
                    <a:pt x="7393" y="2968"/>
                    <a:pt x="7415" y="2968"/>
                  </a:cubicBezTo>
                  <a:cubicBezTo>
                    <a:pt x="7422" y="2968"/>
                    <a:pt x="7429" y="2968"/>
                    <a:pt x="7429" y="2968"/>
                  </a:cubicBezTo>
                  <a:cubicBezTo>
                    <a:pt x="7444" y="2961"/>
                    <a:pt x="7451" y="2961"/>
                    <a:pt x="7451" y="2961"/>
                  </a:cubicBezTo>
                  <a:cubicBezTo>
                    <a:pt x="7481" y="2953"/>
                    <a:pt x="7481" y="2953"/>
                    <a:pt x="7481" y="2953"/>
                  </a:cubicBezTo>
                  <a:cubicBezTo>
                    <a:pt x="7466" y="2982"/>
                    <a:pt x="7466" y="2982"/>
                    <a:pt x="7466" y="2982"/>
                  </a:cubicBezTo>
                  <a:cubicBezTo>
                    <a:pt x="7466" y="2990"/>
                    <a:pt x="7429" y="3048"/>
                    <a:pt x="7364" y="3048"/>
                  </a:cubicBezTo>
                  <a:cubicBezTo>
                    <a:pt x="7312" y="3048"/>
                    <a:pt x="7268" y="3063"/>
                    <a:pt x="7268" y="3092"/>
                  </a:cubicBezTo>
                  <a:cubicBezTo>
                    <a:pt x="7268" y="3107"/>
                    <a:pt x="7268" y="3107"/>
                    <a:pt x="7283" y="3114"/>
                  </a:cubicBezTo>
                  <a:cubicBezTo>
                    <a:pt x="7298" y="3122"/>
                    <a:pt x="7327" y="3136"/>
                    <a:pt x="7305" y="3180"/>
                  </a:cubicBezTo>
                  <a:cubicBezTo>
                    <a:pt x="7283" y="3224"/>
                    <a:pt x="7239" y="3320"/>
                    <a:pt x="7195" y="3363"/>
                  </a:cubicBezTo>
                  <a:cubicBezTo>
                    <a:pt x="7085" y="3466"/>
                    <a:pt x="7019" y="3532"/>
                    <a:pt x="6990" y="3561"/>
                  </a:cubicBezTo>
                  <a:cubicBezTo>
                    <a:pt x="6975" y="3569"/>
                    <a:pt x="6968" y="3576"/>
                    <a:pt x="6953" y="3591"/>
                  </a:cubicBezTo>
                  <a:cubicBezTo>
                    <a:pt x="6931" y="3620"/>
                    <a:pt x="6902" y="3656"/>
                    <a:pt x="6843" y="3656"/>
                  </a:cubicBezTo>
                  <a:cubicBezTo>
                    <a:pt x="6843" y="3656"/>
                    <a:pt x="6836" y="3656"/>
                    <a:pt x="6829" y="3656"/>
                  </a:cubicBezTo>
                  <a:cubicBezTo>
                    <a:pt x="6785" y="3649"/>
                    <a:pt x="6755" y="3627"/>
                    <a:pt x="6733" y="3598"/>
                  </a:cubicBezTo>
                  <a:cubicBezTo>
                    <a:pt x="6719" y="3569"/>
                    <a:pt x="6719" y="3539"/>
                    <a:pt x="6733" y="3517"/>
                  </a:cubicBezTo>
                  <a:cubicBezTo>
                    <a:pt x="6741" y="3503"/>
                    <a:pt x="6748" y="3488"/>
                    <a:pt x="6741" y="3481"/>
                  </a:cubicBezTo>
                  <a:cubicBezTo>
                    <a:pt x="6741" y="3473"/>
                    <a:pt x="6719" y="3466"/>
                    <a:pt x="6689" y="3459"/>
                  </a:cubicBezTo>
                  <a:cubicBezTo>
                    <a:pt x="6675" y="3451"/>
                    <a:pt x="6653" y="3437"/>
                    <a:pt x="6638" y="3422"/>
                  </a:cubicBezTo>
                  <a:cubicBezTo>
                    <a:pt x="6616" y="3407"/>
                    <a:pt x="6601" y="3393"/>
                    <a:pt x="6579" y="3393"/>
                  </a:cubicBezTo>
                  <a:cubicBezTo>
                    <a:pt x="6572" y="3393"/>
                    <a:pt x="6565" y="3393"/>
                    <a:pt x="6557" y="3400"/>
                  </a:cubicBezTo>
                  <a:cubicBezTo>
                    <a:pt x="6543" y="3407"/>
                    <a:pt x="6521" y="3415"/>
                    <a:pt x="6499" y="3422"/>
                  </a:cubicBezTo>
                  <a:cubicBezTo>
                    <a:pt x="6448" y="3444"/>
                    <a:pt x="6389" y="3459"/>
                    <a:pt x="6352" y="3488"/>
                  </a:cubicBezTo>
                  <a:cubicBezTo>
                    <a:pt x="6330" y="3503"/>
                    <a:pt x="6316" y="3517"/>
                    <a:pt x="6316" y="3525"/>
                  </a:cubicBezTo>
                  <a:cubicBezTo>
                    <a:pt x="6316" y="3539"/>
                    <a:pt x="6330" y="3554"/>
                    <a:pt x="6352" y="3576"/>
                  </a:cubicBezTo>
                  <a:cubicBezTo>
                    <a:pt x="6374" y="3605"/>
                    <a:pt x="6396" y="3620"/>
                    <a:pt x="6411" y="3635"/>
                  </a:cubicBezTo>
                  <a:cubicBezTo>
                    <a:pt x="6433" y="3649"/>
                    <a:pt x="6455" y="3664"/>
                    <a:pt x="6462" y="3686"/>
                  </a:cubicBezTo>
                  <a:cubicBezTo>
                    <a:pt x="6477" y="3708"/>
                    <a:pt x="6492" y="3737"/>
                    <a:pt x="6477" y="3766"/>
                  </a:cubicBezTo>
                  <a:cubicBezTo>
                    <a:pt x="6462" y="3789"/>
                    <a:pt x="6448" y="3803"/>
                    <a:pt x="6411" y="3811"/>
                  </a:cubicBezTo>
                  <a:cubicBezTo>
                    <a:pt x="6396" y="3811"/>
                    <a:pt x="6374" y="3818"/>
                    <a:pt x="6352" y="3825"/>
                  </a:cubicBezTo>
                  <a:cubicBezTo>
                    <a:pt x="6316" y="3832"/>
                    <a:pt x="6272" y="3847"/>
                    <a:pt x="6235" y="3847"/>
                  </a:cubicBezTo>
                  <a:cubicBezTo>
                    <a:pt x="6213" y="3847"/>
                    <a:pt x="6191" y="3840"/>
                    <a:pt x="6176" y="3832"/>
                  </a:cubicBezTo>
                  <a:cubicBezTo>
                    <a:pt x="6155" y="3818"/>
                    <a:pt x="6140" y="3811"/>
                    <a:pt x="6118" y="3811"/>
                  </a:cubicBezTo>
                  <a:cubicBezTo>
                    <a:pt x="6103" y="3811"/>
                    <a:pt x="6081" y="3818"/>
                    <a:pt x="6059" y="3840"/>
                  </a:cubicBezTo>
                  <a:cubicBezTo>
                    <a:pt x="6030" y="3869"/>
                    <a:pt x="6001" y="3869"/>
                    <a:pt x="5971" y="3869"/>
                  </a:cubicBezTo>
                  <a:cubicBezTo>
                    <a:pt x="5964" y="3869"/>
                    <a:pt x="5949" y="3869"/>
                    <a:pt x="5942" y="3869"/>
                  </a:cubicBezTo>
                  <a:cubicBezTo>
                    <a:pt x="5927" y="3869"/>
                    <a:pt x="5920" y="3869"/>
                    <a:pt x="5905" y="3869"/>
                  </a:cubicBezTo>
                  <a:cubicBezTo>
                    <a:pt x="5891" y="3869"/>
                    <a:pt x="5883" y="3869"/>
                    <a:pt x="5876" y="3884"/>
                  </a:cubicBezTo>
                  <a:cubicBezTo>
                    <a:pt x="5869" y="3898"/>
                    <a:pt x="5854" y="3913"/>
                    <a:pt x="5825" y="3942"/>
                  </a:cubicBezTo>
                  <a:cubicBezTo>
                    <a:pt x="5810" y="3950"/>
                    <a:pt x="5795" y="3964"/>
                    <a:pt x="5781" y="3972"/>
                  </a:cubicBezTo>
                  <a:cubicBezTo>
                    <a:pt x="5751" y="3994"/>
                    <a:pt x="5737" y="4001"/>
                    <a:pt x="5707" y="4052"/>
                  </a:cubicBezTo>
                  <a:cubicBezTo>
                    <a:pt x="5693" y="4074"/>
                    <a:pt x="5686" y="4096"/>
                    <a:pt x="5671" y="4111"/>
                  </a:cubicBezTo>
                  <a:cubicBezTo>
                    <a:pt x="5649" y="4148"/>
                    <a:pt x="5642" y="4162"/>
                    <a:pt x="5656" y="4184"/>
                  </a:cubicBezTo>
                  <a:cubicBezTo>
                    <a:pt x="5671" y="4206"/>
                    <a:pt x="5678" y="4221"/>
                    <a:pt x="5686" y="4235"/>
                  </a:cubicBezTo>
                  <a:cubicBezTo>
                    <a:pt x="5686" y="4250"/>
                    <a:pt x="5693" y="4257"/>
                    <a:pt x="5700" y="4265"/>
                  </a:cubicBezTo>
                  <a:cubicBezTo>
                    <a:pt x="5715" y="4272"/>
                    <a:pt x="5722" y="4272"/>
                    <a:pt x="5729" y="4272"/>
                  </a:cubicBezTo>
                  <a:cubicBezTo>
                    <a:pt x="5744" y="4272"/>
                    <a:pt x="5766" y="4265"/>
                    <a:pt x="5795" y="4243"/>
                  </a:cubicBezTo>
                  <a:cubicBezTo>
                    <a:pt x="5839" y="4199"/>
                    <a:pt x="5883" y="4184"/>
                    <a:pt x="5942" y="4177"/>
                  </a:cubicBezTo>
                  <a:cubicBezTo>
                    <a:pt x="5949" y="4177"/>
                    <a:pt x="5957" y="4177"/>
                    <a:pt x="5957" y="4177"/>
                  </a:cubicBezTo>
                  <a:cubicBezTo>
                    <a:pt x="6001" y="4177"/>
                    <a:pt x="6001" y="4206"/>
                    <a:pt x="6008" y="4228"/>
                  </a:cubicBezTo>
                  <a:cubicBezTo>
                    <a:pt x="6008" y="4243"/>
                    <a:pt x="6008" y="4257"/>
                    <a:pt x="6015" y="4272"/>
                  </a:cubicBezTo>
                  <a:cubicBezTo>
                    <a:pt x="6030" y="4338"/>
                    <a:pt x="6037" y="4367"/>
                    <a:pt x="6059" y="4397"/>
                  </a:cubicBezTo>
                  <a:cubicBezTo>
                    <a:pt x="6074" y="4441"/>
                    <a:pt x="6074" y="4448"/>
                    <a:pt x="6045" y="4506"/>
                  </a:cubicBezTo>
                  <a:cubicBezTo>
                    <a:pt x="6030" y="4535"/>
                    <a:pt x="6015" y="4550"/>
                    <a:pt x="6001" y="4564"/>
                  </a:cubicBezTo>
                  <a:cubicBezTo>
                    <a:pt x="5986" y="4572"/>
                    <a:pt x="5971" y="4586"/>
                    <a:pt x="5964" y="4601"/>
                  </a:cubicBezTo>
                  <a:cubicBezTo>
                    <a:pt x="5957" y="4608"/>
                    <a:pt x="5949" y="4615"/>
                    <a:pt x="5942" y="4623"/>
                  </a:cubicBezTo>
                  <a:cubicBezTo>
                    <a:pt x="5920" y="4652"/>
                    <a:pt x="5913" y="4660"/>
                    <a:pt x="5935" y="4681"/>
                  </a:cubicBezTo>
                  <a:cubicBezTo>
                    <a:pt x="5964" y="4711"/>
                    <a:pt x="5971" y="4718"/>
                    <a:pt x="5964" y="4733"/>
                  </a:cubicBezTo>
                  <a:cubicBezTo>
                    <a:pt x="5964" y="4740"/>
                    <a:pt x="5949" y="4747"/>
                    <a:pt x="5935" y="4747"/>
                  </a:cubicBezTo>
                  <a:cubicBezTo>
                    <a:pt x="5927" y="4747"/>
                    <a:pt x="5927" y="4747"/>
                    <a:pt x="5920" y="4747"/>
                  </a:cubicBezTo>
                  <a:cubicBezTo>
                    <a:pt x="5883" y="4755"/>
                    <a:pt x="5861" y="4784"/>
                    <a:pt x="5847" y="4813"/>
                  </a:cubicBezTo>
                  <a:cubicBezTo>
                    <a:pt x="5839" y="4821"/>
                    <a:pt x="5832" y="4828"/>
                    <a:pt x="5825" y="4828"/>
                  </a:cubicBezTo>
                  <a:cubicBezTo>
                    <a:pt x="5817" y="4828"/>
                    <a:pt x="5817" y="4828"/>
                    <a:pt x="5817" y="4828"/>
                  </a:cubicBezTo>
                  <a:cubicBezTo>
                    <a:pt x="5810" y="4813"/>
                    <a:pt x="5810" y="4813"/>
                    <a:pt x="5810" y="4813"/>
                  </a:cubicBezTo>
                  <a:cubicBezTo>
                    <a:pt x="5810" y="4806"/>
                    <a:pt x="5810" y="4806"/>
                    <a:pt x="5810" y="4806"/>
                  </a:cubicBezTo>
                  <a:cubicBezTo>
                    <a:pt x="5817" y="4791"/>
                    <a:pt x="5817" y="4791"/>
                    <a:pt x="5810" y="4791"/>
                  </a:cubicBezTo>
                  <a:cubicBezTo>
                    <a:pt x="5810" y="4784"/>
                    <a:pt x="5810" y="4784"/>
                    <a:pt x="5795" y="4784"/>
                  </a:cubicBezTo>
                  <a:cubicBezTo>
                    <a:pt x="5774" y="4784"/>
                    <a:pt x="5751" y="4777"/>
                    <a:pt x="5729" y="4777"/>
                  </a:cubicBezTo>
                  <a:cubicBezTo>
                    <a:pt x="5707" y="4769"/>
                    <a:pt x="5678" y="4762"/>
                    <a:pt x="5656" y="4762"/>
                  </a:cubicBezTo>
                  <a:cubicBezTo>
                    <a:pt x="5634" y="4762"/>
                    <a:pt x="5619" y="4769"/>
                    <a:pt x="5605" y="4784"/>
                  </a:cubicBezTo>
                  <a:cubicBezTo>
                    <a:pt x="5583" y="4799"/>
                    <a:pt x="5561" y="4806"/>
                    <a:pt x="5546" y="4813"/>
                  </a:cubicBezTo>
                  <a:cubicBezTo>
                    <a:pt x="5524" y="4828"/>
                    <a:pt x="5524" y="4828"/>
                    <a:pt x="5532" y="4865"/>
                  </a:cubicBezTo>
                  <a:cubicBezTo>
                    <a:pt x="5546" y="4945"/>
                    <a:pt x="5568" y="4974"/>
                    <a:pt x="5583" y="4997"/>
                  </a:cubicBezTo>
                  <a:cubicBezTo>
                    <a:pt x="5590" y="5004"/>
                    <a:pt x="5597" y="5004"/>
                    <a:pt x="5597" y="5011"/>
                  </a:cubicBezTo>
                  <a:cubicBezTo>
                    <a:pt x="5605" y="5011"/>
                    <a:pt x="5612" y="5019"/>
                    <a:pt x="5612" y="5026"/>
                  </a:cubicBezTo>
                  <a:cubicBezTo>
                    <a:pt x="5612" y="5033"/>
                    <a:pt x="5605" y="5041"/>
                    <a:pt x="5590" y="5055"/>
                  </a:cubicBezTo>
                  <a:cubicBezTo>
                    <a:pt x="5576" y="5070"/>
                    <a:pt x="5576" y="5070"/>
                    <a:pt x="5576" y="5070"/>
                  </a:cubicBezTo>
                  <a:cubicBezTo>
                    <a:pt x="5561" y="5084"/>
                    <a:pt x="5546" y="5092"/>
                    <a:pt x="5539" y="5106"/>
                  </a:cubicBezTo>
                  <a:cubicBezTo>
                    <a:pt x="5517" y="5114"/>
                    <a:pt x="5510" y="5129"/>
                    <a:pt x="5488" y="5158"/>
                  </a:cubicBezTo>
                  <a:cubicBezTo>
                    <a:pt x="5473" y="5187"/>
                    <a:pt x="5458" y="5202"/>
                    <a:pt x="5444" y="5209"/>
                  </a:cubicBezTo>
                  <a:cubicBezTo>
                    <a:pt x="5429" y="5224"/>
                    <a:pt x="5422" y="5238"/>
                    <a:pt x="5422" y="5268"/>
                  </a:cubicBezTo>
                  <a:cubicBezTo>
                    <a:pt x="5422" y="5297"/>
                    <a:pt x="5422" y="5304"/>
                    <a:pt x="5429" y="5319"/>
                  </a:cubicBezTo>
                  <a:cubicBezTo>
                    <a:pt x="5436" y="5341"/>
                    <a:pt x="5429" y="5356"/>
                    <a:pt x="5400" y="5378"/>
                  </a:cubicBezTo>
                  <a:cubicBezTo>
                    <a:pt x="5385" y="5385"/>
                    <a:pt x="5378" y="5385"/>
                    <a:pt x="5370" y="5392"/>
                  </a:cubicBezTo>
                  <a:cubicBezTo>
                    <a:pt x="5348" y="5407"/>
                    <a:pt x="5341" y="5414"/>
                    <a:pt x="5319" y="5458"/>
                  </a:cubicBezTo>
                  <a:cubicBezTo>
                    <a:pt x="5312" y="5473"/>
                    <a:pt x="5305" y="5480"/>
                    <a:pt x="5297" y="5495"/>
                  </a:cubicBezTo>
                  <a:cubicBezTo>
                    <a:pt x="5290" y="5524"/>
                    <a:pt x="5275" y="5539"/>
                    <a:pt x="5202" y="5561"/>
                  </a:cubicBezTo>
                  <a:cubicBezTo>
                    <a:pt x="5180" y="5568"/>
                    <a:pt x="5158" y="5568"/>
                    <a:pt x="5143" y="5568"/>
                  </a:cubicBezTo>
                  <a:cubicBezTo>
                    <a:pt x="5085" y="5568"/>
                    <a:pt x="5070" y="5539"/>
                    <a:pt x="5055" y="5510"/>
                  </a:cubicBezTo>
                  <a:cubicBezTo>
                    <a:pt x="5048" y="5495"/>
                    <a:pt x="5033" y="5473"/>
                    <a:pt x="5026" y="5473"/>
                  </a:cubicBezTo>
                  <a:cubicBezTo>
                    <a:pt x="5026" y="5473"/>
                    <a:pt x="5019" y="5480"/>
                    <a:pt x="5011" y="5495"/>
                  </a:cubicBezTo>
                  <a:cubicBezTo>
                    <a:pt x="5004" y="5510"/>
                    <a:pt x="5004" y="5524"/>
                    <a:pt x="4997" y="5531"/>
                  </a:cubicBezTo>
                  <a:cubicBezTo>
                    <a:pt x="4989" y="5568"/>
                    <a:pt x="4975" y="5597"/>
                    <a:pt x="4916" y="5627"/>
                  </a:cubicBezTo>
                  <a:cubicBezTo>
                    <a:pt x="4902" y="5634"/>
                    <a:pt x="4902" y="5634"/>
                    <a:pt x="4902" y="5634"/>
                  </a:cubicBezTo>
                  <a:cubicBezTo>
                    <a:pt x="4850" y="5663"/>
                    <a:pt x="4828" y="5671"/>
                    <a:pt x="4806" y="5715"/>
                  </a:cubicBezTo>
                  <a:cubicBezTo>
                    <a:pt x="4792" y="5737"/>
                    <a:pt x="4769" y="5751"/>
                    <a:pt x="4755" y="5759"/>
                  </a:cubicBezTo>
                  <a:cubicBezTo>
                    <a:pt x="4740" y="5766"/>
                    <a:pt x="4726" y="5773"/>
                    <a:pt x="4733" y="5795"/>
                  </a:cubicBezTo>
                  <a:cubicBezTo>
                    <a:pt x="4733" y="5817"/>
                    <a:pt x="4740" y="5824"/>
                    <a:pt x="4748" y="5832"/>
                  </a:cubicBezTo>
                  <a:cubicBezTo>
                    <a:pt x="4762" y="5839"/>
                    <a:pt x="4769" y="5854"/>
                    <a:pt x="4777" y="5898"/>
                  </a:cubicBezTo>
                  <a:cubicBezTo>
                    <a:pt x="4777" y="5920"/>
                    <a:pt x="4777" y="5934"/>
                    <a:pt x="4784" y="5942"/>
                  </a:cubicBezTo>
                  <a:cubicBezTo>
                    <a:pt x="4792" y="5993"/>
                    <a:pt x="4799" y="6022"/>
                    <a:pt x="4755" y="6081"/>
                  </a:cubicBezTo>
                  <a:cubicBezTo>
                    <a:pt x="4740" y="6103"/>
                    <a:pt x="4718" y="6132"/>
                    <a:pt x="4704" y="6154"/>
                  </a:cubicBezTo>
                  <a:cubicBezTo>
                    <a:pt x="4674" y="6198"/>
                    <a:pt x="4674" y="6198"/>
                    <a:pt x="4674" y="6198"/>
                  </a:cubicBezTo>
                  <a:cubicBezTo>
                    <a:pt x="4674" y="6103"/>
                    <a:pt x="4674" y="6103"/>
                    <a:pt x="4674" y="6103"/>
                  </a:cubicBezTo>
                  <a:cubicBezTo>
                    <a:pt x="4674" y="6096"/>
                    <a:pt x="4674" y="6096"/>
                    <a:pt x="4667" y="6096"/>
                  </a:cubicBezTo>
                  <a:cubicBezTo>
                    <a:pt x="4660" y="6096"/>
                    <a:pt x="4652" y="6096"/>
                    <a:pt x="4638" y="6096"/>
                  </a:cubicBezTo>
                  <a:cubicBezTo>
                    <a:pt x="4630" y="6096"/>
                    <a:pt x="4623" y="6103"/>
                    <a:pt x="4616" y="6103"/>
                  </a:cubicBezTo>
                  <a:cubicBezTo>
                    <a:pt x="4608" y="6103"/>
                    <a:pt x="4594" y="6103"/>
                    <a:pt x="4586" y="6103"/>
                  </a:cubicBezTo>
                  <a:cubicBezTo>
                    <a:pt x="4564" y="6103"/>
                    <a:pt x="4550" y="6103"/>
                    <a:pt x="4543" y="6088"/>
                  </a:cubicBezTo>
                  <a:cubicBezTo>
                    <a:pt x="4528" y="6074"/>
                    <a:pt x="4528" y="6059"/>
                    <a:pt x="4535" y="6044"/>
                  </a:cubicBezTo>
                  <a:cubicBezTo>
                    <a:pt x="4535" y="6022"/>
                    <a:pt x="4520" y="6015"/>
                    <a:pt x="4498" y="5993"/>
                  </a:cubicBezTo>
                  <a:cubicBezTo>
                    <a:pt x="4491" y="5986"/>
                    <a:pt x="4476" y="5971"/>
                    <a:pt x="4469" y="5964"/>
                  </a:cubicBezTo>
                  <a:cubicBezTo>
                    <a:pt x="4455" y="5942"/>
                    <a:pt x="4433" y="5927"/>
                    <a:pt x="4411" y="5905"/>
                  </a:cubicBezTo>
                  <a:cubicBezTo>
                    <a:pt x="4396" y="5898"/>
                    <a:pt x="4381" y="5891"/>
                    <a:pt x="4374" y="5876"/>
                  </a:cubicBezTo>
                  <a:cubicBezTo>
                    <a:pt x="4345" y="5847"/>
                    <a:pt x="4345" y="5773"/>
                    <a:pt x="4352" y="5744"/>
                  </a:cubicBezTo>
                  <a:cubicBezTo>
                    <a:pt x="4352" y="5737"/>
                    <a:pt x="4359" y="5729"/>
                    <a:pt x="4359" y="5722"/>
                  </a:cubicBezTo>
                  <a:cubicBezTo>
                    <a:pt x="4367" y="5700"/>
                    <a:pt x="4381" y="5663"/>
                    <a:pt x="4381" y="5641"/>
                  </a:cubicBezTo>
                  <a:cubicBezTo>
                    <a:pt x="4374" y="5619"/>
                    <a:pt x="4345" y="5612"/>
                    <a:pt x="4323" y="5612"/>
                  </a:cubicBezTo>
                  <a:cubicBezTo>
                    <a:pt x="4323" y="5612"/>
                    <a:pt x="4315" y="5612"/>
                    <a:pt x="4308" y="5612"/>
                  </a:cubicBezTo>
                  <a:cubicBezTo>
                    <a:pt x="4271" y="5612"/>
                    <a:pt x="4249" y="5597"/>
                    <a:pt x="4235" y="5575"/>
                  </a:cubicBezTo>
                  <a:cubicBezTo>
                    <a:pt x="4220" y="5546"/>
                    <a:pt x="4198" y="5524"/>
                    <a:pt x="4169" y="5510"/>
                  </a:cubicBezTo>
                  <a:cubicBezTo>
                    <a:pt x="4161" y="5502"/>
                    <a:pt x="4161" y="5502"/>
                    <a:pt x="4161" y="5502"/>
                  </a:cubicBezTo>
                  <a:cubicBezTo>
                    <a:pt x="4132" y="5488"/>
                    <a:pt x="4095" y="5473"/>
                    <a:pt x="4088" y="5443"/>
                  </a:cubicBezTo>
                  <a:cubicBezTo>
                    <a:pt x="4081" y="5429"/>
                    <a:pt x="4081" y="5414"/>
                    <a:pt x="4088" y="5400"/>
                  </a:cubicBezTo>
                  <a:cubicBezTo>
                    <a:pt x="4117" y="5363"/>
                    <a:pt x="4117" y="5319"/>
                    <a:pt x="4095" y="5290"/>
                  </a:cubicBezTo>
                  <a:cubicBezTo>
                    <a:pt x="4088" y="5282"/>
                    <a:pt x="4081" y="5275"/>
                    <a:pt x="4066" y="5275"/>
                  </a:cubicBezTo>
                  <a:cubicBezTo>
                    <a:pt x="4044" y="5275"/>
                    <a:pt x="4007" y="5297"/>
                    <a:pt x="3986" y="5319"/>
                  </a:cubicBezTo>
                  <a:cubicBezTo>
                    <a:pt x="3949" y="5341"/>
                    <a:pt x="3949" y="5378"/>
                    <a:pt x="3949" y="5407"/>
                  </a:cubicBezTo>
                  <a:cubicBezTo>
                    <a:pt x="3949" y="5422"/>
                    <a:pt x="3949" y="5436"/>
                    <a:pt x="3949" y="5451"/>
                  </a:cubicBezTo>
                  <a:cubicBezTo>
                    <a:pt x="3949" y="5465"/>
                    <a:pt x="3949" y="5473"/>
                    <a:pt x="3942" y="5488"/>
                  </a:cubicBezTo>
                  <a:cubicBezTo>
                    <a:pt x="3942" y="5524"/>
                    <a:pt x="3934" y="5568"/>
                    <a:pt x="3912" y="5590"/>
                  </a:cubicBezTo>
                  <a:cubicBezTo>
                    <a:pt x="3898" y="5597"/>
                    <a:pt x="3890" y="5612"/>
                    <a:pt x="3876" y="5619"/>
                  </a:cubicBezTo>
                  <a:cubicBezTo>
                    <a:pt x="3854" y="5634"/>
                    <a:pt x="3832" y="5649"/>
                    <a:pt x="3810" y="5671"/>
                  </a:cubicBezTo>
                  <a:cubicBezTo>
                    <a:pt x="3788" y="5700"/>
                    <a:pt x="3780" y="5722"/>
                    <a:pt x="3773" y="5759"/>
                  </a:cubicBezTo>
                  <a:cubicBezTo>
                    <a:pt x="3766" y="5766"/>
                    <a:pt x="3766" y="5781"/>
                    <a:pt x="3766" y="5795"/>
                  </a:cubicBezTo>
                  <a:cubicBezTo>
                    <a:pt x="3758" y="5810"/>
                    <a:pt x="3758" y="5817"/>
                    <a:pt x="3758" y="5824"/>
                  </a:cubicBezTo>
                  <a:cubicBezTo>
                    <a:pt x="3751" y="5839"/>
                    <a:pt x="3744" y="5847"/>
                    <a:pt x="3729" y="5847"/>
                  </a:cubicBezTo>
                  <a:cubicBezTo>
                    <a:pt x="3722" y="5847"/>
                    <a:pt x="3707" y="5854"/>
                    <a:pt x="3693" y="5854"/>
                  </a:cubicBezTo>
                  <a:cubicBezTo>
                    <a:pt x="3670" y="5861"/>
                    <a:pt x="3648" y="5861"/>
                    <a:pt x="3634" y="5869"/>
                  </a:cubicBezTo>
                  <a:cubicBezTo>
                    <a:pt x="3597" y="5869"/>
                    <a:pt x="3597" y="5869"/>
                    <a:pt x="3590" y="5883"/>
                  </a:cubicBezTo>
                  <a:cubicBezTo>
                    <a:pt x="3583" y="5920"/>
                    <a:pt x="3561" y="5949"/>
                    <a:pt x="3531" y="5949"/>
                  </a:cubicBezTo>
                  <a:cubicBezTo>
                    <a:pt x="3531" y="5949"/>
                    <a:pt x="3509" y="5949"/>
                    <a:pt x="3502" y="5920"/>
                  </a:cubicBezTo>
                  <a:cubicBezTo>
                    <a:pt x="3502" y="5912"/>
                    <a:pt x="3502" y="5912"/>
                    <a:pt x="3502" y="5912"/>
                  </a:cubicBezTo>
                  <a:cubicBezTo>
                    <a:pt x="3495" y="5912"/>
                    <a:pt x="3465" y="5934"/>
                    <a:pt x="3443" y="5949"/>
                  </a:cubicBezTo>
                  <a:cubicBezTo>
                    <a:pt x="3436" y="5956"/>
                    <a:pt x="3429" y="5964"/>
                    <a:pt x="3414" y="5971"/>
                  </a:cubicBezTo>
                  <a:cubicBezTo>
                    <a:pt x="3370" y="6008"/>
                    <a:pt x="3319" y="6015"/>
                    <a:pt x="3282" y="6022"/>
                  </a:cubicBezTo>
                  <a:cubicBezTo>
                    <a:pt x="3275" y="6022"/>
                    <a:pt x="3267" y="6022"/>
                    <a:pt x="3260" y="6022"/>
                  </a:cubicBezTo>
                  <a:cubicBezTo>
                    <a:pt x="3224" y="6037"/>
                    <a:pt x="3165" y="6066"/>
                    <a:pt x="3128" y="6118"/>
                  </a:cubicBezTo>
                  <a:cubicBezTo>
                    <a:pt x="3121" y="6140"/>
                    <a:pt x="3114" y="6154"/>
                    <a:pt x="3106" y="6169"/>
                  </a:cubicBezTo>
                  <a:cubicBezTo>
                    <a:pt x="3092" y="6191"/>
                    <a:pt x="3084" y="6198"/>
                    <a:pt x="3070" y="6228"/>
                  </a:cubicBezTo>
                  <a:cubicBezTo>
                    <a:pt x="3055" y="6250"/>
                    <a:pt x="3011" y="6272"/>
                    <a:pt x="2974" y="6286"/>
                  </a:cubicBezTo>
                  <a:cubicBezTo>
                    <a:pt x="2952" y="6293"/>
                    <a:pt x="2938" y="6308"/>
                    <a:pt x="2923" y="6315"/>
                  </a:cubicBezTo>
                  <a:cubicBezTo>
                    <a:pt x="2916" y="6315"/>
                    <a:pt x="2901" y="6323"/>
                    <a:pt x="2894" y="6323"/>
                  </a:cubicBezTo>
                  <a:cubicBezTo>
                    <a:pt x="2864" y="6323"/>
                    <a:pt x="2843" y="6308"/>
                    <a:pt x="2813" y="6293"/>
                  </a:cubicBezTo>
                  <a:cubicBezTo>
                    <a:pt x="2798" y="6286"/>
                    <a:pt x="2776" y="6272"/>
                    <a:pt x="2762" y="6272"/>
                  </a:cubicBezTo>
                  <a:cubicBezTo>
                    <a:pt x="2733" y="6272"/>
                    <a:pt x="2703" y="6301"/>
                    <a:pt x="2667" y="6330"/>
                  </a:cubicBezTo>
                  <a:cubicBezTo>
                    <a:pt x="2659" y="6345"/>
                    <a:pt x="2645" y="6352"/>
                    <a:pt x="2637" y="6360"/>
                  </a:cubicBezTo>
                  <a:cubicBezTo>
                    <a:pt x="2593" y="6396"/>
                    <a:pt x="2557" y="6418"/>
                    <a:pt x="2505" y="6418"/>
                  </a:cubicBezTo>
                  <a:cubicBezTo>
                    <a:pt x="2491" y="6418"/>
                    <a:pt x="2476" y="6411"/>
                    <a:pt x="2454" y="6403"/>
                  </a:cubicBezTo>
                  <a:cubicBezTo>
                    <a:pt x="2439" y="6403"/>
                    <a:pt x="2432" y="6396"/>
                    <a:pt x="2417" y="6396"/>
                  </a:cubicBezTo>
                  <a:cubicBezTo>
                    <a:pt x="2403" y="6396"/>
                    <a:pt x="2395" y="6403"/>
                    <a:pt x="2388" y="6411"/>
                  </a:cubicBezTo>
                  <a:cubicBezTo>
                    <a:pt x="2381" y="6425"/>
                    <a:pt x="2366" y="6440"/>
                    <a:pt x="2359" y="6455"/>
                  </a:cubicBezTo>
                  <a:cubicBezTo>
                    <a:pt x="2344" y="6477"/>
                    <a:pt x="2337" y="6491"/>
                    <a:pt x="2315" y="6499"/>
                  </a:cubicBezTo>
                  <a:cubicBezTo>
                    <a:pt x="2307" y="6506"/>
                    <a:pt x="2293" y="6506"/>
                    <a:pt x="2271" y="6506"/>
                  </a:cubicBezTo>
                  <a:cubicBezTo>
                    <a:pt x="2249" y="6506"/>
                    <a:pt x="2198" y="6513"/>
                    <a:pt x="2198" y="6528"/>
                  </a:cubicBezTo>
                  <a:cubicBezTo>
                    <a:pt x="2198" y="6528"/>
                    <a:pt x="2198" y="6535"/>
                    <a:pt x="2198" y="6543"/>
                  </a:cubicBezTo>
                  <a:cubicBezTo>
                    <a:pt x="2190" y="6565"/>
                    <a:pt x="2183" y="6594"/>
                    <a:pt x="2132" y="6601"/>
                  </a:cubicBezTo>
                  <a:cubicBezTo>
                    <a:pt x="2124" y="6609"/>
                    <a:pt x="2117" y="6609"/>
                    <a:pt x="2110" y="6623"/>
                  </a:cubicBezTo>
                  <a:cubicBezTo>
                    <a:pt x="2102" y="6638"/>
                    <a:pt x="2102" y="6667"/>
                    <a:pt x="2110" y="6682"/>
                  </a:cubicBezTo>
                  <a:cubicBezTo>
                    <a:pt x="2132" y="6719"/>
                    <a:pt x="2110" y="6770"/>
                    <a:pt x="2058" y="6836"/>
                  </a:cubicBezTo>
                  <a:cubicBezTo>
                    <a:pt x="2044" y="6850"/>
                    <a:pt x="2029" y="6865"/>
                    <a:pt x="2007" y="6865"/>
                  </a:cubicBezTo>
                  <a:cubicBezTo>
                    <a:pt x="1971" y="6865"/>
                    <a:pt x="1926" y="6821"/>
                    <a:pt x="1912" y="6806"/>
                  </a:cubicBezTo>
                  <a:cubicBezTo>
                    <a:pt x="1905" y="6799"/>
                    <a:pt x="1897" y="6792"/>
                    <a:pt x="1897" y="6784"/>
                  </a:cubicBezTo>
                  <a:cubicBezTo>
                    <a:pt x="1883" y="6770"/>
                    <a:pt x="1861" y="6748"/>
                    <a:pt x="1846" y="6748"/>
                  </a:cubicBezTo>
                  <a:cubicBezTo>
                    <a:pt x="1839" y="6748"/>
                    <a:pt x="1839" y="6755"/>
                    <a:pt x="1831" y="6762"/>
                  </a:cubicBezTo>
                  <a:cubicBezTo>
                    <a:pt x="1795" y="6792"/>
                    <a:pt x="1795" y="6806"/>
                    <a:pt x="1802" y="6843"/>
                  </a:cubicBezTo>
                  <a:cubicBezTo>
                    <a:pt x="1802" y="6850"/>
                    <a:pt x="1802" y="6858"/>
                    <a:pt x="1802" y="6872"/>
                  </a:cubicBezTo>
                  <a:cubicBezTo>
                    <a:pt x="1802" y="6902"/>
                    <a:pt x="1809" y="6909"/>
                    <a:pt x="1824" y="6916"/>
                  </a:cubicBezTo>
                  <a:cubicBezTo>
                    <a:pt x="1839" y="6924"/>
                    <a:pt x="1853" y="6931"/>
                    <a:pt x="1861" y="6946"/>
                  </a:cubicBezTo>
                  <a:cubicBezTo>
                    <a:pt x="1890" y="6968"/>
                    <a:pt x="1868" y="7004"/>
                    <a:pt x="1861" y="7026"/>
                  </a:cubicBezTo>
                  <a:cubicBezTo>
                    <a:pt x="1846" y="7041"/>
                    <a:pt x="1839" y="7056"/>
                    <a:pt x="1839" y="7070"/>
                  </a:cubicBezTo>
                  <a:cubicBezTo>
                    <a:pt x="1853" y="7122"/>
                    <a:pt x="1839" y="7165"/>
                    <a:pt x="1795" y="7188"/>
                  </a:cubicBezTo>
                  <a:cubicBezTo>
                    <a:pt x="1765" y="7202"/>
                    <a:pt x="1729" y="7217"/>
                    <a:pt x="1699" y="7217"/>
                  </a:cubicBezTo>
                  <a:cubicBezTo>
                    <a:pt x="1677" y="7217"/>
                    <a:pt x="1655" y="7210"/>
                    <a:pt x="1648" y="7195"/>
                  </a:cubicBezTo>
                  <a:cubicBezTo>
                    <a:pt x="1641" y="7188"/>
                    <a:pt x="1633" y="7180"/>
                    <a:pt x="1626" y="7173"/>
                  </a:cubicBezTo>
                  <a:cubicBezTo>
                    <a:pt x="1619" y="7165"/>
                    <a:pt x="1619" y="7158"/>
                    <a:pt x="1612" y="7151"/>
                  </a:cubicBezTo>
                  <a:cubicBezTo>
                    <a:pt x="1604" y="7180"/>
                    <a:pt x="1590" y="7188"/>
                    <a:pt x="1567" y="7188"/>
                  </a:cubicBezTo>
                  <a:cubicBezTo>
                    <a:pt x="1545" y="7188"/>
                    <a:pt x="1516" y="7173"/>
                    <a:pt x="1502" y="7151"/>
                  </a:cubicBezTo>
                  <a:cubicBezTo>
                    <a:pt x="1472" y="7122"/>
                    <a:pt x="1443" y="7085"/>
                    <a:pt x="1406" y="7085"/>
                  </a:cubicBezTo>
                  <a:cubicBezTo>
                    <a:pt x="1399" y="7085"/>
                    <a:pt x="1392" y="7085"/>
                    <a:pt x="1392" y="7085"/>
                  </a:cubicBezTo>
                  <a:cubicBezTo>
                    <a:pt x="1333" y="7107"/>
                    <a:pt x="1311" y="7122"/>
                    <a:pt x="1245" y="7195"/>
                  </a:cubicBezTo>
                  <a:cubicBezTo>
                    <a:pt x="1223" y="7217"/>
                    <a:pt x="1208" y="7224"/>
                    <a:pt x="1186" y="7224"/>
                  </a:cubicBezTo>
                </a:path>
              </a:pathLst>
            </a:custGeom>
            <a:solidFill>
              <a:schemeClr val="accent2"/>
            </a:solid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71" name="Freeform 70">
              <a:extLst>
                <a:ext uri="{FF2B5EF4-FFF2-40B4-BE49-F238E27FC236}">
                  <a16:creationId xmlns:a16="http://schemas.microsoft.com/office/drawing/2014/main" id="{6D762AD6-443F-9E46-A85D-DF5973769795}"/>
                </a:ext>
              </a:extLst>
            </p:cNvPr>
            <p:cNvSpPr>
              <a:spLocks noChangeArrowheads="1"/>
            </p:cNvSpPr>
            <p:nvPr/>
          </p:nvSpPr>
          <p:spPr bwMode="auto">
            <a:xfrm>
              <a:off x="3366645" y="5788106"/>
              <a:ext cx="2900010" cy="2754098"/>
            </a:xfrm>
            <a:custGeom>
              <a:avLst/>
              <a:gdLst>
                <a:gd name="T0" fmla="*/ 6786 w 7549"/>
                <a:gd name="T1" fmla="*/ 271 h 7255"/>
                <a:gd name="T2" fmla="*/ 6873 w 7549"/>
                <a:gd name="T3" fmla="*/ 1473 h 7255"/>
                <a:gd name="T4" fmla="*/ 7474 w 7549"/>
                <a:gd name="T5" fmla="*/ 2462 h 7255"/>
                <a:gd name="T6" fmla="*/ 6998 w 7549"/>
                <a:gd name="T7" fmla="*/ 3562 h 7255"/>
                <a:gd name="T8" fmla="*/ 6075 w 7549"/>
                <a:gd name="T9" fmla="*/ 3840 h 7255"/>
                <a:gd name="T10" fmla="*/ 5972 w 7549"/>
                <a:gd name="T11" fmla="*/ 4608 h 7255"/>
                <a:gd name="T12" fmla="*/ 5328 w 7549"/>
                <a:gd name="T13" fmla="*/ 5466 h 7255"/>
                <a:gd name="T14" fmla="*/ 4639 w 7549"/>
                <a:gd name="T15" fmla="*/ 6103 h 7255"/>
                <a:gd name="T16" fmla="*/ 4001 w 7549"/>
                <a:gd name="T17" fmla="*/ 5319 h 7255"/>
                <a:gd name="T18" fmla="*/ 2939 w 7549"/>
                <a:gd name="T19" fmla="*/ 6316 h 7255"/>
                <a:gd name="T20" fmla="*/ 1869 w 7549"/>
                <a:gd name="T21" fmla="*/ 6748 h 7255"/>
                <a:gd name="T22" fmla="*/ 1254 w 7549"/>
                <a:gd name="T23" fmla="*/ 7203 h 7255"/>
                <a:gd name="T24" fmla="*/ 740 w 7549"/>
                <a:gd name="T25" fmla="*/ 6360 h 7255"/>
                <a:gd name="T26" fmla="*/ 323 w 7549"/>
                <a:gd name="T27" fmla="*/ 5480 h 7255"/>
                <a:gd name="T28" fmla="*/ 206 w 7549"/>
                <a:gd name="T29" fmla="*/ 4872 h 7255"/>
                <a:gd name="T30" fmla="*/ 777 w 7549"/>
                <a:gd name="T31" fmla="*/ 3818 h 7255"/>
                <a:gd name="T32" fmla="*/ 484 w 7549"/>
                <a:gd name="T33" fmla="*/ 2162 h 7255"/>
                <a:gd name="T34" fmla="*/ 1209 w 7549"/>
                <a:gd name="T35" fmla="*/ 2104 h 7255"/>
                <a:gd name="T36" fmla="*/ 1913 w 7549"/>
                <a:gd name="T37" fmla="*/ 1481 h 7255"/>
                <a:gd name="T38" fmla="*/ 3701 w 7549"/>
                <a:gd name="T39" fmla="*/ 447 h 7255"/>
                <a:gd name="T40" fmla="*/ 4441 w 7549"/>
                <a:gd name="T41" fmla="*/ 770 h 7255"/>
                <a:gd name="T42" fmla="*/ 4573 w 7549"/>
                <a:gd name="T43" fmla="*/ 1590 h 7255"/>
                <a:gd name="T44" fmla="*/ 5562 w 7549"/>
                <a:gd name="T45" fmla="*/ 1195 h 7255"/>
                <a:gd name="T46" fmla="*/ 5569 w 7549"/>
                <a:gd name="T47" fmla="*/ 66 h 7255"/>
                <a:gd name="T48" fmla="*/ 5569 w 7549"/>
                <a:gd name="T49" fmla="*/ 37 h 7255"/>
                <a:gd name="T50" fmla="*/ 5152 w 7549"/>
                <a:gd name="T51" fmla="*/ 418 h 7255"/>
                <a:gd name="T52" fmla="*/ 5166 w 7549"/>
                <a:gd name="T53" fmla="*/ 1327 h 7255"/>
                <a:gd name="T54" fmla="*/ 4434 w 7549"/>
                <a:gd name="T55" fmla="*/ 1627 h 7255"/>
                <a:gd name="T56" fmla="*/ 4346 w 7549"/>
                <a:gd name="T57" fmla="*/ 1114 h 7255"/>
                <a:gd name="T58" fmla="*/ 4236 w 7549"/>
                <a:gd name="T59" fmla="*/ 513 h 7255"/>
                <a:gd name="T60" fmla="*/ 3664 w 7549"/>
                <a:gd name="T61" fmla="*/ 381 h 7255"/>
                <a:gd name="T62" fmla="*/ 2616 w 7549"/>
                <a:gd name="T63" fmla="*/ 924 h 7255"/>
                <a:gd name="T64" fmla="*/ 1818 w 7549"/>
                <a:gd name="T65" fmla="*/ 1547 h 7255"/>
                <a:gd name="T66" fmla="*/ 1334 w 7549"/>
                <a:gd name="T67" fmla="*/ 2147 h 7255"/>
                <a:gd name="T68" fmla="*/ 631 w 7549"/>
                <a:gd name="T69" fmla="*/ 2067 h 7255"/>
                <a:gd name="T70" fmla="*/ 316 w 7549"/>
                <a:gd name="T71" fmla="*/ 2558 h 7255"/>
                <a:gd name="T72" fmla="*/ 755 w 7549"/>
                <a:gd name="T73" fmla="*/ 3730 h 7255"/>
                <a:gd name="T74" fmla="*/ 543 w 7549"/>
                <a:gd name="T75" fmla="*/ 4492 h 7255"/>
                <a:gd name="T76" fmla="*/ 103 w 7549"/>
                <a:gd name="T77" fmla="*/ 5114 h 7255"/>
                <a:gd name="T78" fmla="*/ 404 w 7549"/>
                <a:gd name="T79" fmla="*/ 5458 h 7255"/>
                <a:gd name="T80" fmla="*/ 374 w 7549"/>
                <a:gd name="T81" fmla="*/ 5957 h 7255"/>
                <a:gd name="T82" fmla="*/ 653 w 7549"/>
                <a:gd name="T83" fmla="*/ 6382 h 7255"/>
                <a:gd name="T84" fmla="*/ 1034 w 7549"/>
                <a:gd name="T85" fmla="*/ 7151 h 7255"/>
                <a:gd name="T86" fmla="*/ 1722 w 7549"/>
                <a:gd name="T87" fmla="*/ 7246 h 7255"/>
                <a:gd name="T88" fmla="*/ 2147 w 7549"/>
                <a:gd name="T89" fmla="*/ 6689 h 7255"/>
                <a:gd name="T90" fmla="*/ 2785 w 7549"/>
                <a:gd name="T91" fmla="*/ 6301 h 7255"/>
                <a:gd name="T92" fmla="*/ 3628 w 7549"/>
                <a:gd name="T93" fmla="*/ 5906 h 7255"/>
                <a:gd name="T94" fmla="*/ 4016 w 7549"/>
                <a:gd name="T95" fmla="*/ 5341 h 7255"/>
                <a:gd name="T96" fmla="*/ 4426 w 7549"/>
                <a:gd name="T97" fmla="*/ 5935 h 7255"/>
                <a:gd name="T98" fmla="*/ 4822 w 7549"/>
                <a:gd name="T99" fmla="*/ 5957 h 7255"/>
                <a:gd name="T100" fmla="*/ 5335 w 7549"/>
                <a:gd name="T101" fmla="*/ 5510 h 7255"/>
                <a:gd name="T102" fmla="*/ 5569 w 7549"/>
                <a:gd name="T103" fmla="*/ 4880 h 7255"/>
                <a:gd name="T104" fmla="*/ 5877 w 7549"/>
                <a:gd name="T105" fmla="*/ 4836 h 7255"/>
                <a:gd name="T106" fmla="*/ 5958 w 7549"/>
                <a:gd name="T107" fmla="*/ 4177 h 7255"/>
                <a:gd name="T108" fmla="*/ 5965 w 7549"/>
                <a:gd name="T109" fmla="*/ 3899 h 7255"/>
                <a:gd name="T110" fmla="*/ 6383 w 7549"/>
                <a:gd name="T111" fmla="*/ 3518 h 7255"/>
                <a:gd name="T112" fmla="*/ 7342 w 7549"/>
                <a:gd name="T113" fmla="*/ 3203 h 7255"/>
                <a:gd name="T114" fmla="*/ 7394 w 7549"/>
                <a:gd name="T115" fmla="*/ 2888 h 7255"/>
                <a:gd name="T116" fmla="*/ 7181 w 7549"/>
                <a:gd name="T117" fmla="*/ 1964 h 7255"/>
                <a:gd name="T118" fmla="*/ 6749 w 7549"/>
                <a:gd name="T119" fmla="*/ 1305 h 7255"/>
                <a:gd name="T120" fmla="*/ 6690 w 7549"/>
                <a:gd name="T121" fmla="*/ 682 h 7255"/>
                <a:gd name="T122" fmla="*/ 6471 w 7549"/>
                <a:gd name="T123" fmla="*/ 403 h 7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49" h="7255">
                  <a:moveTo>
                    <a:pt x="5862" y="30"/>
                  </a:moveTo>
                  <a:lnTo>
                    <a:pt x="5862" y="30"/>
                  </a:lnTo>
                  <a:cubicBezTo>
                    <a:pt x="5884" y="30"/>
                    <a:pt x="5899" y="44"/>
                    <a:pt x="5921" y="59"/>
                  </a:cubicBezTo>
                  <a:cubicBezTo>
                    <a:pt x="5965" y="96"/>
                    <a:pt x="5928" y="147"/>
                    <a:pt x="5965" y="191"/>
                  </a:cubicBezTo>
                  <a:cubicBezTo>
                    <a:pt x="5994" y="242"/>
                    <a:pt x="6009" y="323"/>
                    <a:pt x="5987" y="359"/>
                  </a:cubicBezTo>
                  <a:cubicBezTo>
                    <a:pt x="5972" y="389"/>
                    <a:pt x="5950" y="440"/>
                    <a:pt x="6024" y="469"/>
                  </a:cubicBezTo>
                  <a:cubicBezTo>
                    <a:pt x="6075" y="484"/>
                    <a:pt x="6148" y="499"/>
                    <a:pt x="6207" y="499"/>
                  </a:cubicBezTo>
                  <a:cubicBezTo>
                    <a:pt x="6243" y="499"/>
                    <a:pt x="6273" y="499"/>
                    <a:pt x="6295" y="484"/>
                  </a:cubicBezTo>
                  <a:cubicBezTo>
                    <a:pt x="6361" y="447"/>
                    <a:pt x="6492" y="477"/>
                    <a:pt x="6500" y="403"/>
                  </a:cubicBezTo>
                  <a:cubicBezTo>
                    <a:pt x="6507" y="338"/>
                    <a:pt x="6559" y="330"/>
                    <a:pt x="6588" y="264"/>
                  </a:cubicBezTo>
                  <a:cubicBezTo>
                    <a:pt x="6610" y="191"/>
                    <a:pt x="6624" y="162"/>
                    <a:pt x="6676" y="154"/>
                  </a:cubicBezTo>
                  <a:cubicBezTo>
                    <a:pt x="6705" y="147"/>
                    <a:pt x="6734" y="140"/>
                    <a:pt x="6764" y="140"/>
                  </a:cubicBezTo>
                  <a:cubicBezTo>
                    <a:pt x="6786" y="140"/>
                    <a:pt x="6808" y="140"/>
                    <a:pt x="6822" y="162"/>
                  </a:cubicBezTo>
                  <a:cubicBezTo>
                    <a:pt x="6866" y="206"/>
                    <a:pt x="6830" y="242"/>
                    <a:pt x="6786" y="271"/>
                  </a:cubicBezTo>
                  <a:cubicBezTo>
                    <a:pt x="6749" y="294"/>
                    <a:pt x="6756" y="345"/>
                    <a:pt x="6800" y="374"/>
                  </a:cubicBezTo>
                  <a:cubicBezTo>
                    <a:pt x="6837" y="396"/>
                    <a:pt x="6837" y="440"/>
                    <a:pt x="6808" y="484"/>
                  </a:cubicBezTo>
                  <a:cubicBezTo>
                    <a:pt x="6771" y="528"/>
                    <a:pt x="6756" y="645"/>
                    <a:pt x="6690" y="653"/>
                  </a:cubicBezTo>
                  <a:cubicBezTo>
                    <a:pt x="6617" y="660"/>
                    <a:pt x="6588" y="667"/>
                    <a:pt x="6559" y="733"/>
                  </a:cubicBezTo>
                  <a:cubicBezTo>
                    <a:pt x="6537" y="792"/>
                    <a:pt x="6500" y="836"/>
                    <a:pt x="6537" y="865"/>
                  </a:cubicBezTo>
                  <a:cubicBezTo>
                    <a:pt x="6566" y="902"/>
                    <a:pt x="6566" y="946"/>
                    <a:pt x="6624" y="968"/>
                  </a:cubicBezTo>
                  <a:cubicBezTo>
                    <a:pt x="6690" y="997"/>
                    <a:pt x="6756" y="1012"/>
                    <a:pt x="6720" y="1034"/>
                  </a:cubicBezTo>
                  <a:cubicBezTo>
                    <a:pt x="6690" y="1063"/>
                    <a:pt x="6647" y="1070"/>
                    <a:pt x="6654" y="1107"/>
                  </a:cubicBezTo>
                  <a:cubicBezTo>
                    <a:pt x="6661" y="1136"/>
                    <a:pt x="6654" y="1166"/>
                    <a:pt x="6617" y="1180"/>
                  </a:cubicBezTo>
                  <a:cubicBezTo>
                    <a:pt x="6588" y="1195"/>
                    <a:pt x="6588" y="1261"/>
                    <a:pt x="6595" y="1283"/>
                  </a:cubicBezTo>
                  <a:cubicBezTo>
                    <a:pt x="6602" y="1305"/>
                    <a:pt x="6624" y="1334"/>
                    <a:pt x="6712" y="1334"/>
                  </a:cubicBezTo>
                  <a:cubicBezTo>
                    <a:pt x="6734" y="1334"/>
                    <a:pt x="6756" y="1334"/>
                    <a:pt x="6778" y="1334"/>
                  </a:cubicBezTo>
                  <a:cubicBezTo>
                    <a:pt x="6830" y="1334"/>
                    <a:pt x="6859" y="1334"/>
                    <a:pt x="6873" y="1371"/>
                  </a:cubicBezTo>
                  <a:cubicBezTo>
                    <a:pt x="6888" y="1407"/>
                    <a:pt x="6866" y="1437"/>
                    <a:pt x="6873" y="1473"/>
                  </a:cubicBezTo>
                  <a:cubicBezTo>
                    <a:pt x="6881" y="1503"/>
                    <a:pt x="6940" y="1539"/>
                    <a:pt x="6940" y="1539"/>
                  </a:cubicBezTo>
                  <a:cubicBezTo>
                    <a:pt x="6940" y="1539"/>
                    <a:pt x="6947" y="1635"/>
                    <a:pt x="6961" y="1686"/>
                  </a:cubicBezTo>
                  <a:cubicBezTo>
                    <a:pt x="6969" y="1730"/>
                    <a:pt x="6976" y="1796"/>
                    <a:pt x="6947" y="1832"/>
                  </a:cubicBezTo>
                  <a:cubicBezTo>
                    <a:pt x="6932" y="1869"/>
                    <a:pt x="6954" y="1920"/>
                    <a:pt x="6991" y="1920"/>
                  </a:cubicBezTo>
                  <a:cubicBezTo>
                    <a:pt x="7006" y="1920"/>
                    <a:pt x="7020" y="1913"/>
                    <a:pt x="7035" y="1906"/>
                  </a:cubicBezTo>
                  <a:cubicBezTo>
                    <a:pt x="7057" y="1891"/>
                    <a:pt x="7071" y="1884"/>
                    <a:pt x="7086" y="1884"/>
                  </a:cubicBezTo>
                  <a:cubicBezTo>
                    <a:pt x="7130" y="1884"/>
                    <a:pt x="7152" y="1920"/>
                    <a:pt x="7152" y="1964"/>
                  </a:cubicBezTo>
                  <a:cubicBezTo>
                    <a:pt x="7152" y="2023"/>
                    <a:pt x="7181" y="2074"/>
                    <a:pt x="7225" y="2074"/>
                  </a:cubicBezTo>
                  <a:cubicBezTo>
                    <a:pt x="7262" y="2074"/>
                    <a:pt x="7284" y="2133"/>
                    <a:pt x="7284" y="2199"/>
                  </a:cubicBezTo>
                  <a:cubicBezTo>
                    <a:pt x="7284" y="2250"/>
                    <a:pt x="7313" y="2265"/>
                    <a:pt x="7364" y="2265"/>
                  </a:cubicBezTo>
                  <a:cubicBezTo>
                    <a:pt x="7387" y="2265"/>
                    <a:pt x="7401" y="2265"/>
                    <a:pt x="7423" y="2257"/>
                  </a:cubicBezTo>
                  <a:cubicBezTo>
                    <a:pt x="7430" y="2257"/>
                    <a:pt x="7438" y="2257"/>
                    <a:pt x="7438" y="2257"/>
                  </a:cubicBezTo>
                  <a:cubicBezTo>
                    <a:pt x="7511" y="2257"/>
                    <a:pt x="7489" y="2331"/>
                    <a:pt x="7460" y="2382"/>
                  </a:cubicBezTo>
                  <a:cubicBezTo>
                    <a:pt x="7423" y="2433"/>
                    <a:pt x="7474" y="2411"/>
                    <a:pt x="7474" y="2462"/>
                  </a:cubicBezTo>
                  <a:cubicBezTo>
                    <a:pt x="7474" y="2514"/>
                    <a:pt x="7438" y="2558"/>
                    <a:pt x="7401" y="2580"/>
                  </a:cubicBezTo>
                  <a:cubicBezTo>
                    <a:pt x="7364" y="2609"/>
                    <a:pt x="7364" y="2646"/>
                    <a:pt x="7372" y="2704"/>
                  </a:cubicBezTo>
                  <a:cubicBezTo>
                    <a:pt x="7387" y="2763"/>
                    <a:pt x="7438" y="2807"/>
                    <a:pt x="7394" y="2844"/>
                  </a:cubicBezTo>
                  <a:cubicBezTo>
                    <a:pt x="7350" y="2888"/>
                    <a:pt x="7299" y="2924"/>
                    <a:pt x="7350" y="2968"/>
                  </a:cubicBezTo>
                  <a:cubicBezTo>
                    <a:pt x="7379" y="2990"/>
                    <a:pt x="7416" y="2997"/>
                    <a:pt x="7438" y="2997"/>
                  </a:cubicBezTo>
                  <a:cubicBezTo>
                    <a:pt x="7445" y="2997"/>
                    <a:pt x="7452" y="2997"/>
                    <a:pt x="7452" y="2997"/>
                  </a:cubicBezTo>
                  <a:cubicBezTo>
                    <a:pt x="7438" y="3005"/>
                    <a:pt x="7423" y="3019"/>
                    <a:pt x="7423" y="3019"/>
                  </a:cubicBezTo>
                  <a:cubicBezTo>
                    <a:pt x="7423" y="3019"/>
                    <a:pt x="7438" y="3005"/>
                    <a:pt x="7452" y="2997"/>
                  </a:cubicBezTo>
                  <a:cubicBezTo>
                    <a:pt x="7467" y="2990"/>
                    <a:pt x="7474" y="2990"/>
                    <a:pt x="7474" y="2990"/>
                  </a:cubicBezTo>
                  <a:cubicBezTo>
                    <a:pt x="7474" y="2990"/>
                    <a:pt x="7445" y="3049"/>
                    <a:pt x="7387" y="3049"/>
                  </a:cubicBezTo>
                  <a:cubicBezTo>
                    <a:pt x="7328" y="3049"/>
                    <a:pt x="7277" y="3071"/>
                    <a:pt x="7277" y="3107"/>
                  </a:cubicBezTo>
                  <a:cubicBezTo>
                    <a:pt x="7277" y="3151"/>
                    <a:pt x="7342" y="3137"/>
                    <a:pt x="7313" y="3188"/>
                  </a:cubicBezTo>
                  <a:cubicBezTo>
                    <a:pt x="7291" y="3239"/>
                    <a:pt x="7247" y="3320"/>
                    <a:pt x="7203" y="3364"/>
                  </a:cubicBezTo>
                  <a:cubicBezTo>
                    <a:pt x="7159" y="3408"/>
                    <a:pt x="7042" y="3525"/>
                    <a:pt x="6998" y="3562"/>
                  </a:cubicBezTo>
                  <a:cubicBezTo>
                    <a:pt x="6961" y="3591"/>
                    <a:pt x="6940" y="3657"/>
                    <a:pt x="6866" y="3657"/>
                  </a:cubicBezTo>
                  <a:lnTo>
                    <a:pt x="6859" y="3657"/>
                  </a:lnTo>
                  <a:cubicBezTo>
                    <a:pt x="6778" y="3650"/>
                    <a:pt x="6749" y="3584"/>
                    <a:pt x="6771" y="3532"/>
                  </a:cubicBezTo>
                  <a:cubicBezTo>
                    <a:pt x="6800" y="3488"/>
                    <a:pt x="6771" y="3474"/>
                    <a:pt x="6720" y="3459"/>
                  </a:cubicBezTo>
                  <a:cubicBezTo>
                    <a:pt x="6676" y="3445"/>
                    <a:pt x="6647" y="3393"/>
                    <a:pt x="6602" y="3393"/>
                  </a:cubicBezTo>
                  <a:cubicBezTo>
                    <a:pt x="6595" y="3393"/>
                    <a:pt x="6588" y="3393"/>
                    <a:pt x="6573" y="3400"/>
                  </a:cubicBezTo>
                  <a:cubicBezTo>
                    <a:pt x="6515" y="3422"/>
                    <a:pt x="6427" y="3452"/>
                    <a:pt x="6361" y="3496"/>
                  </a:cubicBezTo>
                  <a:cubicBezTo>
                    <a:pt x="6302" y="3532"/>
                    <a:pt x="6324" y="3554"/>
                    <a:pt x="6361" y="3606"/>
                  </a:cubicBezTo>
                  <a:cubicBezTo>
                    <a:pt x="6405" y="3657"/>
                    <a:pt x="6456" y="3671"/>
                    <a:pt x="6471" y="3708"/>
                  </a:cubicBezTo>
                  <a:cubicBezTo>
                    <a:pt x="6492" y="3737"/>
                    <a:pt x="6507" y="3789"/>
                    <a:pt x="6434" y="3811"/>
                  </a:cubicBezTo>
                  <a:cubicBezTo>
                    <a:pt x="6375" y="3818"/>
                    <a:pt x="6309" y="3847"/>
                    <a:pt x="6258" y="3847"/>
                  </a:cubicBezTo>
                  <a:cubicBezTo>
                    <a:pt x="6243" y="3847"/>
                    <a:pt x="6221" y="3840"/>
                    <a:pt x="6214" y="3833"/>
                  </a:cubicBezTo>
                  <a:cubicBezTo>
                    <a:pt x="6185" y="3818"/>
                    <a:pt x="6163" y="3811"/>
                    <a:pt x="6141" y="3811"/>
                  </a:cubicBezTo>
                  <a:cubicBezTo>
                    <a:pt x="6119" y="3811"/>
                    <a:pt x="6097" y="3818"/>
                    <a:pt x="6075" y="3840"/>
                  </a:cubicBezTo>
                  <a:cubicBezTo>
                    <a:pt x="6053" y="3862"/>
                    <a:pt x="6024" y="3869"/>
                    <a:pt x="5994" y="3869"/>
                  </a:cubicBezTo>
                  <a:cubicBezTo>
                    <a:pt x="5972" y="3869"/>
                    <a:pt x="5950" y="3869"/>
                    <a:pt x="5928" y="3869"/>
                  </a:cubicBezTo>
                  <a:cubicBezTo>
                    <a:pt x="5877" y="3869"/>
                    <a:pt x="5906" y="3891"/>
                    <a:pt x="5833" y="3943"/>
                  </a:cubicBezTo>
                  <a:cubicBezTo>
                    <a:pt x="5767" y="3994"/>
                    <a:pt x="5760" y="3987"/>
                    <a:pt x="5716" y="4060"/>
                  </a:cubicBezTo>
                  <a:cubicBezTo>
                    <a:pt x="5672" y="4140"/>
                    <a:pt x="5635" y="4163"/>
                    <a:pt x="5665" y="4206"/>
                  </a:cubicBezTo>
                  <a:cubicBezTo>
                    <a:pt x="5701" y="4250"/>
                    <a:pt x="5687" y="4265"/>
                    <a:pt x="5716" y="4295"/>
                  </a:cubicBezTo>
                  <a:cubicBezTo>
                    <a:pt x="5730" y="4302"/>
                    <a:pt x="5738" y="4302"/>
                    <a:pt x="5752" y="4302"/>
                  </a:cubicBezTo>
                  <a:cubicBezTo>
                    <a:pt x="5774" y="4302"/>
                    <a:pt x="5797" y="4287"/>
                    <a:pt x="5826" y="4265"/>
                  </a:cubicBezTo>
                  <a:cubicBezTo>
                    <a:pt x="5870" y="4236"/>
                    <a:pt x="5906" y="4214"/>
                    <a:pt x="5965" y="4206"/>
                  </a:cubicBezTo>
                  <a:cubicBezTo>
                    <a:pt x="5972" y="4206"/>
                    <a:pt x="5980" y="4206"/>
                    <a:pt x="5980" y="4206"/>
                  </a:cubicBezTo>
                  <a:cubicBezTo>
                    <a:pt x="6016" y="4206"/>
                    <a:pt x="6009" y="4236"/>
                    <a:pt x="6024" y="4295"/>
                  </a:cubicBezTo>
                  <a:cubicBezTo>
                    <a:pt x="6038" y="4360"/>
                    <a:pt x="6046" y="4390"/>
                    <a:pt x="6068" y="4419"/>
                  </a:cubicBezTo>
                  <a:cubicBezTo>
                    <a:pt x="6082" y="4456"/>
                    <a:pt x="6082" y="4463"/>
                    <a:pt x="6060" y="4514"/>
                  </a:cubicBezTo>
                  <a:cubicBezTo>
                    <a:pt x="6031" y="4565"/>
                    <a:pt x="6009" y="4565"/>
                    <a:pt x="5972" y="4608"/>
                  </a:cubicBezTo>
                  <a:cubicBezTo>
                    <a:pt x="5936" y="4645"/>
                    <a:pt x="5906" y="4667"/>
                    <a:pt x="5950" y="4711"/>
                  </a:cubicBezTo>
                  <a:cubicBezTo>
                    <a:pt x="5987" y="4748"/>
                    <a:pt x="5980" y="4740"/>
                    <a:pt x="5936" y="4748"/>
                  </a:cubicBezTo>
                  <a:cubicBezTo>
                    <a:pt x="5899" y="4762"/>
                    <a:pt x="5870" y="4792"/>
                    <a:pt x="5855" y="4821"/>
                  </a:cubicBezTo>
                  <a:cubicBezTo>
                    <a:pt x="5848" y="4821"/>
                    <a:pt x="5848" y="4828"/>
                    <a:pt x="5848" y="4828"/>
                  </a:cubicBezTo>
                  <a:cubicBezTo>
                    <a:pt x="5848" y="4828"/>
                    <a:pt x="5870" y="4784"/>
                    <a:pt x="5818" y="4784"/>
                  </a:cubicBezTo>
                  <a:cubicBezTo>
                    <a:pt x="5782" y="4784"/>
                    <a:pt x="5730" y="4762"/>
                    <a:pt x="5679" y="4762"/>
                  </a:cubicBezTo>
                  <a:cubicBezTo>
                    <a:pt x="5657" y="4762"/>
                    <a:pt x="5635" y="4770"/>
                    <a:pt x="5613" y="4784"/>
                  </a:cubicBezTo>
                  <a:cubicBezTo>
                    <a:pt x="5555" y="4836"/>
                    <a:pt x="5525" y="4806"/>
                    <a:pt x="5540" y="4887"/>
                  </a:cubicBezTo>
                  <a:cubicBezTo>
                    <a:pt x="5555" y="4960"/>
                    <a:pt x="5569" y="4997"/>
                    <a:pt x="5599" y="5026"/>
                  </a:cubicBezTo>
                  <a:cubicBezTo>
                    <a:pt x="5620" y="5048"/>
                    <a:pt x="5635" y="5034"/>
                    <a:pt x="5591" y="5070"/>
                  </a:cubicBezTo>
                  <a:cubicBezTo>
                    <a:pt x="5547" y="5114"/>
                    <a:pt x="5533" y="5107"/>
                    <a:pt x="5496" y="5165"/>
                  </a:cubicBezTo>
                  <a:cubicBezTo>
                    <a:pt x="5459" y="5224"/>
                    <a:pt x="5430" y="5217"/>
                    <a:pt x="5430" y="5283"/>
                  </a:cubicBezTo>
                  <a:cubicBezTo>
                    <a:pt x="5430" y="5356"/>
                    <a:pt x="5459" y="5349"/>
                    <a:pt x="5408" y="5378"/>
                  </a:cubicBezTo>
                  <a:cubicBezTo>
                    <a:pt x="5357" y="5415"/>
                    <a:pt x="5357" y="5407"/>
                    <a:pt x="5328" y="5466"/>
                  </a:cubicBezTo>
                  <a:cubicBezTo>
                    <a:pt x="5291" y="5525"/>
                    <a:pt x="5320" y="5532"/>
                    <a:pt x="5225" y="5561"/>
                  </a:cubicBezTo>
                  <a:cubicBezTo>
                    <a:pt x="5196" y="5568"/>
                    <a:pt x="5181" y="5568"/>
                    <a:pt x="5166" y="5568"/>
                  </a:cubicBezTo>
                  <a:cubicBezTo>
                    <a:pt x="5122" y="5568"/>
                    <a:pt x="5108" y="5546"/>
                    <a:pt x="5086" y="5517"/>
                  </a:cubicBezTo>
                  <a:cubicBezTo>
                    <a:pt x="5071" y="5488"/>
                    <a:pt x="5064" y="5473"/>
                    <a:pt x="5049" y="5473"/>
                  </a:cubicBezTo>
                  <a:cubicBezTo>
                    <a:pt x="5042" y="5473"/>
                    <a:pt x="5034" y="5480"/>
                    <a:pt x="5020" y="5510"/>
                  </a:cubicBezTo>
                  <a:cubicBezTo>
                    <a:pt x="4998" y="5568"/>
                    <a:pt x="5005" y="5590"/>
                    <a:pt x="4932" y="5627"/>
                  </a:cubicBezTo>
                  <a:cubicBezTo>
                    <a:pt x="4866" y="5664"/>
                    <a:pt x="4844" y="5671"/>
                    <a:pt x="4815" y="5722"/>
                  </a:cubicBezTo>
                  <a:cubicBezTo>
                    <a:pt x="4792" y="5774"/>
                    <a:pt x="4734" y="5752"/>
                    <a:pt x="4741" y="5810"/>
                  </a:cubicBezTo>
                  <a:cubicBezTo>
                    <a:pt x="4749" y="5876"/>
                    <a:pt x="4771" y="5839"/>
                    <a:pt x="4785" y="5913"/>
                  </a:cubicBezTo>
                  <a:cubicBezTo>
                    <a:pt x="4792" y="5994"/>
                    <a:pt x="4815" y="6015"/>
                    <a:pt x="4763" y="6089"/>
                  </a:cubicBezTo>
                  <a:cubicBezTo>
                    <a:pt x="4749" y="6111"/>
                    <a:pt x="4727" y="6140"/>
                    <a:pt x="4712" y="6162"/>
                  </a:cubicBezTo>
                  <a:cubicBezTo>
                    <a:pt x="4712" y="6147"/>
                    <a:pt x="4712" y="6133"/>
                    <a:pt x="4712" y="6118"/>
                  </a:cubicBezTo>
                  <a:cubicBezTo>
                    <a:pt x="4712" y="6096"/>
                    <a:pt x="4705" y="6089"/>
                    <a:pt x="4690" y="6089"/>
                  </a:cubicBezTo>
                  <a:cubicBezTo>
                    <a:pt x="4675" y="6089"/>
                    <a:pt x="4661" y="6096"/>
                    <a:pt x="4639" y="6103"/>
                  </a:cubicBezTo>
                  <a:cubicBezTo>
                    <a:pt x="4631" y="6103"/>
                    <a:pt x="4617" y="6103"/>
                    <a:pt x="4609" y="6103"/>
                  </a:cubicBezTo>
                  <a:cubicBezTo>
                    <a:pt x="4580" y="6103"/>
                    <a:pt x="4566" y="6096"/>
                    <a:pt x="4573" y="6059"/>
                  </a:cubicBezTo>
                  <a:cubicBezTo>
                    <a:pt x="4580" y="6015"/>
                    <a:pt x="4529" y="6001"/>
                    <a:pt x="4499" y="5964"/>
                  </a:cubicBezTo>
                  <a:cubicBezTo>
                    <a:pt x="4478" y="5935"/>
                    <a:pt x="4434" y="5906"/>
                    <a:pt x="4411" y="5884"/>
                  </a:cubicBezTo>
                  <a:cubicBezTo>
                    <a:pt x="4382" y="5854"/>
                    <a:pt x="4382" y="5788"/>
                    <a:pt x="4390" y="5759"/>
                  </a:cubicBezTo>
                  <a:cubicBezTo>
                    <a:pt x="4397" y="5737"/>
                    <a:pt x="4426" y="5686"/>
                    <a:pt x="4419" y="5649"/>
                  </a:cubicBezTo>
                  <a:cubicBezTo>
                    <a:pt x="4411" y="5620"/>
                    <a:pt x="4346" y="5612"/>
                    <a:pt x="4346" y="5612"/>
                  </a:cubicBezTo>
                  <a:cubicBezTo>
                    <a:pt x="4346" y="5612"/>
                    <a:pt x="4346" y="5612"/>
                    <a:pt x="4331" y="5612"/>
                  </a:cubicBezTo>
                  <a:cubicBezTo>
                    <a:pt x="4316" y="5612"/>
                    <a:pt x="4287" y="5605"/>
                    <a:pt x="4272" y="5583"/>
                  </a:cubicBezTo>
                  <a:cubicBezTo>
                    <a:pt x="4258" y="5546"/>
                    <a:pt x="4228" y="5525"/>
                    <a:pt x="4199" y="5510"/>
                  </a:cubicBezTo>
                  <a:cubicBezTo>
                    <a:pt x="4162" y="5488"/>
                    <a:pt x="4104" y="5466"/>
                    <a:pt x="4126" y="5422"/>
                  </a:cubicBezTo>
                  <a:cubicBezTo>
                    <a:pt x="4155" y="5378"/>
                    <a:pt x="4155" y="5327"/>
                    <a:pt x="4126" y="5297"/>
                  </a:cubicBezTo>
                  <a:cubicBezTo>
                    <a:pt x="4118" y="5283"/>
                    <a:pt x="4104" y="5275"/>
                    <a:pt x="4089" y="5275"/>
                  </a:cubicBezTo>
                  <a:cubicBezTo>
                    <a:pt x="4067" y="5275"/>
                    <a:pt x="4038" y="5290"/>
                    <a:pt x="4001" y="5319"/>
                  </a:cubicBezTo>
                  <a:cubicBezTo>
                    <a:pt x="3943" y="5363"/>
                    <a:pt x="3965" y="5422"/>
                    <a:pt x="3957" y="5466"/>
                  </a:cubicBezTo>
                  <a:cubicBezTo>
                    <a:pt x="3950" y="5510"/>
                    <a:pt x="3950" y="5568"/>
                    <a:pt x="3921" y="5590"/>
                  </a:cubicBezTo>
                  <a:cubicBezTo>
                    <a:pt x="3899" y="5620"/>
                    <a:pt x="3855" y="5634"/>
                    <a:pt x="3818" y="5678"/>
                  </a:cubicBezTo>
                  <a:cubicBezTo>
                    <a:pt x="3789" y="5722"/>
                    <a:pt x="3789" y="5744"/>
                    <a:pt x="3774" y="5803"/>
                  </a:cubicBezTo>
                  <a:cubicBezTo>
                    <a:pt x="3752" y="5862"/>
                    <a:pt x="3781" y="5839"/>
                    <a:pt x="3708" y="5854"/>
                  </a:cubicBezTo>
                  <a:cubicBezTo>
                    <a:pt x="3642" y="5876"/>
                    <a:pt x="3606" y="5854"/>
                    <a:pt x="3598" y="5898"/>
                  </a:cubicBezTo>
                  <a:cubicBezTo>
                    <a:pt x="3598" y="5927"/>
                    <a:pt x="3576" y="5949"/>
                    <a:pt x="3554" y="5949"/>
                  </a:cubicBezTo>
                  <a:cubicBezTo>
                    <a:pt x="3547" y="5949"/>
                    <a:pt x="3547" y="5949"/>
                    <a:pt x="3540" y="5935"/>
                  </a:cubicBezTo>
                  <a:cubicBezTo>
                    <a:pt x="3540" y="5920"/>
                    <a:pt x="3532" y="5913"/>
                    <a:pt x="3525" y="5913"/>
                  </a:cubicBezTo>
                  <a:cubicBezTo>
                    <a:pt x="3503" y="5913"/>
                    <a:pt x="3474" y="5942"/>
                    <a:pt x="3430" y="5971"/>
                  </a:cubicBezTo>
                  <a:cubicBezTo>
                    <a:pt x="3371" y="6015"/>
                    <a:pt x="3312" y="6015"/>
                    <a:pt x="3276" y="6023"/>
                  </a:cubicBezTo>
                  <a:cubicBezTo>
                    <a:pt x="3247" y="6037"/>
                    <a:pt x="3173" y="6067"/>
                    <a:pt x="3144" y="6125"/>
                  </a:cubicBezTo>
                  <a:cubicBezTo>
                    <a:pt x="3107" y="6184"/>
                    <a:pt x="3107" y="6199"/>
                    <a:pt x="3085" y="6228"/>
                  </a:cubicBezTo>
                  <a:cubicBezTo>
                    <a:pt x="3056" y="6265"/>
                    <a:pt x="2983" y="6287"/>
                    <a:pt x="2939" y="6316"/>
                  </a:cubicBezTo>
                  <a:cubicBezTo>
                    <a:pt x="2931" y="6316"/>
                    <a:pt x="2924" y="6323"/>
                    <a:pt x="2917" y="6323"/>
                  </a:cubicBezTo>
                  <a:cubicBezTo>
                    <a:pt x="2873" y="6323"/>
                    <a:pt x="2821" y="6272"/>
                    <a:pt x="2785" y="6272"/>
                  </a:cubicBezTo>
                  <a:cubicBezTo>
                    <a:pt x="2741" y="6272"/>
                    <a:pt x="2690" y="6330"/>
                    <a:pt x="2646" y="6367"/>
                  </a:cubicBezTo>
                  <a:cubicBezTo>
                    <a:pt x="2609" y="6396"/>
                    <a:pt x="2572" y="6418"/>
                    <a:pt x="2528" y="6418"/>
                  </a:cubicBezTo>
                  <a:cubicBezTo>
                    <a:pt x="2499" y="6418"/>
                    <a:pt x="2470" y="6396"/>
                    <a:pt x="2440" y="6396"/>
                  </a:cubicBezTo>
                  <a:cubicBezTo>
                    <a:pt x="2426" y="6396"/>
                    <a:pt x="2411" y="6404"/>
                    <a:pt x="2404" y="6418"/>
                  </a:cubicBezTo>
                  <a:cubicBezTo>
                    <a:pt x="2367" y="6462"/>
                    <a:pt x="2360" y="6492"/>
                    <a:pt x="2330" y="6499"/>
                  </a:cubicBezTo>
                  <a:cubicBezTo>
                    <a:pt x="2309" y="6514"/>
                    <a:pt x="2213" y="6499"/>
                    <a:pt x="2206" y="6536"/>
                  </a:cubicBezTo>
                  <a:cubicBezTo>
                    <a:pt x="2199" y="6572"/>
                    <a:pt x="2206" y="6594"/>
                    <a:pt x="2155" y="6602"/>
                  </a:cubicBezTo>
                  <a:cubicBezTo>
                    <a:pt x="2103" y="6609"/>
                    <a:pt x="2103" y="6675"/>
                    <a:pt x="2118" y="6704"/>
                  </a:cubicBezTo>
                  <a:cubicBezTo>
                    <a:pt x="2140" y="6741"/>
                    <a:pt x="2111" y="6792"/>
                    <a:pt x="2067" y="6844"/>
                  </a:cubicBezTo>
                  <a:cubicBezTo>
                    <a:pt x="2059" y="6858"/>
                    <a:pt x="2045" y="6865"/>
                    <a:pt x="2030" y="6865"/>
                  </a:cubicBezTo>
                  <a:cubicBezTo>
                    <a:pt x="1994" y="6865"/>
                    <a:pt x="1964" y="6829"/>
                    <a:pt x="1942" y="6807"/>
                  </a:cubicBezTo>
                  <a:cubicBezTo>
                    <a:pt x="1920" y="6792"/>
                    <a:pt x="1898" y="6748"/>
                    <a:pt x="1869" y="6748"/>
                  </a:cubicBezTo>
                  <a:cubicBezTo>
                    <a:pt x="1862" y="6748"/>
                    <a:pt x="1854" y="6756"/>
                    <a:pt x="1840" y="6763"/>
                  </a:cubicBezTo>
                  <a:cubicBezTo>
                    <a:pt x="1796" y="6807"/>
                    <a:pt x="1803" y="6821"/>
                    <a:pt x="1803" y="6887"/>
                  </a:cubicBezTo>
                  <a:cubicBezTo>
                    <a:pt x="1803" y="6946"/>
                    <a:pt x="1840" y="6939"/>
                    <a:pt x="1876" y="6968"/>
                  </a:cubicBezTo>
                  <a:cubicBezTo>
                    <a:pt x="1906" y="7005"/>
                    <a:pt x="1840" y="7049"/>
                    <a:pt x="1847" y="7085"/>
                  </a:cubicBezTo>
                  <a:cubicBezTo>
                    <a:pt x="1854" y="7129"/>
                    <a:pt x="1847" y="7166"/>
                    <a:pt x="1803" y="7188"/>
                  </a:cubicBezTo>
                  <a:cubicBezTo>
                    <a:pt x="1781" y="7203"/>
                    <a:pt x="1752" y="7217"/>
                    <a:pt x="1722" y="7217"/>
                  </a:cubicBezTo>
                  <a:cubicBezTo>
                    <a:pt x="1708" y="7217"/>
                    <a:pt x="1693" y="7210"/>
                    <a:pt x="1678" y="7203"/>
                  </a:cubicBezTo>
                  <a:cubicBezTo>
                    <a:pt x="1664" y="7180"/>
                    <a:pt x="1642" y="7151"/>
                    <a:pt x="1627" y="7151"/>
                  </a:cubicBezTo>
                  <a:cubicBezTo>
                    <a:pt x="1627" y="7151"/>
                    <a:pt x="1620" y="7151"/>
                    <a:pt x="1620" y="7166"/>
                  </a:cubicBezTo>
                  <a:cubicBezTo>
                    <a:pt x="1613" y="7180"/>
                    <a:pt x="1605" y="7188"/>
                    <a:pt x="1590" y="7188"/>
                  </a:cubicBezTo>
                  <a:cubicBezTo>
                    <a:pt x="1576" y="7188"/>
                    <a:pt x="1547" y="7173"/>
                    <a:pt x="1532" y="7158"/>
                  </a:cubicBezTo>
                  <a:cubicBezTo>
                    <a:pt x="1510" y="7129"/>
                    <a:pt x="1480" y="7085"/>
                    <a:pt x="1429" y="7085"/>
                  </a:cubicBezTo>
                  <a:cubicBezTo>
                    <a:pt x="1422" y="7085"/>
                    <a:pt x="1415" y="7085"/>
                    <a:pt x="1407" y="7085"/>
                  </a:cubicBezTo>
                  <a:cubicBezTo>
                    <a:pt x="1349" y="7107"/>
                    <a:pt x="1319" y="7122"/>
                    <a:pt x="1254" y="7203"/>
                  </a:cubicBezTo>
                  <a:cubicBezTo>
                    <a:pt x="1239" y="7217"/>
                    <a:pt x="1224" y="7225"/>
                    <a:pt x="1209" y="7225"/>
                  </a:cubicBezTo>
                  <a:cubicBezTo>
                    <a:pt x="1173" y="7225"/>
                    <a:pt x="1158" y="7144"/>
                    <a:pt x="1136" y="7115"/>
                  </a:cubicBezTo>
                  <a:cubicBezTo>
                    <a:pt x="1114" y="7078"/>
                    <a:pt x="1099" y="7063"/>
                    <a:pt x="1070" y="7063"/>
                  </a:cubicBezTo>
                  <a:cubicBezTo>
                    <a:pt x="1063" y="7063"/>
                    <a:pt x="1056" y="7063"/>
                    <a:pt x="1048" y="7063"/>
                  </a:cubicBezTo>
                  <a:cubicBezTo>
                    <a:pt x="1019" y="7071"/>
                    <a:pt x="1019" y="7107"/>
                    <a:pt x="1004" y="7144"/>
                  </a:cubicBezTo>
                  <a:cubicBezTo>
                    <a:pt x="997" y="7137"/>
                    <a:pt x="989" y="7129"/>
                    <a:pt x="982" y="7115"/>
                  </a:cubicBezTo>
                  <a:cubicBezTo>
                    <a:pt x="946" y="7063"/>
                    <a:pt x="960" y="7027"/>
                    <a:pt x="1004" y="6939"/>
                  </a:cubicBezTo>
                  <a:cubicBezTo>
                    <a:pt x="1048" y="6844"/>
                    <a:pt x="989" y="6844"/>
                    <a:pt x="960" y="6777"/>
                  </a:cubicBezTo>
                  <a:cubicBezTo>
                    <a:pt x="931" y="6719"/>
                    <a:pt x="894" y="6660"/>
                    <a:pt x="814" y="6660"/>
                  </a:cubicBezTo>
                  <a:cubicBezTo>
                    <a:pt x="806" y="6660"/>
                    <a:pt x="792" y="6660"/>
                    <a:pt x="777" y="6660"/>
                  </a:cubicBezTo>
                  <a:cubicBezTo>
                    <a:pt x="748" y="6668"/>
                    <a:pt x="733" y="6675"/>
                    <a:pt x="718" y="6675"/>
                  </a:cubicBezTo>
                  <a:cubicBezTo>
                    <a:pt x="682" y="6675"/>
                    <a:pt x="689" y="6653"/>
                    <a:pt x="667" y="6616"/>
                  </a:cubicBezTo>
                  <a:cubicBezTo>
                    <a:pt x="631" y="6572"/>
                    <a:pt x="594" y="6565"/>
                    <a:pt x="616" y="6470"/>
                  </a:cubicBezTo>
                  <a:cubicBezTo>
                    <a:pt x="645" y="6382"/>
                    <a:pt x="653" y="6433"/>
                    <a:pt x="740" y="6360"/>
                  </a:cubicBezTo>
                  <a:cubicBezTo>
                    <a:pt x="836" y="6279"/>
                    <a:pt x="792" y="6308"/>
                    <a:pt x="770" y="6243"/>
                  </a:cubicBezTo>
                  <a:cubicBezTo>
                    <a:pt x="755" y="6221"/>
                    <a:pt x="748" y="6213"/>
                    <a:pt x="740" y="6213"/>
                  </a:cubicBezTo>
                  <a:cubicBezTo>
                    <a:pt x="726" y="6213"/>
                    <a:pt x="711" y="6221"/>
                    <a:pt x="682" y="6221"/>
                  </a:cubicBezTo>
                  <a:cubicBezTo>
                    <a:pt x="667" y="6221"/>
                    <a:pt x="653" y="6221"/>
                    <a:pt x="631" y="6213"/>
                  </a:cubicBezTo>
                  <a:cubicBezTo>
                    <a:pt x="543" y="6177"/>
                    <a:pt x="594" y="6162"/>
                    <a:pt x="565" y="6074"/>
                  </a:cubicBezTo>
                  <a:cubicBezTo>
                    <a:pt x="528" y="5986"/>
                    <a:pt x="543" y="5994"/>
                    <a:pt x="506" y="5935"/>
                  </a:cubicBezTo>
                  <a:cubicBezTo>
                    <a:pt x="491" y="5920"/>
                    <a:pt x="477" y="5913"/>
                    <a:pt x="462" y="5913"/>
                  </a:cubicBezTo>
                  <a:cubicBezTo>
                    <a:pt x="440" y="5913"/>
                    <a:pt x="404" y="5927"/>
                    <a:pt x="374" y="5927"/>
                  </a:cubicBezTo>
                  <a:cubicBezTo>
                    <a:pt x="367" y="5927"/>
                    <a:pt x="367" y="5927"/>
                    <a:pt x="359" y="5927"/>
                  </a:cubicBezTo>
                  <a:cubicBezTo>
                    <a:pt x="301" y="5913"/>
                    <a:pt x="294" y="5884"/>
                    <a:pt x="316" y="5803"/>
                  </a:cubicBezTo>
                  <a:cubicBezTo>
                    <a:pt x="337" y="5722"/>
                    <a:pt x="301" y="5737"/>
                    <a:pt x="257" y="5708"/>
                  </a:cubicBezTo>
                  <a:cubicBezTo>
                    <a:pt x="213" y="5686"/>
                    <a:pt x="176" y="5656"/>
                    <a:pt x="235" y="5642"/>
                  </a:cubicBezTo>
                  <a:cubicBezTo>
                    <a:pt x="294" y="5634"/>
                    <a:pt x="294" y="5583"/>
                    <a:pt x="294" y="5517"/>
                  </a:cubicBezTo>
                  <a:cubicBezTo>
                    <a:pt x="294" y="5488"/>
                    <a:pt x="308" y="5480"/>
                    <a:pt x="323" y="5480"/>
                  </a:cubicBezTo>
                  <a:cubicBezTo>
                    <a:pt x="345" y="5480"/>
                    <a:pt x="374" y="5488"/>
                    <a:pt x="404" y="5488"/>
                  </a:cubicBezTo>
                  <a:cubicBezTo>
                    <a:pt x="411" y="5488"/>
                    <a:pt x="418" y="5488"/>
                    <a:pt x="425" y="5488"/>
                  </a:cubicBezTo>
                  <a:cubicBezTo>
                    <a:pt x="491" y="5473"/>
                    <a:pt x="447" y="5393"/>
                    <a:pt x="447" y="5327"/>
                  </a:cubicBezTo>
                  <a:cubicBezTo>
                    <a:pt x="447" y="5261"/>
                    <a:pt x="447" y="5239"/>
                    <a:pt x="396" y="5239"/>
                  </a:cubicBezTo>
                  <a:cubicBezTo>
                    <a:pt x="337" y="5239"/>
                    <a:pt x="279" y="5202"/>
                    <a:pt x="323" y="5136"/>
                  </a:cubicBezTo>
                  <a:cubicBezTo>
                    <a:pt x="359" y="5077"/>
                    <a:pt x="337" y="5048"/>
                    <a:pt x="308" y="5048"/>
                  </a:cubicBezTo>
                  <a:cubicBezTo>
                    <a:pt x="301" y="5048"/>
                    <a:pt x="294" y="5056"/>
                    <a:pt x="294" y="5056"/>
                  </a:cubicBezTo>
                  <a:cubicBezTo>
                    <a:pt x="257" y="5063"/>
                    <a:pt x="220" y="5056"/>
                    <a:pt x="132" y="5077"/>
                  </a:cubicBezTo>
                  <a:cubicBezTo>
                    <a:pt x="118" y="5077"/>
                    <a:pt x="110" y="5077"/>
                    <a:pt x="103" y="5077"/>
                  </a:cubicBezTo>
                  <a:cubicBezTo>
                    <a:pt x="52" y="5077"/>
                    <a:pt x="74" y="5012"/>
                    <a:pt x="74" y="4938"/>
                  </a:cubicBezTo>
                  <a:cubicBezTo>
                    <a:pt x="74" y="4858"/>
                    <a:pt x="15" y="4814"/>
                    <a:pt x="66" y="4784"/>
                  </a:cubicBezTo>
                  <a:cubicBezTo>
                    <a:pt x="88" y="4762"/>
                    <a:pt x="103" y="4755"/>
                    <a:pt x="110" y="4755"/>
                  </a:cubicBezTo>
                  <a:cubicBezTo>
                    <a:pt x="125" y="4755"/>
                    <a:pt x="132" y="4770"/>
                    <a:pt x="132" y="4792"/>
                  </a:cubicBezTo>
                  <a:cubicBezTo>
                    <a:pt x="132" y="4828"/>
                    <a:pt x="176" y="4872"/>
                    <a:pt x="206" y="4872"/>
                  </a:cubicBezTo>
                  <a:cubicBezTo>
                    <a:pt x="213" y="4872"/>
                    <a:pt x="220" y="4865"/>
                    <a:pt x="220" y="4858"/>
                  </a:cubicBezTo>
                  <a:cubicBezTo>
                    <a:pt x="242" y="4828"/>
                    <a:pt x="264" y="4748"/>
                    <a:pt x="323" y="4704"/>
                  </a:cubicBezTo>
                  <a:cubicBezTo>
                    <a:pt x="381" y="4660"/>
                    <a:pt x="381" y="4689"/>
                    <a:pt x="418" y="4623"/>
                  </a:cubicBezTo>
                  <a:cubicBezTo>
                    <a:pt x="447" y="4557"/>
                    <a:pt x="491" y="4543"/>
                    <a:pt x="550" y="4521"/>
                  </a:cubicBezTo>
                  <a:cubicBezTo>
                    <a:pt x="609" y="4499"/>
                    <a:pt x="631" y="4521"/>
                    <a:pt x="631" y="4485"/>
                  </a:cubicBezTo>
                  <a:cubicBezTo>
                    <a:pt x="631" y="4456"/>
                    <a:pt x="609" y="4434"/>
                    <a:pt x="609" y="4434"/>
                  </a:cubicBezTo>
                  <a:cubicBezTo>
                    <a:pt x="689" y="4375"/>
                    <a:pt x="689" y="4375"/>
                    <a:pt x="689" y="4375"/>
                  </a:cubicBezTo>
                  <a:cubicBezTo>
                    <a:pt x="689" y="4375"/>
                    <a:pt x="682" y="4353"/>
                    <a:pt x="653" y="4353"/>
                  </a:cubicBezTo>
                  <a:cubicBezTo>
                    <a:pt x="645" y="4353"/>
                    <a:pt x="638" y="4353"/>
                    <a:pt x="616" y="4360"/>
                  </a:cubicBezTo>
                  <a:cubicBezTo>
                    <a:pt x="579" y="4382"/>
                    <a:pt x="543" y="4404"/>
                    <a:pt x="506" y="4404"/>
                  </a:cubicBezTo>
                  <a:cubicBezTo>
                    <a:pt x="491" y="4404"/>
                    <a:pt x="469" y="4397"/>
                    <a:pt x="447" y="4390"/>
                  </a:cubicBezTo>
                  <a:cubicBezTo>
                    <a:pt x="396" y="4353"/>
                    <a:pt x="462" y="4236"/>
                    <a:pt x="506" y="4185"/>
                  </a:cubicBezTo>
                  <a:cubicBezTo>
                    <a:pt x="550" y="4126"/>
                    <a:pt x="587" y="4045"/>
                    <a:pt x="653" y="3957"/>
                  </a:cubicBezTo>
                  <a:cubicBezTo>
                    <a:pt x="718" y="3862"/>
                    <a:pt x="755" y="3884"/>
                    <a:pt x="777" y="3818"/>
                  </a:cubicBezTo>
                  <a:cubicBezTo>
                    <a:pt x="799" y="3752"/>
                    <a:pt x="755" y="3686"/>
                    <a:pt x="799" y="3591"/>
                  </a:cubicBezTo>
                  <a:cubicBezTo>
                    <a:pt x="843" y="3503"/>
                    <a:pt x="799" y="3422"/>
                    <a:pt x="777" y="3335"/>
                  </a:cubicBezTo>
                  <a:cubicBezTo>
                    <a:pt x="755" y="3239"/>
                    <a:pt x="718" y="3232"/>
                    <a:pt x="711" y="3173"/>
                  </a:cubicBezTo>
                  <a:cubicBezTo>
                    <a:pt x="697" y="3115"/>
                    <a:pt x="667" y="3071"/>
                    <a:pt x="594" y="3005"/>
                  </a:cubicBezTo>
                  <a:cubicBezTo>
                    <a:pt x="528" y="2931"/>
                    <a:pt x="543" y="2924"/>
                    <a:pt x="594" y="2880"/>
                  </a:cubicBezTo>
                  <a:cubicBezTo>
                    <a:pt x="653" y="2836"/>
                    <a:pt x="572" y="2807"/>
                    <a:pt x="521" y="2785"/>
                  </a:cubicBezTo>
                  <a:cubicBezTo>
                    <a:pt x="462" y="2763"/>
                    <a:pt x="447" y="2741"/>
                    <a:pt x="447" y="2675"/>
                  </a:cubicBezTo>
                  <a:cubicBezTo>
                    <a:pt x="447" y="2609"/>
                    <a:pt x="447" y="2558"/>
                    <a:pt x="396" y="2536"/>
                  </a:cubicBezTo>
                  <a:cubicBezTo>
                    <a:pt x="367" y="2528"/>
                    <a:pt x="337" y="2521"/>
                    <a:pt x="316" y="2521"/>
                  </a:cubicBezTo>
                  <a:cubicBezTo>
                    <a:pt x="294" y="2521"/>
                    <a:pt x="279" y="2528"/>
                    <a:pt x="279" y="2528"/>
                  </a:cubicBezTo>
                  <a:cubicBezTo>
                    <a:pt x="279" y="2528"/>
                    <a:pt x="301" y="2492"/>
                    <a:pt x="359" y="2470"/>
                  </a:cubicBezTo>
                  <a:cubicBezTo>
                    <a:pt x="418" y="2448"/>
                    <a:pt x="396" y="2389"/>
                    <a:pt x="337" y="2345"/>
                  </a:cubicBezTo>
                  <a:cubicBezTo>
                    <a:pt x="279" y="2301"/>
                    <a:pt x="279" y="2243"/>
                    <a:pt x="345" y="2235"/>
                  </a:cubicBezTo>
                  <a:cubicBezTo>
                    <a:pt x="418" y="2221"/>
                    <a:pt x="462" y="2206"/>
                    <a:pt x="484" y="2162"/>
                  </a:cubicBezTo>
                  <a:cubicBezTo>
                    <a:pt x="499" y="2133"/>
                    <a:pt x="521" y="2118"/>
                    <a:pt x="543" y="2118"/>
                  </a:cubicBezTo>
                  <a:cubicBezTo>
                    <a:pt x="550" y="2118"/>
                    <a:pt x="565" y="2126"/>
                    <a:pt x="572" y="2140"/>
                  </a:cubicBezTo>
                  <a:cubicBezTo>
                    <a:pt x="594" y="2184"/>
                    <a:pt x="631" y="2199"/>
                    <a:pt x="711" y="2199"/>
                  </a:cubicBezTo>
                  <a:cubicBezTo>
                    <a:pt x="792" y="2199"/>
                    <a:pt x="689" y="2096"/>
                    <a:pt x="653" y="2052"/>
                  </a:cubicBezTo>
                  <a:cubicBezTo>
                    <a:pt x="616" y="2008"/>
                    <a:pt x="689" y="1994"/>
                    <a:pt x="718" y="1994"/>
                  </a:cubicBezTo>
                  <a:cubicBezTo>
                    <a:pt x="755" y="1994"/>
                    <a:pt x="770" y="2059"/>
                    <a:pt x="792" y="2111"/>
                  </a:cubicBezTo>
                  <a:cubicBezTo>
                    <a:pt x="806" y="2140"/>
                    <a:pt x="843" y="2147"/>
                    <a:pt x="880" y="2147"/>
                  </a:cubicBezTo>
                  <a:cubicBezTo>
                    <a:pt x="902" y="2147"/>
                    <a:pt x="924" y="2147"/>
                    <a:pt x="946" y="2140"/>
                  </a:cubicBezTo>
                  <a:cubicBezTo>
                    <a:pt x="953" y="2140"/>
                    <a:pt x="960" y="2140"/>
                    <a:pt x="968" y="2140"/>
                  </a:cubicBezTo>
                  <a:cubicBezTo>
                    <a:pt x="1034" y="2140"/>
                    <a:pt x="1092" y="2177"/>
                    <a:pt x="1144" y="2221"/>
                  </a:cubicBezTo>
                  <a:cubicBezTo>
                    <a:pt x="1173" y="2243"/>
                    <a:pt x="1195" y="2257"/>
                    <a:pt x="1217" y="2257"/>
                  </a:cubicBezTo>
                  <a:cubicBezTo>
                    <a:pt x="1231" y="2257"/>
                    <a:pt x="1239" y="2250"/>
                    <a:pt x="1246" y="2235"/>
                  </a:cubicBezTo>
                  <a:cubicBezTo>
                    <a:pt x="1254" y="2184"/>
                    <a:pt x="1173" y="2155"/>
                    <a:pt x="1187" y="2118"/>
                  </a:cubicBezTo>
                  <a:cubicBezTo>
                    <a:pt x="1187" y="2111"/>
                    <a:pt x="1202" y="2104"/>
                    <a:pt x="1209" y="2104"/>
                  </a:cubicBezTo>
                  <a:cubicBezTo>
                    <a:pt x="1239" y="2104"/>
                    <a:pt x="1283" y="2126"/>
                    <a:pt x="1312" y="2162"/>
                  </a:cubicBezTo>
                  <a:cubicBezTo>
                    <a:pt x="1327" y="2184"/>
                    <a:pt x="1341" y="2191"/>
                    <a:pt x="1363" y="2191"/>
                  </a:cubicBezTo>
                  <a:cubicBezTo>
                    <a:pt x="1407" y="2191"/>
                    <a:pt x="1459" y="2155"/>
                    <a:pt x="1480" y="2133"/>
                  </a:cubicBezTo>
                  <a:cubicBezTo>
                    <a:pt x="1517" y="2096"/>
                    <a:pt x="1686" y="2030"/>
                    <a:pt x="1752" y="2008"/>
                  </a:cubicBezTo>
                  <a:cubicBezTo>
                    <a:pt x="1774" y="2001"/>
                    <a:pt x="1788" y="1994"/>
                    <a:pt x="1796" y="1994"/>
                  </a:cubicBezTo>
                  <a:cubicBezTo>
                    <a:pt x="1840" y="1994"/>
                    <a:pt x="1854" y="2023"/>
                    <a:pt x="1869" y="2059"/>
                  </a:cubicBezTo>
                  <a:cubicBezTo>
                    <a:pt x="1869" y="2074"/>
                    <a:pt x="1876" y="2081"/>
                    <a:pt x="1891" y="2081"/>
                  </a:cubicBezTo>
                  <a:cubicBezTo>
                    <a:pt x="1928" y="2081"/>
                    <a:pt x="2001" y="2023"/>
                    <a:pt x="2023" y="1971"/>
                  </a:cubicBezTo>
                  <a:cubicBezTo>
                    <a:pt x="2059" y="1906"/>
                    <a:pt x="2067" y="1891"/>
                    <a:pt x="2103" y="1832"/>
                  </a:cubicBezTo>
                  <a:cubicBezTo>
                    <a:pt x="2140" y="1781"/>
                    <a:pt x="2118" y="1781"/>
                    <a:pt x="2081" y="1730"/>
                  </a:cubicBezTo>
                  <a:cubicBezTo>
                    <a:pt x="2045" y="1686"/>
                    <a:pt x="1994" y="1657"/>
                    <a:pt x="1920" y="1605"/>
                  </a:cubicBezTo>
                  <a:cubicBezTo>
                    <a:pt x="1854" y="1561"/>
                    <a:pt x="1832" y="1539"/>
                    <a:pt x="1869" y="1495"/>
                  </a:cubicBezTo>
                  <a:cubicBezTo>
                    <a:pt x="1876" y="1481"/>
                    <a:pt x="1884" y="1473"/>
                    <a:pt x="1891" y="1473"/>
                  </a:cubicBezTo>
                  <a:cubicBezTo>
                    <a:pt x="1898" y="1473"/>
                    <a:pt x="1906" y="1481"/>
                    <a:pt x="1913" y="1481"/>
                  </a:cubicBezTo>
                  <a:cubicBezTo>
                    <a:pt x="1920" y="1481"/>
                    <a:pt x="1928" y="1473"/>
                    <a:pt x="1935" y="1459"/>
                  </a:cubicBezTo>
                  <a:cubicBezTo>
                    <a:pt x="1957" y="1415"/>
                    <a:pt x="1994" y="1356"/>
                    <a:pt x="2059" y="1356"/>
                  </a:cubicBezTo>
                  <a:cubicBezTo>
                    <a:pt x="2125" y="1356"/>
                    <a:pt x="2162" y="1356"/>
                    <a:pt x="2191" y="1327"/>
                  </a:cubicBezTo>
                  <a:cubicBezTo>
                    <a:pt x="2228" y="1290"/>
                    <a:pt x="2243" y="1188"/>
                    <a:pt x="2287" y="1158"/>
                  </a:cubicBezTo>
                  <a:cubicBezTo>
                    <a:pt x="2330" y="1121"/>
                    <a:pt x="2375" y="1158"/>
                    <a:pt x="2397" y="1107"/>
                  </a:cubicBezTo>
                  <a:cubicBezTo>
                    <a:pt x="2418" y="1063"/>
                    <a:pt x="2418" y="1019"/>
                    <a:pt x="2499" y="1004"/>
                  </a:cubicBezTo>
                  <a:cubicBezTo>
                    <a:pt x="2565" y="997"/>
                    <a:pt x="2602" y="968"/>
                    <a:pt x="2616" y="960"/>
                  </a:cubicBezTo>
                  <a:lnTo>
                    <a:pt x="2624" y="960"/>
                  </a:lnTo>
                  <a:cubicBezTo>
                    <a:pt x="2660" y="960"/>
                    <a:pt x="2697" y="953"/>
                    <a:pt x="2719" y="924"/>
                  </a:cubicBezTo>
                  <a:cubicBezTo>
                    <a:pt x="2748" y="872"/>
                    <a:pt x="2902" y="880"/>
                    <a:pt x="2953" y="872"/>
                  </a:cubicBezTo>
                  <a:cubicBezTo>
                    <a:pt x="3005" y="865"/>
                    <a:pt x="3173" y="850"/>
                    <a:pt x="3232" y="792"/>
                  </a:cubicBezTo>
                  <a:cubicBezTo>
                    <a:pt x="3298" y="733"/>
                    <a:pt x="3430" y="653"/>
                    <a:pt x="3481" y="623"/>
                  </a:cubicBezTo>
                  <a:cubicBezTo>
                    <a:pt x="3532" y="587"/>
                    <a:pt x="3576" y="557"/>
                    <a:pt x="3635" y="528"/>
                  </a:cubicBezTo>
                  <a:cubicBezTo>
                    <a:pt x="3693" y="491"/>
                    <a:pt x="3686" y="484"/>
                    <a:pt x="3701" y="447"/>
                  </a:cubicBezTo>
                  <a:cubicBezTo>
                    <a:pt x="3723" y="418"/>
                    <a:pt x="3745" y="396"/>
                    <a:pt x="3686" y="359"/>
                  </a:cubicBezTo>
                  <a:cubicBezTo>
                    <a:pt x="3628" y="316"/>
                    <a:pt x="3686" y="294"/>
                    <a:pt x="3701" y="257"/>
                  </a:cubicBezTo>
                  <a:cubicBezTo>
                    <a:pt x="3716" y="220"/>
                    <a:pt x="3730" y="191"/>
                    <a:pt x="3759" y="191"/>
                  </a:cubicBezTo>
                  <a:cubicBezTo>
                    <a:pt x="3774" y="191"/>
                    <a:pt x="3781" y="191"/>
                    <a:pt x="3796" y="206"/>
                  </a:cubicBezTo>
                  <a:cubicBezTo>
                    <a:pt x="3847" y="235"/>
                    <a:pt x="3862" y="271"/>
                    <a:pt x="3906" y="286"/>
                  </a:cubicBezTo>
                  <a:cubicBezTo>
                    <a:pt x="3950" y="308"/>
                    <a:pt x="3921" y="359"/>
                    <a:pt x="3943" y="403"/>
                  </a:cubicBezTo>
                  <a:cubicBezTo>
                    <a:pt x="3957" y="455"/>
                    <a:pt x="4001" y="469"/>
                    <a:pt x="4045" y="477"/>
                  </a:cubicBezTo>
                  <a:cubicBezTo>
                    <a:pt x="4082" y="484"/>
                    <a:pt x="4104" y="506"/>
                    <a:pt x="4133" y="535"/>
                  </a:cubicBezTo>
                  <a:cubicBezTo>
                    <a:pt x="4155" y="550"/>
                    <a:pt x="4177" y="557"/>
                    <a:pt x="4199" y="557"/>
                  </a:cubicBezTo>
                  <a:cubicBezTo>
                    <a:pt x="4214" y="557"/>
                    <a:pt x="4236" y="550"/>
                    <a:pt x="4258" y="535"/>
                  </a:cubicBezTo>
                  <a:cubicBezTo>
                    <a:pt x="4265" y="528"/>
                    <a:pt x="4287" y="521"/>
                    <a:pt x="4309" y="521"/>
                  </a:cubicBezTo>
                  <a:cubicBezTo>
                    <a:pt x="4338" y="521"/>
                    <a:pt x="4375" y="535"/>
                    <a:pt x="4390" y="557"/>
                  </a:cubicBezTo>
                  <a:cubicBezTo>
                    <a:pt x="4419" y="601"/>
                    <a:pt x="4411" y="682"/>
                    <a:pt x="4456" y="697"/>
                  </a:cubicBezTo>
                  <a:cubicBezTo>
                    <a:pt x="4507" y="711"/>
                    <a:pt x="4521" y="762"/>
                    <a:pt x="4441" y="770"/>
                  </a:cubicBezTo>
                  <a:cubicBezTo>
                    <a:pt x="4368" y="785"/>
                    <a:pt x="4382" y="821"/>
                    <a:pt x="4397" y="858"/>
                  </a:cubicBezTo>
                  <a:cubicBezTo>
                    <a:pt x="4419" y="895"/>
                    <a:pt x="4426" y="895"/>
                    <a:pt x="4397" y="946"/>
                  </a:cubicBezTo>
                  <a:cubicBezTo>
                    <a:pt x="4375" y="997"/>
                    <a:pt x="4411" y="1048"/>
                    <a:pt x="4360" y="1070"/>
                  </a:cubicBezTo>
                  <a:cubicBezTo>
                    <a:pt x="4309" y="1092"/>
                    <a:pt x="4287" y="1121"/>
                    <a:pt x="4360" y="1166"/>
                  </a:cubicBezTo>
                  <a:cubicBezTo>
                    <a:pt x="4411" y="1202"/>
                    <a:pt x="4456" y="1217"/>
                    <a:pt x="4492" y="1217"/>
                  </a:cubicBezTo>
                  <a:cubicBezTo>
                    <a:pt x="4499" y="1217"/>
                    <a:pt x="4507" y="1217"/>
                    <a:pt x="4521" y="1217"/>
                  </a:cubicBezTo>
                  <a:lnTo>
                    <a:pt x="4529" y="1217"/>
                  </a:lnTo>
                  <a:cubicBezTo>
                    <a:pt x="4566" y="1217"/>
                    <a:pt x="4558" y="1246"/>
                    <a:pt x="4543" y="1297"/>
                  </a:cubicBezTo>
                  <a:cubicBezTo>
                    <a:pt x="4529" y="1356"/>
                    <a:pt x="4551" y="1393"/>
                    <a:pt x="4478" y="1422"/>
                  </a:cubicBezTo>
                  <a:cubicBezTo>
                    <a:pt x="4397" y="1444"/>
                    <a:pt x="4390" y="1444"/>
                    <a:pt x="4338" y="1488"/>
                  </a:cubicBezTo>
                  <a:cubicBezTo>
                    <a:pt x="4287" y="1532"/>
                    <a:pt x="4280" y="1539"/>
                    <a:pt x="4338" y="1569"/>
                  </a:cubicBezTo>
                  <a:cubicBezTo>
                    <a:pt x="4397" y="1605"/>
                    <a:pt x="4390" y="1657"/>
                    <a:pt x="4434" y="1657"/>
                  </a:cubicBezTo>
                  <a:cubicBezTo>
                    <a:pt x="4441" y="1657"/>
                    <a:pt x="4441" y="1657"/>
                    <a:pt x="4448" y="1657"/>
                  </a:cubicBezTo>
                  <a:cubicBezTo>
                    <a:pt x="4507" y="1642"/>
                    <a:pt x="4543" y="1620"/>
                    <a:pt x="4573" y="1590"/>
                  </a:cubicBezTo>
                  <a:cubicBezTo>
                    <a:pt x="4587" y="1569"/>
                    <a:pt x="4609" y="1561"/>
                    <a:pt x="4646" y="1561"/>
                  </a:cubicBezTo>
                  <a:cubicBezTo>
                    <a:pt x="4661" y="1561"/>
                    <a:pt x="4683" y="1561"/>
                    <a:pt x="4705" y="1561"/>
                  </a:cubicBezTo>
                  <a:cubicBezTo>
                    <a:pt x="4734" y="1569"/>
                    <a:pt x="4756" y="1569"/>
                    <a:pt x="4778" y="1569"/>
                  </a:cubicBezTo>
                  <a:cubicBezTo>
                    <a:pt x="4815" y="1569"/>
                    <a:pt x="4844" y="1561"/>
                    <a:pt x="4873" y="1547"/>
                  </a:cubicBezTo>
                  <a:cubicBezTo>
                    <a:pt x="4925" y="1517"/>
                    <a:pt x="4917" y="1495"/>
                    <a:pt x="4961" y="1444"/>
                  </a:cubicBezTo>
                  <a:cubicBezTo>
                    <a:pt x="4998" y="1400"/>
                    <a:pt x="5012" y="1356"/>
                    <a:pt x="5056" y="1356"/>
                  </a:cubicBezTo>
                  <a:cubicBezTo>
                    <a:pt x="5064" y="1356"/>
                    <a:pt x="5064" y="1356"/>
                    <a:pt x="5071" y="1356"/>
                  </a:cubicBezTo>
                  <a:cubicBezTo>
                    <a:pt x="5078" y="1363"/>
                    <a:pt x="5093" y="1363"/>
                    <a:pt x="5100" y="1363"/>
                  </a:cubicBezTo>
                  <a:cubicBezTo>
                    <a:pt x="5122" y="1363"/>
                    <a:pt x="5144" y="1356"/>
                    <a:pt x="5166" y="1356"/>
                  </a:cubicBezTo>
                  <a:cubicBezTo>
                    <a:pt x="5188" y="1356"/>
                    <a:pt x="5203" y="1363"/>
                    <a:pt x="5218" y="1378"/>
                  </a:cubicBezTo>
                  <a:cubicBezTo>
                    <a:pt x="5232" y="1400"/>
                    <a:pt x="5276" y="1429"/>
                    <a:pt x="5306" y="1429"/>
                  </a:cubicBezTo>
                  <a:cubicBezTo>
                    <a:pt x="5320" y="1429"/>
                    <a:pt x="5328" y="1429"/>
                    <a:pt x="5335" y="1407"/>
                  </a:cubicBezTo>
                  <a:cubicBezTo>
                    <a:pt x="5349" y="1356"/>
                    <a:pt x="5371" y="1327"/>
                    <a:pt x="5430" y="1297"/>
                  </a:cubicBezTo>
                  <a:cubicBezTo>
                    <a:pt x="5489" y="1276"/>
                    <a:pt x="5584" y="1239"/>
                    <a:pt x="5562" y="1195"/>
                  </a:cubicBezTo>
                  <a:cubicBezTo>
                    <a:pt x="5547" y="1158"/>
                    <a:pt x="5503" y="1158"/>
                    <a:pt x="5474" y="1129"/>
                  </a:cubicBezTo>
                  <a:cubicBezTo>
                    <a:pt x="5437" y="1107"/>
                    <a:pt x="5452" y="1114"/>
                    <a:pt x="5474" y="1048"/>
                  </a:cubicBezTo>
                  <a:cubicBezTo>
                    <a:pt x="5489" y="975"/>
                    <a:pt x="5525" y="762"/>
                    <a:pt x="5489" y="733"/>
                  </a:cubicBezTo>
                  <a:cubicBezTo>
                    <a:pt x="5452" y="697"/>
                    <a:pt x="5445" y="682"/>
                    <a:pt x="5437" y="623"/>
                  </a:cubicBezTo>
                  <a:cubicBezTo>
                    <a:pt x="5430" y="557"/>
                    <a:pt x="5371" y="521"/>
                    <a:pt x="5313" y="499"/>
                  </a:cubicBezTo>
                  <a:cubicBezTo>
                    <a:pt x="5247" y="484"/>
                    <a:pt x="5196" y="447"/>
                    <a:pt x="5181" y="403"/>
                  </a:cubicBezTo>
                  <a:cubicBezTo>
                    <a:pt x="5166" y="367"/>
                    <a:pt x="5115" y="286"/>
                    <a:pt x="5181" y="286"/>
                  </a:cubicBezTo>
                  <a:cubicBezTo>
                    <a:pt x="5240" y="286"/>
                    <a:pt x="5261" y="308"/>
                    <a:pt x="5306" y="308"/>
                  </a:cubicBezTo>
                  <a:cubicBezTo>
                    <a:pt x="5313" y="308"/>
                    <a:pt x="5328" y="308"/>
                    <a:pt x="5335" y="308"/>
                  </a:cubicBezTo>
                  <a:cubicBezTo>
                    <a:pt x="5349" y="301"/>
                    <a:pt x="5357" y="301"/>
                    <a:pt x="5371" y="301"/>
                  </a:cubicBezTo>
                  <a:cubicBezTo>
                    <a:pt x="5386" y="301"/>
                    <a:pt x="5393" y="301"/>
                    <a:pt x="5408" y="301"/>
                  </a:cubicBezTo>
                  <a:cubicBezTo>
                    <a:pt x="5437" y="301"/>
                    <a:pt x="5459" y="301"/>
                    <a:pt x="5474" y="264"/>
                  </a:cubicBezTo>
                  <a:cubicBezTo>
                    <a:pt x="5489" y="206"/>
                    <a:pt x="5430" y="176"/>
                    <a:pt x="5481" y="147"/>
                  </a:cubicBezTo>
                  <a:cubicBezTo>
                    <a:pt x="5533" y="110"/>
                    <a:pt x="5533" y="66"/>
                    <a:pt x="5569" y="66"/>
                  </a:cubicBezTo>
                  <a:cubicBezTo>
                    <a:pt x="5613" y="66"/>
                    <a:pt x="5591" y="110"/>
                    <a:pt x="5635" y="110"/>
                  </a:cubicBezTo>
                  <a:cubicBezTo>
                    <a:pt x="5642" y="110"/>
                    <a:pt x="5650" y="110"/>
                    <a:pt x="5657" y="110"/>
                  </a:cubicBezTo>
                  <a:cubicBezTo>
                    <a:pt x="5738" y="96"/>
                    <a:pt x="5752" y="96"/>
                    <a:pt x="5804" y="59"/>
                  </a:cubicBezTo>
                  <a:cubicBezTo>
                    <a:pt x="5826" y="44"/>
                    <a:pt x="5848" y="30"/>
                    <a:pt x="5862" y="30"/>
                  </a:cubicBezTo>
                  <a:lnTo>
                    <a:pt x="5862" y="0"/>
                  </a:lnTo>
                  <a:lnTo>
                    <a:pt x="5862" y="0"/>
                  </a:lnTo>
                  <a:cubicBezTo>
                    <a:pt x="5840" y="0"/>
                    <a:pt x="5818" y="15"/>
                    <a:pt x="5789" y="30"/>
                  </a:cubicBezTo>
                  <a:cubicBezTo>
                    <a:pt x="5745" y="59"/>
                    <a:pt x="5730" y="59"/>
                    <a:pt x="5679" y="74"/>
                  </a:cubicBezTo>
                  <a:cubicBezTo>
                    <a:pt x="5650" y="81"/>
                    <a:pt x="5650" y="81"/>
                    <a:pt x="5650" y="81"/>
                  </a:cubicBezTo>
                  <a:cubicBezTo>
                    <a:pt x="5642" y="81"/>
                    <a:pt x="5635" y="81"/>
                    <a:pt x="5635" y="81"/>
                  </a:cubicBezTo>
                  <a:cubicBezTo>
                    <a:pt x="5628" y="81"/>
                    <a:pt x="5628" y="81"/>
                    <a:pt x="5628" y="81"/>
                  </a:cubicBezTo>
                  <a:lnTo>
                    <a:pt x="5628" y="81"/>
                  </a:lnTo>
                  <a:cubicBezTo>
                    <a:pt x="5628" y="81"/>
                    <a:pt x="5628" y="81"/>
                    <a:pt x="5628" y="74"/>
                  </a:cubicBezTo>
                  <a:cubicBezTo>
                    <a:pt x="5620" y="66"/>
                    <a:pt x="5613" y="37"/>
                    <a:pt x="5569" y="37"/>
                  </a:cubicBezTo>
                  <a:cubicBezTo>
                    <a:pt x="5533" y="37"/>
                    <a:pt x="5518" y="59"/>
                    <a:pt x="5503" y="81"/>
                  </a:cubicBezTo>
                  <a:cubicBezTo>
                    <a:pt x="5489" y="96"/>
                    <a:pt x="5481" y="103"/>
                    <a:pt x="5459" y="118"/>
                  </a:cubicBezTo>
                  <a:cubicBezTo>
                    <a:pt x="5416" y="147"/>
                    <a:pt x="5430" y="191"/>
                    <a:pt x="5437" y="213"/>
                  </a:cubicBezTo>
                  <a:cubicBezTo>
                    <a:pt x="5445" y="228"/>
                    <a:pt x="5445" y="235"/>
                    <a:pt x="5445" y="257"/>
                  </a:cubicBezTo>
                  <a:cubicBezTo>
                    <a:pt x="5437" y="271"/>
                    <a:pt x="5437" y="271"/>
                    <a:pt x="5408" y="271"/>
                  </a:cubicBezTo>
                  <a:cubicBezTo>
                    <a:pt x="5401" y="271"/>
                    <a:pt x="5393" y="271"/>
                    <a:pt x="5393" y="271"/>
                  </a:cubicBezTo>
                  <a:cubicBezTo>
                    <a:pt x="5386" y="271"/>
                    <a:pt x="5379" y="271"/>
                    <a:pt x="5371" y="271"/>
                  </a:cubicBezTo>
                  <a:cubicBezTo>
                    <a:pt x="5357" y="271"/>
                    <a:pt x="5342" y="271"/>
                    <a:pt x="5328" y="271"/>
                  </a:cubicBezTo>
                  <a:cubicBezTo>
                    <a:pt x="5320" y="279"/>
                    <a:pt x="5313" y="279"/>
                    <a:pt x="5306" y="279"/>
                  </a:cubicBezTo>
                  <a:cubicBezTo>
                    <a:pt x="5291" y="279"/>
                    <a:pt x="5276" y="271"/>
                    <a:pt x="5261" y="271"/>
                  </a:cubicBezTo>
                  <a:cubicBezTo>
                    <a:pt x="5240" y="264"/>
                    <a:pt x="5218" y="257"/>
                    <a:pt x="5181" y="257"/>
                  </a:cubicBezTo>
                  <a:cubicBezTo>
                    <a:pt x="5152" y="257"/>
                    <a:pt x="5130" y="271"/>
                    <a:pt x="5122" y="286"/>
                  </a:cubicBezTo>
                  <a:cubicBezTo>
                    <a:pt x="5108" y="316"/>
                    <a:pt x="5122" y="359"/>
                    <a:pt x="5144" y="396"/>
                  </a:cubicBezTo>
                  <a:cubicBezTo>
                    <a:pt x="5144" y="403"/>
                    <a:pt x="5152" y="411"/>
                    <a:pt x="5152" y="418"/>
                  </a:cubicBezTo>
                  <a:cubicBezTo>
                    <a:pt x="5174" y="469"/>
                    <a:pt x="5225" y="506"/>
                    <a:pt x="5298" y="528"/>
                  </a:cubicBezTo>
                  <a:cubicBezTo>
                    <a:pt x="5349" y="543"/>
                    <a:pt x="5401" y="579"/>
                    <a:pt x="5408" y="623"/>
                  </a:cubicBezTo>
                  <a:cubicBezTo>
                    <a:pt x="5416" y="689"/>
                    <a:pt x="5430" y="711"/>
                    <a:pt x="5467" y="755"/>
                  </a:cubicBezTo>
                  <a:cubicBezTo>
                    <a:pt x="5481" y="777"/>
                    <a:pt x="5467" y="953"/>
                    <a:pt x="5445" y="1041"/>
                  </a:cubicBezTo>
                  <a:cubicBezTo>
                    <a:pt x="5437" y="1056"/>
                    <a:pt x="5430" y="1070"/>
                    <a:pt x="5430" y="1078"/>
                  </a:cubicBezTo>
                  <a:cubicBezTo>
                    <a:pt x="5416" y="1114"/>
                    <a:pt x="5423" y="1129"/>
                    <a:pt x="5452" y="1151"/>
                  </a:cubicBezTo>
                  <a:cubicBezTo>
                    <a:pt x="5467" y="1166"/>
                    <a:pt x="5481" y="1173"/>
                    <a:pt x="5496" y="1180"/>
                  </a:cubicBezTo>
                  <a:cubicBezTo>
                    <a:pt x="5518" y="1188"/>
                    <a:pt x="5533" y="1195"/>
                    <a:pt x="5533" y="1209"/>
                  </a:cubicBezTo>
                  <a:cubicBezTo>
                    <a:pt x="5533" y="1224"/>
                    <a:pt x="5467" y="1253"/>
                    <a:pt x="5437" y="1261"/>
                  </a:cubicBezTo>
                  <a:cubicBezTo>
                    <a:pt x="5416" y="1276"/>
                    <a:pt x="5416" y="1276"/>
                    <a:pt x="5416" y="1276"/>
                  </a:cubicBezTo>
                  <a:cubicBezTo>
                    <a:pt x="5342" y="1305"/>
                    <a:pt x="5320" y="1349"/>
                    <a:pt x="5306" y="1400"/>
                  </a:cubicBezTo>
                  <a:lnTo>
                    <a:pt x="5306" y="1400"/>
                  </a:lnTo>
                  <a:cubicBezTo>
                    <a:pt x="5291" y="1400"/>
                    <a:pt x="5254" y="1378"/>
                    <a:pt x="5240" y="1356"/>
                  </a:cubicBezTo>
                  <a:cubicBezTo>
                    <a:pt x="5218" y="1334"/>
                    <a:pt x="5188" y="1327"/>
                    <a:pt x="5166" y="1327"/>
                  </a:cubicBezTo>
                  <a:cubicBezTo>
                    <a:pt x="5159" y="1327"/>
                    <a:pt x="5144" y="1327"/>
                    <a:pt x="5137" y="1327"/>
                  </a:cubicBezTo>
                  <a:cubicBezTo>
                    <a:pt x="5122" y="1327"/>
                    <a:pt x="5115" y="1334"/>
                    <a:pt x="5100" y="1334"/>
                  </a:cubicBezTo>
                  <a:cubicBezTo>
                    <a:pt x="5093" y="1334"/>
                    <a:pt x="5086" y="1327"/>
                    <a:pt x="5078" y="1327"/>
                  </a:cubicBezTo>
                  <a:cubicBezTo>
                    <a:pt x="5071" y="1327"/>
                    <a:pt x="5064" y="1327"/>
                    <a:pt x="5056" y="1327"/>
                  </a:cubicBezTo>
                  <a:cubicBezTo>
                    <a:pt x="5005" y="1327"/>
                    <a:pt x="4983" y="1363"/>
                    <a:pt x="4961" y="1393"/>
                  </a:cubicBezTo>
                  <a:cubicBezTo>
                    <a:pt x="4954" y="1400"/>
                    <a:pt x="4947" y="1415"/>
                    <a:pt x="4939" y="1422"/>
                  </a:cubicBezTo>
                  <a:cubicBezTo>
                    <a:pt x="4917" y="1444"/>
                    <a:pt x="4910" y="1466"/>
                    <a:pt x="4902" y="1481"/>
                  </a:cubicBezTo>
                  <a:cubicBezTo>
                    <a:pt x="4888" y="1495"/>
                    <a:pt x="4888" y="1510"/>
                    <a:pt x="4866" y="1517"/>
                  </a:cubicBezTo>
                  <a:cubicBezTo>
                    <a:pt x="4837" y="1532"/>
                    <a:pt x="4807" y="1539"/>
                    <a:pt x="4778" y="1539"/>
                  </a:cubicBezTo>
                  <a:cubicBezTo>
                    <a:pt x="4756" y="1539"/>
                    <a:pt x="4734" y="1539"/>
                    <a:pt x="4712" y="1532"/>
                  </a:cubicBezTo>
                  <a:cubicBezTo>
                    <a:pt x="4683" y="1532"/>
                    <a:pt x="4661" y="1525"/>
                    <a:pt x="4646" y="1525"/>
                  </a:cubicBezTo>
                  <a:cubicBezTo>
                    <a:pt x="4617" y="1525"/>
                    <a:pt x="4573" y="1532"/>
                    <a:pt x="4543" y="1569"/>
                  </a:cubicBezTo>
                  <a:cubicBezTo>
                    <a:pt x="4529" y="1598"/>
                    <a:pt x="4499" y="1612"/>
                    <a:pt x="4441" y="1627"/>
                  </a:cubicBezTo>
                  <a:lnTo>
                    <a:pt x="4434" y="1627"/>
                  </a:lnTo>
                  <a:cubicBezTo>
                    <a:pt x="4426" y="1627"/>
                    <a:pt x="4426" y="1627"/>
                    <a:pt x="4411" y="1605"/>
                  </a:cubicBezTo>
                  <a:cubicBezTo>
                    <a:pt x="4404" y="1590"/>
                    <a:pt x="4390" y="1561"/>
                    <a:pt x="4353" y="1547"/>
                  </a:cubicBezTo>
                  <a:cubicBezTo>
                    <a:pt x="4346" y="1539"/>
                    <a:pt x="4338" y="1532"/>
                    <a:pt x="4331" y="1532"/>
                  </a:cubicBezTo>
                  <a:cubicBezTo>
                    <a:pt x="4338" y="1525"/>
                    <a:pt x="4353" y="1517"/>
                    <a:pt x="4360" y="1510"/>
                  </a:cubicBezTo>
                  <a:cubicBezTo>
                    <a:pt x="4404" y="1473"/>
                    <a:pt x="4411" y="1473"/>
                    <a:pt x="4463" y="1451"/>
                  </a:cubicBezTo>
                  <a:cubicBezTo>
                    <a:pt x="4485" y="1451"/>
                    <a:pt x="4485" y="1451"/>
                    <a:pt x="4485" y="1451"/>
                  </a:cubicBezTo>
                  <a:cubicBezTo>
                    <a:pt x="4551" y="1422"/>
                    <a:pt x="4566" y="1393"/>
                    <a:pt x="4566" y="1349"/>
                  </a:cubicBezTo>
                  <a:cubicBezTo>
                    <a:pt x="4566" y="1334"/>
                    <a:pt x="4573" y="1319"/>
                    <a:pt x="4573" y="1305"/>
                  </a:cubicBezTo>
                  <a:cubicBezTo>
                    <a:pt x="4587" y="1261"/>
                    <a:pt x="4595" y="1231"/>
                    <a:pt x="4580" y="1202"/>
                  </a:cubicBezTo>
                  <a:cubicBezTo>
                    <a:pt x="4573" y="1195"/>
                    <a:pt x="4558" y="1180"/>
                    <a:pt x="4529" y="1180"/>
                  </a:cubicBezTo>
                  <a:cubicBezTo>
                    <a:pt x="4529" y="1180"/>
                    <a:pt x="4521" y="1180"/>
                    <a:pt x="4514" y="1188"/>
                  </a:cubicBezTo>
                  <a:cubicBezTo>
                    <a:pt x="4507" y="1188"/>
                    <a:pt x="4499" y="1188"/>
                    <a:pt x="4492" y="1188"/>
                  </a:cubicBezTo>
                  <a:cubicBezTo>
                    <a:pt x="4463" y="1188"/>
                    <a:pt x="4426" y="1173"/>
                    <a:pt x="4375" y="1136"/>
                  </a:cubicBezTo>
                  <a:cubicBezTo>
                    <a:pt x="4353" y="1129"/>
                    <a:pt x="4346" y="1121"/>
                    <a:pt x="4346" y="1114"/>
                  </a:cubicBezTo>
                  <a:cubicBezTo>
                    <a:pt x="4346" y="1114"/>
                    <a:pt x="4353" y="1107"/>
                    <a:pt x="4368" y="1100"/>
                  </a:cubicBezTo>
                  <a:cubicBezTo>
                    <a:pt x="4419" y="1078"/>
                    <a:pt x="4419" y="1034"/>
                    <a:pt x="4419" y="1004"/>
                  </a:cubicBezTo>
                  <a:cubicBezTo>
                    <a:pt x="4419" y="990"/>
                    <a:pt x="4419" y="968"/>
                    <a:pt x="4426" y="953"/>
                  </a:cubicBezTo>
                  <a:cubicBezTo>
                    <a:pt x="4456" y="902"/>
                    <a:pt x="4448" y="887"/>
                    <a:pt x="4434" y="858"/>
                  </a:cubicBezTo>
                  <a:cubicBezTo>
                    <a:pt x="4434" y="850"/>
                    <a:pt x="4426" y="850"/>
                    <a:pt x="4426" y="843"/>
                  </a:cubicBezTo>
                  <a:cubicBezTo>
                    <a:pt x="4419" y="821"/>
                    <a:pt x="4411" y="814"/>
                    <a:pt x="4419" y="814"/>
                  </a:cubicBezTo>
                  <a:lnTo>
                    <a:pt x="4419" y="814"/>
                  </a:lnTo>
                  <a:cubicBezTo>
                    <a:pt x="4419" y="814"/>
                    <a:pt x="4419" y="807"/>
                    <a:pt x="4448" y="807"/>
                  </a:cubicBezTo>
                  <a:cubicBezTo>
                    <a:pt x="4514" y="792"/>
                    <a:pt x="4529" y="755"/>
                    <a:pt x="4529" y="740"/>
                  </a:cubicBezTo>
                  <a:cubicBezTo>
                    <a:pt x="4529" y="711"/>
                    <a:pt x="4507" y="682"/>
                    <a:pt x="4470" y="667"/>
                  </a:cubicBezTo>
                  <a:cubicBezTo>
                    <a:pt x="4456" y="660"/>
                    <a:pt x="4448" y="645"/>
                    <a:pt x="4441" y="609"/>
                  </a:cubicBezTo>
                  <a:cubicBezTo>
                    <a:pt x="4434" y="587"/>
                    <a:pt x="4426" y="565"/>
                    <a:pt x="4419" y="543"/>
                  </a:cubicBezTo>
                  <a:cubicBezTo>
                    <a:pt x="4390" y="506"/>
                    <a:pt x="4346" y="491"/>
                    <a:pt x="4309" y="491"/>
                  </a:cubicBezTo>
                  <a:cubicBezTo>
                    <a:pt x="4280" y="491"/>
                    <a:pt x="4258" y="499"/>
                    <a:pt x="4236" y="513"/>
                  </a:cubicBezTo>
                  <a:cubicBezTo>
                    <a:pt x="4228" y="521"/>
                    <a:pt x="4214" y="521"/>
                    <a:pt x="4199" y="521"/>
                  </a:cubicBezTo>
                  <a:cubicBezTo>
                    <a:pt x="4177" y="521"/>
                    <a:pt x="4162" y="521"/>
                    <a:pt x="4155" y="513"/>
                  </a:cubicBezTo>
                  <a:cubicBezTo>
                    <a:pt x="4148" y="506"/>
                    <a:pt x="4140" y="499"/>
                    <a:pt x="4133" y="491"/>
                  </a:cubicBezTo>
                  <a:cubicBezTo>
                    <a:pt x="4111" y="469"/>
                    <a:pt x="4089" y="455"/>
                    <a:pt x="4045" y="447"/>
                  </a:cubicBezTo>
                  <a:cubicBezTo>
                    <a:pt x="4009" y="440"/>
                    <a:pt x="3979" y="433"/>
                    <a:pt x="3972" y="396"/>
                  </a:cubicBezTo>
                  <a:cubicBezTo>
                    <a:pt x="3965" y="381"/>
                    <a:pt x="3965" y="367"/>
                    <a:pt x="3965" y="352"/>
                  </a:cubicBezTo>
                  <a:cubicBezTo>
                    <a:pt x="3965" y="323"/>
                    <a:pt x="3965" y="279"/>
                    <a:pt x="3921" y="257"/>
                  </a:cubicBezTo>
                  <a:cubicBezTo>
                    <a:pt x="3899" y="250"/>
                    <a:pt x="3884" y="242"/>
                    <a:pt x="3869" y="228"/>
                  </a:cubicBezTo>
                  <a:cubicBezTo>
                    <a:pt x="3855" y="213"/>
                    <a:pt x="3840" y="191"/>
                    <a:pt x="3811" y="176"/>
                  </a:cubicBezTo>
                  <a:cubicBezTo>
                    <a:pt x="3796" y="169"/>
                    <a:pt x="3781" y="162"/>
                    <a:pt x="3759" y="162"/>
                  </a:cubicBezTo>
                  <a:cubicBezTo>
                    <a:pt x="3708" y="162"/>
                    <a:pt x="3686" y="220"/>
                    <a:pt x="3671" y="242"/>
                  </a:cubicBezTo>
                  <a:cubicBezTo>
                    <a:pt x="3671" y="250"/>
                    <a:pt x="3664" y="257"/>
                    <a:pt x="3657" y="271"/>
                  </a:cubicBezTo>
                  <a:cubicBezTo>
                    <a:pt x="3642" y="286"/>
                    <a:pt x="3628" y="301"/>
                    <a:pt x="3628" y="330"/>
                  </a:cubicBezTo>
                  <a:cubicBezTo>
                    <a:pt x="3635" y="352"/>
                    <a:pt x="3649" y="367"/>
                    <a:pt x="3664" y="381"/>
                  </a:cubicBezTo>
                  <a:cubicBezTo>
                    <a:pt x="3693" y="396"/>
                    <a:pt x="3693" y="403"/>
                    <a:pt x="3693" y="403"/>
                  </a:cubicBezTo>
                  <a:cubicBezTo>
                    <a:pt x="3693" y="403"/>
                    <a:pt x="3686" y="411"/>
                    <a:pt x="3686" y="418"/>
                  </a:cubicBezTo>
                  <a:cubicBezTo>
                    <a:pt x="3679" y="426"/>
                    <a:pt x="3679" y="433"/>
                    <a:pt x="3679" y="433"/>
                  </a:cubicBezTo>
                  <a:cubicBezTo>
                    <a:pt x="3671" y="447"/>
                    <a:pt x="3671" y="447"/>
                    <a:pt x="3664" y="455"/>
                  </a:cubicBezTo>
                  <a:cubicBezTo>
                    <a:pt x="3657" y="469"/>
                    <a:pt x="3657" y="477"/>
                    <a:pt x="3620" y="499"/>
                  </a:cubicBezTo>
                  <a:cubicBezTo>
                    <a:pt x="3561" y="535"/>
                    <a:pt x="3518" y="557"/>
                    <a:pt x="3466" y="594"/>
                  </a:cubicBezTo>
                  <a:cubicBezTo>
                    <a:pt x="3452" y="601"/>
                    <a:pt x="3437" y="616"/>
                    <a:pt x="3415" y="623"/>
                  </a:cubicBezTo>
                  <a:cubicBezTo>
                    <a:pt x="3349" y="667"/>
                    <a:pt x="3261" y="719"/>
                    <a:pt x="3210" y="770"/>
                  </a:cubicBezTo>
                  <a:cubicBezTo>
                    <a:pt x="3166" y="814"/>
                    <a:pt x="3034" y="828"/>
                    <a:pt x="2975" y="843"/>
                  </a:cubicBezTo>
                  <a:cubicBezTo>
                    <a:pt x="2968" y="843"/>
                    <a:pt x="2953" y="843"/>
                    <a:pt x="2946" y="843"/>
                  </a:cubicBezTo>
                  <a:cubicBezTo>
                    <a:pt x="2939" y="843"/>
                    <a:pt x="2917" y="850"/>
                    <a:pt x="2895" y="850"/>
                  </a:cubicBezTo>
                  <a:cubicBezTo>
                    <a:pt x="2821" y="850"/>
                    <a:pt x="2726" y="858"/>
                    <a:pt x="2690" y="909"/>
                  </a:cubicBezTo>
                  <a:cubicBezTo>
                    <a:pt x="2682" y="924"/>
                    <a:pt x="2660" y="924"/>
                    <a:pt x="2624" y="924"/>
                  </a:cubicBezTo>
                  <a:cubicBezTo>
                    <a:pt x="2616" y="924"/>
                    <a:pt x="2616" y="924"/>
                    <a:pt x="2616" y="924"/>
                  </a:cubicBezTo>
                  <a:cubicBezTo>
                    <a:pt x="2609" y="924"/>
                    <a:pt x="2609" y="924"/>
                    <a:pt x="2609" y="924"/>
                  </a:cubicBezTo>
                  <a:cubicBezTo>
                    <a:pt x="2602" y="931"/>
                    <a:pt x="2602" y="931"/>
                    <a:pt x="2602" y="931"/>
                  </a:cubicBezTo>
                  <a:cubicBezTo>
                    <a:pt x="2580" y="953"/>
                    <a:pt x="2543" y="968"/>
                    <a:pt x="2499" y="975"/>
                  </a:cubicBezTo>
                  <a:cubicBezTo>
                    <a:pt x="2418" y="990"/>
                    <a:pt x="2397" y="1034"/>
                    <a:pt x="2382" y="1070"/>
                  </a:cubicBezTo>
                  <a:cubicBezTo>
                    <a:pt x="2382" y="1078"/>
                    <a:pt x="2375" y="1085"/>
                    <a:pt x="2375" y="1100"/>
                  </a:cubicBezTo>
                  <a:cubicBezTo>
                    <a:pt x="2367" y="1107"/>
                    <a:pt x="2367" y="1107"/>
                    <a:pt x="2345" y="1107"/>
                  </a:cubicBezTo>
                  <a:cubicBezTo>
                    <a:pt x="2323" y="1107"/>
                    <a:pt x="2294" y="1107"/>
                    <a:pt x="2265" y="1129"/>
                  </a:cubicBezTo>
                  <a:cubicBezTo>
                    <a:pt x="2235" y="1158"/>
                    <a:pt x="2221" y="1202"/>
                    <a:pt x="2206" y="1239"/>
                  </a:cubicBezTo>
                  <a:cubicBezTo>
                    <a:pt x="2191" y="1268"/>
                    <a:pt x="2184" y="1290"/>
                    <a:pt x="2177" y="1305"/>
                  </a:cubicBezTo>
                  <a:cubicBezTo>
                    <a:pt x="2147" y="1327"/>
                    <a:pt x="2125" y="1327"/>
                    <a:pt x="2059" y="1327"/>
                  </a:cubicBezTo>
                  <a:cubicBezTo>
                    <a:pt x="1964" y="1327"/>
                    <a:pt x="1928" y="1415"/>
                    <a:pt x="1906" y="1451"/>
                  </a:cubicBezTo>
                  <a:cubicBezTo>
                    <a:pt x="1906" y="1444"/>
                    <a:pt x="1898" y="1444"/>
                    <a:pt x="1891" y="1444"/>
                  </a:cubicBezTo>
                  <a:cubicBezTo>
                    <a:pt x="1862" y="1444"/>
                    <a:pt x="1847" y="1466"/>
                    <a:pt x="1840" y="1481"/>
                  </a:cubicBezTo>
                  <a:cubicBezTo>
                    <a:pt x="1825" y="1503"/>
                    <a:pt x="1818" y="1525"/>
                    <a:pt x="1818" y="1547"/>
                  </a:cubicBezTo>
                  <a:cubicBezTo>
                    <a:pt x="1825" y="1576"/>
                    <a:pt x="1862" y="1605"/>
                    <a:pt x="1906" y="1635"/>
                  </a:cubicBezTo>
                  <a:cubicBezTo>
                    <a:pt x="1928" y="1649"/>
                    <a:pt x="1928" y="1649"/>
                    <a:pt x="1928" y="1649"/>
                  </a:cubicBezTo>
                  <a:cubicBezTo>
                    <a:pt x="1986" y="1686"/>
                    <a:pt x="2030" y="1715"/>
                    <a:pt x="2059" y="1752"/>
                  </a:cubicBezTo>
                  <a:cubicBezTo>
                    <a:pt x="2067" y="1759"/>
                    <a:pt x="2074" y="1774"/>
                    <a:pt x="2081" y="1774"/>
                  </a:cubicBezTo>
                  <a:cubicBezTo>
                    <a:pt x="2081" y="1781"/>
                    <a:pt x="2089" y="1788"/>
                    <a:pt x="2089" y="1796"/>
                  </a:cubicBezTo>
                  <a:cubicBezTo>
                    <a:pt x="2089" y="1796"/>
                    <a:pt x="2089" y="1796"/>
                    <a:pt x="2081" y="1818"/>
                  </a:cubicBezTo>
                  <a:cubicBezTo>
                    <a:pt x="2067" y="1840"/>
                    <a:pt x="2059" y="1854"/>
                    <a:pt x="2052" y="1862"/>
                  </a:cubicBezTo>
                  <a:cubicBezTo>
                    <a:pt x="2037" y="1891"/>
                    <a:pt x="2023" y="1913"/>
                    <a:pt x="2001" y="1957"/>
                  </a:cubicBezTo>
                  <a:cubicBezTo>
                    <a:pt x="1979" y="2001"/>
                    <a:pt x="1920" y="2045"/>
                    <a:pt x="1898" y="2052"/>
                  </a:cubicBezTo>
                  <a:cubicBezTo>
                    <a:pt x="1876" y="1979"/>
                    <a:pt x="1825" y="1964"/>
                    <a:pt x="1796" y="1964"/>
                  </a:cubicBezTo>
                  <a:cubicBezTo>
                    <a:pt x="1781" y="1964"/>
                    <a:pt x="1766" y="1971"/>
                    <a:pt x="1744" y="1979"/>
                  </a:cubicBezTo>
                  <a:cubicBezTo>
                    <a:pt x="1693" y="1994"/>
                    <a:pt x="1503" y="2067"/>
                    <a:pt x="1459" y="2111"/>
                  </a:cubicBezTo>
                  <a:cubicBezTo>
                    <a:pt x="1437" y="2126"/>
                    <a:pt x="1393" y="2155"/>
                    <a:pt x="1363" y="2155"/>
                  </a:cubicBezTo>
                  <a:cubicBezTo>
                    <a:pt x="1349" y="2155"/>
                    <a:pt x="1341" y="2155"/>
                    <a:pt x="1334" y="2147"/>
                  </a:cubicBezTo>
                  <a:cubicBezTo>
                    <a:pt x="1297" y="2104"/>
                    <a:pt x="1254" y="2074"/>
                    <a:pt x="1209" y="2074"/>
                  </a:cubicBezTo>
                  <a:cubicBezTo>
                    <a:pt x="1187" y="2074"/>
                    <a:pt x="1165" y="2089"/>
                    <a:pt x="1158" y="2111"/>
                  </a:cubicBezTo>
                  <a:cubicBezTo>
                    <a:pt x="1144" y="2140"/>
                    <a:pt x="1173" y="2169"/>
                    <a:pt x="1187" y="2191"/>
                  </a:cubicBezTo>
                  <a:cubicBezTo>
                    <a:pt x="1202" y="2199"/>
                    <a:pt x="1217" y="2213"/>
                    <a:pt x="1209" y="2228"/>
                  </a:cubicBezTo>
                  <a:lnTo>
                    <a:pt x="1209" y="2228"/>
                  </a:lnTo>
                  <a:cubicBezTo>
                    <a:pt x="1202" y="2228"/>
                    <a:pt x="1187" y="2221"/>
                    <a:pt x="1158" y="2199"/>
                  </a:cubicBezTo>
                  <a:cubicBezTo>
                    <a:pt x="1107" y="2155"/>
                    <a:pt x="1041" y="2111"/>
                    <a:pt x="968" y="2111"/>
                  </a:cubicBezTo>
                  <a:cubicBezTo>
                    <a:pt x="960" y="2111"/>
                    <a:pt x="953" y="2111"/>
                    <a:pt x="946" y="2111"/>
                  </a:cubicBezTo>
                  <a:cubicBezTo>
                    <a:pt x="916" y="2118"/>
                    <a:pt x="902" y="2118"/>
                    <a:pt x="880" y="2118"/>
                  </a:cubicBezTo>
                  <a:cubicBezTo>
                    <a:pt x="843" y="2118"/>
                    <a:pt x="821" y="2111"/>
                    <a:pt x="814" y="2096"/>
                  </a:cubicBezTo>
                  <a:cubicBezTo>
                    <a:pt x="814" y="2081"/>
                    <a:pt x="806" y="2067"/>
                    <a:pt x="799" y="2052"/>
                  </a:cubicBezTo>
                  <a:cubicBezTo>
                    <a:pt x="785" y="2008"/>
                    <a:pt x="770" y="1964"/>
                    <a:pt x="718" y="1964"/>
                  </a:cubicBezTo>
                  <a:cubicBezTo>
                    <a:pt x="704" y="1964"/>
                    <a:pt x="638" y="1964"/>
                    <a:pt x="616" y="2008"/>
                  </a:cubicBezTo>
                  <a:cubicBezTo>
                    <a:pt x="616" y="2016"/>
                    <a:pt x="609" y="2038"/>
                    <a:pt x="631" y="2067"/>
                  </a:cubicBezTo>
                  <a:cubicBezTo>
                    <a:pt x="638" y="2074"/>
                    <a:pt x="645" y="2089"/>
                    <a:pt x="653" y="2096"/>
                  </a:cubicBezTo>
                  <a:cubicBezTo>
                    <a:pt x="667" y="2118"/>
                    <a:pt x="697" y="2147"/>
                    <a:pt x="704" y="2169"/>
                  </a:cubicBezTo>
                  <a:cubicBezTo>
                    <a:pt x="631" y="2169"/>
                    <a:pt x="616" y="2155"/>
                    <a:pt x="601" y="2126"/>
                  </a:cubicBezTo>
                  <a:cubicBezTo>
                    <a:pt x="587" y="2104"/>
                    <a:pt x="565" y="2089"/>
                    <a:pt x="543" y="2089"/>
                  </a:cubicBezTo>
                  <a:cubicBezTo>
                    <a:pt x="506" y="2089"/>
                    <a:pt x="477" y="2111"/>
                    <a:pt x="455" y="2147"/>
                  </a:cubicBezTo>
                  <a:cubicBezTo>
                    <a:pt x="440" y="2184"/>
                    <a:pt x="411" y="2191"/>
                    <a:pt x="345" y="2199"/>
                  </a:cubicBezTo>
                  <a:cubicBezTo>
                    <a:pt x="301" y="2206"/>
                    <a:pt x="272" y="2228"/>
                    <a:pt x="264" y="2257"/>
                  </a:cubicBezTo>
                  <a:cubicBezTo>
                    <a:pt x="257" y="2294"/>
                    <a:pt x="279" y="2338"/>
                    <a:pt x="316" y="2367"/>
                  </a:cubicBezTo>
                  <a:cubicBezTo>
                    <a:pt x="352" y="2397"/>
                    <a:pt x="359" y="2419"/>
                    <a:pt x="359" y="2433"/>
                  </a:cubicBezTo>
                  <a:cubicBezTo>
                    <a:pt x="359" y="2433"/>
                    <a:pt x="352" y="2440"/>
                    <a:pt x="345" y="2440"/>
                  </a:cubicBezTo>
                  <a:cubicBezTo>
                    <a:pt x="286" y="2470"/>
                    <a:pt x="257" y="2507"/>
                    <a:pt x="257" y="2507"/>
                  </a:cubicBezTo>
                  <a:cubicBezTo>
                    <a:pt x="213" y="2572"/>
                    <a:pt x="213" y="2572"/>
                    <a:pt x="213" y="2572"/>
                  </a:cubicBezTo>
                  <a:cubicBezTo>
                    <a:pt x="286" y="2558"/>
                    <a:pt x="286" y="2558"/>
                    <a:pt x="286" y="2558"/>
                  </a:cubicBezTo>
                  <a:cubicBezTo>
                    <a:pt x="286" y="2558"/>
                    <a:pt x="294" y="2558"/>
                    <a:pt x="316" y="2558"/>
                  </a:cubicBezTo>
                  <a:cubicBezTo>
                    <a:pt x="330" y="2558"/>
                    <a:pt x="359" y="2558"/>
                    <a:pt x="381" y="2565"/>
                  </a:cubicBezTo>
                  <a:cubicBezTo>
                    <a:pt x="418" y="2580"/>
                    <a:pt x="418" y="2602"/>
                    <a:pt x="418" y="2675"/>
                  </a:cubicBezTo>
                  <a:cubicBezTo>
                    <a:pt x="418" y="2748"/>
                    <a:pt x="433" y="2785"/>
                    <a:pt x="506" y="2814"/>
                  </a:cubicBezTo>
                  <a:cubicBezTo>
                    <a:pt x="528" y="2821"/>
                    <a:pt x="528" y="2821"/>
                    <a:pt x="528" y="2821"/>
                  </a:cubicBezTo>
                  <a:cubicBezTo>
                    <a:pt x="543" y="2829"/>
                    <a:pt x="572" y="2844"/>
                    <a:pt x="579" y="2851"/>
                  </a:cubicBezTo>
                  <a:lnTo>
                    <a:pt x="579" y="2851"/>
                  </a:lnTo>
                  <a:cubicBezTo>
                    <a:pt x="543" y="2880"/>
                    <a:pt x="521" y="2902"/>
                    <a:pt x="521" y="2931"/>
                  </a:cubicBezTo>
                  <a:cubicBezTo>
                    <a:pt x="521" y="2961"/>
                    <a:pt x="535" y="2990"/>
                    <a:pt x="572" y="3027"/>
                  </a:cubicBezTo>
                  <a:cubicBezTo>
                    <a:pt x="645" y="3093"/>
                    <a:pt x="675" y="3129"/>
                    <a:pt x="682" y="3181"/>
                  </a:cubicBezTo>
                  <a:cubicBezTo>
                    <a:pt x="689" y="3210"/>
                    <a:pt x="697" y="3232"/>
                    <a:pt x="711" y="3247"/>
                  </a:cubicBezTo>
                  <a:cubicBezTo>
                    <a:pt x="726" y="3269"/>
                    <a:pt x="740" y="3298"/>
                    <a:pt x="748" y="3342"/>
                  </a:cubicBezTo>
                  <a:cubicBezTo>
                    <a:pt x="755" y="3357"/>
                    <a:pt x="763" y="3378"/>
                    <a:pt x="763" y="3400"/>
                  </a:cubicBezTo>
                  <a:cubicBezTo>
                    <a:pt x="785" y="3466"/>
                    <a:pt x="806" y="3518"/>
                    <a:pt x="770" y="3576"/>
                  </a:cubicBezTo>
                  <a:cubicBezTo>
                    <a:pt x="740" y="3642"/>
                    <a:pt x="748" y="3694"/>
                    <a:pt x="755" y="3730"/>
                  </a:cubicBezTo>
                  <a:cubicBezTo>
                    <a:pt x="755" y="3759"/>
                    <a:pt x="755" y="3789"/>
                    <a:pt x="748" y="3811"/>
                  </a:cubicBezTo>
                  <a:cubicBezTo>
                    <a:pt x="740" y="3833"/>
                    <a:pt x="733" y="3840"/>
                    <a:pt x="711" y="3855"/>
                  </a:cubicBezTo>
                  <a:cubicBezTo>
                    <a:pt x="689" y="3869"/>
                    <a:pt x="667" y="3891"/>
                    <a:pt x="631" y="3935"/>
                  </a:cubicBezTo>
                  <a:cubicBezTo>
                    <a:pt x="594" y="3987"/>
                    <a:pt x="565" y="4030"/>
                    <a:pt x="543" y="4075"/>
                  </a:cubicBezTo>
                  <a:cubicBezTo>
                    <a:pt x="521" y="4104"/>
                    <a:pt x="499" y="4140"/>
                    <a:pt x="484" y="4163"/>
                  </a:cubicBezTo>
                  <a:cubicBezTo>
                    <a:pt x="469" y="4185"/>
                    <a:pt x="389" y="4287"/>
                    <a:pt x="396" y="4360"/>
                  </a:cubicBezTo>
                  <a:cubicBezTo>
                    <a:pt x="404" y="4382"/>
                    <a:pt x="418" y="4404"/>
                    <a:pt x="433" y="4412"/>
                  </a:cubicBezTo>
                  <a:cubicBezTo>
                    <a:pt x="455" y="4426"/>
                    <a:pt x="484" y="4434"/>
                    <a:pt x="506" y="4434"/>
                  </a:cubicBezTo>
                  <a:cubicBezTo>
                    <a:pt x="528" y="4434"/>
                    <a:pt x="550" y="4426"/>
                    <a:pt x="572" y="4419"/>
                  </a:cubicBezTo>
                  <a:cubicBezTo>
                    <a:pt x="565" y="4426"/>
                    <a:pt x="565" y="4426"/>
                    <a:pt x="565" y="4426"/>
                  </a:cubicBezTo>
                  <a:cubicBezTo>
                    <a:pt x="587" y="4456"/>
                    <a:pt x="587" y="4456"/>
                    <a:pt x="587" y="4456"/>
                  </a:cubicBezTo>
                  <a:lnTo>
                    <a:pt x="587" y="4456"/>
                  </a:lnTo>
                  <a:cubicBezTo>
                    <a:pt x="587" y="4456"/>
                    <a:pt x="594" y="4463"/>
                    <a:pt x="601" y="4478"/>
                  </a:cubicBezTo>
                  <a:cubicBezTo>
                    <a:pt x="587" y="4478"/>
                    <a:pt x="565" y="4485"/>
                    <a:pt x="543" y="4492"/>
                  </a:cubicBezTo>
                  <a:cubicBezTo>
                    <a:pt x="521" y="4499"/>
                    <a:pt x="521" y="4499"/>
                    <a:pt x="521" y="4499"/>
                  </a:cubicBezTo>
                  <a:cubicBezTo>
                    <a:pt x="469" y="4521"/>
                    <a:pt x="425" y="4535"/>
                    <a:pt x="389" y="4608"/>
                  </a:cubicBezTo>
                  <a:cubicBezTo>
                    <a:pt x="374" y="4638"/>
                    <a:pt x="367" y="4645"/>
                    <a:pt x="359" y="4645"/>
                  </a:cubicBezTo>
                  <a:cubicBezTo>
                    <a:pt x="345" y="4653"/>
                    <a:pt x="330" y="4660"/>
                    <a:pt x="308" y="4682"/>
                  </a:cubicBezTo>
                  <a:cubicBezTo>
                    <a:pt x="257" y="4711"/>
                    <a:pt x="235" y="4770"/>
                    <a:pt x="213" y="4806"/>
                  </a:cubicBezTo>
                  <a:cubicBezTo>
                    <a:pt x="213" y="4821"/>
                    <a:pt x="206" y="4828"/>
                    <a:pt x="198" y="4843"/>
                  </a:cubicBezTo>
                  <a:cubicBezTo>
                    <a:pt x="184" y="4836"/>
                    <a:pt x="162" y="4814"/>
                    <a:pt x="162" y="4792"/>
                  </a:cubicBezTo>
                  <a:cubicBezTo>
                    <a:pt x="162" y="4733"/>
                    <a:pt x="125" y="4726"/>
                    <a:pt x="110" y="4726"/>
                  </a:cubicBezTo>
                  <a:cubicBezTo>
                    <a:pt x="96" y="4726"/>
                    <a:pt x="74" y="4733"/>
                    <a:pt x="44" y="4755"/>
                  </a:cubicBezTo>
                  <a:cubicBezTo>
                    <a:pt x="0" y="4792"/>
                    <a:pt x="15" y="4836"/>
                    <a:pt x="30" y="4865"/>
                  </a:cubicBezTo>
                  <a:cubicBezTo>
                    <a:pt x="37" y="4887"/>
                    <a:pt x="44" y="4916"/>
                    <a:pt x="44" y="4938"/>
                  </a:cubicBezTo>
                  <a:cubicBezTo>
                    <a:pt x="44" y="4960"/>
                    <a:pt x="44" y="4975"/>
                    <a:pt x="44" y="4989"/>
                  </a:cubicBezTo>
                  <a:cubicBezTo>
                    <a:pt x="37" y="5034"/>
                    <a:pt x="37" y="5070"/>
                    <a:pt x="59" y="5092"/>
                  </a:cubicBezTo>
                  <a:cubicBezTo>
                    <a:pt x="66" y="5107"/>
                    <a:pt x="81" y="5114"/>
                    <a:pt x="103" y="5114"/>
                  </a:cubicBezTo>
                  <a:cubicBezTo>
                    <a:pt x="118" y="5114"/>
                    <a:pt x="125" y="5107"/>
                    <a:pt x="140" y="5107"/>
                  </a:cubicBezTo>
                  <a:cubicBezTo>
                    <a:pt x="191" y="5092"/>
                    <a:pt x="220" y="5092"/>
                    <a:pt x="242" y="5092"/>
                  </a:cubicBezTo>
                  <a:cubicBezTo>
                    <a:pt x="264" y="5092"/>
                    <a:pt x="279" y="5092"/>
                    <a:pt x="301" y="5085"/>
                  </a:cubicBezTo>
                  <a:lnTo>
                    <a:pt x="308" y="5085"/>
                  </a:lnTo>
                  <a:lnTo>
                    <a:pt x="316" y="5085"/>
                  </a:lnTo>
                  <a:cubicBezTo>
                    <a:pt x="316" y="5085"/>
                    <a:pt x="316" y="5092"/>
                    <a:pt x="301" y="5114"/>
                  </a:cubicBezTo>
                  <a:cubicBezTo>
                    <a:pt x="272" y="5158"/>
                    <a:pt x="279" y="5195"/>
                    <a:pt x="286" y="5217"/>
                  </a:cubicBezTo>
                  <a:cubicBezTo>
                    <a:pt x="301" y="5246"/>
                    <a:pt x="345" y="5268"/>
                    <a:pt x="396" y="5268"/>
                  </a:cubicBezTo>
                  <a:cubicBezTo>
                    <a:pt x="411" y="5268"/>
                    <a:pt x="418" y="5268"/>
                    <a:pt x="418" y="5268"/>
                  </a:cubicBezTo>
                  <a:cubicBezTo>
                    <a:pt x="418" y="5275"/>
                    <a:pt x="418" y="5305"/>
                    <a:pt x="418" y="5327"/>
                  </a:cubicBezTo>
                  <a:cubicBezTo>
                    <a:pt x="418" y="5349"/>
                    <a:pt x="425" y="5371"/>
                    <a:pt x="425" y="5393"/>
                  </a:cubicBezTo>
                  <a:cubicBezTo>
                    <a:pt x="433" y="5415"/>
                    <a:pt x="440" y="5444"/>
                    <a:pt x="433" y="5451"/>
                  </a:cubicBezTo>
                  <a:cubicBezTo>
                    <a:pt x="433" y="5451"/>
                    <a:pt x="425" y="5451"/>
                    <a:pt x="418" y="5451"/>
                  </a:cubicBezTo>
                  <a:cubicBezTo>
                    <a:pt x="418" y="5458"/>
                    <a:pt x="411" y="5458"/>
                    <a:pt x="404" y="5458"/>
                  </a:cubicBezTo>
                  <a:cubicBezTo>
                    <a:pt x="389" y="5458"/>
                    <a:pt x="374" y="5451"/>
                    <a:pt x="359" y="5451"/>
                  </a:cubicBezTo>
                  <a:cubicBezTo>
                    <a:pt x="352" y="5451"/>
                    <a:pt x="337" y="5451"/>
                    <a:pt x="323" y="5451"/>
                  </a:cubicBezTo>
                  <a:cubicBezTo>
                    <a:pt x="316" y="5451"/>
                    <a:pt x="294" y="5451"/>
                    <a:pt x="279" y="5466"/>
                  </a:cubicBezTo>
                  <a:cubicBezTo>
                    <a:pt x="264" y="5480"/>
                    <a:pt x="257" y="5495"/>
                    <a:pt x="257" y="5517"/>
                  </a:cubicBezTo>
                  <a:cubicBezTo>
                    <a:pt x="257" y="5598"/>
                    <a:pt x="257" y="5605"/>
                    <a:pt x="228" y="5612"/>
                  </a:cubicBezTo>
                  <a:cubicBezTo>
                    <a:pt x="184" y="5620"/>
                    <a:pt x="176" y="5642"/>
                    <a:pt x="176" y="5656"/>
                  </a:cubicBezTo>
                  <a:cubicBezTo>
                    <a:pt x="169" y="5693"/>
                    <a:pt x="206" y="5722"/>
                    <a:pt x="242" y="5737"/>
                  </a:cubicBezTo>
                  <a:cubicBezTo>
                    <a:pt x="257" y="5744"/>
                    <a:pt x="264" y="5744"/>
                    <a:pt x="272" y="5752"/>
                  </a:cubicBezTo>
                  <a:cubicBezTo>
                    <a:pt x="279" y="5752"/>
                    <a:pt x="286" y="5759"/>
                    <a:pt x="294" y="5759"/>
                  </a:cubicBezTo>
                  <a:lnTo>
                    <a:pt x="294" y="5759"/>
                  </a:lnTo>
                  <a:cubicBezTo>
                    <a:pt x="294" y="5759"/>
                    <a:pt x="294" y="5766"/>
                    <a:pt x="286" y="5796"/>
                  </a:cubicBezTo>
                  <a:cubicBezTo>
                    <a:pt x="264" y="5854"/>
                    <a:pt x="264" y="5891"/>
                    <a:pt x="286" y="5913"/>
                  </a:cubicBezTo>
                  <a:cubicBezTo>
                    <a:pt x="301" y="5935"/>
                    <a:pt x="323" y="5949"/>
                    <a:pt x="352" y="5957"/>
                  </a:cubicBezTo>
                  <a:cubicBezTo>
                    <a:pt x="359" y="5957"/>
                    <a:pt x="367" y="5957"/>
                    <a:pt x="374" y="5957"/>
                  </a:cubicBezTo>
                  <a:cubicBezTo>
                    <a:pt x="396" y="5957"/>
                    <a:pt x="411" y="5957"/>
                    <a:pt x="433" y="5949"/>
                  </a:cubicBezTo>
                  <a:cubicBezTo>
                    <a:pt x="440" y="5949"/>
                    <a:pt x="455" y="5942"/>
                    <a:pt x="462" y="5942"/>
                  </a:cubicBezTo>
                  <a:cubicBezTo>
                    <a:pt x="469" y="5942"/>
                    <a:pt x="477" y="5942"/>
                    <a:pt x="477" y="5957"/>
                  </a:cubicBezTo>
                  <a:cubicBezTo>
                    <a:pt x="499" y="5986"/>
                    <a:pt x="506" y="5994"/>
                    <a:pt x="513" y="6023"/>
                  </a:cubicBezTo>
                  <a:cubicBezTo>
                    <a:pt x="513" y="6037"/>
                    <a:pt x="521" y="6052"/>
                    <a:pt x="535" y="6081"/>
                  </a:cubicBezTo>
                  <a:cubicBezTo>
                    <a:pt x="543" y="6111"/>
                    <a:pt x="543" y="6133"/>
                    <a:pt x="543" y="6147"/>
                  </a:cubicBezTo>
                  <a:cubicBezTo>
                    <a:pt x="543" y="6191"/>
                    <a:pt x="557" y="6213"/>
                    <a:pt x="623" y="6235"/>
                  </a:cubicBezTo>
                  <a:cubicBezTo>
                    <a:pt x="645" y="6250"/>
                    <a:pt x="660" y="6250"/>
                    <a:pt x="682" y="6250"/>
                  </a:cubicBezTo>
                  <a:cubicBezTo>
                    <a:pt x="704" y="6250"/>
                    <a:pt x="718" y="6250"/>
                    <a:pt x="726" y="6243"/>
                  </a:cubicBezTo>
                  <a:lnTo>
                    <a:pt x="733" y="6243"/>
                  </a:lnTo>
                  <a:cubicBezTo>
                    <a:pt x="733" y="6243"/>
                    <a:pt x="733" y="6250"/>
                    <a:pt x="740" y="6257"/>
                  </a:cubicBezTo>
                  <a:cubicBezTo>
                    <a:pt x="748" y="6279"/>
                    <a:pt x="755" y="6294"/>
                    <a:pt x="763" y="6301"/>
                  </a:cubicBezTo>
                  <a:cubicBezTo>
                    <a:pt x="755" y="6308"/>
                    <a:pt x="733" y="6323"/>
                    <a:pt x="726" y="6338"/>
                  </a:cubicBezTo>
                  <a:cubicBezTo>
                    <a:pt x="689" y="6367"/>
                    <a:pt x="667" y="6375"/>
                    <a:pt x="653" y="6382"/>
                  </a:cubicBezTo>
                  <a:cubicBezTo>
                    <a:pt x="616" y="6389"/>
                    <a:pt x="601" y="6404"/>
                    <a:pt x="587" y="6462"/>
                  </a:cubicBezTo>
                  <a:cubicBezTo>
                    <a:pt x="572" y="6543"/>
                    <a:pt x="587" y="6580"/>
                    <a:pt x="623" y="6616"/>
                  </a:cubicBezTo>
                  <a:cubicBezTo>
                    <a:pt x="631" y="6624"/>
                    <a:pt x="631" y="6631"/>
                    <a:pt x="638" y="6638"/>
                  </a:cubicBezTo>
                  <a:cubicBezTo>
                    <a:pt x="645" y="6646"/>
                    <a:pt x="653" y="6653"/>
                    <a:pt x="653" y="6660"/>
                  </a:cubicBezTo>
                  <a:cubicBezTo>
                    <a:pt x="667" y="6675"/>
                    <a:pt x="675" y="6704"/>
                    <a:pt x="718" y="6704"/>
                  </a:cubicBezTo>
                  <a:cubicBezTo>
                    <a:pt x="733" y="6704"/>
                    <a:pt x="755" y="6697"/>
                    <a:pt x="785" y="6697"/>
                  </a:cubicBezTo>
                  <a:cubicBezTo>
                    <a:pt x="799" y="6689"/>
                    <a:pt x="806" y="6689"/>
                    <a:pt x="814" y="6689"/>
                  </a:cubicBezTo>
                  <a:cubicBezTo>
                    <a:pt x="872" y="6689"/>
                    <a:pt x="902" y="6726"/>
                    <a:pt x="931" y="6792"/>
                  </a:cubicBezTo>
                  <a:cubicBezTo>
                    <a:pt x="946" y="6814"/>
                    <a:pt x="960" y="6829"/>
                    <a:pt x="968" y="6844"/>
                  </a:cubicBezTo>
                  <a:cubicBezTo>
                    <a:pt x="997" y="6873"/>
                    <a:pt x="997" y="6880"/>
                    <a:pt x="975" y="6924"/>
                  </a:cubicBezTo>
                  <a:cubicBezTo>
                    <a:pt x="931" y="7012"/>
                    <a:pt x="909" y="7056"/>
                    <a:pt x="953" y="7129"/>
                  </a:cubicBezTo>
                  <a:cubicBezTo>
                    <a:pt x="960" y="7144"/>
                    <a:pt x="975" y="7158"/>
                    <a:pt x="989" y="7166"/>
                  </a:cubicBezTo>
                  <a:cubicBezTo>
                    <a:pt x="1026" y="7203"/>
                    <a:pt x="1026" y="7203"/>
                    <a:pt x="1026" y="7203"/>
                  </a:cubicBezTo>
                  <a:cubicBezTo>
                    <a:pt x="1034" y="7151"/>
                    <a:pt x="1034" y="7151"/>
                    <a:pt x="1034" y="7151"/>
                  </a:cubicBezTo>
                  <a:cubicBezTo>
                    <a:pt x="1041" y="7144"/>
                    <a:pt x="1041" y="7144"/>
                    <a:pt x="1041" y="7144"/>
                  </a:cubicBezTo>
                  <a:cubicBezTo>
                    <a:pt x="1041" y="7129"/>
                    <a:pt x="1048" y="7093"/>
                    <a:pt x="1056" y="7093"/>
                  </a:cubicBezTo>
                  <a:cubicBezTo>
                    <a:pt x="1063" y="7093"/>
                    <a:pt x="1063" y="7093"/>
                    <a:pt x="1070" y="7093"/>
                  </a:cubicBezTo>
                  <a:cubicBezTo>
                    <a:pt x="1078" y="7093"/>
                    <a:pt x="1085" y="7093"/>
                    <a:pt x="1107" y="7129"/>
                  </a:cubicBezTo>
                  <a:cubicBezTo>
                    <a:pt x="1114" y="7137"/>
                    <a:pt x="1122" y="7151"/>
                    <a:pt x="1122" y="7158"/>
                  </a:cubicBezTo>
                  <a:cubicBezTo>
                    <a:pt x="1144" y="7203"/>
                    <a:pt x="1165" y="7254"/>
                    <a:pt x="1209" y="7254"/>
                  </a:cubicBezTo>
                  <a:cubicBezTo>
                    <a:pt x="1231" y="7254"/>
                    <a:pt x="1254" y="7246"/>
                    <a:pt x="1275" y="7217"/>
                  </a:cubicBezTo>
                  <a:cubicBezTo>
                    <a:pt x="1341" y="7144"/>
                    <a:pt x="1363" y="7129"/>
                    <a:pt x="1415" y="7115"/>
                  </a:cubicBezTo>
                  <a:cubicBezTo>
                    <a:pt x="1422" y="7115"/>
                    <a:pt x="1422" y="7115"/>
                    <a:pt x="1429" y="7115"/>
                  </a:cubicBezTo>
                  <a:cubicBezTo>
                    <a:pt x="1459" y="7115"/>
                    <a:pt x="1488" y="7144"/>
                    <a:pt x="1510" y="7173"/>
                  </a:cubicBezTo>
                  <a:cubicBezTo>
                    <a:pt x="1532" y="7203"/>
                    <a:pt x="1561" y="7217"/>
                    <a:pt x="1590" y="7217"/>
                  </a:cubicBezTo>
                  <a:cubicBezTo>
                    <a:pt x="1613" y="7217"/>
                    <a:pt x="1627" y="7210"/>
                    <a:pt x="1635" y="7195"/>
                  </a:cubicBezTo>
                  <a:cubicBezTo>
                    <a:pt x="1642" y="7203"/>
                    <a:pt x="1649" y="7217"/>
                    <a:pt x="1656" y="7217"/>
                  </a:cubicBezTo>
                  <a:cubicBezTo>
                    <a:pt x="1671" y="7239"/>
                    <a:pt x="1700" y="7246"/>
                    <a:pt x="1722" y="7246"/>
                  </a:cubicBezTo>
                  <a:cubicBezTo>
                    <a:pt x="1759" y="7246"/>
                    <a:pt x="1796" y="7232"/>
                    <a:pt x="1825" y="7217"/>
                  </a:cubicBezTo>
                  <a:cubicBezTo>
                    <a:pt x="1869" y="7188"/>
                    <a:pt x="1891" y="7144"/>
                    <a:pt x="1876" y="7085"/>
                  </a:cubicBezTo>
                  <a:cubicBezTo>
                    <a:pt x="1876" y="7078"/>
                    <a:pt x="1884" y="7063"/>
                    <a:pt x="1891" y="7049"/>
                  </a:cubicBezTo>
                  <a:cubicBezTo>
                    <a:pt x="1906" y="7027"/>
                    <a:pt x="1935" y="6983"/>
                    <a:pt x="1898" y="6946"/>
                  </a:cubicBezTo>
                  <a:cubicBezTo>
                    <a:pt x="1884" y="6931"/>
                    <a:pt x="1869" y="6924"/>
                    <a:pt x="1862" y="6917"/>
                  </a:cubicBezTo>
                  <a:cubicBezTo>
                    <a:pt x="1840" y="6909"/>
                    <a:pt x="1840" y="6909"/>
                    <a:pt x="1840" y="6887"/>
                  </a:cubicBezTo>
                  <a:cubicBezTo>
                    <a:pt x="1840" y="6873"/>
                    <a:pt x="1840" y="6865"/>
                    <a:pt x="1840" y="6858"/>
                  </a:cubicBezTo>
                  <a:cubicBezTo>
                    <a:pt x="1832" y="6821"/>
                    <a:pt x="1832" y="6814"/>
                    <a:pt x="1862" y="6785"/>
                  </a:cubicBezTo>
                  <a:cubicBezTo>
                    <a:pt x="1869" y="6785"/>
                    <a:pt x="1869" y="6777"/>
                    <a:pt x="1869" y="6777"/>
                  </a:cubicBezTo>
                  <a:cubicBezTo>
                    <a:pt x="1876" y="6777"/>
                    <a:pt x="1898" y="6799"/>
                    <a:pt x="1906" y="6814"/>
                  </a:cubicBezTo>
                  <a:cubicBezTo>
                    <a:pt x="1913" y="6821"/>
                    <a:pt x="1913" y="6821"/>
                    <a:pt x="1920" y="6829"/>
                  </a:cubicBezTo>
                  <a:cubicBezTo>
                    <a:pt x="1942" y="6851"/>
                    <a:pt x="1986" y="6895"/>
                    <a:pt x="2030" y="6895"/>
                  </a:cubicBezTo>
                  <a:cubicBezTo>
                    <a:pt x="2045" y="6895"/>
                    <a:pt x="2074" y="6887"/>
                    <a:pt x="2096" y="6858"/>
                  </a:cubicBezTo>
                  <a:cubicBezTo>
                    <a:pt x="2155" y="6792"/>
                    <a:pt x="2169" y="6734"/>
                    <a:pt x="2147" y="6689"/>
                  </a:cubicBezTo>
                  <a:cubicBezTo>
                    <a:pt x="2140" y="6675"/>
                    <a:pt x="2140" y="6653"/>
                    <a:pt x="2147" y="6646"/>
                  </a:cubicBezTo>
                  <a:cubicBezTo>
                    <a:pt x="2147" y="6638"/>
                    <a:pt x="2147" y="6638"/>
                    <a:pt x="2162" y="6631"/>
                  </a:cubicBezTo>
                  <a:cubicBezTo>
                    <a:pt x="2221" y="6624"/>
                    <a:pt x="2228" y="6587"/>
                    <a:pt x="2235" y="6558"/>
                  </a:cubicBezTo>
                  <a:lnTo>
                    <a:pt x="2235" y="6550"/>
                  </a:lnTo>
                  <a:cubicBezTo>
                    <a:pt x="2243" y="6543"/>
                    <a:pt x="2279" y="6536"/>
                    <a:pt x="2294" y="6536"/>
                  </a:cubicBezTo>
                  <a:cubicBezTo>
                    <a:pt x="2316" y="6536"/>
                    <a:pt x="2330" y="6536"/>
                    <a:pt x="2345" y="6528"/>
                  </a:cubicBezTo>
                  <a:cubicBezTo>
                    <a:pt x="2367" y="6521"/>
                    <a:pt x="2382" y="6499"/>
                    <a:pt x="2397" y="6477"/>
                  </a:cubicBezTo>
                  <a:cubicBezTo>
                    <a:pt x="2404" y="6462"/>
                    <a:pt x="2411" y="6448"/>
                    <a:pt x="2426" y="6433"/>
                  </a:cubicBezTo>
                  <a:cubicBezTo>
                    <a:pt x="2433" y="6433"/>
                    <a:pt x="2433" y="6426"/>
                    <a:pt x="2440" y="6426"/>
                  </a:cubicBezTo>
                  <a:cubicBezTo>
                    <a:pt x="2448" y="6426"/>
                    <a:pt x="2462" y="6433"/>
                    <a:pt x="2477" y="6433"/>
                  </a:cubicBezTo>
                  <a:cubicBezTo>
                    <a:pt x="2492" y="6440"/>
                    <a:pt x="2514" y="6448"/>
                    <a:pt x="2528" y="6448"/>
                  </a:cubicBezTo>
                  <a:cubicBezTo>
                    <a:pt x="2587" y="6448"/>
                    <a:pt x="2631" y="6418"/>
                    <a:pt x="2668" y="6389"/>
                  </a:cubicBezTo>
                  <a:cubicBezTo>
                    <a:pt x="2682" y="6382"/>
                    <a:pt x="2690" y="6367"/>
                    <a:pt x="2704" y="6360"/>
                  </a:cubicBezTo>
                  <a:cubicBezTo>
                    <a:pt x="2726" y="6338"/>
                    <a:pt x="2763" y="6301"/>
                    <a:pt x="2785" y="6301"/>
                  </a:cubicBezTo>
                  <a:cubicBezTo>
                    <a:pt x="2792" y="6301"/>
                    <a:pt x="2814" y="6316"/>
                    <a:pt x="2829" y="6323"/>
                  </a:cubicBezTo>
                  <a:cubicBezTo>
                    <a:pt x="2858" y="6338"/>
                    <a:pt x="2887" y="6353"/>
                    <a:pt x="2917" y="6353"/>
                  </a:cubicBezTo>
                  <a:cubicBezTo>
                    <a:pt x="2931" y="6353"/>
                    <a:pt x="2939" y="6345"/>
                    <a:pt x="2953" y="6338"/>
                  </a:cubicBezTo>
                  <a:cubicBezTo>
                    <a:pt x="2968" y="6330"/>
                    <a:pt x="2983" y="6323"/>
                    <a:pt x="2997" y="6316"/>
                  </a:cubicBezTo>
                  <a:cubicBezTo>
                    <a:pt x="3041" y="6294"/>
                    <a:pt x="3085" y="6279"/>
                    <a:pt x="3107" y="6250"/>
                  </a:cubicBezTo>
                  <a:cubicBezTo>
                    <a:pt x="3122" y="6228"/>
                    <a:pt x="3129" y="6213"/>
                    <a:pt x="3144" y="6191"/>
                  </a:cubicBezTo>
                  <a:cubicBezTo>
                    <a:pt x="3144" y="6177"/>
                    <a:pt x="3159" y="6162"/>
                    <a:pt x="3166" y="6140"/>
                  </a:cubicBezTo>
                  <a:cubicBezTo>
                    <a:pt x="3195" y="6096"/>
                    <a:pt x="3254" y="6059"/>
                    <a:pt x="3283" y="6052"/>
                  </a:cubicBezTo>
                  <a:cubicBezTo>
                    <a:pt x="3290" y="6052"/>
                    <a:pt x="3298" y="6052"/>
                    <a:pt x="3312" y="6052"/>
                  </a:cubicBezTo>
                  <a:cubicBezTo>
                    <a:pt x="3349" y="6045"/>
                    <a:pt x="3393" y="6037"/>
                    <a:pt x="3452" y="6001"/>
                  </a:cubicBezTo>
                  <a:cubicBezTo>
                    <a:pt x="3459" y="5994"/>
                    <a:pt x="3466" y="5986"/>
                    <a:pt x="3481" y="5979"/>
                  </a:cubicBezTo>
                  <a:cubicBezTo>
                    <a:pt x="3488" y="5971"/>
                    <a:pt x="3503" y="5957"/>
                    <a:pt x="3518" y="5949"/>
                  </a:cubicBezTo>
                  <a:cubicBezTo>
                    <a:pt x="3525" y="5971"/>
                    <a:pt x="3540" y="5979"/>
                    <a:pt x="3554" y="5979"/>
                  </a:cubicBezTo>
                  <a:cubicBezTo>
                    <a:pt x="3591" y="5979"/>
                    <a:pt x="3620" y="5942"/>
                    <a:pt x="3628" y="5906"/>
                  </a:cubicBezTo>
                  <a:cubicBezTo>
                    <a:pt x="3628" y="5898"/>
                    <a:pt x="3635" y="5898"/>
                    <a:pt x="3635" y="5898"/>
                  </a:cubicBezTo>
                  <a:cubicBezTo>
                    <a:pt x="3635" y="5898"/>
                    <a:pt x="3649" y="5898"/>
                    <a:pt x="3657" y="5898"/>
                  </a:cubicBezTo>
                  <a:cubicBezTo>
                    <a:pt x="3671" y="5891"/>
                    <a:pt x="3693" y="5891"/>
                    <a:pt x="3716" y="5884"/>
                  </a:cubicBezTo>
                  <a:cubicBezTo>
                    <a:pt x="3737" y="5884"/>
                    <a:pt x="3745" y="5876"/>
                    <a:pt x="3752" y="5876"/>
                  </a:cubicBezTo>
                  <a:cubicBezTo>
                    <a:pt x="3781" y="5876"/>
                    <a:pt x="3789" y="5869"/>
                    <a:pt x="3796" y="5839"/>
                  </a:cubicBezTo>
                  <a:cubicBezTo>
                    <a:pt x="3796" y="5832"/>
                    <a:pt x="3796" y="5825"/>
                    <a:pt x="3803" y="5810"/>
                  </a:cubicBezTo>
                  <a:cubicBezTo>
                    <a:pt x="3803" y="5803"/>
                    <a:pt x="3803" y="5788"/>
                    <a:pt x="3811" y="5781"/>
                  </a:cubicBezTo>
                  <a:cubicBezTo>
                    <a:pt x="3818" y="5744"/>
                    <a:pt x="3825" y="5722"/>
                    <a:pt x="3847" y="5693"/>
                  </a:cubicBezTo>
                  <a:cubicBezTo>
                    <a:pt x="3862" y="5671"/>
                    <a:pt x="3884" y="5656"/>
                    <a:pt x="3906" y="5649"/>
                  </a:cubicBezTo>
                  <a:cubicBezTo>
                    <a:pt x="3921" y="5634"/>
                    <a:pt x="3935" y="5627"/>
                    <a:pt x="3943" y="5612"/>
                  </a:cubicBezTo>
                  <a:cubicBezTo>
                    <a:pt x="3972" y="5590"/>
                    <a:pt x="3979" y="5546"/>
                    <a:pt x="3979" y="5503"/>
                  </a:cubicBezTo>
                  <a:cubicBezTo>
                    <a:pt x="3987" y="5495"/>
                    <a:pt x="3987" y="5480"/>
                    <a:pt x="3987" y="5473"/>
                  </a:cubicBezTo>
                  <a:cubicBezTo>
                    <a:pt x="3994" y="5458"/>
                    <a:pt x="3987" y="5437"/>
                    <a:pt x="3987" y="5422"/>
                  </a:cubicBezTo>
                  <a:cubicBezTo>
                    <a:pt x="3987" y="5385"/>
                    <a:pt x="3987" y="5363"/>
                    <a:pt x="4016" y="5341"/>
                  </a:cubicBezTo>
                  <a:cubicBezTo>
                    <a:pt x="4052" y="5319"/>
                    <a:pt x="4082" y="5305"/>
                    <a:pt x="4089" y="5305"/>
                  </a:cubicBezTo>
                  <a:cubicBezTo>
                    <a:pt x="4097" y="5305"/>
                    <a:pt x="4097" y="5305"/>
                    <a:pt x="4104" y="5312"/>
                  </a:cubicBezTo>
                  <a:cubicBezTo>
                    <a:pt x="4118" y="5334"/>
                    <a:pt x="4118" y="5378"/>
                    <a:pt x="4104" y="5407"/>
                  </a:cubicBezTo>
                  <a:cubicBezTo>
                    <a:pt x="4089" y="5429"/>
                    <a:pt x="4089" y="5444"/>
                    <a:pt x="4097" y="5458"/>
                  </a:cubicBezTo>
                  <a:cubicBezTo>
                    <a:pt x="4104" y="5495"/>
                    <a:pt x="4148" y="5517"/>
                    <a:pt x="4177" y="5532"/>
                  </a:cubicBezTo>
                  <a:cubicBezTo>
                    <a:pt x="4184" y="5532"/>
                    <a:pt x="4184" y="5532"/>
                    <a:pt x="4184" y="5532"/>
                  </a:cubicBezTo>
                  <a:cubicBezTo>
                    <a:pt x="4206" y="5546"/>
                    <a:pt x="4228" y="5568"/>
                    <a:pt x="4243" y="5598"/>
                  </a:cubicBezTo>
                  <a:cubicBezTo>
                    <a:pt x="4258" y="5627"/>
                    <a:pt x="4287" y="5642"/>
                    <a:pt x="4331" y="5642"/>
                  </a:cubicBezTo>
                  <a:cubicBezTo>
                    <a:pt x="4338" y="5642"/>
                    <a:pt x="4346" y="5642"/>
                    <a:pt x="4346" y="5642"/>
                  </a:cubicBezTo>
                  <a:cubicBezTo>
                    <a:pt x="4368" y="5642"/>
                    <a:pt x="4382" y="5656"/>
                    <a:pt x="4390" y="5656"/>
                  </a:cubicBezTo>
                  <a:cubicBezTo>
                    <a:pt x="4390" y="5678"/>
                    <a:pt x="4375" y="5715"/>
                    <a:pt x="4368" y="5730"/>
                  </a:cubicBezTo>
                  <a:cubicBezTo>
                    <a:pt x="4368" y="5737"/>
                    <a:pt x="4368" y="5744"/>
                    <a:pt x="4360" y="5752"/>
                  </a:cubicBezTo>
                  <a:cubicBezTo>
                    <a:pt x="4353" y="5788"/>
                    <a:pt x="4353" y="5869"/>
                    <a:pt x="4390" y="5906"/>
                  </a:cubicBezTo>
                  <a:cubicBezTo>
                    <a:pt x="4397" y="5913"/>
                    <a:pt x="4411" y="5927"/>
                    <a:pt x="4426" y="5935"/>
                  </a:cubicBezTo>
                  <a:cubicBezTo>
                    <a:pt x="4441" y="5949"/>
                    <a:pt x="4463" y="5964"/>
                    <a:pt x="4478" y="5986"/>
                  </a:cubicBezTo>
                  <a:cubicBezTo>
                    <a:pt x="4485" y="6001"/>
                    <a:pt x="4499" y="6008"/>
                    <a:pt x="4514" y="6023"/>
                  </a:cubicBezTo>
                  <a:cubicBezTo>
                    <a:pt x="4536" y="6037"/>
                    <a:pt x="4543" y="6045"/>
                    <a:pt x="4543" y="6052"/>
                  </a:cubicBezTo>
                  <a:cubicBezTo>
                    <a:pt x="4536" y="6081"/>
                    <a:pt x="4543" y="6103"/>
                    <a:pt x="4551" y="6111"/>
                  </a:cubicBezTo>
                  <a:cubicBezTo>
                    <a:pt x="4558" y="6125"/>
                    <a:pt x="4580" y="6133"/>
                    <a:pt x="4609" y="6133"/>
                  </a:cubicBezTo>
                  <a:cubicBezTo>
                    <a:pt x="4624" y="6133"/>
                    <a:pt x="4631" y="6133"/>
                    <a:pt x="4646" y="6133"/>
                  </a:cubicBezTo>
                  <a:cubicBezTo>
                    <a:pt x="4653" y="6133"/>
                    <a:pt x="4661" y="6125"/>
                    <a:pt x="4668" y="6125"/>
                  </a:cubicBezTo>
                  <a:cubicBezTo>
                    <a:pt x="4675" y="6125"/>
                    <a:pt x="4675" y="6125"/>
                    <a:pt x="4683" y="6125"/>
                  </a:cubicBezTo>
                  <a:cubicBezTo>
                    <a:pt x="4683" y="6125"/>
                    <a:pt x="4683" y="6133"/>
                    <a:pt x="4683" y="6140"/>
                  </a:cubicBezTo>
                  <a:cubicBezTo>
                    <a:pt x="4683" y="6147"/>
                    <a:pt x="4683" y="6155"/>
                    <a:pt x="4683" y="6162"/>
                  </a:cubicBezTo>
                  <a:cubicBezTo>
                    <a:pt x="4683" y="6272"/>
                    <a:pt x="4683" y="6272"/>
                    <a:pt x="4683" y="6272"/>
                  </a:cubicBezTo>
                  <a:cubicBezTo>
                    <a:pt x="4741" y="6177"/>
                    <a:pt x="4741" y="6177"/>
                    <a:pt x="4741" y="6177"/>
                  </a:cubicBezTo>
                  <a:cubicBezTo>
                    <a:pt x="4756" y="6147"/>
                    <a:pt x="4771" y="6125"/>
                    <a:pt x="4792" y="6103"/>
                  </a:cubicBezTo>
                  <a:cubicBezTo>
                    <a:pt x="4837" y="6045"/>
                    <a:pt x="4829" y="6001"/>
                    <a:pt x="4822" y="5957"/>
                  </a:cubicBezTo>
                  <a:cubicBezTo>
                    <a:pt x="4815" y="5942"/>
                    <a:pt x="4815" y="5927"/>
                    <a:pt x="4815" y="5913"/>
                  </a:cubicBezTo>
                  <a:cubicBezTo>
                    <a:pt x="4807" y="5862"/>
                    <a:pt x="4792" y="5847"/>
                    <a:pt x="4778" y="5832"/>
                  </a:cubicBezTo>
                  <a:cubicBezTo>
                    <a:pt x="4778" y="5832"/>
                    <a:pt x="4771" y="5825"/>
                    <a:pt x="4771" y="5810"/>
                  </a:cubicBezTo>
                  <a:cubicBezTo>
                    <a:pt x="4771" y="5796"/>
                    <a:pt x="4771" y="5796"/>
                    <a:pt x="4785" y="5788"/>
                  </a:cubicBezTo>
                  <a:cubicBezTo>
                    <a:pt x="4807" y="5774"/>
                    <a:pt x="4829" y="5766"/>
                    <a:pt x="4844" y="5737"/>
                  </a:cubicBezTo>
                  <a:cubicBezTo>
                    <a:pt x="4859" y="5693"/>
                    <a:pt x="4880" y="5686"/>
                    <a:pt x="4932" y="5664"/>
                  </a:cubicBezTo>
                  <a:cubicBezTo>
                    <a:pt x="4947" y="5656"/>
                    <a:pt x="4947" y="5656"/>
                    <a:pt x="4947" y="5656"/>
                  </a:cubicBezTo>
                  <a:cubicBezTo>
                    <a:pt x="5012" y="5620"/>
                    <a:pt x="5020" y="5598"/>
                    <a:pt x="5034" y="5554"/>
                  </a:cubicBezTo>
                  <a:cubicBezTo>
                    <a:pt x="5042" y="5546"/>
                    <a:pt x="5042" y="5532"/>
                    <a:pt x="5049" y="5517"/>
                  </a:cubicBezTo>
                  <a:cubicBezTo>
                    <a:pt x="5049" y="5517"/>
                    <a:pt x="5049" y="5517"/>
                    <a:pt x="5049" y="5510"/>
                  </a:cubicBezTo>
                  <a:cubicBezTo>
                    <a:pt x="5056" y="5517"/>
                    <a:pt x="5056" y="5525"/>
                    <a:pt x="5064" y="5532"/>
                  </a:cubicBezTo>
                  <a:cubicBezTo>
                    <a:pt x="5078" y="5561"/>
                    <a:pt x="5100" y="5598"/>
                    <a:pt x="5166" y="5598"/>
                  </a:cubicBezTo>
                  <a:cubicBezTo>
                    <a:pt x="5181" y="5598"/>
                    <a:pt x="5203" y="5598"/>
                    <a:pt x="5232" y="5590"/>
                  </a:cubicBezTo>
                  <a:cubicBezTo>
                    <a:pt x="5306" y="5568"/>
                    <a:pt x="5320" y="5554"/>
                    <a:pt x="5335" y="5510"/>
                  </a:cubicBezTo>
                  <a:cubicBezTo>
                    <a:pt x="5342" y="5503"/>
                    <a:pt x="5342" y="5495"/>
                    <a:pt x="5349" y="5480"/>
                  </a:cubicBezTo>
                  <a:cubicBezTo>
                    <a:pt x="5379" y="5437"/>
                    <a:pt x="5379" y="5437"/>
                    <a:pt x="5401" y="5422"/>
                  </a:cubicBezTo>
                  <a:cubicBezTo>
                    <a:pt x="5408" y="5415"/>
                    <a:pt x="5416" y="5415"/>
                    <a:pt x="5430" y="5407"/>
                  </a:cubicBezTo>
                  <a:cubicBezTo>
                    <a:pt x="5467" y="5378"/>
                    <a:pt x="5474" y="5363"/>
                    <a:pt x="5467" y="5327"/>
                  </a:cubicBezTo>
                  <a:cubicBezTo>
                    <a:pt x="5459" y="5319"/>
                    <a:pt x="5459" y="5305"/>
                    <a:pt x="5459" y="5283"/>
                  </a:cubicBezTo>
                  <a:cubicBezTo>
                    <a:pt x="5459" y="5253"/>
                    <a:pt x="5467" y="5253"/>
                    <a:pt x="5481" y="5239"/>
                  </a:cubicBezTo>
                  <a:cubicBezTo>
                    <a:pt x="5496" y="5224"/>
                    <a:pt x="5511" y="5209"/>
                    <a:pt x="5525" y="5180"/>
                  </a:cubicBezTo>
                  <a:cubicBezTo>
                    <a:pt x="5540" y="5151"/>
                    <a:pt x="5555" y="5144"/>
                    <a:pt x="5569" y="5129"/>
                  </a:cubicBezTo>
                  <a:cubicBezTo>
                    <a:pt x="5577" y="5121"/>
                    <a:pt x="5591" y="5114"/>
                    <a:pt x="5613" y="5092"/>
                  </a:cubicBezTo>
                  <a:cubicBezTo>
                    <a:pt x="5620" y="5092"/>
                    <a:pt x="5620" y="5085"/>
                    <a:pt x="5628" y="5077"/>
                  </a:cubicBezTo>
                  <a:cubicBezTo>
                    <a:pt x="5642" y="5063"/>
                    <a:pt x="5650" y="5056"/>
                    <a:pt x="5650" y="5041"/>
                  </a:cubicBezTo>
                  <a:cubicBezTo>
                    <a:pt x="5650" y="5026"/>
                    <a:pt x="5635" y="5012"/>
                    <a:pt x="5628" y="5012"/>
                  </a:cubicBezTo>
                  <a:cubicBezTo>
                    <a:pt x="5628" y="5012"/>
                    <a:pt x="5628" y="5004"/>
                    <a:pt x="5620" y="5004"/>
                  </a:cubicBezTo>
                  <a:cubicBezTo>
                    <a:pt x="5599" y="4982"/>
                    <a:pt x="5584" y="4953"/>
                    <a:pt x="5569" y="4880"/>
                  </a:cubicBezTo>
                  <a:cubicBezTo>
                    <a:pt x="5562" y="4858"/>
                    <a:pt x="5562" y="4850"/>
                    <a:pt x="5562" y="4850"/>
                  </a:cubicBezTo>
                  <a:cubicBezTo>
                    <a:pt x="5569" y="4850"/>
                    <a:pt x="5577" y="4850"/>
                    <a:pt x="5577" y="4843"/>
                  </a:cubicBezTo>
                  <a:cubicBezTo>
                    <a:pt x="5591" y="4836"/>
                    <a:pt x="5613" y="4828"/>
                    <a:pt x="5635" y="4806"/>
                  </a:cubicBezTo>
                  <a:cubicBezTo>
                    <a:pt x="5650" y="4799"/>
                    <a:pt x="5665" y="4792"/>
                    <a:pt x="5679" y="4792"/>
                  </a:cubicBezTo>
                  <a:cubicBezTo>
                    <a:pt x="5701" y="4792"/>
                    <a:pt x="5723" y="4799"/>
                    <a:pt x="5752" y="4806"/>
                  </a:cubicBezTo>
                  <a:cubicBezTo>
                    <a:pt x="5774" y="4806"/>
                    <a:pt x="5797" y="4814"/>
                    <a:pt x="5818" y="4814"/>
                  </a:cubicBezTo>
                  <a:lnTo>
                    <a:pt x="5818" y="4814"/>
                  </a:lnTo>
                  <a:cubicBezTo>
                    <a:pt x="5818" y="4828"/>
                    <a:pt x="5818" y="4828"/>
                    <a:pt x="5818" y="4828"/>
                  </a:cubicBezTo>
                  <a:cubicBezTo>
                    <a:pt x="5826" y="4843"/>
                    <a:pt x="5826" y="4843"/>
                    <a:pt x="5826" y="4843"/>
                  </a:cubicBezTo>
                  <a:cubicBezTo>
                    <a:pt x="5833" y="4858"/>
                    <a:pt x="5833" y="4858"/>
                    <a:pt x="5833" y="4858"/>
                  </a:cubicBezTo>
                  <a:cubicBezTo>
                    <a:pt x="5848" y="4858"/>
                    <a:pt x="5848" y="4858"/>
                    <a:pt x="5848" y="4858"/>
                  </a:cubicBezTo>
                  <a:cubicBezTo>
                    <a:pt x="5862" y="4858"/>
                    <a:pt x="5862" y="4858"/>
                    <a:pt x="5862" y="4858"/>
                  </a:cubicBezTo>
                  <a:cubicBezTo>
                    <a:pt x="5877" y="4836"/>
                    <a:pt x="5877" y="4836"/>
                    <a:pt x="5877" y="4836"/>
                  </a:cubicBezTo>
                  <a:lnTo>
                    <a:pt x="5877" y="4836"/>
                  </a:lnTo>
                  <a:cubicBezTo>
                    <a:pt x="5892" y="4814"/>
                    <a:pt x="5914" y="4784"/>
                    <a:pt x="5943" y="4777"/>
                  </a:cubicBezTo>
                  <a:cubicBezTo>
                    <a:pt x="5950" y="4777"/>
                    <a:pt x="5958" y="4777"/>
                    <a:pt x="5958" y="4777"/>
                  </a:cubicBezTo>
                  <a:cubicBezTo>
                    <a:pt x="5980" y="4777"/>
                    <a:pt x="5994" y="4770"/>
                    <a:pt x="6002" y="4748"/>
                  </a:cubicBezTo>
                  <a:cubicBezTo>
                    <a:pt x="6009" y="4726"/>
                    <a:pt x="5994" y="4718"/>
                    <a:pt x="5972" y="4689"/>
                  </a:cubicBezTo>
                  <a:cubicBezTo>
                    <a:pt x="5958" y="4675"/>
                    <a:pt x="5958" y="4675"/>
                    <a:pt x="5958" y="4675"/>
                  </a:cubicBezTo>
                  <a:cubicBezTo>
                    <a:pt x="5958" y="4667"/>
                    <a:pt x="5972" y="4660"/>
                    <a:pt x="5980" y="4645"/>
                  </a:cubicBezTo>
                  <a:cubicBezTo>
                    <a:pt x="5980" y="4638"/>
                    <a:pt x="5987" y="4630"/>
                    <a:pt x="5994" y="4623"/>
                  </a:cubicBezTo>
                  <a:cubicBezTo>
                    <a:pt x="6009" y="4608"/>
                    <a:pt x="6016" y="4601"/>
                    <a:pt x="6031" y="4594"/>
                  </a:cubicBezTo>
                  <a:cubicBezTo>
                    <a:pt x="6046" y="4579"/>
                    <a:pt x="6068" y="4565"/>
                    <a:pt x="6082" y="4529"/>
                  </a:cubicBezTo>
                  <a:cubicBezTo>
                    <a:pt x="6111" y="4470"/>
                    <a:pt x="6119" y="4456"/>
                    <a:pt x="6090" y="4404"/>
                  </a:cubicBezTo>
                  <a:cubicBezTo>
                    <a:pt x="6075" y="4375"/>
                    <a:pt x="6068" y="4353"/>
                    <a:pt x="6053" y="4287"/>
                  </a:cubicBezTo>
                  <a:cubicBezTo>
                    <a:pt x="6046" y="4272"/>
                    <a:pt x="6046" y="4258"/>
                    <a:pt x="6046" y="4243"/>
                  </a:cubicBezTo>
                  <a:cubicBezTo>
                    <a:pt x="6038" y="4214"/>
                    <a:pt x="6038" y="4177"/>
                    <a:pt x="5980" y="4177"/>
                  </a:cubicBezTo>
                  <a:cubicBezTo>
                    <a:pt x="5980" y="4177"/>
                    <a:pt x="5972" y="4177"/>
                    <a:pt x="5958" y="4177"/>
                  </a:cubicBezTo>
                  <a:cubicBezTo>
                    <a:pt x="5899" y="4185"/>
                    <a:pt x="5855" y="4206"/>
                    <a:pt x="5811" y="4243"/>
                  </a:cubicBezTo>
                  <a:cubicBezTo>
                    <a:pt x="5789" y="4258"/>
                    <a:pt x="5767" y="4272"/>
                    <a:pt x="5752" y="4272"/>
                  </a:cubicBezTo>
                  <a:cubicBezTo>
                    <a:pt x="5745" y="4272"/>
                    <a:pt x="5745" y="4272"/>
                    <a:pt x="5738" y="4265"/>
                  </a:cubicBezTo>
                  <a:cubicBezTo>
                    <a:pt x="5723" y="4258"/>
                    <a:pt x="5723" y="4258"/>
                    <a:pt x="5723" y="4243"/>
                  </a:cubicBezTo>
                  <a:cubicBezTo>
                    <a:pt x="5716" y="4228"/>
                    <a:pt x="5709" y="4214"/>
                    <a:pt x="5694" y="4192"/>
                  </a:cubicBezTo>
                  <a:cubicBezTo>
                    <a:pt x="5679" y="4177"/>
                    <a:pt x="5679" y="4177"/>
                    <a:pt x="5709" y="4133"/>
                  </a:cubicBezTo>
                  <a:cubicBezTo>
                    <a:pt x="5716" y="4119"/>
                    <a:pt x="5730" y="4104"/>
                    <a:pt x="5745" y="4075"/>
                  </a:cubicBezTo>
                  <a:cubicBezTo>
                    <a:pt x="5774" y="4023"/>
                    <a:pt x="5782" y="4016"/>
                    <a:pt x="5818" y="3994"/>
                  </a:cubicBezTo>
                  <a:cubicBezTo>
                    <a:pt x="5826" y="3987"/>
                    <a:pt x="5840" y="3979"/>
                    <a:pt x="5855" y="3965"/>
                  </a:cubicBezTo>
                  <a:cubicBezTo>
                    <a:pt x="5892" y="3943"/>
                    <a:pt x="5906" y="3921"/>
                    <a:pt x="5914" y="3906"/>
                  </a:cubicBezTo>
                  <a:cubicBezTo>
                    <a:pt x="5914" y="3906"/>
                    <a:pt x="5914" y="3899"/>
                    <a:pt x="5921" y="3899"/>
                  </a:cubicBezTo>
                  <a:lnTo>
                    <a:pt x="5921" y="3899"/>
                  </a:lnTo>
                  <a:cubicBezTo>
                    <a:pt x="5921" y="3899"/>
                    <a:pt x="5921" y="3899"/>
                    <a:pt x="5928" y="3899"/>
                  </a:cubicBezTo>
                  <a:cubicBezTo>
                    <a:pt x="5943" y="3899"/>
                    <a:pt x="5950" y="3899"/>
                    <a:pt x="5965" y="3899"/>
                  </a:cubicBezTo>
                  <a:cubicBezTo>
                    <a:pt x="5972" y="3899"/>
                    <a:pt x="5987" y="3899"/>
                    <a:pt x="5994" y="3899"/>
                  </a:cubicBezTo>
                  <a:cubicBezTo>
                    <a:pt x="6024" y="3899"/>
                    <a:pt x="6060" y="3899"/>
                    <a:pt x="6097" y="3862"/>
                  </a:cubicBezTo>
                  <a:cubicBezTo>
                    <a:pt x="6119" y="3840"/>
                    <a:pt x="6133" y="3840"/>
                    <a:pt x="6141" y="3840"/>
                  </a:cubicBezTo>
                  <a:cubicBezTo>
                    <a:pt x="6156" y="3840"/>
                    <a:pt x="6178" y="3847"/>
                    <a:pt x="6192" y="3862"/>
                  </a:cubicBezTo>
                  <a:cubicBezTo>
                    <a:pt x="6214" y="3869"/>
                    <a:pt x="6236" y="3877"/>
                    <a:pt x="6258" y="3877"/>
                  </a:cubicBezTo>
                  <a:cubicBezTo>
                    <a:pt x="6302" y="3877"/>
                    <a:pt x="6339" y="3862"/>
                    <a:pt x="6383" y="3855"/>
                  </a:cubicBezTo>
                  <a:cubicBezTo>
                    <a:pt x="6405" y="3847"/>
                    <a:pt x="6419" y="3840"/>
                    <a:pt x="6441" y="3840"/>
                  </a:cubicBezTo>
                  <a:cubicBezTo>
                    <a:pt x="6478" y="3833"/>
                    <a:pt x="6500" y="3811"/>
                    <a:pt x="6515" y="3789"/>
                  </a:cubicBezTo>
                  <a:cubicBezTo>
                    <a:pt x="6529" y="3752"/>
                    <a:pt x="6515" y="3716"/>
                    <a:pt x="6500" y="3694"/>
                  </a:cubicBezTo>
                  <a:cubicBezTo>
                    <a:pt x="6492" y="3671"/>
                    <a:pt x="6471" y="3650"/>
                    <a:pt x="6449" y="3635"/>
                  </a:cubicBezTo>
                  <a:cubicBezTo>
                    <a:pt x="6427" y="3620"/>
                    <a:pt x="6405" y="3606"/>
                    <a:pt x="6390" y="3584"/>
                  </a:cubicBezTo>
                  <a:cubicBezTo>
                    <a:pt x="6383" y="3584"/>
                    <a:pt x="6383" y="3584"/>
                    <a:pt x="6383" y="3584"/>
                  </a:cubicBezTo>
                  <a:cubicBezTo>
                    <a:pt x="6368" y="3569"/>
                    <a:pt x="6353" y="3547"/>
                    <a:pt x="6353" y="3540"/>
                  </a:cubicBezTo>
                  <a:cubicBezTo>
                    <a:pt x="6353" y="3540"/>
                    <a:pt x="6361" y="3532"/>
                    <a:pt x="6383" y="3518"/>
                  </a:cubicBezTo>
                  <a:cubicBezTo>
                    <a:pt x="6419" y="3488"/>
                    <a:pt x="6478" y="3466"/>
                    <a:pt x="6529" y="3452"/>
                  </a:cubicBezTo>
                  <a:cubicBezTo>
                    <a:pt x="6551" y="3445"/>
                    <a:pt x="6573" y="3437"/>
                    <a:pt x="6588" y="3430"/>
                  </a:cubicBezTo>
                  <a:cubicBezTo>
                    <a:pt x="6595" y="3422"/>
                    <a:pt x="6595" y="3422"/>
                    <a:pt x="6602" y="3422"/>
                  </a:cubicBezTo>
                  <a:cubicBezTo>
                    <a:pt x="6617" y="3422"/>
                    <a:pt x="6632" y="3437"/>
                    <a:pt x="6654" y="3452"/>
                  </a:cubicBezTo>
                  <a:cubicBezTo>
                    <a:pt x="6668" y="3466"/>
                    <a:pt x="6690" y="3481"/>
                    <a:pt x="6712" y="3488"/>
                  </a:cubicBezTo>
                  <a:cubicBezTo>
                    <a:pt x="6727" y="3496"/>
                    <a:pt x="6749" y="3503"/>
                    <a:pt x="6749" y="3503"/>
                  </a:cubicBezTo>
                  <a:cubicBezTo>
                    <a:pt x="6749" y="3503"/>
                    <a:pt x="6749" y="3510"/>
                    <a:pt x="6742" y="3525"/>
                  </a:cubicBezTo>
                  <a:cubicBezTo>
                    <a:pt x="6727" y="3554"/>
                    <a:pt x="6727" y="3591"/>
                    <a:pt x="6749" y="3620"/>
                  </a:cubicBezTo>
                  <a:cubicBezTo>
                    <a:pt x="6764" y="3657"/>
                    <a:pt x="6808" y="3679"/>
                    <a:pt x="6852" y="3686"/>
                  </a:cubicBezTo>
                  <a:cubicBezTo>
                    <a:pt x="6859" y="3686"/>
                    <a:pt x="6866" y="3686"/>
                    <a:pt x="6866" y="3686"/>
                  </a:cubicBezTo>
                  <a:cubicBezTo>
                    <a:pt x="6932" y="3686"/>
                    <a:pt x="6961" y="3650"/>
                    <a:pt x="6991" y="3613"/>
                  </a:cubicBezTo>
                  <a:cubicBezTo>
                    <a:pt x="6998" y="3606"/>
                    <a:pt x="7013" y="3591"/>
                    <a:pt x="7020" y="3584"/>
                  </a:cubicBezTo>
                  <a:cubicBezTo>
                    <a:pt x="7049" y="3562"/>
                    <a:pt x="7115" y="3496"/>
                    <a:pt x="7225" y="3386"/>
                  </a:cubicBezTo>
                  <a:cubicBezTo>
                    <a:pt x="7277" y="3342"/>
                    <a:pt x="7321" y="3247"/>
                    <a:pt x="7342" y="3203"/>
                  </a:cubicBezTo>
                  <a:cubicBezTo>
                    <a:pt x="7372" y="3144"/>
                    <a:pt x="7328" y="3122"/>
                    <a:pt x="7313" y="3115"/>
                  </a:cubicBezTo>
                  <a:cubicBezTo>
                    <a:pt x="7313" y="3115"/>
                    <a:pt x="7306" y="3115"/>
                    <a:pt x="7306" y="3107"/>
                  </a:cubicBezTo>
                  <a:cubicBezTo>
                    <a:pt x="7306" y="3093"/>
                    <a:pt x="7342" y="3078"/>
                    <a:pt x="7387" y="3078"/>
                  </a:cubicBezTo>
                  <a:cubicBezTo>
                    <a:pt x="7460" y="3078"/>
                    <a:pt x="7504" y="3012"/>
                    <a:pt x="7504" y="3005"/>
                  </a:cubicBezTo>
                  <a:cubicBezTo>
                    <a:pt x="7518" y="2983"/>
                    <a:pt x="7518" y="2983"/>
                    <a:pt x="7518" y="2983"/>
                  </a:cubicBezTo>
                  <a:cubicBezTo>
                    <a:pt x="7548" y="2954"/>
                    <a:pt x="7548" y="2954"/>
                    <a:pt x="7548" y="2954"/>
                  </a:cubicBezTo>
                  <a:cubicBezTo>
                    <a:pt x="7533" y="2961"/>
                    <a:pt x="7533" y="2961"/>
                    <a:pt x="7533" y="2961"/>
                  </a:cubicBezTo>
                  <a:cubicBezTo>
                    <a:pt x="7533" y="2954"/>
                    <a:pt x="7533" y="2954"/>
                    <a:pt x="7533" y="2954"/>
                  </a:cubicBezTo>
                  <a:cubicBezTo>
                    <a:pt x="7474" y="2961"/>
                    <a:pt x="7474" y="2961"/>
                    <a:pt x="7474" y="2961"/>
                  </a:cubicBezTo>
                  <a:cubicBezTo>
                    <a:pt x="7474" y="2961"/>
                    <a:pt x="7467" y="2961"/>
                    <a:pt x="7452" y="2961"/>
                  </a:cubicBezTo>
                  <a:cubicBezTo>
                    <a:pt x="7452" y="2961"/>
                    <a:pt x="7445" y="2968"/>
                    <a:pt x="7438" y="2968"/>
                  </a:cubicBezTo>
                  <a:cubicBezTo>
                    <a:pt x="7423" y="2968"/>
                    <a:pt x="7394" y="2961"/>
                    <a:pt x="7372" y="2946"/>
                  </a:cubicBezTo>
                  <a:cubicBezTo>
                    <a:pt x="7364" y="2939"/>
                    <a:pt x="7357" y="2931"/>
                    <a:pt x="7357" y="2931"/>
                  </a:cubicBezTo>
                  <a:cubicBezTo>
                    <a:pt x="7357" y="2924"/>
                    <a:pt x="7379" y="2902"/>
                    <a:pt x="7394" y="2888"/>
                  </a:cubicBezTo>
                  <a:cubicBezTo>
                    <a:pt x="7401" y="2880"/>
                    <a:pt x="7409" y="2873"/>
                    <a:pt x="7416" y="2866"/>
                  </a:cubicBezTo>
                  <a:cubicBezTo>
                    <a:pt x="7452" y="2829"/>
                    <a:pt x="7438" y="2778"/>
                    <a:pt x="7423" y="2748"/>
                  </a:cubicBezTo>
                  <a:cubicBezTo>
                    <a:pt x="7416" y="2734"/>
                    <a:pt x="7409" y="2712"/>
                    <a:pt x="7409" y="2697"/>
                  </a:cubicBezTo>
                  <a:cubicBezTo>
                    <a:pt x="7394" y="2638"/>
                    <a:pt x="7401" y="2624"/>
                    <a:pt x="7416" y="2609"/>
                  </a:cubicBezTo>
                  <a:cubicBezTo>
                    <a:pt x="7460" y="2580"/>
                    <a:pt x="7511" y="2528"/>
                    <a:pt x="7511" y="2462"/>
                  </a:cubicBezTo>
                  <a:cubicBezTo>
                    <a:pt x="7511" y="2433"/>
                    <a:pt x="7489" y="2411"/>
                    <a:pt x="7482" y="2404"/>
                  </a:cubicBezTo>
                  <a:cubicBezTo>
                    <a:pt x="7482" y="2404"/>
                    <a:pt x="7482" y="2397"/>
                    <a:pt x="7489" y="2397"/>
                  </a:cubicBezTo>
                  <a:cubicBezTo>
                    <a:pt x="7511" y="2360"/>
                    <a:pt x="7533" y="2301"/>
                    <a:pt x="7511" y="2265"/>
                  </a:cubicBezTo>
                  <a:cubicBezTo>
                    <a:pt x="7504" y="2250"/>
                    <a:pt x="7482" y="2228"/>
                    <a:pt x="7438" y="2228"/>
                  </a:cubicBezTo>
                  <a:cubicBezTo>
                    <a:pt x="7430" y="2228"/>
                    <a:pt x="7430" y="2228"/>
                    <a:pt x="7423" y="2228"/>
                  </a:cubicBezTo>
                  <a:cubicBezTo>
                    <a:pt x="7401" y="2235"/>
                    <a:pt x="7387" y="2235"/>
                    <a:pt x="7364" y="2235"/>
                  </a:cubicBezTo>
                  <a:cubicBezTo>
                    <a:pt x="7313" y="2235"/>
                    <a:pt x="7313" y="2221"/>
                    <a:pt x="7313" y="2199"/>
                  </a:cubicBezTo>
                  <a:cubicBezTo>
                    <a:pt x="7313" y="2059"/>
                    <a:pt x="7247" y="2045"/>
                    <a:pt x="7225" y="2045"/>
                  </a:cubicBezTo>
                  <a:cubicBezTo>
                    <a:pt x="7203" y="2045"/>
                    <a:pt x="7181" y="2008"/>
                    <a:pt x="7181" y="1964"/>
                  </a:cubicBezTo>
                  <a:cubicBezTo>
                    <a:pt x="7181" y="1898"/>
                    <a:pt x="7145" y="1854"/>
                    <a:pt x="7086" y="1854"/>
                  </a:cubicBezTo>
                  <a:cubicBezTo>
                    <a:pt x="7064" y="1854"/>
                    <a:pt x="7042" y="1862"/>
                    <a:pt x="7020" y="1876"/>
                  </a:cubicBezTo>
                  <a:cubicBezTo>
                    <a:pt x="7006" y="1884"/>
                    <a:pt x="6998" y="1891"/>
                    <a:pt x="6991" y="1891"/>
                  </a:cubicBezTo>
                  <a:cubicBezTo>
                    <a:pt x="6983" y="1891"/>
                    <a:pt x="6983" y="1884"/>
                    <a:pt x="6976" y="1884"/>
                  </a:cubicBezTo>
                  <a:cubicBezTo>
                    <a:pt x="6969" y="1869"/>
                    <a:pt x="6969" y="1862"/>
                    <a:pt x="6976" y="1854"/>
                  </a:cubicBezTo>
                  <a:cubicBezTo>
                    <a:pt x="7006" y="1796"/>
                    <a:pt x="6998" y="1722"/>
                    <a:pt x="6991" y="1678"/>
                  </a:cubicBezTo>
                  <a:cubicBezTo>
                    <a:pt x="6983" y="1627"/>
                    <a:pt x="6969" y="1539"/>
                    <a:pt x="6969" y="1532"/>
                  </a:cubicBezTo>
                  <a:cubicBezTo>
                    <a:pt x="6969" y="1517"/>
                    <a:pt x="6969" y="1517"/>
                    <a:pt x="6969" y="1517"/>
                  </a:cubicBezTo>
                  <a:cubicBezTo>
                    <a:pt x="6954" y="1510"/>
                    <a:pt x="6954" y="1510"/>
                    <a:pt x="6954" y="1510"/>
                  </a:cubicBezTo>
                  <a:cubicBezTo>
                    <a:pt x="6932" y="1495"/>
                    <a:pt x="6903" y="1473"/>
                    <a:pt x="6903" y="1459"/>
                  </a:cubicBezTo>
                  <a:cubicBezTo>
                    <a:pt x="6903" y="1459"/>
                    <a:pt x="6903" y="1444"/>
                    <a:pt x="6903" y="1437"/>
                  </a:cubicBezTo>
                  <a:cubicBezTo>
                    <a:pt x="6910" y="1415"/>
                    <a:pt x="6918" y="1393"/>
                    <a:pt x="6903" y="1356"/>
                  </a:cubicBezTo>
                  <a:cubicBezTo>
                    <a:pt x="6881" y="1305"/>
                    <a:pt x="6815" y="1305"/>
                    <a:pt x="6778" y="1305"/>
                  </a:cubicBezTo>
                  <a:cubicBezTo>
                    <a:pt x="6771" y="1305"/>
                    <a:pt x="6756" y="1305"/>
                    <a:pt x="6749" y="1305"/>
                  </a:cubicBezTo>
                  <a:cubicBezTo>
                    <a:pt x="6734" y="1305"/>
                    <a:pt x="6727" y="1305"/>
                    <a:pt x="6712" y="1305"/>
                  </a:cubicBezTo>
                  <a:cubicBezTo>
                    <a:pt x="6661" y="1305"/>
                    <a:pt x="6632" y="1290"/>
                    <a:pt x="6624" y="1276"/>
                  </a:cubicBezTo>
                  <a:cubicBezTo>
                    <a:pt x="6617" y="1253"/>
                    <a:pt x="6617" y="1217"/>
                    <a:pt x="6632" y="1209"/>
                  </a:cubicBezTo>
                  <a:cubicBezTo>
                    <a:pt x="6661" y="1195"/>
                    <a:pt x="6698" y="1158"/>
                    <a:pt x="6683" y="1100"/>
                  </a:cubicBezTo>
                  <a:cubicBezTo>
                    <a:pt x="6683" y="1092"/>
                    <a:pt x="6698" y="1085"/>
                    <a:pt x="6705" y="1085"/>
                  </a:cubicBezTo>
                  <a:cubicBezTo>
                    <a:pt x="6712" y="1078"/>
                    <a:pt x="6727" y="1070"/>
                    <a:pt x="6742" y="1063"/>
                  </a:cubicBezTo>
                  <a:cubicBezTo>
                    <a:pt x="6764" y="1048"/>
                    <a:pt x="6764" y="1026"/>
                    <a:pt x="6756" y="1019"/>
                  </a:cubicBezTo>
                  <a:cubicBezTo>
                    <a:pt x="6756" y="990"/>
                    <a:pt x="6720" y="975"/>
                    <a:pt x="6676" y="953"/>
                  </a:cubicBezTo>
                  <a:cubicBezTo>
                    <a:pt x="6661" y="953"/>
                    <a:pt x="6654" y="946"/>
                    <a:pt x="6639" y="938"/>
                  </a:cubicBezTo>
                  <a:cubicBezTo>
                    <a:pt x="6610" y="931"/>
                    <a:pt x="6602" y="909"/>
                    <a:pt x="6588" y="887"/>
                  </a:cubicBezTo>
                  <a:cubicBezTo>
                    <a:pt x="6580" y="872"/>
                    <a:pt x="6573" y="858"/>
                    <a:pt x="6559" y="843"/>
                  </a:cubicBezTo>
                  <a:cubicBezTo>
                    <a:pt x="6544" y="836"/>
                    <a:pt x="6551" y="821"/>
                    <a:pt x="6573" y="777"/>
                  </a:cubicBezTo>
                  <a:cubicBezTo>
                    <a:pt x="6573" y="770"/>
                    <a:pt x="6580" y="755"/>
                    <a:pt x="6588" y="740"/>
                  </a:cubicBezTo>
                  <a:cubicBezTo>
                    <a:pt x="6602" y="697"/>
                    <a:pt x="6624" y="689"/>
                    <a:pt x="6690" y="682"/>
                  </a:cubicBezTo>
                  <a:cubicBezTo>
                    <a:pt x="6756" y="675"/>
                    <a:pt x="6778" y="609"/>
                    <a:pt x="6800" y="557"/>
                  </a:cubicBezTo>
                  <a:cubicBezTo>
                    <a:pt x="6815" y="535"/>
                    <a:pt x="6822" y="513"/>
                    <a:pt x="6830" y="506"/>
                  </a:cubicBezTo>
                  <a:cubicBezTo>
                    <a:pt x="6852" y="469"/>
                    <a:pt x="6866" y="440"/>
                    <a:pt x="6859" y="411"/>
                  </a:cubicBezTo>
                  <a:cubicBezTo>
                    <a:pt x="6859" y="389"/>
                    <a:pt x="6844" y="367"/>
                    <a:pt x="6815" y="345"/>
                  </a:cubicBezTo>
                  <a:cubicBezTo>
                    <a:pt x="6800" y="338"/>
                    <a:pt x="6793" y="330"/>
                    <a:pt x="6793" y="316"/>
                  </a:cubicBezTo>
                  <a:cubicBezTo>
                    <a:pt x="6793" y="308"/>
                    <a:pt x="6793" y="301"/>
                    <a:pt x="6808" y="294"/>
                  </a:cubicBezTo>
                  <a:cubicBezTo>
                    <a:pt x="6844" y="271"/>
                    <a:pt x="6866" y="242"/>
                    <a:pt x="6873" y="213"/>
                  </a:cubicBezTo>
                  <a:cubicBezTo>
                    <a:pt x="6873" y="191"/>
                    <a:pt x="6873" y="169"/>
                    <a:pt x="6844" y="140"/>
                  </a:cubicBezTo>
                  <a:cubicBezTo>
                    <a:pt x="6822" y="118"/>
                    <a:pt x="6793" y="103"/>
                    <a:pt x="6764" y="103"/>
                  </a:cubicBezTo>
                  <a:cubicBezTo>
                    <a:pt x="6742" y="103"/>
                    <a:pt x="6720" y="110"/>
                    <a:pt x="6705" y="118"/>
                  </a:cubicBezTo>
                  <a:cubicBezTo>
                    <a:pt x="6690" y="118"/>
                    <a:pt x="6683" y="118"/>
                    <a:pt x="6676" y="125"/>
                  </a:cubicBezTo>
                  <a:cubicBezTo>
                    <a:pt x="6602" y="132"/>
                    <a:pt x="6580" y="191"/>
                    <a:pt x="6559" y="250"/>
                  </a:cubicBezTo>
                  <a:cubicBezTo>
                    <a:pt x="6544" y="279"/>
                    <a:pt x="6529" y="294"/>
                    <a:pt x="6515" y="308"/>
                  </a:cubicBezTo>
                  <a:cubicBezTo>
                    <a:pt x="6500" y="330"/>
                    <a:pt x="6478" y="359"/>
                    <a:pt x="6471" y="403"/>
                  </a:cubicBezTo>
                  <a:cubicBezTo>
                    <a:pt x="6471" y="418"/>
                    <a:pt x="6434" y="426"/>
                    <a:pt x="6383" y="433"/>
                  </a:cubicBezTo>
                  <a:cubicBezTo>
                    <a:pt x="6353" y="440"/>
                    <a:pt x="6309" y="440"/>
                    <a:pt x="6280" y="455"/>
                  </a:cubicBezTo>
                  <a:cubicBezTo>
                    <a:pt x="6265" y="462"/>
                    <a:pt x="6236" y="469"/>
                    <a:pt x="6207" y="469"/>
                  </a:cubicBezTo>
                  <a:cubicBezTo>
                    <a:pt x="6133" y="469"/>
                    <a:pt x="6053" y="447"/>
                    <a:pt x="6031" y="440"/>
                  </a:cubicBezTo>
                  <a:cubicBezTo>
                    <a:pt x="6016" y="433"/>
                    <a:pt x="6009" y="426"/>
                    <a:pt x="6002" y="418"/>
                  </a:cubicBezTo>
                  <a:cubicBezTo>
                    <a:pt x="6002" y="403"/>
                    <a:pt x="6009" y="381"/>
                    <a:pt x="6016" y="367"/>
                  </a:cubicBezTo>
                  <a:cubicBezTo>
                    <a:pt x="6038" y="323"/>
                    <a:pt x="6031" y="235"/>
                    <a:pt x="5987" y="176"/>
                  </a:cubicBezTo>
                  <a:cubicBezTo>
                    <a:pt x="5980" y="162"/>
                    <a:pt x="5980" y="147"/>
                    <a:pt x="5980" y="125"/>
                  </a:cubicBezTo>
                  <a:cubicBezTo>
                    <a:pt x="5972" y="96"/>
                    <a:pt x="5972" y="59"/>
                    <a:pt x="5943" y="37"/>
                  </a:cubicBezTo>
                  <a:cubicBezTo>
                    <a:pt x="5921" y="22"/>
                    <a:pt x="5899" y="0"/>
                    <a:pt x="5862" y="0"/>
                  </a:cubicBezTo>
                  <a:lnTo>
                    <a:pt x="5862" y="30"/>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a:latin typeface="Montserrat" charset="0"/>
              </a:endParaRPr>
            </a:p>
          </p:txBody>
        </p:sp>
        <p:sp>
          <p:nvSpPr>
            <p:cNvPr id="72" name="Freeform 19">
              <a:extLst>
                <a:ext uri="{FF2B5EF4-FFF2-40B4-BE49-F238E27FC236}">
                  <a16:creationId xmlns:a16="http://schemas.microsoft.com/office/drawing/2014/main" id="{77CDED05-B2F3-9849-B3A9-9EBD2E45C150}"/>
                </a:ext>
              </a:extLst>
            </p:cNvPr>
            <p:cNvSpPr>
              <a:spLocks noChangeArrowheads="1"/>
            </p:cNvSpPr>
            <p:nvPr/>
          </p:nvSpPr>
          <p:spPr bwMode="auto">
            <a:xfrm>
              <a:off x="7630936" y="4383699"/>
              <a:ext cx="2852588" cy="2772337"/>
            </a:xfrm>
            <a:custGeom>
              <a:avLst/>
              <a:gdLst>
                <a:gd name="T0" fmla="*/ 1619489 w 7423"/>
                <a:gd name="T1" fmla="*/ 2383597 h 7300"/>
                <a:gd name="T2" fmla="*/ 1533549 w 7423"/>
                <a:gd name="T3" fmla="*/ 2339964 h 7300"/>
                <a:gd name="T4" fmla="*/ 1433230 w 7423"/>
                <a:gd name="T5" fmla="*/ 2407727 h 7300"/>
                <a:gd name="T6" fmla="*/ 1381732 w 7423"/>
                <a:gd name="T7" fmla="*/ 2291374 h 7300"/>
                <a:gd name="T8" fmla="*/ 1374376 w 7423"/>
                <a:gd name="T9" fmla="*/ 2221297 h 7300"/>
                <a:gd name="T10" fmla="*/ 1313181 w 7423"/>
                <a:gd name="T11" fmla="*/ 2165434 h 7300"/>
                <a:gd name="T12" fmla="*/ 1354981 w 7423"/>
                <a:gd name="T13" fmla="*/ 2070897 h 7300"/>
                <a:gd name="T14" fmla="*/ 1320538 w 7423"/>
                <a:gd name="T15" fmla="*/ 1879839 h 7300"/>
                <a:gd name="T16" fmla="*/ 1246970 w 7423"/>
                <a:gd name="T17" fmla="*/ 1848106 h 7300"/>
                <a:gd name="T18" fmla="*/ 1112208 w 7423"/>
                <a:gd name="T19" fmla="*/ 1787615 h 7300"/>
                <a:gd name="T20" fmla="*/ 1026602 w 7423"/>
                <a:gd name="T21" fmla="*/ 1761171 h 7300"/>
                <a:gd name="T22" fmla="*/ 928623 w 7423"/>
                <a:gd name="T23" fmla="*/ 1787615 h 7300"/>
                <a:gd name="T24" fmla="*/ 837667 w 7423"/>
                <a:gd name="T25" fmla="*/ 1746296 h 7300"/>
                <a:gd name="T26" fmla="*/ 685850 w 7423"/>
                <a:gd name="T27" fmla="*/ 1598871 h 7300"/>
                <a:gd name="T28" fmla="*/ 698223 w 7423"/>
                <a:gd name="T29" fmla="*/ 1451115 h 7300"/>
                <a:gd name="T30" fmla="*/ 732332 w 7423"/>
                <a:gd name="T31" fmla="*/ 1237910 h 7300"/>
                <a:gd name="T32" fmla="*/ 673477 w 7423"/>
                <a:gd name="T33" fmla="*/ 1203864 h 7300"/>
                <a:gd name="T34" fmla="*/ 617299 w 7423"/>
                <a:gd name="T35" fmla="*/ 1174775 h 7300"/>
                <a:gd name="T36" fmla="*/ 651742 w 7423"/>
                <a:gd name="T37" fmla="*/ 1000575 h 7300"/>
                <a:gd name="T38" fmla="*/ 624655 w 7423"/>
                <a:gd name="T39" fmla="*/ 813814 h 7300"/>
                <a:gd name="T40" fmla="*/ 565801 w 7423"/>
                <a:gd name="T41" fmla="*/ 811501 h 7300"/>
                <a:gd name="T42" fmla="*/ 413985 w 7423"/>
                <a:gd name="T43" fmla="*/ 789684 h 7300"/>
                <a:gd name="T44" fmla="*/ 340417 w 7423"/>
                <a:gd name="T45" fmla="*/ 707377 h 7300"/>
                <a:gd name="T46" fmla="*/ 247454 w 7423"/>
                <a:gd name="T47" fmla="*/ 671017 h 7300"/>
                <a:gd name="T48" fmla="*/ 188600 w 7423"/>
                <a:gd name="T49" fmla="*/ 644573 h 7300"/>
                <a:gd name="T50" fmla="*/ 29427 w 7423"/>
                <a:gd name="T51" fmla="*/ 612840 h 7300"/>
                <a:gd name="T52" fmla="*/ 85606 w 7423"/>
                <a:gd name="T53" fmla="*/ 547391 h 7300"/>
                <a:gd name="T54" fmla="*/ 183584 w 7423"/>
                <a:gd name="T55" fmla="*/ 499131 h 7300"/>
                <a:gd name="T56" fmla="*/ 325704 w 7423"/>
                <a:gd name="T57" fmla="*/ 431368 h 7300"/>
                <a:gd name="T58" fmla="*/ 431039 w 7423"/>
                <a:gd name="T59" fmla="*/ 360961 h 7300"/>
                <a:gd name="T60" fmla="*/ 492234 w 7423"/>
                <a:gd name="T61" fmla="*/ 300470 h 7300"/>
                <a:gd name="T62" fmla="*/ 573158 w 7423"/>
                <a:gd name="T63" fmla="*/ 285926 h 7300"/>
                <a:gd name="T64" fmla="*/ 757077 w 7423"/>
                <a:gd name="T65" fmla="*/ 346417 h 7300"/>
                <a:gd name="T66" fmla="*/ 864753 w 7423"/>
                <a:gd name="T67" fmla="*/ 370547 h 7300"/>
                <a:gd name="T68" fmla="*/ 945677 w 7423"/>
                <a:gd name="T69" fmla="*/ 404593 h 7300"/>
                <a:gd name="T70" fmla="*/ 1019245 w 7423"/>
                <a:gd name="T71" fmla="*/ 440954 h 7300"/>
                <a:gd name="T72" fmla="*/ 1131937 w 7423"/>
                <a:gd name="T73" fmla="*/ 419138 h 7300"/>
                <a:gd name="T74" fmla="*/ 1188116 w 7423"/>
                <a:gd name="T75" fmla="*/ 419138 h 7300"/>
                <a:gd name="T76" fmla="*/ 1288770 w 7423"/>
                <a:gd name="T77" fmla="*/ 382777 h 7300"/>
                <a:gd name="T78" fmla="*/ 1394105 w 7423"/>
                <a:gd name="T79" fmla="*/ 339144 h 7300"/>
                <a:gd name="T80" fmla="*/ 1460316 w 7423"/>
                <a:gd name="T81" fmla="*/ 295512 h 7300"/>
                <a:gd name="T82" fmla="*/ 1536224 w 7423"/>
                <a:gd name="T83" fmla="*/ 155028 h 7300"/>
                <a:gd name="T84" fmla="*/ 1651257 w 7423"/>
                <a:gd name="T85" fmla="*/ 65449 h 7300"/>
                <a:gd name="T86" fmla="*/ 1722484 w 7423"/>
                <a:gd name="T87" fmla="*/ 65449 h 7300"/>
                <a:gd name="T88" fmla="*/ 1805749 w 7423"/>
                <a:gd name="T89" fmla="*/ 116354 h 7300"/>
                <a:gd name="T90" fmla="*/ 1889014 w 7423"/>
                <a:gd name="T91" fmla="*/ 109082 h 7300"/>
                <a:gd name="T92" fmla="*/ 1967263 w 7423"/>
                <a:gd name="T93" fmla="*/ 164945 h 7300"/>
                <a:gd name="T94" fmla="*/ 1972279 w 7423"/>
                <a:gd name="T95" fmla="*/ 307742 h 7300"/>
                <a:gd name="T96" fmla="*/ 2082630 w 7423"/>
                <a:gd name="T97" fmla="*/ 220477 h 7300"/>
                <a:gd name="T98" fmla="*/ 2033474 w 7423"/>
                <a:gd name="T99" fmla="*/ 571852 h 7300"/>
                <a:gd name="T100" fmla="*/ 1989668 w 7423"/>
                <a:gd name="T101" fmla="*/ 780098 h 7300"/>
                <a:gd name="T102" fmla="*/ 2153523 w 7423"/>
                <a:gd name="T103" fmla="*/ 930168 h 7300"/>
                <a:gd name="T104" fmla="*/ 2285944 w 7423"/>
                <a:gd name="T105" fmla="*/ 1167503 h 7300"/>
                <a:gd name="T106" fmla="*/ 2344798 w 7423"/>
                <a:gd name="T107" fmla="*/ 1375750 h 7300"/>
                <a:gd name="T108" fmla="*/ 2386264 w 7423"/>
                <a:gd name="T109" fmla="*/ 1463015 h 7300"/>
                <a:gd name="T110" fmla="*/ 2408334 w 7423"/>
                <a:gd name="T111" fmla="*/ 1722166 h 7300"/>
                <a:gd name="T112" fmla="*/ 2462507 w 7423"/>
                <a:gd name="T113" fmla="*/ 2024950 h 7300"/>
                <a:gd name="T114" fmla="*/ 2396296 w 7423"/>
                <a:gd name="T115" fmla="*/ 2165434 h 7300"/>
                <a:gd name="T116" fmla="*/ 2310355 w 7423"/>
                <a:gd name="T117" fmla="*/ 2155848 h 7300"/>
                <a:gd name="T118" fmla="*/ 2180609 w 7423"/>
                <a:gd name="T119" fmla="*/ 2225925 h 7300"/>
                <a:gd name="T120" fmla="*/ 2087646 w 7423"/>
                <a:gd name="T121" fmla="*/ 2189564 h 7300"/>
                <a:gd name="T122" fmla="*/ 1996690 w 7423"/>
                <a:gd name="T123" fmla="*/ 2315504 h 7300"/>
                <a:gd name="T124" fmla="*/ 1886673 w 7423"/>
                <a:gd name="T125" fmla="*/ 2383597 h 730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423" h="7300">
                  <a:moveTo>
                    <a:pt x="5275" y="7299"/>
                  </a:moveTo>
                  <a:lnTo>
                    <a:pt x="5275" y="7299"/>
                  </a:lnTo>
                  <a:cubicBezTo>
                    <a:pt x="5217" y="7299"/>
                    <a:pt x="5158" y="7284"/>
                    <a:pt x="5107" y="7277"/>
                  </a:cubicBezTo>
                  <a:cubicBezTo>
                    <a:pt x="5077" y="7269"/>
                    <a:pt x="5048" y="7262"/>
                    <a:pt x="5026" y="7262"/>
                  </a:cubicBezTo>
                  <a:cubicBezTo>
                    <a:pt x="4990" y="7255"/>
                    <a:pt x="4960" y="7255"/>
                    <a:pt x="4931" y="7255"/>
                  </a:cubicBezTo>
                  <a:cubicBezTo>
                    <a:pt x="4909" y="7255"/>
                    <a:pt x="4887" y="7255"/>
                    <a:pt x="4865" y="7255"/>
                  </a:cubicBezTo>
                  <a:cubicBezTo>
                    <a:pt x="4836" y="7247"/>
                    <a:pt x="4843" y="7218"/>
                    <a:pt x="4843" y="7211"/>
                  </a:cubicBezTo>
                  <a:cubicBezTo>
                    <a:pt x="4843" y="7203"/>
                    <a:pt x="4843" y="7196"/>
                    <a:pt x="4843" y="7189"/>
                  </a:cubicBezTo>
                  <a:cubicBezTo>
                    <a:pt x="4843" y="7189"/>
                    <a:pt x="4843" y="7189"/>
                    <a:pt x="4821" y="7181"/>
                  </a:cubicBezTo>
                  <a:cubicBezTo>
                    <a:pt x="4777" y="7181"/>
                    <a:pt x="4740" y="7152"/>
                    <a:pt x="4704" y="7130"/>
                  </a:cubicBezTo>
                  <a:cubicBezTo>
                    <a:pt x="4689" y="7115"/>
                    <a:pt x="4674" y="7108"/>
                    <a:pt x="4660" y="7101"/>
                  </a:cubicBezTo>
                  <a:cubicBezTo>
                    <a:pt x="4631" y="7086"/>
                    <a:pt x="4623" y="7057"/>
                    <a:pt x="4623" y="7042"/>
                  </a:cubicBezTo>
                  <a:cubicBezTo>
                    <a:pt x="4609" y="7057"/>
                    <a:pt x="4594" y="7064"/>
                    <a:pt x="4586" y="7079"/>
                  </a:cubicBezTo>
                  <a:cubicBezTo>
                    <a:pt x="4564" y="7093"/>
                    <a:pt x="4550" y="7108"/>
                    <a:pt x="4506" y="7115"/>
                  </a:cubicBezTo>
                  <a:cubicBezTo>
                    <a:pt x="4499" y="7115"/>
                    <a:pt x="4491" y="7115"/>
                    <a:pt x="4484" y="7115"/>
                  </a:cubicBezTo>
                  <a:cubicBezTo>
                    <a:pt x="4477" y="7115"/>
                    <a:pt x="4469" y="7115"/>
                    <a:pt x="4462" y="7115"/>
                  </a:cubicBezTo>
                  <a:lnTo>
                    <a:pt x="4447" y="7138"/>
                  </a:lnTo>
                  <a:cubicBezTo>
                    <a:pt x="4425" y="7167"/>
                    <a:pt x="4411" y="7181"/>
                    <a:pt x="4389" y="7203"/>
                  </a:cubicBezTo>
                  <a:cubicBezTo>
                    <a:pt x="4374" y="7211"/>
                    <a:pt x="4359" y="7233"/>
                    <a:pt x="4337" y="7255"/>
                  </a:cubicBezTo>
                  <a:cubicBezTo>
                    <a:pt x="4323" y="7277"/>
                    <a:pt x="4308" y="7284"/>
                    <a:pt x="4286" y="7284"/>
                  </a:cubicBezTo>
                  <a:cubicBezTo>
                    <a:pt x="4257" y="7284"/>
                    <a:pt x="4235" y="7262"/>
                    <a:pt x="4220" y="7240"/>
                  </a:cubicBezTo>
                  <a:cubicBezTo>
                    <a:pt x="4205" y="7233"/>
                    <a:pt x="4198" y="7218"/>
                    <a:pt x="4191" y="7218"/>
                  </a:cubicBezTo>
                  <a:cubicBezTo>
                    <a:pt x="4154" y="7196"/>
                    <a:pt x="4140" y="7152"/>
                    <a:pt x="4169" y="7093"/>
                  </a:cubicBezTo>
                  <a:cubicBezTo>
                    <a:pt x="4176" y="7064"/>
                    <a:pt x="4176" y="7057"/>
                    <a:pt x="4169" y="7035"/>
                  </a:cubicBezTo>
                  <a:cubicBezTo>
                    <a:pt x="4161" y="7020"/>
                    <a:pt x="4161" y="7020"/>
                    <a:pt x="4161" y="7020"/>
                  </a:cubicBezTo>
                  <a:cubicBezTo>
                    <a:pt x="4161" y="7005"/>
                    <a:pt x="4154" y="6998"/>
                    <a:pt x="4147" y="6983"/>
                  </a:cubicBezTo>
                  <a:cubicBezTo>
                    <a:pt x="4140" y="6969"/>
                    <a:pt x="4132" y="6954"/>
                    <a:pt x="4132" y="6932"/>
                  </a:cubicBezTo>
                  <a:cubicBezTo>
                    <a:pt x="4132" y="6903"/>
                    <a:pt x="4154" y="6888"/>
                    <a:pt x="4169" y="6881"/>
                  </a:cubicBezTo>
                  <a:cubicBezTo>
                    <a:pt x="4176" y="6874"/>
                    <a:pt x="4183" y="6866"/>
                    <a:pt x="4198" y="6859"/>
                  </a:cubicBezTo>
                  <a:cubicBezTo>
                    <a:pt x="4198" y="6859"/>
                    <a:pt x="4198" y="6859"/>
                    <a:pt x="4198" y="6844"/>
                  </a:cubicBezTo>
                  <a:cubicBezTo>
                    <a:pt x="4191" y="6822"/>
                    <a:pt x="4169" y="6793"/>
                    <a:pt x="4147" y="6786"/>
                  </a:cubicBezTo>
                  <a:cubicBezTo>
                    <a:pt x="4125" y="6771"/>
                    <a:pt x="4125" y="6742"/>
                    <a:pt x="4125" y="6727"/>
                  </a:cubicBezTo>
                  <a:cubicBezTo>
                    <a:pt x="4125" y="6720"/>
                    <a:pt x="4125" y="6712"/>
                    <a:pt x="4125" y="6712"/>
                  </a:cubicBezTo>
                  <a:cubicBezTo>
                    <a:pt x="4118" y="6720"/>
                    <a:pt x="4110" y="6720"/>
                    <a:pt x="4110" y="6720"/>
                  </a:cubicBezTo>
                  <a:cubicBezTo>
                    <a:pt x="4066" y="6720"/>
                    <a:pt x="4044" y="6683"/>
                    <a:pt x="4037" y="6683"/>
                  </a:cubicBezTo>
                  <a:cubicBezTo>
                    <a:pt x="4037" y="6676"/>
                    <a:pt x="4037" y="6676"/>
                    <a:pt x="4037" y="6676"/>
                  </a:cubicBezTo>
                  <a:cubicBezTo>
                    <a:pt x="4044" y="6654"/>
                    <a:pt x="4044" y="6588"/>
                    <a:pt x="4022" y="6566"/>
                  </a:cubicBezTo>
                  <a:cubicBezTo>
                    <a:pt x="4000" y="6544"/>
                    <a:pt x="3993" y="6544"/>
                    <a:pt x="3978" y="6544"/>
                  </a:cubicBezTo>
                  <a:cubicBezTo>
                    <a:pt x="3971" y="6544"/>
                    <a:pt x="3956" y="6544"/>
                    <a:pt x="3934" y="6544"/>
                  </a:cubicBezTo>
                  <a:lnTo>
                    <a:pt x="3927" y="6551"/>
                  </a:lnTo>
                  <a:cubicBezTo>
                    <a:pt x="3883" y="6551"/>
                    <a:pt x="3869" y="6514"/>
                    <a:pt x="3854" y="6485"/>
                  </a:cubicBezTo>
                  <a:cubicBezTo>
                    <a:pt x="3846" y="6478"/>
                    <a:pt x="3846" y="6463"/>
                    <a:pt x="3839" y="6456"/>
                  </a:cubicBezTo>
                  <a:cubicBezTo>
                    <a:pt x="3824" y="6449"/>
                    <a:pt x="3824" y="6449"/>
                    <a:pt x="3824" y="6449"/>
                  </a:cubicBezTo>
                  <a:cubicBezTo>
                    <a:pt x="3832" y="6427"/>
                    <a:pt x="3832" y="6427"/>
                    <a:pt x="3832" y="6427"/>
                  </a:cubicBezTo>
                  <a:cubicBezTo>
                    <a:pt x="3854" y="6405"/>
                    <a:pt x="3883" y="6383"/>
                    <a:pt x="3905" y="6368"/>
                  </a:cubicBezTo>
                  <a:cubicBezTo>
                    <a:pt x="3927" y="6353"/>
                    <a:pt x="3949" y="6346"/>
                    <a:pt x="3964" y="6331"/>
                  </a:cubicBezTo>
                  <a:cubicBezTo>
                    <a:pt x="4000" y="6317"/>
                    <a:pt x="4030" y="6302"/>
                    <a:pt x="4052" y="6265"/>
                  </a:cubicBezTo>
                  <a:cubicBezTo>
                    <a:pt x="4074" y="6229"/>
                    <a:pt x="4088" y="6185"/>
                    <a:pt x="4081" y="6163"/>
                  </a:cubicBezTo>
                  <a:cubicBezTo>
                    <a:pt x="4081" y="6155"/>
                    <a:pt x="4081" y="6148"/>
                    <a:pt x="4066" y="6148"/>
                  </a:cubicBezTo>
                  <a:cubicBezTo>
                    <a:pt x="4022" y="6119"/>
                    <a:pt x="3993" y="6060"/>
                    <a:pt x="4022" y="5994"/>
                  </a:cubicBezTo>
                  <a:cubicBezTo>
                    <a:pt x="4037" y="5965"/>
                    <a:pt x="4059" y="5914"/>
                    <a:pt x="4030" y="5892"/>
                  </a:cubicBezTo>
                  <a:cubicBezTo>
                    <a:pt x="4015" y="5884"/>
                    <a:pt x="4015" y="5884"/>
                    <a:pt x="4015" y="5884"/>
                  </a:cubicBezTo>
                  <a:cubicBezTo>
                    <a:pt x="3986" y="5855"/>
                    <a:pt x="3942" y="5826"/>
                    <a:pt x="3949" y="5782"/>
                  </a:cubicBezTo>
                  <a:cubicBezTo>
                    <a:pt x="3964" y="5731"/>
                    <a:pt x="3964" y="5701"/>
                    <a:pt x="3949" y="5687"/>
                  </a:cubicBezTo>
                  <a:cubicBezTo>
                    <a:pt x="3942" y="5679"/>
                    <a:pt x="3934" y="5672"/>
                    <a:pt x="3920" y="5672"/>
                  </a:cubicBezTo>
                  <a:cubicBezTo>
                    <a:pt x="3912" y="5672"/>
                    <a:pt x="3898" y="5672"/>
                    <a:pt x="3890" y="5679"/>
                  </a:cubicBezTo>
                  <a:cubicBezTo>
                    <a:pt x="3861" y="5687"/>
                    <a:pt x="3839" y="5694"/>
                    <a:pt x="3810" y="5694"/>
                  </a:cubicBezTo>
                  <a:cubicBezTo>
                    <a:pt x="3759" y="5694"/>
                    <a:pt x="3722" y="5672"/>
                    <a:pt x="3707" y="5643"/>
                  </a:cubicBezTo>
                  <a:cubicBezTo>
                    <a:pt x="3700" y="5628"/>
                    <a:pt x="3707" y="5613"/>
                    <a:pt x="3722" y="5606"/>
                  </a:cubicBezTo>
                  <a:cubicBezTo>
                    <a:pt x="3722" y="5599"/>
                    <a:pt x="3729" y="5591"/>
                    <a:pt x="3729" y="5591"/>
                  </a:cubicBezTo>
                  <a:cubicBezTo>
                    <a:pt x="3722" y="5591"/>
                    <a:pt x="3714" y="5584"/>
                    <a:pt x="3671" y="5584"/>
                  </a:cubicBezTo>
                  <a:cubicBezTo>
                    <a:pt x="3619" y="5584"/>
                    <a:pt x="3590" y="5577"/>
                    <a:pt x="3575" y="5525"/>
                  </a:cubicBezTo>
                  <a:cubicBezTo>
                    <a:pt x="3568" y="5474"/>
                    <a:pt x="3553" y="5474"/>
                    <a:pt x="3553" y="5474"/>
                  </a:cubicBezTo>
                  <a:cubicBezTo>
                    <a:pt x="3553" y="5474"/>
                    <a:pt x="3546" y="5474"/>
                    <a:pt x="3531" y="5481"/>
                  </a:cubicBezTo>
                  <a:cubicBezTo>
                    <a:pt x="3517" y="5496"/>
                    <a:pt x="3480" y="5525"/>
                    <a:pt x="3436" y="5525"/>
                  </a:cubicBezTo>
                  <a:cubicBezTo>
                    <a:pt x="3407" y="5525"/>
                    <a:pt x="3378" y="5503"/>
                    <a:pt x="3363" y="5467"/>
                  </a:cubicBezTo>
                  <a:cubicBezTo>
                    <a:pt x="3348" y="5408"/>
                    <a:pt x="3333" y="5408"/>
                    <a:pt x="3326" y="5408"/>
                  </a:cubicBezTo>
                  <a:cubicBezTo>
                    <a:pt x="3319" y="5408"/>
                    <a:pt x="3304" y="5415"/>
                    <a:pt x="3297" y="5415"/>
                  </a:cubicBezTo>
                  <a:cubicBezTo>
                    <a:pt x="3282" y="5415"/>
                    <a:pt x="3282" y="5415"/>
                    <a:pt x="3275" y="5415"/>
                  </a:cubicBezTo>
                  <a:cubicBezTo>
                    <a:pt x="3224" y="5415"/>
                    <a:pt x="3180" y="5386"/>
                    <a:pt x="3158" y="5350"/>
                  </a:cubicBezTo>
                  <a:cubicBezTo>
                    <a:pt x="3150" y="5342"/>
                    <a:pt x="3143" y="5342"/>
                    <a:pt x="3143" y="5342"/>
                  </a:cubicBezTo>
                  <a:cubicBezTo>
                    <a:pt x="3136" y="5342"/>
                    <a:pt x="3136" y="5342"/>
                    <a:pt x="3128" y="5342"/>
                  </a:cubicBezTo>
                  <a:cubicBezTo>
                    <a:pt x="3121" y="5342"/>
                    <a:pt x="3114" y="5342"/>
                    <a:pt x="3114" y="5342"/>
                  </a:cubicBezTo>
                  <a:cubicBezTo>
                    <a:pt x="3092" y="5342"/>
                    <a:pt x="3084" y="5342"/>
                    <a:pt x="3070" y="5328"/>
                  </a:cubicBezTo>
                  <a:cubicBezTo>
                    <a:pt x="3055" y="5305"/>
                    <a:pt x="3055" y="5291"/>
                    <a:pt x="3055" y="5276"/>
                  </a:cubicBezTo>
                  <a:cubicBezTo>
                    <a:pt x="3055" y="5269"/>
                    <a:pt x="3055" y="5269"/>
                    <a:pt x="3055" y="5269"/>
                  </a:cubicBezTo>
                  <a:cubicBezTo>
                    <a:pt x="3055" y="5269"/>
                    <a:pt x="3055" y="5269"/>
                    <a:pt x="3048" y="5269"/>
                  </a:cubicBezTo>
                  <a:cubicBezTo>
                    <a:pt x="3019" y="5276"/>
                    <a:pt x="2996" y="5298"/>
                    <a:pt x="2967" y="5313"/>
                  </a:cubicBezTo>
                  <a:cubicBezTo>
                    <a:pt x="2945" y="5328"/>
                    <a:pt x="2916" y="5350"/>
                    <a:pt x="2887" y="5364"/>
                  </a:cubicBezTo>
                  <a:cubicBezTo>
                    <a:pt x="2864" y="5379"/>
                    <a:pt x="2864" y="5379"/>
                    <a:pt x="2864" y="5379"/>
                  </a:cubicBezTo>
                  <a:cubicBezTo>
                    <a:pt x="2828" y="5393"/>
                    <a:pt x="2806" y="5408"/>
                    <a:pt x="2777" y="5408"/>
                  </a:cubicBezTo>
                  <a:cubicBezTo>
                    <a:pt x="2755" y="5408"/>
                    <a:pt x="2733" y="5393"/>
                    <a:pt x="2711" y="5364"/>
                  </a:cubicBezTo>
                  <a:cubicBezTo>
                    <a:pt x="2696" y="5342"/>
                    <a:pt x="2674" y="5320"/>
                    <a:pt x="2659" y="5298"/>
                  </a:cubicBezTo>
                  <a:cubicBezTo>
                    <a:pt x="2637" y="5276"/>
                    <a:pt x="2623" y="5254"/>
                    <a:pt x="2608" y="5240"/>
                  </a:cubicBezTo>
                  <a:cubicBezTo>
                    <a:pt x="2608" y="5232"/>
                    <a:pt x="2601" y="5225"/>
                    <a:pt x="2586" y="5225"/>
                  </a:cubicBezTo>
                  <a:cubicBezTo>
                    <a:pt x="2579" y="5225"/>
                    <a:pt x="2571" y="5225"/>
                    <a:pt x="2571" y="5225"/>
                  </a:cubicBezTo>
                  <a:cubicBezTo>
                    <a:pt x="2564" y="5247"/>
                    <a:pt x="2557" y="5291"/>
                    <a:pt x="2520" y="5291"/>
                  </a:cubicBezTo>
                  <a:cubicBezTo>
                    <a:pt x="2520" y="5291"/>
                    <a:pt x="2513" y="5291"/>
                    <a:pt x="2505" y="5283"/>
                  </a:cubicBezTo>
                  <a:cubicBezTo>
                    <a:pt x="2469" y="5269"/>
                    <a:pt x="2330" y="5181"/>
                    <a:pt x="2330" y="5174"/>
                  </a:cubicBezTo>
                  <a:cubicBezTo>
                    <a:pt x="2322" y="5174"/>
                    <a:pt x="2286" y="5159"/>
                    <a:pt x="2264" y="5093"/>
                  </a:cubicBezTo>
                  <a:cubicBezTo>
                    <a:pt x="2249" y="5056"/>
                    <a:pt x="2220" y="5034"/>
                    <a:pt x="2198" y="5020"/>
                  </a:cubicBezTo>
                  <a:cubicBezTo>
                    <a:pt x="2176" y="5012"/>
                    <a:pt x="2161" y="4998"/>
                    <a:pt x="2154" y="4983"/>
                  </a:cubicBezTo>
                  <a:cubicBezTo>
                    <a:pt x="2146" y="4976"/>
                    <a:pt x="2139" y="4969"/>
                    <a:pt x="2124" y="4954"/>
                  </a:cubicBezTo>
                  <a:cubicBezTo>
                    <a:pt x="2095" y="4924"/>
                    <a:pt x="2059" y="4881"/>
                    <a:pt x="2051" y="4837"/>
                  </a:cubicBezTo>
                  <a:cubicBezTo>
                    <a:pt x="2029" y="4778"/>
                    <a:pt x="2029" y="4727"/>
                    <a:pt x="2073" y="4668"/>
                  </a:cubicBezTo>
                  <a:cubicBezTo>
                    <a:pt x="2102" y="4639"/>
                    <a:pt x="2117" y="4631"/>
                    <a:pt x="2139" y="4624"/>
                  </a:cubicBezTo>
                  <a:cubicBezTo>
                    <a:pt x="2146" y="4624"/>
                    <a:pt x="2154" y="4624"/>
                    <a:pt x="2161" y="4617"/>
                  </a:cubicBezTo>
                  <a:cubicBezTo>
                    <a:pt x="2169" y="4602"/>
                    <a:pt x="2146" y="4588"/>
                    <a:pt x="2139" y="4580"/>
                  </a:cubicBezTo>
                  <a:cubicBezTo>
                    <a:pt x="2124" y="4573"/>
                    <a:pt x="2110" y="4565"/>
                    <a:pt x="2102" y="4551"/>
                  </a:cubicBezTo>
                  <a:cubicBezTo>
                    <a:pt x="2066" y="4514"/>
                    <a:pt x="2073" y="4478"/>
                    <a:pt x="2088" y="4397"/>
                  </a:cubicBezTo>
                  <a:cubicBezTo>
                    <a:pt x="2088" y="4390"/>
                    <a:pt x="2088" y="4390"/>
                    <a:pt x="2088" y="4390"/>
                  </a:cubicBezTo>
                  <a:cubicBezTo>
                    <a:pt x="2102" y="4331"/>
                    <a:pt x="2124" y="4302"/>
                    <a:pt x="2146" y="4272"/>
                  </a:cubicBezTo>
                  <a:cubicBezTo>
                    <a:pt x="2161" y="4258"/>
                    <a:pt x="2176" y="4250"/>
                    <a:pt x="2176" y="4236"/>
                  </a:cubicBezTo>
                  <a:cubicBezTo>
                    <a:pt x="2183" y="4214"/>
                    <a:pt x="2176" y="4192"/>
                    <a:pt x="2169" y="4162"/>
                  </a:cubicBezTo>
                  <a:cubicBezTo>
                    <a:pt x="2161" y="4148"/>
                    <a:pt x="2154" y="4133"/>
                    <a:pt x="2146" y="4111"/>
                  </a:cubicBezTo>
                  <a:cubicBezTo>
                    <a:pt x="2139" y="4060"/>
                    <a:pt x="2132" y="3913"/>
                    <a:pt x="2169" y="3862"/>
                  </a:cubicBezTo>
                  <a:cubicBezTo>
                    <a:pt x="2212" y="3811"/>
                    <a:pt x="2234" y="3774"/>
                    <a:pt x="2212" y="3752"/>
                  </a:cubicBezTo>
                  <a:cubicBezTo>
                    <a:pt x="2205" y="3745"/>
                    <a:pt x="2198" y="3745"/>
                    <a:pt x="2190" y="3745"/>
                  </a:cubicBezTo>
                  <a:cubicBezTo>
                    <a:pt x="2183" y="3745"/>
                    <a:pt x="2176" y="3745"/>
                    <a:pt x="2176" y="3745"/>
                  </a:cubicBezTo>
                  <a:cubicBezTo>
                    <a:pt x="2161" y="3745"/>
                    <a:pt x="2154" y="3752"/>
                    <a:pt x="2146" y="3752"/>
                  </a:cubicBezTo>
                  <a:cubicBezTo>
                    <a:pt x="2132" y="3752"/>
                    <a:pt x="2117" y="3745"/>
                    <a:pt x="2110" y="3737"/>
                  </a:cubicBezTo>
                  <a:cubicBezTo>
                    <a:pt x="2073" y="3723"/>
                    <a:pt x="2073" y="3686"/>
                    <a:pt x="2066" y="3657"/>
                  </a:cubicBezTo>
                  <a:cubicBezTo>
                    <a:pt x="2066" y="3642"/>
                    <a:pt x="2059" y="3628"/>
                    <a:pt x="2059" y="3620"/>
                  </a:cubicBezTo>
                  <a:cubicBezTo>
                    <a:pt x="2051" y="3620"/>
                    <a:pt x="2044" y="3620"/>
                    <a:pt x="2044" y="3620"/>
                  </a:cubicBezTo>
                  <a:cubicBezTo>
                    <a:pt x="2037" y="3620"/>
                    <a:pt x="2029" y="3628"/>
                    <a:pt x="2014" y="3642"/>
                  </a:cubicBezTo>
                  <a:cubicBezTo>
                    <a:pt x="1956" y="3701"/>
                    <a:pt x="1927" y="3701"/>
                    <a:pt x="1919" y="3701"/>
                  </a:cubicBezTo>
                  <a:cubicBezTo>
                    <a:pt x="1912" y="3701"/>
                    <a:pt x="1890" y="3701"/>
                    <a:pt x="1883" y="3671"/>
                  </a:cubicBezTo>
                  <a:cubicBezTo>
                    <a:pt x="1883" y="3628"/>
                    <a:pt x="1890" y="3613"/>
                    <a:pt x="1905" y="3598"/>
                  </a:cubicBezTo>
                  <a:cubicBezTo>
                    <a:pt x="1905" y="3591"/>
                    <a:pt x="1912" y="3583"/>
                    <a:pt x="1912" y="3583"/>
                  </a:cubicBezTo>
                  <a:cubicBezTo>
                    <a:pt x="1912" y="3583"/>
                    <a:pt x="1883" y="3576"/>
                    <a:pt x="1861" y="3569"/>
                  </a:cubicBezTo>
                  <a:cubicBezTo>
                    <a:pt x="1839" y="3569"/>
                    <a:pt x="1839" y="3569"/>
                    <a:pt x="1839" y="3569"/>
                  </a:cubicBezTo>
                  <a:cubicBezTo>
                    <a:pt x="1846" y="3554"/>
                    <a:pt x="1846" y="3554"/>
                    <a:pt x="1846" y="3554"/>
                  </a:cubicBezTo>
                  <a:cubicBezTo>
                    <a:pt x="1846" y="3554"/>
                    <a:pt x="1853" y="3518"/>
                    <a:pt x="1868" y="3466"/>
                  </a:cubicBezTo>
                  <a:cubicBezTo>
                    <a:pt x="1875" y="3444"/>
                    <a:pt x="1875" y="3408"/>
                    <a:pt x="1875" y="3378"/>
                  </a:cubicBezTo>
                  <a:cubicBezTo>
                    <a:pt x="1875" y="3349"/>
                    <a:pt x="1875" y="3320"/>
                    <a:pt x="1890" y="3298"/>
                  </a:cubicBezTo>
                  <a:cubicBezTo>
                    <a:pt x="1897" y="3283"/>
                    <a:pt x="1919" y="3276"/>
                    <a:pt x="1934" y="3269"/>
                  </a:cubicBezTo>
                  <a:cubicBezTo>
                    <a:pt x="1949" y="3261"/>
                    <a:pt x="1971" y="3254"/>
                    <a:pt x="1971" y="3239"/>
                  </a:cubicBezTo>
                  <a:cubicBezTo>
                    <a:pt x="1978" y="3232"/>
                    <a:pt x="2022" y="3173"/>
                    <a:pt x="1971" y="3078"/>
                  </a:cubicBezTo>
                  <a:cubicBezTo>
                    <a:pt x="1963" y="3056"/>
                    <a:pt x="1956" y="3041"/>
                    <a:pt x="1949" y="3027"/>
                  </a:cubicBezTo>
                  <a:cubicBezTo>
                    <a:pt x="1919" y="2975"/>
                    <a:pt x="1897" y="2939"/>
                    <a:pt x="1919" y="2902"/>
                  </a:cubicBezTo>
                  <a:cubicBezTo>
                    <a:pt x="1934" y="2880"/>
                    <a:pt x="1934" y="2858"/>
                    <a:pt x="1919" y="2836"/>
                  </a:cubicBezTo>
                  <a:cubicBezTo>
                    <a:pt x="1919" y="2829"/>
                    <a:pt x="1912" y="2821"/>
                    <a:pt x="1912" y="2814"/>
                  </a:cubicBezTo>
                  <a:cubicBezTo>
                    <a:pt x="1905" y="2778"/>
                    <a:pt x="1927" y="2733"/>
                    <a:pt x="1985" y="2704"/>
                  </a:cubicBezTo>
                  <a:cubicBezTo>
                    <a:pt x="2014" y="2682"/>
                    <a:pt x="2007" y="2653"/>
                    <a:pt x="1993" y="2602"/>
                  </a:cubicBezTo>
                  <a:cubicBezTo>
                    <a:pt x="1971" y="2558"/>
                    <a:pt x="1897" y="2470"/>
                    <a:pt x="1875" y="2462"/>
                  </a:cubicBezTo>
                  <a:lnTo>
                    <a:pt x="1868" y="2462"/>
                  </a:lnTo>
                  <a:cubicBezTo>
                    <a:pt x="1861" y="2462"/>
                    <a:pt x="1861" y="2470"/>
                    <a:pt x="1853" y="2484"/>
                  </a:cubicBezTo>
                  <a:cubicBezTo>
                    <a:pt x="1839" y="2499"/>
                    <a:pt x="1831" y="2514"/>
                    <a:pt x="1802" y="2521"/>
                  </a:cubicBezTo>
                  <a:cubicBezTo>
                    <a:pt x="1795" y="2528"/>
                    <a:pt x="1795" y="2528"/>
                    <a:pt x="1788" y="2528"/>
                  </a:cubicBezTo>
                  <a:cubicBezTo>
                    <a:pt x="1758" y="2528"/>
                    <a:pt x="1751" y="2499"/>
                    <a:pt x="1743" y="2470"/>
                  </a:cubicBezTo>
                  <a:cubicBezTo>
                    <a:pt x="1743" y="2462"/>
                    <a:pt x="1736" y="2448"/>
                    <a:pt x="1736" y="2440"/>
                  </a:cubicBezTo>
                  <a:cubicBezTo>
                    <a:pt x="1729" y="2448"/>
                    <a:pt x="1714" y="2455"/>
                    <a:pt x="1692" y="2455"/>
                  </a:cubicBezTo>
                  <a:cubicBezTo>
                    <a:pt x="1685" y="2455"/>
                    <a:pt x="1685" y="2455"/>
                    <a:pt x="1678" y="2455"/>
                  </a:cubicBezTo>
                  <a:cubicBezTo>
                    <a:pt x="1648" y="2455"/>
                    <a:pt x="1648" y="2455"/>
                    <a:pt x="1648" y="2455"/>
                  </a:cubicBezTo>
                  <a:cubicBezTo>
                    <a:pt x="1612" y="2448"/>
                    <a:pt x="1575" y="2440"/>
                    <a:pt x="1546" y="2440"/>
                  </a:cubicBezTo>
                  <a:cubicBezTo>
                    <a:pt x="1538" y="2440"/>
                    <a:pt x="1531" y="2440"/>
                    <a:pt x="1531" y="2440"/>
                  </a:cubicBezTo>
                  <a:cubicBezTo>
                    <a:pt x="1516" y="2448"/>
                    <a:pt x="1487" y="2448"/>
                    <a:pt x="1450" y="2448"/>
                  </a:cubicBezTo>
                  <a:cubicBezTo>
                    <a:pt x="1421" y="2448"/>
                    <a:pt x="1362" y="2448"/>
                    <a:pt x="1319" y="2419"/>
                  </a:cubicBezTo>
                  <a:cubicBezTo>
                    <a:pt x="1289" y="2411"/>
                    <a:pt x="1260" y="2396"/>
                    <a:pt x="1238" y="2389"/>
                  </a:cubicBezTo>
                  <a:cubicBezTo>
                    <a:pt x="1194" y="2374"/>
                    <a:pt x="1164" y="2360"/>
                    <a:pt x="1150" y="2338"/>
                  </a:cubicBezTo>
                  <a:cubicBezTo>
                    <a:pt x="1128" y="2309"/>
                    <a:pt x="1150" y="2264"/>
                    <a:pt x="1164" y="2228"/>
                  </a:cubicBezTo>
                  <a:lnTo>
                    <a:pt x="1164" y="2221"/>
                  </a:lnTo>
                  <a:cubicBezTo>
                    <a:pt x="1164" y="2213"/>
                    <a:pt x="1150" y="2206"/>
                    <a:pt x="1135" y="2206"/>
                  </a:cubicBezTo>
                  <a:cubicBezTo>
                    <a:pt x="1128" y="2206"/>
                    <a:pt x="1121" y="2213"/>
                    <a:pt x="1113" y="2221"/>
                  </a:cubicBezTo>
                  <a:cubicBezTo>
                    <a:pt x="1106" y="2221"/>
                    <a:pt x="1099" y="2221"/>
                    <a:pt x="1084" y="2221"/>
                  </a:cubicBezTo>
                  <a:cubicBezTo>
                    <a:pt x="1047" y="2221"/>
                    <a:pt x="1025" y="2162"/>
                    <a:pt x="1018" y="2140"/>
                  </a:cubicBezTo>
                  <a:cubicBezTo>
                    <a:pt x="996" y="2111"/>
                    <a:pt x="981" y="2103"/>
                    <a:pt x="974" y="2103"/>
                  </a:cubicBezTo>
                  <a:cubicBezTo>
                    <a:pt x="959" y="2103"/>
                    <a:pt x="952" y="2111"/>
                    <a:pt x="938" y="2118"/>
                  </a:cubicBezTo>
                  <a:cubicBezTo>
                    <a:pt x="930" y="2118"/>
                    <a:pt x="930" y="2118"/>
                    <a:pt x="930" y="2118"/>
                  </a:cubicBezTo>
                  <a:cubicBezTo>
                    <a:pt x="908" y="2133"/>
                    <a:pt x="886" y="2147"/>
                    <a:pt x="871" y="2147"/>
                  </a:cubicBezTo>
                  <a:cubicBezTo>
                    <a:pt x="857" y="2147"/>
                    <a:pt x="835" y="2140"/>
                    <a:pt x="835" y="2103"/>
                  </a:cubicBezTo>
                  <a:cubicBezTo>
                    <a:pt x="828" y="2067"/>
                    <a:pt x="828" y="2067"/>
                    <a:pt x="791" y="2059"/>
                  </a:cubicBezTo>
                  <a:cubicBezTo>
                    <a:pt x="762" y="2052"/>
                    <a:pt x="747" y="2045"/>
                    <a:pt x="740" y="2030"/>
                  </a:cubicBezTo>
                  <a:cubicBezTo>
                    <a:pt x="732" y="2008"/>
                    <a:pt x="740" y="1986"/>
                    <a:pt x="747" y="1971"/>
                  </a:cubicBezTo>
                  <a:cubicBezTo>
                    <a:pt x="754" y="1964"/>
                    <a:pt x="754" y="1957"/>
                    <a:pt x="754" y="1950"/>
                  </a:cubicBezTo>
                  <a:cubicBezTo>
                    <a:pt x="747" y="1950"/>
                    <a:pt x="732" y="1942"/>
                    <a:pt x="710" y="1942"/>
                  </a:cubicBezTo>
                  <a:cubicBezTo>
                    <a:pt x="696" y="1942"/>
                    <a:pt x="696" y="1942"/>
                    <a:pt x="696" y="1942"/>
                  </a:cubicBezTo>
                  <a:cubicBezTo>
                    <a:pt x="681" y="1942"/>
                    <a:pt x="666" y="1942"/>
                    <a:pt x="652" y="1942"/>
                  </a:cubicBezTo>
                  <a:cubicBezTo>
                    <a:pt x="637" y="1950"/>
                    <a:pt x="622" y="1950"/>
                    <a:pt x="600" y="1950"/>
                  </a:cubicBezTo>
                  <a:cubicBezTo>
                    <a:pt x="586" y="1950"/>
                    <a:pt x="578" y="1950"/>
                    <a:pt x="564" y="1950"/>
                  </a:cubicBezTo>
                  <a:cubicBezTo>
                    <a:pt x="527" y="1942"/>
                    <a:pt x="498" y="1920"/>
                    <a:pt x="469" y="1905"/>
                  </a:cubicBezTo>
                  <a:cubicBezTo>
                    <a:pt x="447" y="1891"/>
                    <a:pt x="417" y="1869"/>
                    <a:pt x="388" y="1862"/>
                  </a:cubicBezTo>
                  <a:cubicBezTo>
                    <a:pt x="381" y="1854"/>
                    <a:pt x="366" y="1854"/>
                    <a:pt x="351" y="1854"/>
                  </a:cubicBezTo>
                  <a:cubicBezTo>
                    <a:pt x="322" y="1854"/>
                    <a:pt x="285" y="1869"/>
                    <a:pt x="263" y="1883"/>
                  </a:cubicBezTo>
                  <a:cubicBezTo>
                    <a:pt x="249" y="1891"/>
                    <a:pt x="241" y="1891"/>
                    <a:pt x="234" y="1898"/>
                  </a:cubicBezTo>
                  <a:cubicBezTo>
                    <a:pt x="212" y="1905"/>
                    <a:pt x="197" y="1905"/>
                    <a:pt x="183" y="1905"/>
                  </a:cubicBezTo>
                  <a:cubicBezTo>
                    <a:pt x="146" y="1905"/>
                    <a:pt x="117" y="1891"/>
                    <a:pt x="88" y="1854"/>
                  </a:cubicBezTo>
                  <a:cubicBezTo>
                    <a:pt x="21" y="1781"/>
                    <a:pt x="0" y="1730"/>
                    <a:pt x="7" y="1708"/>
                  </a:cubicBezTo>
                  <a:cubicBezTo>
                    <a:pt x="7" y="1708"/>
                    <a:pt x="7" y="1700"/>
                    <a:pt x="14" y="1700"/>
                  </a:cubicBezTo>
                  <a:cubicBezTo>
                    <a:pt x="0" y="1693"/>
                    <a:pt x="0" y="1693"/>
                    <a:pt x="0" y="1693"/>
                  </a:cubicBezTo>
                  <a:cubicBezTo>
                    <a:pt x="43" y="1686"/>
                    <a:pt x="43" y="1686"/>
                    <a:pt x="43" y="1686"/>
                  </a:cubicBezTo>
                  <a:cubicBezTo>
                    <a:pt x="212" y="1686"/>
                    <a:pt x="212" y="1686"/>
                    <a:pt x="212" y="1686"/>
                  </a:cubicBezTo>
                  <a:cubicBezTo>
                    <a:pt x="241" y="1686"/>
                    <a:pt x="249" y="1678"/>
                    <a:pt x="256" y="1656"/>
                  </a:cubicBezTo>
                  <a:cubicBezTo>
                    <a:pt x="263" y="1620"/>
                    <a:pt x="300" y="1598"/>
                    <a:pt x="351" y="1598"/>
                  </a:cubicBezTo>
                  <a:cubicBezTo>
                    <a:pt x="366" y="1598"/>
                    <a:pt x="373" y="1598"/>
                    <a:pt x="388" y="1605"/>
                  </a:cubicBezTo>
                  <a:cubicBezTo>
                    <a:pt x="432" y="1605"/>
                    <a:pt x="461" y="1627"/>
                    <a:pt x="490" y="1642"/>
                  </a:cubicBezTo>
                  <a:cubicBezTo>
                    <a:pt x="512" y="1649"/>
                    <a:pt x="527" y="1664"/>
                    <a:pt x="534" y="1664"/>
                  </a:cubicBezTo>
                  <a:cubicBezTo>
                    <a:pt x="549" y="1634"/>
                    <a:pt x="549" y="1627"/>
                    <a:pt x="556" y="1576"/>
                  </a:cubicBezTo>
                  <a:cubicBezTo>
                    <a:pt x="556" y="1561"/>
                    <a:pt x="556" y="1561"/>
                    <a:pt x="556" y="1561"/>
                  </a:cubicBezTo>
                  <a:cubicBezTo>
                    <a:pt x="564" y="1546"/>
                    <a:pt x="556" y="1524"/>
                    <a:pt x="549" y="1510"/>
                  </a:cubicBezTo>
                  <a:cubicBezTo>
                    <a:pt x="534" y="1488"/>
                    <a:pt x="527" y="1451"/>
                    <a:pt x="556" y="1414"/>
                  </a:cubicBezTo>
                  <a:cubicBezTo>
                    <a:pt x="600" y="1356"/>
                    <a:pt x="630" y="1327"/>
                    <a:pt x="681" y="1297"/>
                  </a:cubicBezTo>
                  <a:cubicBezTo>
                    <a:pt x="688" y="1290"/>
                    <a:pt x="703" y="1283"/>
                    <a:pt x="710" y="1275"/>
                  </a:cubicBezTo>
                  <a:cubicBezTo>
                    <a:pt x="732" y="1253"/>
                    <a:pt x="762" y="1231"/>
                    <a:pt x="791" y="1231"/>
                  </a:cubicBezTo>
                  <a:cubicBezTo>
                    <a:pt x="806" y="1231"/>
                    <a:pt x="813" y="1231"/>
                    <a:pt x="828" y="1239"/>
                  </a:cubicBezTo>
                  <a:cubicBezTo>
                    <a:pt x="842" y="1246"/>
                    <a:pt x="864" y="1253"/>
                    <a:pt x="879" y="1268"/>
                  </a:cubicBezTo>
                  <a:cubicBezTo>
                    <a:pt x="915" y="1283"/>
                    <a:pt x="952" y="1305"/>
                    <a:pt x="974" y="1305"/>
                  </a:cubicBezTo>
                  <a:cubicBezTo>
                    <a:pt x="981" y="1305"/>
                    <a:pt x="989" y="1305"/>
                    <a:pt x="989" y="1297"/>
                  </a:cubicBezTo>
                  <a:cubicBezTo>
                    <a:pt x="1011" y="1290"/>
                    <a:pt x="1025" y="1283"/>
                    <a:pt x="1047" y="1275"/>
                  </a:cubicBezTo>
                  <a:cubicBezTo>
                    <a:pt x="1069" y="1268"/>
                    <a:pt x="1091" y="1261"/>
                    <a:pt x="1099" y="1246"/>
                  </a:cubicBezTo>
                  <a:cubicBezTo>
                    <a:pt x="1113" y="1217"/>
                    <a:pt x="1128" y="1202"/>
                    <a:pt x="1150" y="1187"/>
                  </a:cubicBezTo>
                  <a:cubicBezTo>
                    <a:pt x="1164" y="1180"/>
                    <a:pt x="1179" y="1165"/>
                    <a:pt x="1194" y="1158"/>
                  </a:cubicBezTo>
                  <a:cubicBezTo>
                    <a:pt x="1201" y="1151"/>
                    <a:pt x="1209" y="1143"/>
                    <a:pt x="1216" y="1136"/>
                  </a:cubicBezTo>
                  <a:cubicBezTo>
                    <a:pt x="1245" y="1114"/>
                    <a:pt x="1267" y="1092"/>
                    <a:pt x="1289" y="1092"/>
                  </a:cubicBezTo>
                  <a:cubicBezTo>
                    <a:pt x="1304" y="1092"/>
                    <a:pt x="1311" y="1100"/>
                    <a:pt x="1326" y="1107"/>
                  </a:cubicBezTo>
                  <a:cubicBezTo>
                    <a:pt x="1333" y="1107"/>
                    <a:pt x="1333" y="1114"/>
                    <a:pt x="1340" y="1114"/>
                  </a:cubicBezTo>
                  <a:cubicBezTo>
                    <a:pt x="1355" y="1114"/>
                    <a:pt x="1362" y="1100"/>
                    <a:pt x="1370" y="1085"/>
                  </a:cubicBezTo>
                  <a:cubicBezTo>
                    <a:pt x="1370" y="1078"/>
                    <a:pt x="1370" y="1078"/>
                    <a:pt x="1370" y="1070"/>
                  </a:cubicBezTo>
                  <a:cubicBezTo>
                    <a:pt x="1377" y="1048"/>
                    <a:pt x="1384" y="1041"/>
                    <a:pt x="1428" y="1033"/>
                  </a:cubicBezTo>
                  <a:cubicBezTo>
                    <a:pt x="1472" y="1026"/>
                    <a:pt x="1472" y="946"/>
                    <a:pt x="1472" y="924"/>
                  </a:cubicBezTo>
                  <a:cubicBezTo>
                    <a:pt x="1472" y="909"/>
                    <a:pt x="1472" y="909"/>
                    <a:pt x="1472" y="909"/>
                  </a:cubicBezTo>
                  <a:cubicBezTo>
                    <a:pt x="1480" y="909"/>
                    <a:pt x="1480" y="909"/>
                    <a:pt x="1480" y="909"/>
                  </a:cubicBezTo>
                  <a:cubicBezTo>
                    <a:pt x="1487" y="902"/>
                    <a:pt x="1531" y="894"/>
                    <a:pt x="1538" y="858"/>
                  </a:cubicBezTo>
                  <a:cubicBezTo>
                    <a:pt x="1538" y="843"/>
                    <a:pt x="1546" y="814"/>
                    <a:pt x="1568" y="814"/>
                  </a:cubicBezTo>
                  <a:cubicBezTo>
                    <a:pt x="1575" y="814"/>
                    <a:pt x="1582" y="828"/>
                    <a:pt x="1604" y="843"/>
                  </a:cubicBezTo>
                  <a:cubicBezTo>
                    <a:pt x="1604" y="850"/>
                    <a:pt x="1612" y="858"/>
                    <a:pt x="1626" y="865"/>
                  </a:cubicBezTo>
                  <a:cubicBezTo>
                    <a:pt x="1641" y="880"/>
                    <a:pt x="1648" y="887"/>
                    <a:pt x="1663" y="887"/>
                  </a:cubicBezTo>
                  <a:cubicBezTo>
                    <a:pt x="1678" y="887"/>
                    <a:pt x="1700" y="880"/>
                    <a:pt x="1714" y="865"/>
                  </a:cubicBezTo>
                  <a:cubicBezTo>
                    <a:pt x="1736" y="850"/>
                    <a:pt x="1780" y="821"/>
                    <a:pt x="1831" y="821"/>
                  </a:cubicBezTo>
                  <a:cubicBezTo>
                    <a:pt x="1839" y="821"/>
                    <a:pt x="1846" y="821"/>
                    <a:pt x="1853" y="821"/>
                  </a:cubicBezTo>
                  <a:cubicBezTo>
                    <a:pt x="1883" y="828"/>
                    <a:pt x="1897" y="843"/>
                    <a:pt x="1905" y="865"/>
                  </a:cubicBezTo>
                  <a:cubicBezTo>
                    <a:pt x="1912" y="872"/>
                    <a:pt x="1919" y="887"/>
                    <a:pt x="1934" y="887"/>
                  </a:cubicBezTo>
                  <a:cubicBezTo>
                    <a:pt x="1949" y="902"/>
                    <a:pt x="1971" y="902"/>
                    <a:pt x="1993" y="902"/>
                  </a:cubicBezTo>
                  <a:cubicBezTo>
                    <a:pt x="2014" y="902"/>
                    <a:pt x="2029" y="902"/>
                    <a:pt x="2059" y="909"/>
                  </a:cubicBezTo>
                  <a:cubicBezTo>
                    <a:pt x="2132" y="916"/>
                    <a:pt x="2249" y="1033"/>
                    <a:pt x="2264" y="1048"/>
                  </a:cubicBezTo>
                  <a:cubicBezTo>
                    <a:pt x="2271" y="1055"/>
                    <a:pt x="2278" y="1070"/>
                    <a:pt x="2286" y="1092"/>
                  </a:cubicBezTo>
                  <a:cubicBezTo>
                    <a:pt x="2308" y="1121"/>
                    <a:pt x="2322" y="1151"/>
                    <a:pt x="2352" y="1151"/>
                  </a:cubicBezTo>
                  <a:cubicBezTo>
                    <a:pt x="2359" y="1151"/>
                    <a:pt x="2366" y="1143"/>
                    <a:pt x="2374" y="1143"/>
                  </a:cubicBezTo>
                  <a:cubicBezTo>
                    <a:pt x="2396" y="1136"/>
                    <a:pt x="2418" y="1129"/>
                    <a:pt x="2432" y="1121"/>
                  </a:cubicBezTo>
                  <a:cubicBezTo>
                    <a:pt x="2462" y="1114"/>
                    <a:pt x="2483" y="1107"/>
                    <a:pt x="2513" y="1107"/>
                  </a:cubicBezTo>
                  <a:cubicBezTo>
                    <a:pt x="2528" y="1107"/>
                    <a:pt x="2535" y="1107"/>
                    <a:pt x="2550" y="1107"/>
                  </a:cubicBezTo>
                  <a:cubicBezTo>
                    <a:pt x="2564" y="1114"/>
                    <a:pt x="2571" y="1114"/>
                    <a:pt x="2586" y="1121"/>
                  </a:cubicBezTo>
                  <a:cubicBezTo>
                    <a:pt x="2601" y="1129"/>
                    <a:pt x="2615" y="1129"/>
                    <a:pt x="2630" y="1129"/>
                  </a:cubicBezTo>
                  <a:cubicBezTo>
                    <a:pt x="2645" y="1129"/>
                    <a:pt x="2659" y="1129"/>
                    <a:pt x="2674" y="1121"/>
                  </a:cubicBezTo>
                  <a:cubicBezTo>
                    <a:pt x="2696" y="1114"/>
                    <a:pt x="2711" y="1107"/>
                    <a:pt x="2725" y="1107"/>
                  </a:cubicBezTo>
                  <a:cubicBezTo>
                    <a:pt x="2747" y="1107"/>
                    <a:pt x="2769" y="1121"/>
                    <a:pt x="2777" y="1136"/>
                  </a:cubicBezTo>
                  <a:cubicBezTo>
                    <a:pt x="2791" y="1151"/>
                    <a:pt x="2799" y="1165"/>
                    <a:pt x="2791" y="1187"/>
                  </a:cubicBezTo>
                  <a:cubicBezTo>
                    <a:pt x="2791" y="1195"/>
                    <a:pt x="2791" y="1209"/>
                    <a:pt x="2799" y="1217"/>
                  </a:cubicBezTo>
                  <a:cubicBezTo>
                    <a:pt x="2806" y="1224"/>
                    <a:pt x="2813" y="1224"/>
                    <a:pt x="2828" y="1224"/>
                  </a:cubicBezTo>
                  <a:cubicBezTo>
                    <a:pt x="2835" y="1224"/>
                    <a:pt x="2850" y="1224"/>
                    <a:pt x="2857" y="1217"/>
                  </a:cubicBezTo>
                  <a:cubicBezTo>
                    <a:pt x="2864" y="1217"/>
                    <a:pt x="2872" y="1217"/>
                    <a:pt x="2879" y="1217"/>
                  </a:cubicBezTo>
                  <a:cubicBezTo>
                    <a:pt x="2909" y="1217"/>
                    <a:pt x="2931" y="1246"/>
                    <a:pt x="2938" y="1268"/>
                  </a:cubicBezTo>
                  <a:cubicBezTo>
                    <a:pt x="2952" y="1283"/>
                    <a:pt x="2960" y="1297"/>
                    <a:pt x="2974" y="1305"/>
                  </a:cubicBezTo>
                  <a:cubicBezTo>
                    <a:pt x="2989" y="1319"/>
                    <a:pt x="2989" y="1319"/>
                    <a:pt x="2989" y="1319"/>
                  </a:cubicBezTo>
                  <a:cubicBezTo>
                    <a:pt x="3011" y="1327"/>
                    <a:pt x="3019" y="1334"/>
                    <a:pt x="3033" y="1334"/>
                  </a:cubicBezTo>
                  <a:cubicBezTo>
                    <a:pt x="3040" y="1334"/>
                    <a:pt x="3040" y="1334"/>
                    <a:pt x="3048" y="1334"/>
                  </a:cubicBezTo>
                  <a:cubicBezTo>
                    <a:pt x="3084" y="1312"/>
                    <a:pt x="3180" y="1305"/>
                    <a:pt x="3187" y="1305"/>
                  </a:cubicBezTo>
                  <a:cubicBezTo>
                    <a:pt x="3194" y="1305"/>
                    <a:pt x="3194" y="1305"/>
                    <a:pt x="3194" y="1305"/>
                  </a:cubicBezTo>
                  <a:cubicBezTo>
                    <a:pt x="3209" y="1319"/>
                    <a:pt x="3224" y="1327"/>
                    <a:pt x="3245" y="1327"/>
                  </a:cubicBezTo>
                  <a:cubicBezTo>
                    <a:pt x="3260" y="1327"/>
                    <a:pt x="3268" y="1327"/>
                    <a:pt x="3282" y="1319"/>
                  </a:cubicBezTo>
                  <a:cubicBezTo>
                    <a:pt x="3304" y="1319"/>
                    <a:pt x="3326" y="1297"/>
                    <a:pt x="3341" y="1290"/>
                  </a:cubicBezTo>
                  <a:cubicBezTo>
                    <a:pt x="3355" y="1275"/>
                    <a:pt x="3370" y="1268"/>
                    <a:pt x="3385" y="1268"/>
                  </a:cubicBezTo>
                  <a:cubicBezTo>
                    <a:pt x="3392" y="1268"/>
                    <a:pt x="3400" y="1268"/>
                    <a:pt x="3407" y="1283"/>
                  </a:cubicBezTo>
                  <a:cubicBezTo>
                    <a:pt x="3407" y="1297"/>
                    <a:pt x="3407" y="1312"/>
                    <a:pt x="3400" y="1327"/>
                  </a:cubicBezTo>
                  <a:cubicBezTo>
                    <a:pt x="3392" y="1349"/>
                    <a:pt x="3392" y="1371"/>
                    <a:pt x="3392" y="1378"/>
                  </a:cubicBezTo>
                  <a:cubicBezTo>
                    <a:pt x="3400" y="1378"/>
                    <a:pt x="3400" y="1378"/>
                    <a:pt x="3407" y="1378"/>
                  </a:cubicBezTo>
                  <a:cubicBezTo>
                    <a:pt x="3451" y="1378"/>
                    <a:pt x="3451" y="1378"/>
                    <a:pt x="3473" y="1349"/>
                  </a:cubicBezTo>
                  <a:cubicBezTo>
                    <a:pt x="3487" y="1327"/>
                    <a:pt x="3487" y="1327"/>
                    <a:pt x="3487" y="1327"/>
                  </a:cubicBezTo>
                  <a:cubicBezTo>
                    <a:pt x="3517" y="1290"/>
                    <a:pt x="3531" y="1283"/>
                    <a:pt x="3553" y="1268"/>
                  </a:cubicBezTo>
                  <a:cubicBezTo>
                    <a:pt x="3568" y="1261"/>
                    <a:pt x="3575" y="1261"/>
                    <a:pt x="3590" y="1246"/>
                  </a:cubicBezTo>
                  <a:cubicBezTo>
                    <a:pt x="3627" y="1224"/>
                    <a:pt x="3627" y="1209"/>
                    <a:pt x="3641" y="1187"/>
                  </a:cubicBezTo>
                  <a:cubicBezTo>
                    <a:pt x="3641" y="1180"/>
                    <a:pt x="3649" y="1165"/>
                    <a:pt x="3656" y="1151"/>
                  </a:cubicBezTo>
                  <a:cubicBezTo>
                    <a:pt x="3663" y="1136"/>
                    <a:pt x="3714" y="1063"/>
                    <a:pt x="3759" y="1063"/>
                  </a:cubicBezTo>
                  <a:cubicBezTo>
                    <a:pt x="3773" y="1063"/>
                    <a:pt x="3780" y="1063"/>
                    <a:pt x="3788" y="1070"/>
                  </a:cubicBezTo>
                  <a:cubicBezTo>
                    <a:pt x="3810" y="1085"/>
                    <a:pt x="3817" y="1107"/>
                    <a:pt x="3824" y="1121"/>
                  </a:cubicBezTo>
                  <a:cubicBezTo>
                    <a:pt x="3839" y="1151"/>
                    <a:pt x="3846" y="1158"/>
                    <a:pt x="3854" y="1158"/>
                  </a:cubicBezTo>
                  <a:cubicBezTo>
                    <a:pt x="3876" y="1158"/>
                    <a:pt x="3876" y="1158"/>
                    <a:pt x="3876" y="1158"/>
                  </a:cubicBezTo>
                  <a:cubicBezTo>
                    <a:pt x="3898" y="1158"/>
                    <a:pt x="3905" y="1158"/>
                    <a:pt x="3912" y="1114"/>
                  </a:cubicBezTo>
                  <a:cubicBezTo>
                    <a:pt x="3920" y="1041"/>
                    <a:pt x="3927" y="1019"/>
                    <a:pt x="3993" y="990"/>
                  </a:cubicBezTo>
                  <a:cubicBezTo>
                    <a:pt x="4008" y="982"/>
                    <a:pt x="4022" y="975"/>
                    <a:pt x="4037" y="968"/>
                  </a:cubicBezTo>
                  <a:cubicBezTo>
                    <a:pt x="4059" y="960"/>
                    <a:pt x="4081" y="946"/>
                    <a:pt x="4095" y="946"/>
                  </a:cubicBezTo>
                  <a:cubicBezTo>
                    <a:pt x="4110" y="946"/>
                    <a:pt x="4125" y="953"/>
                    <a:pt x="4140" y="968"/>
                  </a:cubicBezTo>
                  <a:cubicBezTo>
                    <a:pt x="4154" y="990"/>
                    <a:pt x="4161" y="1004"/>
                    <a:pt x="4169" y="1026"/>
                  </a:cubicBezTo>
                  <a:cubicBezTo>
                    <a:pt x="4183" y="1048"/>
                    <a:pt x="4191" y="1070"/>
                    <a:pt x="4205" y="1070"/>
                  </a:cubicBezTo>
                  <a:cubicBezTo>
                    <a:pt x="4235" y="1063"/>
                    <a:pt x="4235" y="1063"/>
                    <a:pt x="4242" y="1048"/>
                  </a:cubicBezTo>
                  <a:cubicBezTo>
                    <a:pt x="4242" y="1033"/>
                    <a:pt x="4250" y="1019"/>
                    <a:pt x="4257" y="997"/>
                  </a:cubicBezTo>
                  <a:cubicBezTo>
                    <a:pt x="4271" y="975"/>
                    <a:pt x="4279" y="953"/>
                    <a:pt x="4279" y="938"/>
                  </a:cubicBezTo>
                  <a:cubicBezTo>
                    <a:pt x="4286" y="916"/>
                    <a:pt x="4286" y="887"/>
                    <a:pt x="4323" y="887"/>
                  </a:cubicBezTo>
                  <a:cubicBezTo>
                    <a:pt x="4323" y="887"/>
                    <a:pt x="4330" y="887"/>
                    <a:pt x="4337" y="887"/>
                  </a:cubicBezTo>
                  <a:cubicBezTo>
                    <a:pt x="4352" y="894"/>
                    <a:pt x="4359" y="894"/>
                    <a:pt x="4367" y="894"/>
                  </a:cubicBezTo>
                  <a:cubicBezTo>
                    <a:pt x="4374" y="902"/>
                    <a:pt x="4381" y="902"/>
                    <a:pt x="4381" y="902"/>
                  </a:cubicBezTo>
                  <a:cubicBezTo>
                    <a:pt x="4389" y="902"/>
                    <a:pt x="4396" y="894"/>
                    <a:pt x="4403" y="872"/>
                  </a:cubicBezTo>
                  <a:cubicBezTo>
                    <a:pt x="4411" y="858"/>
                    <a:pt x="4418" y="836"/>
                    <a:pt x="4425" y="821"/>
                  </a:cubicBezTo>
                  <a:cubicBezTo>
                    <a:pt x="4447" y="784"/>
                    <a:pt x="4469" y="740"/>
                    <a:pt x="4462" y="711"/>
                  </a:cubicBezTo>
                  <a:cubicBezTo>
                    <a:pt x="4455" y="667"/>
                    <a:pt x="4440" y="587"/>
                    <a:pt x="4491" y="543"/>
                  </a:cubicBezTo>
                  <a:cubicBezTo>
                    <a:pt x="4506" y="535"/>
                    <a:pt x="4513" y="521"/>
                    <a:pt x="4528" y="513"/>
                  </a:cubicBezTo>
                  <a:cubicBezTo>
                    <a:pt x="4543" y="499"/>
                    <a:pt x="4557" y="484"/>
                    <a:pt x="4594" y="469"/>
                  </a:cubicBezTo>
                  <a:cubicBezTo>
                    <a:pt x="4616" y="462"/>
                    <a:pt x="4616" y="455"/>
                    <a:pt x="4631" y="433"/>
                  </a:cubicBezTo>
                  <a:cubicBezTo>
                    <a:pt x="4645" y="418"/>
                    <a:pt x="4660" y="389"/>
                    <a:pt x="4689" y="359"/>
                  </a:cubicBezTo>
                  <a:cubicBezTo>
                    <a:pt x="4748" y="279"/>
                    <a:pt x="4755" y="279"/>
                    <a:pt x="4806" y="271"/>
                  </a:cubicBezTo>
                  <a:cubicBezTo>
                    <a:pt x="4850" y="264"/>
                    <a:pt x="4850" y="264"/>
                    <a:pt x="4850" y="264"/>
                  </a:cubicBezTo>
                  <a:cubicBezTo>
                    <a:pt x="4894" y="257"/>
                    <a:pt x="4924" y="257"/>
                    <a:pt x="4953" y="228"/>
                  </a:cubicBezTo>
                  <a:cubicBezTo>
                    <a:pt x="4960" y="220"/>
                    <a:pt x="4960" y="220"/>
                    <a:pt x="4960" y="220"/>
                  </a:cubicBezTo>
                  <a:cubicBezTo>
                    <a:pt x="4960" y="213"/>
                    <a:pt x="4945" y="205"/>
                    <a:pt x="4938" y="198"/>
                  </a:cubicBezTo>
                  <a:cubicBezTo>
                    <a:pt x="4931" y="191"/>
                    <a:pt x="4916" y="183"/>
                    <a:pt x="4909" y="176"/>
                  </a:cubicBezTo>
                  <a:cubicBezTo>
                    <a:pt x="4865" y="132"/>
                    <a:pt x="4865" y="103"/>
                    <a:pt x="4887" y="37"/>
                  </a:cubicBezTo>
                  <a:cubicBezTo>
                    <a:pt x="4902" y="15"/>
                    <a:pt x="4916" y="0"/>
                    <a:pt x="4931" y="0"/>
                  </a:cubicBezTo>
                  <a:cubicBezTo>
                    <a:pt x="4960" y="0"/>
                    <a:pt x="4990" y="30"/>
                    <a:pt x="5012" y="59"/>
                  </a:cubicBezTo>
                  <a:cubicBezTo>
                    <a:pt x="5012" y="66"/>
                    <a:pt x="5012" y="66"/>
                    <a:pt x="5012" y="66"/>
                  </a:cubicBezTo>
                  <a:cubicBezTo>
                    <a:pt x="5041" y="118"/>
                    <a:pt x="5048" y="125"/>
                    <a:pt x="5092" y="132"/>
                  </a:cubicBezTo>
                  <a:cubicBezTo>
                    <a:pt x="5136" y="140"/>
                    <a:pt x="5143" y="169"/>
                    <a:pt x="5151" y="198"/>
                  </a:cubicBezTo>
                  <a:cubicBezTo>
                    <a:pt x="5158" y="205"/>
                    <a:pt x="5165" y="220"/>
                    <a:pt x="5173" y="235"/>
                  </a:cubicBezTo>
                  <a:cubicBezTo>
                    <a:pt x="5187" y="257"/>
                    <a:pt x="5202" y="293"/>
                    <a:pt x="5209" y="323"/>
                  </a:cubicBezTo>
                  <a:cubicBezTo>
                    <a:pt x="5217" y="337"/>
                    <a:pt x="5224" y="359"/>
                    <a:pt x="5231" y="367"/>
                  </a:cubicBezTo>
                  <a:cubicBezTo>
                    <a:pt x="5246" y="396"/>
                    <a:pt x="5261" y="411"/>
                    <a:pt x="5275" y="411"/>
                  </a:cubicBezTo>
                  <a:cubicBezTo>
                    <a:pt x="5283" y="411"/>
                    <a:pt x="5297" y="411"/>
                    <a:pt x="5305" y="403"/>
                  </a:cubicBezTo>
                  <a:cubicBezTo>
                    <a:pt x="5319" y="396"/>
                    <a:pt x="5334" y="389"/>
                    <a:pt x="5341" y="381"/>
                  </a:cubicBezTo>
                  <a:cubicBezTo>
                    <a:pt x="5363" y="367"/>
                    <a:pt x="5378" y="352"/>
                    <a:pt x="5400" y="352"/>
                  </a:cubicBezTo>
                  <a:cubicBezTo>
                    <a:pt x="5407" y="352"/>
                    <a:pt x="5422" y="359"/>
                    <a:pt x="5429" y="367"/>
                  </a:cubicBezTo>
                  <a:cubicBezTo>
                    <a:pt x="5444" y="374"/>
                    <a:pt x="5451" y="389"/>
                    <a:pt x="5459" y="396"/>
                  </a:cubicBezTo>
                  <a:cubicBezTo>
                    <a:pt x="5473" y="411"/>
                    <a:pt x="5473" y="418"/>
                    <a:pt x="5488" y="418"/>
                  </a:cubicBezTo>
                  <a:cubicBezTo>
                    <a:pt x="5488" y="418"/>
                    <a:pt x="5495" y="418"/>
                    <a:pt x="5502" y="411"/>
                  </a:cubicBezTo>
                  <a:cubicBezTo>
                    <a:pt x="5546" y="396"/>
                    <a:pt x="5546" y="396"/>
                    <a:pt x="5590" y="367"/>
                  </a:cubicBezTo>
                  <a:cubicBezTo>
                    <a:pt x="5605" y="352"/>
                    <a:pt x="5605" y="352"/>
                    <a:pt x="5605" y="352"/>
                  </a:cubicBezTo>
                  <a:cubicBezTo>
                    <a:pt x="5620" y="337"/>
                    <a:pt x="5634" y="330"/>
                    <a:pt x="5649" y="330"/>
                  </a:cubicBezTo>
                  <a:cubicBezTo>
                    <a:pt x="5664" y="330"/>
                    <a:pt x="5671" y="337"/>
                    <a:pt x="5693" y="345"/>
                  </a:cubicBezTo>
                  <a:cubicBezTo>
                    <a:pt x="5708" y="359"/>
                    <a:pt x="5737" y="359"/>
                    <a:pt x="5766" y="359"/>
                  </a:cubicBezTo>
                  <a:cubicBezTo>
                    <a:pt x="5788" y="359"/>
                    <a:pt x="5810" y="359"/>
                    <a:pt x="5825" y="352"/>
                  </a:cubicBezTo>
                  <a:cubicBezTo>
                    <a:pt x="5832" y="352"/>
                    <a:pt x="5832" y="352"/>
                    <a:pt x="5840" y="352"/>
                  </a:cubicBezTo>
                  <a:cubicBezTo>
                    <a:pt x="5847" y="352"/>
                    <a:pt x="5862" y="352"/>
                    <a:pt x="5869" y="367"/>
                  </a:cubicBezTo>
                  <a:cubicBezTo>
                    <a:pt x="5876" y="381"/>
                    <a:pt x="5883" y="411"/>
                    <a:pt x="5876" y="447"/>
                  </a:cubicBezTo>
                  <a:cubicBezTo>
                    <a:pt x="5876" y="462"/>
                    <a:pt x="5883" y="484"/>
                    <a:pt x="5883" y="499"/>
                  </a:cubicBezTo>
                  <a:cubicBezTo>
                    <a:pt x="5898" y="543"/>
                    <a:pt x="5913" y="601"/>
                    <a:pt x="5847" y="645"/>
                  </a:cubicBezTo>
                  <a:cubicBezTo>
                    <a:pt x="5766" y="704"/>
                    <a:pt x="5700" y="784"/>
                    <a:pt x="5671" y="828"/>
                  </a:cubicBezTo>
                  <a:cubicBezTo>
                    <a:pt x="5664" y="843"/>
                    <a:pt x="5642" y="872"/>
                    <a:pt x="5649" y="887"/>
                  </a:cubicBezTo>
                  <a:cubicBezTo>
                    <a:pt x="5656" y="894"/>
                    <a:pt x="5671" y="902"/>
                    <a:pt x="5693" y="909"/>
                  </a:cubicBezTo>
                  <a:cubicBezTo>
                    <a:pt x="5730" y="909"/>
                    <a:pt x="5752" y="909"/>
                    <a:pt x="5766" y="909"/>
                  </a:cubicBezTo>
                  <a:cubicBezTo>
                    <a:pt x="5803" y="909"/>
                    <a:pt x="5832" y="909"/>
                    <a:pt x="5869" y="924"/>
                  </a:cubicBezTo>
                  <a:cubicBezTo>
                    <a:pt x="5883" y="924"/>
                    <a:pt x="5891" y="931"/>
                    <a:pt x="5898" y="931"/>
                  </a:cubicBezTo>
                  <a:cubicBezTo>
                    <a:pt x="5905" y="931"/>
                    <a:pt x="5905" y="931"/>
                    <a:pt x="5920" y="909"/>
                  </a:cubicBezTo>
                  <a:cubicBezTo>
                    <a:pt x="5920" y="902"/>
                    <a:pt x="5935" y="894"/>
                    <a:pt x="5942" y="880"/>
                  </a:cubicBezTo>
                  <a:cubicBezTo>
                    <a:pt x="5993" y="814"/>
                    <a:pt x="6001" y="814"/>
                    <a:pt x="6074" y="755"/>
                  </a:cubicBezTo>
                  <a:cubicBezTo>
                    <a:pt x="6103" y="733"/>
                    <a:pt x="6118" y="711"/>
                    <a:pt x="6125" y="696"/>
                  </a:cubicBezTo>
                  <a:cubicBezTo>
                    <a:pt x="6140" y="667"/>
                    <a:pt x="6155" y="652"/>
                    <a:pt x="6213" y="652"/>
                  </a:cubicBezTo>
                  <a:cubicBezTo>
                    <a:pt x="6228" y="652"/>
                    <a:pt x="6228" y="652"/>
                    <a:pt x="6228" y="652"/>
                  </a:cubicBezTo>
                  <a:cubicBezTo>
                    <a:pt x="6228" y="667"/>
                    <a:pt x="6228" y="667"/>
                    <a:pt x="6228" y="667"/>
                  </a:cubicBezTo>
                  <a:cubicBezTo>
                    <a:pt x="6228" y="711"/>
                    <a:pt x="6243" y="770"/>
                    <a:pt x="6294" y="814"/>
                  </a:cubicBezTo>
                  <a:cubicBezTo>
                    <a:pt x="6316" y="828"/>
                    <a:pt x="6323" y="850"/>
                    <a:pt x="6323" y="872"/>
                  </a:cubicBezTo>
                  <a:cubicBezTo>
                    <a:pt x="6331" y="931"/>
                    <a:pt x="6294" y="990"/>
                    <a:pt x="6257" y="1026"/>
                  </a:cubicBezTo>
                  <a:cubicBezTo>
                    <a:pt x="6206" y="1092"/>
                    <a:pt x="6199" y="1121"/>
                    <a:pt x="6206" y="1187"/>
                  </a:cubicBezTo>
                  <a:cubicBezTo>
                    <a:pt x="6221" y="1253"/>
                    <a:pt x="6228" y="1414"/>
                    <a:pt x="6228" y="1480"/>
                  </a:cubicBezTo>
                  <a:cubicBezTo>
                    <a:pt x="6228" y="1546"/>
                    <a:pt x="6155" y="1642"/>
                    <a:pt x="6103" y="1700"/>
                  </a:cubicBezTo>
                  <a:cubicBezTo>
                    <a:pt x="6081" y="1730"/>
                    <a:pt x="6081" y="1730"/>
                    <a:pt x="6081" y="1730"/>
                  </a:cubicBezTo>
                  <a:cubicBezTo>
                    <a:pt x="6045" y="1773"/>
                    <a:pt x="5964" y="1832"/>
                    <a:pt x="5847" y="1913"/>
                  </a:cubicBezTo>
                  <a:cubicBezTo>
                    <a:pt x="5803" y="1942"/>
                    <a:pt x="5803" y="2001"/>
                    <a:pt x="5840" y="2089"/>
                  </a:cubicBezTo>
                  <a:cubicBezTo>
                    <a:pt x="5869" y="2140"/>
                    <a:pt x="5854" y="2169"/>
                    <a:pt x="5840" y="2206"/>
                  </a:cubicBezTo>
                  <a:cubicBezTo>
                    <a:pt x="5832" y="2228"/>
                    <a:pt x="5817" y="2257"/>
                    <a:pt x="5810" y="2287"/>
                  </a:cubicBezTo>
                  <a:cubicBezTo>
                    <a:pt x="5803" y="2309"/>
                    <a:pt x="5810" y="2316"/>
                    <a:pt x="5817" y="2331"/>
                  </a:cubicBezTo>
                  <a:cubicBezTo>
                    <a:pt x="5832" y="2352"/>
                    <a:pt x="5876" y="2360"/>
                    <a:pt x="5935" y="2360"/>
                  </a:cubicBezTo>
                  <a:cubicBezTo>
                    <a:pt x="5950" y="2360"/>
                    <a:pt x="5950" y="2360"/>
                    <a:pt x="5950" y="2360"/>
                  </a:cubicBezTo>
                  <a:cubicBezTo>
                    <a:pt x="5964" y="2360"/>
                    <a:pt x="5964" y="2360"/>
                    <a:pt x="5964" y="2360"/>
                  </a:cubicBezTo>
                  <a:cubicBezTo>
                    <a:pt x="5964" y="2367"/>
                    <a:pt x="5964" y="2367"/>
                    <a:pt x="5964" y="2367"/>
                  </a:cubicBezTo>
                  <a:cubicBezTo>
                    <a:pt x="5964" y="2367"/>
                    <a:pt x="6030" y="2455"/>
                    <a:pt x="6118" y="2499"/>
                  </a:cubicBezTo>
                  <a:cubicBezTo>
                    <a:pt x="6162" y="2521"/>
                    <a:pt x="6191" y="2543"/>
                    <a:pt x="6213" y="2558"/>
                  </a:cubicBezTo>
                  <a:cubicBezTo>
                    <a:pt x="6243" y="2580"/>
                    <a:pt x="6264" y="2602"/>
                    <a:pt x="6308" y="2609"/>
                  </a:cubicBezTo>
                  <a:cubicBezTo>
                    <a:pt x="6367" y="2631"/>
                    <a:pt x="6382" y="2668"/>
                    <a:pt x="6404" y="2719"/>
                  </a:cubicBezTo>
                  <a:cubicBezTo>
                    <a:pt x="6411" y="2748"/>
                    <a:pt x="6426" y="2778"/>
                    <a:pt x="6440" y="2814"/>
                  </a:cubicBezTo>
                  <a:cubicBezTo>
                    <a:pt x="6477" y="2873"/>
                    <a:pt x="6572" y="2909"/>
                    <a:pt x="6653" y="2939"/>
                  </a:cubicBezTo>
                  <a:cubicBezTo>
                    <a:pt x="6697" y="2953"/>
                    <a:pt x="6733" y="2968"/>
                    <a:pt x="6755" y="2990"/>
                  </a:cubicBezTo>
                  <a:cubicBezTo>
                    <a:pt x="6799" y="3019"/>
                    <a:pt x="6902" y="3107"/>
                    <a:pt x="6895" y="3159"/>
                  </a:cubicBezTo>
                  <a:cubicBezTo>
                    <a:pt x="6895" y="3173"/>
                    <a:pt x="6895" y="3188"/>
                    <a:pt x="6880" y="3195"/>
                  </a:cubicBezTo>
                  <a:cubicBezTo>
                    <a:pt x="6843" y="3224"/>
                    <a:pt x="6829" y="3290"/>
                    <a:pt x="6851" y="3356"/>
                  </a:cubicBezTo>
                  <a:cubicBezTo>
                    <a:pt x="6858" y="3371"/>
                    <a:pt x="6858" y="3378"/>
                    <a:pt x="6865" y="3386"/>
                  </a:cubicBezTo>
                  <a:cubicBezTo>
                    <a:pt x="6880" y="3437"/>
                    <a:pt x="6895" y="3466"/>
                    <a:pt x="6836" y="3532"/>
                  </a:cubicBezTo>
                  <a:cubicBezTo>
                    <a:pt x="6821" y="3547"/>
                    <a:pt x="6814" y="3562"/>
                    <a:pt x="6799" y="3576"/>
                  </a:cubicBezTo>
                  <a:cubicBezTo>
                    <a:pt x="6770" y="3613"/>
                    <a:pt x="6748" y="3635"/>
                    <a:pt x="6719" y="3701"/>
                  </a:cubicBezTo>
                  <a:cubicBezTo>
                    <a:pt x="6697" y="3745"/>
                    <a:pt x="6712" y="3759"/>
                    <a:pt x="6733" y="3789"/>
                  </a:cubicBezTo>
                  <a:cubicBezTo>
                    <a:pt x="6748" y="3811"/>
                    <a:pt x="6770" y="3840"/>
                    <a:pt x="6770" y="3884"/>
                  </a:cubicBezTo>
                  <a:cubicBezTo>
                    <a:pt x="6777" y="3935"/>
                    <a:pt x="6799" y="3979"/>
                    <a:pt x="6814" y="4016"/>
                  </a:cubicBezTo>
                  <a:cubicBezTo>
                    <a:pt x="6829" y="4045"/>
                    <a:pt x="6836" y="4074"/>
                    <a:pt x="6843" y="4096"/>
                  </a:cubicBezTo>
                  <a:cubicBezTo>
                    <a:pt x="6851" y="4133"/>
                    <a:pt x="6953" y="4148"/>
                    <a:pt x="7012" y="4162"/>
                  </a:cubicBezTo>
                  <a:cubicBezTo>
                    <a:pt x="7026" y="4162"/>
                    <a:pt x="7034" y="4162"/>
                    <a:pt x="7041" y="4162"/>
                  </a:cubicBezTo>
                  <a:cubicBezTo>
                    <a:pt x="7078" y="4170"/>
                    <a:pt x="7114" y="4199"/>
                    <a:pt x="7129" y="4243"/>
                  </a:cubicBezTo>
                  <a:cubicBezTo>
                    <a:pt x="7144" y="4280"/>
                    <a:pt x="7151" y="4316"/>
                    <a:pt x="7136" y="4338"/>
                  </a:cubicBezTo>
                  <a:cubicBezTo>
                    <a:pt x="7122" y="4353"/>
                    <a:pt x="7114" y="4360"/>
                    <a:pt x="7100" y="4368"/>
                  </a:cubicBezTo>
                  <a:cubicBezTo>
                    <a:pt x="7093" y="4375"/>
                    <a:pt x="7085" y="4382"/>
                    <a:pt x="7093" y="4390"/>
                  </a:cubicBezTo>
                  <a:cubicBezTo>
                    <a:pt x="7100" y="4412"/>
                    <a:pt x="7122" y="4419"/>
                    <a:pt x="7136" y="4426"/>
                  </a:cubicBezTo>
                  <a:cubicBezTo>
                    <a:pt x="7144" y="4426"/>
                    <a:pt x="7151" y="4426"/>
                    <a:pt x="7158" y="4433"/>
                  </a:cubicBezTo>
                  <a:cubicBezTo>
                    <a:pt x="7158" y="4448"/>
                    <a:pt x="7158" y="4463"/>
                    <a:pt x="7122" y="4514"/>
                  </a:cubicBezTo>
                  <a:cubicBezTo>
                    <a:pt x="7085" y="4573"/>
                    <a:pt x="7122" y="4646"/>
                    <a:pt x="7246" y="4734"/>
                  </a:cubicBezTo>
                  <a:cubicBezTo>
                    <a:pt x="7334" y="4800"/>
                    <a:pt x="7261" y="4924"/>
                    <a:pt x="7217" y="5005"/>
                  </a:cubicBezTo>
                  <a:cubicBezTo>
                    <a:pt x="7217" y="5012"/>
                    <a:pt x="7210" y="5027"/>
                    <a:pt x="7202" y="5034"/>
                  </a:cubicBezTo>
                  <a:cubicBezTo>
                    <a:pt x="7181" y="5086"/>
                    <a:pt x="7188" y="5108"/>
                    <a:pt x="7195" y="5159"/>
                  </a:cubicBezTo>
                  <a:cubicBezTo>
                    <a:pt x="7195" y="5174"/>
                    <a:pt x="7202" y="5188"/>
                    <a:pt x="7202" y="5210"/>
                  </a:cubicBezTo>
                  <a:cubicBezTo>
                    <a:pt x="7217" y="5298"/>
                    <a:pt x="7122" y="5430"/>
                    <a:pt x="7063" y="5496"/>
                  </a:cubicBezTo>
                  <a:cubicBezTo>
                    <a:pt x="6997" y="5562"/>
                    <a:pt x="6983" y="5577"/>
                    <a:pt x="7019" y="5643"/>
                  </a:cubicBezTo>
                  <a:cubicBezTo>
                    <a:pt x="7041" y="5679"/>
                    <a:pt x="7063" y="5701"/>
                    <a:pt x="7085" y="5723"/>
                  </a:cubicBezTo>
                  <a:cubicBezTo>
                    <a:pt x="7114" y="5752"/>
                    <a:pt x="7144" y="5782"/>
                    <a:pt x="7158" y="5840"/>
                  </a:cubicBezTo>
                  <a:cubicBezTo>
                    <a:pt x="7158" y="5848"/>
                    <a:pt x="7158" y="5848"/>
                    <a:pt x="7158" y="5848"/>
                  </a:cubicBezTo>
                  <a:cubicBezTo>
                    <a:pt x="7181" y="5936"/>
                    <a:pt x="7195" y="5980"/>
                    <a:pt x="7276" y="6002"/>
                  </a:cubicBezTo>
                  <a:cubicBezTo>
                    <a:pt x="7349" y="6016"/>
                    <a:pt x="7356" y="6068"/>
                    <a:pt x="7364" y="6126"/>
                  </a:cubicBezTo>
                  <a:cubicBezTo>
                    <a:pt x="7371" y="6148"/>
                    <a:pt x="7378" y="6178"/>
                    <a:pt x="7386" y="6207"/>
                  </a:cubicBezTo>
                  <a:cubicBezTo>
                    <a:pt x="7422" y="6309"/>
                    <a:pt x="7422" y="6324"/>
                    <a:pt x="7386" y="6375"/>
                  </a:cubicBezTo>
                  <a:cubicBezTo>
                    <a:pt x="7356" y="6412"/>
                    <a:pt x="7312" y="6449"/>
                    <a:pt x="7290" y="6471"/>
                  </a:cubicBezTo>
                  <a:cubicBezTo>
                    <a:pt x="7320" y="6493"/>
                    <a:pt x="7320" y="6493"/>
                    <a:pt x="7320" y="6493"/>
                  </a:cubicBezTo>
                  <a:cubicBezTo>
                    <a:pt x="7298" y="6500"/>
                    <a:pt x="7298" y="6500"/>
                    <a:pt x="7298" y="6500"/>
                  </a:cubicBezTo>
                  <a:cubicBezTo>
                    <a:pt x="7239" y="6522"/>
                    <a:pt x="7202" y="6537"/>
                    <a:pt x="7188" y="6544"/>
                  </a:cubicBezTo>
                  <a:cubicBezTo>
                    <a:pt x="7181" y="6551"/>
                    <a:pt x="7181" y="6551"/>
                    <a:pt x="7166" y="6551"/>
                  </a:cubicBezTo>
                  <a:cubicBezTo>
                    <a:pt x="7129" y="6551"/>
                    <a:pt x="7049" y="6493"/>
                    <a:pt x="7034" y="6449"/>
                  </a:cubicBezTo>
                  <a:cubicBezTo>
                    <a:pt x="7026" y="6434"/>
                    <a:pt x="7012" y="6427"/>
                    <a:pt x="7005" y="6427"/>
                  </a:cubicBezTo>
                  <a:cubicBezTo>
                    <a:pt x="6990" y="6427"/>
                    <a:pt x="6975" y="6434"/>
                    <a:pt x="6961" y="6456"/>
                  </a:cubicBezTo>
                  <a:cubicBezTo>
                    <a:pt x="6953" y="6478"/>
                    <a:pt x="6946" y="6485"/>
                    <a:pt x="6946" y="6500"/>
                  </a:cubicBezTo>
                  <a:cubicBezTo>
                    <a:pt x="6946" y="6507"/>
                    <a:pt x="6946" y="6522"/>
                    <a:pt x="6924" y="6522"/>
                  </a:cubicBezTo>
                  <a:cubicBezTo>
                    <a:pt x="6917" y="6522"/>
                    <a:pt x="6917" y="6522"/>
                    <a:pt x="6909" y="6522"/>
                  </a:cubicBezTo>
                  <a:cubicBezTo>
                    <a:pt x="6895" y="6522"/>
                    <a:pt x="6880" y="6514"/>
                    <a:pt x="6873" y="6514"/>
                  </a:cubicBezTo>
                  <a:cubicBezTo>
                    <a:pt x="6851" y="6514"/>
                    <a:pt x="6821" y="6522"/>
                    <a:pt x="6770" y="6544"/>
                  </a:cubicBezTo>
                  <a:cubicBezTo>
                    <a:pt x="6741" y="6559"/>
                    <a:pt x="6726" y="6566"/>
                    <a:pt x="6719" y="6566"/>
                  </a:cubicBezTo>
                  <a:cubicBezTo>
                    <a:pt x="6697" y="6581"/>
                    <a:pt x="6697" y="6581"/>
                    <a:pt x="6645" y="6588"/>
                  </a:cubicBezTo>
                  <a:cubicBezTo>
                    <a:pt x="6616" y="6595"/>
                    <a:pt x="6609" y="6602"/>
                    <a:pt x="6602" y="6624"/>
                  </a:cubicBezTo>
                  <a:cubicBezTo>
                    <a:pt x="6602" y="6639"/>
                    <a:pt x="6594" y="6661"/>
                    <a:pt x="6565" y="6690"/>
                  </a:cubicBezTo>
                  <a:cubicBezTo>
                    <a:pt x="6536" y="6712"/>
                    <a:pt x="6528" y="6727"/>
                    <a:pt x="6521" y="6734"/>
                  </a:cubicBezTo>
                  <a:cubicBezTo>
                    <a:pt x="6521" y="6734"/>
                    <a:pt x="6514" y="6749"/>
                    <a:pt x="6506" y="6749"/>
                  </a:cubicBezTo>
                  <a:cubicBezTo>
                    <a:pt x="6499" y="6749"/>
                    <a:pt x="6492" y="6742"/>
                    <a:pt x="6484" y="6734"/>
                  </a:cubicBezTo>
                  <a:cubicBezTo>
                    <a:pt x="6484" y="6727"/>
                    <a:pt x="6484" y="6727"/>
                    <a:pt x="6484" y="6727"/>
                  </a:cubicBezTo>
                  <a:cubicBezTo>
                    <a:pt x="6470" y="6720"/>
                    <a:pt x="6462" y="6705"/>
                    <a:pt x="6462" y="6698"/>
                  </a:cubicBezTo>
                  <a:cubicBezTo>
                    <a:pt x="6455" y="6676"/>
                    <a:pt x="6455" y="6676"/>
                    <a:pt x="6433" y="6676"/>
                  </a:cubicBezTo>
                  <a:cubicBezTo>
                    <a:pt x="6382" y="6676"/>
                    <a:pt x="6316" y="6676"/>
                    <a:pt x="6279" y="6639"/>
                  </a:cubicBezTo>
                  <a:cubicBezTo>
                    <a:pt x="6272" y="6632"/>
                    <a:pt x="6257" y="6624"/>
                    <a:pt x="6243" y="6624"/>
                  </a:cubicBezTo>
                  <a:cubicBezTo>
                    <a:pt x="6199" y="6624"/>
                    <a:pt x="6140" y="6647"/>
                    <a:pt x="6103" y="6654"/>
                  </a:cubicBezTo>
                  <a:cubicBezTo>
                    <a:pt x="6081" y="6669"/>
                    <a:pt x="6074" y="6683"/>
                    <a:pt x="6067" y="6720"/>
                  </a:cubicBezTo>
                  <a:cubicBezTo>
                    <a:pt x="6059" y="6742"/>
                    <a:pt x="6052" y="6764"/>
                    <a:pt x="6037" y="6786"/>
                  </a:cubicBezTo>
                  <a:cubicBezTo>
                    <a:pt x="6030" y="6808"/>
                    <a:pt x="6023" y="6822"/>
                    <a:pt x="6015" y="6830"/>
                  </a:cubicBezTo>
                  <a:cubicBezTo>
                    <a:pt x="6008" y="6859"/>
                    <a:pt x="6001" y="6874"/>
                    <a:pt x="5964" y="6888"/>
                  </a:cubicBezTo>
                  <a:cubicBezTo>
                    <a:pt x="5942" y="6896"/>
                    <a:pt x="5942" y="6903"/>
                    <a:pt x="5957" y="6947"/>
                  </a:cubicBezTo>
                  <a:cubicBezTo>
                    <a:pt x="5964" y="6962"/>
                    <a:pt x="5971" y="6983"/>
                    <a:pt x="5971" y="7005"/>
                  </a:cubicBezTo>
                  <a:cubicBezTo>
                    <a:pt x="5979" y="7064"/>
                    <a:pt x="5957" y="7093"/>
                    <a:pt x="5935" y="7130"/>
                  </a:cubicBezTo>
                  <a:cubicBezTo>
                    <a:pt x="5927" y="7145"/>
                    <a:pt x="5920" y="7159"/>
                    <a:pt x="5913" y="7174"/>
                  </a:cubicBezTo>
                  <a:cubicBezTo>
                    <a:pt x="5891" y="7218"/>
                    <a:pt x="5862" y="7225"/>
                    <a:pt x="5854" y="7225"/>
                  </a:cubicBezTo>
                  <a:cubicBezTo>
                    <a:pt x="5825" y="7225"/>
                    <a:pt x="5803" y="7203"/>
                    <a:pt x="5803" y="7167"/>
                  </a:cubicBezTo>
                  <a:cubicBezTo>
                    <a:pt x="5803" y="7152"/>
                    <a:pt x="5803" y="7152"/>
                    <a:pt x="5795" y="7152"/>
                  </a:cubicBezTo>
                  <a:cubicBezTo>
                    <a:pt x="5788" y="7152"/>
                    <a:pt x="5774" y="7152"/>
                    <a:pt x="5744" y="7174"/>
                  </a:cubicBezTo>
                  <a:cubicBezTo>
                    <a:pt x="5708" y="7196"/>
                    <a:pt x="5686" y="7203"/>
                    <a:pt x="5642" y="7211"/>
                  </a:cubicBezTo>
                  <a:cubicBezTo>
                    <a:pt x="5620" y="7211"/>
                    <a:pt x="5598" y="7218"/>
                    <a:pt x="5561" y="7225"/>
                  </a:cubicBezTo>
                  <a:cubicBezTo>
                    <a:pt x="5532" y="7233"/>
                    <a:pt x="5510" y="7240"/>
                    <a:pt x="5488" y="7240"/>
                  </a:cubicBezTo>
                  <a:cubicBezTo>
                    <a:pt x="5444" y="7255"/>
                    <a:pt x="5407" y="7262"/>
                    <a:pt x="5349" y="7284"/>
                  </a:cubicBezTo>
                  <a:cubicBezTo>
                    <a:pt x="5326" y="7291"/>
                    <a:pt x="5305" y="7299"/>
                    <a:pt x="5275" y="7299"/>
                  </a:cubicBezTo>
                </a:path>
              </a:pathLst>
            </a:custGeom>
            <a:grpFill/>
            <a:ln w="6350" cmpd="sng">
              <a:solidFill>
                <a:schemeClr val="bg1"/>
              </a:solidFill>
              <a:round/>
              <a:headEnd/>
              <a:tailEnd/>
            </a:ln>
          </p:spPr>
          <p:txBody>
            <a:bodyPr wrap="none" anchor="ctr"/>
            <a:lstStyle/>
            <a:p>
              <a:pPr defTabSz="685663">
                <a:defRPr/>
              </a:pPr>
              <a:endParaRPr lang="en-US" sz="675">
                <a:latin typeface="Montserrat" charset="0"/>
              </a:endParaRPr>
            </a:p>
          </p:txBody>
        </p:sp>
        <p:sp>
          <p:nvSpPr>
            <p:cNvPr id="73" name="Freeform 72">
              <a:extLst>
                <a:ext uri="{FF2B5EF4-FFF2-40B4-BE49-F238E27FC236}">
                  <a16:creationId xmlns:a16="http://schemas.microsoft.com/office/drawing/2014/main" id="{CBED3D69-FFD8-D347-AD5A-3F69356593CF}"/>
                </a:ext>
              </a:extLst>
            </p:cNvPr>
            <p:cNvSpPr>
              <a:spLocks noChangeArrowheads="1"/>
            </p:cNvSpPr>
            <p:nvPr/>
          </p:nvSpPr>
          <p:spPr bwMode="auto">
            <a:xfrm>
              <a:off x="7619993" y="4378228"/>
              <a:ext cx="2870828" cy="2785104"/>
            </a:xfrm>
            <a:custGeom>
              <a:avLst/>
              <a:gdLst>
                <a:gd name="T0" fmla="*/ 5532 w 7468"/>
                <a:gd name="T1" fmla="*/ 439 h 7328"/>
                <a:gd name="T2" fmla="*/ 5928 w 7468"/>
                <a:gd name="T3" fmla="*/ 960 h 7328"/>
                <a:gd name="T4" fmla="*/ 5965 w 7468"/>
                <a:gd name="T5" fmla="*/ 2388 h 7328"/>
                <a:gd name="T6" fmla="*/ 7071 w 7468"/>
                <a:gd name="T7" fmla="*/ 4191 h 7328"/>
                <a:gd name="T8" fmla="*/ 7298 w 7468"/>
                <a:gd name="T9" fmla="*/ 6030 h 7328"/>
                <a:gd name="T10" fmla="*/ 6903 w 7468"/>
                <a:gd name="T11" fmla="*/ 6514 h 7328"/>
                <a:gd name="T12" fmla="*/ 5987 w 7468"/>
                <a:gd name="T13" fmla="*/ 7019 h 7328"/>
                <a:gd name="T14" fmla="*/ 4697 w 7468"/>
                <a:gd name="T15" fmla="*/ 7100 h 7328"/>
                <a:gd name="T16" fmla="*/ 4177 w 7468"/>
                <a:gd name="T17" fmla="*/ 6946 h 7328"/>
                <a:gd name="T18" fmla="*/ 3869 w 7468"/>
                <a:gd name="T19" fmla="*/ 6455 h 7328"/>
                <a:gd name="T20" fmla="*/ 3620 w 7468"/>
                <a:gd name="T21" fmla="*/ 5532 h 7328"/>
                <a:gd name="T22" fmla="*/ 3092 w 7468"/>
                <a:gd name="T23" fmla="*/ 5268 h 7328"/>
                <a:gd name="T24" fmla="*/ 2199 w 7468"/>
                <a:gd name="T25" fmla="*/ 4990 h 7328"/>
                <a:gd name="T26" fmla="*/ 2147 w 7468"/>
                <a:gd name="T27" fmla="*/ 3737 h 7328"/>
                <a:gd name="T28" fmla="*/ 1964 w 7468"/>
                <a:gd name="T29" fmla="*/ 2923 h 7328"/>
                <a:gd name="T30" fmla="*/ 1576 w 7468"/>
                <a:gd name="T31" fmla="*/ 2440 h 7328"/>
                <a:gd name="T32" fmla="*/ 901 w 7468"/>
                <a:gd name="T33" fmla="*/ 2147 h 7328"/>
                <a:gd name="T34" fmla="*/ 257 w 7468"/>
                <a:gd name="T35" fmla="*/ 1897 h 7328"/>
                <a:gd name="T36" fmla="*/ 579 w 7468"/>
                <a:gd name="T37" fmla="*/ 1685 h 7328"/>
                <a:gd name="T38" fmla="*/ 1370 w 7468"/>
                <a:gd name="T39" fmla="*/ 1143 h 7328"/>
                <a:gd name="T40" fmla="*/ 2081 w 7468"/>
                <a:gd name="T41" fmla="*/ 938 h 7328"/>
                <a:gd name="T42" fmla="*/ 2909 w 7468"/>
                <a:gd name="T43" fmla="*/ 1245 h 7328"/>
                <a:gd name="T44" fmla="*/ 3701 w 7468"/>
                <a:gd name="T45" fmla="*/ 1172 h 7328"/>
                <a:gd name="T46" fmla="*/ 4353 w 7468"/>
                <a:gd name="T47" fmla="*/ 916 h 7328"/>
                <a:gd name="T48" fmla="*/ 4961 w 7468"/>
                <a:gd name="T49" fmla="*/ 29 h 7328"/>
                <a:gd name="T50" fmla="*/ 4704 w 7468"/>
                <a:gd name="T51" fmla="*/ 366 h 7328"/>
                <a:gd name="T52" fmla="*/ 4294 w 7468"/>
                <a:gd name="T53" fmla="*/ 945 h 7328"/>
                <a:gd name="T54" fmla="*/ 3913 w 7468"/>
                <a:gd name="T55" fmla="*/ 1157 h 7328"/>
                <a:gd name="T56" fmla="*/ 3488 w 7468"/>
                <a:gd name="T57" fmla="*/ 1355 h 7328"/>
                <a:gd name="T58" fmla="*/ 3063 w 7468"/>
                <a:gd name="T59" fmla="*/ 1333 h 7328"/>
                <a:gd name="T60" fmla="*/ 2660 w 7468"/>
                <a:gd name="T61" fmla="*/ 1128 h 7328"/>
                <a:gd name="T62" fmla="*/ 1949 w 7468"/>
                <a:gd name="T63" fmla="*/ 872 h 7328"/>
                <a:gd name="T64" fmla="*/ 1458 w 7468"/>
                <a:gd name="T65" fmla="*/ 1033 h 7328"/>
                <a:gd name="T66" fmla="*/ 1004 w 7468"/>
                <a:gd name="T67" fmla="*/ 1304 h 7328"/>
                <a:gd name="T68" fmla="*/ 418 w 7468"/>
                <a:gd name="T69" fmla="*/ 1604 h 7328"/>
                <a:gd name="T70" fmla="*/ 271 w 7468"/>
                <a:gd name="T71" fmla="*/ 1927 h 7328"/>
                <a:gd name="T72" fmla="*/ 762 w 7468"/>
                <a:gd name="T73" fmla="*/ 1978 h 7328"/>
                <a:gd name="T74" fmla="*/ 1151 w 7468"/>
                <a:gd name="T75" fmla="*/ 2242 h 7328"/>
                <a:gd name="T76" fmla="*/ 1759 w 7468"/>
                <a:gd name="T77" fmla="*/ 2476 h 7328"/>
                <a:gd name="T78" fmla="*/ 1986 w 7468"/>
                <a:gd name="T79" fmla="*/ 3099 h 7328"/>
                <a:gd name="T80" fmla="*/ 2052 w 7468"/>
                <a:gd name="T81" fmla="*/ 3671 h 7328"/>
                <a:gd name="T82" fmla="*/ 2184 w 7468"/>
                <a:gd name="T83" fmla="*/ 4184 h 7328"/>
                <a:gd name="T84" fmla="*/ 2169 w 7468"/>
                <a:gd name="T85" fmla="*/ 5012 h 7328"/>
                <a:gd name="T86" fmla="*/ 2902 w 7468"/>
                <a:gd name="T87" fmla="*/ 5400 h 7328"/>
                <a:gd name="T88" fmla="*/ 3327 w 7468"/>
                <a:gd name="T89" fmla="*/ 5444 h 7328"/>
                <a:gd name="T90" fmla="*/ 3950 w 7468"/>
                <a:gd name="T91" fmla="*/ 5701 h 7328"/>
                <a:gd name="T92" fmla="*/ 3825 w 7468"/>
                <a:gd name="T93" fmla="*/ 6455 h 7328"/>
                <a:gd name="T94" fmla="*/ 4140 w 7468"/>
                <a:gd name="T95" fmla="*/ 6748 h 7328"/>
                <a:gd name="T96" fmla="*/ 4316 w 7468"/>
                <a:gd name="T97" fmla="*/ 7313 h 7328"/>
                <a:gd name="T98" fmla="*/ 4851 w 7468"/>
                <a:gd name="T99" fmla="*/ 7210 h 7328"/>
                <a:gd name="T100" fmla="*/ 5782 w 7468"/>
                <a:gd name="T101" fmla="*/ 7203 h 7328"/>
                <a:gd name="T102" fmla="*/ 6111 w 7468"/>
                <a:gd name="T103" fmla="*/ 6734 h 7328"/>
                <a:gd name="T104" fmla="*/ 6646 w 7468"/>
                <a:gd name="T105" fmla="*/ 6646 h 7328"/>
                <a:gd name="T106" fmla="*/ 7225 w 7468"/>
                <a:gd name="T107" fmla="*/ 6573 h 7328"/>
                <a:gd name="T108" fmla="*/ 7108 w 7468"/>
                <a:gd name="T109" fmla="*/ 5517 h 7328"/>
                <a:gd name="T110" fmla="*/ 7144 w 7468"/>
                <a:gd name="T111" fmla="*/ 4389 h 7328"/>
                <a:gd name="T112" fmla="*/ 6910 w 7468"/>
                <a:gd name="T113" fmla="*/ 3392 h 7328"/>
                <a:gd name="T114" fmla="*/ 6001 w 7468"/>
                <a:gd name="T115" fmla="*/ 2359 h 7328"/>
                <a:gd name="T116" fmla="*/ 6302 w 7468"/>
                <a:gd name="T117" fmla="*/ 1047 h 7328"/>
                <a:gd name="T118" fmla="*/ 5804 w 7468"/>
                <a:gd name="T119" fmla="*/ 908 h 7328"/>
                <a:gd name="T120" fmla="*/ 5679 w 7468"/>
                <a:gd name="T121" fmla="*/ 329 h 7328"/>
                <a:gd name="T122" fmla="*/ 5254 w 7468"/>
                <a:gd name="T123" fmla="*/ 329 h 7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468" h="7328">
                  <a:moveTo>
                    <a:pt x="4961" y="29"/>
                  </a:moveTo>
                  <a:lnTo>
                    <a:pt x="4961" y="29"/>
                  </a:lnTo>
                  <a:cubicBezTo>
                    <a:pt x="4983" y="29"/>
                    <a:pt x="5005" y="51"/>
                    <a:pt x="5027" y="88"/>
                  </a:cubicBezTo>
                  <a:cubicBezTo>
                    <a:pt x="5063" y="139"/>
                    <a:pt x="5071" y="154"/>
                    <a:pt x="5122" y="161"/>
                  </a:cubicBezTo>
                  <a:cubicBezTo>
                    <a:pt x="5173" y="168"/>
                    <a:pt x="5159" y="219"/>
                    <a:pt x="5188" y="256"/>
                  </a:cubicBezTo>
                  <a:cubicBezTo>
                    <a:pt x="5210" y="285"/>
                    <a:pt x="5232" y="359"/>
                    <a:pt x="5247" y="388"/>
                  </a:cubicBezTo>
                  <a:cubicBezTo>
                    <a:pt x="5261" y="417"/>
                    <a:pt x="5276" y="439"/>
                    <a:pt x="5305" y="439"/>
                  </a:cubicBezTo>
                  <a:cubicBezTo>
                    <a:pt x="5320" y="439"/>
                    <a:pt x="5327" y="439"/>
                    <a:pt x="5342" y="432"/>
                  </a:cubicBezTo>
                  <a:cubicBezTo>
                    <a:pt x="5379" y="410"/>
                    <a:pt x="5408" y="381"/>
                    <a:pt x="5430" y="381"/>
                  </a:cubicBezTo>
                  <a:cubicBezTo>
                    <a:pt x="5437" y="381"/>
                    <a:pt x="5444" y="388"/>
                    <a:pt x="5452" y="388"/>
                  </a:cubicBezTo>
                  <a:cubicBezTo>
                    <a:pt x="5481" y="410"/>
                    <a:pt x="5481" y="447"/>
                    <a:pt x="5518" y="447"/>
                  </a:cubicBezTo>
                  <a:cubicBezTo>
                    <a:pt x="5518" y="447"/>
                    <a:pt x="5525" y="447"/>
                    <a:pt x="5532" y="439"/>
                  </a:cubicBezTo>
                  <a:cubicBezTo>
                    <a:pt x="5584" y="425"/>
                    <a:pt x="5584" y="425"/>
                    <a:pt x="5628" y="388"/>
                  </a:cubicBezTo>
                  <a:cubicBezTo>
                    <a:pt x="5657" y="366"/>
                    <a:pt x="5664" y="359"/>
                    <a:pt x="5679" y="359"/>
                  </a:cubicBezTo>
                  <a:cubicBezTo>
                    <a:pt x="5686" y="359"/>
                    <a:pt x="5701" y="366"/>
                    <a:pt x="5716" y="373"/>
                  </a:cubicBezTo>
                  <a:cubicBezTo>
                    <a:pt x="5738" y="388"/>
                    <a:pt x="5767" y="388"/>
                    <a:pt x="5796" y="388"/>
                  </a:cubicBezTo>
                  <a:cubicBezTo>
                    <a:pt x="5818" y="388"/>
                    <a:pt x="5847" y="388"/>
                    <a:pt x="5862" y="381"/>
                  </a:cubicBezTo>
                  <a:cubicBezTo>
                    <a:pt x="5862" y="381"/>
                    <a:pt x="5862" y="381"/>
                    <a:pt x="5870" y="381"/>
                  </a:cubicBezTo>
                  <a:cubicBezTo>
                    <a:pt x="5892" y="381"/>
                    <a:pt x="5899" y="403"/>
                    <a:pt x="5892" y="461"/>
                  </a:cubicBezTo>
                  <a:cubicBezTo>
                    <a:pt x="5884" y="520"/>
                    <a:pt x="5950" y="586"/>
                    <a:pt x="5870" y="645"/>
                  </a:cubicBezTo>
                  <a:cubicBezTo>
                    <a:pt x="5782" y="703"/>
                    <a:pt x="5716" y="791"/>
                    <a:pt x="5686" y="835"/>
                  </a:cubicBezTo>
                  <a:cubicBezTo>
                    <a:pt x="5664" y="872"/>
                    <a:pt x="5635" y="923"/>
                    <a:pt x="5723" y="938"/>
                  </a:cubicBezTo>
                  <a:cubicBezTo>
                    <a:pt x="5811" y="945"/>
                    <a:pt x="5833" y="938"/>
                    <a:pt x="5892" y="952"/>
                  </a:cubicBezTo>
                  <a:cubicBezTo>
                    <a:pt x="5913" y="960"/>
                    <a:pt x="5921" y="960"/>
                    <a:pt x="5928" y="960"/>
                  </a:cubicBezTo>
                  <a:cubicBezTo>
                    <a:pt x="5950" y="960"/>
                    <a:pt x="5950" y="945"/>
                    <a:pt x="5987" y="901"/>
                  </a:cubicBezTo>
                  <a:cubicBezTo>
                    <a:pt x="6038" y="842"/>
                    <a:pt x="6038" y="842"/>
                    <a:pt x="6111" y="784"/>
                  </a:cubicBezTo>
                  <a:cubicBezTo>
                    <a:pt x="6192" y="725"/>
                    <a:pt x="6155" y="681"/>
                    <a:pt x="6243" y="681"/>
                  </a:cubicBezTo>
                  <a:cubicBezTo>
                    <a:pt x="6243" y="725"/>
                    <a:pt x="6258" y="791"/>
                    <a:pt x="6309" y="835"/>
                  </a:cubicBezTo>
                  <a:cubicBezTo>
                    <a:pt x="6368" y="886"/>
                    <a:pt x="6338" y="960"/>
                    <a:pt x="6280" y="1033"/>
                  </a:cubicBezTo>
                  <a:cubicBezTo>
                    <a:pt x="6221" y="1099"/>
                    <a:pt x="6214" y="1135"/>
                    <a:pt x="6221" y="1201"/>
                  </a:cubicBezTo>
                  <a:cubicBezTo>
                    <a:pt x="6236" y="1267"/>
                    <a:pt x="6243" y="1428"/>
                    <a:pt x="6243" y="1494"/>
                  </a:cubicBezTo>
                  <a:cubicBezTo>
                    <a:pt x="6243" y="1560"/>
                    <a:pt x="6141" y="1678"/>
                    <a:pt x="6097" y="1736"/>
                  </a:cubicBezTo>
                  <a:cubicBezTo>
                    <a:pt x="6053" y="1787"/>
                    <a:pt x="5935" y="1868"/>
                    <a:pt x="5870" y="1912"/>
                  </a:cubicBezTo>
                  <a:cubicBezTo>
                    <a:pt x="5804" y="1964"/>
                    <a:pt x="5825" y="2037"/>
                    <a:pt x="5862" y="2110"/>
                  </a:cubicBezTo>
                  <a:cubicBezTo>
                    <a:pt x="5892" y="2176"/>
                    <a:pt x="5847" y="2198"/>
                    <a:pt x="5825" y="2301"/>
                  </a:cubicBezTo>
                  <a:cubicBezTo>
                    <a:pt x="5804" y="2381"/>
                    <a:pt x="5921" y="2388"/>
                    <a:pt x="5965" y="2388"/>
                  </a:cubicBezTo>
                  <a:cubicBezTo>
                    <a:pt x="5980" y="2388"/>
                    <a:pt x="5987" y="2388"/>
                    <a:pt x="5987" y="2388"/>
                  </a:cubicBezTo>
                  <a:cubicBezTo>
                    <a:pt x="5987" y="2388"/>
                    <a:pt x="6053" y="2484"/>
                    <a:pt x="6141" y="2528"/>
                  </a:cubicBezTo>
                  <a:cubicBezTo>
                    <a:pt x="6236" y="2572"/>
                    <a:pt x="6258" y="2616"/>
                    <a:pt x="6338" y="2638"/>
                  </a:cubicBezTo>
                  <a:cubicBezTo>
                    <a:pt x="6412" y="2660"/>
                    <a:pt x="6404" y="2733"/>
                    <a:pt x="6463" y="2835"/>
                  </a:cubicBezTo>
                  <a:cubicBezTo>
                    <a:pt x="6514" y="2938"/>
                    <a:pt x="6720" y="2967"/>
                    <a:pt x="6778" y="3011"/>
                  </a:cubicBezTo>
                  <a:cubicBezTo>
                    <a:pt x="6837" y="3063"/>
                    <a:pt x="6947" y="3165"/>
                    <a:pt x="6903" y="3195"/>
                  </a:cubicBezTo>
                  <a:cubicBezTo>
                    <a:pt x="6859" y="3231"/>
                    <a:pt x="6844" y="3312"/>
                    <a:pt x="6866" y="3378"/>
                  </a:cubicBezTo>
                  <a:cubicBezTo>
                    <a:pt x="6888" y="3444"/>
                    <a:pt x="6910" y="3466"/>
                    <a:pt x="6859" y="3539"/>
                  </a:cubicBezTo>
                  <a:cubicBezTo>
                    <a:pt x="6800" y="3605"/>
                    <a:pt x="6778" y="3612"/>
                    <a:pt x="6734" y="3707"/>
                  </a:cubicBezTo>
                  <a:cubicBezTo>
                    <a:pt x="6683" y="3795"/>
                    <a:pt x="6778" y="3810"/>
                    <a:pt x="6785" y="3898"/>
                  </a:cubicBezTo>
                  <a:cubicBezTo>
                    <a:pt x="6800" y="3986"/>
                    <a:pt x="6844" y="4059"/>
                    <a:pt x="6859" y="4110"/>
                  </a:cubicBezTo>
                  <a:cubicBezTo>
                    <a:pt x="6866" y="4169"/>
                    <a:pt x="7005" y="4184"/>
                    <a:pt x="7071" y="4191"/>
                  </a:cubicBezTo>
                  <a:cubicBezTo>
                    <a:pt x="7137" y="4206"/>
                    <a:pt x="7174" y="4308"/>
                    <a:pt x="7152" y="4338"/>
                  </a:cubicBezTo>
                  <a:cubicBezTo>
                    <a:pt x="7130" y="4374"/>
                    <a:pt x="7093" y="4374"/>
                    <a:pt x="7108" y="4411"/>
                  </a:cubicBezTo>
                  <a:cubicBezTo>
                    <a:pt x="7115" y="4440"/>
                    <a:pt x="7166" y="4455"/>
                    <a:pt x="7166" y="4455"/>
                  </a:cubicBezTo>
                  <a:lnTo>
                    <a:pt x="7166" y="4455"/>
                  </a:lnTo>
                  <a:cubicBezTo>
                    <a:pt x="7174" y="4455"/>
                    <a:pt x="7181" y="4462"/>
                    <a:pt x="7137" y="4521"/>
                  </a:cubicBezTo>
                  <a:cubicBezTo>
                    <a:pt x="7086" y="4602"/>
                    <a:pt x="7174" y="4689"/>
                    <a:pt x="7262" y="4763"/>
                  </a:cubicBezTo>
                  <a:cubicBezTo>
                    <a:pt x="7357" y="4828"/>
                    <a:pt x="7254" y="4975"/>
                    <a:pt x="7218" y="5041"/>
                  </a:cubicBezTo>
                  <a:cubicBezTo>
                    <a:pt x="7188" y="5114"/>
                    <a:pt x="7211" y="5144"/>
                    <a:pt x="7218" y="5224"/>
                  </a:cubicBezTo>
                  <a:cubicBezTo>
                    <a:pt x="7232" y="5305"/>
                    <a:pt x="7152" y="5429"/>
                    <a:pt x="7086" y="5495"/>
                  </a:cubicBezTo>
                  <a:cubicBezTo>
                    <a:pt x="7013" y="5561"/>
                    <a:pt x="6991" y="5591"/>
                    <a:pt x="7042" y="5664"/>
                  </a:cubicBezTo>
                  <a:cubicBezTo>
                    <a:pt x="7086" y="5745"/>
                    <a:pt x="7152" y="5766"/>
                    <a:pt x="7174" y="5862"/>
                  </a:cubicBezTo>
                  <a:cubicBezTo>
                    <a:pt x="7196" y="5950"/>
                    <a:pt x="7211" y="6008"/>
                    <a:pt x="7298" y="6030"/>
                  </a:cubicBezTo>
                  <a:cubicBezTo>
                    <a:pt x="7386" y="6052"/>
                    <a:pt x="7364" y="6118"/>
                    <a:pt x="7401" y="6221"/>
                  </a:cubicBezTo>
                  <a:cubicBezTo>
                    <a:pt x="7437" y="6323"/>
                    <a:pt x="7437" y="6338"/>
                    <a:pt x="7401" y="6382"/>
                  </a:cubicBezTo>
                  <a:cubicBezTo>
                    <a:pt x="7364" y="6426"/>
                    <a:pt x="7298" y="6485"/>
                    <a:pt x="7298" y="6485"/>
                  </a:cubicBezTo>
                  <a:cubicBezTo>
                    <a:pt x="7298" y="6485"/>
                    <a:pt x="7306" y="6492"/>
                    <a:pt x="7320" y="6507"/>
                  </a:cubicBezTo>
                  <a:cubicBezTo>
                    <a:pt x="7276" y="6521"/>
                    <a:pt x="7225" y="6536"/>
                    <a:pt x="7211" y="6543"/>
                  </a:cubicBezTo>
                  <a:cubicBezTo>
                    <a:pt x="7211" y="6551"/>
                    <a:pt x="7203" y="6551"/>
                    <a:pt x="7196" y="6551"/>
                  </a:cubicBezTo>
                  <a:cubicBezTo>
                    <a:pt x="7166" y="6551"/>
                    <a:pt x="7093" y="6499"/>
                    <a:pt x="7071" y="6463"/>
                  </a:cubicBezTo>
                  <a:cubicBezTo>
                    <a:pt x="7064" y="6441"/>
                    <a:pt x="7049" y="6426"/>
                    <a:pt x="7035" y="6426"/>
                  </a:cubicBezTo>
                  <a:cubicBezTo>
                    <a:pt x="7013" y="6426"/>
                    <a:pt x="6998" y="6433"/>
                    <a:pt x="6983" y="6463"/>
                  </a:cubicBezTo>
                  <a:cubicBezTo>
                    <a:pt x="6954" y="6507"/>
                    <a:pt x="6969" y="6521"/>
                    <a:pt x="6954" y="6521"/>
                  </a:cubicBezTo>
                  <a:cubicBezTo>
                    <a:pt x="6954" y="6521"/>
                    <a:pt x="6947" y="6521"/>
                    <a:pt x="6939" y="6521"/>
                  </a:cubicBezTo>
                  <a:cubicBezTo>
                    <a:pt x="6925" y="6514"/>
                    <a:pt x="6910" y="6514"/>
                    <a:pt x="6903" y="6514"/>
                  </a:cubicBezTo>
                  <a:cubicBezTo>
                    <a:pt x="6881" y="6514"/>
                    <a:pt x="6851" y="6521"/>
                    <a:pt x="6793" y="6543"/>
                  </a:cubicBezTo>
                  <a:cubicBezTo>
                    <a:pt x="6712" y="6580"/>
                    <a:pt x="6749" y="6573"/>
                    <a:pt x="6675" y="6587"/>
                  </a:cubicBezTo>
                  <a:cubicBezTo>
                    <a:pt x="6602" y="6602"/>
                    <a:pt x="6639" y="6638"/>
                    <a:pt x="6580" y="6690"/>
                  </a:cubicBezTo>
                  <a:cubicBezTo>
                    <a:pt x="6544" y="6726"/>
                    <a:pt x="6544" y="6741"/>
                    <a:pt x="6536" y="6741"/>
                  </a:cubicBezTo>
                  <a:cubicBezTo>
                    <a:pt x="6536" y="6741"/>
                    <a:pt x="6529" y="6741"/>
                    <a:pt x="6522" y="6734"/>
                  </a:cubicBezTo>
                  <a:cubicBezTo>
                    <a:pt x="6500" y="6704"/>
                    <a:pt x="6514" y="6675"/>
                    <a:pt x="6463" y="6675"/>
                  </a:cubicBezTo>
                  <a:cubicBezTo>
                    <a:pt x="6412" y="6675"/>
                    <a:pt x="6353" y="6675"/>
                    <a:pt x="6316" y="6638"/>
                  </a:cubicBezTo>
                  <a:cubicBezTo>
                    <a:pt x="6309" y="6631"/>
                    <a:pt x="6287" y="6624"/>
                    <a:pt x="6273" y="6624"/>
                  </a:cubicBezTo>
                  <a:cubicBezTo>
                    <a:pt x="6229" y="6624"/>
                    <a:pt x="6170" y="6646"/>
                    <a:pt x="6133" y="6653"/>
                  </a:cubicBezTo>
                  <a:cubicBezTo>
                    <a:pt x="6082" y="6675"/>
                    <a:pt x="6089" y="6726"/>
                    <a:pt x="6053" y="6792"/>
                  </a:cubicBezTo>
                  <a:cubicBezTo>
                    <a:pt x="6023" y="6858"/>
                    <a:pt x="6038" y="6866"/>
                    <a:pt x="5987" y="6888"/>
                  </a:cubicBezTo>
                  <a:cubicBezTo>
                    <a:pt x="5935" y="6902"/>
                    <a:pt x="5980" y="6954"/>
                    <a:pt x="5987" y="7019"/>
                  </a:cubicBezTo>
                  <a:cubicBezTo>
                    <a:pt x="5994" y="7093"/>
                    <a:pt x="5965" y="7115"/>
                    <a:pt x="5928" y="7181"/>
                  </a:cubicBezTo>
                  <a:cubicBezTo>
                    <a:pt x="5913" y="7210"/>
                    <a:pt x="5899" y="7225"/>
                    <a:pt x="5884" y="7225"/>
                  </a:cubicBezTo>
                  <a:cubicBezTo>
                    <a:pt x="5862" y="7225"/>
                    <a:pt x="5847" y="7210"/>
                    <a:pt x="5847" y="7181"/>
                  </a:cubicBezTo>
                  <a:cubicBezTo>
                    <a:pt x="5847" y="7159"/>
                    <a:pt x="5840" y="7152"/>
                    <a:pt x="5825" y="7152"/>
                  </a:cubicBezTo>
                  <a:cubicBezTo>
                    <a:pt x="5811" y="7152"/>
                    <a:pt x="5789" y="7159"/>
                    <a:pt x="5767" y="7173"/>
                  </a:cubicBezTo>
                  <a:cubicBezTo>
                    <a:pt x="5716" y="7210"/>
                    <a:pt x="5686" y="7203"/>
                    <a:pt x="5584" y="7225"/>
                  </a:cubicBezTo>
                  <a:cubicBezTo>
                    <a:pt x="5489" y="7254"/>
                    <a:pt x="5459" y="7254"/>
                    <a:pt x="5371" y="7283"/>
                  </a:cubicBezTo>
                  <a:cubicBezTo>
                    <a:pt x="5356" y="7291"/>
                    <a:pt x="5327" y="7298"/>
                    <a:pt x="5305" y="7298"/>
                  </a:cubicBezTo>
                  <a:cubicBezTo>
                    <a:pt x="5217" y="7298"/>
                    <a:pt x="5115" y="7269"/>
                    <a:pt x="5063" y="7261"/>
                  </a:cubicBezTo>
                  <a:cubicBezTo>
                    <a:pt x="4983" y="7254"/>
                    <a:pt x="4932" y="7261"/>
                    <a:pt x="4895" y="7254"/>
                  </a:cubicBezTo>
                  <a:cubicBezTo>
                    <a:pt x="4866" y="7239"/>
                    <a:pt x="4924" y="7195"/>
                    <a:pt x="4858" y="7181"/>
                  </a:cubicBezTo>
                  <a:cubicBezTo>
                    <a:pt x="4785" y="7173"/>
                    <a:pt x="4748" y="7122"/>
                    <a:pt x="4697" y="7100"/>
                  </a:cubicBezTo>
                  <a:cubicBezTo>
                    <a:pt x="4653" y="7078"/>
                    <a:pt x="4675" y="7034"/>
                    <a:pt x="4661" y="7034"/>
                  </a:cubicBezTo>
                  <a:cubicBezTo>
                    <a:pt x="4661" y="7034"/>
                    <a:pt x="4653" y="7042"/>
                    <a:pt x="4646" y="7049"/>
                  </a:cubicBezTo>
                  <a:cubicBezTo>
                    <a:pt x="4594" y="7078"/>
                    <a:pt x="4594" y="7107"/>
                    <a:pt x="4536" y="7115"/>
                  </a:cubicBezTo>
                  <a:cubicBezTo>
                    <a:pt x="4529" y="7115"/>
                    <a:pt x="4521" y="7115"/>
                    <a:pt x="4514" y="7115"/>
                  </a:cubicBezTo>
                  <a:cubicBezTo>
                    <a:pt x="4499" y="7115"/>
                    <a:pt x="4492" y="7115"/>
                    <a:pt x="4485" y="7115"/>
                  </a:cubicBezTo>
                  <a:cubicBezTo>
                    <a:pt x="4485" y="7115"/>
                    <a:pt x="4477" y="7115"/>
                    <a:pt x="4463" y="7144"/>
                  </a:cubicBezTo>
                  <a:cubicBezTo>
                    <a:pt x="4433" y="7195"/>
                    <a:pt x="4404" y="7203"/>
                    <a:pt x="4353" y="7261"/>
                  </a:cubicBezTo>
                  <a:cubicBezTo>
                    <a:pt x="4338" y="7276"/>
                    <a:pt x="4331" y="7283"/>
                    <a:pt x="4316" y="7283"/>
                  </a:cubicBezTo>
                  <a:cubicBezTo>
                    <a:pt x="4280" y="7283"/>
                    <a:pt x="4250" y="7232"/>
                    <a:pt x="4228" y="7217"/>
                  </a:cubicBezTo>
                  <a:cubicBezTo>
                    <a:pt x="4191" y="7203"/>
                    <a:pt x="4191" y="7159"/>
                    <a:pt x="4213" y="7115"/>
                  </a:cubicBezTo>
                  <a:cubicBezTo>
                    <a:pt x="4228" y="7071"/>
                    <a:pt x="4221" y="7064"/>
                    <a:pt x="4213" y="7027"/>
                  </a:cubicBezTo>
                  <a:cubicBezTo>
                    <a:pt x="4199" y="6997"/>
                    <a:pt x="4177" y="6983"/>
                    <a:pt x="4177" y="6946"/>
                  </a:cubicBezTo>
                  <a:cubicBezTo>
                    <a:pt x="4177" y="6910"/>
                    <a:pt x="4213" y="6910"/>
                    <a:pt x="4235" y="6888"/>
                  </a:cubicBezTo>
                  <a:cubicBezTo>
                    <a:pt x="4257" y="6858"/>
                    <a:pt x="4221" y="6800"/>
                    <a:pt x="4184" y="6785"/>
                  </a:cubicBezTo>
                  <a:cubicBezTo>
                    <a:pt x="4155" y="6770"/>
                    <a:pt x="4184" y="6712"/>
                    <a:pt x="4155" y="6712"/>
                  </a:cubicBezTo>
                  <a:cubicBezTo>
                    <a:pt x="4155" y="6712"/>
                    <a:pt x="4155" y="6712"/>
                    <a:pt x="4148" y="6719"/>
                  </a:cubicBezTo>
                  <a:lnTo>
                    <a:pt x="4140" y="6719"/>
                  </a:lnTo>
                  <a:cubicBezTo>
                    <a:pt x="4104" y="6719"/>
                    <a:pt x="4082" y="6690"/>
                    <a:pt x="4082" y="6690"/>
                  </a:cubicBezTo>
                  <a:cubicBezTo>
                    <a:pt x="4082" y="6690"/>
                    <a:pt x="4096" y="6602"/>
                    <a:pt x="4067" y="6573"/>
                  </a:cubicBezTo>
                  <a:cubicBezTo>
                    <a:pt x="4045" y="6551"/>
                    <a:pt x="4030" y="6543"/>
                    <a:pt x="4008" y="6543"/>
                  </a:cubicBezTo>
                  <a:cubicBezTo>
                    <a:pt x="3994" y="6543"/>
                    <a:pt x="3986" y="6543"/>
                    <a:pt x="3964" y="6543"/>
                  </a:cubicBezTo>
                  <a:cubicBezTo>
                    <a:pt x="3957" y="6543"/>
                    <a:pt x="3957" y="6543"/>
                    <a:pt x="3957" y="6543"/>
                  </a:cubicBezTo>
                  <a:cubicBezTo>
                    <a:pt x="3906" y="6543"/>
                    <a:pt x="3906" y="6485"/>
                    <a:pt x="3876" y="6463"/>
                  </a:cubicBezTo>
                  <a:cubicBezTo>
                    <a:pt x="3876" y="6455"/>
                    <a:pt x="3876" y="6455"/>
                    <a:pt x="3869" y="6455"/>
                  </a:cubicBezTo>
                  <a:cubicBezTo>
                    <a:pt x="3891" y="6433"/>
                    <a:pt x="3913" y="6411"/>
                    <a:pt x="3950" y="6389"/>
                  </a:cubicBezTo>
                  <a:cubicBezTo>
                    <a:pt x="4016" y="6353"/>
                    <a:pt x="4060" y="6338"/>
                    <a:pt x="4089" y="6287"/>
                  </a:cubicBezTo>
                  <a:cubicBezTo>
                    <a:pt x="4125" y="6243"/>
                    <a:pt x="4148" y="6169"/>
                    <a:pt x="4111" y="6147"/>
                  </a:cubicBezTo>
                  <a:cubicBezTo>
                    <a:pt x="4067" y="6118"/>
                    <a:pt x="4038" y="6067"/>
                    <a:pt x="4067" y="6016"/>
                  </a:cubicBezTo>
                  <a:cubicBezTo>
                    <a:pt x="4089" y="5964"/>
                    <a:pt x="4096" y="5913"/>
                    <a:pt x="4067" y="5891"/>
                  </a:cubicBezTo>
                  <a:cubicBezTo>
                    <a:pt x="4030" y="5862"/>
                    <a:pt x="3986" y="5840"/>
                    <a:pt x="4001" y="5796"/>
                  </a:cubicBezTo>
                  <a:cubicBezTo>
                    <a:pt x="4001" y="5759"/>
                    <a:pt x="4016" y="5671"/>
                    <a:pt x="3950" y="5671"/>
                  </a:cubicBezTo>
                  <a:cubicBezTo>
                    <a:pt x="3942" y="5671"/>
                    <a:pt x="3928" y="5671"/>
                    <a:pt x="3913" y="5678"/>
                  </a:cubicBezTo>
                  <a:cubicBezTo>
                    <a:pt x="3884" y="5686"/>
                    <a:pt x="3862" y="5693"/>
                    <a:pt x="3840" y="5693"/>
                  </a:cubicBezTo>
                  <a:cubicBezTo>
                    <a:pt x="3774" y="5693"/>
                    <a:pt x="3730" y="5657"/>
                    <a:pt x="3759" y="5627"/>
                  </a:cubicBezTo>
                  <a:cubicBezTo>
                    <a:pt x="3796" y="5591"/>
                    <a:pt x="3752" y="5583"/>
                    <a:pt x="3701" y="5583"/>
                  </a:cubicBezTo>
                  <a:cubicBezTo>
                    <a:pt x="3649" y="5583"/>
                    <a:pt x="3635" y="5576"/>
                    <a:pt x="3620" y="5532"/>
                  </a:cubicBezTo>
                  <a:cubicBezTo>
                    <a:pt x="3620" y="5503"/>
                    <a:pt x="3605" y="5473"/>
                    <a:pt x="3583" y="5473"/>
                  </a:cubicBezTo>
                  <a:cubicBezTo>
                    <a:pt x="3576" y="5473"/>
                    <a:pt x="3569" y="5473"/>
                    <a:pt x="3554" y="5481"/>
                  </a:cubicBezTo>
                  <a:cubicBezTo>
                    <a:pt x="3532" y="5503"/>
                    <a:pt x="3495" y="5517"/>
                    <a:pt x="3466" y="5517"/>
                  </a:cubicBezTo>
                  <a:cubicBezTo>
                    <a:pt x="3444" y="5517"/>
                    <a:pt x="3422" y="5510"/>
                    <a:pt x="3408" y="5473"/>
                  </a:cubicBezTo>
                  <a:cubicBezTo>
                    <a:pt x="3393" y="5422"/>
                    <a:pt x="3378" y="5407"/>
                    <a:pt x="3356" y="5407"/>
                  </a:cubicBezTo>
                  <a:cubicBezTo>
                    <a:pt x="3342" y="5407"/>
                    <a:pt x="3334" y="5415"/>
                    <a:pt x="3320" y="5415"/>
                  </a:cubicBezTo>
                  <a:cubicBezTo>
                    <a:pt x="3312" y="5415"/>
                    <a:pt x="3305" y="5415"/>
                    <a:pt x="3305" y="5415"/>
                  </a:cubicBezTo>
                  <a:cubicBezTo>
                    <a:pt x="3261" y="5415"/>
                    <a:pt x="3224" y="5385"/>
                    <a:pt x="3195" y="5356"/>
                  </a:cubicBezTo>
                  <a:cubicBezTo>
                    <a:pt x="3188" y="5342"/>
                    <a:pt x="3180" y="5342"/>
                    <a:pt x="3173" y="5342"/>
                  </a:cubicBezTo>
                  <a:cubicBezTo>
                    <a:pt x="3158" y="5342"/>
                    <a:pt x="3151" y="5342"/>
                    <a:pt x="3144" y="5342"/>
                  </a:cubicBezTo>
                  <a:cubicBezTo>
                    <a:pt x="3129" y="5342"/>
                    <a:pt x="3122" y="5342"/>
                    <a:pt x="3114" y="5327"/>
                  </a:cubicBezTo>
                  <a:cubicBezTo>
                    <a:pt x="3092" y="5297"/>
                    <a:pt x="3114" y="5268"/>
                    <a:pt x="3092" y="5268"/>
                  </a:cubicBezTo>
                  <a:cubicBezTo>
                    <a:pt x="3085" y="5268"/>
                    <a:pt x="3078" y="5268"/>
                    <a:pt x="3070" y="5268"/>
                  </a:cubicBezTo>
                  <a:cubicBezTo>
                    <a:pt x="3019" y="5290"/>
                    <a:pt x="2975" y="5327"/>
                    <a:pt x="2909" y="5364"/>
                  </a:cubicBezTo>
                  <a:cubicBezTo>
                    <a:pt x="2865" y="5385"/>
                    <a:pt x="2836" y="5407"/>
                    <a:pt x="2807" y="5407"/>
                  </a:cubicBezTo>
                  <a:cubicBezTo>
                    <a:pt x="2792" y="5407"/>
                    <a:pt x="2770" y="5393"/>
                    <a:pt x="2755" y="5371"/>
                  </a:cubicBezTo>
                  <a:cubicBezTo>
                    <a:pt x="2711" y="5312"/>
                    <a:pt x="2667" y="5276"/>
                    <a:pt x="2653" y="5246"/>
                  </a:cubicBezTo>
                  <a:cubicBezTo>
                    <a:pt x="2645" y="5224"/>
                    <a:pt x="2631" y="5224"/>
                    <a:pt x="2616" y="5224"/>
                  </a:cubicBezTo>
                  <a:cubicBezTo>
                    <a:pt x="2601" y="5224"/>
                    <a:pt x="2587" y="5224"/>
                    <a:pt x="2587" y="5224"/>
                  </a:cubicBezTo>
                  <a:cubicBezTo>
                    <a:pt x="2587" y="5224"/>
                    <a:pt x="2580" y="5290"/>
                    <a:pt x="2550" y="5290"/>
                  </a:cubicBezTo>
                  <a:cubicBezTo>
                    <a:pt x="2550" y="5290"/>
                    <a:pt x="2550" y="5290"/>
                    <a:pt x="2543" y="5290"/>
                  </a:cubicBezTo>
                  <a:cubicBezTo>
                    <a:pt x="2506" y="5268"/>
                    <a:pt x="2367" y="5180"/>
                    <a:pt x="2367" y="5180"/>
                  </a:cubicBezTo>
                  <a:cubicBezTo>
                    <a:pt x="2367" y="5180"/>
                    <a:pt x="2330" y="5166"/>
                    <a:pt x="2308" y="5100"/>
                  </a:cubicBezTo>
                  <a:cubicBezTo>
                    <a:pt x="2279" y="5034"/>
                    <a:pt x="2220" y="5026"/>
                    <a:pt x="2199" y="4990"/>
                  </a:cubicBezTo>
                  <a:cubicBezTo>
                    <a:pt x="2169" y="4953"/>
                    <a:pt x="2111" y="4902"/>
                    <a:pt x="2096" y="4843"/>
                  </a:cubicBezTo>
                  <a:cubicBezTo>
                    <a:pt x="2074" y="4785"/>
                    <a:pt x="2074" y="4741"/>
                    <a:pt x="2118" y="4689"/>
                  </a:cubicBezTo>
                  <a:cubicBezTo>
                    <a:pt x="2162" y="4638"/>
                    <a:pt x="2169" y="4667"/>
                    <a:pt x="2206" y="4638"/>
                  </a:cubicBezTo>
                  <a:cubicBezTo>
                    <a:pt x="2235" y="4616"/>
                    <a:pt x="2176" y="4587"/>
                    <a:pt x="2147" y="4557"/>
                  </a:cubicBezTo>
                  <a:cubicBezTo>
                    <a:pt x="2111" y="4521"/>
                    <a:pt x="2118" y="4492"/>
                    <a:pt x="2132" y="4404"/>
                  </a:cubicBezTo>
                  <a:cubicBezTo>
                    <a:pt x="2154" y="4316"/>
                    <a:pt x="2213" y="4294"/>
                    <a:pt x="2220" y="4250"/>
                  </a:cubicBezTo>
                  <a:cubicBezTo>
                    <a:pt x="2228" y="4206"/>
                    <a:pt x="2206" y="4176"/>
                    <a:pt x="2199" y="4125"/>
                  </a:cubicBezTo>
                  <a:cubicBezTo>
                    <a:pt x="2184" y="4074"/>
                    <a:pt x="2176" y="3927"/>
                    <a:pt x="2213" y="3883"/>
                  </a:cubicBezTo>
                  <a:cubicBezTo>
                    <a:pt x="2242" y="3839"/>
                    <a:pt x="2286" y="3788"/>
                    <a:pt x="2257" y="3759"/>
                  </a:cubicBezTo>
                  <a:cubicBezTo>
                    <a:pt x="2242" y="3744"/>
                    <a:pt x="2235" y="3744"/>
                    <a:pt x="2220" y="3744"/>
                  </a:cubicBezTo>
                  <a:cubicBezTo>
                    <a:pt x="2206" y="3744"/>
                    <a:pt x="2191" y="3751"/>
                    <a:pt x="2176" y="3751"/>
                  </a:cubicBezTo>
                  <a:cubicBezTo>
                    <a:pt x="2162" y="3751"/>
                    <a:pt x="2154" y="3744"/>
                    <a:pt x="2147" y="3737"/>
                  </a:cubicBezTo>
                  <a:cubicBezTo>
                    <a:pt x="2103" y="3715"/>
                    <a:pt x="2118" y="3627"/>
                    <a:pt x="2096" y="3619"/>
                  </a:cubicBezTo>
                  <a:cubicBezTo>
                    <a:pt x="2081" y="3619"/>
                    <a:pt x="2081" y="3619"/>
                    <a:pt x="2074" y="3619"/>
                  </a:cubicBezTo>
                  <a:cubicBezTo>
                    <a:pt x="2067" y="3619"/>
                    <a:pt x="2059" y="3627"/>
                    <a:pt x="2030" y="3649"/>
                  </a:cubicBezTo>
                  <a:cubicBezTo>
                    <a:pt x="2008" y="3671"/>
                    <a:pt x="1971" y="3700"/>
                    <a:pt x="1949" y="3700"/>
                  </a:cubicBezTo>
                  <a:cubicBezTo>
                    <a:pt x="1942" y="3700"/>
                    <a:pt x="1935" y="3693"/>
                    <a:pt x="1935" y="3678"/>
                  </a:cubicBezTo>
                  <a:cubicBezTo>
                    <a:pt x="1920" y="3627"/>
                    <a:pt x="1942" y="3627"/>
                    <a:pt x="1957" y="3605"/>
                  </a:cubicBezTo>
                  <a:cubicBezTo>
                    <a:pt x="1971" y="3576"/>
                    <a:pt x="1891" y="3568"/>
                    <a:pt x="1891" y="3568"/>
                  </a:cubicBezTo>
                  <a:cubicBezTo>
                    <a:pt x="1891" y="3568"/>
                    <a:pt x="1898" y="3539"/>
                    <a:pt x="1913" y="3488"/>
                  </a:cubicBezTo>
                  <a:cubicBezTo>
                    <a:pt x="1935" y="3436"/>
                    <a:pt x="1913" y="3348"/>
                    <a:pt x="1935" y="3326"/>
                  </a:cubicBezTo>
                  <a:cubicBezTo>
                    <a:pt x="1949" y="3297"/>
                    <a:pt x="2001" y="3290"/>
                    <a:pt x="2015" y="3260"/>
                  </a:cubicBezTo>
                  <a:cubicBezTo>
                    <a:pt x="2030" y="3238"/>
                    <a:pt x="2059" y="3173"/>
                    <a:pt x="2015" y="3085"/>
                  </a:cubicBezTo>
                  <a:cubicBezTo>
                    <a:pt x="1971" y="2997"/>
                    <a:pt x="1942" y="2967"/>
                    <a:pt x="1964" y="2923"/>
                  </a:cubicBezTo>
                  <a:cubicBezTo>
                    <a:pt x="1993" y="2879"/>
                    <a:pt x="1964" y="2857"/>
                    <a:pt x="1957" y="2821"/>
                  </a:cubicBezTo>
                  <a:cubicBezTo>
                    <a:pt x="1949" y="2792"/>
                    <a:pt x="1979" y="2755"/>
                    <a:pt x="2023" y="2726"/>
                  </a:cubicBezTo>
                  <a:cubicBezTo>
                    <a:pt x="2067" y="2704"/>
                    <a:pt x="2052" y="2652"/>
                    <a:pt x="2030" y="2608"/>
                  </a:cubicBezTo>
                  <a:cubicBezTo>
                    <a:pt x="2015" y="2564"/>
                    <a:pt x="1942" y="2476"/>
                    <a:pt x="1905" y="2462"/>
                  </a:cubicBezTo>
                  <a:lnTo>
                    <a:pt x="1898" y="2462"/>
                  </a:lnTo>
                  <a:cubicBezTo>
                    <a:pt x="1869" y="2462"/>
                    <a:pt x="1869" y="2506"/>
                    <a:pt x="1832" y="2528"/>
                  </a:cubicBezTo>
                  <a:cubicBezTo>
                    <a:pt x="1825" y="2528"/>
                    <a:pt x="1818" y="2528"/>
                    <a:pt x="1818" y="2528"/>
                  </a:cubicBezTo>
                  <a:cubicBezTo>
                    <a:pt x="1788" y="2528"/>
                    <a:pt x="1795" y="2476"/>
                    <a:pt x="1781" y="2447"/>
                  </a:cubicBezTo>
                  <a:cubicBezTo>
                    <a:pt x="1773" y="2440"/>
                    <a:pt x="1773" y="2433"/>
                    <a:pt x="1766" y="2433"/>
                  </a:cubicBezTo>
                  <a:cubicBezTo>
                    <a:pt x="1759" y="2433"/>
                    <a:pt x="1751" y="2454"/>
                    <a:pt x="1722" y="2454"/>
                  </a:cubicBezTo>
                  <a:cubicBezTo>
                    <a:pt x="1715" y="2454"/>
                    <a:pt x="1715" y="2454"/>
                    <a:pt x="1708" y="2454"/>
                  </a:cubicBezTo>
                  <a:cubicBezTo>
                    <a:pt x="1671" y="2447"/>
                    <a:pt x="1612" y="2440"/>
                    <a:pt x="1576" y="2440"/>
                  </a:cubicBezTo>
                  <a:cubicBezTo>
                    <a:pt x="1568" y="2440"/>
                    <a:pt x="1561" y="2440"/>
                    <a:pt x="1554" y="2440"/>
                  </a:cubicBezTo>
                  <a:cubicBezTo>
                    <a:pt x="1546" y="2440"/>
                    <a:pt x="1517" y="2447"/>
                    <a:pt x="1480" y="2447"/>
                  </a:cubicBezTo>
                  <a:cubicBezTo>
                    <a:pt x="1444" y="2447"/>
                    <a:pt x="1392" y="2440"/>
                    <a:pt x="1356" y="2425"/>
                  </a:cubicBezTo>
                  <a:cubicBezTo>
                    <a:pt x="1282" y="2388"/>
                    <a:pt x="1209" y="2374"/>
                    <a:pt x="1194" y="2345"/>
                  </a:cubicBezTo>
                  <a:cubicBezTo>
                    <a:pt x="1173" y="2323"/>
                    <a:pt x="1194" y="2286"/>
                    <a:pt x="1209" y="2249"/>
                  </a:cubicBezTo>
                  <a:cubicBezTo>
                    <a:pt x="1224" y="2227"/>
                    <a:pt x="1194" y="2205"/>
                    <a:pt x="1165" y="2205"/>
                  </a:cubicBezTo>
                  <a:cubicBezTo>
                    <a:pt x="1158" y="2205"/>
                    <a:pt x="1143" y="2213"/>
                    <a:pt x="1129" y="2220"/>
                  </a:cubicBezTo>
                  <a:cubicBezTo>
                    <a:pt x="1129" y="2220"/>
                    <a:pt x="1121" y="2220"/>
                    <a:pt x="1114" y="2220"/>
                  </a:cubicBezTo>
                  <a:cubicBezTo>
                    <a:pt x="1085" y="2220"/>
                    <a:pt x="1063" y="2147"/>
                    <a:pt x="1063" y="2147"/>
                  </a:cubicBezTo>
                  <a:cubicBezTo>
                    <a:pt x="1033" y="2117"/>
                    <a:pt x="1019" y="2103"/>
                    <a:pt x="1004" y="2103"/>
                  </a:cubicBezTo>
                  <a:cubicBezTo>
                    <a:pt x="989" y="2103"/>
                    <a:pt x="975" y="2110"/>
                    <a:pt x="960" y="2117"/>
                  </a:cubicBezTo>
                  <a:cubicBezTo>
                    <a:pt x="938" y="2132"/>
                    <a:pt x="916" y="2147"/>
                    <a:pt x="901" y="2147"/>
                  </a:cubicBezTo>
                  <a:cubicBezTo>
                    <a:pt x="887" y="2147"/>
                    <a:pt x="880" y="2139"/>
                    <a:pt x="880" y="2117"/>
                  </a:cubicBezTo>
                  <a:cubicBezTo>
                    <a:pt x="872" y="2066"/>
                    <a:pt x="858" y="2066"/>
                    <a:pt x="821" y="2059"/>
                  </a:cubicBezTo>
                  <a:cubicBezTo>
                    <a:pt x="777" y="2051"/>
                    <a:pt x="777" y="2022"/>
                    <a:pt x="792" y="1985"/>
                  </a:cubicBezTo>
                  <a:cubicBezTo>
                    <a:pt x="806" y="1956"/>
                    <a:pt x="784" y="1942"/>
                    <a:pt x="740" y="1942"/>
                  </a:cubicBezTo>
                  <a:cubicBezTo>
                    <a:pt x="762" y="1919"/>
                    <a:pt x="777" y="1905"/>
                    <a:pt x="777" y="1905"/>
                  </a:cubicBezTo>
                  <a:cubicBezTo>
                    <a:pt x="777" y="1905"/>
                    <a:pt x="762" y="1919"/>
                    <a:pt x="740" y="1942"/>
                  </a:cubicBezTo>
                  <a:lnTo>
                    <a:pt x="733" y="1934"/>
                  </a:lnTo>
                  <a:cubicBezTo>
                    <a:pt x="689" y="1934"/>
                    <a:pt x="667" y="1949"/>
                    <a:pt x="630" y="1949"/>
                  </a:cubicBezTo>
                  <a:cubicBezTo>
                    <a:pt x="616" y="1949"/>
                    <a:pt x="608" y="1949"/>
                    <a:pt x="594" y="1949"/>
                  </a:cubicBezTo>
                  <a:cubicBezTo>
                    <a:pt x="535" y="1934"/>
                    <a:pt x="491" y="1890"/>
                    <a:pt x="425" y="1861"/>
                  </a:cubicBezTo>
                  <a:cubicBezTo>
                    <a:pt x="411" y="1854"/>
                    <a:pt x="396" y="1854"/>
                    <a:pt x="381" y="1854"/>
                  </a:cubicBezTo>
                  <a:cubicBezTo>
                    <a:pt x="330" y="1854"/>
                    <a:pt x="293" y="1883"/>
                    <a:pt x="257" y="1897"/>
                  </a:cubicBezTo>
                  <a:cubicBezTo>
                    <a:pt x="242" y="1905"/>
                    <a:pt x="227" y="1905"/>
                    <a:pt x="213" y="1905"/>
                  </a:cubicBezTo>
                  <a:cubicBezTo>
                    <a:pt x="183" y="1905"/>
                    <a:pt x="154" y="1890"/>
                    <a:pt x="132" y="1861"/>
                  </a:cubicBezTo>
                  <a:cubicBezTo>
                    <a:pt x="88" y="1810"/>
                    <a:pt x="22" y="1722"/>
                    <a:pt x="66" y="1714"/>
                  </a:cubicBezTo>
                  <a:cubicBezTo>
                    <a:pt x="81" y="1729"/>
                    <a:pt x="88" y="1736"/>
                    <a:pt x="95" y="1751"/>
                  </a:cubicBezTo>
                  <a:cubicBezTo>
                    <a:pt x="88" y="1736"/>
                    <a:pt x="81" y="1729"/>
                    <a:pt x="66" y="1714"/>
                  </a:cubicBezTo>
                  <a:lnTo>
                    <a:pt x="66" y="1714"/>
                  </a:lnTo>
                  <a:cubicBezTo>
                    <a:pt x="118" y="1714"/>
                    <a:pt x="205" y="1714"/>
                    <a:pt x="242" y="1714"/>
                  </a:cubicBezTo>
                  <a:cubicBezTo>
                    <a:pt x="271" y="1714"/>
                    <a:pt x="293" y="1707"/>
                    <a:pt x="301" y="1670"/>
                  </a:cubicBezTo>
                  <a:cubicBezTo>
                    <a:pt x="308" y="1648"/>
                    <a:pt x="330" y="1626"/>
                    <a:pt x="381" y="1626"/>
                  </a:cubicBezTo>
                  <a:cubicBezTo>
                    <a:pt x="396" y="1626"/>
                    <a:pt x="403" y="1634"/>
                    <a:pt x="418" y="1634"/>
                  </a:cubicBezTo>
                  <a:cubicBezTo>
                    <a:pt x="484" y="1641"/>
                    <a:pt x="535" y="1692"/>
                    <a:pt x="564" y="1692"/>
                  </a:cubicBezTo>
                  <a:cubicBezTo>
                    <a:pt x="572" y="1692"/>
                    <a:pt x="579" y="1692"/>
                    <a:pt x="579" y="1685"/>
                  </a:cubicBezTo>
                  <a:cubicBezTo>
                    <a:pt x="594" y="1648"/>
                    <a:pt x="594" y="1641"/>
                    <a:pt x="608" y="1582"/>
                  </a:cubicBezTo>
                  <a:cubicBezTo>
                    <a:pt x="616" y="1524"/>
                    <a:pt x="557" y="1494"/>
                    <a:pt x="594" y="1436"/>
                  </a:cubicBezTo>
                  <a:cubicBezTo>
                    <a:pt x="638" y="1377"/>
                    <a:pt x="674" y="1348"/>
                    <a:pt x="718" y="1326"/>
                  </a:cubicBezTo>
                  <a:cubicBezTo>
                    <a:pt x="748" y="1304"/>
                    <a:pt x="777" y="1260"/>
                    <a:pt x="821" y="1260"/>
                  </a:cubicBezTo>
                  <a:cubicBezTo>
                    <a:pt x="836" y="1260"/>
                    <a:pt x="843" y="1260"/>
                    <a:pt x="850" y="1267"/>
                  </a:cubicBezTo>
                  <a:cubicBezTo>
                    <a:pt x="901" y="1289"/>
                    <a:pt x="960" y="1333"/>
                    <a:pt x="1004" y="1333"/>
                  </a:cubicBezTo>
                  <a:cubicBezTo>
                    <a:pt x="1011" y="1333"/>
                    <a:pt x="1026" y="1333"/>
                    <a:pt x="1033" y="1326"/>
                  </a:cubicBezTo>
                  <a:cubicBezTo>
                    <a:pt x="1070" y="1297"/>
                    <a:pt x="1121" y="1297"/>
                    <a:pt x="1143" y="1267"/>
                  </a:cubicBezTo>
                  <a:cubicBezTo>
                    <a:pt x="1158" y="1231"/>
                    <a:pt x="1180" y="1223"/>
                    <a:pt x="1231" y="1179"/>
                  </a:cubicBezTo>
                  <a:cubicBezTo>
                    <a:pt x="1275" y="1150"/>
                    <a:pt x="1297" y="1121"/>
                    <a:pt x="1319" y="1121"/>
                  </a:cubicBezTo>
                  <a:cubicBezTo>
                    <a:pt x="1327" y="1121"/>
                    <a:pt x="1334" y="1121"/>
                    <a:pt x="1341" y="1128"/>
                  </a:cubicBezTo>
                  <a:cubicBezTo>
                    <a:pt x="1356" y="1135"/>
                    <a:pt x="1363" y="1143"/>
                    <a:pt x="1370" y="1143"/>
                  </a:cubicBezTo>
                  <a:cubicBezTo>
                    <a:pt x="1392" y="1143"/>
                    <a:pt x="1407" y="1121"/>
                    <a:pt x="1414" y="1106"/>
                  </a:cubicBezTo>
                  <a:cubicBezTo>
                    <a:pt x="1422" y="1077"/>
                    <a:pt x="1407" y="1069"/>
                    <a:pt x="1466" y="1062"/>
                  </a:cubicBezTo>
                  <a:cubicBezTo>
                    <a:pt x="1524" y="1055"/>
                    <a:pt x="1517" y="938"/>
                    <a:pt x="1517" y="938"/>
                  </a:cubicBezTo>
                  <a:cubicBezTo>
                    <a:pt x="1517" y="938"/>
                    <a:pt x="1576" y="923"/>
                    <a:pt x="1583" y="872"/>
                  </a:cubicBezTo>
                  <a:cubicBezTo>
                    <a:pt x="1583" y="857"/>
                    <a:pt x="1590" y="850"/>
                    <a:pt x="1598" y="850"/>
                  </a:cubicBezTo>
                  <a:cubicBezTo>
                    <a:pt x="1605" y="850"/>
                    <a:pt x="1620" y="864"/>
                    <a:pt x="1642" y="894"/>
                  </a:cubicBezTo>
                  <a:cubicBezTo>
                    <a:pt x="1663" y="908"/>
                    <a:pt x="1678" y="916"/>
                    <a:pt x="1693" y="916"/>
                  </a:cubicBezTo>
                  <a:cubicBezTo>
                    <a:pt x="1715" y="916"/>
                    <a:pt x="1737" y="908"/>
                    <a:pt x="1751" y="894"/>
                  </a:cubicBezTo>
                  <a:cubicBezTo>
                    <a:pt x="1781" y="872"/>
                    <a:pt x="1825" y="850"/>
                    <a:pt x="1861" y="850"/>
                  </a:cubicBezTo>
                  <a:cubicBezTo>
                    <a:pt x="1869" y="850"/>
                    <a:pt x="1876" y="850"/>
                    <a:pt x="1883" y="850"/>
                  </a:cubicBezTo>
                  <a:cubicBezTo>
                    <a:pt x="1920" y="857"/>
                    <a:pt x="1920" y="901"/>
                    <a:pt x="1957" y="916"/>
                  </a:cubicBezTo>
                  <a:cubicBezTo>
                    <a:pt x="1993" y="938"/>
                    <a:pt x="2023" y="923"/>
                    <a:pt x="2081" y="938"/>
                  </a:cubicBezTo>
                  <a:cubicBezTo>
                    <a:pt x="2147" y="945"/>
                    <a:pt x="2242" y="1033"/>
                    <a:pt x="2279" y="1069"/>
                  </a:cubicBezTo>
                  <a:cubicBezTo>
                    <a:pt x="2308" y="1099"/>
                    <a:pt x="2323" y="1179"/>
                    <a:pt x="2382" y="1179"/>
                  </a:cubicBezTo>
                  <a:cubicBezTo>
                    <a:pt x="2389" y="1179"/>
                    <a:pt x="2396" y="1172"/>
                    <a:pt x="2411" y="1172"/>
                  </a:cubicBezTo>
                  <a:cubicBezTo>
                    <a:pt x="2477" y="1150"/>
                    <a:pt x="2506" y="1135"/>
                    <a:pt x="2543" y="1135"/>
                  </a:cubicBezTo>
                  <a:cubicBezTo>
                    <a:pt x="2550" y="1135"/>
                    <a:pt x="2565" y="1135"/>
                    <a:pt x="2580" y="1135"/>
                  </a:cubicBezTo>
                  <a:cubicBezTo>
                    <a:pt x="2616" y="1150"/>
                    <a:pt x="2638" y="1157"/>
                    <a:pt x="2660" y="1157"/>
                  </a:cubicBezTo>
                  <a:cubicBezTo>
                    <a:pt x="2675" y="1157"/>
                    <a:pt x="2689" y="1157"/>
                    <a:pt x="2711" y="1150"/>
                  </a:cubicBezTo>
                  <a:cubicBezTo>
                    <a:pt x="2726" y="1143"/>
                    <a:pt x="2741" y="1135"/>
                    <a:pt x="2755" y="1135"/>
                  </a:cubicBezTo>
                  <a:cubicBezTo>
                    <a:pt x="2792" y="1135"/>
                    <a:pt x="2814" y="1165"/>
                    <a:pt x="2807" y="1201"/>
                  </a:cubicBezTo>
                  <a:cubicBezTo>
                    <a:pt x="2799" y="1231"/>
                    <a:pt x="2821" y="1253"/>
                    <a:pt x="2858" y="1253"/>
                  </a:cubicBezTo>
                  <a:cubicBezTo>
                    <a:pt x="2865" y="1253"/>
                    <a:pt x="2880" y="1253"/>
                    <a:pt x="2894" y="1245"/>
                  </a:cubicBezTo>
                  <a:cubicBezTo>
                    <a:pt x="2894" y="1245"/>
                    <a:pt x="2902" y="1245"/>
                    <a:pt x="2909" y="1245"/>
                  </a:cubicBezTo>
                  <a:cubicBezTo>
                    <a:pt x="2953" y="1245"/>
                    <a:pt x="2953" y="1311"/>
                    <a:pt x="2997" y="1333"/>
                  </a:cubicBezTo>
                  <a:cubicBezTo>
                    <a:pt x="3026" y="1355"/>
                    <a:pt x="3041" y="1370"/>
                    <a:pt x="3063" y="1370"/>
                  </a:cubicBezTo>
                  <a:cubicBezTo>
                    <a:pt x="3070" y="1370"/>
                    <a:pt x="3078" y="1363"/>
                    <a:pt x="3085" y="1363"/>
                  </a:cubicBezTo>
                  <a:cubicBezTo>
                    <a:pt x="3122" y="1341"/>
                    <a:pt x="3217" y="1333"/>
                    <a:pt x="3217" y="1333"/>
                  </a:cubicBezTo>
                  <a:cubicBezTo>
                    <a:pt x="3232" y="1348"/>
                    <a:pt x="3254" y="1355"/>
                    <a:pt x="3275" y="1355"/>
                  </a:cubicBezTo>
                  <a:cubicBezTo>
                    <a:pt x="3290" y="1355"/>
                    <a:pt x="3305" y="1355"/>
                    <a:pt x="3320" y="1348"/>
                  </a:cubicBezTo>
                  <a:cubicBezTo>
                    <a:pt x="3356" y="1341"/>
                    <a:pt x="3393" y="1297"/>
                    <a:pt x="3415" y="1297"/>
                  </a:cubicBezTo>
                  <a:cubicBezTo>
                    <a:pt x="3415" y="1297"/>
                    <a:pt x="3415" y="1297"/>
                    <a:pt x="3422" y="1297"/>
                  </a:cubicBezTo>
                  <a:cubicBezTo>
                    <a:pt x="3430" y="1326"/>
                    <a:pt x="3378" y="1414"/>
                    <a:pt x="3437" y="1414"/>
                  </a:cubicBezTo>
                  <a:cubicBezTo>
                    <a:pt x="3495" y="1414"/>
                    <a:pt x="3488" y="1414"/>
                    <a:pt x="3532" y="1348"/>
                  </a:cubicBezTo>
                  <a:cubicBezTo>
                    <a:pt x="3569" y="1289"/>
                    <a:pt x="3583" y="1311"/>
                    <a:pt x="3635" y="1275"/>
                  </a:cubicBezTo>
                  <a:cubicBezTo>
                    <a:pt x="3686" y="1238"/>
                    <a:pt x="3671" y="1216"/>
                    <a:pt x="3701" y="1172"/>
                  </a:cubicBezTo>
                  <a:cubicBezTo>
                    <a:pt x="3723" y="1135"/>
                    <a:pt x="3759" y="1092"/>
                    <a:pt x="3789" y="1092"/>
                  </a:cubicBezTo>
                  <a:cubicBezTo>
                    <a:pt x="3796" y="1092"/>
                    <a:pt x="3803" y="1092"/>
                    <a:pt x="3810" y="1099"/>
                  </a:cubicBezTo>
                  <a:cubicBezTo>
                    <a:pt x="3847" y="1121"/>
                    <a:pt x="3847" y="1187"/>
                    <a:pt x="3884" y="1187"/>
                  </a:cubicBezTo>
                  <a:cubicBezTo>
                    <a:pt x="3899" y="1187"/>
                    <a:pt x="3906" y="1187"/>
                    <a:pt x="3906" y="1187"/>
                  </a:cubicBezTo>
                  <a:cubicBezTo>
                    <a:pt x="3935" y="1187"/>
                    <a:pt x="3950" y="1187"/>
                    <a:pt x="3957" y="1128"/>
                  </a:cubicBezTo>
                  <a:cubicBezTo>
                    <a:pt x="3964" y="1062"/>
                    <a:pt x="3972" y="1047"/>
                    <a:pt x="4030" y="1018"/>
                  </a:cubicBezTo>
                  <a:cubicBezTo>
                    <a:pt x="4074" y="1004"/>
                    <a:pt x="4104" y="974"/>
                    <a:pt x="4125" y="974"/>
                  </a:cubicBezTo>
                  <a:cubicBezTo>
                    <a:pt x="4140" y="974"/>
                    <a:pt x="4148" y="982"/>
                    <a:pt x="4162" y="996"/>
                  </a:cubicBezTo>
                  <a:cubicBezTo>
                    <a:pt x="4191" y="1033"/>
                    <a:pt x="4199" y="1099"/>
                    <a:pt x="4235" y="1099"/>
                  </a:cubicBezTo>
                  <a:lnTo>
                    <a:pt x="4243" y="1099"/>
                  </a:lnTo>
                  <a:cubicBezTo>
                    <a:pt x="4287" y="1084"/>
                    <a:pt x="4272" y="1084"/>
                    <a:pt x="4301" y="1018"/>
                  </a:cubicBezTo>
                  <a:cubicBezTo>
                    <a:pt x="4331" y="960"/>
                    <a:pt x="4316" y="916"/>
                    <a:pt x="4353" y="916"/>
                  </a:cubicBezTo>
                  <a:lnTo>
                    <a:pt x="4360" y="916"/>
                  </a:lnTo>
                  <a:cubicBezTo>
                    <a:pt x="4389" y="923"/>
                    <a:pt x="4404" y="930"/>
                    <a:pt x="4411" y="930"/>
                  </a:cubicBezTo>
                  <a:cubicBezTo>
                    <a:pt x="4426" y="930"/>
                    <a:pt x="4433" y="923"/>
                    <a:pt x="4448" y="894"/>
                  </a:cubicBezTo>
                  <a:cubicBezTo>
                    <a:pt x="4470" y="835"/>
                    <a:pt x="4514" y="776"/>
                    <a:pt x="4507" y="725"/>
                  </a:cubicBezTo>
                  <a:cubicBezTo>
                    <a:pt x="4499" y="674"/>
                    <a:pt x="4492" y="601"/>
                    <a:pt x="4536" y="571"/>
                  </a:cubicBezTo>
                  <a:cubicBezTo>
                    <a:pt x="4573" y="535"/>
                    <a:pt x="4587" y="520"/>
                    <a:pt x="4624" y="498"/>
                  </a:cubicBezTo>
                  <a:cubicBezTo>
                    <a:pt x="4668" y="483"/>
                    <a:pt x="4661" y="469"/>
                    <a:pt x="4726" y="381"/>
                  </a:cubicBezTo>
                  <a:cubicBezTo>
                    <a:pt x="4800" y="300"/>
                    <a:pt x="4800" y="307"/>
                    <a:pt x="4858" y="300"/>
                  </a:cubicBezTo>
                  <a:cubicBezTo>
                    <a:pt x="4917" y="285"/>
                    <a:pt x="4961" y="285"/>
                    <a:pt x="4990" y="256"/>
                  </a:cubicBezTo>
                  <a:cubicBezTo>
                    <a:pt x="5027" y="219"/>
                    <a:pt x="4983" y="212"/>
                    <a:pt x="4946" y="176"/>
                  </a:cubicBezTo>
                  <a:cubicBezTo>
                    <a:pt x="4917" y="146"/>
                    <a:pt x="4910" y="117"/>
                    <a:pt x="4932" y="58"/>
                  </a:cubicBezTo>
                  <a:cubicBezTo>
                    <a:pt x="4939" y="36"/>
                    <a:pt x="4954" y="29"/>
                    <a:pt x="4961" y="29"/>
                  </a:cubicBezTo>
                  <a:lnTo>
                    <a:pt x="4961" y="0"/>
                  </a:lnTo>
                  <a:lnTo>
                    <a:pt x="4961" y="0"/>
                  </a:lnTo>
                  <a:lnTo>
                    <a:pt x="4961" y="0"/>
                  </a:lnTo>
                  <a:lnTo>
                    <a:pt x="4961" y="0"/>
                  </a:lnTo>
                  <a:cubicBezTo>
                    <a:pt x="4946" y="0"/>
                    <a:pt x="4924" y="7"/>
                    <a:pt x="4902" y="44"/>
                  </a:cubicBezTo>
                  <a:cubicBezTo>
                    <a:pt x="4873" y="117"/>
                    <a:pt x="4880" y="154"/>
                    <a:pt x="4932" y="197"/>
                  </a:cubicBezTo>
                  <a:cubicBezTo>
                    <a:pt x="4939" y="212"/>
                    <a:pt x="4954" y="219"/>
                    <a:pt x="4961" y="227"/>
                  </a:cubicBezTo>
                  <a:lnTo>
                    <a:pt x="4968" y="234"/>
                  </a:lnTo>
                  <a:cubicBezTo>
                    <a:pt x="4946" y="256"/>
                    <a:pt x="4924" y="256"/>
                    <a:pt x="4880" y="264"/>
                  </a:cubicBezTo>
                  <a:cubicBezTo>
                    <a:pt x="4873" y="264"/>
                    <a:pt x="4858" y="264"/>
                    <a:pt x="4851" y="264"/>
                  </a:cubicBezTo>
                  <a:cubicBezTo>
                    <a:pt x="4836" y="271"/>
                    <a:pt x="4836" y="271"/>
                    <a:pt x="4836" y="271"/>
                  </a:cubicBezTo>
                  <a:cubicBezTo>
                    <a:pt x="4778" y="278"/>
                    <a:pt x="4770" y="285"/>
                    <a:pt x="4704" y="366"/>
                  </a:cubicBezTo>
                  <a:cubicBezTo>
                    <a:pt x="4675" y="395"/>
                    <a:pt x="4661" y="417"/>
                    <a:pt x="4653" y="439"/>
                  </a:cubicBezTo>
                  <a:cubicBezTo>
                    <a:pt x="4639" y="461"/>
                    <a:pt x="4631" y="469"/>
                    <a:pt x="4616" y="476"/>
                  </a:cubicBezTo>
                  <a:cubicBezTo>
                    <a:pt x="4580" y="483"/>
                    <a:pt x="4565" y="498"/>
                    <a:pt x="4543" y="520"/>
                  </a:cubicBezTo>
                  <a:cubicBezTo>
                    <a:pt x="4536" y="527"/>
                    <a:pt x="4529" y="535"/>
                    <a:pt x="4514" y="542"/>
                  </a:cubicBezTo>
                  <a:cubicBezTo>
                    <a:pt x="4455" y="593"/>
                    <a:pt x="4470" y="681"/>
                    <a:pt x="4477" y="725"/>
                  </a:cubicBezTo>
                  <a:cubicBezTo>
                    <a:pt x="4485" y="754"/>
                    <a:pt x="4463" y="791"/>
                    <a:pt x="4441" y="828"/>
                  </a:cubicBezTo>
                  <a:cubicBezTo>
                    <a:pt x="4433" y="850"/>
                    <a:pt x="4426" y="864"/>
                    <a:pt x="4419" y="879"/>
                  </a:cubicBezTo>
                  <a:cubicBezTo>
                    <a:pt x="4419" y="894"/>
                    <a:pt x="4411" y="894"/>
                    <a:pt x="4411" y="901"/>
                  </a:cubicBezTo>
                  <a:lnTo>
                    <a:pt x="4404" y="894"/>
                  </a:lnTo>
                  <a:cubicBezTo>
                    <a:pt x="4397" y="894"/>
                    <a:pt x="4382" y="886"/>
                    <a:pt x="4367" y="886"/>
                  </a:cubicBezTo>
                  <a:cubicBezTo>
                    <a:pt x="4360" y="886"/>
                    <a:pt x="4353" y="886"/>
                    <a:pt x="4353" y="886"/>
                  </a:cubicBezTo>
                  <a:cubicBezTo>
                    <a:pt x="4309" y="886"/>
                    <a:pt x="4301" y="923"/>
                    <a:pt x="4294" y="945"/>
                  </a:cubicBezTo>
                  <a:cubicBezTo>
                    <a:pt x="4294" y="967"/>
                    <a:pt x="4287" y="982"/>
                    <a:pt x="4280" y="1004"/>
                  </a:cubicBezTo>
                  <a:cubicBezTo>
                    <a:pt x="4265" y="1026"/>
                    <a:pt x="4257" y="1040"/>
                    <a:pt x="4257" y="1055"/>
                  </a:cubicBezTo>
                  <a:cubicBezTo>
                    <a:pt x="4250" y="1055"/>
                    <a:pt x="4250" y="1062"/>
                    <a:pt x="4250" y="1062"/>
                  </a:cubicBezTo>
                  <a:cubicBezTo>
                    <a:pt x="4250" y="1062"/>
                    <a:pt x="4243" y="1062"/>
                    <a:pt x="4235" y="1069"/>
                  </a:cubicBezTo>
                  <a:cubicBezTo>
                    <a:pt x="4228" y="1062"/>
                    <a:pt x="4221" y="1040"/>
                    <a:pt x="4213" y="1033"/>
                  </a:cubicBezTo>
                  <a:cubicBezTo>
                    <a:pt x="4206" y="1011"/>
                    <a:pt x="4199" y="989"/>
                    <a:pt x="4184" y="974"/>
                  </a:cubicBezTo>
                  <a:cubicBezTo>
                    <a:pt x="4170" y="952"/>
                    <a:pt x="4148" y="945"/>
                    <a:pt x="4125" y="945"/>
                  </a:cubicBezTo>
                  <a:cubicBezTo>
                    <a:pt x="4104" y="945"/>
                    <a:pt x="4082" y="960"/>
                    <a:pt x="4060" y="974"/>
                  </a:cubicBezTo>
                  <a:cubicBezTo>
                    <a:pt x="4045" y="974"/>
                    <a:pt x="4030" y="989"/>
                    <a:pt x="4023" y="989"/>
                  </a:cubicBezTo>
                  <a:cubicBezTo>
                    <a:pt x="3950" y="1026"/>
                    <a:pt x="3935" y="1047"/>
                    <a:pt x="3928" y="1128"/>
                  </a:cubicBezTo>
                  <a:cubicBezTo>
                    <a:pt x="3920" y="1150"/>
                    <a:pt x="3920" y="1157"/>
                    <a:pt x="3920" y="1157"/>
                  </a:cubicBezTo>
                  <a:lnTo>
                    <a:pt x="3913" y="1157"/>
                  </a:lnTo>
                  <a:cubicBezTo>
                    <a:pt x="3913" y="1157"/>
                    <a:pt x="3913" y="1157"/>
                    <a:pt x="3906" y="1157"/>
                  </a:cubicBezTo>
                  <a:cubicBezTo>
                    <a:pt x="3899" y="1157"/>
                    <a:pt x="3899" y="1157"/>
                    <a:pt x="3899" y="1157"/>
                  </a:cubicBezTo>
                  <a:cubicBezTo>
                    <a:pt x="3884" y="1157"/>
                    <a:pt x="3884" y="1157"/>
                    <a:pt x="3884" y="1157"/>
                  </a:cubicBezTo>
                  <a:cubicBezTo>
                    <a:pt x="3884" y="1157"/>
                    <a:pt x="3876" y="1143"/>
                    <a:pt x="3869" y="1128"/>
                  </a:cubicBezTo>
                  <a:cubicBezTo>
                    <a:pt x="3862" y="1106"/>
                    <a:pt x="3847" y="1084"/>
                    <a:pt x="3825" y="1069"/>
                  </a:cubicBezTo>
                  <a:cubicBezTo>
                    <a:pt x="3818" y="1062"/>
                    <a:pt x="3803" y="1062"/>
                    <a:pt x="3789" y="1062"/>
                  </a:cubicBezTo>
                  <a:cubicBezTo>
                    <a:pt x="3737" y="1062"/>
                    <a:pt x="3686" y="1135"/>
                    <a:pt x="3671" y="1157"/>
                  </a:cubicBezTo>
                  <a:cubicBezTo>
                    <a:pt x="3664" y="1172"/>
                    <a:pt x="3657" y="1187"/>
                    <a:pt x="3657" y="1201"/>
                  </a:cubicBezTo>
                  <a:cubicBezTo>
                    <a:pt x="3649" y="1223"/>
                    <a:pt x="3642" y="1231"/>
                    <a:pt x="3613" y="1253"/>
                  </a:cubicBezTo>
                  <a:cubicBezTo>
                    <a:pt x="3598" y="1260"/>
                    <a:pt x="3591" y="1267"/>
                    <a:pt x="3576" y="1267"/>
                  </a:cubicBezTo>
                  <a:cubicBezTo>
                    <a:pt x="3554" y="1282"/>
                    <a:pt x="3539" y="1289"/>
                    <a:pt x="3503" y="1333"/>
                  </a:cubicBezTo>
                  <a:cubicBezTo>
                    <a:pt x="3503" y="1341"/>
                    <a:pt x="3495" y="1348"/>
                    <a:pt x="3488" y="1355"/>
                  </a:cubicBezTo>
                  <a:cubicBezTo>
                    <a:pt x="3473" y="1377"/>
                    <a:pt x="3473" y="1377"/>
                    <a:pt x="3437" y="1377"/>
                  </a:cubicBezTo>
                  <a:cubicBezTo>
                    <a:pt x="3437" y="1370"/>
                    <a:pt x="3444" y="1355"/>
                    <a:pt x="3444" y="1348"/>
                  </a:cubicBezTo>
                  <a:cubicBezTo>
                    <a:pt x="3451" y="1326"/>
                    <a:pt x="3451" y="1304"/>
                    <a:pt x="3451" y="1289"/>
                  </a:cubicBezTo>
                  <a:cubicBezTo>
                    <a:pt x="3444" y="1275"/>
                    <a:pt x="3430" y="1260"/>
                    <a:pt x="3415" y="1260"/>
                  </a:cubicBezTo>
                  <a:cubicBezTo>
                    <a:pt x="3393" y="1260"/>
                    <a:pt x="3378" y="1275"/>
                    <a:pt x="3363" y="1289"/>
                  </a:cubicBezTo>
                  <a:cubicBezTo>
                    <a:pt x="3342" y="1304"/>
                    <a:pt x="3327" y="1319"/>
                    <a:pt x="3305" y="1319"/>
                  </a:cubicBezTo>
                  <a:cubicBezTo>
                    <a:pt x="3298" y="1326"/>
                    <a:pt x="3290" y="1326"/>
                    <a:pt x="3275" y="1326"/>
                  </a:cubicBezTo>
                  <a:cubicBezTo>
                    <a:pt x="3261" y="1326"/>
                    <a:pt x="3246" y="1319"/>
                    <a:pt x="3232" y="1311"/>
                  </a:cubicBezTo>
                  <a:cubicBezTo>
                    <a:pt x="3224" y="1304"/>
                    <a:pt x="3224" y="1304"/>
                    <a:pt x="3224" y="1304"/>
                  </a:cubicBezTo>
                  <a:cubicBezTo>
                    <a:pt x="3210" y="1304"/>
                    <a:pt x="3210" y="1304"/>
                    <a:pt x="3210" y="1304"/>
                  </a:cubicBezTo>
                  <a:cubicBezTo>
                    <a:pt x="3202" y="1304"/>
                    <a:pt x="3114" y="1311"/>
                    <a:pt x="3070" y="1333"/>
                  </a:cubicBezTo>
                  <a:lnTo>
                    <a:pt x="3063" y="1333"/>
                  </a:lnTo>
                  <a:cubicBezTo>
                    <a:pt x="3056" y="1333"/>
                    <a:pt x="3041" y="1326"/>
                    <a:pt x="3026" y="1319"/>
                  </a:cubicBezTo>
                  <a:cubicBezTo>
                    <a:pt x="3019" y="1319"/>
                    <a:pt x="3019" y="1311"/>
                    <a:pt x="3012" y="1311"/>
                  </a:cubicBezTo>
                  <a:cubicBezTo>
                    <a:pt x="2997" y="1304"/>
                    <a:pt x="2990" y="1289"/>
                    <a:pt x="2982" y="1275"/>
                  </a:cubicBezTo>
                  <a:cubicBezTo>
                    <a:pt x="2968" y="1253"/>
                    <a:pt x="2953" y="1216"/>
                    <a:pt x="2909" y="1216"/>
                  </a:cubicBezTo>
                  <a:cubicBezTo>
                    <a:pt x="2902" y="1216"/>
                    <a:pt x="2894" y="1216"/>
                    <a:pt x="2887" y="1223"/>
                  </a:cubicBezTo>
                  <a:cubicBezTo>
                    <a:pt x="2873" y="1223"/>
                    <a:pt x="2865" y="1223"/>
                    <a:pt x="2858" y="1223"/>
                  </a:cubicBezTo>
                  <a:cubicBezTo>
                    <a:pt x="2851" y="1223"/>
                    <a:pt x="2843" y="1223"/>
                    <a:pt x="2836" y="1216"/>
                  </a:cubicBezTo>
                  <a:cubicBezTo>
                    <a:pt x="2836" y="1216"/>
                    <a:pt x="2836" y="1209"/>
                    <a:pt x="2836" y="1201"/>
                  </a:cubicBezTo>
                  <a:cubicBezTo>
                    <a:pt x="2843" y="1179"/>
                    <a:pt x="2836" y="1157"/>
                    <a:pt x="2821" y="1135"/>
                  </a:cubicBezTo>
                  <a:cubicBezTo>
                    <a:pt x="2807" y="1121"/>
                    <a:pt x="2777" y="1106"/>
                    <a:pt x="2755" y="1106"/>
                  </a:cubicBezTo>
                  <a:cubicBezTo>
                    <a:pt x="2733" y="1106"/>
                    <a:pt x="2719" y="1114"/>
                    <a:pt x="2704" y="1121"/>
                  </a:cubicBezTo>
                  <a:cubicBezTo>
                    <a:pt x="2682" y="1128"/>
                    <a:pt x="2675" y="1128"/>
                    <a:pt x="2660" y="1128"/>
                  </a:cubicBezTo>
                  <a:cubicBezTo>
                    <a:pt x="2645" y="1128"/>
                    <a:pt x="2638" y="1128"/>
                    <a:pt x="2616" y="1121"/>
                  </a:cubicBezTo>
                  <a:cubicBezTo>
                    <a:pt x="2609" y="1114"/>
                    <a:pt x="2601" y="1114"/>
                    <a:pt x="2587" y="1106"/>
                  </a:cubicBezTo>
                  <a:cubicBezTo>
                    <a:pt x="2572" y="1106"/>
                    <a:pt x="2558" y="1106"/>
                    <a:pt x="2543" y="1106"/>
                  </a:cubicBezTo>
                  <a:cubicBezTo>
                    <a:pt x="2513" y="1106"/>
                    <a:pt x="2492" y="1114"/>
                    <a:pt x="2455" y="1121"/>
                  </a:cubicBezTo>
                  <a:cubicBezTo>
                    <a:pt x="2440" y="1128"/>
                    <a:pt x="2426" y="1135"/>
                    <a:pt x="2396" y="1143"/>
                  </a:cubicBezTo>
                  <a:cubicBezTo>
                    <a:pt x="2389" y="1143"/>
                    <a:pt x="2389" y="1143"/>
                    <a:pt x="2382" y="1143"/>
                  </a:cubicBezTo>
                  <a:cubicBezTo>
                    <a:pt x="2360" y="1143"/>
                    <a:pt x="2352" y="1128"/>
                    <a:pt x="2330" y="1099"/>
                  </a:cubicBezTo>
                  <a:cubicBezTo>
                    <a:pt x="2323" y="1077"/>
                    <a:pt x="2316" y="1062"/>
                    <a:pt x="2301" y="1047"/>
                  </a:cubicBezTo>
                  <a:cubicBezTo>
                    <a:pt x="2279" y="1026"/>
                    <a:pt x="2162" y="916"/>
                    <a:pt x="2089" y="901"/>
                  </a:cubicBezTo>
                  <a:cubicBezTo>
                    <a:pt x="2067" y="901"/>
                    <a:pt x="2044" y="901"/>
                    <a:pt x="2030" y="901"/>
                  </a:cubicBezTo>
                  <a:cubicBezTo>
                    <a:pt x="2001" y="901"/>
                    <a:pt x="1986" y="901"/>
                    <a:pt x="1971" y="894"/>
                  </a:cubicBezTo>
                  <a:cubicBezTo>
                    <a:pt x="1964" y="886"/>
                    <a:pt x="1957" y="879"/>
                    <a:pt x="1949" y="872"/>
                  </a:cubicBezTo>
                  <a:cubicBezTo>
                    <a:pt x="1942" y="850"/>
                    <a:pt x="1920" y="828"/>
                    <a:pt x="1883" y="820"/>
                  </a:cubicBezTo>
                  <a:cubicBezTo>
                    <a:pt x="1876" y="820"/>
                    <a:pt x="1869" y="820"/>
                    <a:pt x="1861" y="820"/>
                  </a:cubicBezTo>
                  <a:cubicBezTo>
                    <a:pt x="1810" y="820"/>
                    <a:pt x="1751" y="850"/>
                    <a:pt x="1737" y="864"/>
                  </a:cubicBezTo>
                  <a:cubicBezTo>
                    <a:pt x="1722" y="879"/>
                    <a:pt x="1708" y="886"/>
                    <a:pt x="1693" y="886"/>
                  </a:cubicBezTo>
                  <a:cubicBezTo>
                    <a:pt x="1693" y="886"/>
                    <a:pt x="1678" y="886"/>
                    <a:pt x="1663" y="872"/>
                  </a:cubicBezTo>
                  <a:cubicBezTo>
                    <a:pt x="1656" y="864"/>
                    <a:pt x="1649" y="857"/>
                    <a:pt x="1642" y="850"/>
                  </a:cubicBezTo>
                  <a:cubicBezTo>
                    <a:pt x="1627" y="828"/>
                    <a:pt x="1612" y="813"/>
                    <a:pt x="1598" y="813"/>
                  </a:cubicBezTo>
                  <a:cubicBezTo>
                    <a:pt x="1561" y="813"/>
                    <a:pt x="1554" y="850"/>
                    <a:pt x="1554" y="872"/>
                  </a:cubicBezTo>
                  <a:cubicBezTo>
                    <a:pt x="1546" y="901"/>
                    <a:pt x="1510" y="901"/>
                    <a:pt x="1510" y="901"/>
                  </a:cubicBezTo>
                  <a:cubicBezTo>
                    <a:pt x="1480" y="908"/>
                    <a:pt x="1480" y="908"/>
                    <a:pt x="1480" y="908"/>
                  </a:cubicBezTo>
                  <a:cubicBezTo>
                    <a:pt x="1488" y="938"/>
                    <a:pt x="1488" y="938"/>
                    <a:pt x="1488" y="938"/>
                  </a:cubicBezTo>
                  <a:cubicBezTo>
                    <a:pt x="1488" y="974"/>
                    <a:pt x="1480" y="1026"/>
                    <a:pt x="1458" y="1033"/>
                  </a:cubicBezTo>
                  <a:cubicBezTo>
                    <a:pt x="1414" y="1040"/>
                    <a:pt x="1392" y="1047"/>
                    <a:pt x="1385" y="1084"/>
                  </a:cubicBezTo>
                  <a:cubicBezTo>
                    <a:pt x="1385" y="1092"/>
                    <a:pt x="1385" y="1092"/>
                    <a:pt x="1385" y="1092"/>
                  </a:cubicBezTo>
                  <a:cubicBezTo>
                    <a:pt x="1378" y="1106"/>
                    <a:pt x="1378" y="1114"/>
                    <a:pt x="1370" y="1114"/>
                  </a:cubicBezTo>
                  <a:cubicBezTo>
                    <a:pt x="1370" y="1114"/>
                    <a:pt x="1370" y="1114"/>
                    <a:pt x="1363" y="1106"/>
                  </a:cubicBezTo>
                  <a:cubicBezTo>
                    <a:pt x="1349" y="1099"/>
                    <a:pt x="1334" y="1092"/>
                    <a:pt x="1319" y="1092"/>
                  </a:cubicBezTo>
                  <a:cubicBezTo>
                    <a:pt x="1290" y="1092"/>
                    <a:pt x="1268" y="1114"/>
                    <a:pt x="1239" y="1135"/>
                  </a:cubicBezTo>
                  <a:cubicBezTo>
                    <a:pt x="1231" y="1143"/>
                    <a:pt x="1224" y="1150"/>
                    <a:pt x="1217" y="1157"/>
                  </a:cubicBezTo>
                  <a:cubicBezTo>
                    <a:pt x="1202" y="1172"/>
                    <a:pt x="1187" y="1179"/>
                    <a:pt x="1173" y="1187"/>
                  </a:cubicBezTo>
                  <a:cubicBezTo>
                    <a:pt x="1151" y="1209"/>
                    <a:pt x="1129" y="1223"/>
                    <a:pt x="1114" y="1253"/>
                  </a:cubicBezTo>
                  <a:cubicBezTo>
                    <a:pt x="1107" y="1260"/>
                    <a:pt x="1092" y="1267"/>
                    <a:pt x="1070" y="1275"/>
                  </a:cubicBezTo>
                  <a:cubicBezTo>
                    <a:pt x="1055" y="1282"/>
                    <a:pt x="1033" y="1289"/>
                    <a:pt x="1011" y="1297"/>
                  </a:cubicBezTo>
                  <a:cubicBezTo>
                    <a:pt x="1011" y="1297"/>
                    <a:pt x="1011" y="1304"/>
                    <a:pt x="1004" y="1304"/>
                  </a:cubicBezTo>
                  <a:cubicBezTo>
                    <a:pt x="982" y="1304"/>
                    <a:pt x="945" y="1282"/>
                    <a:pt x="916" y="1267"/>
                  </a:cubicBezTo>
                  <a:cubicBezTo>
                    <a:pt x="901" y="1253"/>
                    <a:pt x="880" y="1245"/>
                    <a:pt x="865" y="1238"/>
                  </a:cubicBezTo>
                  <a:cubicBezTo>
                    <a:pt x="850" y="1231"/>
                    <a:pt x="836" y="1231"/>
                    <a:pt x="821" y="1231"/>
                  </a:cubicBezTo>
                  <a:cubicBezTo>
                    <a:pt x="784" y="1231"/>
                    <a:pt x="755" y="1253"/>
                    <a:pt x="733" y="1275"/>
                  </a:cubicBezTo>
                  <a:cubicBezTo>
                    <a:pt x="718" y="1282"/>
                    <a:pt x="711" y="1297"/>
                    <a:pt x="696" y="1297"/>
                  </a:cubicBezTo>
                  <a:cubicBezTo>
                    <a:pt x="652" y="1326"/>
                    <a:pt x="616" y="1355"/>
                    <a:pt x="572" y="1421"/>
                  </a:cubicBezTo>
                  <a:cubicBezTo>
                    <a:pt x="535" y="1465"/>
                    <a:pt x="550" y="1502"/>
                    <a:pt x="564" y="1531"/>
                  </a:cubicBezTo>
                  <a:cubicBezTo>
                    <a:pt x="572" y="1546"/>
                    <a:pt x="579" y="1560"/>
                    <a:pt x="572" y="1575"/>
                  </a:cubicBezTo>
                  <a:cubicBezTo>
                    <a:pt x="572" y="1590"/>
                    <a:pt x="572" y="1590"/>
                    <a:pt x="572" y="1590"/>
                  </a:cubicBezTo>
                  <a:cubicBezTo>
                    <a:pt x="564" y="1626"/>
                    <a:pt x="564" y="1641"/>
                    <a:pt x="557" y="1656"/>
                  </a:cubicBezTo>
                  <a:cubicBezTo>
                    <a:pt x="550" y="1656"/>
                    <a:pt x="542" y="1648"/>
                    <a:pt x="528" y="1641"/>
                  </a:cubicBezTo>
                  <a:cubicBezTo>
                    <a:pt x="499" y="1626"/>
                    <a:pt x="462" y="1604"/>
                    <a:pt x="418" y="1604"/>
                  </a:cubicBezTo>
                  <a:cubicBezTo>
                    <a:pt x="411" y="1597"/>
                    <a:pt x="396" y="1597"/>
                    <a:pt x="381" y="1597"/>
                  </a:cubicBezTo>
                  <a:cubicBezTo>
                    <a:pt x="301" y="1597"/>
                    <a:pt x="279" y="1634"/>
                    <a:pt x="271" y="1670"/>
                  </a:cubicBezTo>
                  <a:cubicBezTo>
                    <a:pt x="264" y="1685"/>
                    <a:pt x="264" y="1685"/>
                    <a:pt x="242" y="1685"/>
                  </a:cubicBezTo>
                  <a:cubicBezTo>
                    <a:pt x="81" y="1685"/>
                    <a:pt x="81" y="1685"/>
                    <a:pt x="81" y="1685"/>
                  </a:cubicBezTo>
                  <a:cubicBezTo>
                    <a:pt x="73" y="1685"/>
                    <a:pt x="73" y="1685"/>
                    <a:pt x="73" y="1685"/>
                  </a:cubicBezTo>
                  <a:cubicBezTo>
                    <a:pt x="66" y="1685"/>
                    <a:pt x="66" y="1685"/>
                    <a:pt x="66" y="1685"/>
                  </a:cubicBezTo>
                  <a:cubicBezTo>
                    <a:pt x="59" y="1685"/>
                    <a:pt x="59" y="1685"/>
                    <a:pt x="59" y="1685"/>
                  </a:cubicBezTo>
                  <a:cubicBezTo>
                    <a:pt x="0" y="1692"/>
                    <a:pt x="0" y="1692"/>
                    <a:pt x="0" y="1692"/>
                  </a:cubicBezTo>
                  <a:cubicBezTo>
                    <a:pt x="22" y="1722"/>
                    <a:pt x="22" y="1722"/>
                    <a:pt x="22" y="1722"/>
                  </a:cubicBezTo>
                  <a:cubicBezTo>
                    <a:pt x="15" y="1736"/>
                    <a:pt x="15" y="1773"/>
                    <a:pt x="103" y="1883"/>
                  </a:cubicBezTo>
                  <a:cubicBezTo>
                    <a:pt x="139" y="1919"/>
                    <a:pt x="169" y="1934"/>
                    <a:pt x="213" y="1934"/>
                  </a:cubicBezTo>
                  <a:cubicBezTo>
                    <a:pt x="227" y="1934"/>
                    <a:pt x="249" y="1934"/>
                    <a:pt x="271" y="1927"/>
                  </a:cubicBezTo>
                  <a:cubicBezTo>
                    <a:pt x="279" y="1919"/>
                    <a:pt x="286" y="1912"/>
                    <a:pt x="293" y="1912"/>
                  </a:cubicBezTo>
                  <a:cubicBezTo>
                    <a:pt x="323" y="1897"/>
                    <a:pt x="352" y="1883"/>
                    <a:pt x="381" y="1883"/>
                  </a:cubicBezTo>
                  <a:cubicBezTo>
                    <a:pt x="396" y="1883"/>
                    <a:pt x="403" y="1883"/>
                    <a:pt x="418" y="1890"/>
                  </a:cubicBezTo>
                  <a:cubicBezTo>
                    <a:pt x="440" y="1897"/>
                    <a:pt x="469" y="1912"/>
                    <a:pt x="491" y="1927"/>
                  </a:cubicBezTo>
                  <a:cubicBezTo>
                    <a:pt x="520" y="1949"/>
                    <a:pt x="550" y="1971"/>
                    <a:pt x="594" y="1978"/>
                  </a:cubicBezTo>
                  <a:cubicBezTo>
                    <a:pt x="608" y="1978"/>
                    <a:pt x="616" y="1978"/>
                    <a:pt x="630" y="1978"/>
                  </a:cubicBezTo>
                  <a:cubicBezTo>
                    <a:pt x="652" y="1978"/>
                    <a:pt x="667" y="1978"/>
                    <a:pt x="682" y="1971"/>
                  </a:cubicBezTo>
                  <a:cubicBezTo>
                    <a:pt x="696" y="1971"/>
                    <a:pt x="711" y="1971"/>
                    <a:pt x="726" y="1971"/>
                  </a:cubicBezTo>
                  <a:cubicBezTo>
                    <a:pt x="740" y="1971"/>
                    <a:pt x="740" y="1971"/>
                    <a:pt x="740" y="1971"/>
                  </a:cubicBezTo>
                  <a:lnTo>
                    <a:pt x="740" y="1971"/>
                  </a:lnTo>
                  <a:cubicBezTo>
                    <a:pt x="755" y="1971"/>
                    <a:pt x="762" y="1971"/>
                    <a:pt x="770" y="1971"/>
                  </a:cubicBezTo>
                  <a:cubicBezTo>
                    <a:pt x="762" y="1971"/>
                    <a:pt x="762" y="1971"/>
                    <a:pt x="762" y="1978"/>
                  </a:cubicBezTo>
                  <a:cubicBezTo>
                    <a:pt x="755" y="1993"/>
                    <a:pt x="740" y="2022"/>
                    <a:pt x="755" y="2051"/>
                  </a:cubicBezTo>
                  <a:cubicBezTo>
                    <a:pt x="770" y="2066"/>
                    <a:pt x="784" y="2081"/>
                    <a:pt x="813" y="2088"/>
                  </a:cubicBezTo>
                  <a:lnTo>
                    <a:pt x="813" y="2088"/>
                  </a:lnTo>
                  <a:cubicBezTo>
                    <a:pt x="828" y="2088"/>
                    <a:pt x="836" y="2088"/>
                    <a:pt x="843" y="2095"/>
                  </a:cubicBezTo>
                  <a:cubicBezTo>
                    <a:pt x="843" y="2095"/>
                    <a:pt x="843" y="2103"/>
                    <a:pt x="850" y="2125"/>
                  </a:cubicBezTo>
                  <a:cubicBezTo>
                    <a:pt x="858" y="2169"/>
                    <a:pt x="887" y="2176"/>
                    <a:pt x="901" y="2176"/>
                  </a:cubicBezTo>
                  <a:cubicBezTo>
                    <a:pt x="923" y="2176"/>
                    <a:pt x="945" y="2161"/>
                    <a:pt x="968" y="2147"/>
                  </a:cubicBezTo>
                  <a:cubicBezTo>
                    <a:pt x="975" y="2139"/>
                    <a:pt x="975" y="2139"/>
                    <a:pt x="975" y="2139"/>
                  </a:cubicBezTo>
                  <a:cubicBezTo>
                    <a:pt x="989" y="2132"/>
                    <a:pt x="997" y="2132"/>
                    <a:pt x="1004" y="2132"/>
                  </a:cubicBezTo>
                  <a:cubicBezTo>
                    <a:pt x="1011" y="2132"/>
                    <a:pt x="1026" y="2154"/>
                    <a:pt x="1033" y="2161"/>
                  </a:cubicBezTo>
                  <a:cubicBezTo>
                    <a:pt x="1048" y="2191"/>
                    <a:pt x="1070" y="2257"/>
                    <a:pt x="1114" y="2257"/>
                  </a:cubicBezTo>
                  <a:cubicBezTo>
                    <a:pt x="1129" y="2257"/>
                    <a:pt x="1136" y="2249"/>
                    <a:pt x="1151" y="2242"/>
                  </a:cubicBezTo>
                  <a:cubicBezTo>
                    <a:pt x="1158" y="2242"/>
                    <a:pt x="1165" y="2235"/>
                    <a:pt x="1165" y="2235"/>
                  </a:cubicBezTo>
                  <a:cubicBezTo>
                    <a:pt x="1173" y="2235"/>
                    <a:pt x="1180" y="2242"/>
                    <a:pt x="1180" y="2242"/>
                  </a:cubicBezTo>
                  <a:cubicBezTo>
                    <a:pt x="1165" y="2278"/>
                    <a:pt x="1143" y="2323"/>
                    <a:pt x="1165" y="2359"/>
                  </a:cubicBezTo>
                  <a:cubicBezTo>
                    <a:pt x="1180" y="2388"/>
                    <a:pt x="1217" y="2396"/>
                    <a:pt x="1261" y="2418"/>
                  </a:cubicBezTo>
                  <a:cubicBezTo>
                    <a:pt x="1290" y="2425"/>
                    <a:pt x="1312" y="2440"/>
                    <a:pt x="1341" y="2447"/>
                  </a:cubicBezTo>
                  <a:cubicBezTo>
                    <a:pt x="1385" y="2469"/>
                    <a:pt x="1444" y="2476"/>
                    <a:pt x="1480" y="2476"/>
                  </a:cubicBezTo>
                  <a:cubicBezTo>
                    <a:pt x="1517" y="2476"/>
                    <a:pt x="1554" y="2476"/>
                    <a:pt x="1568" y="2469"/>
                  </a:cubicBezTo>
                  <a:cubicBezTo>
                    <a:pt x="1568" y="2469"/>
                    <a:pt x="1568" y="2469"/>
                    <a:pt x="1576" y="2469"/>
                  </a:cubicBezTo>
                  <a:cubicBezTo>
                    <a:pt x="1598" y="2469"/>
                    <a:pt x="1642" y="2476"/>
                    <a:pt x="1671" y="2484"/>
                  </a:cubicBezTo>
                  <a:cubicBezTo>
                    <a:pt x="1685" y="2484"/>
                    <a:pt x="1693" y="2484"/>
                    <a:pt x="1708" y="2484"/>
                  </a:cubicBezTo>
                  <a:cubicBezTo>
                    <a:pt x="1708" y="2484"/>
                    <a:pt x="1715" y="2491"/>
                    <a:pt x="1722" y="2491"/>
                  </a:cubicBezTo>
                  <a:cubicBezTo>
                    <a:pt x="1737" y="2491"/>
                    <a:pt x="1751" y="2484"/>
                    <a:pt x="1759" y="2476"/>
                  </a:cubicBezTo>
                  <a:cubicBezTo>
                    <a:pt x="1759" y="2484"/>
                    <a:pt x="1759" y="2484"/>
                    <a:pt x="1759" y="2491"/>
                  </a:cubicBezTo>
                  <a:cubicBezTo>
                    <a:pt x="1766" y="2513"/>
                    <a:pt x="1773" y="2557"/>
                    <a:pt x="1818" y="2557"/>
                  </a:cubicBezTo>
                  <a:cubicBezTo>
                    <a:pt x="1825" y="2557"/>
                    <a:pt x="1832" y="2557"/>
                    <a:pt x="1839" y="2550"/>
                  </a:cubicBezTo>
                  <a:cubicBezTo>
                    <a:pt x="1869" y="2542"/>
                    <a:pt x="1883" y="2520"/>
                    <a:pt x="1891" y="2506"/>
                  </a:cubicBezTo>
                  <a:cubicBezTo>
                    <a:pt x="1898" y="2498"/>
                    <a:pt x="1898" y="2498"/>
                    <a:pt x="1898" y="2498"/>
                  </a:cubicBezTo>
                  <a:cubicBezTo>
                    <a:pt x="1927" y="2506"/>
                    <a:pt x="1986" y="2579"/>
                    <a:pt x="2008" y="2623"/>
                  </a:cubicBezTo>
                  <a:cubicBezTo>
                    <a:pt x="2030" y="2674"/>
                    <a:pt x="2023" y="2696"/>
                    <a:pt x="2008" y="2704"/>
                  </a:cubicBezTo>
                  <a:cubicBezTo>
                    <a:pt x="1942" y="2740"/>
                    <a:pt x="1920" y="2784"/>
                    <a:pt x="1927" y="2828"/>
                  </a:cubicBezTo>
                  <a:cubicBezTo>
                    <a:pt x="1927" y="2843"/>
                    <a:pt x="1935" y="2850"/>
                    <a:pt x="1935" y="2857"/>
                  </a:cubicBezTo>
                  <a:cubicBezTo>
                    <a:pt x="1949" y="2879"/>
                    <a:pt x="1949" y="2887"/>
                    <a:pt x="1942" y="2909"/>
                  </a:cubicBezTo>
                  <a:cubicBezTo>
                    <a:pt x="1913" y="2953"/>
                    <a:pt x="1935" y="2997"/>
                    <a:pt x="1964" y="3048"/>
                  </a:cubicBezTo>
                  <a:cubicBezTo>
                    <a:pt x="1971" y="3063"/>
                    <a:pt x="1979" y="3077"/>
                    <a:pt x="1986" y="3099"/>
                  </a:cubicBezTo>
                  <a:cubicBezTo>
                    <a:pt x="2023" y="3165"/>
                    <a:pt x="2008" y="3224"/>
                    <a:pt x="1993" y="3246"/>
                  </a:cubicBezTo>
                  <a:cubicBezTo>
                    <a:pt x="1986" y="3253"/>
                    <a:pt x="1971" y="3260"/>
                    <a:pt x="1957" y="3268"/>
                  </a:cubicBezTo>
                  <a:cubicBezTo>
                    <a:pt x="1942" y="3275"/>
                    <a:pt x="1920" y="3290"/>
                    <a:pt x="1905" y="3304"/>
                  </a:cubicBezTo>
                  <a:cubicBezTo>
                    <a:pt x="1891" y="3326"/>
                    <a:pt x="1891" y="3356"/>
                    <a:pt x="1891" y="3392"/>
                  </a:cubicBezTo>
                  <a:cubicBezTo>
                    <a:pt x="1891" y="3422"/>
                    <a:pt x="1891" y="3451"/>
                    <a:pt x="1883" y="3473"/>
                  </a:cubicBezTo>
                  <a:cubicBezTo>
                    <a:pt x="1869" y="3524"/>
                    <a:pt x="1861" y="3561"/>
                    <a:pt x="1861" y="3561"/>
                  </a:cubicBezTo>
                  <a:cubicBezTo>
                    <a:pt x="1854" y="3597"/>
                    <a:pt x="1854" y="3597"/>
                    <a:pt x="1854" y="3597"/>
                  </a:cubicBezTo>
                  <a:cubicBezTo>
                    <a:pt x="1883" y="3597"/>
                    <a:pt x="1883" y="3597"/>
                    <a:pt x="1883" y="3597"/>
                  </a:cubicBezTo>
                  <a:cubicBezTo>
                    <a:pt x="1898" y="3605"/>
                    <a:pt x="1905" y="3605"/>
                    <a:pt x="1920" y="3605"/>
                  </a:cubicBezTo>
                  <a:cubicBezTo>
                    <a:pt x="1905" y="3619"/>
                    <a:pt x="1891" y="3642"/>
                    <a:pt x="1898" y="3685"/>
                  </a:cubicBezTo>
                  <a:cubicBezTo>
                    <a:pt x="1905" y="3722"/>
                    <a:pt x="1927" y="3729"/>
                    <a:pt x="1949" y="3729"/>
                  </a:cubicBezTo>
                  <a:cubicBezTo>
                    <a:pt x="1971" y="3729"/>
                    <a:pt x="1993" y="3729"/>
                    <a:pt x="2052" y="3671"/>
                  </a:cubicBezTo>
                  <a:cubicBezTo>
                    <a:pt x="2067" y="3656"/>
                    <a:pt x="2074" y="3649"/>
                    <a:pt x="2074" y="3649"/>
                  </a:cubicBezTo>
                  <a:lnTo>
                    <a:pt x="2074" y="3649"/>
                  </a:lnTo>
                  <a:cubicBezTo>
                    <a:pt x="2081" y="3656"/>
                    <a:pt x="2081" y="3664"/>
                    <a:pt x="2081" y="3671"/>
                  </a:cubicBezTo>
                  <a:cubicBezTo>
                    <a:pt x="2089" y="3700"/>
                    <a:pt x="2096" y="3744"/>
                    <a:pt x="2125" y="3766"/>
                  </a:cubicBezTo>
                  <a:cubicBezTo>
                    <a:pt x="2140" y="3773"/>
                    <a:pt x="2162" y="3781"/>
                    <a:pt x="2176" y="3781"/>
                  </a:cubicBezTo>
                  <a:cubicBezTo>
                    <a:pt x="2184" y="3781"/>
                    <a:pt x="2199" y="3781"/>
                    <a:pt x="2206" y="3773"/>
                  </a:cubicBezTo>
                  <a:cubicBezTo>
                    <a:pt x="2213" y="3773"/>
                    <a:pt x="2213" y="3773"/>
                    <a:pt x="2220" y="3773"/>
                  </a:cubicBezTo>
                  <a:cubicBezTo>
                    <a:pt x="2228" y="3773"/>
                    <a:pt x="2228" y="3773"/>
                    <a:pt x="2235" y="3781"/>
                  </a:cubicBezTo>
                  <a:cubicBezTo>
                    <a:pt x="2250" y="3795"/>
                    <a:pt x="2213" y="3832"/>
                    <a:pt x="2191" y="3861"/>
                  </a:cubicBezTo>
                  <a:cubicBezTo>
                    <a:pt x="2191" y="3869"/>
                    <a:pt x="2191" y="3869"/>
                    <a:pt x="2191" y="3869"/>
                  </a:cubicBezTo>
                  <a:cubicBezTo>
                    <a:pt x="2140" y="3927"/>
                    <a:pt x="2162" y="4125"/>
                    <a:pt x="2162" y="4125"/>
                  </a:cubicBezTo>
                  <a:cubicBezTo>
                    <a:pt x="2169" y="4147"/>
                    <a:pt x="2176" y="4169"/>
                    <a:pt x="2184" y="4184"/>
                  </a:cubicBezTo>
                  <a:cubicBezTo>
                    <a:pt x="2191" y="4206"/>
                    <a:pt x="2191" y="4228"/>
                    <a:pt x="2191" y="4242"/>
                  </a:cubicBezTo>
                  <a:cubicBezTo>
                    <a:pt x="2191" y="4257"/>
                    <a:pt x="2176" y="4264"/>
                    <a:pt x="2169" y="4279"/>
                  </a:cubicBezTo>
                  <a:cubicBezTo>
                    <a:pt x="2147" y="4308"/>
                    <a:pt x="2118" y="4338"/>
                    <a:pt x="2103" y="4396"/>
                  </a:cubicBezTo>
                  <a:cubicBezTo>
                    <a:pt x="2103" y="4404"/>
                    <a:pt x="2103" y="4404"/>
                    <a:pt x="2103" y="4404"/>
                  </a:cubicBezTo>
                  <a:cubicBezTo>
                    <a:pt x="2089" y="4492"/>
                    <a:pt x="2081" y="4535"/>
                    <a:pt x="2125" y="4579"/>
                  </a:cubicBezTo>
                  <a:cubicBezTo>
                    <a:pt x="2132" y="4587"/>
                    <a:pt x="2147" y="4602"/>
                    <a:pt x="2154" y="4609"/>
                  </a:cubicBezTo>
                  <a:cubicBezTo>
                    <a:pt x="2162" y="4609"/>
                    <a:pt x="2169" y="4616"/>
                    <a:pt x="2176" y="4623"/>
                  </a:cubicBezTo>
                  <a:cubicBezTo>
                    <a:pt x="2169" y="4623"/>
                    <a:pt x="2169" y="4623"/>
                    <a:pt x="2162" y="4623"/>
                  </a:cubicBezTo>
                  <a:cubicBezTo>
                    <a:pt x="2147" y="4631"/>
                    <a:pt x="2125" y="4638"/>
                    <a:pt x="2096" y="4675"/>
                  </a:cubicBezTo>
                  <a:cubicBezTo>
                    <a:pt x="2044" y="4733"/>
                    <a:pt x="2044" y="4792"/>
                    <a:pt x="2067" y="4851"/>
                  </a:cubicBezTo>
                  <a:cubicBezTo>
                    <a:pt x="2081" y="4902"/>
                    <a:pt x="2118" y="4946"/>
                    <a:pt x="2147" y="4983"/>
                  </a:cubicBezTo>
                  <a:cubicBezTo>
                    <a:pt x="2154" y="4990"/>
                    <a:pt x="2162" y="4997"/>
                    <a:pt x="2169" y="5012"/>
                  </a:cubicBezTo>
                  <a:cubicBezTo>
                    <a:pt x="2184" y="5026"/>
                    <a:pt x="2199" y="5034"/>
                    <a:pt x="2220" y="5048"/>
                  </a:cubicBezTo>
                  <a:cubicBezTo>
                    <a:pt x="2242" y="5063"/>
                    <a:pt x="2264" y="5078"/>
                    <a:pt x="2279" y="5114"/>
                  </a:cubicBezTo>
                  <a:cubicBezTo>
                    <a:pt x="2301" y="5180"/>
                    <a:pt x="2338" y="5195"/>
                    <a:pt x="2352" y="5202"/>
                  </a:cubicBezTo>
                  <a:cubicBezTo>
                    <a:pt x="2374" y="5217"/>
                    <a:pt x="2499" y="5297"/>
                    <a:pt x="2528" y="5312"/>
                  </a:cubicBezTo>
                  <a:cubicBezTo>
                    <a:pt x="2535" y="5319"/>
                    <a:pt x="2543" y="5319"/>
                    <a:pt x="2550" y="5319"/>
                  </a:cubicBezTo>
                  <a:cubicBezTo>
                    <a:pt x="2587" y="5319"/>
                    <a:pt x="2609" y="5283"/>
                    <a:pt x="2609" y="5254"/>
                  </a:cubicBezTo>
                  <a:cubicBezTo>
                    <a:pt x="2616" y="5254"/>
                    <a:pt x="2616" y="5254"/>
                    <a:pt x="2616" y="5254"/>
                  </a:cubicBezTo>
                  <a:cubicBezTo>
                    <a:pt x="2623" y="5254"/>
                    <a:pt x="2623" y="5261"/>
                    <a:pt x="2623" y="5261"/>
                  </a:cubicBezTo>
                  <a:cubicBezTo>
                    <a:pt x="2638" y="5283"/>
                    <a:pt x="2653" y="5297"/>
                    <a:pt x="2675" y="5319"/>
                  </a:cubicBezTo>
                  <a:cubicBezTo>
                    <a:pt x="2689" y="5342"/>
                    <a:pt x="2711" y="5364"/>
                    <a:pt x="2733" y="5393"/>
                  </a:cubicBezTo>
                  <a:cubicBezTo>
                    <a:pt x="2755" y="5422"/>
                    <a:pt x="2777" y="5437"/>
                    <a:pt x="2807" y="5437"/>
                  </a:cubicBezTo>
                  <a:cubicBezTo>
                    <a:pt x="2836" y="5437"/>
                    <a:pt x="2865" y="5422"/>
                    <a:pt x="2902" y="5400"/>
                  </a:cubicBezTo>
                  <a:cubicBezTo>
                    <a:pt x="2909" y="5400"/>
                    <a:pt x="2917" y="5393"/>
                    <a:pt x="2924" y="5393"/>
                  </a:cubicBezTo>
                  <a:cubicBezTo>
                    <a:pt x="2953" y="5378"/>
                    <a:pt x="2982" y="5356"/>
                    <a:pt x="3004" y="5342"/>
                  </a:cubicBezTo>
                  <a:cubicBezTo>
                    <a:pt x="3026" y="5327"/>
                    <a:pt x="3049" y="5312"/>
                    <a:pt x="3070" y="5305"/>
                  </a:cubicBezTo>
                  <a:cubicBezTo>
                    <a:pt x="3070" y="5312"/>
                    <a:pt x="3078" y="5334"/>
                    <a:pt x="3092" y="5349"/>
                  </a:cubicBezTo>
                  <a:cubicBezTo>
                    <a:pt x="3100" y="5364"/>
                    <a:pt x="3122" y="5378"/>
                    <a:pt x="3144" y="5378"/>
                  </a:cubicBezTo>
                  <a:cubicBezTo>
                    <a:pt x="3144" y="5378"/>
                    <a:pt x="3151" y="5371"/>
                    <a:pt x="3158" y="5371"/>
                  </a:cubicBezTo>
                  <a:cubicBezTo>
                    <a:pt x="3166" y="5371"/>
                    <a:pt x="3166" y="5371"/>
                    <a:pt x="3173" y="5371"/>
                  </a:cubicBezTo>
                  <a:lnTo>
                    <a:pt x="3173" y="5371"/>
                  </a:lnTo>
                  <a:lnTo>
                    <a:pt x="3173" y="5371"/>
                  </a:lnTo>
                  <a:cubicBezTo>
                    <a:pt x="3202" y="5407"/>
                    <a:pt x="3254" y="5444"/>
                    <a:pt x="3305" y="5444"/>
                  </a:cubicBezTo>
                  <a:cubicBezTo>
                    <a:pt x="3312" y="5444"/>
                    <a:pt x="3320" y="5444"/>
                    <a:pt x="3320" y="5444"/>
                  </a:cubicBezTo>
                  <a:cubicBezTo>
                    <a:pt x="3327" y="5444"/>
                    <a:pt x="3327" y="5444"/>
                    <a:pt x="3327" y="5444"/>
                  </a:cubicBezTo>
                  <a:cubicBezTo>
                    <a:pt x="3342" y="5444"/>
                    <a:pt x="3349" y="5437"/>
                    <a:pt x="3356" y="5437"/>
                  </a:cubicBezTo>
                  <a:cubicBezTo>
                    <a:pt x="3356" y="5437"/>
                    <a:pt x="3371" y="5437"/>
                    <a:pt x="3385" y="5481"/>
                  </a:cubicBezTo>
                  <a:cubicBezTo>
                    <a:pt x="3400" y="5539"/>
                    <a:pt x="3444" y="5554"/>
                    <a:pt x="3466" y="5554"/>
                  </a:cubicBezTo>
                  <a:cubicBezTo>
                    <a:pt x="3510" y="5554"/>
                    <a:pt x="3554" y="5517"/>
                    <a:pt x="3576" y="5510"/>
                  </a:cubicBezTo>
                  <a:cubicBezTo>
                    <a:pt x="3576" y="5503"/>
                    <a:pt x="3576" y="5503"/>
                    <a:pt x="3583" y="5503"/>
                  </a:cubicBezTo>
                  <a:cubicBezTo>
                    <a:pt x="3583" y="5503"/>
                    <a:pt x="3591" y="5517"/>
                    <a:pt x="3591" y="5539"/>
                  </a:cubicBezTo>
                  <a:cubicBezTo>
                    <a:pt x="3605" y="5605"/>
                    <a:pt x="3642" y="5613"/>
                    <a:pt x="3701" y="5613"/>
                  </a:cubicBezTo>
                  <a:cubicBezTo>
                    <a:pt x="3715" y="5613"/>
                    <a:pt x="3723" y="5613"/>
                    <a:pt x="3730" y="5620"/>
                  </a:cubicBezTo>
                  <a:cubicBezTo>
                    <a:pt x="3723" y="5635"/>
                    <a:pt x="3715" y="5649"/>
                    <a:pt x="3723" y="5664"/>
                  </a:cubicBezTo>
                  <a:cubicBezTo>
                    <a:pt x="3737" y="5701"/>
                    <a:pt x="3781" y="5723"/>
                    <a:pt x="3840" y="5723"/>
                  </a:cubicBezTo>
                  <a:cubicBezTo>
                    <a:pt x="3869" y="5723"/>
                    <a:pt x="3891" y="5715"/>
                    <a:pt x="3920" y="5708"/>
                  </a:cubicBezTo>
                  <a:cubicBezTo>
                    <a:pt x="3935" y="5701"/>
                    <a:pt x="3942" y="5701"/>
                    <a:pt x="3950" y="5701"/>
                  </a:cubicBezTo>
                  <a:cubicBezTo>
                    <a:pt x="3964" y="5701"/>
                    <a:pt x="3964" y="5708"/>
                    <a:pt x="3964" y="5708"/>
                  </a:cubicBezTo>
                  <a:cubicBezTo>
                    <a:pt x="3972" y="5715"/>
                    <a:pt x="3979" y="5730"/>
                    <a:pt x="3964" y="5788"/>
                  </a:cubicBezTo>
                  <a:cubicBezTo>
                    <a:pt x="3957" y="5847"/>
                    <a:pt x="4001" y="5884"/>
                    <a:pt x="4038" y="5906"/>
                  </a:cubicBezTo>
                  <a:cubicBezTo>
                    <a:pt x="4045" y="5913"/>
                    <a:pt x="4045" y="5913"/>
                    <a:pt x="4045" y="5913"/>
                  </a:cubicBezTo>
                  <a:cubicBezTo>
                    <a:pt x="4074" y="5935"/>
                    <a:pt x="4045" y="5986"/>
                    <a:pt x="4038" y="6008"/>
                  </a:cubicBezTo>
                  <a:cubicBezTo>
                    <a:pt x="4001" y="6074"/>
                    <a:pt x="4038" y="6140"/>
                    <a:pt x="4089" y="6169"/>
                  </a:cubicBezTo>
                  <a:cubicBezTo>
                    <a:pt x="4096" y="6177"/>
                    <a:pt x="4096" y="6177"/>
                    <a:pt x="4096" y="6184"/>
                  </a:cubicBezTo>
                  <a:cubicBezTo>
                    <a:pt x="4104" y="6199"/>
                    <a:pt x="4089" y="6235"/>
                    <a:pt x="4067" y="6272"/>
                  </a:cubicBezTo>
                  <a:cubicBezTo>
                    <a:pt x="4045" y="6302"/>
                    <a:pt x="4023" y="6316"/>
                    <a:pt x="3986" y="6331"/>
                  </a:cubicBezTo>
                  <a:cubicBezTo>
                    <a:pt x="3972" y="6345"/>
                    <a:pt x="3950" y="6353"/>
                    <a:pt x="3928" y="6367"/>
                  </a:cubicBezTo>
                  <a:cubicBezTo>
                    <a:pt x="3899" y="6382"/>
                    <a:pt x="3876" y="6404"/>
                    <a:pt x="3847" y="6433"/>
                  </a:cubicBezTo>
                  <a:cubicBezTo>
                    <a:pt x="3825" y="6455"/>
                    <a:pt x="3825" y="6455"/>
                    <a:pt x="3825" y="6455"/>
                  </a:cubicBezTo>
                  <a:cubicBezTo>
                    <a:pt x="3847" y="6477"/>
                    <a:pt x="3847" y="6477"/>
                    <a:pt x="3847" y="6477"/>
                  </a:cubicBezTo>
                  <a:cubicBezTo>
                    <a:pt x="3854" y="6477"/>
                    <a:pt x="3854" y="6477"/>
                    <a:pt x="3854" y="6477"/>
                  </a:cubicBezTo>
                  <a:cubicBezTo>
                    <a:pt x="3854" y="6485"/>
                    <a:pt x="3854" y="6485"/>
                    <a:pt x="3854" y="6485"/>
                  </a:cubicBezTo>
                  <a:cubicBezTo>
                    <a:pt x="3862" y="6485"/>
                    <a:pt x="3869" y="6499"/>
                    <a:pt x="3869" y="6507"/>
                  </a:cubicBezTo>
                  <a:cubicBezTo>
                    <a:pt x="3884" y="6536"/>
                    <a:pt x="3899" y="6580"/>
                    <a:pt x="3957" y="6580"/>
                  </a:cubicBezTo>
                  <a:cubicBezTo>
                    <a:pt x="3957" y="6580"/>
                    <a:pt x="3964" y="6580"/>
                    <a:pt x="3964" y="6573"/>
                  </a:cubicBezTo>
                  <a:cubicBezTo>
                    <a:pt x="3986" y="6573"/>
                    <a:pt x="4001" y="6573"/>
                    <a:pt x="4008" y="6573"/>
                  </a:cubicBezTo>
                  <a:cubicBezTo>
                    <a:pt x="4016" y="6573"/>
                    <a:pt x="4023" y="6573"/>
                    <a:pt x="4045" y="6595"/>
                  </a:cubicBezTo>
                  <a:cubicBezTo>
                    <a:pt x="4060" y="6609"/>
                    <a:pt x="4060" y="6661"/>
                    <a:pt x="4052" y="6683"/>
                  </a:cubicBezTo>
                  <a:cubicBezTo>
                    <a:pt x="4052" y="6697"/>
                    <a:pt x="4052" y="6697"/>
                    <a:pt x="4052" y="6697"/>
                  </a:cubicBezTo>
                  <a:cubicBezTo>
                    <a:pt x="4060" y="6712"/>
                    <a:pt x="4060" y="6712"/>
                    <a:pt x="4060" y="6712"/>
                  </a:cubicBezTo>
                  <a:cubicBezTo>
                    <a:pt x="4060" y="6712"/>
                    <a:pt x="4089" y="6748"/>
                    <a:pt x="4140" y="6748"/>
                  </a:cubicBezTo>
                  <a:lnTo>
                    <a:pt x="4140" y="6748"/>
                  </a:lnTo>
                  <a:cubicBezTo>
                    <a:pt x="4140" y="6763"/>
                    <a:pt x="4140" y="6792"/>
                    <a:pt x="4170" y="6814"/>
                  </a:cubicBezTo>
                  <a:cubicBezTo>
                    <a:pt x="4191" y="6822"/>
                    <a:pt x="4213" y="6858"/>
                    <a:pt x="4213" y="6866"/>
                  </a:cubicBezTo>
                  <a:cubicBezTo>
                    <a:pt x="4206" y="6873"/>
                    <a:pt x="4199" y="6873"/>
                    <a:pt x="4191" y="6880"/>
                  </a:cubicBezTo>
                  <a:cubicBezTo>
                    <a:pt x="4170" y="6888"/>
                    <a:pt x="4148" y="6902"/>
                    <a:pt x="4148" y="6946"/>
                  </a:cubicBezTo>
                  <a:cubicBezTo>
                    <a:pt x="4148" y="6976"/>
                    <a:pt x="4155" y="6990"/>
                    <a:pt x="4170" y="7012"/>
                  </a:cubicBezTo>
                  <a:cubicBezTo>
                    <a:pt x="4170" y="7019"/>
                    <a:pt x="4177" y="7027"/>
                    <a:pt x="4177" y="7034"/>
                  </a:cubicBezTo>
                  <a:cubicBezTo>
                    <a:pt x="4184" y="7042"/>
                    <a:pt x="4184" y="7049"/>
                    <a:pt x="4184" y="7056"/>
                  </a:cubicBezTo>
                  <a:cubicBezTo>
                    <a:pt x="4191" y="7071"/>
                    <a:pt x="4191" y="7078"/>
                    <a:pt x="4184" y="7107"/>
                  </a:cubicBezTo>
                  <a:cubicBezTo>
                    <a:pt x="4155" y="7166"/>
                    <a:pt x="4170" y="7225"/>
                    <a:pt x="4213" y="7247"/>
                  </a:cubicBezTo>
                  <a:cubicBezTo>
                    <a:pt x="4221" y="7247"/>
                    <a:pt x="4228" y="7254"/>
                    <a:pt x="4235" y="7261"/>
                  </a:cubicBezTo>
                  <a:cubicBezTo>
                    <a:pt x="4257" y="7283"/>
                    <a:pt x="4280" y="7313"/>
                    <a:pt x="4316" y="7313"/>
                  </a:cubicBezTo>
                  <a:cubicBezTo>
                    <a:pt x="4338" y="7313"/>
                    <a:pt x="4360" y="7298"/>
                    <a:pt x="4375" y="7283"/>
                  </a:cubicBezTo>
                  <a:cubicBezTo>
                    <a:pt x="4397" y="7254"/>
                    <a:pt x="4419" y="7239"/>
                    <a:pt x="4433" y="7225"/>
                  </a:cubicBezTo>
                  <a:cubicBezTo>
                    <a:pt x="4448" y="7210"/>
                    <a:pt x="4470" y="7188"/>
                    <a:pt x="4492" y="7159"/>
                  </a:cubicBezTo>
                  <a:cubicBezTo>
                    <a:pt x="4492" y="7152"/>
                    <a:pt x="4492" y="7152"/>
                    <a:pt x="4492" y="7152"/>
                  </a:cubicBezTo>
                  <a:cubicBezTo>
                    <a:pt x="4499" y="7152"/>
                    <a:pt x="4499" y="7144"/>
                    <a:pt x="4499" y="7144"/>
                  </a:cubicBezTo>
                  <a:cubicBezTo>
                    <a:pt x="4499" y="7144"/>
                    <a:pt x="4507" y="7144"/>
                    <a:pt x="4514" y="7144"/>
                  </a:cubicBezTo>
                  <a:cubicBezTo>
                    <a:pt x="4521" y="7144"/>
                    <a:pt x="4529" y="7144"/>
                    <a:pt x="4536" y="7144"/>
                  </a:cubicBezTo>
                  <a:cubicBezTo>
                    <a:pt x="4587" y="7137"/>
                    <a:pt x="4602" y="7122"/>
                    <a:pt x="4624" y="7100"/>
                  </a:cubicBezTo>
                  <a:cubicBezTo>
                    <a:pt x="4631" y="7093"/>
                    <a:pt x="4639" y="7093"/>
                    <a:pt x="4646" y="7085"/>
                  </a:cubicBezTo>
                  <a:cubicBezTo>
                    <a:pt x="4646" y="7100"/>
                    <a:pt x="4661" y="7115"/>
                    <a:pt x="4682" y="7122"/>
                  </a:cubicBezTo>
                  <a:cubicBezTo>
                    <a:pt x="4697" y="7137"/>
                    <a:pt x="4712" y="7144"/>
                    <a:pt x="4726" y="7159"/>
                  </a:cubicBezTo>
                  <a:cubicBezTo>
                    <a:pt x="4763" y="7181"/>
                    <a:pt x="4800" y="7210"/>
                    <a:pt x="4851" y="7210"/>
                  </a:cubicBezTo>
                  <a:cubicBezTo>
                    <a:pt x="4858" y="7217"/>
                    <a:pt x="4858" y="7217"/>
                    <a:pt x="4858" y="7217"/>
                  </a:cubicBezTo>
                  <a:lnTo>
                    <a:pt x="4858" y="7217"/>
                  </a:lnTo>
                  <a:cubicBezTo>
                    <a:pt x="4851" y="7261"/>
                    <a:pt x="4873" y="7276"/>
                    <a:pt x="4888" y="7283"/>
                  </a:cubicBezTo>
                  <a:cubicBezTo>
                    <a:pt x="4910" y="7283"/>
                    <a:pt x="4932" y="7283"/>
                    <a:pt x="4961" y="7283"/>
                  </a:cubicBezTo>
                  <a:cubicBezTo>
                    <a:pt x="4990" y="7283"/>
                    <a:pt x="5020" y="7283"/>
                    <a:pt x="5056" y="7291"/>
                  </a:cubicBezTo>
                  <a:cubicBezTo>
                    <a:pt x="5078" y="7291"/>
                    <a:pt x="5100" y="7298"/>
                    <a:pt x="5130" y="7305"/>
                  </a:cubicBezTo>
                  <a:cubicBezTo>
                    <a:pt x="5188" y="7313"/>
                    <a:pt x="5247" y="7327"/>
                    <a:pt x="5305" y="7327"/>
                  </a:cubicBezTo>
                  <a:cubicBezTo>
                    <a:pt x="5335" y="7327"/>
                    <a:pt x="5364" y="7320"/>
                    <a:pt x="5386" y="7313"/>
                  </a:cubicBezTo>
                  <a:cubicBezTo>
                    <a:pt x="5444" y="7291"/>
                    <a:pt x="5474" y="7283"/>
                    <a:pt x="5525" y="7269"/>
                  </a:cubicBezTo>
                  <a:cubicBezTo>
                    <a:pt x="5540" y="7269"/>
                    <a:pt x="5569" y="7261"/>
                    <a:pt x="5591" y="7254"/>
                  </a:cubicBezTo>
                  <a:cubicBezTo>
                    <a:pt x="5628" y="7247"/>
                    <a:pt x="5657" y="7239"/>
                    <a:pt x="5672" y="7239"/>
                  </a:cubicBezTo>
                  <a:cubicBezTo>
                    <a:pt x="5716" y="7232"/>
                    <a:pt x="5745" y="7225"/>
                    <a:pt x="5782" y="7203"/>
                  </a:cubicBezTo>
                  <a:cubicBezTo>
                    <a:pt x="5804" y="7188"/>
                    <a:pt x="5811" y="7181"/>
                    <a:pt x="5818" y="7181"/>
                  </a:cubicBezTo>
                  <a:lnTo>
                    <a:pt x="5818" y="7181"/>
                  </a:lnTo>
                  <a:cubicBezTo>
                    <a:pt x="5818" y="7225"/>
                    <a:pt x="5847" y="7254"/>
                    <a:pt x="5884" y="7254"/>
                  </a:cubicBezTo>
                  <a:cubicBezTo>
                    <a:pt x="5899" y="7254"/>
                    <a:pt x="5928" y="7247"/>
                    <a:pt x="5957" y="7195"/>
                  </a:cubicBezTo>
                  <a:cubicBezTo>
                    <a:pt x="5965" y="7181"/>
                    <a:pt x="5972" y="7166"/>
                    <a:pt x="5980" y="7152"/>
                  </a:cubicBezTo>
                  <a:cubicBezTo>
                    <a:pt x="6001" y="7115"/>
                    <a:pt x="6023" y="7078"/>
                    <a:pt x="6016" y="7019"/>
                  </a:cubicBezTo>
                  <a:cubicBezTo>
                    <a:pt x="6016" y="6990"/>
                    <a:pt x="6009" y="6976"/>
                    <a:pt x="6001" y="6954"/>
                  </a:cubicBezTo>
                  <a:cubicBezTo>
                    <a:pt x="5994" y="6939"/>
                    <a:pt x="5994" y="6924"/>
                    <a:pt x="5994" y="6917"/>
                  </a:cubicBezTo>
                  <a:lnTo>
                    <a:pt x="5994" y="6917"/>
                  </a:lnTo>
                  <a:cubicBezTo>
                    <a:pt x="6038" y="6902"/>
                    <a:pt x="6053" y="6888"/>
                    <a:pt x="6060" y="6851"/>
                  </a:cubicBezTo>
                  <a:cubicBezTo>
                    <a:pt x="6067" y="6836"/>
                    <a:pt x="6075" y="6829"/>
                    <a:pt x="6082" y="6807"/>
                  </a:cubicBezTo>
                  <a:cubicBezTo>
                    <a:pt x="6097" y="6778"/>
                    <a:pt x="6104" y="6756"/>
                    <a:pt x="6111" y="6734"/>
                  </a:cubicBezTo>
                  <a:cubicBezTo>
                    <a:pt x="6119" y="6697"/>
                    <a:pt x="6126" y="6690"/>
                    <a:pt x="6141" y="6683"/>
                  </a:cubicBezTo>
                  <a:cubicBezTo>
                    <a:pt x="6177" y="6675"/>
                    <a:pt x="6229" y="6653"/>
                    <a:pt x="6273" y="6653"/>
                  </a:cubicBezTo>
                  <a:cubicBezTo>
                    <a:pt x="6287" y="6653"/>
                    <a:pt x="6294" y="6661"/>
                    <a:pt x="6294" y="6661"/>
                  </a:cubicBezTo>
                  <a:cubicBezTo>
                    <a:pt x="6338" y="6704"/>
                    <a:pt x="6404" y="6704"/>
                    <a:pt x="6463" y="6704"/>
                  </a:cubicBezTo>
                  <a:cubicBezTo>
                    <a:pt x="6470" y="6704"/>
                    <a:pt x="6478" y="6704"/>
                    <a:pt x="6478" y="6704"/>
                  </a:cubicBezTo>
                  <a:lnTo>
                    <a:pt x="6478" y="6712"/>
                  </a:lnTo>
                  <a:cubicBezTo>
                    <a:pt x="6478" y="6726"/>
                    <a:pt x="6485" y="6741"/>
                    <a:pt x="6500" y="6756"/>
                  </a:cubicBezTo>
                  <a:cubicBezTo>
                    <a:pt x="6507" y="6756"/>
                    <a:pt x="6507" y="6756"/>
                    <a:pt x="6507" y="6756"/>
                  </a:cubicBezTo>
                  <a:cubicBezTo>
                    <a:pt x="6514" y="6763"/>
                    <a:pt x="6522" y="6778"/>
                    <a:pt x="6536" y="6778"/>
                  </a:cubicBezTo>
                  <a:cubicBezTo>
                    <a:pt x="6551" y="6778"/>
                    <a:pt x="6566" y="6756"/>
                    <a:pt x="6566" y="6756"/>
                  </a:cubicBezTo>
                  <a:cubicBezTo>
                    <a:pt x="6573" y="6748"/>
                    <a:pt x="6580" y="6734"/>
                    <a:pt x="6602" y="6712"/>
                  </a:cubicBezTo>
                  <a:cubicBezTo>
                    <a:pt x="6632" y="6683"/>
                    <a:pt x="6646" y="6661"/>
                    <a:pt x="6646" y="6646"/>
                  </a:cubicBezTo>
                  <a:cubicBezTo>
                    <a:pt x="6654" y="6624"/>
                    <a:pt x="6654" y="6624"/>
                    <a:pt x="6683" y="6616"/>
                  </a:cubicBezTo>
                  <a:cubicBezTo>
                    <a:pt x="6727" y="6609"/>
                    <a:pt x="6734" y="6609"/>
                    <a:pt x="6756" y="6595"/>
                  </a:cubicBezTo>
                  <a:cubicBezTo>
                    <a:pt x="6763" y="6595"/>
                    <a:pt x="6778" y="6587"/>
                    <a:pt x="6807" y="6573"/>
                  </a:cubicBezTo>
                  <a:cubicBezTo>
                    <a:pt x="6859" y="6551"/>
                    <a:pt x="6881" y="6543"/>
                    <a:pt x="6903" y="6543"/>
                  </a:cubicBezTo>
                  <a:cubicBezTo>
                    <a:pt x="6910" y="6543"/>
                    <a:pt x="6917" y="6551"/>
                    <a:pt x="6932" y="6551"/>
                  </a:cubicBezTo>
                  <a:cubicBezTo>
                    <a:pt x="6939" y="6551"/>
                    <a:pt x="6947" y="6551"/>
                    <a:pt x="6954" y="6551"/>
                  </a:cubicBezTo>
                  <a:cubicBezTo>
                    <a:pt x="6969" y="6551"/>
                    <a:pt x="6991" y="6551"/>
                    <a:pt x="6991" y="6514"/>
                  </a:cubicBezTo>
                  <a:cubicBezTo>
                    <a:pt x="6998" y="6507"/>
                    <a:pt x="6998" y="6492"/>
                    <a:pt x="7005" y="6477"/>
                  </a:cubicBezTo>
                  <a:cubicBezTo>
                    <a:pt x="7020" y="6463"/>
                    <a:pt x="7027" y="6455"/>
                    <a:pt x="7035" y="6455"/>
                  </a:cubicBezTo>
                  <a:cubicBezTo>
                    <a:pt x="7035" y="6455"/>
                    <a:pt x="7042" y="6463"/>
                    <a:pt x="7049" y="6470"/>
                  </a:cubicBezTo>
                  <a:cubicBezTo>
                    <a:pt x="7064" y="6521"/>
                    <a:pt x="7152" y="6580"/>
                    <a:pt x="7196" y="6580"/>
                  </a:cubicBezTo>
                  <a:cubicBezTo>
                    <a:pt x="7211" y="6580"/>
                    <a:pt x="7218" y="6580"/>
                    <a:pt x="7225" y="6573"/>
                  </a:cubicBezTo>
                  <a:cubicBezTo>
                    <a:pt x="7232" y="6573"/>
                    <a:pt x="7247" y="6558"/>
                    <a:pt x="7328" y="6528"/>
                  </a:cubicBezTo>
                  <a:cubicBezTo>
                    <a:pt x="7379" y="6514"/>
                    <a:pt x="7379" y="6514"/>
                    <a:pt x="7379" y="6514"/>
                  </a:cubicBezTo>
                  <a:cubicBezTo>
                    <a:pt x="7342" y="6485"/>
                    <a:pt x="7342" y="6485"/>
                    <a:pt x="7342" y="6485"/>
                  </a:cubicBezTo>
                  <a:cubicBezTo>
                    <a:pt x="7372" y="6463"/>
                    <a:pt x="7401" y="6426"/>
                    <a:pt x="7423" y="6397"/>
                  </a:cubicBezTo>
                  <a:cubicBezTo>
                    <a:pt x="7467" y="6345"/>
                    <a:pt x="7467" y="6316"/>
                    <a:pt x="7430" y="6214"/>
                  </a:cubicBezTo>
                  <a:cubicBezTo>
                    <a:pt x="7423" y="6184"/>
                    <a:pt x="7416" y="6162"/>
                    <a:pt x="7408" y="6140"/>
                  </a:cubicBezTo>
                  <a:cubicBezTo>
                    <a:pt x="7401" y="6074"/>
                    <a:pt x="7386" y="6023"/>
                    <a:pt x="7306" y="6001"/>
                  </a:cubicBezTo>
                  <a:cubicBezTo>
                    <a:pt x="7232" y="5986"/>
                    <a:pt x="7225" y="5942"/>
                    <a:pt x="7203" y="5862"/>
                  </a:cubicBezTo>
                  <a:cubicBezTo>
                    <a:pt x="7203" y="5854"/>
                    <a:pt x="7203" y="5854"/>
                    <a:pt x="7203" y="5854"/>
                  </a:cubicBezTo>
                  <a:cubicBezTo>
                    <a:pt x="7188" y="5788"/>
                    <a:pt x="7152" y="5759"/>
                    <a:pt x="7123" y="5723"/>
                  </a:cubicBezTo>
                  <a:cubicBezTo>
                    <a:pt x="7101" y="5701"/>
                    <a:pt x="7079" y="5678"/>
                    <a:pt x="7064" y="5649"/>
                  </a:cubicBezTo>
                  <a:cubicBezTo>
                    <a:pt x="7027" y="5591"/>
                    <a:pt x="7035" y="5583"/>
                    <a:pt x="7108" y="5517"/>
                  </a:cubicBezTo>
                  <a:cubicBezTo>
                    <a:pt x="7166" y="5459"/>
                    <a:pt x="7262" y="5319"/>
                    <a:pt x="7247" y="5224"/>
                  </a:cubicBezTo>
                  <a:cubicBezTo>
                    <a:pt x="7247" y="5202"/>
                    <a:pt x="7240" y="5180"/>
                    <a:pt x="7240" y="5166"/>
                  </a:cubicBezTo>
                  <a:cubicBezTo>
                    <a:pt x="7232" y="5122"/>
                    <a:pt x="7225" y="5100"/>
                    <a:pt x="7247" y="5056"/>
                  </a:cubicBezTo>
                  <a:cubicBezTo>
                    <a:pt x="7254" y="5048"/>
                    <a:pt x="7254" y="5034"/>
                    <a:pt x="7262" y="5026"/>
                  </a:cubicBezTo>
                  <a:cubicBezTo>
                    <a:pt x="7306" y="4946"/>
                    <a:pt x="7379" y="4807"/>
                    <a:pt x="7284" y="4733"/>
                  </a:cubicBezTo>
                  <a:cubicBezTo>
                    <a:pt x="7174" y="4653"/>
                    <a:pt x="7130" y="4587"/>
                    <a:pt x="7166" y="4543"/>
                  </a:cubicBezTo>
                  <a:cubicBezTo>
                    <a:pt x="7203" y="4492"/>
                    <a:pt x="7211" y="4462"/>
                    <a:pt x="7196" y="4440"/>
                  </a:cubicBezTo>
                  <a:cubicBezTo>
                    <a:pt x="7196" y="4433"/>
                    <a:pt x="7181" y="4426"/>
                    <a:pt x="7166" y="4426"/>
                  </a:cubicBezTo>
                  <a:lnTo>
                    <a:pt x="7166" y="4426"/>
                  </a:lnTo>
                  <a:cubicBezTo>
                    <a:pt x="7152" y="4418"/>
                    <a:pt x="7137" y="4411"/>
                    <a:pt x="7137" y="4396"/>
                  </a:cubicBezTo>
                  <a:lnTo>
                    <a:pt x="7137" y="4396"/>
                  </a:lnTo>
                  <a:cubicBezTo>
                    <a:pt x="7137" y="4396"/>
                    <a:pt x="7137" y="4396"/>
                    <a:pt x="7144" y="4389"/>
                  </a:cubicBezTo>
                  <a:cubicBezTo>
                    <a:pt x="7152" y="4382"/>
                    <a:pt x="7166" y="4374"/>
                    <a:pt x="7174" y="4360"/>
                  </a:cubicBezTo>
                  <a:cubicBezTo>
                    <a:pt x="7196" y="4330"/>
                    <a:pt x="7188" y="4279"/>
                    <a:pt x="7174" y="4250"/>
                  </a:cubicBezTo>
                  <a:cubicBezTo>
                    <a:pt x="7152" y="4206"/>
                    <a:pt x="7115" y="4169"/>
                    <a:pt x="7079" y="4162"/>
                  </a:cubicBezTo>
                  <a:cubicBezTo>
                    <a:pt x="7071" y="4162"/>
                    <a:pt x="7056" y="4162"/>
                    <a:pt x="7042" y="4162"/>
                  </a:cubicBezTo>
                  <a:cubicBezTo>
                    <a:pt x="7005" y="4154"/>
                    <a:pt x="6895" y="4133"/>
                    <a:pt x="6888" y="4110"/>
                  </a:cubicBezTo>
                  <a:cubicBezTo>
                    <a:pt x="6881" y="4081"/>
                    <a:pt x="6873" y="4059"/>
                    <a:pt x="6859" y="4030"/>
                  </a:cubicBezTo>
                  <a:cubicBezTo>
                    <a:pt x="6844" y="3986"/>
                    <a:pt x="6822" y="3942"/>
                    <a:pt x="6822" y="3898"/>
                  </a:cubicBezTo>
                  <a:cubicBezTo>
                    <a:pt x="6815" y="3847"/>
                    <a:pt x="6793" y="3817"/>
                    <a:pt x="6771" y="3795"/>
                  </a:cubicBezTo>
                  <a:cubicBezTo>
                    <a:pt x="6749" y="3766"/>
                    <a:pt x="6742" y="3759"/>
                    <a:pt x="6756" y="3722"/>
                  </a:cubicBezTo>
                  <a:cubicBezTo>
                    <a:pt x="6793" y="3656"/>
                    <a:pt x="6807" y="3634"/>
                    <a:pt x="6844" y="3597"/>
                  </a:cubicBezTo>
                  <a:cubicBezTo>
                    <a:pt x="6851" y="3590"/>
                    <a:pt x="6866" y="3576"/>
                    <a:pt x="6881" y="3554"/>
                  </a:cubicBezTo>
                  <a:cubicBezTo>
                    <a:pt x="6939" y="3488"/>
                    <a:pt x="6925" y="3451"/>
                    <a:pt x="6910" y="3392"/>
                  </a:cubicBezTo>
                  <a:cubicBezTo>
                    <a:pt x="6903" y="3385"/>
                    <a:pt x="6903" y="3378"/>
                    <a:pt x="6895" y="3370"/>
                  </a:cubicBezTo>
                  <a:cubicBezTo>
                    <a:pt x="6881" y="3312"/>
                    <a:pt x="6888" y="3246"/>
                    <a:pt x="6917" y="3224"/>
                  </a:cubicBezTo>
                  <a:cubicBezTo>
                    <a:pt x="6932" y="3209"/>
                    <a:pt x="6939" y="3195"/>
                    <a:pt x="6939" y="3173"/>
                  </a:cubicBezTo>
                  <a:cubicBezTo>
                    <a:pt x="6947" y="3121"/>
                    <a:pt x="6866" y="3048"/>
                    <a:pt x="6793" y="2989"/>
                  </a:cubicBezTo>
                  <a:cubicBezTo>
                    <a:pt x="6771" y="2975"/>
                    <a:pt x="6734" y="2960"/>
                    <a:pt x="6683" y="2938"/>
                  </a:cubicBezTo>
                  <a:cubicBezTo>
                    <a:pt x="6610" y="2909"/>
                    <a:pt x="6514" y="2872"/>
                    <a:pt x="6485" y="2821"/>
                  </a:cubicBezTo>
                  <a:cubicBezTo>
                    <a:pt x="6470" y="2784"/>
                    <a:pt x="6456" y="2755"/>
                    <a:pt x="6448" y="2733"/>
                  </a:cubicBezTo>
                  <a:cubicBezTo>
                    <a:pt x="6426" y="2674"/>
                    <a:pt x="6412" y="2630"/>
                    <a:pt x="6346" y="2608"/>
                  </a:cubicBezTo>
                  <a:cubicBezTo>
                    <a:pt x="6302" y="2601"/>
                    <a:pt x="6280" y="2579"/>
                    <a:pt x="6251" y="2557"/>
                  </a:cubicBezTo>
                  <a:cubicBezTo>
                    <a:pt x="6229" y="2542"/>
                    <a:pt x="6199" y="2520"/>
                    <a:pt x="6155" y="2498"/>
                  </a:cubicBezTo>
                  <a:cubicBezTo>
                    <a:pt x="6075" y="2462"/>
                    <a:pt x="6009" y="2374"/>
                    <a:pt x="6009" y="2374"/>
                  </a:cubicBezTo>
                  <a:cubicBezTo>
                    <a:pt x="6001" y="2359"/>
                    <a:pt x="6001" y="2359"/>
                    <a:pt x="6001" y="2359"/>
                  </a:cubicBezTo>
                  <a:cubicBezTo>
                    <a:pt x="5980" y="2359"/>
                    <a:pt x="5980" y="2359"/>
                    <a:pt x="5980" y="2359"/>
                  </a:cubicBezTo>
                  <a:cubicBezTo>
                    <a:pt x="5980" y="2359"/>
                    <a:pt x="5980" y="2359"/>
                    <a:pt x="5965" y="2359"/>
                  </a:cubicBezTo>
                  <a:cubicBezTo>
                    <a:pt x="5913" y="2359"/>
                    <a:pt x="5870" y="2352"/>
                    <a:pt x="5862" y="2330"/>
                  </a:cubicBezTo>
                  <a:cubicBezTo>
                    <a:pt x="5855" y="2330"/>
                    <a:pt x="5855" y="2323"/>
                    <a:pt x="5855" y="2308"/>
                  </a:cubicBezTo>
                  <a:cubicBezTo>
                    <a:pt x="5862" y="2271"/>
                    <a:pt x="5870" y="2249"/>
                    <a:pt x="5884" y="2227"/>
                  </a:cubicBezTo>
                  <a:cubicBezTo>
                    <a:pt x="5899" y="2183"/>
                    <a:pt x="5913" y="2147"/>
                    <a:pt x="5884" y="2095"/>
                  </a:cubicBezTo>
                  <a:cubicBezTo>
                    <a:pt x="5833" y="1993"/>
                    <a:pt x="5862" y="1956"/>
                    <a:pt x="5884" y="1942"/>
                  </a:cubicBezTo>
                  <a:cubicBezTo>
                    <a:pt x="6009" y="1861"/>
                    <a:pt x="6082" y="1795"/>
                    <a:pt x="6119" y="1751"/>
                  </a:cubicBezTo>
                  <a:cubicBezTo>
                    <a:pt x="6126" y="1744"/>
                    <a:pt x="6133" y="1736"/>
                    <a:pt x="6141" y="1729"/>
                  </a:cubicBezTo>
                  <a:cubicBezTo>
                    <a:pt x="6214" y="1641"/>
                    <a:pt x="6273" y="1560"/>
                    <a:pt x="6273" y="1494"/>
                  </a:cubicBezTo>
                  <a:cubicBezTo>
                    <a:pt x="6273" y="1428"/>
                    <a:pt x="6265" y="1267"/>
                    <a:pt x="6251" y="1194"/>
                  </a:cubicBezTo>
                  <a:cubicBezTo>
                    <a:pt x="6243" y="1143"/>
                    <a:pt x="6251" y="1114"/>
                    <a:pt x="6302" y="1047"/>
                  </a:cubicBezTo>
                  <a:cubicBezTo>
                    <a:pt x="6338" y="1011"/>
                    <a:pt x="6375" y="945"/>
                    <a:pt x="6375" y="886"/>
                  </a:cubicBezTo>
                  <a:cubicBezTo>
                    <a:pt x="6368" y="857"/>
                    <a:pt x="6353" y="835"/>
                    <a:pt x="6331" y="813"/>
                  </a:cubicBezTo>
                  <a:cubicBezTo>
                    <a:pt x="6287" y="776"/>
                    <a:pt x="6273" y="718"/>
                    <a:pt x="6273" y="681"/>
                  </a:cubicBezTo>
                  <a:cubicBezTo>
                    <a:pt x="6273" y="652"/>
                    <a:pt x="6273" y="652"/>
                    <a:pt x="6273" y="652"/>
                  </a:cubicBezTo>
                  <a:cubicBezTo>
                    <a:pt x="6243" y="652"/>
                    <a:pt x="6243" y="652"/>
                    <a:pt x="6243" y="652"/>
                  </a:cubicBezTo>
                  <a:cubicBezTo>
                    <a:pt x="6177" y="652"/>
                    <a:pt x="6163" y="674"/>
                    <a:pt x="6141" y="703"/>
                  </a:cubicBezTo>
                  <a:cubicBezTo>
                    <a:pt x="6133" y="718"/>
                    <a:pt x="6119" y="740"/>
                    <a:pt x="6097" y="754"/>
                  </a:cubicBezTo>
                  <a:cubicBezTo>
                    <a:pt x="6016" y="820"/>
                    <a:pt x="6016" y="820"/>
                    <a:pt x="5965" y="879"/>
                  </a:cubicBezTo>
                  <a:cubicBezTo>
                    <a:pt x="5950" y="894"/>
                    <a:pt x="5943" y="908"/>
                    <a:pt x="5935" y="916"/>
                  </a:cubicBezTo>
                  <a:cubicBezTo>
                    <a:pt x="5935" y="923"/>
                    <a:pt x="5928" y="923"/>
                    <a:pt x="5928" y="930"/>
                  </a:cubicBezTo>
                  <a:cubicBezTo>
                    <a:pt x="5921" y="930"/>
                    <a:pt x="5906" y="923"/>
                    <a:pt x="5899" y="923"/>
                  </a:cubicBezTo>
                  <a:cubicBezTo>
                    <a:pt x="5862" y="908"/>
                    <a:pt x="5833" y="908"/>
                    <a:pt x="5804" y="908"/>
                  </a:cubicBezTo>
                  <a:cubicBezTo>
                    <a:pt x="5782" y="908"/>
                    <a:pt x="5760" y="908"/>
                    <a:pt x="5723" y="901"/>
                  </a:cubicBezTo>
                  <a:cubicBezTo>
                    <a:pt x="5701" y="901"/>
                    <a:pt x="5694" y="894"/>
                    <a:pt x="5694" y="894"/>
                  </a:cubicBezTo>
                  <a:cubicBezTo>
                    <a:pt x="5694" y="894"/>
                    <a:pt x="5694" y="886"/>
                    <a:pt x="5716" y="850"/>
                  </a:cubicBezTo>
                  <a:cubicBezTo>
                    <a:pt x="5738" y="806"/>
                    <a:pt x="5804" y="725"/>
                    <a:pt x="5884" y="674"/>
                  </a:cubicBezTo>
                  <a:cubicBezTo>
                    <a:pt x="5957" y="615"/>
                    <a:pt x="5943" y="557"/>
                    <a:pt x="5928" y="513"/>
                  </a:cubicBezTo>
                  <a:cubicBezTo>
                    <a:pt x="5928" y="491"/>
                    <a:pt x="5921" y="476"/>
                    <a:pt x="5921" y="461"/>
                  </a:cubicBezTo>
                  <a:cubicBezTo>
                    <a:pt x="5928" y="417"/>
                    <a:pt x="5921" y="388"/>
                    <a:pt x="5906" y="366"/>
                  </a:cubicBezTo>
                  <a:cubicBezTo>
                    <a:pt x="5899" y="359"/>
                    <a:pt x="5884" y="351"/>
                    <a:pt x="5870" y="351"/>
                  </a:cubicBezTo>
                  <a:cubicBezTo>
                    <a:pt x="5862" y="351"/>
                    <a:pt x="5855" y="351"/>
                    <a:pt x="5847" y="351"/>
                  </a:cubicBezTo>
                  <a:cubicBezTo>
                    <a:pt x="5840" y="359"/>
                    <a:pt x="5818" y="359"/>
                    <a:pt x="5796" y="359"/>
                  </a:cubicBezTo>
                  <a:cubicBezTo>
                    <a:pt x="5767" y="359"/>
                    <a:pt x="5745" y="359"/>
                    <a:pt x="5730" y="344"/>
                  </a:cubicBezTo>
                  <a:cubicBezTo>
                    <a:pt x="5708" y="337"/>
                    <a:pt x="5694" y="329"/>
                    <a:pt x="5679" y="329"/>
                  </a:cubicBezTo>
                  <a:cubicBezTo>
                    <a:pt x="5657" y="329"/>
                    <a:pt x="5642" y="337"/>
                    <a:pt x="5628" y="359"/>
                  </a:cubicBezTo>
                  <a:cubicBezTo>
                    <a:pt x="5613" y="366"/>
                    <a:pt x="5613" y="366"/>
                    <a:pt x="5613" y="366"/>
                  </a:cubicBezTo>
                  <a:cubicBezTo>
                    <a:pt x="5569" y="395"/>
                    <a:pt x="5569" y="395"/>
                    <a:pt x="5525" y="410"/>
                  </a:cubicBezTo>
                  <a:cubicBezTo>
                    <a:pt x="5518" y="417"/>
                    <a:pt x="5518" y="417"/>
                    <a:pt x="5518" y="417"/>
                  </a:cubicBezTo>
                  <a:cubicBezTo>
                    <a:pt x="5511" y="417"/>
                    <a:pt x="5511" y="410"/>
                    <a:pt x="5503" y="403"/>
                  </a:cubicBezTo>
                  <a:cubicBezTo>
                    <a:pt x="5496" y="388"/>
                    <a:pt x="5481" y="373"/>
                    <a:pt x="5466" y="366"/>
                  </a:cubicBezTo>
                  <a:cubicBezTo>
                    <a:pt x="5459" y="359"/>
                    <a:pt x="5444" y="351"/>
                    <a:pt x="5430" y="351"/>
                  </a:cubicBezTo>
                  <a:cubicBezTo>
                    <a:pt x="5408" y="351"/>
                    <a:pt x="5386" y="366"/>
                    <a:pt x="5364" y="381"/>
                  </a:cubicBezTo>
                  <a:cubicBezTo>
                    <a:pt x="5356" y="388"/>
                    <a:pt x="5342" y="395"/>
                    <a:pt x="5327" y="403"/>
                  </a:cubicBezTo>
                  <a:cubicBezTo>
                    <a:pt x="5320" y="410"/>
                    <a:pt x="5313" y="410"/>
                    <a:pt x="5305" y="410"/>
                  </a:cubicBezTo>
                  <a:cubicBezTo>
                    <a:pt x="5298" y="410"/>
                    <a:pt x="5291" y="410"/>
                    <a:pt x="5276" y="373"/>
                  </a:cubicBezTo>
                  <a:cubicBezTo>
                    <a:pt x="5269" y="366"/>
                    <a:pt x="5261" y="351"/>
                    <a:pt x="5254" y="329"/>
                  </a:cubicBezTo>
                  <a:cubicBezTo>
                    <a:pt x="5247" y="300"/>
                    <a:pt x="5232" y="264"/>
                    <a:pt x="5210" y="234"/>
                  </a:cubicBezTo>
                  <a:cubicBezTo>
                    <a:pt x="5203" y="227"/>
                    <a:pt x="5203" y="219"/>
                    <a:pt x="5195" y="205"/>
                  </a:cubicBezTo>
                  <a:cubicBezTo>
                    <a:pt x="5188" y="176"/>
                    <a:pt x="5173" y="139"/>
                    <a:pt x="5122" y="132"/>
                  </a:cubicBezTo>
                  <a:cubicBezTo>
                    <a:pt x="5093" y="124"/>
                    <a:pt x="5085" y="117"/>
                    <a:pt x="5056" y="73"/>
                  </a:cubicBezTo>
                  <a:cubicBezTo>
                    <a:pt x="5049" y="66"/>
                    <a:pt x="5049" y="66"/>
                    <a:pt x="5049" y="66"/>
                  </a:cubicBezTo>
                  <a:cubicBezTo>
                    <a:pt x="5027" y="29"/>
                    <a:pt x="4998" y="0"/>
                    <a:pt x="4961" y="0"/>
                  </a:cubicBezTo>
                  <a:lnTo>
                    <a:pt x="4961" y="0"/>
                  </a:lnTo>
                  <a:lnTo>
                    <a:pt x="4961" y="29"/>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a:latin typeface="Montserrat" charset="0"/>
              </a:endParaRPr>
            </a:p>
          </p:txBody>
        </p:sp>
        <p:sp>
          <p:nvSpPr>
            <p:cNvPr id="74" name="Freeform 73">
              <a:extLst>
                <a:ext uri="{FF2B5EF4-FFF2-40B4-BE49-F238E27FC236}">
                  <a16:creationId xmlns:a16="http://schemas.microsoft.com/office/drawing/2014/main" id="{DA1A0CD5-55A0-FC4F-83FE-F175468F8705}"/>
                </a:ext>
              </a:extLst>
            </p:cNvPr>
            <p:cNvSpPr>
              <a:spLocks noChangeArrowheads="1"/>
            </p:cNvSpPr>
            <p:nvPr/>
          </p:nvSpPr>
          <p:spPr bwMode="auto">
            <a:xfrm>
              <a:off x="8227354" y="6785783"/>
              <a:ext cx="2498751" cy="1951579"/>
            </a:xfrm>
            <a:custGeom>
              <a:avLst/>
              <a:gdLst>
                <a:gd name="T0" fmla="*/ 6177 w 6500"/>
                <a:gd name="T1" fmla="*/ 374 h 5137"/>
                <a:gd name="T2" fmla="*/ 5488 w 6500"/>
                <a:gd name="T3" fmla="*/ 125 h 5137"/>
                <a:gd name="T4" fmla="*/ 5092 w 6500"/>
                <a:gd name="T5" fmla="*/ 249 h 5137"/>
                <a:gd name="T6" fmla="*/ 4733 w 6500"/>
                <a:gd name="T7" fmla="*/ 300 h 5137"/>
                <a:gd name="T8" fmla="*/ 4404 w 6500"/>
                <a:gd name="T9" fmla="*/ 681 h 5137"/>
                <a:gd name="T10" fmla="*/ 4001 w 6500"/>
                <a:gd name="T11" fmla="*/ 887 h 5137"/>
                <a:gd name="T12" fmla="*/ 3275 w 6500"/>
                <a:gd name="T13" fmla="*/ 843 h 5137"/>
                <a:gd name="T14" fmla="*/ 2880 w 6500"/>
                <a:gd name="T15" fmla="*/ 806 h 5137"/>
                <a:gd name="T16" fmla="*/ 2630 w 6500"/>
                <a:gd name="T17" fmla="*/ 689 h 5137"/>
                <a:gd name="T18" fmla="*/ 2565 w 6500"/>
                <a:gd name="T19" fmla="*/ 381 h 5137"/>
                <a:gd name="T20" fmla="*/ 2293 w 6500"/>
                <a:gd name="T21" fmla="*/ 125 h 5137"/>
                <a:gd name="T22" fmla="*/ 2227 w 6500"/>
                <a:gd name="T23" fmla="*/ 103 h 5137"/>
                <a:gd name="T24" fmla="*/ 1898 w 6500"/>
                <a:gd name="T25" fmla="*/ 22 h 5137"/>
                <a:gd name="T26" fmla="*/ 1487 w 6500"/>
                <a:gd name="T27" fmla="*/ 205 h 5137"/>
                <a:gd name="T28" fmla="*/ 1158 w 6500"/>
                <a:gd name="T29" fmla="*/ 345 h 5137"/>
                <a:gd name="T30" fmla="*/ 762 w 6500"/>
                <a:gd name="T31" fmla="*/ 432 h 5137"/>
                <a:gd name="T32" fmla="*/ 549 w 6500"/>
                <a:gd name="T33" fmla="*/ 616 h 5137"/>
                <a:gd name="T34" fmla="*/ 520 w 6500"/>
                <a:gd name="T35" fmla="*/ 997 h 5137"/>
                <a:gd name="T36" fmla="*/ 586 w 6500"/>
                <a:gd name="T37" fmla="*/ 1532 h 5137"/>
                <a:gd name="T38" fmla="*/ 652 w 6500"/>
                <a:gd name="T39" fmla="*/ 1956 h 5137"/>
                <a:gd name="T40" fmla="*/ 799 w 6500"/>
                <a:gd name="T41" fmla="*/ 2007 h 5137"/>
                <a:gd name="T42" fmla="*/ 1202 w 6500"/>
                <a:gd name="T43" fmla="*/ 2102 h 5137"/>
                <a:gd name="T44" fmla="*/ 1502 w 6500"/>
                <a:gd name="T45" fmla="*/ 2373 h 5137"/>
                <a:gd name="T46" fmla="*/ 1150 w 6500"/>
                <a:gd name="T47" fmla="*/ 2754 h 5137"/>
                <a:gd name="T48" fmla="*/ 952 w 6500"/>
                <a:gd name="T49" fmla="*/ 2879 h 5137"/>
                <a:gd name="T50" fmla="*/ 791 w 6500"/>
                <a:gd name="T51" fmla="*/ 3040 h 5137"/>
                <a:gd name="T52" fmla="*/ 784 w 6500"/>
                <a:gd name="T53" fmla="*/ 3201 h 5137"/>
                <a:gd name="T54" fmla="*/ 887 w 6500"/>
                <a:gd name="T55" fmla="*/ 3480 h 5137"/>
                <a:gd name="T56" fmla="*/ 593 w 6500"/>
                <a:gd name="T57" fmla="*/ 3604 h 5137"/>
                <a:gd name="T58" fmla="*/ 469 w 6500"/>
                <a:gd name="T59" fmla="*/ 3744 h 5137"/>
                <a:gd name="T60" fmla="*/ 300 w 6500"/>
                <a:gd name="T61" fmla="*/ 3634 h 5137"/>
                <a:gd name="T62" fmla="*/ 44 w 6500"/>
                <a:gd name="T63" fmla="*/ 3846 h 5137"/>
                <a:gd name="T64" fmla="*/ 117 w 6500"/>
                <a:gd name="T65" fmla="*/ 4146 h 5137"/>
                <a:gd name="T66" fmla="*/ 249 w 6500"/>
                <a:gd name="T67" fmla="*/ 4520 h 5137"/>
                <a:gd name="T68" fmla="*/ 659 w 6500"/>
                <a:gd name="T69" fmla="*/ 4579 h 5137"/>
                <a:gd name="T70" fmla="*/ 909 w 6500"/>
                <a:gd name="T71" fmla="*/ 4916 h 5137"/>
                <a:gd name="T72" fmla="*/ 1304 w 6500"/>
                <a:gd name="T73" fmla="*/ 4454 h 5137"/>
                <a:gd name="T74" fmla="*/ 2176 w 6500"/>
                <a:gd name="T75" fmla="*/ 4154 h 5137"/>
                <a:gd name="T76" fmla="*/ 2565 w 6500"/>
                <a:gd name="T77" fmla="*/ 3897 h 5137"/>
                <a:gd name="T78" fmla="*/ 3063 w 6500"/>
                <a:gd name="T79" fmla="*/ 3612 h 5137"/>
                <a:gd name="T80" fmla="*/ 3349 w 6500"/>
                <a:gd name="T81" fmla="*/ 3502 h 5137"/>
                <a:gd name="T82" fmla="*/ 3678 w 6500"/>
                <a:gd name="T83" fmla="*/ 3113 h 5137"/>
                <a:gd name="T84" fmla="*/ 4242 w 6500"/>
                <a:gd name="T85" fmla="*/ 2967 h 5137"/>
                <a:gd name="T86" fmla="*/ 4946 w 6500"/>
                <a:gd name="T87" fmla="*/ 2476 h 5137"/>
                <a:gd name="T88" fmla="*/ 4953 w 6500"/>
                <a:gd name="T89" fmla="*/ 2102 h 5137"/>
                <a:gd name="T90" fmla="*/ 5305 w 6500"/>
                <a:gd name="T91" fmla="*/ 1970 h 5137"/>
                <a:gd name="T92" fmla="*/ 5693 w 6500"/>
                <a:gd name="T93" fmla="*/ 2300 h 5137"/>
                <a:gd name="T94" fmla="*/ 6155 w 6500"/>
                <a:gd name="T95" fmla="*/ 2513 h 5137"/>
                <a:gd name="T96" fmla="*/ 6477 w 6500"/>
                <a:gd name="T97" fmla="*/ 1209 h 5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500" h="5137">
                  <a:moveTo>
                    <a:pt x="6382" y="916"/>
                  </a:moveTo>
                  <a:lnTo>
                    <a:pt x="6382" y="916"/>
                  </a:lnTo>
                  <a:cubicBezTo>
                    <a:pt x="6338" y="828"/>
                    <a:pt x="6250" y="667"/>
                    <a:pt x="6294" y="579"/>
                  </a:cubicBezTo>
                  <a:cubicBezTo>
                    <a:pt x="6338" y="484"/>
                    <a:pt x="6294" y="337"/>
                    <a:pt x="6177" y="374"/>
                  </a:cubicBezTo>
                  <a:cubicBezTo>
                    <a:pt x="6067" y="403"/>
                    <a:pt x="5979" y="330"/>
                    <a:pt x="5906" y="293"/>
                  </a:cubicBezTo>
                  <a:cubicBezTo>
                    <a:pt x="5854" y="264"/>
                    <a:pt x="5774" y="198"/>
                    <a:pt x="5737" y="169"/>
                  </a:cubicBezTo>
                  <a:cubicBezTo>
                    <a:pt x="5693" y="183"/>
                    <a:pt x="5642" y="198"/>
                    <a:pt x="5628" y="205"/>
                  </a:cubicBezTo>
                  <a:cubicBezTo>
                    <a:pt x="5605" y="227"/>
                    <a:pt x="5510" y="169"/>
                    <a:pt x="5488" y="125"/>
                  </a:cubicBezTo>
                  <a:cubicBezTo>
                    <a:pt x="5473" y="81"/>
                    <a:pt x="5430" y="73"/>
                    <a:pt x="5400" y="125"/>
                  </a:cubicBezTo>
                  <a:cubicBezTo>
                    <a:pt x="5364" y="176"/>
                    <a:pt x="5400" y="190"/>
                    <a:pt x="5356" y="183"/>
                  </a:cubicBezTo>
                  <a:cubicBezTo>
                    <a:pt x="5312" y="176"/>
                    <a:pt x="5298" y="176"/>
                    <a:pt x="5210" y="205"/>
                  </a:cubicBezTo>
                  <a:cubicBezTo>
                    <a:pt x="5129" y="242"/>
                    <a:pt x="5166" y="235"/>
                    <a:pt x="5092" y="249"/>
                  </a:cubicBezTo>
                  <a:cubicBezTo>
                    <a:pt x="5019" y="264"/>
                    <a:pt x="5056" y="300"/>
                    <a:pt x="4997" y="352"/>
                  </a:cubicBezTo>
                  <a:cubicBezTo>
                    <a:pt x="4939" y="403"/>
                    <a:pt x="4968" y="418"/>
                    <a:pt x="4939" y="396"/>
                  </a:cubicBezTo>
                  <a:cubicBezTo>
                    <a:pt x="4917" y="366"/>
                    <a:pt x="4931" y="337"/>
                    <a:pt x="4880" y="337"/>
                  </a:cubicBezTo>
                  <a:cubicBezTo>
                    <a:pt x="4829" y="337"/>
                    <a:pt x="4770" y="337"/>
                    <a:pt x="4733" y="300"/>
                  </a:cubicBezTo>
                  <a:cubicBezTo>
                    <a:pt x="4704" y="264"/>
                    <a:pt x="4602" y="300"/>
                    <a:pt x="4550" y="315"/>
                  </a:cubicBezTo>
                  <a:cubicBezTo>
                    <a:pt x="4499" y="337"/>
                    <a:pt x="4506" y="388"/>
                    <a:pt x="4470" y="454"/>
                  </a:cubicBezTo>
                  <a:cubicBezTo>
                    <a:pt x="4440" y="520"/>
                    <a:pt x="4455" y="528"/>
                    <a:pt x="4404" y="550"/>
                  </a:cubicBezTo>
                  <a:cubicBezTo>
                    <a:pt x="4352" y="564"/>
                    <a:pt x="4397" y="616"/>
                    <a:pt x="4404" y="681"/>
                  </a:cubicBezTo>
                  <a:cubicBezTo>
                    <a:pt x="4411" y="755"/>
                    <a:pt x="4382" y="777"/>
                    <a:pt x="4345" y="843"/>
                  </a:cubicBezTo>
                  <a:cubicBezTo>
                    <a:pt x="4309" y="916"/>
                    <a:pt x="4264" y="887"/>
                    <a:pt x="4264" y="843"/>
                  </a:cubicBezTo>
                  <a:cubicBezTo>
                    <a:pt x="4264" y="806"/>
                    <a:pt x="4235" y="806"/>
                    <a:pt x="4184" y="835"/>
                  </a:cubicBezTo>
                  <a:cubicBezTo>
                    <a:pt x="4133" y="872"/>
                    <a:pt x="4103" y="865"/>
                    <a:pt x="4001" y="887"/>
                  </a:cubicBezTo>
                  <a:cubicBezTo>
                    <a:pt x="3906" y="916"/>
                    <a:pt x="3876" y="916"/>
                    <a:pt x="3788" y="945"/>
                  </a:cubicBezTo>
                  <a:cubicBezTo>
                    <a:pt x="3708" y="982"/>
                    <a:pt x="3554" y="931"/>
                    <a:pt x="3480" y="923"/>
                  </a:cubicBezTo>
                  <a:cubicBezTo>
                    <a:pt x="3400" y="916"/>
                    <a:pt x="3349" y="923"/>
                    <a:pt x="3312" y="916"/>
                  </a:cubicBezTo>
                  <a:cubicBezTo>
                    <a:pt x="3283" y="901"/>
                    <a:pt x="3341" y="857"/>
                    <a:pt x="3275" y="843"/>
                  </a:cubicBezTo>
                  <a:cubicBezTo>
                    <a:pt x="3202" y="835"/>
                    <a:pt x="3165" y="784"/>
                    <a:pt x="3114" y="762"/>
                  </a:cubicBezTo>
                  <a:cubicBezTo>
                    <a:pt x="3063" y="733"/>
                    <a:pt x="3114" y="674"/>
                    <a:pt x="3063" y="711"/>
                  </a:cubicBezTo>
                  <a:cubicBezTo>
                    <a:pt x="3011" y="740"/>
                    <a:pt x="3011" y="769"/>
                    <a:pt x="2953" y="777"/>
                  </a:cubicBezTo>
                  <a:cubicBezTo>
                    <a:pt x="2887" y="784"/>
                    <a:pt x="2916" y="755"/>
                    <a:pt x="2880" y="806"/>
                  </a:cubicBezTo>
                  <a:cubicBezTo>
                    <a:pt x="2850" y="857"/>
                    <a:pt x="2821" y="865"/>
                    <a:pt x="2770" y="923"/>
                  </a:cubicBezTo>
                  <a:cubicBezTo>
                    <a:pt x="2718" y="982"/>
                    <a:pt x="2674" y="894"/>
                    <a:pt x="2645" y="879"/>
                  </a:cubicBezTo>
                  <a:cubicBezTo>
                    <a:pt x="2608" y="865"/>
                    <a:pt x="2608" y="821"/>
                    <a:pt x="2630" y="777"/>
                  </a:cubicBezTo>
                  <a:cubicBezTo>
                    <a:pt x="2645" y="733"/>
                    <a:pt x="2638" y="726"/>
                    <a:pt x="2630" y="689"/>
                  </a:cubicBezTo>
                  <a:cubicBezTo>
                    <a:pt x="2616" y="659"/>
                    <a:pt x="2594" y="645"/>
                    <a:pt x="2594" y="608"/>
                  </a:cubicBezTo>
                  <a:cubicBezTo>
                    <a:pt x="2594" y="572"/>
                    <a:pt x="2630" y="572"/>
                    <a:pt x="2652" y="550"/>
                  </a:cubicBezTo>
                  <a:cubicBezTo>
                    <a:pt x="2674" y="520"/>
                    <a:pt x="2638" y="462"/>
                    <a:pt x="2601" y="447"/>
                  </a:cubicBezTo>
                  <a:cubicBezTo>
                    <a:pt x="2565" y="432"/>
                    <a:pt x="2608" y="366"/>
                    <a:pt x="2565" y="381"/>
                  </a:cubicBezTo>
                  <a:cubicBezTo>
                    <a:pt x="2528" y="388"/>
                    <a:pt x="2499" y="352"/>
                    <a:pt x="2499" y="352"/>
                  </a:cubicBezTo>
                  <a:cubicBezTo>
                    <a:pt x="2499" y="352"/>
                    <a:pt x="2513" y="264"/>
                    <a:pt x="2484" y="235"/>
                  </a:cubicBezTo>
                  <a:cubicBezTo>
                    <a:pt x="2447" y="198"/>
                    <a:pt x="2440" y="198"/>
                    <a:pt x="2381" y="205"/>
                  </a:cubicBezTo>
                  <a:cubicBezTo>
                    <a:pt x="2323" y="213"/>
                    <a:pt x="2323" y="147"/>
                    <a:pt x="2293" y="125"/>
                  </a:cubicBezTo>
                  <a:cubicBezTo>
                    <a:pt x="2293" y="117"/>
                    <a:pt x="2293" y="117"/>
                    <a:pt x="2286" y="117"/>
                  </a:cubicBezTo>
                  <a:cubicBezTo>
                    <a:pt x="2271" y="132"/>
                    <a:pt x="2264" y="147"/>
                    <a:pt x="2264" y="147"/>
                  </a:cubicBezTo>
                  <a:cubicBezTo>
                    <a:pt x="2264" y="147"/>
                    <a:pt x="2271" y="132"/>
                    <a:pt x="2286" y="117"/>
                  </a:cubicBezTo>
                  <a:cubicBezTo>
                    <a:pt x="2264" y="95"/>
                    <a:pt x="2257" y="103"/>
                    <a:pt x="2227" y="103"/>
                  </a:cubicBezTo>
                  <a:cubicBezTo>
                    <a:pt x="2191" y="103"/>
                    <a:pt x="2206" y="29"/>
                    <a:pt x="2176" y="22"/>
                  </a:cubicBezTo>
                  <a:cubicBezTo>
                    <a:pt x="2154" y="15"/>
                    <a:pt x="2125" y="51"/>
                    <a:pt x="2081" y="95"/>
                  </a:cubicBezTo>
                  <a:cubicBezTo>
                    <a:pt x="2037" y="139"/>
                    <a:pt x="2000" y="103"/>
                    <a:pt x="1956" y="103"/>
                  </a:cubicBezTo>
                  <a:cubicBezTo>
                    <a:pt x="1912" y="103"/>
                    <a:pt x="1942" y="37"/>
                    <a:pt x="1898" y="22"/>
                  </a:cubicBezTo>
                  <a:cubicBezTo>
                    <a:pt x="1854" y="0"/>
                    <a:pt x="1810" y="22"/>
                    <a:pt x="1773" y="66"/>
                  </a:cubicBezTo>
                  <a:cubicBezTo>
                    <a:pt x="1744" y="103"/>
                    <a:pt x="1729" y="117"/>
                    <a:pt x="1678" y="125"/>
                  </a:cubicBezTo>
                  <a:cubicBezTo>
                    <a:pt x="1627" y="132"/>
                    <a:pt x="1627" y="88"/>
                    <a:pt x="1583" y="95"/>
                  </a:cubicBezTo>
                  <a:cubicBezTo>
                    <a:pt x="1539" y="103"/>
                    <a:pt x="1524" y="154"/>
                    <a:pt x="1487" y="205"/>
                  </a:cubicBezTo>
                  <a:cubicBezTo>
                    <a:pt x="1451" y="257"/>
                    <a:pt x="1436" y="257"/>
                    <a:pt x="1399" y="257"/>
                  </a:cubicBezTo>
                  <a:cubicBezTo>
                    <a:pt x="1370" y="257"/>
                    <a:pt x="1341" y="257"/>
                    <a:pt x="1311" y="264"/>
                  </a:cubicBezTo>
                  <a:cubicBezTo>
                    <a:pt x="1275" y="278"/>
                    <a:pt x="1268" y="278"/>
                    <a:pt x="1231" y="300"/>
                  </a:cubicBezTo>
                  <a:cubicBezTo>
                    <a:pt x="1202" y="330"/>
                    <a:pt x="1180" y="345"/>
                    <a:pt x="1158" y="345"/>
                  </a:cubicBezTo>
                  <a:cubicBezTo>
                    <a:pt x="1128" y="345"/>
                    <a:pt x="1128" y="308"/>
                    <a:pt x="1077" y="308"/>
                  </a:cubicBezTo>
                  <a:cubicBezTo>
                    <a:pt x="1026" y="308"/>
                    <a:pt x="1011" y="345"/>
                    <a:pt x="1011" y="345"/>
                  </a:cubicBezTo>
                  <a:cubicBezTo>
                    <a:pt x="1011" y="345"/>
                    <a:pt x="923" y="359"/>
                    <a:pt x="865" y="359"/>
                  </a:cubicBezTo>
                  <a:cubicBezTo>
                    <a:pt x="806" y="359"/>
                    <a:pt x="791" y="403"/>
                    <a:pt x="762" y="432"/>
                  </a:cubicBezTo>
                  <a:cubicBezTo>
                    <a:pt x="740" y="454"/>
                    <a:pt x="740" y="469"/>
                    <a:pt x="696" y="476"/>
                  </a:cubicBezTo>
                  <a:cubicBezTo>
                    <a:pt x="652" y="491"/>
                    <a:pt x="674" y="432"/>
                    <a:pt x="645" y="447"/>
                  </a:cubicBezTo>
                  <a:cubicBezTo>
                    <a:pt x="623" y="462"/>
                    <a:pt x="623" y="506"/>
                    <a:pt x="616" y="528"/>
                  </a:cubicBezTo>
                  <a:cubicBezTo>
                    <a:pt x="601" y="557"/>
                    <a:pt x="542" y="579"/>
                    <a:pt x="549" y="616"/>
                  </a:cubicBezTo>
                  <a:cubicBezTo>
                    <a:pt x="564" y="652"/>
                    <a:pt x="549" y="718"/>
                    <a:pt x="535" y="740"/>
                  </a:cubicBezTo>
                  <a:cubicBezTo>
                    <a:pt x="520" y="769"/>
                    <a:pt x="498" y="769"/>
                    <a:pt x="476" y="828"/>
                  </a:cubicBezTo>
                  <a:cubicBezTo>
                    <a:pt x="447" y="887"/>
                    <a:pt x="447" y="916"/>
                    <a:pt x="491" y="916"/>
                  </a:cubicBezTo>
                  <a:cubicBezTo>
                    <a:pt x="535" y="916"/>
                    <a:pt x="549" y="967"/>
                    <a:pt x="520" y="997"/>
                  </a:cubicBezTo>
                  <a:cubicBezTo>
                    <a:pt x="484" y="1033"/>
                    <a:pt x="535" y="1099"/>
                    <a:pt x="564" y="1180"/>
                  </a:cubicBezTo>
                  <a:cubicBezTo>
                    <a:pt x="586" y="1253"/>
                    <a:pt x="542" y="1260"/>
                    <a:pt x="491" y="1290"/>
                  </a:cubicBezTo>
                  <a:cubicBezTo>
                    <a:pt x="440" y="1312"/>
                    <a:pt x="491" y="1363"/>
                    <a:pt x="513" y="1451"/>
                  </a:cubicBezTo>
                  <a:cubicBezTo>
                    <a:pt x="528" y="1532"/>
                    <a:pt x="571" y="1502"/>
                    <a:pt x="586" y="1532"/>
                  </a:cubicBezTo>
                  <a:cubicBezTo>
                    <a:pt x="601" y="1568"/>
                    <a:pt x="623" y="1605"/>
                    <a:pt x="593" y="1627"/>
                  </a:cubicBezTo>
                  <a:cubicBezTo>
                    <a:pt x="571" y="1656"/>
                    <a:pt x="564" y="1685"/>
                    <a:pt x="601" y="1737"/>
                  </a:cubicBezTo>
                  <a:cubicBezTo>
                    <a:pt x="645" y="1788"/>
                    <a:pt x="586" y="1883"/>
                    <a:pt x="623" y="1883"/>
                  </a:cubicBezTo>
                  <a:cubicBezTo>
                    <a:pt x="652" y="1883"/>
                    <a:pt x="681" y="1926"/>
                    <a:pt x="652" y="1956"/>
                  </a:cubicBezTo>
                  <a:cubicBezTo>
                    <a:pt x="630" y="1992"/>
                    <a:pt x="740" y="2014"/>
                    <a:pt x="799" y="2007"/>
                  </a:cubicBezTo>
                  <a:cubicBezTo>
                    <a:pt x="813" y="1985"/>
                    <a:pt x="821" y="1970"/>
                    <a:pt x="821" y="1970"/>
                  </a:cubicBezTo>
                  <a:cubicBezTo>
                    <a:pt x="821" y="1970"/>
                    <a:pt x="813" y="1985"/>
                    <a:pt x="799" y="2007"/>
                  </a:cubicBezTo>
                  <a:lnTo>
                    <a:pt x="799" y="2007"/>
                  </a:lnTo>
                  <a:cubicBezTo>
                    <a:pt x="857" y="1999"/>
                    <a:pt x="887" y="2007"/>
                    <a:pt x="909" y="2044"/>
                  </a:cubicBezTo>
                  <a:cubicBezTo>
                    <a:pt x="938" y="2080"/>
                    <a:pt x="989" y="2087"/>
                    <a:pt x="1055" y="2080"/>
                  </a:cubicBezTo>
                  <a:cubicBezTo>
                    <a:pt x="1121" y="2065"/>
                    <a:pt x="1114" y="2058"/>
                    <a:pt x="1136" y="2058"/>
                  </a:cubicBezTo>
                  <a:cubicBezTo>
                    <a:pt x="1165" y="2058"/>
                    <a:pt x="1158" y="2095"/>
                    <a:pt x="1202" y="2102"/>
                  </a:cubicBezTo>
                  <a:cubicBezTo>
                    <a:pt x="1238" y="2109"/>
                    <a:pt x="1268" y="2131"/>
                    <a:pt x="1290" y="2190"/>
                  </a:cubicBezTo>
                  <a:cubicBezTo>
                    <a:pt x="1319" y="2249"/>
                    <a:pt x="1290" y="2293"/>
                    <a:pt x="1363" y="2307"/>
                  </a:cubicBezTo>
                  <a:cubicBezTo>
                    <a:pt x="1429" y="2322"/>
                    <a:pt x="1399" y="2329"/>
                    <a:pt x="1443" y="2315"/>
                  </a:cubicBezTo>
                  <a:cubicBezTo>
                    <a:pt x="1487" y="2300"/>
                    <a:pt x="1487" y="2329"/>
                    <a:pt x="1502" y="2373"/>
                  </a:cubicBezTo>
                  <a:cubicBezTo>
                    <a:pt x="1524" y="2417"/>
                    <a:pt x="1539" y="2454"/>
                    <a:pt x="1553" y="2520"/>
                  </a:cubicBezTo>
                  <a:cubicBezTo>
                    <a:pt x="1575" y="2586"/>
                    <a:pt x="1583" y="2593"/>
                    <a:pt x="1539" y="2630"/>
                  </a:cubicBezTo>
                  <a:cubicBezTo>
                    <a:pt x="1495" y="2666"/>
                    <a:pt x="1297" y="2622"/>
                    <a:pt x="1238" y="2644"/>
                  </a:cubicBezTo>
                  <a:cubicBezTo>
                    <a:pt x="1180" y="2674"/>
                    <a:pt x="1172" y="2718"/>
                    <a:pt x="1150" y="2754"/>
                  </a:cubicBezTo>
                  <a:cubicBezTo>
                    <a:pt x="1121" y="2798"/>
                    <a:pt x="1128" y="2857"/>
                    <a:pt x="1114" y="2864"/>
                  </a:cubicBezTo>
                  <a:cubicBezTo>
                    <a:pt x="1099" y="2879"/>
                    <a:pt x="1084" y="2776"/>
                    <a:pt x="1084" y="2776"/>
                  </a:cubicBezTo>
                  <a:cubicBezTo>
                    <a:pt x="1084" y="2776"/>
                    <a:pt x="1077" y="2820"/>
                    <a:pt x="1040" y="2835"/>
                  </a:cubicBezTo>
                  <a:cubicBezTo>
                    <a:pt x="997" y="2849"/>
                    <a:pt x="960" y="2842"/>
                    <a:pt x="952" y="2879"/>
                  </a:cubicBezTo>
                  <a:cubicBezTo>
                    <a:pt x="945" y="2908"/>
                    <a:pt x="945" y="2930"/>
                    <a:pt x="909" y="2915"/>
                  </a:cubicBezTo>
                  <a:cubicBezTo>
                    <a:pt x="872" y="2908"/>
                    <a:pt x="843" y="2894"/>
                    <a:pt x="813" y="2930"/>
                  </a:cubicBezTo>
                  <a:cubicBezTo>
                    <a:pt x="791" y="2959"/>
                    <a:pt x="799" y="2959"/>
                    <a:pt x="747" y="2981"/>
                  </a:cubicBezTo>
                  <a:cubicBezTo>
                    <a:pt x="696" y="2996"/>
                    <a:pt x="747" y="3033"/>
                    <a:pt x="791" y="3040"/>
                  </a:cubicBezTo>
                  <a:cubicBezTo>
                    <a:pt x="835" y="3047"/>
                    <a:pt x="857" y="3047"/>
                    <a:pt x="835" y="3091"/>
                  </a:cubicBezTo>
                  <a:cubicBezTo>
                    <a:pt x="806" y="3128"/>
                    <a:pt x="777" y="3121"/>
                    <a:pt x="747" y="3128"/>
                  </a:cubicBezTo>
                  <a:cubicBezTo>
                    <a:pt x="725" y="3143"/>
                    <a:pt x="703" y="3165"/>
                    <a:pt x="711" y="3208"/>
                  </a:cubicBezTo>
                  <a:cubicBezTo>
                    <a:pt x="725" y="3253"/>
                    <a:pt x="755" y="3216"/>
                    <a:pt x="784" y="3201"/>
                  </a:cubicBezTo>
                  <a:cubicBezTo>
                    <a:pt x="806" y="3179"/>
                    <a:pt x="828" y="3216"/>
                    <a:pt x="813" y="3253"/>
                  </a:cubicBezTo>
                  <a:cubicBezTo>
                    <a:pt x="806" y="3282"/>
                    <a:pt x="784" y="3282"/>
                    <a:pt x="791" y="3318"/>
                  </a:cubicBezTo>
                  <a:cubicBezTo>
                    <a:pt x="799" y="3355"/>
                    <a:pt x="828" y="3370"/>
                    <a:pt x="887" y="3377"/>
                  </a:cubicBezTo>
                  <a:cubicBezTo>
                    <a:pt x="945" y="3384"/>
                    <a:pt x="916" y="3465"/>
                    <a:pt x="887" y="3480"/>
                  </a:cubicBezTo>
                  <a:cubicBezTo>
                    <a:pt x="850" y="3494"/>
                    <a:pt x="843" y="3494"/>
                    <a:pt x="828" y="3524"/>
                  </a:cubicBezTo>
                  <a:cubicBezTo>
                    <a:pt x="806" y="3546"/>
                    <a:pt x="806" y="3553"/>
                    <a:pt x="777" y="3568"/>
                  </a:cubicBezTo>
                  <a:cubicBezTo>
                    <a:pt x="740" y="3575"/>
                    <a:pt x="696" y="3568"/>
                    <a:pt x="696" y="3568"/>
                  </a:cubicBezTo>
                  <a:cubicBezTo>
                    <a:pt x="696" y="3568"/>
                    <a:pt x="659" y="3597"/>
                    <a:pt x="593" y="3604"/>
                  </a:cubicBezTo>
                  <a:cubicBezTo>
                    <a:pt x="528" y="3619"/>
                    <a:pt x="593" y="3604"/>
                    <a:pt x="571" y="3641"/>
                  </a:cubicBezTo>
                  <a:cubicBezTo>
                    <a:pt x="542" y="3677"/>
                    <a:pt x="542" y="3677"/>
                    <a:pt x="564" y="3707"/>
                  </a:cubicBezTo>
                  <a:cubicBezTo>
                    <a:pt x="579" y="3744"/>
                    <a:pt x="549" y="3765"/>
                    <a:pt x="520" y="3787"/>
                  </a:cubicBezTo>
                  <a:cubicBezTo>
                    <a:pt x="484" y="3802"/>
                    <a:pt x="491" y="3744"/>
                    <a:pt x="469" y="3744"/>
                  </a:cubicBezTo>
                  <a:cubicBezTo>
                    <a:pt x="440" y="3744"/>
                    <a:pt x="461" y="3787"/>
                    <a:pt x="418" y="3831"/>
                  </a:cubicBezTo>
                  <a:cubicBezTo>
                    <a:pt x="374" y="3868"/>
                    <a:pt x="322" y="3809"/>
                    <a:pt x="315" y="3787"/>
                  </a:cubicBezTo>
                  <a:cubicBezTo>
                    <a:pt x="308" y="3758"/>
                    <a:pt x="330" y="3722"/>
                    <a:pt x="330" y="3722"/>
                  </a:cubicBezTo>
                  <a:cubicBezTo>
                    <a:pt x="330" y="3722"/>
                    <a:pt x="271" y="3656"/>
                    <a:pt x="300" y="3634"/>
                  </a:cubicBezTo>
                  <a:cubicBezTo>
                    <a:pt x="322" y="3604"/>
                    <a:pt x="264" y="3582"/>
                    <a:pt x="249" y="3619"/>
                  </a:cubicBezTo>
                  <a:cubicBezTo>
                    <a:pt x="227" y="3648"/>
                    <a:pt x="227" y="3641"/>
                    <a:pt x="183" y="3670"/>
                  </a:cubicBezTo>
                  <a:cubicBezTo>
                    <a:pt x="147" y="3692"/>
                    <a:pt x="125" y="3699"/>
                    <a:pt x="110" y="3751"/>
                  </a:cubicBezTo>
                  <a:cubicBezTo>
                    <a:pt x="95" y="3802"/>
                    <a:pt x="88" y="3839"/>
                    <a:pt x="44" y="3846"/>
                  </a:cubicBezTo>
                  <a:cubicBezTo>
                    <a:pt x="0" y="3853"/>
                    <a:pt x="0" y="3897"/>
                    <a:pt x="15" y="3949"/>
                  </a:cubicBezTo>
                  <a:cubicBezTo>
                    <a:pt x="37" y="4000"/>
                    <a:pt x="59" y="3978"/>
                    <a:pt x="88" y="3956"/>
                  </a:cubicBezTo>
                  <a:cubicBezTo>
                    <a:pt x="110" y="3934"/>
                    <a:pt x="154" y="3971"/>
                    <a:pt x="168" y="4029"/>
                  </a:cubicBezTo>
                  <a:cubicBezTo>
                    <a:pt x="183" y="4095"/>
                    <a:pt x="176" y="4110"/>
                    <a:pt x="117" y="4146"/>
                  </a:cubicBezTo>
                  <a:cubicBezTo>
                    <a:pt x="59" y="4176"/>
                    <a:pt x="51" y="4183"/>
                    <a:pt x="22" y="4227"/>
                  </a:cubicBezTo>
                  <a:cubicBezTo>
                    <a:pt x="7" y="4264"/>
                    <a:pt x="95" y="4293"/>
                    <a:pt x="117" y="4300"/>
                  </a:cubicBezTo>
                  <a:cubicBezTo>
                    <a:pt x="147" y="4300"/>
                    <a:pt x="168" y="4308"/>
                    <a:pt x="183" y="4330"/>
                  </a:cubicBezTo>
                  <a:cubicBezTo>
                    <a:pt x="205" y="4359"/>
                    <a:pt x="198" y="4498"/>
                    <a:pt x="249" y="4520"/>
                  </a:cubicBezTo>
                  <a:cubicBezTo>
                    <a:pt x="308" y="4542"/>
                    <a:pt x="366" y="4564"/>
                    <a:pt x="410" y="4564"/>
                  </a:cubicBezTo>
                  <a:cubicBezTo>
                    <a:pt x="440" y="4564"/>
                    <a:pt x="513" y="4601"/>
                    <a:pt x="564" y="4630"/>
                  </a:cubicBezTo>
                  <a:cubicBezTo>
                    <a:pt x="557" y="4623"/>
                    <a:pt x="557" y="4623"/>
                    <a:pt x="557" y="4623"/>
                  </a:cubicBezTo>
                  <a:cubicBezTo>
                    <a:pt x="557" y="4623"/>
                    <a:pt x="616" y="4579"/>
                    <a:pt x="659" y="4579"/>
                  </a:cubicBezTo>
                  <a:cubicBezTo>
                    <a:pt x="703" y="4579"/>
                    <a:pt x="696" y="4667"/>
                    <a:pt x="725" y="4711"/>
                  </a:cubicBezTo>
                  <a:cubicBezTo>
                    <a:pt x="762" y="4755"/>
                    <a:pt x="828" y="4733"/>
                    <a:pt x="865" y="4769"/>
                  </a:cubicBezTo>
                  <a:cubicBezTo>
                    <a:pt x="901" y="4806"/>
                    <a:pt x="872" y="4828"/>
                    <a:pt x="865" y="4857"/>
                  </a:cubicBezTo>
                  <a:cubicBezTo>
                    <a:pt x="850" y="4894"/>
                    <a:pt x="901" y="4872"/>
                    <a:pt x="909" y="4916"/>
                  </a:cubicBezTo>
                  <a:cubicBezTo>
                    <a:pt x="923" y="4960"/>
                    <a:pt x="967" y="5136"/>
                    <a:pt x="1026" y="4960"/>
                  </a:cubicBezTo>
                  <a:cubicBezTo>
                    <a:pt x="1077" y="4791"/>
                    <a:pt x="1092" y="4703"/>
                    <a:pt x="1128" y="4681"/>
                  </a:cubicBezTo>
                  <a:cubicBezTo>
                    <a:pt x="1158" y="4659"/>
                    <a:pt x="1180" y="4586"/>
                    <a:pt x="1180" y="4542"/>
                  </a:cubicBezTo>
                  <a:cubicBezTo>
                    <a:pt x="1180" y="4498"/>
                    <a:pt x="1275" y="4462"/>
                    <a:pt x="1304" y="4454"/>
                  </a:cubicBezTo>
                  <a:cubicBezTo>
                    <a:pt x="1341" y="4440"/>
                    <a:pt x="1363" y="4374"/>
                    <a:pt x="1385" y="4330"/>
                  </a:cubicBezTo>
                  <a:cubicBezTo>
                    <a:pt x="1407" y="4278"/>
                    <a:pt x="1692" y="4227"/>
                    <a:pt x="1737" y="4234"/>
                  </a:cubicBezTo>
                  <a:cubicBezTo>
                    <a:pt x="1780" y="4249"/>
                    <a:pt x="1780" y="4234"/>
                    <a:pt x="1876" y="4168"/>
                  </a:cubicBezTo>
                  <a:cubicBezTo>
                    <a:pt x="1964" y="4103"/>
                    <a:pt x="2052" y="4088"/>
                    <a:pt x="2176" y="4154"/>
                  </a:cubicBezTo>
                  <a:cubicBezTo>
                    <a:pt x="2301" y="4227"/>
                    <a:pt x="2271" y="4234"/>
                    <a:pt x="2271" y="4234"/>
                  </a:cubicBezTo>
                  <a:cubicBezTo>
                    <a:pt x="2271" y="4234"/>
                    <a:pt x="2396" y="4213"/>
                    <a:pt x="2425" y="4110"/>
                  </a:cubicBezTo>
                  <a:cubicBezTo>
                    <a:pt x="2462" y="4007"/>
                    <a:pt x="2418" y="3985"/>
                    <a:pt x="2440" y="3919"/>
                  </a:cubicBezTo>
                  <a:cubicBezTo>
                    <a:pt x="2462" y="3853"/>
                    <a:pt x="2506" y="3919"/>
                    <a:pt x="2565" y="3897"/>
                  </a:cubicBezTo>
                  <a:cubicBezTo>
                    <a:pt x="2623" y="3875"/>
                    <a:pt x="2652" y="3853"/>
                    <a:pt x="2726" y="3875"/>
                  </a:cubicBezTo>
                  <a:cubicBezTo>
                    <a:pt x="2792" y="3897"/>
                    <a:pt x="2850" y="3861"/>
                    <a:pt x="2850" y="3758"/>
                  </a:cubicBezTo>
                  <a:cubicBezTo>
                    <a:pt x="2850" y="3656"/>
                    <a:pt x="2894" y="3553"/>
                    <a:pt x="2938" y="3582"/>
                  </a:cubicBezTo>
                  <a:cubicBezTo>
                    <a:pt x="2982" y="3604"/>
                    <a:pt x="3056" y="3670"/>
                    <a:pt x="3063" y="3612"/>
                  </a:cubicBezTo>
                  <a:cubicBezTo>
                    <a:pt x="3078" y="3553"/>
                    <a:pt x="3078" y="3524"/>
                    <a:pt x="3121" y="3465"/>
                  </a:cubicBezTo>
                  <a:cubicBezTo>
                    <a:pt x="3165" y="3406"/>
                    <a:pt x="3180" y="3340"/>
                    <a:pt x="3180" y="3340"/>
                  </a:cubicBezTo>
                  <a:cubicBezTo>
                    <a:pt x="3180" y="3340"/>
                    <a:pt x="3165" y="3406"/>
                    <a:pt x="3224" y="3458"/>
                  </a:cubicBezTo>
                  <a:cubicBezTo>
                    <a:pt x="3275" y="3502"/>
                    <a:pt x="3312" y="3531"/>
                    <a:pt x="3349" y="3502"/>
                  </a:cubicBezTo>
                  <a:cubicBezTo>
                    <a:pt x="3378" y="3465"/>
                    <a:pt x="3392" y="3480"/>
                    <a:pt x="3437" y="3406"/>
                  </a:cubicBezTo>
                  <a:cubicBezTo>
                    <a:pt x="3480" y="3340"/>
                    <a:pt x="3480" y="3318"/>
                    <a:pt x="3480" y="3260"/>
                  </a:cubicBezTo>
                  <a:cubicBezTo>
                    <a:pt x="3480" y="3201"/>
                    <a:pt x="3451" y="3128"/>
                    <a:pt x="3502" y="3135"/>
                  </a:cubicBezTo>
                  <a:cubicBezTo>
                    <a:pt x="3561" y="3150"/>
                    <a:pt x="3598" y="3157"/>
                    <a:pt x="3678" y="3113"/>
                  </a:cubicBezTo>
                  <a:cubicBezTo>
                    <a:pt x="3752" y="3069"/>
                    <a:pt x="3788" y="3106"/>
                    <a:pt x="3847" y="3106"/>
                  </a:cubicBezTo>
                  <a:cubicBezTo>
                    <a:pt x="3906" y="3106"/>
                    <a:pt x="3913" y="3069"/>
                    <a:pt x="3993" y="3047"/>
                  </a:cubicBezTo>
                  <a:cubicBezTo>
                    <a:pt x="4074" y="3025"/>
                    <a:pt x="4081" y="3069"/>
                    <a:pt x="4155" y="3047"/>
                  </a:cubicBezTo>
                  <a:cubicBezTo>
                    <a:pt x="4221" y="3025"/>
                    <a:pt x="4264" y="3025"/>
                    <a:pt x="4242" y="2967"/>
                  </a:cubicBezTo>
                  <a:cubicBezTo>
                    <a:pt x="4221" y="2908"/>
                    <a:pt x="4242" y="2806"/>
                    <a:pt x="4382" y="2776"/>
                  </a:cubicBezTo>
                  <a:cubicBezTo>
                    <a:pt x="4514" y="2740"/>
                    <a:pt x="4528" y="2798"/>
                    <a:pt x="4631" y="2732"/>
                  </a:cubicBezTo>
                  <a:cubicBezTo>
                    <a:pt x="4726" y="2659"/>
                    <a:pt x="4821" y="2608"/>
                    <a:pt x="4887" y="2571"/>
                  </a:cubicBezTo>
                  <a:cubicBezTo>
                    <a:pt x="4953" y="2534"/>
                    <a:pt x="4865" y="2549"/>
                    <a:pt x="4946" y="2476"/>
                  </a:cubicBezTo>
                  <a:cubicBezTo>
                    <a:pt x="5027" y="2410"/>
                    <a:pt x="5049" y="2432"/>
                    <a:pt x="5137" y="2410"/>
                  </a:cubicBezTo>
                  <a:cubicBezTo>
                    <a:pt x="5232" y="2388"/>
                    <a:pt x="5320" y="2322"/>
                    <a:pt x="5195" y="2278"/>
                  </a:cubicBezTo>
                  <a:cubicBezTo>
                    <a:pt x="5071" y="2227"/>
                    <a:pt x="5049" y="2219"/>
                    <a:pt x="5049" y="2175"/>
                  </a:cubicBezTo>
                  <a:cubicBezTo>
                    <a:pt x="5049" y="2131"/>
                    <a:pt x="4975" y="2139"/>
                    <a:pt x="4953" y="2102"/>
                  </a:cubicBezTo>
                  <a:cubicBezTo>
                    <a:pt x="4931" y="2073"/>
                    <a:pt x="4931" y="2073"/>
                    <a:pt x="4953" y="1992"/>
                  </a:cubicBezTo>
                  <a:cubicBezTo>
                    <a:pt x="4975" y="1912"/>
                    <a:pt x="4968" y="1912"/>
                    <a:pt x="5056" y="1926"/>
                  </a:cubicBezTo>
                  <a:cubicBezTo>
                    <a:pt x="5151" y="1934"/>
                    <a:pt x="5151" y="1934"/>
                    <a:pt x="5195" y="1977"/>
                  </a:cubicBezTo>
                  <a:cubicBezTo>
                    <a:pt x="5239" y="2029"/>
                    <a:pt x="5261" y="2036"/>
                    <a:pt x="5305" y="1970"/>
                  </a:cubicBezTo>
                  <a:cubicBezTo>
                    <a:pt x="5356" y="1904"/>
                    <a:pt x="5400" y="1904"/>
                    <a:pt x="5444" y="1948"/>
                  </a:cubicBezTo>
                  <a:cubicBezTo>
                    <a:pt x="5488" y="1992"/>
                    <a:pt x="5605" y="2029"/>
                    <a:pt x="5628" y="2073"/>
                  </a:cubicBezTo>
                  <a:cubicBezTo>
                    <a:pt x="5649" y="2117"/>
                    <a:pt x="5649" y="2183"/>
                    <a:pt x="5613" y="2227"/>
                  </a:cubicBezTo>
                  <a:cubicBezTo>
                    <a:pt x="5583" y="2278"/>
                    <a:pt x="5613" y="2344"/>
                    <a:pt x="5693" y="2300"/>
                  </a:cubicBezTo>
                  <a:cubicBezTo>
                    <a:pt x="5774" y="2256"/>
                    <a:pt x="5796" y="2351"/>
                    <a:pt x="5752" y="2410"/>
                  </a:cubicBezTo>
                  <a:cubicBezTo>
                    <a:pt x="5708" y="2468"/>
                    <a:pt x="5730" y="2513"/>
                    <a:pt x="5803" y="2527"/>
                  </a:cubicBezTo>
                  <a:cubicBezTo>
                    <a:pt x="5884" y="2534"/>
                    <a:pt x="5986" y="2571"/>
                    <a:pt x="6009" y="2608"/>
                  </a:cubicBezTo>
                  <a:cubicBezTo>
                    <a:pt x="6030" y="2637"/>
                    <a:pt x="6148" y="2615"/>
                    <a:pt x="6155" y="2513"/>
                  </a:cubicBezTo>
                  <a:cubicBezTo>
                    <a:pt x="6170" y="2410"/>
                    <a:pt x="6170" y="2344"/>
                    <a:pt x="6236" y="2263"/>
                  </a:cubicBezTo>
                  <a:cubicBezTo>
                    <a:pt x="6309" y="2183"/>
                    <a:pt x="6294" y="2051"/>
                    <a:pt x="6331" y="1970"/>
                  </a:cubicBezTo>
                  <a:cubicBezTo>
                    <a:pt x="6360" y="1890"/>
                    <a:pt x="6485" y="1517"/>
                    <a:pt x="6455" y="1451"/>
                  </a:cubicBezTo>
                  <a:cubicBezTo>
                    <a:pt x="6419" y="1378"/>
                    <a:pt x="6455" y="1290"/>
                    <a:pt x="6477" y="1209"/>
                  </a:cubicBezTo>
                  <a:cubicBezTo>
                    <a:pt x="6499" y="1128"/>
                    <a:pt x="6433" y="1004"/>
                    <a:pt x="6382" y="916"/>
                  </a:cubicBezTo>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75" name="Freeform 74">
              <a:extLst>
                <a:ext uri="{FF2B5EF4-FFF2-40B4-BE49-F238E27FC236}">
                  <a16:creationId xmlns:a16="http://schemas.microsoft.com/office/drawing/2014/main" id="{365D7189-B8D5-9F48-86E3-9AD5123B0575}"/>
                </a:ext>
              </a:extLst>
            </p:cNvPr>
            <p:cNvSpPr>
              <a:spLocks noChangeArrowheads="1"/>
            </p:cNvSpPr>
            <p:nvPr/>
          </p:nvSpPr>
          <p:spPr bwMode="auto">
            <a:xfrm>
              <a:off x="5495144" y="4899865"/>
              <a:ext cx="393964" cy="302768"/>
            </a:xfrm>
            <a:custGeom>
              <a:avLst/>
              <a:gdLst>
                <a:gd name="T0" fmla="*/ 7 w 1027"/>
                <a:gd name="T1" fmla="*/ 66 h 800"/>
                <a:gd name="T2" fmla="*/ 7 w 1027"/>
                <a:gd name="T3" fmla="*/ 66 h 800"/>
                <a:gd name="T4" fmla="*/ 95 w 1027"/>
                <a:gd name="T5" fmla="*/ 183 h 800"/>
                <a:gd name="T6" fmla="*/ 257 w 1027"/>
                <a:gd name="T7" fmla="*/ 278 h 800"/>
                <a:gd name="T8" fmla="*/ 322 w 1027"/>
                <a:gd name="T9" fmla="*/ 417 h 800"/>
                <a:gd name="T10" fmla="*/ 396 w 1027"/>
                <a:gd name="T11" fmla="*/ 498 h 800"/>
                <a:gd name="T12" fmla="*/ 447 w 1027"/>
                <a:gd name="T13" fmla="*/ 637 h 800"/>
                <a:gd name="T14" fmla="*/ 586 w 1027"/>
                <a:gd name="T15" fmla="*/ 696 h 800"/>
                <a:gd name="T16" fmla="*/ 674 w 1027"/>
                <a:gd name="T17" fmla="*/ 740 h 800"/>
                <a:gd name="T18" fmla="*/ 747 w 1027"/>
                <a:gd name="T19" fmla="*/ 747 h 800"/>
                <a:gd name="T20" fmla="*/ 835 w 1027"/>
                <a:gd name="T21" fmla="*/ 762 h 800"/>
                <a:gd name="T22" fmla="*/ 916 w 1027"/>
                <a:gd name="T23" fmla="*/ 740 h 800"/>
                <a:gd name="T24" fmla="*/ 975 w 1027"/>
                <a:gd name="T25" fmla="*/ 630 h 800"/>
                <a:gd name="T26" fmla="*/ 982 w 1027"/>
                <a:gd name="T27" fmla="*/ 527 h 800"/>
                <a:gd name="T28" fmla="*/ 982 w 1027"/>
                <a:gd name="T29" fmla="*/ 454 h 800"/>
                <a:gd name="T30" fmla="*/ 1004 w 1027"/>
                <a:gd name="T31" fmla="*/ 396 h 800"/>
                <a:gd name="T32" fmla="*/ 931 w 1027"/>
                <a:gd name="T33" fmla="*/ 300 h 800"/>
                <a:gd name="T34" fmla="*/ 850 w 1027"/>
                <a:gd name="T35" fmla="*/ 352 h 800"/>
                <a:gd name="T36" fmla="*/ 755 w 1027"/>
                <a:gd name="T37" fmla="*/ 337 h 800"/>
                <a:gd name="T38" fmla="*/ 608 w 1027"/>
                <a:gd name="T39" fmla="*/ 264 h 800"/>
                <a:gd name="T40" fmla="*/ 491 w 1027"/>
                <a:gd name="T41" fmla="*/ 220 h 800"/>
                <a:gd name="T42" fmla="*/ 396 w 1027"/>
                <a:gd name="T43" fmla="*/ 190 h 800"/>
                <a:gd name="T44" fmla="*/ 293 w 1027"/>
                <a:gd name="T45" fmla="*/ 154 h 800"/>
                <a:gd name="T46" fmla="*/ 220 w 1027"/>
                <a:gd name="T47" fmla="*/ 110 h 800"/>
                <a:gd name="T48" fmla="*/ 110 w 1027"/>
                <a:gd name="T49" fmla="*/ 95 h 800"/>
                <a:gd name="T50" fmla="*/ 7 w 1027"/>
                <a:gd name="T51" fmla="*/ 6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27" h="800">
                  <a:moveTo>
                    <a:pt x="7" y="66"/>
                  </a:moveTo>
                  <a:lnTo>
                    <a:pt x="7" y="66"/>
                  </a:lnTo>
                  <a:cubicBezTo>
                    <a:pt x="0" y="110"/>
                    <a:pt x="44" y="168"/>
                    <a:pt x="95" y="183"/>
                  </a:cubicBezTo>
                  <a:cubicBezTo>
                    <a:pt x="147" y="205"/>
                    <a:pt x="234" y="234"/>
                    <a:pt x="257" y="278"/>
                  </a:cubicBezTo>
                  <a:cubicBezTo>
                    <a:pt x="271" y="322"/>
                    <a:pt x="278" y="381"/>
                    <a:pt x="322" y="417"/>
                  </a:cubicBezTo>
                  <a:cubicBezTo>
                    <a:pt x="366" y="447"/>
                    <a:pt x="374" y="454"/>
                    <a:pt x="396" y="498"/>
                  </a:cubicBezTo>
                  <a:cubicBezTo>
                    <a:pt x="425" y="542"/>
                    <a:pt x="425" y="594"/>
                    <a:pt x="447" y="637"/>
                  </a:cubicBezTo>
                  <a:cubicBezTo>
                    <a:pt x="476" y="681"/>
                    <a:pt x="528" y="703"/>
                    <a:pt x="586" y="696"/>
                  </a:cubicBezTo>
                  <a:cubicBezTo>
                    <a:pt x="645" y="689"/>
                    <a:pt x="652" y="711"/>
                    <a:pt x="674" y="740"/>
                  </a:cubicBezTo>
                  <a:cubicBezTo>
                    <a:pt x="689" y="762"/>
                    <a:pt x="718" y="791"/>
                    <a:pt x="747" y="747"/>
                  </a:cubicBezTo>
                  <a:cubicBezTo>
                    <a:pt x="769" y="703"/>
                    <a:pt x="806" y="725"/>
                    <a:pt x="835" y="762"/>
                  </a:cubicBezTo>
                  <a:cubicBezTo>
                    <a:pt x="857" y="799"/>
                    <a:pt x="887" y="799"/>
                    <a:pt x="916" y="740"/>
                  </a:cubicBezTo>
                  <a:cubicBezTo>
                    <a:pt x="952" y="681"/>
                    <a:pt x="997" y="689"/>
                    <a:pt x="975" y="630"/>
                  </a:cubicBezTo>
                  <a:cubicBezTo>
                    <a:pt x="960" y="564"/>
                    <a:pt x="960" y="564"/>
                    <a:pt x="982" y="527"/>
                  </a:cubicBezTo>
                  <a:cubicBezTo>
                    <a:pt x="1011" y="484"/>
                    <a:pt x="1004" y="484"/>
                    <a:pt x="982" y="454"/>
                  </a:cubicBezTo>
                  <a:cubicBezTo>
                    <a:pt x="967" y="432"/>
                    <a:pt x="975" y="447"/>
                    <a:pt x="1004" y="396"/>
                  </a:cubicBezTo>
                  <a:cubicBezTo>
                    <a:pt x="1026" y="344"/>
                    <a:pt x="982" y="315"/>
                    <a:pt x="931" y="300"/>
                  </a:cubicBezTo>
                  <a:cubicBezTo>
                    <a:pt x="887" y="293"/>
                    <a:pt x="887" y="344"/>
                    <a:pt x="850" y="352"/>
                  </a:cubicBezTo>
                  <a:cubicBezTo>
                    <a:pt x="813" y="366"/>
                    <a:pt x="784" y="396"/>
                    <a:pt x="755" y="337"/>
                  </a:cubicBezTo>
                  <a:cubicBezTo>
                    <a:pt x="733" y="278"/>
                    <a:pt x="652" y="256"/>
                    <a:pt x="608" y="264"/>
                  </a:cubicBezTo>
                  <a:cubicBezTo>
                    <a:pt x="571" y="271"/>
                    <a:pt x="506" y="256"/>
                    <a:pt x="491" y="220"/>
                  </a:cubicBezTo>
                  <a:cubicBezTo>
                    <a:pt x="476" y="183"/>
                    <a:pt x="447" y="183"/>
                    <a:pt x="396" y="190"/>
                  </a:cubicBezTo>
                  <a:cubicBezTo>
                    <a:pt x="344" y="205"/>
                    <a:pt x="322" y="183"/>
                    <a:pt x="293" y="154"/>
                  </a:cubicBezTo>
                  <a:cubicBezTo>
                    <a:pt x="271" y="117"/>
                    <a:pt x="264" y="110"/>
                    <a:pt x="220" y="110"/>
                  </a:cubicBezTo>
                  <a:cubicBezTo>
                    <a:pt x="176" y="110"/>
                    <a:pt x="132" y="132"/>
                    <a:pt x="110" y="95"/>
                  </a:cubicBezTo>
                  <a:cubicBezTo>
                    <a:pt x="80" y="51"/>
                    <a:pt x="15" y="0"/>
                    <a:pt x="7" y="66"/>
                  </a:cubicBezTo>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76" name="Freeform 75">
              <a:extLst>
                <a:ext uri="{FF2B5EF4-FFF2-40B4-BE49-F238E27FC236}">
                  <a16:creationId xmlns:a16="http://schemas.microsoft.com/office/drawing/2014/main" id="{0FCBBDD6-F75F-744B-ABD6-EAD89107E7D3}"/>
                </a:ext>
              </a:extLst>
            </p:cNvPr>
            <p:cNvSpPr>
              <a:spLocks noChangeArrowheads="1"/>
            </p:cNvSpPr>
            <p:nvPr/>
          </p:nvSpPr>
          <p:spPr bwMode="auto">
            <a:xfrm>
              <a:off x="5349231" y="2581680"/>
              <a:ext cx="2272586" cy="2152209"/>
            </a:xfrm>
            <a:custGeom>
              <a:avLst/>
              <a:gdLst>
                <a:gd name="T0" fmla="*/ 4140 w 5913"/>
                <a:gd name="T1" fmla="*/ 5488 h 5665"/>
                <a:gd name="T2" fmla="*/ 3788 w 5913"/>
                <a:gd name="T3" fmla="*/ 5569 h 5665"/>
                <a:gd name="T4" fmla="*/ 3466 w 5913"/>
                <a:gd name="T5" fmla="*/ 5422 h 5665"/>
                <a:gd name="T6" fmla="*/ 3187 w 5913"/>
                <a:gd name="T7" fmla="*/ 5400 h 5665"/>
                <a:gd name="T8" fmla="*/ 2894 w 5913"/>
                <a:gd name="T9" fmla="*/ 5063 h 5665"/>
                <a:gd name="T10" fmla="*/ 2081 w 5913"/>
                <a:gd name="T11" fmla="*/ 4118 h 5665"/>
                <a:gd name="T12" fmla="*/ 1443 w 5913"/>
                <a:gd name="T13" fmla="*/ 3935 h 5665"/>
                <a:gd name="T14" fmla="*/ 1092 w 5913"/>
                <a:gd name="T15" fmla="*/ 3429 h 5665"/>
                <a:gd name="T16" fmla="*/ 1341 w 5913"/>
                <a:gd name="T17" fmla="*/ 3334 h 5665"/>
                <a:gd name="T18" fmla="*/ 1062 w 5913"/>
                <a:gd name="T19" fmla="*/ 3136 h 5665"/>
                <a:gd name="T20" fmla="*/ 945 w 5913"/>
                <a:gd name="T21" fmla="*/ 2616 h 5665"/>
                <a:gd name="T22" fmla="*/ 571 w 5913"/>
                <a:gd name="T23" fmla="*/ 2462 h 5665"/>
                <a:gd name="T24" fmla="*/ 703 w 5913"/>
                <a:gd name="T25" fmla="*/ 2242 h 5665"/>
                <a:gd name="T26" fmla="*/ 1209 w 5913"/>
                <a:gd name="T27" fmla="*/ 2191 h 5665"/>
                <a:gd name="T28" fmla="*/ 1290 w 5913"/>
                <a:gd name="T29" fmla="*/ 2022 h 5665"/>
                <a:gd name="T30" fmla="*/ 1026 w 5913"/>
                <a:gd name="T31" fmla="*/ 1920 h 5665"/>
                <a:gd name="T32" fmla="*/ 1143 w 5913"/>
                <a:gd name="T33" fmla="*/ 1634 h 5665"/>
                <a:gd name="T34" fmla="*/ 923 w 5913"/>
                <a:gd name="T35" fmla="*/ 1312 h 5665"/>
                <a:gd name="T36" fmla="*/ 608 w 5913"/>
                <a:gd name="T37" fmla="*/ 674 h 5665"/>
                <a:gd name="T38" fmla="*/ 183 w 5913"/>
                <a:gd name="T39" fmla="*/ 689 h 5665"/>
                <a:gd name="T40" fmla="*/ 110 w 5913"/>
                <a:gd name="T41" fmla="*/ 1055 h 5665"/>
                <a:gd name="T42" fmla="*/ 139 w 5913"/>
                <a:gd name="T43" fmla="*/ 249 h 5665"/>
                <a:gd name="T44" fmla="*/ 418 w 5913"/>
                <a:gd name="T45" fmla="*/ 95 h 5665"/>
                <a:gd name="T46" fmla="*/ 205 w 5913"/>
                <a:gd name="T47" fmla="*/ 403 h 5665"/>
                <a:gd name="T48" fmla="*/ 821 w 5913"/>
                <a:gd name="T49" fmla="*/ 564 h 5665"/>
                <a:gd name="T50" fmla="*/ 1700 w 5913"/>
                <a:gd name="T51" fmla="*/ 660 h 5665"/>
                <a:gd name="T52" fmla="*/ 2220 w 5913"/>
                <a:gd name="T53" fmla="*/ 777 h 5665"/>
                <a:gd name="T54" fmla="*/ 2550 w 5913"/>
                <a:gd name="T55" fmla="*/ 769 h 5665"/>
                <a:gd name="T56" fmla="*/ 3165 w 5913"/>
                <a:gd name="T57" fmla="*/ 901 h 5665"/>
                <a:gd name="T58" fmla="*/ 3414 w 5913"/>
                <a:gd name="T59" fmla="*/ 1414 h 5665"/>
                <a:gd name="T60" fmla="*/ 3078 w 5913"/>
                <a:gd name="T61" fmla="*/ 2059 h 5665"/>
                <a:gd name="T62" fmla="*/ 3744 w 5913"/>
                <a:gd name="T63" fmla="*/ 2044 h 5665"/>
                <a:gd name="T64" fmla="*/ 3942 w 5913"/>
                <a:gd name="T65" fmla="*/ 2088 h 5665"/>
                <a:gd name="T66" fmla="*/ 4813 w 5913"/>
                <a:gd name="T67" fmla="*/ 2499 h 5665"/>
                <a:gd name="T68" fmla="*/ 5414 w 5913"/>
                <a:gd name="T69" fmla="*/ 2242 h 5665"/>
                <a:gd name="T70" fmla="*/ 5297 w 5913"/>
                <a:gd name="T71" fmla="*/ 2081 h 5665"/>
                <a:gd name="T72" fmla="*/ 5326 w 5913"/>
                <a:gd name="T73" fmla="*/ 1788 h 5665"/>
                <a:gd name="T74" fmla="*/ 5868 w 5913"/>
                <a:gd name="T75" fmla="*/ 2096 h 5665"/>
                <a:gd name="T76" fmla="*/ 5670 w 5913"/>
                <a:gd name="T77" fmla="*/ 2140 h 5665"/>
                <a:gd name="T78" fmla="*/ 5458 w 5913"/>
                <a:gd name="T79" fmla="*/ 2308 h 5665"/>
                <a:gd name="T80" fmla="*/ 5282 w 5913"/>
                <a:gd name="T81" fmla="*/ 3041 h 5665"/>
                <a:gd name="T82" fmla="*/ 5106 w 5913"/>
                <a:gd name="T83" fmla="*/ 3605 h 5665"/>
                <a:gd name="T84" fmla="*/ 4864 w 5913"/>
                <a:gd name="T85" fmla="*/ 4052 h 5665"/>
                <a:gd name="T86" fmla="*/ 5209 w 5913"/>
                <a:gd name="T87" fmla="*/ 4543 h 5665"/>
                <a:gd name="T88" fmla="*/ 5099 w 5913"/>
                <a:gd name="T89" fmla="*/ 4976 h 5665"/>
                <a:gd name="T90" fmla="*/ 4857 w 5913"/>
                <a:gd name="T91" fmla="*/ 5276 h 5665"/>
                <a:gd name="T92" fmla="*/ 4593 w 5913"/>
                <a:gd name="T93" fmla="*/ 5657 h 5665"/>
                <a:gd name="T94" fmla="*/ 3656 w 5913"/>
                <a:gd name="T95" fmla="*/ 2403 h 5665"/>
                <a:gd name="T96" fmla="*/ 322 w 5913"/>
                <a:gd name="T97" fmla="*/ 2030 h 5665"/>
                <a:gd name="T98" fmla="*/ 667 w 5913"/>
                <a:gd name="T99" fmla="*/ 1979 h 5665"/>
                <a:gd name="T100" fmla="*/ 850 w 5913"/>
                <a:gd name="T101" fmla="*/ 1707 h 5665"/>
                <a:gd name="T102" fmla="*/ 667 w 5913"/>
                <a:gd name="T103" fmla="*/ 1979 h 5665"/>
                <a:gd name="T104" fmla="*/ 564 w 5913"/>
                <a:gd name="T105" fmla="*/ 1649 h 5665"/>
                <a:gd name="T106" fmla="*/ 51 w 5913"/>
                <a:gd name="T107" fmla="*/ 1392 h 5665"/>
                <a:gd name="T108" fmla="*/ 227 w 5913"/>
                <a:gd name="T109" fmla="*/ 1400 h 5665"/>
                <a:gd name="T110" fmla="*/ 557 w 5913"/>
                <a:gd name="T111" fmla="*/ 1531 h 5665"/>
                <a:gd name="T112" fmla="*/ 791 w 5913"/>
                <a:gd name="T113" fmla="*/ 1282 h 5665"/>
                <a:gd name="T114" fmla="*/ 528 w 5913"/>
                <a:gd name="T115" fmla="*/ 1356 h 5665"/>
                <a:gd name="T116" fmla="*/ 330 w 5913"/>
                <a:gd name="T117" fmla="*/ 1077 h 5665"/>
                <a:gd name="T118" fmla="*/ 593 w 5913"/>
                <a:gd name="T119" fmla="*/ 1282 h 56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13" h="5665">
                  <a:moveTo>
                    <a:pt x="4549" y="5664"/>
                  </a:moveTo>
                  <a:lnTo>
                    <a:pt x="4549" y="5664"/>
                  </a:lnTo>
                  <a:cubicBezTo>
                    <a:pt x="4527" y="5664"/>
                    <a:pt x="4498" y="5657"/>
                    <a:pt x="4476" y="5650"/>
                  </a:cubicBezTo>
                  <a:cubicBezTo>
                    <a:pt x="4461" y="5642"/>
                    <a:pt x="4447" y="5642"/>
                    <a:pt x="4432" y="5635"/>
                  </a:cubicBezTo>
                  <a:cubicBezTo>
                    <a:pt x="4389" y="5628"/>
                    <a:pt x="4323" y="5598"/>
                    <a:pt x="4286" y="5576"/>
                  </a:cubicBezTo>
                  <a:cubicBezTo>
                    <a:pt x="4272" y="5569"/>
                    <a:pt x="4264" y="5562"/>
                    <a:pt x="4257" y="5562"/>
                  </a:cubicBezTo>
                  <a:cubicBezTo>
                    <a:pt x="4235" y="5547"/>
                    <a:pt x="4184" y="5518"/>
                    <a:pt x="4140" y="5488"/>
                  </a:cubicBezTo>
                  <a:cubicBezTo>
                    <a:pt x="4118" y="5474"/>
                    <a:pt x="4096" y="5467"/>
                    <a:pt x="4089" y="5459"/>
                  </a:cubicBezTo>
                  <a:cubicBezTo>
                    <a:pt x="4081" y="5452"/>
                    <a:pt x="4067" y="5452"/>
                    <a:pt x="4059" y="5452"/>
                  </a:cubicBezTo>
                  <a:cubicBezTo>
                    <a:pt x="4052" y="5452"/>
                    <a:pt x="4037" y="5459"/>
                    <a:pt x="4015" y="5459"/>
                  </a:cubicBezTo>
                  <a:cubicBezTo>
                    <a:pt x="4001" y="5467"/>
                    <a:pt x="3986" y="5474"/>
                    <a:pt x="3971" y="5474"/>
                  </a:cubicBezTo>
                  <a:cubicBezTo>
                    <a:pt x="3928" y="5481"/>
                    <a:pt x="3920" y="5496"/>
                    <a:pt x="3898" y="5518"/>
                  </a:cubicBezTo>
                  <a:cubicBezTo>
                    <a:pt x="3883" y="5532"/>
                    <a:pt x="3883" y="5532"/>
                    <a:pt x="3883" y="5532"/>
                  </a:cubicBezTo>
                  <a:cubicBezTo>
                    <a:pt x="3854" y="5562"/>
                    <a:pt x="3825" y="5562"/>
                    <a:pt x="3788" y="5569"/>
                  </a:cubicBezTo>
                  <a:cubicBezTo>
                    <a:pt x="3774" y="5569"/>
                    <a:pt x="3759" y="5569"/>
                    <a:pt x="3744" y="5569"/>
                  </a:cubicBezTo>
                  <a:lnTo>
                    <a:pt x="3737" y="5569"/>
                  </a:lnTo>
                  <a:cubicBezTo>
                    <a:pt x="3671" y="5569"/>
                    <a:pt x="3605" y="5488"/>
                    <a:pt x="3561" y="5437"/>
                  </a:cubicBezTo>
                  <a:cubicBezTo>
                    <a:pt x="3554" y="5430"/>
                    <a:pt x="3554" y="5430"/>
                    <a:pt x="3554" y="5430"/>
                  </a:cubicBezTo>
                  <a:cubicBezTo>
                    <a:pt x="3532" y="5408"/>
                    <a:pt x="3524" y="5400"/>
                    <a:pt x="3517" y="5400"/>
                  </a:cubicBezTo>
                  <a:cubicBezTo>
                    <a:pt x="3510" y="5400"/>
                    <a:pt x="3495" y="5408"/>
                    <a:pt x="3481" y="5415"/>
                  </a:cubicBezTo>
                  <a:cubicBezTo>
                    <a:pt x="3466" y="5422"/>
                    <a:pt x="3466" y="5422"/>
                    <a:pt x="3466" y="5422"/>
                  </a:cubicBezTo>
                  <a:cubicBezTo>
                    <a:pt x="3437" y="5437"/>
                    <a:pt x="3422" y="5452"/>
                    <a:pt x="3407" y="5474"/>
                  </a:cubicBezTo>
                  <a:cubicBezTo>
                    <a:pt x="3393" y="5488"/>
                    <a:pt x="3385" y="5503"/>
                    <a:pt x="3363" y="5518"/>
                  </a:cubicBezTo>
                  <a:cubicBezTo>
                    <a:pt x="3349" y="5525"/>
                    <a:pt x="3334" y="5532"/>
                    <a:pt x="3312" y="5532"/>
                  </a:cubicBezTo>
                  <a:cubicBezTo>
                    <a:pt x="3275" y="5532"/>
                    <a:pt x="3239" y="5503"/>
                    <a:pt x="3224" y="5474"/>
                  </a:cubicBezTo>
                  <a:cubicBezTo>
                    <a:pt x="3217" y="5459"/>
                    <a:pt x="3209" y="5444"/>
                    <a:pt x="3209" y="5430"/>
                  </a:cubicBezTo>
                  <a:cubicBezTo>
                    <a:pt x="3209" y="5408"/>
                    <a:pt x="3209" y="5400"/>
                    <a:pt x="3195" y="5400"/>
                  </a:cubicBezTo>
                  <a:cubicBezTo>
                    <a:pt x="3195" y="5400"/>
                    <a:pt x="3195" y="5400"/>
                    <a:pt x="3187" y="5400"/>
                  </a:cubicBezTo>
                  <a:cubicBezTo>
                    <a:pt x="3173" y="5400"/>
                    <a:pt x="3158" y="5415"/>
                    <a:pt x="3136" y="5437"/>
                  </a:cubicBezTo>
                  <a:cubicBezTo>
                    <a:pt x="3129" y="5444"/>
                    <a:pt x="3121" y="5452"/>
                    <a:pt x="3107" y="5459"/>
                  </a:cubicBezTo>
                  <a:cubicBezTo>
                    <a:pt x="3100" y="5467"/>
                    <a:pt x="3092" y="5467"/>
                    <a:pt x="3085" y="5467"/>
                  </a:cubicBezTo>
                  <a:cubicBezTo>
                    <a:pt x="3055" y="5467"/>
                    <a:pt x="3033" y="5437"/>
                    <a:pt x="3019" y="5400"/>
                  </a:cubicBezTo>
                  <a:cubicBezTo>
                    <a:pt x="3004" y="5379"/>
                    <a:pt x="2997" y="5364"/>
                    <a:pt x="2990" y="5357"/>
                  </a:cubicBezTo>
                  <a:cubicBezTo>
                    <a:pt x="2946" y="5312"/>
                    <a:pt x="2953" y="5232"/>
                    <a:pt x="2968" y="5181"/>
                  </a:cubicBezTo>
                  <a:cubicBezTo>
                    <a:pt x="2975" y="5137"/>
                    <a:pt x="2931" y="5093"/>
                    <a:pt x="2894" y="5063"/>
                  </a:cubicBezTo>
                  <a:cubicBezTo>
                    <a:pt x="2872" y="5049"/>
                    <a:pt x="2814" y="5034"/>
                    <a:pt x="2762" y="5012"/>
                  </a:cubicBezTo>
                  <a:cubicBezTo>
                    <a:pt x="2719" y="5005"/>
                    <a:pt x="2674" y="4990"/>
                    <a:pt x="2645" y="4976"/>
                  </a:cubicBezTo>
                  <a:cubicBezTo>
                    <a:pt x="2557" y="4939"/>
                    <a:pt x="2447" y="4756"/>
                    <a:pt x="2418" y="4660"/>
                  </a:cubicBezTo>
                  <a:cubicBezTo>
                    <a:pt x="2403" y="4602"/>
                    <a:pt x="2359" y="4565"/>
                    <a:pt x="2315" y="4529"/>
                  </a:cubicBezTo>
                  <a:cubicBezTo>
                    <a:pt x="2293" y="4514"/>
                    <a:pt x="2271" y="4492"/>
                    <a:pt x="2257" y="4477"/>
                  </a:cubicBezTo>
                  <a:cubicBezTo>
                    <a:pt x="2235" y="4455"/>
                    <a:pt x="2198" y="4389"/>
                    <a:pt x="2125" y="4272"/>
                  </a:cubicBezTo>
                  <a:cubicBezTo>
                    <a:pt x="2118" y="4235"/>
                    <a:pt x="2103" y="4184"/>
                    <a:pt x="2081" y="4118"/>
                  </a:cubicBezTo>
                  <a:cubicBezTo>
                    <a:pt x="2052" y="4038"/>
                    <a:pt x="2008" y="4023"/>
                    <a:pt x="1964" y="4001"/>
                  </a:cubicBezTo>
                  <a:cubicBezTo>
                    <a:pt x="1949" y="3993"/>
                    <a:pt x="1927" y="3986"/>
                    <a:pt x="1912" y="3979"/>
                  </a:cubicBezTo>
                  <a:cubicBezTo>
                    <a:pt x="1868" y="3950"/>
                    <a:pt x="1737" y="3950"/>
                    <a:pt x="1685" y="3950"/>
                  </a:cubicBezTo>
                  <a:cubicBezTo>
                    <a:pt x="1678" y="3950"/>
                    <a:pt x="1671" y="3950"/>
                    <a:pt x="1656" y="3950"/>
                  </a:cubicBezTo>
                  <a:cubicBezTo>
                    <a:pt x="1627" y="3950"/>
                    <a:pt x="1597" y="3942"/>
                    <a:pt x="1568" y="3935"/>
                  </a:cubicBezTo>
                  <a:cubicBezTo>
                    <a:pt x="1531" y="3935"/>
                    <a:pt x="1509" y="3928"/>
                    <a:pt x="1480" y="3928"/>
                  </a:cubicBezTo>
                  <a:cubicBezTo>
                    <a:pt x="1465" y="3928"/>
                    <a:pt x="1451" y="3928"/>
                    <a:pt x="1443" y="3935"/>
                  </a:cubicBezTo>
                  <a:cubicBezTo>
                    <a:pt x="1421" y="3942"/>
                    <a:pt x="1407" y="3942"/>
                    <a:pt x="1392" y="3942"/>
                  </a:cubicBezTo>
                  <a:cubicBezTo>
                    <a:pt x="1341" y="3942"/>
                    <a:pt x="1297" y="3906"/>
                    <a:pt x="1268" y="3876"/>
                  </a:cubicBezTo>
                  <a:cubicBezTo>
                    <a:pt x="1231" y="3840"/>
                    <a:pt x="1216" y="3796"/>
                    <a:pt x="1194" y="3744"/>
                  </a:cubicBezTo>
                  <a:cubicBezTo>
                    <a:pt x="1187" y="3730"/>
                    <a:pt x="1180" y="3715"/>
                    <a:pt x="1172" y="3700"/>
                  </a:cubicBezTo>
                  <a:cubicBezTo>
                    <a:pt x="1136" y="3620"/>
                    <a:pt x="1106" y="3576"/>
                    <a:pt x="1062" y="3525"/>
                  </a:cubicBezTo>
                  <a:cubicBezTo>
                    <a:pt x="1048" y="3510"/>
                    <a:pt x="1040" y="3488"/>
                    <a:pt x="1040" y="3466"/>
                  </a:cubicBezTo>
                  <a:cubicBezTo>
                    <a:pt x="1048" y="3451"/>
                    <a:pt x="1070" y="3437"/>
                    <a:pt x="1092" y="3429"/>
                  </a:cubicBezTo>
                  <a:cubicBezTo>
                    <a:pt x="1106" y="3429"/>
                    <a:pt x="1114" y="3422"/>
                    <a:pt x="1121" y="3422"/>
                  </a:cubicBezTo>
                  <a:cubicBezTo>
                    <a:pt x="1136" y="3415"/>
                    <a:pt x="1150" y="3407"/>
                    <a:pt x="1165" y="3407"/>
                  </a:cubicBezTo>
                  <a:cubicBezTo>
                    <a:pt x="1194" y="3407"/>
                    <a:pt x="1216" y="3422"/>
                    <a:pt x="1260" y="3437"/>
                  </a:cubicBezTo>
                  <a:cubicBezTo>
                    <a:pt x="1275" y="3437"/>
                    <a:pt x="1290" y="3444"/>
                    <a:pt x="1304" y="3451"/>
                  </a:cubicBezTo>
                  <a:cubicBezTo>
                    <a:pt x="1312" y="3459"/>
                    <a:pt x="1319" y="3459"/>
                    <a:pt x="1326" y="3459"/>
                  </a:cubicBezTo>
                  <a:cubicBezTo>
                    <a:pt x="1333" y="3459"/>
                    <a:pt x="1341" y="3459"/>
                    <a:pt x="1341" y="3451"/>
                  </a:cubicBezTo>
                  <a:cubicBezTo>
                    <a:pt x="1356" y="3437"/>
                    <a:pt x="1356" y="3385"/>
                    <a:pt x="1341" y="3334"/>
                  </a:cubicBezTo>
                  <a:cubicBezTo>
                    <a:pt x="1333" y="3305"/>
                    <a:pt x="1319" y="3276"/>
                    <a:pt x="1297" y="3246"/>
                  </a:cubicBezTo>
                  <a:cubicBezTo>
                    <a:pt x="1290" y="3231"/>
                    <a:pt x="1282" y="3217"/>
                    <a:pt x="1275" y="3202"/>
                  </a:cubicBezTo>
                  <a:cubicBezTo>
                    <a:pt x="1268" y="3195"/>
                    <a:pt x="1268" y="3188"/>
                    <a:pt x="1268" y="3180"/>
                  </a:cubicBezTo>
                  <a:cubicBezTo>
                    <a:pt x="1253" y="3158"/>
                    <a:pt x="1246" y="3136"/>
                    <a:pt x="1231" y="3136"/>
                  </a:cubicBezTo>
                  <a:cubicBezTo>
                    <a:pt x="1231" y="3136"/>
                    <a:pt x="1224" y="3136"/>
                    <a:pt x="1209" y="3151"/>
                  </a:cubicBezTo>
                  <a:cubicBezTo>
                    <a:pt x="1180" y="3173"/>
                    <a:pt x="1158" y="3180"/>
                    <a:pt x="1128" y="3180"/>
                  </a:cubicBezTo>
                  <a:cubicBezTo>
                    <a:pt x="1099" y="3180"/>
                    <a:pt x="1077" y="3166"/>
                    <a:pt x="1062" y="3136"/>
                  </a:cubicBezTo>
                  <a:cubicBezTo>
                    <a:pt x="1048" y="3114"/>
                    <a:pt x="1048" y="3100"/>
                    <a:pt x="1048" y="3085"/>
                  </a:cubicBezTo>
                  <a:cubicBezTo>
                    <a:pt x="1048" y="3078"/>
                    <a:pt x="1040" y="3070"/>
                    <a:pt x="1026" y="3048"/>
                  </a:cubicBezTo>
                  <a:cubicBezTo>
                    <a:pt x="989" y="2997"/>
                    <a:pt x="989" y="2968"/>
                    <a:pt x="1026" y="2894"/>
                  </a:cubicBezTo>
                  <a:cubicBezTo>
                    <a:pt x="1033" y="2872"/>
                    <a:pt x="1048" y="2858"/>
                    <a:pt x="1055" y="2850"/>
                  </a:cubicBezTo>
                  <a:cubicBezTo>
                    <a:pt x="1070" y="2829"/>
                    <a:pt x="1070" y="2814"/>
                    <a:pt x="1077" y="2748"/>
                  </a:cubicBezTo>
                  <a:cubicBezTo>
                    <a:pt x="1092" y="2675"/>
                    <a:pt x="1070" y="2638"/>
                    <a:pt x="1062" y="2631"/>
                  </a:cubicBezTo>
                  <a:cubicBezTo>
                    <a:pt x="1048" y="2623"/>
                    <a:pt x="997" y="2616"/>
                    <a:pt x="945" y="2616"/>
                  </a:cubicBezTo>
                  <a:cubicBezTo>
                    <a:pt x="916" y="2616"/>
                    <a:pt x="887" y="2623"/>
                    <a:pt x="865" y="2631"/>
                  </a:cubicBezTo>
                  <a:cubicBezTo>
                    <a:pt x="828" y="2645"/>
                    <a:pt x="799" y="2667"/>
                    <a:pt x="784" y="2689"/>
                  </a:cubicBezTo>
                  <a:cubicBezTo>
                    <a:pt x="769" y="2697"/>
                    <a:pt x="762" y="2711"/>
                    <a:pt x="755" y="2711"/>
                  </a:cubicBezTo>
                  <a:cubicBezTo>
                    <a:pt x="747" y="2711"/>
                    <a:pt x="733" y="2704"/>
                    <a:pt x="733" y="2689"/>
                  </a:cubicBezTo>
                  <a:cubicBezTo>
                    <a:pt x="718" y="2667"/>
                    <a:pt x="711" y="2653"/>
                    <a:pt x="659" y="2623"/>
                  </a:cubicBezTo>
                  <a:cubicBezTo>
                    <a:pt x="645" y="2616"/>
                    <a:pt x="645" y="2616"/>
                    <a:pt x="645" y="2616"/>
                  </a:cubicBezTo>
                  <a:cubicBezTo>
                    <a:pt x="630" y="2609"/>
                    <a:pt x="535" y="2513"/>
                    <a:pt x="571" y="2462"/>
                  </a:cubicBezTo>
                  <a:cubicBezTo>
                    <a:pt x="593" y="2433"/>
                    <a:pt x="615" y="2433"/>
                    <a:pt x="630" y="2433"/>
                  </a:cubicBezTo>
                  <a:cubicBezTo>
                    <a:pt x="652" y="2425"/>
                    <a:pt x="674" y="2425"/>
                    <a:pt x="711" y="2403"/>
                  </a:cubicBezTo>
                  <a:cubicBezTo>
                    <a:pt x="740" y="2381"/>
                    <a:pt x="755" y="2367"/>
                    <a:pt x="762" y="2360"/>
                  </a:cubicBezTo>
                  <a:cubicBezTo>
                    <a:pt x="762" y="2360"/>
                    <a:pt x="762" y="2360"/>
                    <a:pt x="755" y="2360"/>
                  </a:cubicBezTo>
                  <a:cubicBezTo>
                    <a:pt x="711" y="2360"/>
                    <a:pt x="630" y="2323"/>
                    <a:pt x="623" y="2323"/>
                  </a:cubicBezTo>
                  <a:cubicBezTo>
                    <a:pt x="601" y="2316"/>
                    <a:pt x="601" y="2316"/>
                    <a:pt x="601" y="2316"/>
                  </a:cubicBezTo>
                  <a:cubicBezTo>
                    <a:pt x="703" y="2242"/>
                    <a:pt x="703" y="2242"/>
                    <a:pt x="703" y="2242"/>
                  </a:cubicBezTo>
                  <a:cubicBezTo>
                    <a:pt x="762" y="2198"/>
                    <a:pt x="835" y="2198"/>
                    <a:pt x="901" y="2198"/>
                  </a:cubicBezTo>
                  <a:cubicBezTo>
                    <a:pt x="923" y="2198"/>
                    <a:pt x="952" y="2198"/>
                    <a:pt x="967" y="2191"/>
                  </a:cubicBezTo>
                  <a:cubicBezTo>
                    <a:pt x="989" y="2191"/>
                    <a:pt x="1019" y="2191"/>
                    <a:pt x="1048" y="2191"/>
                  </a:cubicBezTo>
                  <a:cubicBezTo>
                    <a:pt x="1084" y="2191"/>
                    <a:pt x="1121" y="2191"/>
                    <a:pt x="1150" y="2191"/>
                  </a:cubicBezTo>
                  <a:cubicBezTo>
                    <a:pt x="1165" y="2191"/>
                    <a:pt x="1180" y="2191"/>
                    <a:pt x="1187" y="2191"/>
                  </a:cubicBezTo>
                  <a:cubicBezTo>
                    <a:pt x="1194" y="2191"/>
                    <a:pt x="1194" y="2191"/>
                    <a:pt x="1202" y="2191"/>
                  </a:cubicBezTo>
                  <a:cubicBezTo>
                    <a:pt x="1209" y="2191"/>
                    <a:pt x="1209" y="2191"/>
                    <a:pt x="1209" y="2191"/>
                  </a:cubicBezTo>
                  <a:cubicBezTo>
                    <a:pt x="1216" y="2191"/>
                    <a:pt x="1216" y="2191"/>
                    <a:pt x="1238" y="2154"/>
                  </a:cubicBezTo>
                  <a:cubicBezTo>
                    <a:pt x="1246" y="2147"/>
                    <a:pt x="1246" y="2147"/>
                    <a:pt x="1246" y="2147"/>
                  </a:cubicBezTo>
                  <a:cubicBezTo>
                    <a:pt x="1275" y="2096"/>
                    <a:pt x="1290" y="2074"/>
                    <a:pt x="1348" y="2037"/>
                  </a:cubicBezTo>
                  <a:cubicBezTo>
                    <a:pt x="1400" y="2008"/>
                    <a:pt x="1421" y="1964"/>
                    <a:pt x="1400" y="1920"/>
                  </a:cubicBezTo>
                  <a:cubicBezTo>
                    <a:pt x="1378" y="1861"/>
                    <a:pt x="1363" y="1854"/>
                    <a:pt x="1363" y="1847"/>
                  </a:cubicBezTo>
                  <a:cubicBezTo>
                    <a:pt x="1363" y="1847"/>
                    <a:pt x="1363" y="1854"/>
                    <a:pt x="1356" y="1854"/>
                  </a:cubicBezTo>
                  <a:cubicBezTo>
                    <a:pt x="1333" y="1883"/>
                    <a:pt x="1312" y="1942"/>
                    <a:pt x="1290" y="2022"/>
                  </a:cubicBezTo>
                  <a:cubicBezTo>
                    <a:pt x="1282" y="2059"/>
                    <a:pt x="1260" y="2074"/>
                    <a:pt x="1224" y="2074"/>
                  </a:cubicBezTo>
                  <a:cubicBezTo>
                    <a:pt x="1209" y="2074"/>
                    <a:pt x="1187" y="2074"/>
                    <a:pt x="1172" y="2067"/>
                  </a:cubicBezTo>
                  <a:cubicBezTo>
                    <a:pt x="1158" y="2067"/>
                    <a:pt x="1136" y="2067"/>
                    <a:pt x="1121" y="2067"/>
                  </a:cubicBezTo>
                  <a:cubicBezTo>
                    <a:pt x="1114" y="2067"/>
                    <a:pt x="1106" y="2067"/>
                    <a:pt x="1099" y="2067"/>
                  </a:cubicBezTo>
                  <a:cubicBezTo>
                    <a:pt x="1092" y="2067"/>
                    <a:pt x="1084" y="2067"/>
                    <a:pt x="1077" y="2067"/>
                  </a:cubicBezTo>
                  <a:cubicBezTo>
                    <a:pt x="1048" y="2067"/>
                    <a:pt x="1033" y="2052"/>
                    <a:pt x="1026" y="2044"/>
                  </a:cubicBezTo>
                  <a:cubicBezTo>
                    <a:pt x="1004" y="2008"/>
                    <a:pt x="1011" y="1957"/>
                    <a:pt x="1026" y="1920"/>
                  </a:cubicBezTo>
                  <a:cubicBezTo>
                    <a:pt x="1040" y="1876"/>
                    <a:pt x="1062" y="1861"/>
                    <a:pt x="1084" y="1854"/>
                  </a:cubicBezTo>
                  <a:cubicBezTo>
                    <a:pt x="1099" y="1847"/>
                    <a:pt x="1114" y="1832"/>
                    <a:pt x="1128" y="1817"/>
                  </a:cubicBezTo>
                  <a:cubicBezTo>
                    <a:pt x="1150" y="1788"/>
                    <a:pt x="1143" y="1766"/>
                    <a:pt x="1143" y="1744"/>
                  </a:cubicBezTo>
                  <a:cubicBezTo>
                    <a:pt x="1136" y="1722"/>
                    <a:pt x="1128" y="1693"/>
                    <a:pt x="1150" y="1663"/>
                  </a:cubicBezTo>
                  <a:cubicBezTo>
                    <a:pt x="1165" y="1641"/>
                    <a:pt x="1172" y="1634"/>
                    <a:pt x="1172" y="1634"/>
                  </a:cubicBezTo>
                  <a:lnTo>
                    <a:pt x="1165" y="1634"/>
                  </a:lnTo>
                  <a:cubicBezTo>
                    <a:pt x="1158" y="1634"/>
                    <a:pt x="1150" y="1634"/>
                    <a:pt x="1143" y="1634"/>
                  </a:cubicBezTo>
                  <a:cubicBezTo>
                    <a:pt x="1136" y="1634"/>
                    <a:pt x="1128" y="1634"/>
                    <a:pt x="1121" y="1634"/>
                  </a:cubicBezTo>
                  <a:cubicBezTo>
                    <a:pt x="1084" y="1634"/>
                    <a:pt x="1055" y="1619"/>
                    <a:pt x="1048" y="1598"/>
                  </a:cubicBezTo>
                  <a:cubicBezTo>
                    <a:pt x="1040" y="1590"/>
                    <a:pt x="1033" y="1561"/>
                    <a:pt x="1062" y="1531"/>
                  </a:cubicBezTo>
                  <a:cubicBezTo>
                    <a:pt x="1092" y="1495"/>
                    <a:pt x="1084" y="1488"/>
                    <a:pt x="1062" y="1466"/>
                  </a:cubicBezTo>
                  <a:cubicBezTo>
                    <a:pt x="1062" y="1458"/>
                    <a:pt x="1055" y="1451"/>
                    <a:pt x="1048" y="1443"/>
                  </a:cubicBezTo>
                  <a:cubicBezTo>
                    <a:pt x="1040" y="1436"/>
                    <a:pt x="1019" y="1414"/>
                    <a:pt x="997" y="1400"/>
                  </a:cubicBezTo>
                  <a:cubicBezTo>
                    <a:pt x="960" y="1370"/>
                    <a:pt x="923" y="1341"/>
                    <a:pt x="923" y="1312"/>
                  </a:cubicBezTo>
                  <a:cubicBezTo>
                    <a:pt x="923" y="1275"/>
                    <a:pt x="909" y="1224"/>
                    <a:pt x="879" y="1217"/>
                  </a:cubicBezTo>
                  <a:cubicBezTo>
                    <a:pt x="821" y="1202"/>
                    <a:pt x="799" y="1129"/>
                    <a:pt x="806" y="1041"/>
                  </a:cubicBezTo>
                  <a:cubicBezTo>
                    <a:pt x="813" y="989"/>
                    <a:pt x="813" y="982"/>
                    <a:pt x="784" y="967"/>
                  </a:cubicBezTo>
                  <a:cubicBezTo>
                    <a:pt x="769" y="960"/>
                    <a:pt x="762" y="953"/>
                    <a:pt x="747" y="938"/>
                  </a:cubicBezTo>
                  <a:cubicBezTo>
                    <a:pt x="681" y="887"/>
                    <a:pt x="645" y="799"/>
                    <a:pt x="630" y="740"/>
                  </a:cubicBezTo>
                  <a:cubicBezTo>
                    <a:pt x="623" y="718"/>
                    <a:pt x="623" y="696"/>
                    <a:pt x="630" y="674"/>
                  </a:cubicBezTo>
                  <a:cubicBezTo>
                    <a:pt x="623" y="674"/>
                    <a:pt x="615" y="674"/>
                    <a:pt x="608" y="674"/>
                  </a:cubicBezTo>
                  <a:cubicBezTo>
                    <a:pt x="593" y="674"/>
                    <a:pt x="579" y="667"/>
                    <a:pt x="564" y="667"/>
                  </a:cubicBezTo>
                  <a:cubicBezTo>
                    <a:pt x="550" y="667"/>
                    <a:pt x="535" y="667"/>
                    <a:pt x="513" y="667"/>
                  </a:cubicBezTo>
                  <a:cubicBezTo>
                    <a:pt x="483" y="667"/>
                    <a:pt x="461" y="667"/>
                    <a:pt x="447" y="681"/>
                  </a:cubicBezTo>
                  <a:cubicBezTo>
                    <a:pt x="432" y="689"/>
                    <a:pt x="425" y="696"/>
                    <a:pt x="418" y="696"/>
                  </a:cubicBezTo>
                  <a:cubicBezTo>
                    <a:pt x="388" y="718"/>
                    <a:pt x="381" y="725"/>
                    <a:pt x="308" y="748"/>
                  </a:cubicBezTo>
                  <a:cubicBezTo>
                    <a:pt x="286" y="755"/>
                    <a:pt x="271" y="762"/>
                    <a:pt x="257" y="762"/>
                  </a:cubicBezTo>
                  <a:cubicBezTo>
                    <a:pt x="205" y="762"/>
                    <a:pt x="198" y="718"/>
                    <a:pt x="183" y="689"/>
                  </a:cubicBezTo>
                  <a:cubicBezTo>
                    <a:pt x="183" y="681"/>
                    <a:pt x="176" y="667"/>
                    <a:pt x="176" y="660"/>
                  </a:cubicBezTo>
                  <a:cubicBezTo>
                    <a:pt x="169" y="652"/>
                    <a:pt x="169" y="645"/>
                    <a:pt x="169" y="645"/>
                  </a:cubicBezTo>
                  <a:cubicBezTo>
                    <a:pt x="161" y="652"/>
                    <a:pt x="139" y="696"/>
                    <a:pt x="124" y="733"/>
                  </a:cubicBezTo>
                  <a:cubicBezTo>
                    <a:pt x="117" y="755"/>
                    <a:pt x="117" y="755"/>
                    <a:pt x="117" y="755"/>
                  </a:cubicBezTo>
                  <a:cubicBezTo>
                    <a:pt x="95" y="813"/>
                    <a:pt x="95" y="813"/>
                    <a:pt x="110" y="909"/>
                  </a:cubicBezTo>
                  <a:cubicBezTo>
                    <a:pt x="110" y="923"/>
                    <a:pt x="110" y="923"/>
                    <a:pt x="110" y="923"/>
                  </a:cubicBezTo>
                  <a:cubicBezTo>
                    <a:pt x="124" y="997"/>
                    <a:pt x="124" y="1033"/>
                    <a:pt x="110" y="1055"/>
                  </a:cubicBezTo>
                  <a:cubicBezTo>
                    <a:pt x="102" y="1062"/>
                    <a:pt x="88" y="1070"/>
                    <a:pt x="73" y="1070"/>
                  </a:cubicBezTo>
                  <a:cubicBezTo>
                    <a:pt x="66" y="1070"/>
                    <a:pt x="59" y="1070"/>
                    <a:pt x="51" y="1070"/>
                  </a:cubicBezTo>
                  <a:cubicBezTo>
                    <a:pt x="0" y="1055"/>
                    <a:pt x="7" y="997"/>
                    <a:pt x="15" y="931"/>
                  </a:cubicBezTo>
                  <a:cubicBezTo>
                    <a:pt x="15" y="909"/>
                    <a:pt x="15" y="894"/>
                    <a:pt x="15" y="872"/>
                  </a:cubicBezTo>
                  <a:cubicBezTo>
                    <a:pt x="15" y="850"/>
                    <a:pt x="15" y="835"/>
                    <a:pt x="15" y="813"/>
                  </a:cubicBezTo>
                  <a:cubicBezTo>
                    <a:pt x="15" y="748"/>
                    <a:pt x="7" y="660"/>
                    <a:pt x="29" y="564"/>
                  </a:cubicBezTo>
                  <a:cubicBezTo>
                    <a:pt x="51" y="432"/>
                    <a:pt x="88" y="352"/>
                    <a:pt x="139" y="249"/>
                  </a:cubicBezTo>
                  <a:cubicBezTo>
                    <a:pt x="161" y="176"/>
                    <a:pt x="161" y="176"/>
                    <a:pt x="161" y="176"/>
                  </a:cubicBezTo>
                  <a:lnTo>
                    <a:pt x="161" y="176"/>
                  </a:lnTo>
                  <a:cubicBezTo>
                    <a:pt x="161" y="176"/>
                    <a:pt x="161" y="103"/>
                    <a:pt x="212" y="37"/>
                  </a:cubicBezTo>
                  <a:cubicBezTo>
                    <a:pt x="227" y="7"/>
                    <a:pt x="242" y="0"/>
                    <a:pt x="264" y="0"/>
                  </a:cubicBezTo>
                  <a:cubicBezTo>
                    <a:pt x="293" y="0"/>
                    <a:pt x="315" y="15"/>
                    <a:pt x="337" y="37"/>
                  </a:cubicBezTo>
                  <a:cubicBezTo>
                    <a:pt x="352" y="44"/>
                    <a:pt x="374" y="51"/>
                    <a:pt x="388" y="66"/>
                  </a:cubicBezTo>
                  <a:cubicBezTo>
                    <a:pt x="396" y="66"/>
                    <a:pt x="418" y="81"/>
                    <a:pt x="418" y="95"/>
                  </a:cubicBezTo>
                  <a:cubicBezTo>
                    <a:pt x="425" y="125"/>
                    <a:pt x="403" y="139"/>
                    <a:pt x="374" y="161"/>
                  </a:cubicBezTo>
                  <a:cubicBezTo>
                    <a:pt x="359" y="176"/>
                    <a:pt x="337" y="191"/>
                    <a:pt x="330" y="212"/>
                  </a:cubicBezTo>
                  <a:cubicBezTo>
                    <a:pt x="308" y="249"/>
                    <a:pt x="278" y="249"/>
                    <a:pt x="257" y="249"/>
                  </a:cubicBezTo>
                  <a:cubicBezTo>
                    <a:pt x="249" y="249"/>
                    <a:pt x="242" y="249"/>
                    <a:pt x="234" y="249"/>
                  </a:cubicBezTo>
                  <a:cubicBezTo>
                    <a:pt x="227" y="249"/>
                    <a:pt x="227" y="249"/>
                    <a:pt x="220" y="249"/>
                  </a:cubicBezTo>
                  <a:cubicBezTo>
                    <a:pt x="212" y="249"/>
                    <a:pt x="205" y="249"/>
                    <a:pt x="205" y="249"/>
                  </a:cubicBezTo>
                  <a:cubicBezTo>
                    <a:pt x="183" y="257"/>
                    <a:pt x="183" y="308"/>
                    <a:pt x="205" y="403"/>
                  </a:cubicBezTo>
                  <a:cubicBezTo>
                    <a:pt x="212" y="454"/>
                    <a:pt x="212" y="491"/>
                    <a:pt x="212" y="513"/>
                  </a:cubicBezTo>
                  <a:cubicBezTo>
                    <a:pt x="212" y="535"/>
                    <a:pt x="212" y="550"/>
                    <a:pt x="227" y="572"/>
                  </a:cubicBezTo>
                  <a:cubicBezTo>
                    <a:pt x="242" y="601"/>
                    <a:pt x="293" y="608"/>
                    <a:pt x="315" y="608"/>
                  </a:cubicBezTo>
                  <a:cubicBezTo>
                    <a:pt x="652" y="616"/>
                    <a:pt x="652" y="616"/>
                    <a:pt x="652" y="616"/>
                  </a:cubicBezTo>
                  <a:cubicBezTo>
                    <a:pt x="667" y="579"/>
                    <a:pt x="689" y="557"/>
                    <a:pt x="689" y="557"/>
                  </a:cubicBezTo>
                  <a:cubicBezTo>
                    <a:pt x="689" y="550"/>
                    <a:pt x="718" y="535"/>
                    <a:pt x="755" y="535"/>
                  </a:cubicBezTo>
                  <a:cubicBezTo>
                    <a:pt x="784" y="535"/>
                    <a:pt x="806" y="542"/>
                    <a:pt x="821" y="564"/>
                  </a:cubicBezTo>
                  <a:cubicBezTo>
                    <a:pt x="835" y="579"/>
                    <a:pt x="857" y="586"/>
                    <a:pt x="894" y="586"/>
                  </a:cubicBezTo>
                  <a:cubicBezTo>
                    <a:pt x="916" y="586"/>
                    <a:pt x="952" y="586"/>
                    <a:pt x="974" y="579"/>
                  </a:cubicBezTo>
                  <a:cubicBezTo>
                    <a:pt x="997" y="579"/>
                    <a:pt x="1011" y="572"/>
                    <a:pt x="1026" y="572"/>
                  </a:cubicBezTo>
                  <a:cubicBezTo>
                    <a:pt x="1312" y="572"/>
                    <a:pt x="1312" y="572"/>
                    <a:pt x="1312" y="572"/>
                  </a:cubicBezTo>
                  <a:cubicBezTo>
                    <a:pt x="1370" y="572"/>
                    <a:pt x="1400" y="593"/>
                    <a:pt x="1443" y="616"/>
                  </a:cubicBezTo>
                  <a:cubicBezTo>
                    <a:pt x="1465" y="630"/>
                    <a:pt x="1465" y="630"/>
                    <a:pt x="1465" y="630"/>
                  </a:cubicBezTo>
                  <a:cubicBezTo>
                    <a:pt x="1517" y="660"/>
                    <a:pt x="1627" y="660"/>
                    <a:pt x="1700" y="660"/>
                  </a:cubicBezTo>
                  <a:cubicBezTo>
                    <a:pt x="1773" y="660"/>
                    <a:pt x="1839" y="703"/>
                    <a:pt x="1876" y="733"/>
                  </a:cubicBezTo>
                  <a:cubicBezTo>
                    <a:pt x="1898" y="755"/>
                    <a:pt x="1898" y="777"/>
                    <a:pt x="1898" y="799"/>
                  </a:cubicBezTo>
                  <a:cubicBezTo>
                    <a:pt x="1890" y="828"/>
                    <a:pt x="1890" y="850"/>
                    <a:pt x="1912" y="887"/>
                  </a:cubicBezTo>
                  <a:cubicBezTo>
                    <a:pt x="1927" y="909"/>
                    <a:pt x="1942" y="916"/>
                    <a:pt x="1964" y="916"/>
                  </a:cubicBezTo>
                  <a:cubicBezTo>
                    <a:pt x="1993" y="916"/>
                    <a:pt x="2037" y="894"/>
                    <a:pt x="2074" y="850"/>
                  </a:cubicBezTo>
                  <a:cubicBezTo>
                    <a:pt x="2132" y="777"/>
                    <a:pt x="2205" y="777"/>
                    <a:pt x="2205" y="777"/>
                  </a:cubicBezTo>
                  <a:cubicBezTo>
                    <a:pt x="2220" y="777"/>
                    <a:pt x="2220" y="777"/>
                    <a:pt x="2220" y="777"/>
                  </a:cubicBezTo>
                  <a:cubicBezTo>
                    <a:pt x="2220" y="791"/>
                    <a:pt x="2220" y="791"/>
                    <a:pt x="2220" y="791"/>
                  </a:cubicBezTo>
                  <a:cubicBezTo>
                    <a:pt x="2228" y="813"/>
                    <a:pt x="2235" y="879"/>
                    <a:pt x="2257" y="909"/>
                  </a:cubicBezTo>
                  <a:cubicBezTo>
                    <a:pt x="2257" y="909"/>
                    <a:pt x="2264" y="894"/>
                    <a:pt x="2271" y="879"/>
                  </a:cubicBezTo>
                  <a:cubicBezTo>
                    <a:pt x="2286" y="857"/>
                    <a:pt x="2308" y="835"/>
                    <a:pt x="2330" y="813"/>
                  </a:cubicBezTo>
                  <a:cubicBezTo>
                    <a:pt x="2389" y="769"/>
                    <a:pt x="2521" y="689"/>
                    <a:pt x="2528" y="689"/>
                  </a:cubicBezTo>
                  <a:cubicBezTo>
                    <a:pt x="2550" y="674"/>
                    <a:pt x="2550" y="674"/>
                    <a:pt x="2550" y="674"/>
                  </a:cubicBezTo>
                  <a:cubicBezTo>
                    <a:pt x="2550" y="769"/>
                    <a:pt x="2550" y="769"/>
                    <a:pt x="2550" y="769"/>
                  </a:cubicBezTo>
                  <a:cubicBezTo>
                    <a:pt x="2579" y="791"/>
                    <a:pt x="2689" y="850"/>
                    <a:pt x="2755" y="865"/>
                  </a:cubicBezTo>
                  <a:cubicBezTo>
                    <a:pt x="2762" y="872"/>
                    <a:pt x="2762" y="872"/>
                    <a:pt x="2762" y="872"/>
                  </a:cubicBezTo>
                  <a:cubicBezTo>
                    <a:pt x="2843" y="894"/>
                    <a:pt x="2887" y="901"/>
                    <a:pt x="2931" y="953"/>
                  </a:cubicBezTo>
                  <a:cubicBezTo>
                    <a:pt x="2975" y="997"/>
                    <a:pt x="3026" y="1011"/>
                    <a:pt x="3092" y="1011"/>
                  </a:cubicBezTo>
                  <a:cubicBezTo>
                    <a:pt x="3143" y="1011"/>
                    <a:pt x="3143" y="916"/>
                    <a:pt x="3143" y="916"/>
                  </a:cubicBezTo>
                  <a:cubicBezTo>
                    <a:pt x="3143" y="887"/>
                    <a:pt x="3143" y="887"/>
                    <a:pt x="3143" y="887"/>
                  </a:cubicBezTo>
                  <a:cubicBezTo>
                    <a:pt x="3165" y="901"/>
                    <a:pt x="3165" y="901"/>
                    <a:pt x="3165" y="901"/>
                  </a:cubicBezTo>
                  <a:cubicBezTo>
                    <a:pt x="3173" y="909"/>
                    <a:pt x="3239" y="953"/>
                    <a:pt x="3275" y="1011"/>
                  </a:cubicBezTo>
                  <a:cubicBezTo>
                    <a:pt x="3312" y="1070"/>
                    <a:pt x="3319" y="1136"/>
                    <a:pt x="3312" y="1217"/>
                  </a:cubicBezTo>
                  <a:cubicBezTo>
                    <a:pt x="3305" y="1260"/>
                    <a:pt x="3283" y="1297"/>
                    <a:pt x="3261" y="1312"/>
                  </a:cubicBezTo>
                  <a:cubicBezTo>
                    <a:pt x="3283" y="1319"/>
                    <a:pt x="3312" y="1326"/>
                    <a:pt x="3334" y="1334"/>
                  </a:cubicBezTo>
                  <a:cubicBezTo>
                    <a:pt x="3341" y="1334"/>
                    <a:pt x="3349" y="1334"/>
                    <a:pt x="3356" y="1334"/>
                  </a:cubicBezTo>
                  <a:cubicBezTo>
                    <a:pt x="3371" y="1334"/>
                    <a:pt x="3393" y="1341"/>
                    <a:pt x="3400" y="1356"/>
                  </a:cubicBezTo>
                  <a:cubicBezTo>
                    <a:pt x="3414" y="1370"/>
                    <a:pt x="3414" y="1385"/>
                    <a:pt x="3414" y="1414"/>
                  </a:cubicBezTo>
                  <a:cubicBezTo>
                    <a:pt x="3407" y="1436"/>
                    <a:pt x="3407" y="1458"/>
                    <a:pt x="3400" y="1473"/>
                  </a:cubicBezTo>
                  <a:cubicBezTo>
                    <a:pt x="3393" y="1517"/>
                    <a:pt x="3393" y="1553"/>
                    <a:pt x="3393" y="1605"/>
                  </a:cubicBezTo>
                  <a:cubicBezTo>
                    <a:pt x="3393" y="1715"/>
                    <a:pt x="3371" y="1795"/>
                    <a:pt x="3334" y="1861"/>
                  </a:cubicBezTo>
                  <a:cubicBezTo>
                    <a:pt x="3283" y="1942"/>
                    <a:pt x="3202" y="1964"/>
                    <a:pt x="3143" y="1971"/>
                  </a:cubicBezTo>
                  <a:cubicBezTo>
                    <a:pt x="3129" y="1971"/>
                    <a:pt x="3129" y="1971"/>
                    <a:pt x="3129" y="1971"/>
                  </a:cubicBezTo>
                  <a:cubicBezTo>
                    <a:pt x="3092" y="1979"/>
                    <a:pt x="3055" y="2008"/>
                    <a:pt x="3055" y="2030"/>
                  </a:cubicBezTo>
                  <a:cubicBezTo>
                    <a:pt x="3055" y="2037"/>
                    <a:pt x="3055" y="2044"/>
                    <a:pt x="3078" y="2059"/>
                  </a:cubicBezTo>
                  <a:cubicBezTo>
                    <a:pt x="3085" y="2067"/>
                    <a:pt x="3100" y="2067"/>
                    <a:pt x="3114" y="2067"/>
                  </a:cubicBezTo>
                  <a:cubicBezTo>
                    <a:pt x="3173" y="2067"/>
                    <a:pt x="3261" y="2015"/>
                    <a:pt x="3297" y="1986"/>
                  </a:cubicBezTo>
                  <a:cubicBezTo>
                    <a:pt x="3341" y="1934"/>
                    <a:pt x="3459" y="1934"/>
                    <a:pt x="3481" y="1934"/>
                  </a:cubicBezTo>
                  <a:cubicBezTo>
                    <a:pt x="3502" y="1920"/>
                    <a:pt x="3517" y="1920"/>
                    <a:pt x="3539" y="1920"/>
                  </a:cubicBezTo>
                  <a:cubicBezTo>
                    <a:pt x="3569" y="1920"/>
                    <a:pt x="3590" y="1927"/>
                    <a:pt x="3620" y="1942"/>
                  </a:cubicBezTo>
                  <a:cubicBezTo>
                    <a:pt x="3634" y="1949"/>
                    <a:pt x="3642" y="1949"/>
                    <a:pt x="3649" y="1957"/>
                  </a:cubicBezTo>
                  <a:cubicBezTo>
                    <a:pt x="3693" y="1971"/>
                    <a:pt x="3744" y="2015"/>
                    <a:pt x="3744" y="2044"/>
                  </a:cubicBezTo>
                  <a:cubicBezTo>
                    <a:pt x="3744" y="2059"/>
                    <a:pt x="3730" y="2074"/>
                    <a:pt x="3722" y="2074"/>
                  </a:cubicBezTo>
                  <a:cubicBezTo>
                    <a:pt x="3708" y="2081"/>
                    <a:pt x="3700" y="2081"/>
                    <a:pt x="3700" y="2088"/>
                  </a:cubicBezTo>
                  <a:cubicBezTo>
                    <a:pt x="3700" y="2103"/>
                    <a:pt x="3700" y="2125"/>
                    <a:pt x="3730" y="2169"/>
                  </a:cubicBezTo>
                  <a:cubicBezTo>
                    <a:pt x="3730" y="2176"/>
                    <a:pt x="3737" y="2184"/>
                    <a:pt x="3737" y="2191"/>
                  </a:cubicBezTo>
                  <a:cubicBezTo>
                    <a:pt x="3759" y="2176"/>
                    <a:pt x="3781" y="2162"/>
                    <a:pt x="3810" y="2154"/>
                  </a:cubicBezTo>
                  <a:cubicBezTo>
                    <a:pt x="3840" y="2140"/>
                    <a:pt x="3869" y="2125"/>
                    <a:pt x="3883" y="2110"/>
                  </a:cubicBezTo>
                  <a:cubicBezTo>
                    <a:pt x="3898" y="2096"/>
                    <a:pt x="3913" y="2088"/>
                    <a:pt x="3942" y="2088"/>
                  </a:cubicBezTo>
                  <a:cubicBezTo>
                    <a:pt x="3993" y="2088"/>
                    <a:pt x="4081" y="2125"/>
                    <a:pt x="4118" y="2147"/>
                  </a:cubicBezTo>
                  <a:cubicBezTo>
                    <a:pt x="4133" y="2162"/>
                    <a:pt x="4147" y="2169"/>
                    <a:pt x="4169" y="2184"/>
                  </a:cubicBezTo>
                  <a:cubicBezTo>
                    <a:pt x="4206" y="2213"/>
                    <a:pt x="4250" y="2242"/>
                    <a:pt x="4309" y="2250"/>
                  </a:cubicBezTo>
                  <a:cubicBezTo>
                    <a:pt x="4382" y="2264"/>
                    <a:pt x="4557" y="2330"/>
                    <a:pt x="4593" y="2367"/>
                  </a:cubicBezTo>
                  <a:cubicBezTo>
                    <a:pt x="4601" y="2374"/>
                    <a:pt x="4608" y="2381"/>
                    <a:pt x="4615" y="2389"/>
                  </a:cubicBezTo>
                  <a:cubicBezTo>
                    <a:pt x="4652" y="2433"/>
                    <a:pt x="4703" y="2491"/>
                    <a:pt x="4806" y="2499"/>
                  </a:cubicBezTo>
                  <a:lnTo>
                    <a:pt x="4813" y="2499"/>
                  </a:lnTo>
                  <a:cubicBezTo>
                    <a:pt x="4886" y="2499"/>
                    <a:pt x="4938" y="2440"/>
                    <a:pt x="4974" y="2381"/>
                  </a:cubicBezTo>
                  <a:cubicBezTo>
                    <a:pt x="4996" y="2360"/>
                    <a:pt x="5011" y="2338"/>
                    <a:pt x="5033" y="2323"/>
                  </a:cubicBezTo>
                  <a:cubicBezTo>
                    <a:pt x="5077" y="2279"/>
                    <a:pt x="5150" y="2257"/>
                    <a:pt x="5238" y="2242"/>
                  </a:cubicBezTo>
                  <a:cubicBezTo>
                    <a:pt x="5260" y="2235"/>
                    <a:pt x="5282" y="2235"/>
                    <a:pt x="5304" y="2235"/>
                  </a:cubicBezTo>
                  <a:cubicBezTo>
                    <a:pt x="5319" y="2235"/>
                    <a:pt x="5333" y="2235"/>
                    <a:pt x="5348" y="2235"/>
                  </a:cubicBezTo>
                  <a:cubicBezTo>
                    <a:pt x="5370" y="2235"/>
                    <a:pt x="5385" y="2235"/>
                    <a:pt x="5399" y="2235"/>
                  </a:cubicBezTo>
                  <a:cubicBezTo>
                    <a:pt x="5407" y="2235"/>
                    <a:pt x="5407" y="2242"/>
                    <a:pt x="5414" y="2242"/>
                  </a:cubicBezTo>
                  <a:cubicBezTo>
                    <a:pt x="5414" y="2228"/>
                    <a:pt x="5414" y="2213"/>
                    <a:pt x="5421" y="2198"/>
                  </a:cubicBezTo>
                  <a:cubicBezTo>
                    <a:pt x="5436" y="2184"/>
                    <a:pt x="5436" y="2184"/>
                    <a:pt x="5436" y="2184"/>
                  </a:cubicBezTo>
                  <a:cubicBezTo>
                    <a:pt x="5458" y="2154"/>
                    <a:pt x="5494" y="2103"/>
                    <a:pt x="5473" y="2074"/>
                  </a:cubicBezTo>
                  <a:cubicBezTo>
                    <a:pt x="5458" y="2059"/>
                    <a:pt x="5451" y="2044"/>
                    <a:pt x="5451" y="2037"/>
                  </a:cubicBezTo>
                  <a:cubicBezTo>
                    <a:pt x="5443" y="2030"/>
                    <a:pt x="5443" y="2022"/>
                    <a:pt x="5436" y="2022"/>
                  </a:cubicBezTo>
                  <a:cubicBezTo>
                    <a:pt x="5436" y="2022"/>
                    <a:pt x="5436" y="2022"/>
                    <a:pt x="5414" y="2037"/>
                  </a:cubicBezTo>
                  <a:cubicBezTo>
                    <a:pt x="5370" y="2074"/>
                    <a:pt x="5319" y="2081"/>
                    <a:pt x="5297" y="2081"/>
                  </a:cubicBezTo>
                  <a:cubicBezTo>
                    <a:pt x="5282" y="2081"/>
                    <a:pt x="5275" y="2074"/>
                    <a:pt x="5275" y="2074"/>
                  </a:cubicBezTo>
                  <a:cubicBezTo>
                    <a:pt x="5260" y="2074"/>
                    <a:pt x="5260" y="2074"/>
                    <a:pt x="5260" y="2074"/>
                  </a:cubicBezTo>
                  <a:cubicBezTo>
                    <a:pt x="5260" y="2059"/>
                    <a:pt x="5260" y="2059"/>
                    <a:pt x="5260" y="2059"/>
                  </a:cubicBezTo>
                  <a:cubicBezTo>
                    <a:pt x="5260" y="2044"/>
                    <a:pt x="5260" y="2030"/>
                    <a:pt x="5253" y="2022"/>
                  </a:cubicBezTo>
                  <a:cubicBezTo>
                    <a:pt x="5245" y="1993"/>
                    <a:pt x="5238" y="1979"/>
                    <a:pt x="5267" y="1927"/>
                  </a:cubicBezTo>
                  <a:cubicBezTo>
                    <a:pt x="5275" y="1905"/>
                    <a:pt x="5275" y="1891"/>
                    <a:pt x="5275" y="1883"/>
                  </a:cubicBezTo>
                  <a:cubicBezTo>
                    <a:pt x="5282" y="1854"/>
                    <a:pt x="5282" y="1839"/>
                    <a:pt x="5326" y="1788"/>
                  </a:cubicBezTo>
                  <a:cubicBezTo>
                    <a:pt x="5370" y="1737"/>
                    <a:pt x="5392" y="1707"/>
                    <a:pt x="5421" y="1707"/>
                  </a:cubicBezTo>
                  <a:cubicBezTo>
                    <a:pt x="5443" y="1707"/>
                    <a:pt x="5458" y="1722"/>
                    <a:pt x="5480" y="1729"/>
                  </a:cubicBezTo>
                  <a:cubicBezTo>
                    <a:pt x="5531" y="1766"/>
                    <a:pt x="5568" y="1773"/>
                    <a:pt x="5656" y="1795"/>
                  </a:cubicBezTo>
                  <a:cubicBezTo>
                    <a:pt x="5722" y="1817"/>
                    <a:pt x="5744" y="1861"/>
                    <a:pt x="5758" y="1898"/>
                  </a:cubicBezTo>
                  <a:cubicBezTo>
                    <a:pt x="5766" y="1912"/>
                    <a:pt x="5766" y="1927"/>
                    <a:pt x="5780" y="1942"/>
                  </a:cubicBezTo>
                  <a:cubicBezTo>
                    <a:pt x="5795" y="1957"/>
                    <a:pt x="5802" y="1979"/>
                    <a:pt x="5810" y="2000"/>
                  </a:cubicBezTo>
                  <a:cubicBezTo>
                    <a:pt x="5824" y="2037"/>
                    <a:pt x="5832" y="2067"/>
                    <a:pt x="5868" y="2096"/>
                  </a:cubicBezTo>
                  <a:cubicBezTo>
                    <a:pt x="5905" y="2125"/>
                    <a:pt x="5912" y="2169"/>
                    <a:pt x="5898" y="2198"/>
                  </a:cubicBezTo>
                  <a:cubicBezTo>
                    <a:pt x="5898" y="2213"/>
                    <a:pt x="5883" y="2228"/>
                    <a:pt x="5868" y="2228"/>
                  </a:cubicBezTo>
                  <a:lnTo>
                    <a:pt x="5868" y="2228"/>
                  </a:lnTo>
                  <a:cubicBezTo>
                    <a:pt x="5854" y="2228"/>
                    <a:pt x="5846" y="2220"/>
                    <a:pt x="5832" y="2206"/>
                  </a:cubicBezTo>
                  <a:cubicBezTo>
                    <a:pt x="5802" y="2176"/>
                    <a:pt x="5780" y="2176"/>
                    <a:pt x="5751" y="2176"/>
                  </a:cubicBezTo>
                  <a:cubicBezTo>
                    <a:pt x="5744" y="2169"/>
                    <a:pt x="5729" y="2169"/>
                    <a:pt x="5714" y="2169"/>
                  </a:cubicBezTo>
                  <a:cubicBezTo>
                    <a:pt x="5700" y="2162"/>
                    <a:pt x="5685" y="2147"/>
                    <a:pt x="5670" y="2140"/>
                  </a:cubicBezTo>
                  <a:cubicBezTo>
                    <a:pt x="5663" y="2132"/>
                    <a:pt x="5656" y="2125"/>
                    <a:pt x="5649" y="2125"/>
                  </a:cubicBezTo>
                  <a:cubicBezTo>
                    <a:pt x="5641" y="2125"/>
                    <a:pt x="5626" y="2132"/>
                    <a:pt x="5612" y="2140"/>
                  </a:cubicBezTo>
                  <a:cubicBezTo>
                    <a:pt x="5553" y="2184"/>
                    <a:pt x="5553" y="2191"/>
                    <a:pt x="5568" y="2242"/>
                  </a:cubicBezTo>
                  <a:cubicBezTo>
                    <a:pt x="5568" y="2264"/>
                    <a:pt x="5561" y="2293"/>
                    <a:pt x="5546" y="2316"/>
                  </a:cubicBezTo>
                  <a:cubicBezTo>
                    <a:pt x="5539" y="2330"/>
                    <a:pt x="5524" y="2338"/>
                    <a:pt x="5509" y="2338"/>
                  </a:cubicBezTo>
                  <a:cubicBezTo>
                    <a:pt x="5494" y="2338"/>
                    <a:pt x="5480" y="2330"/>
                    <a:pt x="5473" y="2323"/>
                  </a:cubicBezTo>
                  <a:cubicBezTo>
                    <a:pt x="5465" y="2316"/>
                    <a:pt x="5458" y="2308"/>
                    <a:pt x="5458" y="2308"/>
                  </a:cubicBezTo>
                  <a:cubicBezTo>
                    <a:pt x="5458" y="2323"/>
                    <a:pt x="5458" y="2345"/>
                    <a:pt x="5451" y="2360"/>
                  </a:cubicBezTo>
                  <a:cubicBezTo>
                    <a:pt x="5451" y="2374"/>
                    <a:pt x="5451" y="2389"/>
                    <a:pt x="5451" y="2403"/>
                  </a:cubicBezTo>
                  <a:cubicBezTo>
                    <a:pt x="5451" y="2455"/>
                    <a:pt x="5451" y="2601"/>
                    <a:pt x="5465" y="2645"/>
                  </a:cubicBezTo>
                  <a:cubicBezTo>
                    <a:pt x="5465" y="2653"/>
                    <a:pt x="5465" y="2667"/>
                    <a:pt x="5473" y="2675"/>
                  </a:cubicBezTo>
                  <a:cubicBezTo>
                    <a:pt x="5487" y="2726"/>
                    <a:pt x="5509" y="2807"/>
                    <a:pt x="5494" y="2865"/>
                  </a:cubicBezTo>
                  <a:cubicBezTo>
                    <a:pt x="5487" y="2931"/>
                    <a:pt x="5392" y="2990"/>
                    <a:pt x="5297" y="3034"/>
                  </a:cubicBezTo>
                  <a:cubicBezTo>
                    <a:pt x="5282" y="3041"/>
                    <a:pt x="5282" y="3041"/>
                    <a:pt x="5282" y="3041"/>
                  </a:cubicBezTo>
                  <a:cubicBezTo>
                    <a:pt x="5238" y="3063"/>
                    <a:pt x="5201" y="3078"/>
                    <a:pt x="5187" y="3129"/>
                  </a:cubicBezTo>
                  <a:cubicBezTo>
                    <a:pt x="5180" y="3195"/>
                    <a:pt x="5077" y="3246"/>
                    <a:pt x="5004" y="3246"/>
                  </a:cubicBezTo>
                  <a:cubicBezTo>
                    <a:pt x="4945" y="3246"/>
                    <a:pt x="4901" y="3268"/>
                    <a:pt x="4857" y="3341"/>
                  </a:cubicBezTo>
                  <a:cubicBezTo>
                    <a:pt x="4842" y="3363"/>
                    <a:pt x="4850" y="3400"/>
                    <a:pt x="4850" y="3422"/>
                  </a:cubicBezTo>
                  <a:cubicBezTo>
                    <a:pt x="4864" y="3466"/>
                    <a:pt x="4901" y="3510"/>
                    <a:pt x="4930" y="3517"/>
                  </a:cubicBezTo>
                  <a:cubicBezTo>
                    <a:pt x="4945" y="3525"/>
                    <a:pt x="4967" y="3532"/>
                    <a:pt x="4982" y="3539"/>
                  </a:cubicBezTo>
                  <a:cubicBezTo>
                    <a:pt x="5033" y="3547"/>
                    <a:pt x="5084" y="3561"/>
                    <a:pt x="5106" y="3605"/>
                  </a:cubicBezTo>
                  <a:cubicBezTo>
                    <a:pt x="5121" y="3627"/>
                    <a:pt x="5128" y="3642"/>
                    <a:pt x="5135" y="3642"/>
                  </a:cubicBezTo>
                  <a:cubicBezTo>
                    <a:pt x="5143" y="3649"/>
                    <a:pt x="5143" y="3649"/>
                    <a:pt x="5143" y="3649"/>
                  </a:cubicBezTo>
                  <a:cubicBezTo>
                    <a:pt x="5135" y="3657"/>
                    <a:pt x="5135" y="3657"/>
                    <a:pt x="5135" y="3657"/>
                  </a:cubicBezTo>
                  <a:cubicBezTo>
                    <a:pt x="5128" y="3715"/>
                    <a:pt x="5113" y="3767"/>
                    <a:pt x="5077" y="3796"/>
                  </a:cubicBezTo>
                  <a:cubicBezTo>
                    <a:pt x="5062" y="3818"/>
                    <a:pt x="5048" y="3825"/>
                    <a:pt x="5040" y="3840"/>
                  </a:cubicBezTo>
                  <a:cubicBezTo>
                    <a:pt x="5026" y="3862"/>
                    <a:pt x="5004" y="3884"/>
                    <a:pt x="4952" y="3920"/>
                  </a:cubicBezTo>
                  <a:cubicBezTo>
                    <a:pt x="4872" y="3979"/>
                    <a:pt x="4857" y="3986"/>
                    <a:pt x="4864" y="4052"/>
                  </a:cubicBezTo>
                  <a:cubicBezTo>
                    <a:pt x="4864" y="4074"/>
                    <a:pt x="4879" y="4096"/>
                    <a:pt x="4886" y="4118"/>
                  </a:cubicBezTo>
                  <a:cubicBezTo>
                    <a:pt x="4908" y="4155"/>
                    <a:pt x="4923" y="4191"/>
                    <a:pt x="4908" y="4235"/>
                  </a:cubicBezTo>
                  <a:cubicBezTo>
                    <a:pt x="4872" y="4316"/>
                    <a:pt x="4886" y="4338"/>
                    <a:pt x="4908" y="4353"/>
                  </a:cubicBezTo>
                  <a:cubicBezTo>
                    <a:pt x="4930" y="4367"/>
                    <a:pt x="4938" y="4389"/>
                    <a:pt x="4945" y="4419"/>
                  </a:cubicBezTo>
                  <a:cubicBezTo>
                    <a:pt x="4960" y="4448"/>
                    <a:pt x="4967" y="4477"/>
                    <a:pt x="4996" y="4485"/>
                  </a:cubicBezTo>
                  <a:cubicBezTo>
                    <a:pt x="5062" y="4507"/>
                    <a:pt x="5128" y="4529"/>
                    <a:pt x="5187" y="4536"/>
                  </a:cubicBezTo>
                  <a:cubicBezTo>
                    <a:pt x="5194" y="4536"/>
                    <a:pt x="5201" y="4536"/>
                    <a:pt x="5209" y="4543"/>
                  </a:cubicBezTo>
                  <a:cubicBezTo>
                    <a:pt x="5238" y="4543"/>
                    <a:pt x="5267" y="4550"/>
                    <a:pt x="5282" y="4572"/>
                  </a:cubicBezTo>
                  <a:cubicBezTo>
                    <a:pt x="5289" y="4587"/>
                    <a:pt x="5289" y="4609"/>
                    <a:pt x="5267" y="4646"/>
                  </a:cubicBezTo>
                  <a:cubicBezTo>
                    <a:pt x="5245" y="4697"/>
                    <a:pt x="5245" y="4734"/>
                    <a:pt x="5238" y="4770"/>
                  </a:cubicBezTo>
                  <a:cubicBezTo>
                    <a:pt x="5238" y="4792"/>
                    <a:pt x="5238" y="4822"/>
                    <a:pt x="5231" y="4843"/>
                  </a:cubicBezTo>
                  <a:cubicBezTo>
                    <a:pt x="5216" y="4888"/>
                    <a:pt x="5194" y="4976"/>
                    <a:pt x="5128" y="4976"/>
                  </a:cubicBezTo>
                  <a:lnTo>
                    <a:pt x="5128" y="4976"/>
                  </a:lnTo>
                  <a:cubicBezTo>
                    <a:pt x="5113" y="4976"/>
                    <a:pt x="5106" y="4976"/>
                    <a:pt x="5099" y="4976"/>
                  </a:cubicBezTo>
                  <a:cubicBezTo>
                    <a:pt x="5077" y="4968"/>
                    <a:pt x="5062" y="4961"/>
                    <a:pt x="5048" y="4953"/>
                  </a:cubicBezTo>
                  <a:cubicBezTo>
                    <a:pt x="5033" y="4946"/>
                    <a:pt x="5026" y="4946"/>
                    <a:pt x="5018" y="4946"/>
                  </a:cubicBezTo>
                  <a:cubicBezTo>
                    <a:pt x="5018" y="4946"/>
                    <a:pt x="5018" y="4946"/>
                    <a:pt x="5018" y="4968"/>
                  </a:cubicBezTo>
                  <a:cubicBezTo>
                    <a:pt x="5018" y="4990"/>
                    <a:pt x="5026" y="5012"/>
                    <a:pt x="5026" y="5034"/>
                  </a:cubicBezTo>
                  <a:cubicBezTo>
                    <a:pt x="5033" y="5071"/>
                    <a:pt x="5048" y="5107"/>
                    <a:pt x="5004" y="5151"/>
                  </a:cubicBezTo>
                  <a:cubicBezTo>
                    <a:pt x="4989" y="5166"/>
                    <a:pt x="4974" y="5181"/>
                    <a:pt x="4967" y="5195"/>
                  </a:cubicBezTo>
                  <a:cubicBezTo>
                    <a:pt x="4938" y="5232"/>
                    <a:pt x="4916" y="5269"/>
                    <a:pt x="4857" y="5276"/>
                  </a:cubicBezTo>
                  <a:cubicBezTo>
                    <a:pt x="4799" y="5283"/>
                    <a:pt x="4769" y="5291"/>
                    <a:pt x="4711" y="5327"/>
                  </a:cubicBezTo>
                  <a:cubicBezTo>
                    <a:pt x="4696" y="5342"/>
                    <a:pt x="4681" y="5349"/>
                    <a:pt x="4674" y="5357"/>
                  </a:cubicBezTo>
                  <a:cubicBezTo>
                    <a:pt x="4637" y="5371"/>
                    <a:pt x="4630" y="5379"/>
                    <a:pt x="4637" y="5422"/>
                  </a:cubicBezTo>
                  <a:cubicBezTo>
                    <a:pt x="4644" y="5488"/>
                    <a:pt x="4637" y="5569"/>
                    <a:pt x="4637" y="5598"/>
                  </a:cubicBezTo>
                  <a:lnTo>
                    <a:pt x="4674" y="5620"/>
                  </a:lnTo>
                  <a:cubicBezTo>
                    <a:pt x="4644" y="5635"/>
                    <a:pt x="4644" y="5635"/>
                    <a:pt x="4644" y="5635"/>
                  </a:cubicBezTo>
                  <a:cubicBezTo>
                    <a:pt x="4623" y="5642"/>
                    <a:pt x="4601" y="5650"/>
                    <a:pt x="4593" y="5657"/>
                  </a:cubicBezTo>
                  <a:cubicBezTo>
                    <a:pt x="4579" y="5664"/>
                    <a:pt x="4564" y="5664"/>
                    <a:pt x="4549" y="5664"/>
                  </a:cubicBezTo>
                  <a:close/>
                  <a:moveTo>
                    <a:pt x="3708" y="2257"/>
                  </a:moveTo>
                  <a:lnTo>
                    <a:pt x="3708" y="2257"/>
                  </a:lnTo>
                  <a:cubicBezTo>
                    <a:pt x="3700" y="2264"/>
                    <a:pt x="3686" y="2264"/>
                    <a:pt x="3678" y="2272"/>
                  </a:cubicBezTo>
                  <a:cubicBezTo>
                    <a:pt x="3671" y="2279"/>
                    <a:pt x="3649" y="2286"/>
                    <a:pt x="3649" y="2293"/>
                  </a:cubicBezTo>
                  <a:cubicBezTo>
                    <a:pt x="3642" y="2308"/>
                    <a:pt x="3634" y="2381"/>
                    <a:pt x="3634" y="2448"/>
                  </a:cubicBezTo>
                  <a:cubicBezTo>
                    <a:pt x="3656" y="2403"/>
                    <a:pt x="3656" y="2403"/>
                    <a:pt x="3656" y="2403"/>
                  </a:cubicBezTo>
                  <a:cubicBezTo>
                    <a:pt x="3656" y="2403"/>
                    <a:pt x="3686" y="2316"/>
                    <a:pt x="3708" y="2257"/>
                  </a:cubicBezTo>
                  <a:close/>
                  <a:moveTo>
                    <a:pt x="432" y="2206"/>
                  </a:moveTo>
                  <a:lnTo>
                    <a:pt x="432" y="2206"/>
                  </a:lnTo>
                  <a:cubicBezTo>
                    <a:pt x="418" y="2206"/>
                    <a:pt x="403" y="2206"/>
                    <a:pt x="374" y="2198"/>
                  </a:cubicBezTo>
                  <a:cubicBezTo>
                    <a:pt x="352" y="2191"/>
                    <a:pt x="352" y="2191"/>
                    <a:pt x="352" y="2191"/>
                  </a:cubicBezTo>
                  <a:cubicBezTo>
                    <a:pt x="286" y="2169"/>
                    <a:pt x="300" y="2125"/>
                    <a:pt x="308" y="2096"/>
                  </a:cubicBezTo>
                  <a:cubicBezTo>
                    <a:pt x="315" y="2074"/>
                    <a:pt x="322" y="2052"/>
                    <a:pt x="322" y="2030"/>
                  </a:cubicBezTo>
                  <a:cubicBezTo>
                    <a:pt x="322" y="2008"/>
                    <a:pt x="322" y="1971"/>
                    <a:pt x="344" y="1971"/>
                  </a:cubicBezTo>
                  <a:cubicBezTo>
                    <a:pt x="359" y="1971"/>
                    <a:pt x="374" y="1986"/>
                    <a:pt x="403" y="2022"/>
                  </a:cubicBezTo>
                  <a:cubicBezTo>
                    <a:pt x="418" y="2037"/>
                    <a:pt x="425" y="2044"/>
                    <a:pt x="432" y="2059"/>
                  </a:cubicBezTo>
                  <a:cubicBezTo>
                    <a:pt x="447" y="2059"/>
                    <a:pt x="469" y="2067"/>
                    <a:pt x="483" y="2081"/>
                  </a:cubicBezTo>
                  <a:cubicBezTo>
                    <a:pt x="491" y="2096"/>
                    <a:pt x="498" y="2118"/>
                    <a:pt x="483" y="2147"/>
                  </a:cubicBezTo>
                  <a:cubicBezTo>
                    <a:pt x="476" y="2176"/>
                    <a:pt x="461" y="2206"/>
                    <a:pt x="432" y="2206"/>
                  </a:cubicBezTo>
                  <a:close/>
                  <a:moveTo>
                    <a:pt x="667" y="1979"/>
                  </a:moveTo>
                  <a:lnTo>
                    <a:pt x="667" y="1979"/>
                  </a:lnTo>
                  <a:cubicBezTo>
                    <a:pt x="630" y="1979"/>
                    <a:pt x="615" y="1949"/>
                    <a:pt x="601" y="1912"/>
                  </a:cubicBezTo>
                  <a:cubicBezTo>
                    <a:pt x="593" y="1898"/>
                    <a:pt x="593" y="1891"/>
                    <a:pt x="586" y="1876"/>
                  </a:cubicBezTo>
                  <a:cubicBezTo>
                    <a:pt x="571" y="1847"/>
                    <a:pt x="564" y="1825"/>
                    <a:pt x="579" y="1810"/>
                  </a:cubicBezTo>
                  <a:cubicBezTo>
                    <a:pt x="593" y="1788"/>
                    <a:pt x="630" y="1788"/>
                    <a:pt x="667" y="1788"/>
                  </a:cubicBezTo>
                  <a:cubicBezTo>
                    <a:pt x="689" y="1766"/>
                    <a:pt x="755" y="1693"/>
                    <a:pt x="813" y="1693"/>
                  </a:cubicBezTo>
                  <a:cubicBezTo>
                    <a:pt x="828" y="1693"/>
                    <a:pt x="843" y="1700"/>
                    <a:pt x="850" y="1707"/>
                  </a:cubicBezTo>
                  <a:cubicBezTo>
                    <a:pt x="865" y="1729"/>
                    <a:pt x="857" y="1759"/>
                    <a:pt x="850" y="1810"/>
                  </a:cubicBezTo>
                  <a:cubicBezTo>
                    <a:pt x="850" y="1832"/>
                    <a:pt x="843" y="1861"/>
                    <a:pt x="835" y="1891"/>
                  </a:cubicBezTo>
                  <a:cubicBezTo>
                    <a:pt x="835" y="1934"/>
                    <a:pt x="828" y="1971"/>
                    <a:pt x="784" y="1971"/>
                  </a:cubicBezTo>
                  <a:cubicBezTo>
                    <a:pt x="777" y="1971"/>
                    <a:pt x="769" y="1971"/>
                    <a:pt x="762" y="1971"/>
                  </a:cubicBezTo>
                  <a:cubicBezTo>
                    <a:pt x="747" y="1971"/>
                    <a:pt x="740" y="1971"/>
                    <a:pt x="733" y="1971"/>
                  </a:cubicBezTo>
                  <a:cubicBezTo>
                    <a:pt x="718" y="1971"/>
                    <a:pt x="711" y="1971"/>
                    <a:pt x="703" y="1971"/>
                  </a:cubicBezTo>
                  <a:cubicBezTo>
                    <a:pt x="689" y="1979"/>
                    <a:pt x="681" y="1979"/>
                    <a:pt x="667" y="1979"/>
                  </a:cubicBezTo>
                  <a:close/>
                  <a:moveTo>
                    <a:pt x="506" y="1759"/>
                  </a:moveTo>
                  <a:lnTo>
                    <a:pt x="506" y="1759"/>
                  </a:lnTo>
                  <a:cubicBezTo>
                    <a:pt x="476" y="1759"/>
                    <a:pt x="469" y="1737"/>
                    <a:pt x="469" y="1715"/>
                  </a:cubicBezTo>
                  <a:cubicBezTo>
                    <a:pt x="461" y="1693"/>
                    <a:pt x="461" y="1678"/>
                    <a:pt x="447" y="1663"/>
                  </a:cubicBezTo>
                  <a:cubicBezTo>
                    <a:pt x="447" y="1656"/>
                    <a:pt x="432" y="1641"/>
                    <a:pt x="440" y="1627"/>
                  </a:cubicBezTo>
                  <a:cubicBezTo>
                    <a:pt x="440" y="1619"/>
                    <a:pt x="447" y="1612"/>
                    <a:pt x="461" y="1612"/>
                  </a:cubicBezTo>
                  <a:cubicBezTo>
                    <a:pt x="491" y="1612"/>
                    <a:pt x="528" y="1627"/>
                    <a:pt x="564" y="1649"/>
                  </a:cubicBezTo>
                  <a:cubicBezTo>
                    <a:pt x="564" y="1656"/>
                    <a:pt x="579" y="1663"/>
                    <a:pt x="579" y="1685"/>
                  </a:cubicBezTo>
                  <a:cubicBezTo>
                    <a:pt x="579" y="1700"/>
                    <a:pt x="564" y="1722"/>
                    <a:pt x="535" y="1744"/>
                  </a:cubicBezTo>
                  <a:cubicBezTo>
                    <a:pt x="520" y="1759"/>
                    <a:pt x="513" y="1759"/>
                    <a:pt x="506" y="1759"/>
                  </a:cubicBezTo>
                  <a:close/>
                  <a:moveTo>
                    <a:pt x="220" y="1575"/>
                  </a:moveTo>
                  <a:lnTo>
                    <a:pt x="220" y="1575"/>
                  </a:lnTo>
                  <a:cubicBezTo>
                    <a:pt x="190" y="1575"/>
                    <a:pt x="161" y="1561"/>
                    <a:pt x="124" y="1539"/>
                  </a:cubicBezTo>
                  <a:cubicBezTo>
                    <a:pt x="59" y="1510"/>
                    <a:pt x="59" y="1466"/>
                    <a:pt x="51" y="1392"/>
                  </a:cubicBezTo>
                  <a:cubicBezTo>
                    <a:pt x="51" y="1378"/>
                    <a:pt x="51" y="1356"/>
                    <a:pt x="51" y="1334"/>
                  </a:cubicBezTo>
                  <a:cubicBezTo>
                    <a:pt x="44" y="1253"/>
                    <a:pt x="66" y="1238"/>
                    <a:pt x="102" y="1217"/>
                  </a:cubicBezTo>
                  <a:cubicBezTo>
                    <a:pt x="117" y="1209"/>
                    <a:pt x="139" y="1202"/>
                    <a:pt x="154" y="1187"/>
                  </a:cubicBezTo>
                  <a:cubicBezTo>
                    <a:pt x="190" y="1158"/>
                    <a:pt x="190" y="1158"/>
                    <a:pt x="190" y="1158"/>
                  </a:cubicBezTo>
                  <a:cubicBezTo>
                    <a:pt x="183" y="1202"/>
                    <a:pt x="183" y="1202"/>
                    <a:pt x="183" y="1202"/>
                  </a:cubicBezTo>
                  <a:cubicBezTo>
                    <a:pt x="183" y="1202"/>
                    <a:pt x="161" y="1312"/>
                    <a:pt x="212" y="1385"/>
                  </a:cubicBezTo>
                  <a:cubicBezTo>
                    <a:pt x="227" y="1400"/>
                    <a:pt x="227" y="1400"/>
                    <a:pt x="227" y="1400"/>
                  </a:cubicBezTo>
                  <a:cubicBezTo>
                    <a:pt x="257" y="1451"/>
                    <a:pt x="264" y="1451"/>
                    <a:pt x="264" y="1488"/>
                  </a:cubicBezTo>
                  <a:cubicBezTo>
                    <a:pt x="264" y="1495"/>
                    <a:pt x="264" y="1502"/>
                    <a:pt x="264" y="1517"/>
                  </a:cubicBezTo>
                  <a:cubicBezTo>
                    <a:pt x="264" y="1539"/>
                    <a:pt x="257" y="1546"/>
                    <a:pt x="249" y="1561"/>
                  </a:cubicBezTo>
                  <a:cubicBezTo>
                    <a:pt x="249" y="1568"/>
                    <a:pt x="234" y="1575"/>
                    <a:pt x="220" y="1575"/>
                  </a:cubicBezTo>
                  <a:close/>
                  <a:moveTo>
                    <a:pt x="601" y="1539"/>
                  </a:moveTo>
                  <a:lnTo>
                    <a:pt x="601" y="1539"/>
                  </a:lnTo>
                  <a:cubicBezTo>
                    <a:pt x="579" y="1539"/>
                    <a:pt x="571" y="1539"/>
                    <a:pt x="557" y="1531"/>
                  </a:cubicBezTo>
                  <a:cubicBezTo>
                    <a:pt x="506" y="1510"/>
                    <a:pt x="491" y="1480"/>
                    <a:pt x="491" y="1480"/>
                  </a:cubicBezTo>
                  <a:cubicBezTo>
                    <a:pt x="483" y="1466"/>
                    <a:pt x="483" y="1466"/>
                    <a:pt x="483" y="1466"/>
                  </a:cubicBezTo>
                  <a:cubicBezTo>
                    <a:pt x="498" y="1458"/>
                    <a:pt x="498" y="1458"/>
                    <a:pt x="498" y="1458"/>
                  </a:cubicBezTo>
                  <a:cubicBezTo>
                    <a:pt x="528" y="1443"/>
                    <a:pt x="557" y="1443"/>
                    <a:pt x="586" y="1436"/>
                  </a:cubicBezTo>
                  <a:cubicBezTo>
                    <a:pt x="630" y="1436"/>
                    <a:pt x="667" y="1429"/>
                    <a:pt x="696" y="1392"/>
                  </a:cubicBezTo>
                  <a:cubicBezTo>
                    <a:pt x="718" y="1370"/>
                    <a:pt x="733" y="1356"/>
                    <a:pt x="740" y="1348"/>
                  </a:cubicBezTo>
                  <a:cubicBezTo>
                    <a:pt x="755" y="1334"/>
                    <a:pt x="762" y="1326"/>
                    <a:pt x="791" y="1282"/>
                  </a:cubicBezTo>
                  <a:cubicBezTo>
                    <a:pt x="813" y="1246"/>
                    <a:pt x="813" y="1246"/>
                    <a:pt x="813" y="1246"/>
                  </a:cubicBezTo>
                  <a:cubicBezTo>
                    <a:pt x="813" y="1290"/>
                    <a:pt x="813" y="1290"/>
                    <a:pt x="813" y="1290"/>
                  </a:cubicBezTo>
                  <a:cubicBezTo>
                    <a:pt x="821" y="1304"/>
                    <a:pt x="828" y="1473"/>
                    <a:pt x="747" y="1495"/>
                  </a:cubicBezTo>
                  <a:cubicBezTo>
                    <a:pt x="733" y="1502"/>
                    <a:pt x="725" y="1510"/>
                    <a:pt x="711" y="1510"/>
                  </a:cubicBezTo>
                  <a:cubicBezTo>
                    <a:pt x="674" y="1524"/>
                    <a:pt x="630" y="1539"/>
                    <a:pt x="601" y="1539"/>
                  </a:cubicBezTo>
                  <a:close/>
                  <a:moveTo>
                    <a:pt x="528" y="1356"/>
                  </a:moveTo>
                  <a:lnTo>
                    <a:pt x="528" y="1356"/>
                  </a:lnTo>
                  <a:cubicBezTo>
                    <a:pt x="520" y="1356"/>
                    <a:pt x="506" y="1356"/>
                    <a:pt x="491" y="1348"/>
                  </a:cubicBezTo>
                  <a:cubicBezTo>
                    <a:pt x="469" y="1341"/>
                    <a:pt x="440" y="1341"/>
                    <a:pt x="418" y="1334"/>
                  </a:cubicBezTo>
                  <a:cubicBezTo>
                    <a:pt x="344" y="1326"/>
                    <a:pt x="286" y="1319"/>
                    <a:pt x="257" y="1260"/>
                  </a:cubicBezTo>
                  <a:cubicBezTo>
                    <a:pt x="220" y="1187"/>
                    <a:pt x="242" y="1129"/>
                    <a:pt x="242" y="1129"/>
                  </a:cubicBezTo>
                  <a:cubicBezTo>
                    <a:pt x="264" y="1092"/>
                    <a:pt x="286" y="1077"/>
                    <a:pt x="308" y="1077"/>
                  </a:cubicBezTo>
                  <a:lnTo>
                    <a:pt x="315" y="1077"/>
                  </a:lnTo>
                  <a:cubicBezTo>
                    <a:pt x="322" y="1077"/>
                    <a:pt x="322" y="1077"/>
                    <a:pt x="330" y="1077"/>
                  </a:cubicBezTo>
                  <a:cubicBezTo>
                    <a:pt x="344" y="1077"/>
                    <a:pt x="352" y="1077"/>
                    <a:pt x="366" y="1070"/>
                  </a:cubicBezTo>
                  <a:cubicBezTo>
                    <a:pt x="432" y="1048"/>
                    <a:pt x="432" y="1048"/>
                    <a:pt x="491" y="1041"/>
                  </a:cubicBezTo>
                  <a:cubicBezTo>
                    <a:pt x="513" y="1033"/>
                    <a:pt x="520" y="1033"/>
                    <a:pt x="535" y="1033"/>
                  </a:cubicBezTo>
                  <a:cubicBezTo>
                    <a:pt x="564" y="1033"/>
                    <a:pt x="571" y="1048"/>
                    <a:pt x="601" y="1092"/>
                  </a:cubicBezTo>
                  <a:cubicBezTo>
                    <a:pt x="601" y="1099"/>
                    <a:pt x="608" y="1107"/>
                    <a:pt x="615" y="1114"/>
                  </a:cubicBezTo>
                  <a:cubicBezTo>
                    <a:pt x="638" y="1150"/>
                    <a:pt x="638" y="1158"/>
                    <a:pt x="608" y="1231"/>
                  </a:cubicBezTo>
                  <a:cubicBezTo>
                    <a:pt x="601" y="1246"/>
                    <a:pt x="593" y="1268"/>
                    <a:pt x="593" y="1282"/>
                  </a:cubicBezTo>
                  <a:cubicBezTo>
                    <a:pt x="586" y="1319"/>
                    <a:pt x="571" y="1356"/>
                    <a:pt x="528" y="1356"/>
                  </a:cubicBezTo>
                  <a:close/>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77" name="Freeform 76">
              <a:extLst>
                <a:ext uri="{FF2B5EF4-FFF2-40B4-BE49-F238E27FC236}">
                  <a16:creationId xmlns:a16="http://schemas.microsoft.com/office/drawing/2014/main" id="{33151E5F-2BA8-E143-8936-78776C287124}"/>
                </a:ext>
              </a:extLst>
            </p:cNvPr>
            <p:cNvSpPr>
              <a:spLocks noChangeArrowheads="1"/>
            </p:cNvSpPr>
            <p:nvPr/>
          </p:nvSpPr>
          <p:spPr bwMode="auto">
            <a:xfrm>
              <a:off x="7120243" y="2973820"/>
              <a:ext cx="2905482" cy="2062837"/>
            </a:xfrm>
            <a:custGeom>
              <a:avLst/>
              <a:gdLst>
                <a:gd name="T0" fmla="*/ 821 w 7563"/>
                <a:gd name="T1" fmla="*/ 4910 h 5431"/>
                <a:gd name="T2" fmla="*/ 132 w 7563"/>
                <a:gd name="T3" fmla="*/ 4653 h 5431"/>
                <a:gd name="T4" fmla="*/ 396 w 7563"/>
                <a:gd name="T5" fmla="*/ 4030 h 5431"/>
                <a:gd name="T6" fmla="*/ 579 w 7563"/>
                <a:gd name="T7" fmla="*/ 3554 h 5431"/>
                <a:gd name="T8" fmla="*/ 513 w 7563"/>
                <a:gd name="T9" fmla="*/ 2609 h 5431"/>
                <a:gd name="T10" fmla="*/ 1246 w 7563"/>
                <a:gd name="T11" fmla="*/ 2711 h 5431"/>
                <a:gd name="T12" fmla="*/ 1641 w 7563"/>
                <a:gd name="T13" fmla="*/ 2550 h 5431"/>
                <a:gd name="T14" fmla="*/ 1803 w 7563"/>
                <a:gd name="T15" fmla="*/ 2345 h 5431"/>
                <a:gd name="T16" fmla="*/ 2286 w 7563"/>
                <a:gd name="T17" fmla="*/ 1949 h 5431"/>
                <a:gd name="T18" fmla="*/ 3253 w 7563"/>
                <a:gd name="T19" fmla="*/ 1407 h 5431"/>
                <a:gd name="T20" fmla="*/ 4037 w 7563"/>
                <a:gd name="T21" fmla="*/ 887 h 5431"/>
                <a:gd name="T22" fmla="*/ 4037 w 7563"/>
                <a:gd name="T23" fmla="*/ 989 h 5431"/>
                <a:gd name="T24" fmla="*/ 3480 w 7563"/>
                <a:gd name="T25" fmla="*/ 1180 h 5431"/>
                <a:gd name="T26" fmla="*/ 3422 w 7563"/>
                <a:gd name="T27" fmla="*/ 1473 h 5431"/>
                <a:gd name="T28" fmla="*/ 4125 w 7563"/>
                <a:gd name="T29" fmla="*/ 1114 h 5431"/>
                <a:gd name="T30" fmla="*/ 4499 w 7563"/>
                <a:gd name="T31" fmla="*/ 887 h 5431"/>
                <a:gd name="T32" fmla="*/ 4961 w 7563"/>
                <a:gd name="T33" fmla="*/ 1473 h 5431"/>
                <a:gd name="T34" fmla="*/ 5591 w 7563"/>
                <a:gd name="T35" fmla="*/ 1979 h 5431"/>
                <a:gd name="T36" fmla="*/ 6140 w 7563"/>
                <a:gd name="T37" fmla="*/ 1642 h 5431"/>
                <a:gd name="T38" fmla="*/ 7042 w 7563"/>
                <a:gd name="T39" fmla="*/ 2411 h 5431"/>
                <a:gd name="T40" fmla="*/ 6485 w 7563"/>
                <a:gd name="T41" fmla="*/ 2763 h 5431"/>
                <a:gd name="T42" fmla="*/ 7034 w 7563"/>
                <a:gd name="T43" fmla="*/ 2990 h 5431"/>
                <a:gd name="T44" fmla="*/ 7430 w 7563"/>
                <a:gd name="T45" fmla="*/ 3950 h 5431"/>
                <a:gd name="T46" fmla="*/ 7196 w 7563"/>
                <a:gd name="T47" fmla="*/ 4668 h 5431"/>
                <a:gd name="T48" fmla="*/ 7100 w 7563"/>
                <a:gd name="T49" fmla="*/ 4104 h 5431"/>
                <a:gd name="T50" fmla="*/ 6653 w 7563"/>
                <a:gd name="T51" fmla="*/ 4148 h 5431"/>
                <a:gd name="T52" fmla="*/ 6265 w 7563"/>
                <a:gd name="T53" fmla="*/ 3869 h 5431"/>
                <a:gd name="T54" fmla="*/ 5825 w 7563"/>
                <a:gd name="T55" fmla="*/ 4419 h 5431"/>
                <a:gd name="T56" fmla="*/ 5539 w 7563"/>
                <a:gd name="T57" fmla="*/ 4815 h 5431"/>
                <a:gd name="T58" fmla="*/ 5093 w 7563"/>
                <a:gd name="T59" fmla="*/ 4807 h 5431"/>
                <a:gd name="T60" fmla="*/ 4689 w 7563"/>
                <a:gd name="T61" fmla="*/ 5027 h 5431"/>
                <a:gd name="T62" fmla="*/ 4162 w 7563"/>
                <a:gd name="T63" fmla="*/ 4968 h 5431"/>
                <a:gd name="T64" fmla="*/ 3715 w 7563"/>
                <a:gd name="T65" fmla="*/ 4888 h 5431"/>
                <a:gd name="T66" fmla="*/ 2997 w 7563"/>
                <a:gd name="T67" fmla="*/ 4631 h 5431"/>
                <a:gd name="T68" fmla="*/ 2623 w 7563"/>
                <a:gd name="T69" fmla="*/ 4836 h 5431"/>
                <a:gd name="T70" fmla="*/ 2066 w 7563"/>
                <a:gd name="T71" fmla="*/ 5012 h 5431"/>
                <a:gd name="T72" fmla="*/ 1619 w 7563"/>
                <a:gd name="T73" fmla="*/ 5379 h 5431"/>
                <a:gd name="T74" fmla="*/ 6434 w 7563"/>
                <a:gd name="T75" fmla="*/ 2477 h 5431"/>
                <a:gd name="T76" fmla="*/ 6441 w 7563"/>
                <a:gd name="T77" fmla="*/ 2411 h 5431"/>
                <a:gd name="T78" fmla="*/ 6580 w 7563"/>
                <a:gd name="T79" fmla="*/ 2330 h 5431"/>
                <a:gd name="T80" fmla="*/ 6448 w 7563"/>
                <a:gd name="T81" fmla="*/ 2037 h 5431"/>
                <a:gd name="T82" fmla="*/ 6309 w 7563"/>
                <a:gd name="T83" fmla="*/ 2133 h 5431"/>
                <a:gd name="T84" fmla="*/ 6104 w 7563"/>
                <a:gd name="T85" fmla="*/ 2169 h 5431"/>
                <a:gd name="T86" fmla="*/ 1890 w 7563"/>
                <a:gd name="T87" fmla="*/ 2191 h 5431"/>
                <a:gd name="T88" fmla="*/ 5364 w 7563"/>
                <a:gd name="T89" fmla="*/ 1392 h 5431"/>
                <a:gd name="T90" fmla="*/ 4975 w 7563"/>
                <a:gd name="T91" fmla="*/ 1348 h 5431"/>
                <a:gd name="T92" fmla="*/ 4851 w 7563"/>
                <a:gd name="T93" fmla="*/ 894 h 5431"/>
                <a:gd name="T94" fmla="*/ 4953 w 7563"/>
                <a:gd name="T95" fmla="*/ 462 h 5431"/>
                <a:gd name="T96" fmla="*/ 5144 w 7563"/>
                <a:gd name="T97" fmla="*/ 542 h 5431"/>
                <a:gd name="T98" fmla="*/ 5356 w 7563"/>
                <a:gd name="T99" fmla="*/ 586 h 5431"/>
                <a:gd name="T100" fmla="*/ 5723 w 7563"/>
                <a:gd name="T101" fmla="*/ 858 h 5431"/>
                <a:gd name="T102" fmla="*/ 5972 w 7563"/>
                <a:gd name="T103" fmla="*/ 1004 h 5431"/>
                <a:gd name="T104" fmla="*/ 5767 w 7563"/>
                <a:gd name="T105" fmla="*/ 1180 h 5431"/>
                <a:gd name="T106" fmla="*/ 5584 w 7563"/>
                <a:gd name="T107" fmla="*/ 1180 h 5431"/>
                <a:gd name="T108" fmla="*/ 5239 w 7563"/>
                <a:gd name="T109" fmla="*/ 1356 h 5431"/>
                <a:gd name="T110" fmla="*/ 4843 w 7563"/>
                <a:gd name="T111" fmla="*/ 865 h 5431"/>
                <a:gd name="T112" fmla="*/ 4990 w 7563"/>
                <a:gd name="T113" fmla="*/ 616 h 5431"/>
                <a:gd name="T114" fmla="*/ 5503 w 7563"/>
                <a:gd name="T115" fmla="*/ 469 h 5431"/>
                <a:gd name="T116" fmla="*/ 5642 w 7563"/>
                <a:gd name="T117" fmla="*/ 674 h 5431"/>
                <a:gd name="T118" fmla="*/ 5093 w 7563"/>
                <a:gd name="T119" fmla="*/ 59 h 5431"/>
                <a:gd name="T120" fmla="*/ 5144 w 7563"/>
                <a:gd name="T121" fmla="*/ 359 h 5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63" h="5431">
                  <a:moveTo>
                    <a:pt x="1363" y="5430"/>
                  </a:moveTo>
                  <a:lnTo>
                    <a:pt x="1363" y="5430"/>
                  </a:lnTo>
                  <a:cubicBezTo>
                    <a:pt x="1326" y="5401"/>
                    <a:pt x="1267" y="5379"/>
                    <a:pt x="1224" y="5379"/>
                  </a:cubicBezTo>
                  <a:cubicBezTo>
                    <a:pt x="1209" y="5379"/>
                    <a:pt x="1202" y="5379"/>
                    <a:pt x="1187" y="5379"/>
                  </a:cubicBezTo>
                  <a:cubicBezTo>
                    <a:pt x="1180" y="5386"/>
                    <a:pt x="1172" y="5386"/>
                    <a:pt x="1165" y="5386"/>
                  </a:cubicBezTo>
                  <a:cubicBezTo>
                    <a:pt x="1136" y="5386"/>
                    <a:pt x="1121" y="5371"/>
                    <a:pt x="1114" y="5349"/>
                  </a:cubicBezTo>
                  <a:cubicBezTo>
                    <a:pt x="1106" y="5320"/>
                    <a:pt x="1121" y="5283"/>
                    <a:pt x="1150" y="5261"/>
                  </a:cubicBezTo>
                  <a:cubicBezTo>
                    <a:pt x="1158" y="5261"/>
                    <a:pt x="1158" y="5254"/>
                    <a:pt x="1158" y="5254"/>
                  </a:cubicBezTo>
                  <a:cubicBezTo>
                    <a:pt x="1158" y="5239"/>
                    <a:pt x="1099" y="5203"/>
                    <a:pt x="1048" y="5188"/>
                  </a:cubicBezTo>
                  <a:cubicBezTo>
                    <a:pt x="989" y="5166"/>
                    <a:pt x="894" y="5042"/>
                    <a:pt x="872" y="4998"/>
                  </a:cubicBezTo>
                  <a:cubicBezTo>
                    <a:pt x="865" y="4976"/>
                    <a:pt x="843" y="4946"/>
                    <a:pt x="821" y="4910"/>
                  </a:cubicBezTo>
                  <a:cubicBezTo>
                    <a:pt x="799" y="4873"/>
                    <a:pt x="777" y="4836"/>
                    <a:pt x="755" y="4807"/>
                  </a:cubicBezTo>
                  <a:cubicBezTo>
                    <a:pt x="718" y="4734"/>
                    <a:pt x="696" y="4719"/>
                    <a:pt x="630" y="4712"/>
                  </a:cubicBezTo>
                  <a:cubicBezTo>
                    <a:pt x="630" y="4712"/>
                    <a:pt x="623" y="4712"/>
                    <a:pt x="615" y="4712"/>
                  </a:cubicBezTo>
                  <a:cubicBezTo>
                    <a:pt x="586" y="4712"/>
                    <a:pt x="572" y="4727"/>
                    <a:pt x="550" y="4756"/>
                  </a:cubicBezTo>
                  <a:cubicBezTo>
                    <a:pt x="542" y="4763"/>
                    <a:pt x="535" y="4778"/>
                    <a:pt x="527" y="4793"/>
                  </a:cubicBezTo>
                  <a:cubicBezTo>
                    <a:pt x="498" y="4822"/>
                    <a:pt x="469" y="4836"/>
                    <a:pt x="425" y="4836"/>
                  </a:cubicBezTo>
                  <a:cubicBezTo>
                    <a:pt x="410" y="4836"/>
                    <a:pt x="388" y="4836"/>
                    <a:pt x="374" y="4829"/>
                  </a:cubicBezTo>
                  <a:cubicBezTo>
                    <a:pt x="322" y="4807"/>
                    <a:pt x="256" y="4719"/>
                    <a:pt x="227" y="4675"/>
                  </a:cubicBezTo>
                  <a:cubicBezTo>
                    <a:pt x="212" y="4646"/>
                    <a:pt x="198" y="4646"/>
                    <a:pt x="183" y="4646"/>
                  </a:cubicBezTo>
                  <a:cubicBezTo>
                    <a:pt x="176" y="4646"/>
                    <a:pt x="168" y="4646"/>
                    <a:pt x="154" y="4653"/>
                  </a:cubicBezTo>
                  <a:cubicBezTo>
                    <a:pt x="146" y="4653"/>
                    <a:pt x="139" y="4653"/>
                    <a:pt x="132" y="4653"/>
                  </a:cubicBezTo>
                  <a:cubicBezTo>
                    <a:pt x="103" y="4653"/>
                    <a:pt x="59" y="4631"/>
                    <a:pt x="29" y="4617"/>
                  </a:cubicBezTo>
                  <a:cubicBezTo>
                    <a:pt x="22" y="4609"/>
                    <a:pt x="15" y="4602"/>
                    <a:pt x="15" y="4602"/>
                  </a:cubicBezTo>
                  <a:cubicBezTo>
                    <a:pt x="7" y="4602"/>
                    <a:pt x="7" y="4602"/>
                    <a:pt x="7" y="4602"/>
                  </a:cubicBezTo>
                  <a:cubicBezTo>
                    <a:pt x="7" y="4595"/>
                    <a:pt x="7" y="4595"/>
                    <a:pt x="7" y="4595"/>
                  </a:cubicBezTo>
                  <a:cubicBezTo>
                    <a:pt x="7" y="4587"/>
                    <a:pt x="15" y="4492"/>
                    <a:pt x="7" y="4419"/>
                  </a:cubicBezTo>
                  <a:cubicBezTo>
                    <a:pt x="0" y="4353"/>
                    <a:pt x="22" y="4338"/>
                    <a:pt x="59" y="4316"/>
                  </a:cubicBezTo>
                  <a:cubicBezTo>
                    <a:pt x="73" y="4309"/>
                    <a:pt x="81" y="4302"/>
                    <a:pt x="95" y="4294"/>
                  </a:cubicBezTo>
                  <a:cubicBezTo>
                    <a:pt x="161" y="4250"/>
                    <a:pt x="191" y="4236"/>
                    <a:pt x="256" y="4228"/>
                  </a:cubicBezTo>
                  <a:cubicBezTo>
                    <a:pt x="300" y="4221"/>
                    <a:pt x="315" y="4199"/>
                    <a:pt x="344" y="4162"/>
                  </a:cubicBezTo>
                  <a:cubicBezTo>
                    <a:pt x="352" y="4148"/>
                    <a:pt x="366" y="4133"/>
                    <a:pt x="388" y="4111"/>
                  </a:cubicBezTo>
                  <a:cubicBezTo>
                    <a:pt x="410" y="4089"/>
                    <a:pt x="410" y="4067"/>
                    <a:pt x="396" y="4030"/>
                  </a:cubicBezTo>
                  <a:cubicBezTo>
                    <a:pt x="396" y="4008"/>
                    <a:pt x="388" y="3986"/>
                    <a:pt x="388" y="3957"/>
                  </a:cubicBezTo>
                  <a:cubicBezTo>
                    <a:pt x="388" y="3935"/>
                    <a:pt x="388" y="3898"/>
                    <a:pt x="418" y="3898"/>
                  </a:cubicBezTo>
                  <a:cubicBezTo>
                    <a:pt x="432" y="3898"/>
                    <a:pt x="447" y="3906"/>
                    <a:pt x="462" y="3913"/>
                  </a:cubicBezTo>
                  <a:cubicBezTo>
                    <a:pt x="476" y="3920"/>
                    <a:pt x="491" y="3928"/>
                    <a:pt x="513" y="3935"/>
                  </a:cubicBezTo>
                  <a:cubicBezTo>
                    <a:pt x="513" y="3935"/>
                    <a:pt x="520" y="3935"/>
                    <a:pt x="527" y="3935"/>
                  </a:cubicBezTo>
                  <a:cubicBezTo>
                    <a:pt x="557" y="3935"/>
                    <a:pt x="579" y="3906"/>
                    <a:pt x="601" y="3825"/>
                  </a:cubicBezTo>
                  <a:cubicBezTo>
                    <a:pt x="608" y="3803"/>
                    <a:pt x="608" y="3781"/>
                    <a:pt x="608" y="3759"/>
                  </a:cubicBezTo>
                  <a:cubicBezTo>
                    <a:pt x="615" y="3715"/>
                    <a:pt x="615" y="3671"/>
                    <a:pt x="645" y="3620"/>
                  </a:cubicBezTo>
                  <a:cubicBezTo>
                    <a:pt x="659" y="3591"/>
                    <a:pt x="659" y="3576"/>
                    <a:pt x="659" y="3569"/>
                  </a:cubicBezTo>
                  <a:cubicBezTo>
                    <a:pt x="652" y="3561"/>
                    <a:pt x="630" y="3561"/>
                    <a:pt x="608" y="3554"/>
                  </a:cubicBezTo>
                  <a:cubicBezTo>
                    <a:pt x="593" y="3554"/>
                    <a:pt x="586" y="3554"/>
                    <a:pt x="579" y="3554"/>
                  </a:cubicBezTo>
                  <a:cubicBezTo>
                    <a:pt x="520" y="3547"/>
                    <a:pt x="454" y="3525"/>
                    <a:pt x="388" y="3503"/>
                  </a:cubicBezTo>
                  <a:cubicBezTo>
                    <a:pt x="344" y="3488"/>
                    <a:pt x="330" y="3444"/>
                    <a:pt x="322" y="3415"/>
                  </a:cubicBezTo>
                  <a:cubicBezTo>
                    <a:pt x="315" y="3393"/>
                    <a:pt x="308" y="3371"/>
                    <a:pt x="293" y="3364"/>
                  </a:cubicBezTo>
                  <a:cubicBezTo>
                    <a:pt x="227" y="3327"/>
                    <a:pt x="264" y="3239"/>
                    <a:pt x="278" y="3210"/>
                  </a:cubicBezTo>
                  <a:cubicBezTo>
                    <a:pt x="293" y="3180"/>
                    <a:pt x="278" y="3151"/>
                    <a:pt x="264" y="3122"/>
                  </a:cubicBezTo>
                  <a:cubicBezTo>
                    <a:pt x="249" y="3093"/>
                    <a:pt x="242" y="3070"/>
                    <a:pt x="234" y="3041"/>
                  </a:cubicBezTo>
                  <a:cubicBezTo>
                    <a:pt x="227" y="2960"/>
                    <a:pt x="249" y="2939"/>
                    <a:pt x="337" y="2880"/>
                  </a:cubicBezTo>
                  <a:cubicBezTo>
                    <a:pt x="388" y="2843"/>
                    <a:pt x="403" y="2829"/>
                    <a:pt x="418" y="2807"/>
                  </a:cubicBezTo>
                  <a:cubicBezTo>
                    <a:pt x="432" y="2792"/>
                    <a:pt x="440" y="2777"/>
                    <a:pt x="462" y="2763"/>
                  </a:cubicBezTo>
                  <a:cubicBezTo>
                    <a:pt x="491" y="2734"/>
                    <a:pt x="505" y="2675"/>
                    <a:pt x="513" y="2638"/>
                  </a:cubicBezTo>
                  <a:cubicBezTo>
                    <a:pt x="513" y="2609"/>
                    <a:pt x="513" y="2609"/>
                    <a:pt x="513" y="2609"/>
                  </a:cubicBezTo>
                  <a:cubicBezTo>
                    <a:pt x="535" y="2631"/>
                    <a:pt x="535" y="2631"/>
                    <a:pt x="535" y="2631"/>
                  </a:cubicBezTo>
                  <a:cubicBezTo>
                    <a:pt x="542" y="2631"/>
                    <a:pt x="542" y="2631"/>
                    <a:pt x="542" y="2631"/>
                  </a:cubicBezTo>
                  <a:cubicBezTo>
                    <a:pt x="550" y="2631"/>
                    <a:pt x="564" y="2631"/>
                    <a:pt x="586" y="2624"/>
                  </a:cubicBezTo>
                  <a:cubicBezTo>
                    <a:pt x="637" y="2601"/>
                    <a:pt x="791" y="2484"/>
                    <a:pt x="835" y="2440"/>
                  </a:cubicBezTo>
                  <a:cubicBezTo>
                    <a:pt x="865" y="2418"/>
                    <a:pt x="916" y="2411"/>
                    <a:pt x="938" y="2411"/>
                  </a:cubicBezTo>
                  <a:cubicBezTo>
                    <a:pt x="989" y="2411"/>
                    <a:pt x="1077" y="2426"/>
                    <a:pt x="1092" y="2470"/>
                  </a:cubicBezTo>
                  <a:cubicBezTo>
                    <a:pt x="1099" y="2499"/>
                    <a:pt x="1165" y="2521"/>
                    <a:pt x="1216" y="2528"/>
                  </a:cubicBezTo>
                  <a:cubicBezTo>
                    <a:pt x="1246" y="2536"/>
                    <a:pt x="1246" y="2536"/>
                    <a:pt x="1246" y="2536"/>
                  </a:cubicBezTo>
                  <a:cubicBezTo>
                    <a:pt x="1224" y="2558"/>
                    <a:pt x="1224" y="2558"/>
                    <a:pt x="1224" y="2558"/>
                  </a:cubicBezTo>
                  <a:cubicBezTo>
                    <a:pt x="1224" y="2558"/>
                    <a:pt x="1172" y="2601"/>
                    <a:pt x="1216" y="2682"/>
                  </a:cubicBezTo>
                  <a:cubicBezTo>
                    <a:pt x="1224" y="2711"/>
                    <a:pt x="1238" y="2711"/>
                    <a:pt x="1246" y="2711"/>
                  </a:cubicBezTo>
                  <a:cubicBezTo>
                    <a:pt x="1275" y="2711"/>
                    <a:pt x="1312" y="2667"/>
                    <a:pt x="1326" y="2646"/>
                  </a:cubicBezTo>
                  <a:cubicBezTo>
                    <a:pt x="1334" y="2638"/>
                    <a:pt x="1334" y="2638"/>
                    <a:pt x="1334" y="2638"/>
                  </a:cubicBezTo>
                  <a:cubicBezTo>
                    <a:pt x="1399" y="2667"/>
                    <a:pt x="1399" y="2667"/>
                    <a:pt x="1399" y="2667"/>
                  </a:cubicBezTo>
                  <a:cubicBezTo>
                    <a:pt x="1429" y="2675"/>
                    <a:pt x="1451" y="2689"/>
                    <a:pt x="1480" y="2711"/>
                  </a:cubicBezTo>
                  <a:cubicBezTo>
                    <a:pt x="1509" y="2726"/>
                    <a:pt x="1539" y="2748"/>
                    <a:pt x="1583" y="2770"/>
                  </a:cubicBezTo>
                  <a:cubicBezTo>
                    <a:pt x="1597" y="2777"/>
                    <a:pt x="1605" y="2777"/>
                    <a:pt x="1612" y="2777"/>
                  </a:cubicBezTo>
                  <a:cubicBezTo>
                    <a:pt x="1619" y="2777"/>
                    <a:pt x="1627" y="2777"/>
                    <a:pt x="1627" y="2777"/>
                  </a:cubicBezTo>
                  <a:cubicBezTo>
                    <a:pt x="1641" y="2763"/>
                    <a:pt x="1641" y="2719"/>
                    <a:pt x="1641" y="2675"/>
                  </a:cubicBezTo>
                  <a:cubicBezTo>
                    <a:pt x="1641" y="2646"/>
                    <a:pt x="1641" y="2646"/>
                    <a:pt x="1641" y="2646"/>
                  </a:cubicBezTo>
                  <a:cubicBezTo>
                    <a:pt x="1641" y="2616"/>
                    <a:pt x="1641" y="2594"/>
                    <a:pt x="1641" y="2579"/>
                  </a:cubicBezTo>
                  <a:cubicBezTo>
                    <a:pt x="1641" y="2565"/>
                    <a:pt x="1649" y="2558"/>
                    <a:pt x="1641" y="2550"/>
                  </a:cubicBezTo>
                  <a:cubicBezTo>
                    <a:pt x="1649" y="2558"/>
                    <a:pt x="1641" y="2558"/>
                    <a:pt x="1634" y="2558"/>
                  </a:cubicBezTo>
                  <a:cubicBezTo>
                    <a:pt x="1612" y="2565"/>
                    <a:pt x="1612" y="2565"/>
                    <a:pt x="1612" y="2565"/>
                  </a:cubicBezTo>
                  <a:cubicBezTo>
                    <a:pt x="1605" y="2572"/>
                    <a:pt x="1590" y="2572"/>
                    <a:pt x="1546" y="2594"/>
                  </a:cubicBezTo>
                  <a:cubicBezTo>
                    <a:pt x="1531" y="2601"/>
                    <a:pt x="1517" y="2601"/>
                    <a:pt x="1502" y="2601"/>
                  </a:cubicBezTo>
                  <a:cubicBezTo>
                    <a:pt x="1480" y="2601"/>
                    <a:pt x="1465" y="2587"/>
                    <a:pt x="1465" y="2579"/>
                  </a:cubicBezTo>
                  <a:cubicBezTo>
                    <a:pt x="1451" y="2543"/>
                    <a:pt x="1480" y="2492"/>
                    <a:pt x="1509" y="2455"/>
                  </a:cubicBezTo>
                  <a:cubicBezTo>
                    <a:pt x="1568" y="2382"/>
                    <a:pt x="1634" y="2382"/>
                    <a:pt x="1707" y="2382"/>
                  </a:cubicBezTo>
                  <a:cubicBezTo>
                    <a:pt x="1722" y="2382"/>
                    <a:pt x="1736" y="2382"/>
                    <a:pt x="1744" y="2382"/>
                  </a:cubicBezTo>
                  <a:cubicBezTo>
                    <a:pt x="1758" y="2382"/>
                    <a:pt x="1758" y="2382"/>
                    <a:pt x="1758" y="2382"/>
                  </a:cubicBezTo>
                  <a:cubicBezTo>
                    <a:pt x="1773" y="2382"/>
                    <a:pt x="1773" y="2382"/>
                    <a:pt x="1795" y="2352"/>
                  </a:cubicBezTo>
                  <a:cubicBezTo>
                    <a:pt x="1803" y="2345"/>
                    <a:pt x="1803" y="2345"/>
                    <a:pt x="1803" y="2345"/>
                  </a:cubicBezTo>
                  <a:cubicBezTo>
                    <a:pt x="1817" y="2316"/>
                    <a:pt x="1832" y="2301"/>
                    <a:pt x="1854" y="2286"/>
                  </a:cubicBezTo>
                  <a:cubicBezTo>
                    <a:pt x="1876" y="2265"/>
                    <a:pt x="1898" y="2243"/>
                    <a:pt x="1912" y="2198"/>
                  </a:cubicBezTo>
                  <a:cubicBezTo>
                    <a:pt x="1927" y="2155"/>
                    <a:pt x="1912" y="2110"/>
                    <a:pt x="1905" y="2089"/>
                  </a:cubicBezTo>
                  <a:cubicBezTo>
                    <a:pt x="1898" y="2081"/>
                    <a:pt x="1898" y="2081"/>
                    <a:pt x="1898" y="2081"/>
                  </a:cubicBezTo>
                  <a:cubicBezTo>
                    <a:pt x="1898" y="2074"/>
                    <a:pt x="1898" y="2074"/>
                    <a:pt x="1898" y="2074"/>
                  </a:cubicBezTo>
                  <a:cubicBezTo>
                    <a:pt x="1905" y="2052"/>
                    <a:pt x="1927" y="2037"/>
                    <a:pt x="1942" y="2023"/>
                  </a:cubicBezTo>
                  <a:cubicBezTo>
                    <a:pt x="1964" y="2008"/>
                    <a:pt x="1978" y="1993"/>
                    <a:pt x="1993" y="1971"/>
                  </a:cubicBezTo>
                  <a:cubicBezTo>
                    <a:pt x="2015" y="1927"/>
                    <a:pt x="2037" y="1927"/>
                    <a:pt x="2066" y="1927"/>
                  </a:cubicBezTo>
                  <a:cubicBezTo>
                    <a:pt x="2088" y="1927"/>
                    <a:pt x="2110" y="1927"/>
                    <a:pt x="2147" y="1920"/>
                  </a:cubicBezTo>
                  <a:cubicBezTo>
                    <a:pt x="2162" y="1913"/>
                    <a:pt x="2176" y="1913"/>
                    <a:pt x="2191" y="1913"/>
                  </a:cubicBezTo>
                  <a:cubicBezTo>
                    <a:pt x="2235" y="1913"/>
                    <a:pt x="2264" y="1935"/>
                    <a:pt x="2286" y="1949"/>
                  </a:cubicBezTo>
                  <a:cubicBezTo>
                    <a:pt x="2301" y="1964"/>
                    <a:pt x="2315" y="1979"/>
                    <a:pt x="2337" y="1986"/>
                  </a:cubicBezTo>
                  <a:cubicBezTo>
                    <a:pt x="2345" y="1986"/>
                    <a:pt x="2352" y="1986"/>
                    <a:pt x="2367" y="1986"/>
                  </a:cubicBezTo>
                  <a:cubicBezTo>
                    <a:pt x="2396" y="1986"/>
                    <a:pt x="2418" y="1964"/>
                    <a:pt x="2462" y="1927"/>
                  </a:cubicBezTo>
                  <a:cubicBezTo>
                    <a:pt x="2469" y="1913"/>
                    <a:pt x="2491" y="1898"/>
                    <a:pt x="2506" y="1884"/>
                  </a:cubicBezTo>
                  <a:cubicBezTo>
                    <a:pt x="2565" y="1832"/>
                    <a:pt x="2645" y="1832"/>
                    <a:pt x="2718" y="1832"/>
                  </a:cubicBezTo>
                  <a:cubicBezTo>
                    <a:pt x="2748" y="1832"/>
                    <a:pt x="2770" y="1832"/>
                    <a:pt x="2799" y="1825"/>
                  </a:cubicBezTo>
                  <a:cubicBezTo>
                    <a:pt x="2872" y="1817"/>
                    <a:pt x="2880" y="1810"/>
                    <a:pt x="2887" y="1781"/>
                  </a:cubicBezTo>
                  <a:cubicBezTo>
                    <a:pt x="2902" y="1737"/>
                    <a:pt x="2946" y="1649"/>
                    <a:pt x="3004" y="1605"/>
                  </a:cubicBezTo>
                  <a:cubicBezTo>
                    <a:pt x="3063" y="1554"/>
                    <a:pt x="3063" y="1554"/>
                    <a:pt x="3063" y="1554"/>
                  </a:cubicBezTo>
                  <a:cubicBezTo>
                    <a:pt x="3122" y="1510"/>
                    <a:pt x="3202" y="1444"/>
                    <a:pt x="3231" y="1422"/>
                  </a:cubicBezTo>
                  <a:cubicBezTo>
                    <a:pt x="3253" y="1407"/>
                    <a:pt x="3253" y="1407"/>
                    <a:pt x="3253" y="1407"/>
                  </a:cubicBezTo>
                  <a:cubicBezTo>
                    <a:pt x="3290" y="1378"/>
                    <a:pt x="3319" y="1363"/>
                    <a:pt x="3319" y="1319"/>
                  </a:cubicBezTo>
                  <a:cubicBezTo>
                    <a:pt x="3319" y="1260"/>
                    <a:pt x="3363" y="1195"/>
                    <a:pt x="3407" y="1121"/>
                  </a:cubicBezTo>
                  <a:cubicBezTo>
                    <a:pt x="3429" y="1085"/>
                    <a:pt x="3429" y="1085"/>
                    <a:pt x="3429" y="1085"/>
                  </a:cubicBezTo>
                  <a:cubicBezTo>
                    <a:pt x="3466" y="1041"/>
                    <a:pt x="3480" y="1019"/>
                    <a:pt x="3495" y="953"/>
                  </a:cubicBezTo>
                  <a:cubicBezTo>
                    <a:pt x="3524" y="865"/>
                    <a:pt x="3561" y="806"/>
                    <a:pt x="3605" y="784"/>
                  </a:cubicBezTo>
                  <a:cubicBezTo>
                    <a:pt x="3612" y="784"/>
                    <a:pt x="3620" y="777"/>
                    <a:pt x="3627" y="777"/>
                  </a:cubicBezTo>
                  <a:cubicBezTo>
                    <a:pt x="3656" y="777"/>
                    <a:pt x="3678" y="806"/>
                    <a:pt x="3693" y="836"/>
                  </a:cubicBezTo>
                  <a:cubicBezTo>
                    <a:pt x="3708" y="858"/>
                    <a:pt x="3722" y="879"/>
                    <a:pt x="3737" y="887"/>
                  </a:cubicBezTo>
                  <a:cubicBezTo>
                    <a:pt x="3744" y="887"/>
                    <a:pt x="3766" y="894"/>
                    <a:pt x="3810" y="894"/>
                  </a:cubicBezTo>
                  <a:cubicBezTo>
                    <a:pt x="3854" y="894"/>
                    <a:pt x="3905" y="894"/>
                    <a:pt x="3949" y="887"/>
                  </a:cubicBezTo>
                  <a:cubicBezTo>
                    <a:pt x="3986" y="887"/>
                    <a:pt x="4015" y="887"/>
                    <a:pt x="4037" y="887"/>
                  </a:cubicBezTo>
                  <a:cubicBezTo>
                    <a:pt x="4103" y="887"/>
                    <a:pt x="4272" y="872"/>
                    <a:pt x="4353" y="865"/>
                  </a:cubicBezTo>
                  <a:cubicBezTo>
                    <a:pt x="4360" y="858"/>
                    <a:pt x="4374" y="858"/>
                    <a:pt x="4382" y="858"/>
                  </a:cubicBezTo>
                  <a:cubicBezTo>
                    <a:pt x="4411" y="858"/>
                    <a:pt x="4433" y="865"/>
                    <a:pt x="4462" y="872"/>
                  </a:cubicBezTo>
                  <a:cubicBezTo>
                    <a:pt x="4477" y="879"/>
                    <a:pt x="4477" y="879"/>
                    <a:pt x="4477" y="879"/>
                  </a:cubicBezTo>
                  <a:cubicBezTo>
                    <a:pt x="4462" y="901"/>
                    <a:pt x="4462" y="901"/>
                    <a:pt x="4462" y="901"/>
                  </a:cubicBezTo>
                  <a:cubicBezTo>
                    <a:pt x="4455" y="916"/>
                    <a:pt x="4440" y="931"/>
                    <a:pt x="4426" y="938"/>
                  </a:cubicBezTo>
                  <a:cubicBezTo>
                    <a:pt x="4396" y="960"/>
                    <a:pt x="4367" y="967"/>
                    <a:pt x="4323" y="967"/>
                  </a:cubicBezTo>
                  <a:cubicBezTo>
                    <a:pt x="4308" y="975"/>
                    <a:pt x="4286" y="975"/>
                    <a:pt x="4257" y="982"/>
                  </a:cubicBezTo>
                  <a:cubicBezTo>
                    <a:pt x="4221" y="989"/>
                    <a:pt x="4184" y="997"/>
                    <a:pt x="4147" y="997"/>
                  </a:cubicBezTo>
                  <a:cubicBezTo>
                    <a:pt x="4118" y="997"/>
                    <a:pt x="4089" y="989"/>
                    <a:pt x="4059" y="989"/>
                  </a:cubicBezTo>
                  <a:cubicBezTo>
                    <a:pt x="4037" y="989"/>
                    <a:pt x="4037" y="989"/>
                    <a:pt x="4037" y="989"/>
                  </a:cubicBezTo>
                  <a:cubicBezTo>
                    <a:pt x="4015" y="989"/>
                    <a:pt x="4001" y="982"/>
                    <a:pt x="3986" y="982"/>
                  </a:cubicBezTo>
                  <a:cubicBezTo>
                    <a:pt x="3964" y="982"/>
                    <a:pt x="3957" y="982"/>
                    <a:pt x="3942" y="982"/>
                  </a:cubicBezTo>
                  <a:cubicBezTo>
                    <a:pt x="3920" y="982"/>
                    <a:pt x="3905" y="982"/>
                    <a:pt x="3884" y="989"/>
                  </a:cubicBezTo>
                  <a:cubicBezTo>
                    <a:pt x="3832" y="1004"/>
                    <a:pt x="3810" y="1026"/>
                    <a:pt x="3759" y="1077"/>
                  </a:cubicBezTo>
                  <a:cubicBezTo>
                    <a:pt x="3737" y="1099"/>
                    <a:pt x="3737" y="1099"/>
                    <a:pt x="3737" y="1099"/>
                  </a:cubicBezTo>
                  <a:cubicBezTo>
                    <a:pt x="3708" y="1129"/>
                    <a:pt x="3686" y="1143"/>
                    <a:pt x="3664" y="1143"/>
                  </a:cubicBezTo>
                  <a:cubicBezTo>
                    <a:pt x="3656" y="1143"/>
                    <a:pt x="3642" y="1143"/>
                    <a:pt x="3627" y="1136"/>
                  </a:cubicBezTo>
                  <a:cubicBezTo>
                    <a:pt x="3620" y="1136"/>
                    <a:pt x="3605" y="1129"/>
                    <a:pt x="3590" y="1121"/>
                  </a:cubicBezTo>
                  <a:cubicBezTo>
                    <a:pt x="3576" y="1121"/>
                    <a:pt x="3568" y="1121"/>
                    <a:pt x="3554" y="1121"/>
                  </a:cubicBezTo>
                  <a:cubicBezTo>
                    <a:pt x="3532" y="1121"/>
                    <a:pt x="3524" y="1129"/>
                    <a:pt x="3510" y="1151"/>
                  </a:cubicBezTo>
                  <a:cubicBezTo>
                    <a:pt x="3503" y="1158"/>
                    <a:pt x="3488" y="1173"/>
                    <a:pt x="3480" y="1180"/>
                  </a:cubicBezTo>
                  <a:cubicBezTo>
                    <a:pt x="3451" y="1217"/>
                    <a:pt x="3444" y="1239"/>
                    <a:pt x="3444" y="1268"/>
                  </a:cubicBezTo>
                  <a:cubicBezTo>
                    <a:pt x="3436" y="1283"/>
                    <a:pt x="3436" y="1297"/>
                    <a:pt x="3429" y="1319"/>
                  </a:cubicBezTo>
                  <a:cubicBezTo>
                    <a:pt x="3422" y="1348"/>
                    <a:pt x="3400" y="1370"/>
                    <a:pt x="3385" y="1392"/>
                  </a:cubicBezTo>
                  <a:cubicBezTo>
                    <a:pt x="3371" y="1400"/>
                    <a:pt x="3363" y="1407"/>
                    <a:pt x="3356" y="1422"/>
                  </a:cubicBezTo>
                  <a:cubicBezTo>
                    <a:pt x="3356" y="1429"/>
                    <a:pt x="3356" y="1451"/>
                    <a:pt x="3348" y="1495"/>
                  </a:cubicBezTo>
                  <a:cubicBezTo>
                    <a:pt x="3341" y="1510"/>
                    <a:pt x="3341" y="1510"/>
                    <a:pt x="3363" y="1517"/>
                  </a:cubicBezTo>
                  <a:cubicBezTo>
                    <a:pt x="3378" y="1517"/>
                    <a:pt x="3393" y="1524"/>
                    <a:pt x="3407" y="1539"/>
                  </a:cubicBezTo>
                  <a:cubicBezTo>
                    <a:pt x="3415" y="1546"/>
                    <a:pt x="3436" y="1561"/>
                    <a:pt x="3488" y="1561"/>
                  </a:cubicBezTo>
                  <a:cubicBezTo>
                    <a:pt x="3495" y="1561"/>
                    <a:pt x="3503" y="1561"/>
                    <a:pt x="3510" y="1554"/>
                  </a:cubicBezTo>
                  <a:cubicBezTo>
                    <a:pt x="3495" y="1546"/>
                    <a:pt x="3473" y="1524"/>
                    <a:pt x="3444" y="1510"/>
                  </a:cubicBezTo>
                  <a:cubicBezTo>
                    <a:pt x="3436" y="1502"/>
                    <a:pt x="3422" y="1488"/>
                    <a:pt x="3422" y="1473"/>
                  </a:cubicBezTo>
                  <a:cubicBezTo>
                    <a:pt x="3422" y="1458"/>
                    <a:pt x="3436" y="1451"/>
                    <a:pt x="3444" y="1444"/>
                  </a:cubicBezTo>
                  <a:cubicBezTo>
                    <a:pt x="3458" y="1429"/>
                    <a:pt x="3473" y="1415"/>
                    <a:pt x="3488" y="1385"/>
                  </a:cubicBezTo>
                  <a:cubicBezTo>
                    <a:pt x="3510" y="1341"/>
                    <a:pt x="3532" y="1327"/>
                    <a:pt x="3554" y="1312"/>
                  </a:cubicBezTo>
                  <a:cubicBezTo>
                    <a:pt x="3576" y="1305"/>
                    <a:pt x="3598" y="1297"/>
                    <a:pt x="3627" y="1268"/>
                  </a:cubicBezTo>
                  <a:cubicBezTo>
                    <a:pt x="3708" y="1202"/>
                    <a:pt x="3766" y="1165"/>
                    <a:pt x="3862" y="1107"/>
                  </a:cubicBezTo>
                  <a:cubicBezTo>
                    <a:pt x="3884" y="1099"/>
                    <a:pt x="3891" y="1092"/>
                    <a:pt x="3905" y="1085"/>
                  </a:cubicBezTo>
                  <a:cubicBezTo>
                    <a:pt x="3920" y="1070"/>
                    <a:pt x="3927" y="1070"/>
                    <a:pt x="3935" y="1070"/>
                  </a:cubicBezTo>
                  <a:cubicBezTo>
                    <a:pt x="3949" y="1070"/>
                    <a:pt x="3949" y="1077"/>
                    <a:pt x="3957" y="1077"/>
                  </a:cubicBezTo>
                  <a:cubicBezTo>
                    <a:pt x="3957" y="1085"/>
                    <a:pt x="3957" y="1085"/>
                    <a:pt x="3971" y="1092"/>
                  </a:cubicBezTo>
                  <a:cubicBezTo>
                    <a:pt x="4008" y="1114"/>
                    <a:pt x="4030" y="1121"/>
                    <a:pt x="4089" y="1121"/>
                  </a:cubicBezTo>
                  <a:cubicBezTo>
                    <a:pt x="4103" y="1121"/>
                    <a:pt x="4118" y="1121"/>
                    <a:pt x="4125" y="1114"/>
                  </a:cubicBezTo>
                  <a:cubicBezTo>
                    <a:pt x="4133" y="1114"/>
                    <a:pt x="4140" y="1114"/>
                    <a:pt x="4147" y="1114"/>
                  </a:cubicBezTo>
                  <a:cubicBezTo>
                    <a:pt x="4162" y="1114"/>
                    <a:pt x="4177" y="1121"/>
                    <a:pt x="4198" y="1143"/>
                  </a:cubicBezTo>
                  <a:cubicBezTo>
                    <a:pt x="4228" y="1173"/>
                    <a:pt x="4235" y="1173"/>
                    <a:pt x="4243" y="1173"/>
                  </a:cubicBezTo>
                  <a:cubicBezTo>
                    <a:pt x="4243" y="1173"/>
                    <a:pt x="4250" y="1173"/>
                    <a:pt x="4257" y="1173"/>
                  </a:cubicBezTo>
                  <a:cubicBezTo>
                    <a:pt x="4265" y="1173"/>
                    <a:pt x="4279" y="1173"/>
                    <a:pt x="4286" y="1165"/>
                  </a:cubicBezTo>
                  <a:cubicBezTo>
                    <a:pt x="4323" y="1165"/>
                    <a:pt x="4323" y="1158"/>
                    <a:pt x="4338" y="1114"/>
                  </a:cubicBezTo>
                  <a:cubicBezTo>
                    <a:pt x="4338" y="1092"/>
                    <a:pt x="4345" y="1070"/>
                    <a:pt x="4353" y="1041"/>
                  </a:cubicBezTo>
                  <a:cubicBezTo>
                    <a:pt x="4360" y="1034"/>
                    <a:pt x="4360" y="1034"/>
                    <a:pt x="4360" y="1034"/>
                  </a:cubicBezTo>
                  <a:cubicBezTo>
                    <a:pt x="4374" y="975"/>
                    <a:pt x="4382" y="967"/>
                    <a:pt x="4396" y="967"/>
                  </a:cubicBezTo>
                  <a:cubicBezTo>
                    <a:pt x="4404" y="967"/>
                    <a:pt x="4411" y="967"/>
                    <a:pt x="4426" y="953"/>
                  </a:cubicBezTo>
                  <a:cubicBezTo>
                    <a:pt x="4470" y="924"/>
                    <a:pt x="4484" y="916"/>
                    <a:pt x="4499" y="887"/>
                  </a:cubicBezTo>
                  <a:cubicBezTo>
                    <a:pt x="4506" y="879"/>
                    <a:pt x="4506" y="879"/>
                    <a:pt x="4506" y="879"/>
                  </a:cubicBezTo>
                  <a:cubicBezTo>
                    <a:pt x="4514" y="879"/>
                    <a:pt x="4514" y="879"/>
                    <a:pt x="4514" y="879"/>
                  </a:cubicBezTo>
                  <a:cubicBezTo>
                    <a:pt x="4550" y="879"/>
                    <a:pt x="4572" y="894"/>
                    <a:pt x="4587" y="909"/>
                  </a:cubicBezTo>
                  <a:cubicBezTo>
                    <a:pt x="4594" y="924"/>
                    <a:pt x="4602" y="938"/>
                    <a:pt x="4594" y="960"/>
                  </a:cubicBezTo>
                  <a:cubicBezTo>
                    <a:pt x="4587" y="997"/>
                    <a:pt x="4624" y="1011"/>
                    <a:pt x="4675" y="1026"/>
                  </a:cubicBezTo>
                  <a:cubicBezTo>
                    <a:pt x="4704" y="1034"/>
                    <a:pt x="4734" y="1048"/>
                    <a:pt x="4741" y="1063"/>
                  </a:cubicBezTo>
                  <a:cubicBezTo>
                    <a:pt x="4748" y="1070"/>
                    <a:pt x="4748" y="1070"/>
                    <a:pt x="4748" y="1070"/>
                  </a:cubicBezTo>
                  <a:cubicBezTo>
                    <a:pt x="4748" y="1085"/>
                    <a:pt x="4748" y="1085"/>
                    <a:pt x="4748" y="1085"/>
                  </a:cubicBezTo>
                  <a:cubicBezTo>
                    <a:pt x="4719" y="1165"/>
                    <a:pt x="4719" y="1217"/>
                    <a:pt x="4726" y="1224"/>
                  </a:cubicBezTo>
                  <a:cubicBezTo>
                    <a:pt x="4763" y="1268"/>
                    <a:pt x="4799" y="1356"/>
                    <a:pt x="4814" y="1378"/>
                  </a:cubicBezTo>
                  <a:cubicBezTo>
                    <a:pt x="4829" y="1415"/>
                    <a:pt x="4880" y="1451"/>
                    <a:pt x="4961" y="1473"/>
                  </a:cubicBezTo>
                  <a:cubicBezTo>
                    <a:pt x="4983" y="1480"/>
                    <a:pt x="5012" y="1488"/>
                    <a:pt x="5056" y="1488"/>
                  </a:cubicBezTo>
                  <a:cubicBezTo>
                    <a:pt x="5056" y="1495"/>
                    <a:pt x="5056" y="1495"/>
                    <a:pt x="5056" y="1495"/>
                  </a:cubicBezTo>
                  <a:cubicBezTo>
                    <a:pt x="5107" y="1495"/>
                    <a:pt x="5158" y="1502"/>
                    <a:pt x="5180" y="1554"/>
                  </a:cubicBezTo>
                  <a:cubicBezTo>
                    <a:pt x="5188" y="1561"/>
                    <a:pt x="5195" y="1576"/>
                    <a:pt x="5195" y="1583"/>
                  </a:cubicBezTo>
                  <a:cubicBezTo>
                    <a:pt x="5217" y="1620"/>
                    <a:pt x="5246" y="1686"/>
                    <a:pt x="5261" y="1693"/>
                  </a:cubicBezTo>
                  <a:cubicBezTo>
                    <a:pt x="5268" y="1693"/>
                    <a:pt x="5268" y="1693"/>
                    <a:pt x="5276" y="1693"/>
                  </a:cubicBezTo>
                  <a:cubicBezTo>
                    <a:pt x="5290" y="1693"/>
                    <a:pt x="5298" y="1693"/>
                    <a:pt x="5305" y="1693"/>
                  </a:cubicBezTo>
                  <a:cubicBezTo>
                    <a:pt x="5320" y="1693"/>
                    <a:pt x="5327" y="1686"/>
                    <a:pt x="5334" y="1686"/>
                  </a:cubicBezTo>
                  <a:cubicBezTo>
                    <a:pt x="5378" y="1686"/>
                    <a:pt x="5386" y="1715"/>
                    <a:pt x="5386" y="1729"/>
                  </a:cubicBezTo>
                  <a:cubicBezTo>
                    <a:pt x="5386" y="1774"/>
                    <a:pt x="5400" y="1825"/>
                    <a:pt x="5488" y="1913"/>
                  </a:cubicBezTo>
                  <a:cubicBezTo>
                    <a:pt x="5539" y="1964"/>
                    <a:pt x="5576" y="1979"/>
                    <a:pt x="5591" y="1979"/>
                  </a:cubicBezTo>
                  <a:cubicBezTo>
                    <a:pt x="5591" y="1979"/>
                    <a:pt x="5591" y="1979"/>
                    <a:pt x="5584" y="1971"/>
                  </a:cubicBezTo>
                  <a:cubicBezTo>
                    <a:pt x="5576" y="1957"/>
                    <a:pt x="5576" y="1957"/>
                    <a:pt x="5576" y="1957"/>
                  </a:cubicBezTo>
                  <a:cubicBezTo>
                    <a:pt x="5561" y="1920"/>
                    <a:pt x="5539" y="1884"/>
                    <a:pt x="5554" y="1861"/>
                  </a:cubicBezTo>
                  <a:cubicBezTo>
                    <a:pt x="5561" y="1854"/>
                    <a:pt x="5569" y="1847"/>
                    <a:pt x="5591" y="1847"/>
                  </a:cubicBezTo>
                  <a:cubicBezTo>
                    <a:pt x="5642" y="1847"/>
                    <a:pt x="5745" y="1832"/>
                    <a:pt x="5803" y="1781"/>
                  </a:cubicBezTo>
                  <a:cubicBezTo>
                    <a:pt x="5847" y="1744"/>
                    <a:pt x="5884" y="1729"/>
                    <a:pt x="5920" y="1729"/>
                  </a:cubicBezTo>
                  <a:cubicBezTo>
                    <a:pt x="5943" y="1729"/>
                    <a:pt x="5972" y="1737"/>
                    <a:pt x="6001" y="1759"/>
                  </a:cubicBezTo>
                  <a:cubicBezTo>
                    <a:pt x="6038" y="1781"/>
                    <a:pt x="6052" y="1788"/>
                    <a:pt x="6067" y="1788"/>
                  </a:cubicBezTo>
                  <a:lnTo>
                    <a:pt x="6074" y="1788"/>
                  </a:lnTo>
                  <a:cubicBezTo>
                    <a:pt x="6082" y="1744"/>
                    <a:pt x="6104" y="1656"/>
                    <a:pt x="6140" y="1649"/>
                  </a:cubicBezTo>
                  <a:cubicBezTo>
                    <a:pt x="6140" y="1642"/>
                    <a:pt x="6140" y="1642"/>
                    <a:pt x="6140" y="1642"/>
                  </a:cubicBezTo>
                  <a:cubicBezTo>
                    <a:pt x="6148" y="1642"/>
                    <a:pt x="6148" y="1642"/>
                    <a:pt x="6148" y="1642"/>
                  </a:cubicBezTo>
                  <a:cubicBezTo>
                    <a:pt x="6177" y="1642"/>
                    <a:pt x="6192" y="1678"/>
                    <a:pt x="6214" y="1729"/>
                  </a:cubicBezTo>
                  <a:cubicBezTo>
                    <a:pt x="6236" y="1759"/>
                    <a:pt x="6250" y="1803"/>
                    <a:pt x="6279" y="1847"/>
                  </a:cubicBezTo>
                  <a:cubicBezTo>
                    <a:pt x="6331" y="1920"/>
                    <a:pt x="6338" y="1920"/>
                    <a:pt x="6397" y="1927"/>
                  </a:cubicBezTo>
                  <a:cubicBezTo>
                    <a:pt x="6411" y="1935"/>
                    <a:pt x="6426" y="1935"/>
                    <a:pt x="6455" y="1942"/>
                  </a:cubicBezTo>
                  <a:cubicBezTo>
                    <a:pt x="6543" y="1957"/>
                    <a:pt x="6587" y="1993"/>
                    <a:pt x="6631" y="2023"/>
                  </a:cubicBezTo>
                  <a:cubicBezTo>
                    <a:pt x="6646" y="2037"/>
                    <a:pt x="6660" y="2045"/>
                    <a:pt x="6675" y="2052"/>
                  </a:cubicBezTo>
                  <a:cubicBezTo>
                    <a:pt x="6712" y="2081"/>
                    <a:pt x="6756" y="2125"/>
                    <a:pt x="6793" y="2162"/>
                  </a:cubicBezTo>
                  <a:cubicBezTo>
                    <a:pt x="6815" y="2191"/>
                    <a:pt x="6836" y="2213"/>
                    <a:pt x="6858" y="2228"/>
                  </a:cubicBezTo>
                  <a:cubicBezTo>
                    <a:pt x="6902" y="2257"/>
                    <a:pt x="7034" y="2404"/>
                    <a:pt x="7042" y="2411"/>
                  </a:cubicBezTo>
                  <a:lnTo>
                    <a:pt x="7042" y="2411"/>
                  </a:lnTo>
                  <a:cubicBezTo>
                    <a:pt x="7056" y="2638"/>
                    <a:pt x="7056" y="2638"/>
                    <a:pt x="7056" y="2638"/>
                  </a:cubicBezTo>
                  <a:cubicBezTo>
                    <a:pt x="7042" y="2638"/>
                    <a:pt x="7042" y="2638"/>
                    <a:pt x="7042" y="2638"/>
                  </a:cubicBezTo>
                  <a:cubicBezTo>
                    <a:pt x="7020" y="2638"/>
                    <a:pt x="6998" y="2638"/>
                    <a:pt x="6976" y="2638"/>
                  </a:cubicBezTo>
                  <a:cubicBezTo>
                    <a:pt x="6946" y="2638"/>
                    <a:pt x="6910" y="2638"/>
                    <a:pt x="6888" y="2638"/>
                  </a:cubicBezTo>
                  <a:cubicBezTo>
                    <a:pt x="6844" y="2638"/>
                    <a:pt x="6815" y="2638"/>
                    <a:pt x="6785" y="2638"/>
                  </a:cubicBezTo>
                  <a:lnTo>
                    <a:pt x="6785" y="2638"/>
                  </a:lnTo>
                  <a:cubicBezTo>
                    <a:pt x="6756" y="2638"/>
                    <a:pt x="6727" y="2638"/>
                    <a:pt x="6697" y="2646"/>
                  </a:cubicBezTo>
                  <a:cubicBezTo>
                    <a:pt x="6668" y="2646"/>
                    <a:pt x="6660" y="2660"/>
                    <a:pt x="6653" y="2682"/>
                  </a:cubicBezTo>
                  <a:cubicBezTo>
                    <a:pt x="6646" y="2689"/>
                    <a:pt x="6631" y="2711"/>
                    <a:pt x="6617" y="2726"/>
                  </a:cubicBezTo>
                  <a:cubicBezTo>
                    <a:pt x="6580" y="2763"/>
                    <a:pt x="6565" y="2763"/>
                    <a:pt x="6521" y="2763"/>
                  </a:cubicBezTo>
                  <a:cubicBezTo>
                    <a:pt x="6485" y="2763"/>
                    <a:pt x="6485" y="2763"/>
                    <a:pt x="6485" y="2763"/>
                  </a:cubicBezTo>
                  <a:cubicBezTo>
                    <a:pt x="6434" y="2763"/>
                    <a:pt x="6426" y="2763"/>
                    <a:pt x="6411" y="2785"/>
                  </a:cubicBezTo>
                  <a:cubicBezTo>
                    <a:pt x="6404" y="2792"/>
                    <a:pt x="6404" y="2792"/>
                    <a:pt x="6404" y="2792"/>
                  </a:cubicBezTo>
                  <a:cubicBezTo>
                    <a:pt x="6397" y="2799"/>
                    <a:pt x="6404" y="2836"/>
                    <a:pt x="6441" y="2865"/>
                  </a:cubicBezTo>
                  <a:cubicBezTo>
                    <a:pt x="6470" y="2887"/>
                    <a:pt x="6492" y="2902"/>
                    <a:pt x="6521" y="2909"/>
                  </a:cubicBezTo>
                  <a:cubicBezTo>
                    <a:pt x="6543" y="2924"/>
                    <a:pt x="6573" y="2939"/>
                    <a:pt x="6595" y="2960"/>
                  </a:cubicBezTo>
                  <a:cubicBezTo>
                    <a:pt x="6624" y="2983"/>
                    <a:pt x="6675" y="2997"/>
                    <a:pt x="6727" y="3012"/>
                  </a:cubicBezTo>
                  <a:cubicBezTo>
                    <a:pt x="6741" y="3019"/>
                    <a:pt x="6756" y="3019"/>
                    <a:pt x="6778" y="3027"/>
                  </a:cubicBezTo>
                  <a:cubicBezTo>
                    <a:pt x="6822" y="3041"/>
                    <a:pt x="6866" y="3048"/>
                    <a:pt x="6902" y="3048"/>
                  </a:cubicBezTo>
                  <a:cubicBezTo>
                    <a:pt x="6917" y="3048"/>
                    <a:pt x="6939" y="3048"/>
                    <a:pt x="6954" y="3041"/>
                  </a:cubicBezTo>
                  <a:cubicBezTo>
                    <a:pt x="6998" y="3034"/>
                    <a:pt x="7005" y="3027"/>
                    <a:pt x="7027" y="2997"/>
                  </a:cubicBezTo>
                  <a:cubicBezTo>
                    <a:pt x="7034" y="2990"/>
                    <a:pt x="7034" y="2990"/>
                    <a:pt x="7034" y="2990"/>
                  </a:cubicBezTo>
                  <a:cubicBezTo>
                    <a:pt x="7049" y="2960"/>
                    <a:pt x="7071" y="2953"/>
                    <a:pt x="7100" y="2953"/>
                  </a:cubicBezTo>
                  <a:cubicBezTo>
                    <a:pt x="7115" y="2953"/>
                    <a:pt x="7122" y="2953"/>
                    <a:pt x="7129" y="2953"/>
                  </a:cubicBezTo>
                  <a:cubicBezTo>
                    <a:pt x="7144" y="2953"/>
                    <a:pt x="7144" y="2953"/>
                    <a:pt x="7144" y="2953"/>
                  </a:cubicBezTo>
                  <a:cubicBezTo>
                    <a:pt x="7144" y="2960"/>
                    <a:pt x="7144" y="2960"/>
                    <a:pt x="7144" y="2960"/>
                  </a:cubicBezTo>
                  <a:cubicBezTo>
                    <a:pt x="7159" y="2983"/>
                    <a:pt x="7181" y="3019"/>
                    <a:pt x="7181" y="3063"/>
                  </a:cubicBezTo>
                  <a:cubicBezTo>
                    <a:pt x="7188" y="3144"/>
                    <a:pt x="7232" y="3239"/>
                    <a:pt x="7232" y="3239"/>
                  </a:cubicBezTo>
                  <a:cubicBezTo>
                    <a:pt x="7239" y="3254"/>
                    <a:pt x="7247" y="3268"/>
                    <a:pt x="7254" y="3290"/>
                  </a:cubicBezTo>
                  <a:cubicBezTo>
                    <a:pt x="7276" y="3364"/>
                    <a:pt x="7320" y="3481"/>
                    <a:pt x="7305" y="3554"/>
                  </a:cubicBezTo>
                  <a:cubicBezTo>
                    <a:pt x="7284" y="3620"/>
                    <a:pt x="7320" y="3701"/>
                    <a:pt x="7357" y="3767"/>
                  </a:cubicBezTo>
                  <a:cubicBezTo>
                    <a:pt x="7364" y="3781"/>
                    <a:pt x="7371" y="3803"/>
                    <a:pt x="7379" y="3818"/>
                  </a:cubicBezTo>
                  <a:cubicBezTo>
                    <a:pt x="7401" y="3855"/>
                    <a:pt x="7415" y="3906"/>
                    <a:pt x="7430" y="3950"/>
                  </a:cubicBezTo>
                  <a:cubicBezTo>
                    <a:pt x="7445" y="4001"/>
                    <a:pt x="7459" y="4052"/>
                    <a:pt x="7474" y="4067"/>
                  </a:cubicBezTo>
                  <a:cubicBezTo>
                    <a:pt x="7496" y="4104"/>
                    <a:pt x="7562" y="4331"/>
                    <a:pt x="7562" y="4382"/>
                  </a:cubicBezTo>
                  <a:cubicBezTo>
                    <a:pt x="7562" y="4397"/>
                    <a:pt x="7562" y="4397"/>
                    <a:pt x="7562" y="4397"/>
                  </a:cubicBezTo>
                  <a:cubicBezTo>
                    <a:pt x="7547" y="4397"/>
                    <a:pt x="7547" y="4397"/>
                    <a:pt x="7547" y="4397"/>
                  </a:cubicBezTo>
                  <a:cubicBezTo>
                    <a:pt x="7503" y="4397"/>
                    <a:pt x="7496" y="4404"/>
                    <a:pt x="7481" y="4426"/>
                  </a:cubicBezTo>
                  <a:cubicBezTo>
                    <a:pt x="7474" y="4448"/>
                    <a:pt x="7459" y="4470"/>
                    <a:pt x="7430" y="4492"/>
                  </a:cubicBezTo>
                  <a:cubicBezTo>
                    <a:pt x="7349" y="4551"/>
                    <a:pt x="7349" y="4551"/>
                    <a:pt x="7305" y="4609"/>
                  </a:cubicBezTo>
                  <a:cubicBezTo>
                    <a:pt x="7291" y="4624"/>
                    <a:pt x="7284" y="4639"/>
                    <a:pt x="7276" y="4646"/>
                  </a:cubicBezTo>
                  <a:cubicBezTo>
                    <a:pt x="7261" y="4661"/>
                    <a:pt x="7254" y="4675"/>
                    <a:pt x="7232" y="4675"/>
                  </a:cubicBezTo>
                  <a:lnTo>
                    <a:pt x="7232" y="4675"/>
                  </a:lnTo>
                  <a:cubicBezTo>
                    <a:pt x="7225" y="4675"/>
                    <a:pt x="7210" y="4675"/>
                    <a:pt x="7196" y="4668"/>
                  </a:cubicBezTo>
                  <a:cubicBezTo>
                    <a:pt x="7159" y="4661"/>
                    <a:pt x="7137" y="4653"/>
                    <a:pt x="7100" y="4653"/>
                  </a:cubicBezTo>
                  <a:cubicBezTo>
                    <a:pt x="7086" y="4653"/>
                    <a:pt x="7056" y="4653"/>
                    <a:pt x="7027" y="4653"/>
                  </a:cubicBezTo>
                  <a:cubicBezTo>
                    <a:pt x="6990" y="4646"/>
                    <a:pt x="6968" y="4639"/>
                    <a:pt x="6961" y="4617"/>
                  </a:cubicBezTo>
                  <a:cubicBezTo>
                    <a:pt x="6946" y="4587"/>
                    <a:pt x="6961" y="4558"/>
                    <a:pt x="6983" y="4529"/>
                  </a:cubicBezTo>
                  <a:cubicBezTo>
                    <a:pt x="7005" y="4485"/>
                    <a:pt x="7071" y="4397"/>
                    <a:pt x="7166" y="4331"/>
                  </a:cubicBezTo>
                  <a:cubicBezTo>
                    <a:pt x="7210" y="4302"/>
                    <a:pt x="7203" y="4265"/>
                    <a:pt x="7188" y="4221"/>
                  </a:cubicBezTo>
                  <a:cubicBezTo>
                    <a:pt x="7188" y="4199"/>
                    <a:pt x="7181" y="4177"/>
                    <a:pt x="7181" y="4155"/>
                  </a:cubicBezTo>
                  <a:cubicBezTo>
                    <a:pt x="7188" y="4126"/>
                    <a:pt x="7181" y="4104"/>
                    <a:pt x="7174" y="4096"/>
                  </a:cubicBezTo>
                  <a:cubicBezTo>
                    <a:pt x="7166" y="4082"/>
                    <a:pt x="7166" y="4082"/>
                    <a:pt x="7166" y="4082"/>
                  </a:cubicBezTo>
                  <a:cubicBezTo>
                    <a:pt x="7166" y="4096"/>
                    <a:pt x="7166" y="4096"/>
                    <a:pt x="7166" y="4096"/>
                  </a:cubicBezTo>
                  <a:cubicBezTo>
                    <a:pt x="7151" y="4104"/>
                    <a:pt x="7129" y="4104"/>
                    <a:pt x="7100" y="4104"/>
                  </a:cubicBezTo>
                  <a:cubicBezTo>
                    <a:pt x="7071" y="4104"/>
                    <a:pt x="7034" y="4104"/>
                    <a:pt x="7012" y="4089"/>
                  </a:cubicBezTo>
                  <a:cubicBezTo>
                    <a:pt x="6998" y="4082"/>
                    <a:pt x="6990" y="4074"/>
                    <a:pt x="6983" y="4074"/>
                  </a:cubicBezTo>
                  <a:cubicBezTo>
                    <a:pt x="6976" y="4074"/>
                    <a:pt x="6968" y="4082"/>
                    <a:pt x="6961" y="4089"/>
                  </a:cubicBezTo>
                  <a:cubicBezTo>
                    <a:pt x="6946" y="4104"/>
                    <a:pt x="6946" y="4104"/>
                    <a:pt x="6946" y="4104"/>
                  </a:cubicBezTo>
                  <a:cubicBezTo>
                    <a:pt x="6902" y="4140"/>
                    <a:pt x="6895" y="4140"/>
                    <a:pt x="6844" y="4155"/>
                  </a:cubicBezTo>
                  <a:cubicBezTo>
                    <a:pt x="6836" y="4162"/>
                    <a:pt x="6829" y="4162"/>
                    <a:pt x="6822" y="4162"/>
                  </a:cubicBezTo>
                  <a:cubicBezTo>
                    <a:pt x="6793" y="4162"/>
                    <a:pt x="6778" y="4140"/>
                    <a:pt x="6770" y="4126"/>
                  </a:cubicBezTo>
                  <a:cubicBezTo>
                    <a:pt x="6763" y="4118"/>
                    <a:pt x="6756" y="4111"/>
                    <a:pt x="6748" y="4104"/>
                  </a:cubicBezTo>
                  <a:cubicBezTo>
                    <a:pt x="6741" y="4096"/>
                    <a:pt x="6734" y="4096"/>
                    <a:pt x="6734" y="4096"/>
                  </a:cubicBezTo>
                  <a:cubicBezTo>
                    <a:pt x="6727" y="4096"/>
                    <a:pt x="6712" y="4111"/>
                    <a:pt x="6697" y="4118"/>
                  </a:cubicBezTo>
                  <a:cubicBezTo>
                    <a:pt x="6683" y="4126"/>
                    <a:pt x="6668" y="4140"/>
                    <a:pt x="6653" y="4148"/>
                  </a:cubicBezTo>
                  <a:cubicBezTo>
                    <a:pt x="6639" y="4155"/>
                    <a:pt x="6624" y="4155"/>
                    <a:pt x="6609" y="4155"/>
                  </a:cubicBezTo>
                  <a:cubicBezTo>
                    <a:pt x="6573" y="4155"/>
                    <a:pt x="6551" y="4126"/>
                    <a:pt x="6536" y="4096"/>
                  </a:cubicBezTo>
                  <a:cubicBezTo>
                    <a:pt x="6529" y="4082"/>
                    <a:pt x="6521" y="4067"/>
                    <a:pt x="6514" y="4045"/>
                  </a:cubicBezTo>
                  <a:cubicBezTo>
                    <a:pt x="6507" y="4016"/>
                    <a:pt x="6492" y="3986"/>
                    <a:pt x="6477" y="3965"/>
                  </a:cubicBezTo>
                  <a:cubicBezTo>
                    <a:pt x="6470" y="3950"/>
                    <a:pt x="6463" y="3935"/>
                    <a:pt x="6455" y="3920"/>
                  </a:cubicBezTo>
                  <a:cubicBezTo>
                    <a:pt x="6448" y="3891"/>
                    <a:pt x="6441" y="3884"/>
                    <a:pt x="6419" y="3877"/>
                  </a:cubicBezTo>
                  <a:cubicBezTo>
                    <a:pt x="6367" y="3869"/>
                    <a:pt x="6353" y="3847"/>
                    <a:pt x="6324" y="3803"/>
                  </a:cubicBezTo>
                  <a:cubicBezTo>
                    <a:pt x="6316" y="3796"/>
                    <a:pt x="6316" y="3796"/>
                    <a:pt x="6316" y="3796"/>
                  </a:cubicBezTo>
                  <a:cubicBezTo>
                    <a:pt x="6287" y="3752"/>
                    <a:pt x="6272" y="3745"/>
                    <a:pt x="6265" y="3745"/>
                  </a:cubicBezTo>
                  <a:cubicBezTo>
                    <a:pt x="6265" y="3745"/>
                    <a:pt x="6258" y="3752"/>
                    <a:pt x="6250" y="3767"/>
                  </a:cubicBezTo>
                  <a:cubicBezTo>
                    <a:pt x="6228" y="3818"/>
                    <a:pt x="6236" y="3840"/>
                    <a:pt x="6265" y="3869"/>
                  </a:cubicBezTo>
                  <a:cubicBezTo>
                    <a:pt x="6272" y="3877"/>
                    <a:pt x="6279" y="3884"/>
                    <a:pt x="6294" y="3891"/>
                  </a:cubicBezTo>
                  <a:cubicBezTo>
                    <a:pt x="6309" y="3906"/>
                    <a:pt x="6324" y="3913"/>
                    <a:pt x="6324" y="3928"/>
                  </a:cubicBezTo>
                  <a:cubicBezTo>
                    <a:pt x="6324" y="3943"/>
                    <a:pt x="6316" y="3957"/>
                    <a:pt x="6309" y="3965"/>
                  </a:cubicBezTo>
                  <a:cubicBezTo>
                    <a:pt x="6272" y="4001"/>
                    <a:pt x="6236" y="4001"/>
                    <a:pt x="6192" y="4008"/>
                  </a:cubicBezTo>
                  <a:cubicBezTo>
                    <a:pt x="6148" y="4016"/>
                    <a:pt x="6148" y="4016"/>
                    <a:pt x="6148" y="4016"/>
                  </a:cubicBezTo>
                  <a:cubicBezTo>
                    <a:pt x="6104" y="4023"/>
                    <a:pt x="6104" y="4023"/>
                    <a:pt x="6045" y="4089"/>
                  </a:cubicBezTo>
                  <a:cubicBezTo>
                    <a:pt x="6016" y="4126"/>
                    <a:pt x="6001" y="4148"/>
                    <a:pt x="5994" y="4162"/>
                  </a:cubicBezTo>
                  <a:cubicBezTo>
                    <a:pt x="5972" y="4192"/>
                    <a:pt x="5965" y="4206"/>
                    <a:pt x="5935" y="4214"/>
                  </a:cubicBezTo>
                  <a:cubicBezTo>
                    <a:pt x="5906" y="4228"/>
                    <a:pt x="5898" y="4236"/>
                    <a:pt x="5877" y="4250"/>
                  </a:cubicBezTo>
                  <a:cubicBezTo>
                    <a:pt x="5869" y="4265"/>
                    <a:pt x="5862" y="4272"/>
                    <a:pt x="5847" y="4279"/>
                  </a:cubicBezTo>
                  <a:cubicBezTo>
                    <a:pt x="5811" y="4309"/>
                    <a:pt x="5818" y="4367"/>
                    <a:pt x="5825" y="4419"/>
                  </a:cubicBezTo>
                  <a:cubicBezTo>
                    <a:pt x="5833" y="4463"/>
                    <a:pt x="5811" y="4507"/>
                    <a:pt x="5789" y="4551"/>
                  </a:cubicBezTo>
                  <a:cubicBezTo>
                    <a:pt x="5781" y="4565"/>
                    <a:pt x="5774" y="4580"/>
                    <a:pt x="5767" y="4602"/>
                  </a:cubicBezTo>
                  <a:cubicBezTo>
                    <a:pt x="5752" y="4631"/>
                    <a:pt x="5745" y="4646"/>
                    <a:pt x="5715" y="4646"/>
                  </a:cubicBezTo>
                  <a:cubicBezTo>
                    <a:pt x="5708" y="4646"/>
                    <a:pt x="5701" y="4646"/>
                    <a:pt x="5693" y="4639"/>
                  </a:cubicBezTo>
                  <a:cubicBezTo>
                    <a:pt x="5686" y="4639"/>
                    <a:pt x="5679" y="4639"/>
                    <a:pt x="5664" y="4631"/>
                  </a:cubicBezTo>
                  <a:lnTo>
                    <a:pt x="5657" y="4631"/>
                  </a:lnTo>
                  <a:cubicBezTo>
                    <a:pt x="5649" y="4631"/>
                    <a:pt x="5649" y="4631"/>
                    <a:pt x="5642" y="4661"/>
                  </a:cubicBezTo>
                  <a:cubicBezTo>
                    <a:pt x="5642" y="4675"/>
                    <a:pt x="5635" y="4697"/>
                    <a:pt x="5620" y="4727"/>
                  </a:cubicBezTo>
                  <a:cubicBezTo>
                    <a:pt x="5613" y="4748"/>
                    <a:pt x="5605" y="4763"/>
                    <a:pt x="5598" y="4770"/>
                  </a:cubicBezTo>
                  <a:cubicBezTo>
                    <a:pt x="5591" y="4800"/>
                    <a:pt x="5584" y="4807"/>
                    <a:pt x="5554" y="4815"/>
                  </a:cubicBezTo>
                  <a:cubicBezTo>
                    <a:pt x="5547" y="4815"/>
                    <a:pt x="5547" y="4815"/>
                    <a:pt x="5539" y="4815"/>
                  </a:cubicBezTo>
                  <a:cubicBezTo>
                    <a:pt x="5510" y="4815"/>
                    <a:pt x="5495" y="4778"/>
                    <a:pt x="5481" y="4748"/>
                  </a:cubicBezTo>
                  <a:cubicBezTo>
                    <a:pt x="5474" y="4734"/>
                    <a:pt x="5459" y="4719"/>
                    <a:pt x="5452" y="4705"/>
                  </a:cubicBezTo>
                  <a:cubicBezTo>
                    <a:pt x="5444" y="4690"/>
                    <a:pt x="5437" y="4690"/>
                    <a:pt x="5429" y="4690"/>
                  </a:cubicBezTo>
                  <a:cubicBezTo>
                    <a:pt x="5422" y="4690"/>
                    <a:pt x="5400" y="4705"/>
                    <a:pt x="5386" y="4712"/>
                  </a:cubicBezTo>
                  <a:cubicBezTo>
                    <a:pt x="5371" y="4719"/>
                    <a:pt x="5356" y="4727"/>
                    <a:pt x="5342" y="4734"/>
                  </a:cubicBezTo>
                  <a:cubicBezTo>
                    <a:pt x="5290" y="4756"/>
                    <a:pt x="5283" y="4770"/>
                    <a:pt x="5276" y="4836"/>
                  </a:cubicBezTo>
                  <a:cubicBezTo>
                    <a:pt x="5268" y="4888"/>
                    <a:pt x="5254" y="4910"/>
                    <a:pt x="5210" y="4910"/>
                  </a:cubicBezTo>
                  <a:cubicBezTo>
                    <a:pt x="5188" y="4902"/>
                    <a:pt x="5188" y="4902"/>
                    <a:pt x="5188" y="4902"/>
                  </a:cubicBezTo>
                  <a:cubicBezTo>
                    <a:pt x="5158" y="4902"/>
                    <a:pt x="5144" y="4873"/>
                    <a:pt x="5129" y="4851"/>
                  </a:cubicBezTo>
                  <a:cubicBezTo>
                    <a:pt x="5122" y="4836"/>
                    <a:pt x="5114" y="4815"/>
                    <a:pt x="5107" y="4807"/>
                  </a:cubicBezTo>
                  <a:cubicBezTo>
                    <a:pt x="5100" y="4807"/>
                    <a:pt x="5100" y="4807"/>
                    <a:pt x="5093" y="4807"/>
                  </a:cubicBezTo>
                  <a:cubicBezTo>
                    <a:pt x="5078" y="4807"/>
                    <a:pt x="5041" y="4836"/>
                    <a:pt x="5019" y="4880"/>
                  </a:cubicBezTo>
                  <a:cubicBezTo>
                    <a:pt x="5012" y="4895"/>
                    <a:pt x="5005" y="4902"/>
                    <a:pt x="4997" y="4917"/>
                  </a:cubicBezTo>
                  <a:cubicBezTo>
                    <a:pt x="4990" y="4939"/>
                    <a:pt x="4983" y="4961"/>
                    <a:pt x="4946" y="4990"/>
                  </a:cubicBezTo>
                  <a:cubicBezTo>
                    <a:pt x="4924" y="4998"/>
                    <a:pt x="4909" y="5005"/>
                    <a:pt x="4902" y="5012"/>
                  </a:cubicBezTo>
                  <a:cubicBezTo>
                    <a:pt x="4880" y="5020"/>
                    <a:pt x="4873" y="5027"/>
                    <a:pt x="4843" y="5064"/>
                  </a:cubicBezTo>
                  <a:cubicBezTo>
                    <a:pt x="4836" y="5078"/>
                    <a:pt x="4836" y="5078"/>
                    <a:pt x="4836" y="5078"/>
                  </a:cubicBezTo>
                  <a:cubicBezTo>
                    <a:pt x="4799" y="5122"/>
                    <a:pt x="4799" y="5129"/>
                    <a:pt x="4741" y="5129"/>
                  </a:cubicBezTo>
                  <a:cubicBezTo>
                    <a:pt x="4726" y="5129"/>
                    <a:pt x="4712" y="5122"/>
                    <a:pt x="4704" y="5115"/>
                  </a:cubicBezTo>
                  <a:cubicBezTo>
                    <a:pt x="4689" y="5093"/>
                    <a:pt x="4697" y="5064"/>
                    <a:pt x="4704" y="5034"/>
                  </a:cubicBezTo>
                  <a:cubicBezTo>
                    <a:pt x="4704" y="5027"/>
                    <a:pt x="4704" y="5020"/>
                    <a:pt x="4712" y="5012"/>
                  </a:cubicBezTo>
                  <a:cubicBezTo>
                    <a:pt x="4704" y="5020"/>
                    <a:pt x="4697" y="5020"/>
                    <a:pt x="4689" y="5027"/>
                  </a:cubicBezTo>
                  <a:cubicBezTo>
                    <a:pt x="4675" y="5042"/>
                    <a:pt x="4653" y="5056"/>
                    <a:pt x="4624" y="5064"/>
                  </a:cubicBezTo>
                  <a:cubicBezTo>
                    <a:pt x="4609" y="5071"/>
                    <a:pt x="4594" y="5071"/>
                    <a:pt x="4579" y="5071"/>
                  </a:cubicBezTo>
                  <a:cubicBezTo>
                    <a:pt x="4550" y="5071"/>
                    <a:pt x="4536" y="5064"/>
                    <a:pt x="4514" y="5049"/>
                  </a:cubicBezTo>
                  <a:cubicBezTo>
                    <a:pt x="4484" y="5056"/>
                    <a:pt x="4426" y="5064"/>
                    <a:pt x="4396" y="5071"/>
                  </a:cubicBezTo>
                  <a:cubicBezTo>
                    <a:pt x="4389" y="5078"/>
                    <a:pt x="4374" y="5086"/>
                    <a:pt x="4367" y="5086"/>
                  </a:cubicBezTo>
                  <a:cubicBezTo>
                    <a:pt x="4345" y="5086"/>
                    <a:pt x="4330" y="5071"/>
                    <a:pt x="4308" y="5056"/>
                  </a:cubicBezTo>
                  <a:cubicBezTo>
                    <a:pt x="4294" y="5049"/>
                    <a:pt x="4294" y="5049"/>
                    <a:pt x="4294" y="5049"/>
                  </a:cubicBezTo>
                  <a:cubicBezTo>
                    <a:pt x="4272" y="5034"/>
                    <a:pt x="4257" y="5020"/>
                    <a:pt x="4250" y="4998"/>
                  </a:cubicBezTo>
                  <a:cubicBezTo>
                    <a:pt x="4235" y="4976"/>
                    <a:pt x="4228" y="4961"/>
                    <a:pt x="4213" y="4961"/>
                  </a:cubicBezTo>
                  <a:cubicBezTo>
                    <a:pt x="4206" y="4961"/>
                    <a:pt x="4206" y="4961"/>
                    <a:pt x="4198" y="4961"/>
                  </a:cubicBezTo>
                  <a:cubicBezTo>
                    <a:pt x="4184" y="4968"/>
                    <a:pt x="4177" y="4968"/>
                    <a:pt x="4162" y="4968"/>
                  </a:cubicBezTo>
                  <a:cubicBezTo>
                    <a:pt x="4133" y="4968"/>
                    <a:pt x="4118" y="4961"/>
                    <a:pt x="4111" y="4946"/>
                  </a:cubicBezTo>
                  <a:cubicBezTo>
                    <a:pt x="4096" y="4932"/>
                    <a:pt x="4089" y="4917"/>
                    <a:pt x="4096" y="4895"/>
                  </a:cubicBezTo>
                  <a:cubicBezTo>
                    <a:pt x="4096" y="4888"/>
                    <a:pt x="4096" y="4873"/>
                    <a:pt x="4089" y="4866"/>
                  </a:cubicBezTo>
                  <a:cubicBezTo>
                    <a:pt x="4081" y="4858"/>
                    <a:pt x="4074" y="4851"/>
                    <a:pt x="4059" y="4851"/>
                  </a:cubicBezTo>
                  <a:cubicBezTo>
                    <a:pt x="4045" y="4851"/>
                    <a:pt x="4037" y="4858"/>
                    <a:pt x="4023" y="4858"/>
                  </a:cubicBezTo>
                  <a:cubicBezTo>
                    <a:pt x="4001" y="4873"/>
                    <a:pt x="3986" y="4873"/>
                    <a:pt x="3964" y="4873"/>
                  </a:cubicBezTo>
                  <a:cubicBezTo>
                    <a:pt x="3942" y="4873"/>
                    <a:pt x="3927" y="4873"/>
                    <a:pt x="3905" y="4866"/>
                  </a:cubicBezTo>
                  <a:cubicBezTo>
                    <a:pt x="3898" y="4858"/>
                    <a:pt x="3891" y="4858"/>
                    <a:pt x="3876" y="4851"/>
                  </a:cubicBezTo>
                  <a:cubicBezTo>
                    <a:pt x="3869" y="4851"/>
                    <a:pt x="3854" y="4851"/>
                    <a:pt x="3847" y="4851"/>
                  </a:cubicBezTo>
                  <a:cubicBezTo>
                    <a:pt x="3825" y="4851"/>
                    <a:pt x="3803" y="4858"/>
                    <a:pt x="3781" y="4866"/>
                  </a:cubicBezTo>
                  <a:cubicBezTo>
                    <a:pt x="3759" y="4873"/>
                    <a:pt x="3744" y="4880"/>
                    <a:pt x="3715" y="4888"/>
                  </a:cubicBezTo>
                  <a:cubicBezTo>
                    <a:pt x="3708" y="4888"/>
                    <a:pt x="3693" y="4895"/>
                    <a:pt x="3686" y="4895"/>
                  </a:cubicBezTo>
                  <a:cubicBezTo>
                    <a:pt x="3634" y="4895"/>
                    <a:pt x="3612" y="4851"/>
                    <a:pt x="3598" y="4822"/>
                  </a:cubicBezTo>
                  <a:cubicBezTo>
                    <a:pt x="3590" y="4807"/>
                    <a:pt x="3583" y="4793"/>
                    <a:pt x="3576" y="4785"/>
                  </a:cubicBezTo>
                  <a:cubicBezTo>
                    <a:pt x="3532" y="4741"/>
                    <a:pt x="3436" y="4661"/>
                    <a:pt x="3385" y="4653"/>
                  </a:cubicBezTo>
                  <a:cubicBezTo>
                    <a:pt x="3363" y="4646"/>
                    <a:pt x="3348" y="4646"/>
                    <a:pt x="3327" y="4646"/>
                  </a:cubicBezTo>
                  <a:cubicBezTo>
                    <a:pt x="3305" y="4646"/>
                    <a:pt x="3275" y="4646"/>
                    <a:pt x="3253" y="4631"/>
                  </a:cubicBezTo>
                  <a:cubicBezTo>
                    <a:pt x="3239" y="4624"/>
                    <a:pt x="3224" y="4609"/>
                    <a:pt x="3217" y="4595"/>
                  </a:cubicBezTo>
                  <a:cubicBezTo>
                    <a:pt x="3209" y="4580"/>
                    <a:pt x="3202" y="4565"/>
                    <a:pt x="3180" y="4565"/>
                  </a:cubicBezTo>
                  <a:cubicBezTo>
                    <a:pt x="3180" y="4565"/>
                    <a:pt x="3173" y="4565"/>
                    <a:pt x="3165" y="4565"/>
                  </a:cubicBezTo>
                  <a:cubicBezTo>
                    <a:pt x="3136" y="4565"/>
                    <a:pt x="3099" y="4580"/>
                    <a:pt x="3063" y="4602"/>
                  </a:cubicBezTo>
                  <a:cubicBezTo>
                    <a:pt x="3048" y="4617"/>
                    <a:pt x="3026" y="4631"/>
                    <a:pt x="2997" y="4631"/>
                  </a:cubicBezTo>
                  <a:cubicBezTo>
                    <a:pt x="2975" y="4631"/>
                    <a:pt x="2953" y="4624"/>
                    <a:pt x="2938" y="4602"/>
                  </a:cubicBezTo>
                  <a:cubicBezTo>
                    <a:pt x="2924" y="4595"/>
                    <a:pt x="2916" y="4587"/>
                    <a:pt x="2909" y="4580"/>
                  </a:cubicBezTo>
                  <a:cubicBezTo>
                    <a:pt x="2909" y="4573"/>
                    <a:pt x="2909" y="4573"/>
                    <a:pt x="2902" y="4573"/>
                  </a:cubicBezTo>
                  <a:cubicBezTo>
                    <a:pt x="2902" y="4573"/>
                    <a:pt x="2902" y="4573"/>
                    <a:pt x="2902" y="4580"/>
                  </a:cubicBezTo>
                  <a:cubicBezTo>
                    <a:pt x="2894" y="4624"/>
                    <a:pt x="2858" y="4639"/>
                    <a:pt x="2836" y="4646"/>
                  </a:cubicBezTo>
                  <a:cubicBezTo>
                    <a:pt x="2836" y="4683"/>
                    <a:pt x="2828" y="4770"/>
                    <a:pt x="2770" y="4778"/>
                  </a:cubicBezTo>
                  <a:cubicBezTo>
                    <a:pt x="2740" y="4785"/>
                    <a:pt x="2733" y="4785"/>
                    <a:pt x="2733" y="4785"/>
                  </a:cubicBezTo>
                  <a:cubicBezTo>
                    <a:pt x="2733" y="4800"/>
                    <a:pt x="2733" y="4800"/>
                    <a:pt x="2733" y="4807"/>
                  </a:cubicBezTo>
                  <a:cubicBezTo>
                    <a:pt x="2726" y="4829"/>
                    <a:pt x="2704" y="4858"/>
                    <a:pt x="2674" y="4858"/>
                  </a:cubicBezTo>
                  <a:cubicBezTo>
                    <a:pt x="2667" y="4858"/>
                    <a:pt x="2653" y="4851"/>
                    <a:pt x="2638" y="4844"/>
                  </a:cubicBezTo>
                  <a:cubicBezTo>
                    <a:pt x="2631" y="4836"/>
                    <a:pt x="2631" y="4836"/>
                    <a:pt x="2623" y="4836"/>
                  </a:cubicBezTo>
                  <a:cubicBezTo>
                    <a:pt x="2616" y="4836"/>
                    <a:pt x="2594" y="4851"/>
                    <a:pt x="2572" y="4873"/>
                  </a:cubicBezTo>
                  <a:cubicBezTo>
                    <a:pt x="2565" y="4880"/>
                    <a:pt x="2557" y="4888"/>
                    <a:pt x="2550" y="4895"/>
                  </a:cubicBezTo>
                  <a:cubicBezTo>
                    <a:pt x="2528" y="4910"/>
                    <a:pt x="2521" y="4917"/>
                    <a:pt x="2506" y="4924"/>
                  </a:cubicBezTo>
                  <a:cubicBezTo>
                    <a:pt x="2484" y="4946"/>
                    <a:pt x="2469" y="4954"/>
                    <a:pt x="2462" y="4976"/>
                  </a:cubicBezTo>
                  <a:cubicBezTo>
                    <a:pt x="2447" y="4998"/>
                    <a:pt x="2418" y="5012"/>
                    <a:pt x="2389" y="5020"/>
                  </a:cubicBezTo>
                  <a:cubicBezTo>
                    <a:pt x="2374" y="5027"/>
                    <a:pt x="2359" y="5027"/>
                    <a:pt x="2345" y="5042"/>
                  </a:cubicBezTo>
                  <a:cubicBezTo>
                    <a:pt x="2330" y="5042"/>
                    <a:pt x="2323" y="5049"/>
                    <a:pt x="2308" y="5049"/>
                  </a:cubicBezTo>
                  <a:cubicBezTo>
                    <a:pt x="2279" y="5049"/>
                    <a:pt x="2235" y="5027"/>
                    <a:pt x="2198" y="5005"/>
                  </a:cubicBezTo>
                  <a:cubicBezTo>
                    <a:pt x="2184" y="4998"/>
                    <a:pt x="2169" y="4990"/>
                    <a:pt x="2147" y="4983"/>
                  </a:cubicBezTo>
                  <a:cubicBezTo>
                    <a:pt x="2140" y="4976"/>
                    <a:pt x="2132" y="4976"/>
                    <a:pt x="2125" y="4976"/>
                  </a:cubicBezTo>
                  <a:cubicBezTo>
                    <a:pt x="2103" y="4976"/>
                    <a:pt x="2088" y="4990"/>
                    <a:pt x="2066" y="5012"/>
                  </a:cubicBezTo>
                  <a:cubicBezTo>
                    <a:pt x="2052" y="5020"/>
                    <a:pt x="2037" y="5034"/>
                    <a:pt x="2030" y="5042"/>
                  </a:cubicBezTo>
                  <a:cubicBezTo>
                    <a:pt x="1986" y="5064"/>
                    <a:pt x="1949" y="5093"/>
                    <a:pt x="1912" y="5144"/>
                  </a:cubicBezTo>
                  <a:cubicBezTo>
                    <a:pt x="1890" y="5174"/>
                    <a:pt x="1898" y="5188"/>
                    <a:pt x="1912" y="5217"/>
                  </a:cubicBezTo>
                  <a:cubicBezTo>
                    <a:pt x="1920" y="5232"/>
                    <a:pt x="1927" y="5254"/>
                    <a:pt x="1927" y="5283"/>
                  </a:cubicBezTo>
                  <a:cubicBezTo>
                    <a:pt x="1920" y="5298"/>
                    <a:pt x="1920" y="5298"/>
                    <a:pt x="1920" y="5298"/>
                  </a:cubicBezTo>
                  <a:cubicBezTo>
                    <a:pt x="1912" y="5349"/>
                    <a:pt x="1912" y="5357"/>
                    <a:pt x="1898" y="5393"/>
                  </a:cubicBezTo>
                  <a:cubicBezTo>
                    <a:pt x="1890" y="5401"/>
                    <a:pt x="1883" y="5408"/>
                    <a:pt x="1868" y="5408"/>
                  </a:cubicBezTo>
                  <a:cubicBezTo>
                    <a:pt x="1854" y="5408"/>
                    <a:pt x="1839" y="5401"/>
                    <a:pt x="1810" y="5386"/>
                  </a:cubicBezTo>
                  <a:cubicBezTo>
                    <a:pt x="1788" y="5371"/>
                    <a:pt x="1751" y="5349"/>
                    <a:pt x="1722" y="5349"/>
                  </a:cubicBezTo>
                  <a:cubicBezTo>
                    <a:pt x="1707" y="5349"/>
                    <a:pt x="1700" y="5342"/>
                    <a:pt x="1685" y="5342"/>
                  </a:cubicBezTo>
                  <a:cubicBezTo>
                    <a:pt x="1627" y="5342"/>
                    <a:pt x="1619" y="5371"/>
                    <a:pt x="1619" y="5379"/>
                  </a:cubicBezTo>
                  <a:cubicBezTo>
                    <a:pt x="1605" y="5423"/>
                    <a:pt x="1583" y="5430"/>
                    <a:pt x="1546" y="5430"/>
                  </a:cubicBezTo>
                  <a:cubicBezTo>
                    <a:pt x="1370" y="5430"/>
                    <a:pt x="1370" y="5430"/>
                    <a:pt x="1370" y="5430"/>
                  </a:cubicBezTo>
                  <a:lnTo>
                    <a:pt x="1370" y="5430"/>
                  </a:lnTo>
                  <a:lnTo>
                    <a:pt x="1363" y="5430"/>
                  </a:lnTo>
                  <a:close/>
                  <a:moveTo>
                    <a:pt x="6133" y="2191"/>
                  </a:moveTo>
                  <a:lnTo>
                    <a:pt x="6133" y="2191"/>
                  </a:lnTo>
                  <a:cubicBezTo>
                    <a:pt x="6148" y="2198"/>
                    <a:pt x="6162" y="2206"/>
                    <a:pt x="6184" y="2213"/>
                  </a:cubicBezTo>
                  <a:cubicBezTo>
                    <a:pt x="6221" y="2228"/>
                    <a:pt x="6243" y="2250"/>
                    <a:pt x="6272" y="2279"/>
                  </a:cubicBezTo>
                  <a:cubicBezTo>
                    <a:pt x="6279" y="2286"/>
                    <a:pt x="6287" y="2301"/>
                    <a:pt x="6302" y="2316"/>
                  </a:cubicBezTo>
                  <a:cubicBezTo>
                    <a:pt x="6346" y="2360"/>
                    <a:pt x="6367" y="2382"/>
                    <a:pt x="6411" y="2404"/>
                  </a:cubicBezTo>
                  <a:cubicBezTo>
                    <a:pt x="6455" y="2433"/>
                    <a:pt x="6448" y="2448"/>
                    <a:pt x="6434" y="2477"/>
                  </a:cubicBezTo>
                  <a:cubicBezTo>
                    <a:pt x="6434" y="2484"/>
                    <a:pt x="6426" y="2492"/>
                    <a:pt x="6426" y="2499"/>
                  </a:cubicBezTo>
                  <a:cubicBezTo>
                    <a:pt x="6411" y="2528"/>
                    <a:pt x="6404" y="2536"/>
                    <a:pt x="6382" y="2543"/>
                  </a:cubicBezTo>
                  <a:cubicBezTo>
                    <a:pt x="6375" y="2558"/>
                    <a:pt x="6360" y="2565"/>
                    <a:pt x="6338" y="2587"/>
                  </a:cubicBezTo>
                  <a:cubicBezTo>
                    <a:pt x="6309" y="2616"/>
                    <a:pt x="6294" y="2638"/>
                    <a:pt x="6294" y="2646"/>
                  </a:cubicBezTo>
                  <a:cubicBezTo>
                    <a:pt x="6316" y="2646"/>
                    <a:pt x="6353" y="2631"/>
                    <a:pt x="6404" y="2609"/>
                  </a:cubicBezTo>
                  <a:cubicBezTo>
                    <a:pt x="6411" y="2609"/>
                    <a:pt x="6411" y="2609"/>
                    <a:pt x="6411" y="2609"/>
                  </a:cubicBezTo>
                  <a:cubicBezTo>
                    <a:pt x="6463" y="2587"/>
                    <a:pt x="6463" y="2572"/>
                    <a:pt x="6470" y="2536"/>
                  </a:cubicBezTo>
                  <a:cubicBezTo>
                    <a:pt x="6470" y="2528"/>
                    <a:pt x="6470" y="2521"/>
                    <a:pt x="6477" y="2514"/>
                  </a:cubicBezTo>
                  <a:cubicBezTo>
                    <a:pt x="6477" y="2484"/>
                    <a:pt x="6477" y="2484"/>
                    <a:pt x="6470" y="2470"/>
                  </a:cubicBezTo>
                  <a:cubicBezTo>
                    <a:pt x="6463" y="2462"/>
                    <a:pt x="6463" y="2455"/>
                    <a:pt x="6455" y="2440"/>
                  </a:cubicBezTo>
                  <a:cubicBezTo>
                    <a:pt x="6448" y="2426"/>
                    <a:pt x="6441" y="2418"/>
                    <a:pt x="6441" y="2411"/>
                  </a:cubicBezTo>
                  <a:cubicBezTo>
                    <a:pt x="6434" y="2389"/>
                    <a:pt x="6434" y="2389"/>
                    <a:pt x="6404" y="2374"/>
                  </a:cubicBezTo>
                  <a:cubicBezTo>
                    <a:pt x="6360" y="2352"/>
                    <a:pt x="6360" y="2338"/>
                    <a:pt x="6360" y="2301"/>
                  </a:cubicBezTo>
                  <a:cubicBezTo>
                    <a:pt x="6360" y="2301"/>
                    <a:pt x="6360" y="2294"/>
                    <a:pt x="6360" y="2286"/>
                  </a:cubicBezTo>
                  <a:cubicBezTo>
                    <a:pt x="6360" y="2228"/>
                    <a:pt x="6411" y="2228"/>
                    <a:pt x="6441" y="2228"/>
                  </a:cubicBezTo>
                  <a:cubicBezTo>
                    <a:pt x="6477" y="2228"/>
                    <a:pt x="6477" y="2228"/>
                    <a:pt x="6477" y="2228"/>
                  </a:cubicBezTo>
                  <a:cubicBezTo>
                    <a:pt x="6499" y="2228"/>
                    <a:pt x="6514" y="2235"/>
                    <a:pt x="6529" y="2243"/>
                  </a:cubicBezTo>
                  <a:cubicBezTo>
                    <a:pt x="6543" y="2265"/>
                    <a:pt x="6529" y="2294"/>
                    <a:pt x="6521" y="2330"/>
                  </a:cubicBezTo>
                  <a:cubicBezTo>
                    <a:pt x="6521" y="2345"/>
                    <a:pt x="6514" y="2352"/>
                    <a:pt x="6514" y="2360"/>
                  </a:cubicBezTo>
                  <a:cubicBezTo>
                    <a:pt x="6514" y="2374"/>
                    <a:pt x="6514" y="2382"/>
                    <a:pt x="6514" y="2382"/>
                  </a:cubicBezTo>
                  <a:cubicBezTo>
                    <a:pt x="6514" y="2382"/>
                    <a:pt x="6529" y="2374"/>
                    <a:pt x="6536" y="2360"/>
                  </a:cubicBezTo>
                  <a:cubicBezTo>
                    <a:pt x="6558" y="2338"/>
                    <a:pt x="6565" y="2330"/>
                    <a:pt x="6580" y="2330"/>
                  </a:cubicBezTo>
                  <a:cubicBezTo>
                    <a:pt x="6595" y="2330"/>
                    <a:pt x="6609" y="2338"/>
                    <a:pt x="6624" y="2352"/>
                  </a:cubicBezTo>
                  <a:cubicBezTo>
                    <a:pt x="6639" y="2360"/>
                    <a:pt x="6639" y="2360"/>
                    <a:pt x="6639" y="2360"/>
                  </a:cubicBezTo>
                  <a:cubicBezTo>
                    <a:pt x="6646" y="2367"/>
                    <a:pt x="6653" y="2367"/>
                    <a:pt x="6653" y="2374"/>
                  </a:cubicBezTo>
                  <a:cubicBezTo>
                    <a:pt x="6653" y="2367"/>
                    <a:pt x="6653" y="2367"/>
                    <a:pt x="6653" y="2360"/>
                  </a:cubicBezTo>
                  <a:cubicBezTo>
                    <a:pt x="6660" y="2352"/>
                    <a:pt x="6668" y="2330"/>
                    <a:pt x="6675" y="2308"/>
                  </a:cubicBezTo>
                  <a:cubicBezTo>
                    <a:pt x="6690" y="2272"/>
                    <a:pt x="6675" y="2250"/>
                    <a:pt x="6653" y="2220"/>
                  </a:cubicBezTo>
                  <a:cubicBezTo>
                    <a:pt x="6639" y="2206"/>
                    <a:pt x="6624" y="2191"/>
                    <a:pt x="6617" y="2169"/>
                  </a:cubicBezTo>
                  <a:cubicBezTo>
                    <a:pt x="6602" y="2140"/>
                    <a:pt x="6587" y="2133"/>
                    <a:pt x="6573" y="2125"/>
                  </a:cubicBezTo>
                  <a:cubicBezTo>
                    <a:pt x="6565" y="2118"/>
                    <a:pt x="6551" y="2110"/>
                    <a:pt x="6536" y="2096"/>
                  </a:cubicBezTo>
                  <a:cubicBezTo>
                    <a:pt x="6507" y="2052"/>
                    <a:pt x="6492" y="2037"/>
                    <a:pt x="6463" y="2037"/>
                  </a:cubicBezTo>
                  <a:cubicBezTo>
                    <a:pt x="6455" y="2037"/>
                    <a:pt x="6448" y="2037"/>
                    <a:pt x="6448" y="2037"/>
                  </a:cubicBezTo>
                  <a:cubicBezTo>
                    <a:pt x="6448" y="2037"/>
                    <a:pt x="6448" y="2045"/>
                    <a:pt x="6448" y="2067"/>
                  </a:cubicBezTo>
                  <a:cubicBezTo>
                    <a:pt x="6448" y="2081"/>
                    <a:pt x="6455" y="2089"/>
                    <a:pt x="6463" y="2096"/>
                  </a:cubicBezTo>
                  <a:cubicBezTo>
                    <a:pt x="6470" y="2103"/>
                    <a:pt x="6477" y="2110"/>
                    <a:pt x="6477" y="2133"/>
                  </a:cubicBezTo>
                  <a:cubicBezTo>
                    <a:pt x="6477" y="2162"/>
                    <a:pt x="6448" y="2177"/>
                    <a:pt x="6419" y="2184"/>
                  </a:cubicBezTo>
                  <a:cubicBezTo>
                    <a:pt x="6397" y="2191"/>
                    <a:pt x="6367" y="2198"/>
                    <a:pt x="6346" y="2213"/>
                  </a:cubicBezTo>
                  <a:cubicBezTo>
                    <a:pt x="6316" y="2243"/>
                    <a:pt x="6302" y="2250"/>
                    <a:pt x="6294" y="2250"/>
                  </a:cubicBezTo>
                  <a:cubicBezTo>
                    <a:pt x="6279" y="2250"/>
                    <a:pt x="6272" y="2243"/>
                    <a:pt x="6272" y="2235"/>
                  </a:cubicBezTo>
                  <a:lnTo>
                    <a:pt x="6265" y="2228"/>
                  </a:lnTo>
                  <a:cubicBezTo>
                    <a:pt x="6258" y="2220"/>
                    <a:pt x="6250" y="2213"/>
                    <a:pt x="6250" y="2206"/>
                  </a:cubicBezTo>
                  <a:cubicBezTo>
                    <a:pt x="6250" y="2191"/>
                    <a:pt x="6265" y="2177"/>
                    <a:pt x="6279" y="2155"/>
                  </a:cubicBezTo>
                  <a:cubicBezTo>
                    <a:pt x="6294" y="2147"/>
                    <a:pt x="6302" y="2140"/>
                    <a:pt x="6309" y="2133"/>
                  </a:cubicBezTo>
                  <a:cubicBezTo>
                    <a:pt x="6316" y="2118"/>
                    <a:pt x="6324" y="2103"/>
                    <a:pt x="6316" y="2096"/>
                  </a:cubicBezTo>
                  <a:cubicBezTo>
                    <a:pt x="6316" y="2096"/>
                    <a:pt x="6309" y="2096"/>
                    <a:pt x="6302" y="2096"/>
                  </a:cubicBezTo>
                  <a:cubicBezTo>
                    <a:pt x="6302" y="2096"/>
                    <a:pt x="6302" y="2096"/>
                    <a:pt x="6294" y="2096"/>
                  </a:cubicBezTo>
                  <a:cubicBezTo>
                    <a:pt x="6250" y="2103"/>
                    <a:pt x="6250" y="2110"/>
                    <a:pt x="6236" y="2140"/>
                  </a:cubicBezTo>
                  <a:cubicBezTo>
                    <a:pt x="6214" y="2191"/>
                    <a:pt x="6177" y="2191"/>
                    <a:pt x="6140" y="2191"/>
                  </a:cubicBezTo>
                  <a:cubicBezTo>
                    <a:pt x="6133" y="2191"/>
                    <a:pt x="6133" y="2191"/>
                    <a:pt x="6133" y="2191"/>
                  </a:cubicBezTo>
                  <a:close/>
                  <a:moveTo>
                    <a:pt x="6104" y="2133"/>
                  </a:moveTo>
                  <a:lnTo>
                    <a:pt x="6104" y="2133"/>
                  </a:lnTo>
                  <a:cubicBezTo>
                    <a:pt x="6096" y="2140"/>
                    <a:pt x="6096" y="2140"/>
                    <a:pt x="6096" y="2140"/>
                  </a:cubicBezTo>
                  <a:cubicBezTo>
                    <a:pt x="6089" y="2147"/>
                    <a:pt x="6089" y="2155"/>
                    <a:pt x="6089" y="2155"/>
                  </a:cubicBezTo>
                  <a:cubicBezTo>
                    <a:pt x="6096" y="2162"/>
                    <a:pt x="6096" y="2169"/>
                    <a:pt x="6104" y="2169"/>
                  </a:cubicBezTo>
                  <a:lnTo>
                    <a:pt x="6104" y="2169"/>
                  </a:lnTo>
                  <a:cubicBezTo>
                    <a:pt x="6096" y="2162"/>
                    <a:pt x="6096" y="2147"/>
                    <a:pt x="6104" y="2133"/>
                  </a:cubicBezTo>
                  <a:close/>
                  <a:moveTo>
                    <a:pt x="1729" y="2286"/>
                  </a:moveTo>
                  <a:lnTo>
                    <a:pt x="1729" y="2286"/>
                  </a:lnTo>
                  <a:lnTo>
                    <a:pt x="1729" y="2286"/>
                  </a:lnTo>
                  <a:cubicBezTo>
                    <a:pt x="1729" y="2272"/>
                    <a:pt x="1729" y="2265"/>
                    <a:pt x="1729" y="2257"/>
                  </a:cubicBezTo>
                  <a:cubicBezTo>
                    <a:pt x="1729" y="2235"/>
                    <a:pt x="1722" y="2206"/>
                    <a:pt x="1758" y="2177"/>
                  </a:cubicBezTo>
                  <a:cubicBezTo>
                    <a:pt x="1766" y="2169"/>
                    <a:pt x="1773" y="2162"/>
                    <a:pt x="1781" y="2155"/>
                  </a:cubicBezTo>
                  <a:cubicBezTo>
                    <a:pt x="1788" y="2147"/>
                    <a:pt x="1795" y="2140"/>
                    <a:pt x="1817" y="2140"/>
                  </a:cubicBezTo>
                  <a:cubicBezTo>
                    <a:pt x="1824" y="2140"/>
                    <a:pt x="1832" y="2140"/>
                    <a:pt x="1839" y="2147"/>
                  </a:cubicBezTo>
                  <a:cubicBezTo>
                    <a:pt x="1861" y="2155"/>
                    <a:pt x="1883" y="2169"/>
                    <a:pt x="1890" y="2191"/>
                  </a:cubicBezTo>
                  <a:cubicBezTo>
                    <a:pt x="1890" y="2206"/>
                    <a:pt x="1883" y="2220"/>
                    <a:pt x="1868" y="2235"/>
                  </a:cubicBezTo>
                  <a:cubicBezTo>
                    <a:pt x="1839" y="2272"/>
                    <a:pt x="1773" y="2308"/>
                    <a:pt x="1766" y="2316"/>
                  </a:cubicBezTo>
                  <a:cubicBezTo>
                    <a:pt x="1758" y="2316"/>
                    <a:pt x="1758" y="2316"/>
                    <a:pt x="1758" y="2316"/>
                  </a:cubicBezTo>
                  <a:lnTo>
                    <a:pt x="1729" y="2286"/>
                  </a:lnTo>
                  <a:close/>
                  <a:moveTo>
                    <a:pt x="5312" y="1576"/>
                  </a:moveTo>
                  <a:lnTo>
                    <a:pt x="5312" y="1576"/>
                  </a:lnTo>
                  <a:cubicBezTo>
                    <a:pt x="5283" y="1576"/>
                    <a:pt x="5254" y="1561"/>
                    <a:pt x="5224" y="1546"/>
                  </a:cubicBezTo>
                  <a:cubicBezTo>
                    <a:pt x="5217" y="1539"/>
                    <a:pt x="5210" y="1532"/>
                    <a:pt x="5195" y="1524"/>
                  </a:cubicBezTo>
                  <a:cubicBezTo>
                    <a:pt x="5158" y="1510"/>
                    <a:pt x="5158" y="1510"/>
                    <a:pt x="5158" y="1510"/>
                  </a:cubicBezTo>
                  <a:cubicBezTo>
                    <a:pt x="5195" y="1495"/>
                    <a:pt x="5195" y="1495"/>
                    <a:pt x="5195" y="1495"/>
                  </a:cubicBezTo>
                  <a:cubicBezTo>
                    <a:pt x="5217" y="1495"/>
                    <a:pt x="5298" y="1458"/>
                    <a:pt x="5364" y="1392"/>
                  </a:cubicBezTo>
                  <a:cubicBezTo>
                    <a:pt x="5386" y="1370"/>
                    <a:pt x="5386" y="1370"/>
                    <a:pt x="5386" y="1370"/>
                  </a:cubicBezTo>
                  <a:cubicBezTo>
                    <a:pt x="5393" y="1385"/>
                    <a:pt x="5393" y="1385"/>
                    <a:pt x="5393" y="1385"/>
                  </a:cubicBezTo>
                  <a:cubicBezTo>
                    <a:pt x="5400" y="1392"/>
                    <a:pt x="5408" y="1400"/>
                    <a:pt x="5415" y="1415"/>
                  </a:cubicBezTo>
                  <a:cubicBezTo>
                    <a:pt x="5429" y="1422"/>
                    <a:pt x="5437" y="1444"/>
                    <a:pt x="5429" y="1458"/>
                  </a:cubicBezTo>
                  <a:cubicBezTo>
                    <a:pt x="5422" y="1502"/>
                    <a:pt x="5378" y="1554"/>
                    <a:pt x="5342" y="1568"/>
                  </a:cubicBezTo>
                  <a:cubicBezTo>
                    <a:pt x="5334" y="1576"/>
                    <a:pt x="5327" y="1576"/>
                    <a:pt x="5312" y="1576"/>
                  </a:cubicBezTo>
                  <a:close/>
                  <a:moveTo>
                    <a:pt x="5129" y="1458"/>
                  </a:moveTo>
                  <a:lnTo>
                    <a:pt x="5129" y="1458"/>
                  </a:lnTo>
                  <a:cubicBezTo>
                    <a:pt x="5114" y="1458"/>
                    <a:pt x="5100" y="1458"/>
                    <a:pt x="5085" y="1444"/>
                  </a:cubicBezTo>
                  <a:cubicBezTo>
                    <a:pt x="5070" y="1436"/>
                    <a:pt x="5056" y="1422"/>
                    <a:pt x="5048" y="1415"/>
                  </a:cubicBezTo>
                  <a:cubicBezTo>
                    <a:pt x="5019" y="1400"/>
                    <a:pt x="4997" y="1378"/>
                    <a:pt x="4975" y="1348"/>
                  </a:cubicBezTo>
                  <a:cubicBezTo>
                    <a:pt x="4953" y="1319"/>
                    <a:pt x="4924" y="1305"/>
                    <a:pt x="4895" y="1290"/>
                  </a:cubicBezTo>
                  <a:cubicBezTo>
                    <a:pt x="4865" y="1268"/>
                    <a:pt x="4865" y="1268"/>
                    <a:pt x="4865" y="1268"/>
                  </a:cubicBezTo>
                  <a:cubicBezTo>
                    <a:pt x="4829" y="1253"/>
                    <a:pt x="4785" y="1224"/>
                    <a:pt x="4785" y="1165"/>
                  </a:cubicBezTo>
                  <a:cubicBezTo>
                    <a:pt x="4785" y="1143"/>
                    <a:pt x="4785" y="1121"/>
                    <a:pt x="4785" y="1099"/>
                  </a:cubicBezTo>
                  <a:cubicBezTo>
                    <a:pt x="4792" y="1092"/>
                    <a:pt x="4792" y="1092"/>
                    <a:pt x="4792" y="1092"/>
                  </a:cubicBezTo>
                  <a:cubicBezTo>
                    <a:pt x="4799" y="1092"/>
                    <a:pt x="4799" y="1092"/>
                    <a:pt x="4799" y="1092"/>
                  </a:cubicBezTo>
                  <a:cubicBezTo>
                    <a:pt x="4807" y="1092"/>
                    <a:pt x="4865" y="1077"/>
                    <a:pt x="4990" y="1077"/>
                  </a:cubicBezTo>
                  <a:cubicBezTo>
                    <a:pt x="5019" y="1077"/>
                    <a:pt x="5034" y="1063"/>
                    <a:pt x="5034" y="1041"/>
                  </a:cubicBezTo>
                  <a:cubicBezTo>
                    <a:pt x="5034" y="997"/>
                    <a:pt x="4990" y="938"/>
                    <a:pt x="4953" y="938"/>
                  </a:cubicBezTo>
                  <a:cubicBezTo>
                    <a:pt x="4902" y="938"/>
                    <a:pt x="4880" y="916"/>
                    <a:pt x="4865" y="901"/>
                  </a:cubicBezTo>
                  <a:cubicBezTo>
                    <a:pt x="4858" y="894"/>
                    <a:pt x="4851" y="894"/>
                    <a:pt x="4851" y="894"/>
                  </a:cubicBezTo>
                  <a:cubicBezTo>
                    <a:pt x="4829" y="887"/>
                    <a:pt x="4829" y="887"/>
                    <a:pt x="4829" y="887"/>
                  </a:cubicBezTo>
                  <a:cubicBezTo>
                    <a:pt x="4829" y="894"/>
                    <a:pt x="4829" y="894"/>
                    <a:pt x="4829" y="894"/>
                  </a:cubicBezTo>
                  <a:cubicBezTo>
                    <a:pt x="4814" y="894"/>
                    <a:pt x="4814" y="894"/>
                    <a:pt x="4814" y="894"/>
                  </a:cubicBezTo>
                  <a:cubicBezTo>
                    <a:pt x="4777" y="887"/>
                    <a:pt x="4755" y="858"/>
                    <a:pt x="4755" y="821"/>
                  </a:cubicBezTo>
                  <a:cubicBezTo>
                    <a:pt x="4755" y="762"/>
                    <a:pt x="4785" y="726"/>
                    <a:pt x="4814" y="696"/>
                  </a:cubicBezTo>
                  <a:cubicBezTo>
                    <a:pt x="4829" y="682"/>
                    <a:pt x="4829" y="660"/>
                    <a:pt x="4836" y="630"/>
                  </a:cubicBezTo>
                  <a:cubicBezTo>
                    <a:pt x="4836" y="608"/>
                    <a:pt x="4836" y="608"/>
                    <a:pt x="4836" y="608"/>
                  </a:cubicBezTo>
                  <a:cubicBezTo>
                    <a:pt x="4836" y="579"/>
                    <a:pt x="4836" y="535"/>
                    <a:pt x="4851" y="498"/>
                  </a:cubicBezTo>
                  <a:cubicBezTo>
                    <a:pt x="4858" y="477"/>
                    <a:pt x="4865" y="447"/>
                    <a:pt x="4895" y="447"/>
                  </a:cubicBezTo>
                  <a:cubicBezTo>
                    <a:pt x="4902" y="447"/>
                    <a:pt x="4909" y="447"/>
                    <a:pt x="4924" y="455"/>
                  </a:cubicBezTo>
                  <a:cubicBezTo>
                    <a:pt x="4931" y="462"/>
                    <a:pt x="4939" y="462"/>
                    <a:pt x="4953" y="462"/>
                  </a:cubicBezTo>
                  <a:cubicBezTo>
                    <a:pt x="4961" y="462"/>
                    <a:pt x="4968" y="462"/>
                    <a:pt x="4968" y="455"/>
                  </a:cubicBezTo>
                  <a:cubicBezTo>
                    <a:pt x="4983" y="447"/>
                    <a:pt x="4983" y="447"/>
                    <a:pt x="4983" y="447"/>
                  </a:cubicBezTo>
                  <a:cubicBezTo>
                    <a:pt x="5005" y="469"/>
                    <a:pt x="5005" y="469"/>
                    <a:pt x="5005" y="469"/>
                  </a:cubicBezTo>
                  <a:cubicBezTo>
                    <a:pt x="5012" y="469"/>
                    <a:pt x="5019" y="469"/>
                    <a:pt x="5027" y="469"/>
                  </a:cubicBezTo>
                  <a:cubicBezTo>
                    <a:pt x="5056" y="469"/>
                    <a:pt x="5070" y="484"/>
                    <a:pt x="5078" y="506"/>
                  </a:cubicBezTo>
                  <a:cubicBezTo>
                    <a:pt x="5085" y="528"/>
                    <a:pt x="5085" y="528"/>
                    <a:pt x="5085" y="528"/>
                  </a:cubicBezTo>
                  <a:cubicBezTo>
                    <a:pt x="5093" y="550"/>
                    <a:pt x="5093" y="557"/>
                    <a:pt x="5107" y="565"/>
                  </a:cubicBezTo>
                  <a:cubicBezTo>
                    <a:pt x="5114" y="565"/>
                    <a:pt x="5114" y="572"/>
                    <a:pt x="5122" y="572"/>
                  </a:cubicBezTo>
                  <a:cubicBezTo>
                    <a:pt x="5129" y="572"/>
                    <a:pt x="5136" y="579"/>
                    <a:pt x="5144" y="579"/>
                  </a:cubicBezTo>
                  <a:lnTo>
                    <a:pt x="5144" y="579"/>
                  </a:lnTo>
                  <a:cubicBezTo>
                    <a:pt x="5144" y="565"/>
                    <a:pt x="5144" y="557"/>
                    <a:pt x="5144" y="542"/>
                  </a:cubicBezTo>
                  <a:cubicBezTo>
                    <a:pt x="5144" y="528"/>
                    <a:pt x="5144" y="520"/>
                    <a:pt x="5136" y="491"/>
                  </a:cubicBezTo>
                  <a:cubicBezTo>
                    <a:pt x="5136" y="484"/>
                    <a:pt x="5129" y="477"/>
                    <a:pt x="5129" y="469"/>
                  </a:cubicBezTo>
                  <a:cubicBezTo>
                    <a:pt x="5122" y="455"/>
                    <a:pt x="5114" y="440"/>
                    <a:pt x="5122" y="425"/>
                  </a:cubicBezTo>
                  <a:cubicBezTo>
                    <a:pt x="5122" y="410"/>
                    <a:pt x="5136" y="410"/>
                    <a:pt x="5158" y="403"/>
                  </a:cubicBezTo>
                  <a:cubicBezTo>
                    <a:pt x="5180" y="396"/>
                    <a:pt x="5180" y="396"/>
                    <a:pt x="5180" y="396"/>
                  </a:cubicBezTo>
                  <a:cubicBezTo>
                    <a:pt x="5188" y="396"/>
                    <a:pt x="5195" y="396"/>
                    <a:pt x="5203" y="396"/>
                  </a:cubicBezTo>
                  <a:cubicBezTo>
                    <a:pt x="5232" y="396"/>
                    <a:pt x="5239" y="425"/>
                    <a:pt x="5239" y="455"/>
                  </a:cubicBezTo>
                  <a:cubicBezTo>
                    <a:pt x="5246" y="498"/>
                    <a:pt x="5261" y="535"/>
                    <a:pt x="5290" y="535"/>
                  </a:cubicBezTo>
                  <a:cubicBezTo>
                    <a:pt x="5298" y="535"/>
                    <a:pt x="5298" y="535"/>
                    <a:pt x="5305" y="528"/>
                  </a:cubicBezTo>
                  <a:cubicBezTo>
                    <a:pt x="5312" y="528"/>
                    <a:pt x="5312" y="528"/>
                    <a:pt x="5320" y="528"/>
                  </a:cubicBezTo>
                  <a:cubicBezTo>
                    <a:pt x="5342" y="528"/>
                    <a:pt x="5349" y="550"/>
                    <a:pt x="5356" y="586"/>
                  </a:cubicBezTo>
                  <a:cubicBezTo>
                    <a:pt x="5371" y="645"/>
                    <a:pt x="5393" y="652"/>
                    <a:pt x="5422" y="667"/>
                  </a:cubicBezTo>
                  <a:cubicBezTo>
                    <a:pt x="5429" y="667"/>
                    <a:pt x="5437" y="667"/>
                    <a:pt x="5444" y="667"/>
                  </a:cubicBezTo>
                  <a:cubicBezTo>
                    <a:pt x="5466" y="674"/>
                    <a:pt x="5488" y="682"/>
                    <a:pt x="5481" y="740"/>
                  </a:cubicBezTo>
                  <a:cubicBezTo>
                    <a:pt x="5481" y="799"/>
                    <a:pt x="5474" y="828"/>
                    <a:pt x="5503" y="850"/>
                  </a:cubicBezTo>
                  <a:cubicBezTo>
                    <a:pt x="5517" y="858"/>
                    <a:pt x="5525" y="865"/>
                    <a:pt x="5532" y="872"/>
                  </a:cubicBezTo>
                  <a:cubicBezTo>
                    <a:pt x="5554" y="879"/>
                    <a:pt x="5561" y="887"/>
                    <a:pt x="5576" y="887"/>
                  </a:cubicBezTo>
                  <a:cubicBezTo>
                    <a:pt x="5584" y="887"/>
                    <a:pt x="5584" y="887"/>
                    <a:pt x="5591" y="887"/>
                  </a:cubicBezTo>
                  <a:cubicBezTo>
                    <a:pt x="5605" y="879"/>
                    <a:pt x="5620" y="872"/>
                    <a:pt x="5627" y="865"/>
                  </a:cubicBezTo>
                  <a:cubicBezTo>
                    <a:pt x="5649" y="858"/>
                    <a:pt x="5664" y="843"/>
                    <a:pt x="5686" y="843"/>
                  </a:cubicBezTo>
                  <a:cubicBezTo>
                    <a:pt x="5693" y="843"/>
                    <a:pt x="5701" y="850"/>
                    <a:pt x="5715" y="850"/>
                  </a:cubicBezTo>
                  <a:cubicBezTo>
                    <a:pt x="5715" y="858"/>
                    <a:pt x="5723" y="858"/>
                    <a:pt x="5723" y="858"/>
                  </a:cubicBezTo>
                  <a:cubicBezTo>
                    <a:pt x="5730" y="858"/>
                    <a:pt x="5730" y="858"/>
                    <a:pt x="5730" y="858"/>
                  </a:cubicBezTo>
                  <a:cubicBezTo>
                    <a:pt x="5730" y="865"/>
                    <a:pt x="5730" y="865"/>
                    <a:pt x="5730" y="865"/>
                  </a:cubicBezTo>
                  <a:cubicBezTo>
                    <a:pt x="5745" y="879"/>
                    <a:pt x="5759" y="894"/>
                    <a:pt x="5774" y="894"/>
                  </a:cubicBezTo>
                  <a:cubicBezTo>
                    <a:pt x="5781" y="901"/>
                    <a:pt x="5781" y="901"/>
                    <a:pt x="5781" y="901"/>
                  </a:cubicBezTo>
                  <a:lnTo>
                    <a:pt x="5781" y="901"/>
                  </a:lnTo>
                  <a:cubicBezTo>
                    <a:pt x="5796" y="924"/>
                    <a:pt x="5803" y="931"/>
                    <a:pt x="5811" y="931"/>
                  </a:cubicBezTo>
                  <a:cubicBezTo>
                    <a:pt x="5818" y="931"/>
                    <a:pt x="5833" y="931"/>
                    <a:pt x="5840" y="924"/>
                  </a:cubicBezTo>
                  <a:cubicBezTo>
                    <a:pt x="5847" y="924"/>
                    <a:pt x="5847" y="924"/>
                    <a:pt x="5847" y="924"/>
                  </a:cubicBezTo>
                  <a:cubicBezTo>
                    <a:pt x="5855" y="924"/>
                    <a:pt x="5855" y="924"/>
                    <a:pt x="5855" y="924"/>
                  </a:cubicBezTo>
                  <a:cubicBezTo>
                    <a:pt x="5884" y="938"/>
                    <a:pt x="5913" y="960"/>
                    <a:pt x="5935" y="982"/>
                  </a:cubicBezTo>
                  <a:cubicBezTo>
                    <a:pt x="5950" y="989"/>
                    <a:pt x="5957" y="997"/>
                    <a:pt x="5972" y="1004"/>
                  </a:cubicBezTo>
                  <a:cubicBezTo>
                    <a:pt x="6023" y="1041"/>
                    <a:pt x="6082" y="1085"/>
                    <a:pt x="6052" y="1136"/>
                  </a:cubicBezTo>
                  <a:cubicBezTo>
                    <a:pt x="6045" y="1158"/>
                    <a:pt x="6030" y="1165"/>
                    <a:pt x="6016" y="1173"/>
                  </a:cubicBezTo>
                  <a:cubicBezTo>
                    <a:pt x="6008" y="1180"/>
                    <a:pt x="6008" y="1180"/>
                    <a:pt x="6008" y="1187"/>
                  </a:cubicBezTo>
                  <a:cubicBezTo>
                    <a:pt x="6023" y="1224"/>
                    <a:pt x="6023" y="1290"/>
                    <a:pt x="6008" y="1334"/>
                  </a:cubicBezTo>
                  <a:cubicBezTo>
                    <a:pt x="6008" y="1341"/>
                    <a:pt x="6001" y="1363"/>
                    <a:pt x="5972" y="1363"/>
                  </a:cubicBezTo>
                  <a:cubicBezTo>
                    <a:pt x="5928" y="1363"/>
                    <a:pt x="5884" y="1334"/>
                    <a:pt x="5877" y="1334"/>
                  </a:cubicBezTo>
                  <a:cubicBezTo>
                    <a:pt x="5869" y="1327"/>
                    <a:pt x="5869" y="1327"/>
                    <a:pt x="5869" y="1327"/>
                  </a:cubicBezTo>
                  <a:lnTo>
                    <a:pt x="5869" y="1327"/>
                  </a:lnTo>
                  <a:cubicBezTo>
                    <a:pt x="5862" y="1312"/>
                    <a:pt x="5840" y="1231"/>
                    <a:pt x="5884" y="1202"/>
                  </a:cubicBezTo>
                  <a:cubicBezTo>
                    <a:pt x="5891" y="1187"/>
                    <a:pt x="5877" y="1151"/>
                    <a:pt x="5855" y="1129"/>
                  </a:cubicBezTo>
                  <a:cubicBezTo>
                    <a:pt x="5840" y="1143"/>
                    <a:pt x="5796" y="1180"/>
                    <a:pt x="5767" y="1180"/>
                  </a:cubicBezTo>
                  <a:cubicBezTo>
                    <a:pt x="5759" y="1180"/>
                    <a:pt x="5759" y="1180"/>
                    <a:pt x="5752" y="1173"/>
                  </a:cubicBezTo>
                  <a:cubicBezTo>
                    <a:pt x="5737" y="1173"/>
                    <a:pt x="5723" y="1158"/>
                    <a:pt x="5715" y="1143"/>
                  </a:cubicBezTo>
                  <a:cubicBezTo>
                    <a:pt x="5708" y="1136"/>
                    <a:pt x="5708" y="1129"/>
                    <a:pt x="5701" y="1129"/>
                  </a:cubicBezTo>
                  <a:cubicBezTo>
                    <a:pt x="5701" y="1129"/>
                    <a:pt x="5693" y="1129"/>
                    <a:pt x="5686" y="1136"/>
                  </a:cubicBezTo>
                  <a:cubicBezTo>
                    <a:pt x="5664" y="1151"/>
                    <a:pt x="5642" y="1187"/>
                    <a:pt x="5627" y="1209"/>
                  </a:cubicBezTo>
                  <a:cubicBezTo>
                    <a:pt x="5605" y="1239"/>
                    <a:pt x="5598" y="1246"/>
                    <a:pt x="5591" y="1246"/>
                  </a:cubicBezTo>
                  <a:cubicBezTo>
                    <a:pt x="5584" y="1246"/>
                    <a:pt x="5584" y="1246"/>
                    <a:pt x="5584" y="1246"/>
                  </a:cubicBezTo>
                  <a:cubicBezTo>
                    <a:pt x="5576" y="1239"/>
                    <a:pt x="5576" y="1239"/>
                    <a:pt x="5576" y="1239"/>
                  </a:cubicBezTo>
                  <a:cubicBezTo>
                    <a:pt x="5569" y="1231"/>
                    <a:pt x="5569" y="1224"/>
                    <a:pt x="5576" y="1217"/>
                  </a:cubicBezTo>
                  <a:cubicBezTo>
                    <a:pt x="5576" y="1202"/>
                    <a:pt x="5584" y="1187"/>
                    <a:pt x="5584" y="1180"/>
                  </a:cubicBezTo>
                  <a:lnTo>
                    <a:pt x="5584" y="1180"/>
                  </a:lnTo>
                  <a:cubicBezTo>
                    <a:pt x="5584" y="1173"/>
                    <a:pt x="5584" y="1173"/>
                    <a:pt x="5576" y="1173"/>
                  </a:cubicBezTo>
                  <a:cubicBezTo>
                    <a:pt x="5547" y="1173"/>
                    <a:pt x="5539" y="1180"/>
                    <a:pt x="5517" y="1195"/>
                  </a:cubicBezTo>
                  <a:cubicBezTo>
                    <a:pt x="5503" y="1202"/>
                    <a:pt x="5488" y="1209"/>
                    <a:pt x="5466" y="1217"/>
                  </a:cubicBezTo>
                  <a:cubicBezTo>
                    <a:pt x="5422" y="1246"/>
                    <a:pt x="5415" y="1253"/>
                    <a:pt x="5408" y="1283"/>
                  </a:cubicBezTo>
                  <a:cubicBezTo>
                    <a:pt x="5408" y="1290"/>
                    <a:pt x="5400" y="1305"/>
                    <a:pt x="5400" y="1312"/>
                  </a:cubicBezTo>
                  <a:cubicBezTo>
                    <a:pt x="5393" y="1319"/>
                    <a:pt x="5393" y="1319"/>
                    <a:pt x="5393" y="1319"/>
                  </a:cubicBezTo>
                  <a:cubicBezTo>
                    <a:pt x="5386" y="1334"/>
                    <a:pt x="5386" y="1334"/>
                    <a:pt x="5386" y="1334"/>
                  </a:cubicBezTo>
                  <a:cubicBezTo>
                    <a:pt x="5342" y="1348"/>
                    <a:pt x="5312" y="1363"/>
                    <a:pt x="5290" y="1363"/>
                  </a:cubicBezTo>
                  <a:cubicBezTo>
                    <a:pt x="5283" y="1363"/>
                    <a:pt x="5283" y="1363"/>
                    <a:pt x="5276" y="1363"/>
                  </a:cubicBezTo>
                  <a:cubicBezTo>
                    <a:pt x="5261" y="1363"/>
                    <a:pt x="5254" y="1356"/>
                    <a:pt x="5246" y="1356"/>
                  </a:cubicBezTo>
                  <a:lnTo>
                    <a:pt x="5239" y="1356"/>
                  </a:lnTo>
                  <a:cubicBezTo>
                    <a:pt x="5239" y="1356"/>
                    <a:pt x="5232" y="1356"/>
                    <a:pt x="5217" y="1378"/>
                  </a:cubicBezTo>
                  <a:cubicBezTo>
                    <a:pt x="5210" y="1385"/>
                    <a:pt x="5210" y="1392"/>
                    <a:pt x="5203" y="1400"/>
                  </a:cubicBezTo>
                  <a:cubicBezTo>
                    <a:pt x="5180" y="1429"/>
                    <a:pt x="5158" y="1458"/>
                    <a:pt x="5129" y="1458"/>
                  </a:cubicBezTo>
                  <a:close/>
                  <a:moveTo>
                    <a:pt x="4902" y="652"/>
                  </a:moveTo>
                  <a:lnTo>
                    <a:pt x="4902" y="652"/>
                  </a:lnTo>
                  <a:cubicBezTo>
                    <a:pt x="4946" y="674"/>
                    <a:pt x="4953" y="682"/>
                    <a:pt x="4946" y="696"/>
                  </a:cubicBezTo>
                  <a:cubicBezTo>
                    <a:pt x="4946" y="704"/>
                    <a:pt x="4946" y="704"/>
                    <a:pt x="4946" y="711"/>
                  </a:cubicBezTo>
                  <a:cubicBezTo>
                    <a:pt x="4953" y="748"/>
                    <a:pt x="4924" y="770"/>
                    <a:pt x="4887" y="799"/>
                  </a:cubicBezTo>
                  <a:cubicBezTo>
                    <a:pt x="4880" y="806"/>
                    <a:pt x="4873" y="806"/>
                    <a:pt x="4865" y="814"/>
                  </a:cubicBezTo>
                  <a:cubicBezTo>
                    <a:pt x="4851" y="828"/>
                    <a:pt x="4836" y="858"/>
                    <a:pt x="4836" y="872"/>
                  </a:cubicBezTo>
                  <a:cubicBezTo>
                    <a:pt x="4843" y="865"/>
                    <a:pt x="4843" y="865"/>
                    <a:pt x="4843" y="865"/>
                  </a:cubicBezTo>
                  <a:cubicBezTo>
                    <a:pt x="4865" y="850"/>
                    <a:pt x="4880" y="836"/>
                    <a:pt x="4895" y="821"/>
                  </a:cubicBezTo>
                  <a:cubicBezTo>
                    <a:pt x="4924" y="792"/>
                    <a:pt x="4968" y="777"/>
                    <a:pt x="5012" y="755"/>
                  </a:cubicBezTo>
                  <a:cubicBezTo>
                    <a:pt x="5027" y="748"/>
                    <a:pt x="5034" y="748"/>
                    <a:pt x="5048" y="740"/>
                  </a:cubicBezTo>
                  <a:cubicBezTo>
                    <a:pt x="5078" y="726"/>
                    <a:pt x="5078" y="718"/>
                    <a:pt x="5078" y="718"/>
                  </a:cubicBezTo>
                  <a:lnTo>
                    <a:pt x="5078" y="718"/>
                  </a:lnTo>
                  <a:cubicBezTo>
                    <a:pt x="5078" y="718"/>
                    <a:pt x="5070" y="718"/>
                    <a:pt x="5070" y="711"/>
                  </a:cubicBezTo>
                  <a:cubicBezTo>
                    <a:pt x="5063" y="711"/>
                    <a:pt x="5063" y="711"/>
                    <a:pt x="5063" y="704"/>
                  </a:cubicBezTo>
                  <a:cubicBezTo>
                    <a:pt x="5056" y="704"/>
                    <a:pt x="5048" y="696"/>
                    <a:pt x="5048" y="696"/>
                  </a:cubicBezTo>
                  <a:cubicBezTo>
                    <a:pt x="5034" y="682"/>
                    <a:pt x="5027" y="674"/>
                    <a:pt x="5012" y="652"/>
                  </a:cubicBezTo>
                  <a:cubicBezTo>
                    <a:pt x="4997" y="645"/>
                    <a:pt x="4997" y="630"/>
                    <a:pt x="4990" y="623"/>
                  </a:cubicBezTo>
                  <a:lnTo>
                    <a:pt x="4990" y="616"/>
                  </a:lnTo>
                  <a:lnTo>
                    <a:pt x="4983" y="616"/>
                  </a:lnTo>
                  <a:cubicBezTo>
                    <a:pt x="4983" y="616"/>
                    <a:pt x="4983" y="616"/>
                    <a:pt x="4975" y="616"/>
                  </a:cubicBezTo>
                  <a:cubicBezTo>
                    <a:pt x="4946" y="623"/>
                    <a:pt x="4939" y="623"/>
                    <a:pt x="4902" y="645"/>
                  </a:cubicBezTo>
                  <a:cubicBezTo>
                    <a:pt x="4902" y="645"/>
                    <a:pt x="4902" y="645"/>
                    <a:pt x="4895" y="645"/>
                  </a:cubicBezTo>
                  <a:cubicBezTo>
                    <a:pt x="4902" y="645"/>
                    <a:pt x="4902" y="645"/>
                    <a:pt x="4902" y="652"/>
                  </a:cubicBezTo>
                  <a:close/>
                  <a:moveTo>
                    <a:pt x="5561" y="696"/>
                  </a:moveTo>
                  <a:lnTo>
                    <a:pt x="5561" y="696"/>
                  </a:lnTo>
                  <a:cubicBezTo>
                    <a:pt x="5539" y="696"/>
                    <a:pt x="5525" y="689"/>
                    <a:pt x="5510" y="674"/>
                  </a:cubicBezTo>
                  <a:cubicBezTo>
                    <a:pt x="5510" y="674"/>
                    <a:pt x="5503" y="667"/>
                    <a:pt x="5495" y="667"/>
                  </a:cubicBezTo>
                  <a:cubicBezTo>
                    <a:pt x="5481" y="645"/>
                    <a:pt x="5474" y="638"/>
                    <a:pt x="5488" y="594"/>
                  </a:cubicBezTo>
                  <a:cubicBezTo>
                    <a:pt x="5503" y="528"/>
                    <a:pt x="5510" y="506"/>
                    <a:pt x="5503" y="469"/>
                  </a:cubicBezTo>
                  <a:cubicBezTo>
                    <a:pt x="5488" y="425"/>
                    <a:pt x="5488" y="389"/>
                    <a:pt x="5503" y="367"/>
                  </a:cubicBezTo>
                  <a:cubicBezTo>
                    <a:pt x="5525" y="330"/>
                    <a:pt x="5576" y="315"/>
                    <a:pt x="5627" y="301"/>
                  </a:cubicBezTo>
                  <a:cubicBezTo>
                    <a:pt x="5657" y="293"/>
                    <a:pt x="5693" y="286"/>
                    <a:pt x="5715" y="271"/>
                  </a:cubicBezTo>
                  <a:cubicBezTo>
                    <a:pt x="5723" y="271"/>
                    <a:pt x="5737" y="264"/>
                    <a:pt x="5745" y="264"/>
                  </a:cubicBezTo>
                  <a:cubicBezTo>
                    <a:pt x="5796" y="264"/>
                    <a:pt x="5825" y="345"/>
                    <a:pt x="5847" y="396"/>
                  </a:cubicBezTo>
                  <a:cubicBezTo>
                    <a:pt x="5855" y="410"/>
                    <a:pt x="5855" y="418"/>
                    <a:pt x="5862" y="425"/>
                  </a:cubicBezTo>
                  <a:cubicBezTo>
                    <a:pt x="5898" y="498"/>
                    <a:pt x="5796" y="557"/>
                    <a:pt x="5767" y="572"/>
                  </a:cubicBezTo>
                  <a:cubicBezTo>
                    <a:pt x="5723" y="601"/>
                    <a:pt x="5708" y="616"/>
                    <a:pt x="5671" y="660"/>
                  </a:cubicBezTo>
                  <a:cubicBezTo>
                    <a:pt x="5657" y="682"/>
                    <a:pt x="5657" y="682"/>
                    <a:pt x="5657" y="682"/>
                  </a:cubicBezTo>
                  <a:cubicBezTo>
                    <a:pt x="5649" y="682"/>
                    <a:pt x="5649" y="682"/>
                    <a:pt x="5649" y="682"/>
                  </a:cubicBezTo>
                  <a:cubicBezTo>
                    <a:pt x="5642" y="674"/>
                    <a:pt x="5642" y="674"/>
                    <a:pt x="5642" y="674"/>
                  </a:cubicBezTo>
                  <a:cubicBezTo>
                    <a:pt x="5635" y="682"/>
                    <a:pt x="5598" y="696"/>
                    <a:pt x="5561" y="696"/>
                  </a:cubicBezTo>
                  <a:close/>
                  <a:moveTo>
                    <a:pt x="4997" y="410"/>
                  </a:moveTo>
                  <a:lnTo>
                    <a:pt x="4997" y="410"/>
                  </a:lnTo>
                  <a:cubicBezTo>
                    <a:pt x="5012" y="418"/>
                    <a:pt x="5012" y="418"/>
                    <a:pt x="5012" y="418"/>
                  </a:cubicBezTo>
                  <a:cubicBezTo>
                    <a:pt x="4997" y="410"/>
                    <a:pt x="4997" y="410"/>
                    <a:pt x="4997" y="410"/>
                  </a:cubicBezTo>
                  <a:cubicBezTo>
                    <a:pt x="5005" y="389"/>
                    <a:pt x="5012" y="359"/>
                    <a:pt x="5027" y="330"/>
                  </a:cubicBezTo>
                  <a:cubicBezTo>
                    <a:pt x="5063" y="264"/>
                    <a:pt x="5056" y="227"/>
                    <a:pt x="5048" y="205"/>
                  </a:cubicBezTo>
                  <a:cubicBezTo>
                    <a:pt x="4909" y="257"/>
                    <a:pt x="4909" y="257"/>
                    <a:pt x="4909" y="257"/>
                  </a:cubicBezTo>
                  <a:cubicBezTo>
                    <a:pt x="4917" y="227"/>
                    <a:pt x="4917" y="227"/>
                    <a:pt x="4917" y="227"/>
                  </a:cubicBezTo>
                  <a:cubicBezTo>
                    <a:pt x="4917" y="227"/>
                    <a:pt x="4939" y="139"/>
                    <a:pt x="4990" y="103"/>
                  </a:cubicBezTo>
                  <a:cubicBezTo>
                    <a:pt x="5019" y="88"/>
                    <a:pt x="5048" y="74"/>
                    <a:pt x="5093" y="59"/>
                  </a:cubicBezTo>
                  <a:cubicBezTo>
                    <a:pt x="5114" y="51"/>
                    <a:pt x="5144" y="37"/>
                    <a:pt x="5173" y="22"/>
                  </a:cubicBezTo>
                  <a:cubicBezTo>
                    <a:pt x="5217" y="0"/>
                    <a:pt x="5268" y="0"/>
                    <a:pt x="5305" y="0"/>
                  </a:cubicBezTo>
                  <a:cubicBezTo>
                    <a:pt x="5327" y="0"/>
                    <a:pt x="5342" y="0"/>
                    <a:pt x="5342" y="0"/>
                  </a:cubicBezTo>
                  <a:cubicBezTo>
                    <a:pt x="5349" y="0"/>
                    <a:pt x="5349" y="0"/>
                    <a:pt x="5349" y="0"/>
                  </a:cubicBezTo>
                  <a:cubicBezTo>
                    <a:pt x="5356" y="15"/>
                    <a:pt x="5356" y="15"/>
                    <a:pt x="5356" y="15"/>
                  </a:cubicBezTo>
                  <a:cubicBezTo>
                    <a:pt x="5356" y="15"/>
                    <a:pt x="5364" y="81"/>
                    <a:pt x="5312" y="132"/>
                  </a:cubicBezTo>
                  <a:cubicBezTo>
                    <a:pt x="5283" y="161"/>
                    <a:pt x="5268" y="191"/>
                    <a:pt x="5268" y="227"/>
                  </a:cubicBezTo>
                  <a:cubicBezTo>
                    <a:pt x="5268" y="235"/>
                    <a:pt x="5268" y="235"/>
                    <a:pt x="5268" y="235"/>
                  </a:cubicBezTo>
                  <a:cubicBezTo>
                    <a:pt x="5268" y="242"/>
                    <a:pt x="5268" y="242"/>
                    <a:pt x="5268" y="242"/>
                  </a:cubicBezTo>
                  <a:cubicBezTo>
                    <a:pt x="5203" y="323"/>
                    <a:pt x="5188" y="330"/>
                    <a:pt x="5180" y="330"/>
                  </a:cubicBezTo>
                  <a:cubicBezTo>
                    <a:pt x="5166" y="337"/>
                    <a:pt x="5158" y="345"/>
                    <a:pt x="5144" y="359"/>
                  </a:cubicBezTo>
                  <a:cubicBezTo>
                    <a:pt x="5122" y="381"/>
                    <a:pt x="5107" y="396"/>
                    <a:pt x="5093" y="403"/>
                  </a:cubicBezTo>
                  <a:cubicBezTo>
                    <a:pt x="5063" y="418"/>
                    <a:pt x="5048" y="418"/>
                    <a:pt x="5027" y="425"/>
                  </a:cubicBezTo>
                  <a:cubicBezTo>
                    <a:pt x="4983" y="440"/>
                    <a:pt x="4983" y="440"/>
                    <a:pt x="4983" y="440"/>
                  </a:cubicBezTo>
                  <a:lnTo>
                    <a:pt x="4997" y="410"/>
                  </a:lnTo>
                  <a:close/>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78" name="Freeform 77">
              <a:extLst>
                <a:ext uri="{FF2B5EF4-FFF2-40B4-BE49-F238E27FC236}">
                  <a16:creationId xmlns:a16="http://schemas.microsoft.com/office/drawing/2014/main" id="{13390586-92C2-0C4D-8302-C693996D84C5}"/>
                </a:ext>
              </a:extLst>
            </p:cNvPr>
            <p:cNvSpPr>
              <a:spLocks noChangeArrowheads="1"/>
            </p:cNvSpPr>
            <p:nvPr/>
          </p:nvSpPr>
          <p:spPr bwMode="auto">
            <a:xfrm>
              <a:off x="6438102" y="4261498"/>
              <a:ext cx="463272" cy="441385"/>
            </a:xfrm>
            <a:custGeom>
              <a:avLst/>
              <a:gdLst>
                <a:gd name="T0" fmla="*/ 908 w 1202"/>
                <a:gd name="T1" fmla="*/ 1165 h 1166"/>
                <a:gd name="T2" fmla="*/ 733 w 1202"/>
                <a:gd name="T3" fmla="*/ 1026 h 1166"/>
                <a:gd name="T4" fmla="*/ 652 w 1202"/>
                <a:gd name="T5" fmla="*/ 1011 h 1166"/>
                <a:gd name="T6" fmla="*/ 578 w 1202"/>
                <a:gd name="T7" fmla="*/ 1070 h 1166"/>
                <a:gd name="T8" fmla="*/ 491 w 1202"/>
                <a:gd name="T9" fmla="*/ 1128 h 1166"/>
                <a:gd name="T10" fmla="*/ 388 w 1202"/>
                <a:gd name="T11" fmla="*/ 1026 h 1166"/>
                <a:gd name="T12" fmla="*/ 366 w 1202"/>
                <a:gd name="T13" fmla="*/ 989 h 1166"/>
                <a:gd name="T14" fmla="*/ 285 w 1202"/>
                <a:gd name="T15" fmla="*/ 1048 h 1166"/>
                <a:gd name="T16" fmla="*/ 190 w 1202"/>
                <a:gd name="T17" fmla="*/ 989 h 1166"/>
                <a:gd name="T18" fmla="*/ 139 w 1202"/>
                <a:gd name="T19" fmla="*/ 769 h 1166"/>
                <a:gd name="T20" fmla="*/ 51 w 1202"/>
                <a:gd name="T21" fmla="*/ 652 h 1166"/>
                <a:gd name="T22" fmla="*/ 29 w 1202"/>
                <a:gd name="T23" fmla="*/ 645 h 1166"/>
                <a:gd name="T24" fmla="*/ 29 w 1202"/>
                <a:gd name="T25" fmla="*/ 505 h 1166"/>
                <a:gd name="T26" fmla="*/ 80 w 1202"/>
                <a:gd name="T27" fmla="*/ 396 h 1166"/>
                <a:gd name="T28" fmla="*/ 161 w 1202"/>
                <a:gd name="T29" fmla="*/ 469 h 1166"/>
                <a:gd name="T30" fmla="*/ 183 w 1202"/>
                <a:gd name="T31" fmla="*/ 527 h 1166"/>
                <a:gd name="T32" fmla="*/ 249 w 1202"/>
                <a:gd name="T33" fmla="*/ 484 h 1166"/>
                <a:gd name="T34" fmla="*/ 307 w 1202"/>
                <a:gd name="T35" fmla="*/ 410 h 1166"/>
                <a:gd name="T36" fmla="*/ 505 w 1202"/>
                <a:gd name="T37" fmla="*/ 293 h 1166"/>
                <a:gd name="T38" fmla="*/ 549 w 1202"/>
                <a:gd name="T39" fmla="*/ 227 h 1166"/>
                <a:gd name="T40" fmla="*/ 623 w 1202"/>
                <a:gd name="T41" fmla="*/ 212 h 1166"/>
                <a:gd name="T42" fmla="*/ 681 w 1202"/>
                <a:gd name="T43" fmla="*/ 154 h 1166"/>
                <a:gd name="T44" fmla="*/ 769 w 1202"/>
                <a:gd name="T45" fmla="*/ 73 h 1166"/>
                <a:gd name="T46" fmla="*/ 908 w 1202"/>
                <a:gd name="T47" fmla="*/ 0 h 1166"/>
                <a:gd name="T48" fmla="*/ 923 w 1202"/>
                <a:gd name="T49" fmla="*/ 7 h 1166"/>
                <a:gd name="T50" fmla="*/ 850 w 1202"/>
                <a:gd name="T51" fmla="*/ 212 h 1166"/>
                <a:gd name="T52" fmla="*/ 938 w 1202"/>
                <a:gd name="T53" fmla="*/ 300 h 1166"/>
                <a:gd name="T54" fmla="*/ 1004 w 1202"/>
                <a:gd name="T55" fmla="*/ 403 h 1166"/>
                <a:gd name="T56" fmla="*/ 952 w 1202"/>
                <a:gd name="T57" fmla="*/ 505 h 1166"/>
                <a:gd name="T58" fmla="*/ 967 w 1202"/>
                <a:gd name="T59" fmla="*/ 550 h 1166"/>
                <a:gd name="T60" fmla="*/ 872 w 1202"/>
                <a:gd name="T61" fmla="*/ 586 h 1166"/>
                <a:gd name="T62" fmla="*/ 872 w 1202"/>
                <a:gd name="T63" fmla="*/ 645 h 1166"/>
                <a:gd name="T64" fmla="*/ 1033 w 1202"/>
                <a:gd name="T65" fmla="*/ 828 h 1166"/>
                <a:gd name="T66" fmla="*/ 1187 w 1202"/>
                <a:gd name="T67" fmla="*/ 989 h 1166"/>
                <a:gd name="T68" fmla="*/ 1201 w 1202"/>
                <a:gd name="T69" fmla="*/ 1062 h 1166"/>
                <a:gd name="T70" fmla="*/ 1143 w 1202"/>
                <a:gd name="T71" fmla="*/ 1070 h 1166"/>
                <a:gd name="T72" fmla="*/ 1055 w 1202"/>
                <a:gd name="T73" fmla="*/ 1128 h 1166"/>
                <a:gd name="T74" fmla="*/ 923 w 1202"/>
                <a:gd name="T75" fmla="*/ 1165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2" h="1166">
                  <a:moveTo>
                    <a:pt x="908" y="1165"/>
                  </a:moveTo>
                  <a:lnTo>
                    <a:pt x="908" y="1165"/>
                  </a:lnTo>
                  <a:cubicBezTo>
                    <a:pt x="850" y="1165"/>
                    <a:pt x="776" y="1084"/>
                    <a:pt x="733" y="1026"/>
                  </a:cubicBezTo>
                  <a:lnTo>
                    <a:pt x="733" y="1026"/>
                  </a:lnTo>
                  <a:cubicBezTo>
                    <a:pt x="710" y="996"/>
                    <a:pt x="696" y="996"/>
                    <a:pt x="688" y="996"/>
                  </a:cubicBezTo>
                  <a:cubicBezTo>
                    <a:pt x="681" y="996"/>
                    <a:pt x="666" y="1004"/>
                    <a:pt x="652" y="1011"/>
                  </a:cubicBezTo>
                  <a:cubicBezTo>
                    <a:pt x="637" y="1018"/>
                    <a:pt x="637" y="1018"/>
                    <a:pt x="637" y="1018"/>
                  </a:cubicBezTo>
                  <a:cubicBezTo>
                    <a:pt x="608" y="1033"/>
                    <a:pt x="593" y="1048"/>
                    <a:pt x="578" y="1070"/>
                  </a:cubicBezTo>
                  <a:cubicBezTo>
                    <a:pt x="571" y="1077"/>
                    <a:pt x="557" y="1092"/>
                    <a:pt x="535" y="1106"/>
                  </a:cubicBezTo>
                  <a:cubicBezTo>
                    <a:pt x="520" y="1121"/>
                    <a:pt x="505" y="1128"/>
                    <a:pt x="491" y="1128"/>
                  </a:cubicBezTo>
                  <a:cubicBezTo>
                    <a:pt x="447" y="1128"/>
                    <a:pt x="410" y="1099"/>
                    <a:pt x="395" y="1070"/>
                  </a:cubicBezTo>
                  <a:cubicBezTo>
                    <a:pt x="388" y="1055"/>
                    <a:pt x="388" y="1041"/>
                    <a:pt x="388" y="1026"/>
                  </a:cubicBezTo>
                  <a:cubicBezTo>
                    <a:pt x="381" y="1004"/>
                    <a:pt x="381" y="996"/>
                    <a:pt x="373" y="996"/>
                  </a:cubicBezTo>
                  <a:cubicBezTo>
                    <a:pt x="366" y="996"/>
                    <a:pt x="366" y="989"/>
                    <a:pt x="366" y="989"/>
                  </a:cubicBezTo>
                  <a:cubicBezTo>
                    <a:pt x="351" y="989"/>
                    <a:pt x="329" y="1011"/>
                    <a:pt x="307" y="1026"/>
                  </a:cubicBezTo>
                  <a:cubicBezTo>
                    <a:pt x="300" y="1033"/>
                    <a:pt x="293" y="1041"/>
                    <a:pt x="285" y="1048"/>
                  </a:cubicBezTo>
                  <a:cubicBezTo>
                    <a:pt x="271" y="1055"/>
                    <a:pt x="264" y="1062"/>
                    <a:pt x="256" y="1062"/>
                  </a:cubicBezTo>
                  <a:cubicBezTo>
                    <a:pt x="227" y="1062"/>
                    <a:pt x="212" y="1026"/>
                    <a:pt x="190" y="989"/>
                  </a:cubicBezTo>
                  <a:cubicBezTo>
                    <a:pt x="183" y="974"/>
                    <a:pt x="168" y="960"/>
                    <a:pt x="161" y="945"/>
                  </a:cubicBezTo>
                  <a:cubicBezTo>
                    <a:pt x="124" y="909"/>
                    <a:pt x="132" y="828"/>
                    <a:pt x="139" y="769"/>
                  </a:cubicBezTo>
                  <a:cubicBezTo>
                    <a:pt x="146" y="725"/>
                    <a:pt x="102" y="689"/>
                    <a:pt x="66" y="659"/>
                  </a:cubicBezTo>
                  <a:cubicBezTo>
                    <a:pt x="58" y="652"/>
                    <a:pt x="58" y="652"/>
                    <a:pt x="51" y="652"/>
                  </a:cubicBezTo>
                  <a:cubicBezTo>
                    <a:pt x="51" y="652"/>
                    <a:pt x="44" y="645"/>
                    <a:pt x="36" y="645"/>
                  </a:cubicBezTo>
                  <a:cubicBezTo>
                    <a:pt x="29" y="645"/>
                    <a:pt x="29" y="645"/>
                    <a:pt x="29" y="645"/>
                  </a:cubicBezTo>
                  <a:cubicBezTo>
                    <a:pt x="22" y="630"/>
                    <a:pt x="22" y="630"/>
                    <a:pt x="22" y="630"/>
                  </a:cubicBezTo>
                  <a:cubicBezTo>
                    <a:pt x="22" y="623"/>
                    <a:pt x="0" y="550"/>
                    <a:pt x="29" y="505"/>
                  </a:cubicBezTo>
                  <a:cubicBezTo>
                    <a:pt x="44" y="484"/>
                    <a:pt x="51" y="462"/>
                    <a:pt x="58" y="440"/>
                  </a:cubicBezTo>
                  <a:cubicBezTo>
                    <a:pt x="66" y="425"/>
                    <a:pt x="73" y="403"/>
                    <a:pt x="80" y="396"/>
                  </a:cubicBezTo>
                  <a:cubicBezTo>
                    <a:pt x="87" y="381"/>
                    <a:pt x="102" y="381"/>
                    <a:pt x="102" y="381"/>
                  </a:cubicBezTo>
                  <a:cubicBezTo>
                    <a:pt x="139" y="381"/>
                    <a:pt x="161" y="462"/>
                    <a:pt x="161" y="469"/>
                  </a:cubicBezTo>
                  <a:cubicBezTo>
                    <a:pt x="161" y="476"/>
                    <a:pt x="161" y="476"/>
                    <a:pt x="161" y="476"/>
                  </a:cubicBezTo>
                  <a:cubicBezTo>
                    <a:pt x="168" y="491"/>
                    <a:pt x="176" y="527"/>
                    <a:pt x="183" y="527"/>
                  </a:cubicBezTo>
                  <a:cubicBezTo>
                    <a:pt x="183" y="527"/>
                    <a:pt x="190" y="527"/>
                    <a:pt x="205" y="513"/>
                  </a:cubicBezTo>
                  <a:cubicBezTo>
                    <a:pt x="219" y="498"/>
                    <a:pt x="242" y="491"/>
                    <a:pt x="249" y="484"/>
                  </a:cubicBezTo>
                  <a:cubicBezTo>
                    <a:pt x="278" y="476"/>
                    <a:pt x="285" y="469"/>
                    <a:pt x="300" y="432"/>
                  </a:cubicBezTo>
                  <a:cubicBezTo>
                    <a:pt x="307" y="410"/>
                    <a:pt x="307" y="410"/>
                    <a:pt x="307" y="410"/>
                  </a:cubicBezTo>
                  <a:cubicBezTo>
                    <a:pt x="329" y="359"/>
                    <a:pt x="344" y="315"/>
                    <a:pt x="395" y="315"/>
                  </a:cubicBezTo>
                  <a:cubicBezTo>
                    <a:pt x="432" y="315"/>
                    <a:pt x="469" y="315"/>
                    <a:pt x="505" y="293"/>
                  </a:cubicBezTo>
                  <a:cubicBezTo>
                    <a:pt x="520" y="286"/>
                    <a:pt x="520" y="271"/>
                    <a:pt x="527" y="264"/>
                  </a:cubicBezTo>
                  <a:cubicBezTo>
                    <a:pt x="535" y="249"/>
                    <a:pt x="542" y="242"/>
                    <a:pt x="549" y="227"/>
                  </a:cubicBezTo>
                  <a:cubicBezTo>
                    <a:pt x="571" y="212"/>
                    <a:pt x="586" y="212"/>
                    <a:pt x="601" y="212"/>
                  </a:cubicBezTo>
                  <a:cubicBezTo>
                    <a:pt x="623" y="212"/>
                    <a:pt x="623" y="212"/>
                    <a:pt x="623" y="212"/>
                  </a:cubicBezTo>
                  <a:cubicBezTo>
                    <a:pt x="630" y="212"/>
                    <a:pt x="637" y="212"/>
                    <a:pt x="645" y="205"/>
                  </a:cubicBezTo>
                  <a:cubicBezTo>
                    <a:pt x="666" y="198"/>
                    <a:pt x="674" y="183"/>
                    <a:pt x="681" y="154"/>
                  </a:cubicBezTo>
                  <a:cubicBezTo>
                    <a:pt x="688" y="117"/>
                    <a:pt x="703" y="88"/>
                    <a:pt x="747" y="81"/>
                  </a:cubicBezTo>
                  <a:cubicBezTo>
                    <a:pt x="754" y="81"/>
                    <a:pt x="762" y="73"/>
                    <a:pt x="769" y="73"/>
                  </a:cubicBezTo>
                  <a:cubicBezTo>
                    <a:pt x="791" y="73"/>
                    <a:pt x="798" y="73"/>
                    <a:pt x="820" y="51"/>
                  </a:cubicBezTo>
                  <a:cubicBezTo>
                    <a:pt x="857" y="15"/>
                    <a:pt x="908" y="0"/>
                    <a:pt x="908" y="0"/>
                  </a:cubicBezTo>
                  <a:cubicBezTo>
                    <a:pt x="916" y="0"/>
                    <a:pt x="916" y="0"/>
                    <a:pt x="916" y="0"/>
                  </a:cubicBezTo>
                  <a:cubicBezTo>
                    <a:pt x="923" y="7"/>
                    <a:pt x="923" y="7"/>
                    <a:pt x="923" y="7"/>
                  </a:cubicBezTo>
                  <a:cubicBezTo>
                    <a:pt x="930" y="15"/>
                    <a:pt x="974" y="88"/>
                    <a:pt x="930" y="124"/>
                  </a:cubicBezTo>
                  <a:cubicBezTo>
                    <a:pt x="886" y="154"/>
                    <a:pt x="850" y="198"/>
                    <a:pt x="850" y="212"/>
                  </a:cubicBezTo>
                  <a:cubicBezTo>
                    <a:pt x="850" y="234"/>
                    <a:pt x="886" y="278"/>
                    <a:pt x="916" y="293"/>
                  </a:cubicBezTo>
                  <a:cubicBezTo>
                    <a:pt x="923" y="293"/>
                    <a:pt x="930" y="300"/>
                    <a:pt x="938" y="300"/>
                  </a:cubicBezTo>
                  <a:cubicBezTo>
                    <a:pt x="974" y="315"/>
                    <a:pt x="1018" y="337"/>
                    <a:pt x="1018" y="366"/>
                  </a:cubicBezTo>
                  <a:cubicBezTo>
                    <a:pt x="1026" y="374"/>
                    <a:pt x="1018" y="388"/>
                    <a:pt x="1004" y="403"/>
                  </a:cubicBezTo>
                  <a:cubicBezTo>
                    <a:pt x="982" y="432"/>
                    <a:pt x="974" y="454"/>
                    <a:pt x="967" y="469"/>
                  </a:cubicBezTo>
                  <a:cubicBezTo>
                    <a:pt x="959" y="484"/>
                    <a:pt x="952" y="491"/>
                    <a:pt x="952" y="505"/>
                  </a:cubicBezTo>
                  <a:cubicBezTo>
                    <a:pt x="938" y="520"/>
                    <a:pt x="952" y="535"/>
                    <a:pt x="952" y="535"/>
                  </a:cubicBezTo>
                  <a:cubicBezTo>
                    <a:pt x="967" y="550"/>
                    <a:pt x="967" y="550"/>
                    <a:pt x="967" y="550"/>
                  </a:cubicBezTo>
                  <a:cubicBezTo>
                    <a:pt x="952" y="557"/>
                    <a:pt x="952" y="557"/>
                    <a:pt x="952" y="557"/>
                  </a:cubicBezTo>
                  <a:cubicBezTo>
                    <a:pt x="945" y="564"/>
                    <a:pt x="901" y="586"/>
                    <a:pt x="872" y="586"/>
                  </a:cubicBezTo>
                  <a:cubicBezTo>
                    <a:pt x="864" y="586"/>
                    <a:pt x="864" y="586"/>
                    <a:pt x="864" y="586"/>
                  </a:cubicBezTo>
                  <a:cubicBezTo>
                    <a:pt x="864" y="601"/>
                    <a:pt x="864" y="623"/>
                    <a:pt x="872" y="645"/>
                  </a:cubicBezTo>
                  <a:cubicBezTo>
                    <a:pt x="879" y="689"/>
                    <a:pt x="894" y="755"/>
                    <a:pt x="916" y="755"/>
                  </a:cubicBezTo>
                  <a:cubicBezTo>
                    <a:pt x="982" y="755"/>
                    <a:pt x="1026" y="791"/>
                    <a:pt x="1033" y="828"/>
                  </a:cubicBezTo>
                  <a:cubicBezTo>
                    <a:pt x="1040" y="857"/>
                    <a:pt x="1062" y="886"/>
                    <a:pt x="1092" y="894"/>
                  </a:cubicBezTo>
                  <a:cubicBezTo>
                    <a:pt x="1128" y="909"/>
                    <a:pt x="1179" y="974"/>
                    <a:pt x="1187" y="989"/>
                  </a:cubicBezTo>
                  <a:lnTo>
                    <a:pt x="1187" y="989"/>
                  </a:lnTo>
                  <a:cubicBezTo>
                    <a:pt x="1201" y="1062"/>
                    <a:pt x="1201" y="1062"/>
                    <a:pt x="1201" y="1062"/>
                  </a:cubicBezTo>
                  <a:cubicBezTo>
                    <a:pt x="1172" y="1062"/>
                    <a:pt x="1172" y="1062"/>
                    <a:pt x="1172" y="1062"/>
                  </a:cubicBezTo>
                  <a:cubicBezTo>
                    <a:pt x="1165" y="1062"/>
                    <a:pt x="1150" y="1070"/>
                    <a:pt x="1143" y="1070"/>
                  </a:cubicBezTo>
                  <a:cubicBezTo>
                    <a:pt x="1106" y="1077"/>
                    <a:pt x="1092" y="1084"/>
                    <a:pt x="1069" y="1114"/>
                  </a:cubicBezTo>
                  <a:cubicBezTo>
                    <a:pt x="1055" y="1128"/>
                    <a:pt x="1055" y="1128"/>
                    <a:pt x="1055" y="1128"/>
                  </a:cubicBezTo>
                  <a:cubicBezTo>
                    <a:pt x="1026" y="1158"/>
                    <a:pt x="996" y="1158"/>
                    <a:pt x="959" y="1158"/>
                  </a:cubicBezTo>
                  <a:cubicBezTo>
                    <a:pt x="952" y="1158"/>
                    <a:pt x="938" y="1165"/>
                    <a:pt x="923" y="1165"/>
                  </a:cubicBezTo>
                  <a:cubicBezTo>
                    <a:pt x="916" y="1165"/>
                    <a:pt x="916" y="1165"/>
                    <a:pt x="908" y="1165"/>
                  </a:cubicBezTo>
                </a:path>
              </a:pathLst>
            </a:custGeom>
            <a:grpFill/>
            <a:ln w="6350" cap="flat" cmpd="sng">
              <a:solidFill>
                <a:schemeClr val="bg1"/>
              </a:solidFill>
              <a:bevel/>
              <a:headEnd/>
              <a:tailEnd/>
            </a:ln>
            <a:effectLst/>
          </p:spPr>
          <p:txBody>
            <a:bodyPr wrap="none" anchor="ctr"/>
            <a:lstStyle/>
            <a:p>
              <a:pPr defTabSz="685663">
                <a:defRPr/>
              </a:pPr>
              <a:endParaRPr lang="en-US" sz="675">
                <a:latin typeface="Montserrat" charset="0"/>
              </a:endParaRPr>
            </a:p>
          </p:txBody>
        </p:sp>
        <p:sp>
          <p:nvSpPr>
            <p:cNvPr id="79" name="Freeform 78">
              <a:extLst>
                <a:ext uri="{FF2B5EF4-FFF2-40B4-BE49-F238E27FC236}">
                  <a16:creationId xmlns:a16="http://schemas.microsoft.com/office/drawing/2014/main" id="{4D8ECDA3-495F-1048-8B41-AEA1AE2FC204}"/>
                </a:ext>
              </a:extLst>
            </p:cNvPr>
            <p:cNvSpPr>
              <a:spLocks noChangeArrowheads="1"/>
            </p:cNvSpPr>
            <p:nvPr/>
          </p:nvSpPr>
          <p:spPr bwMode="auto">
            <a:xfrm>
              <a:off x="6432631" y="4256026"/>
              <a:ext cx="472391" cy="454153"/>
            </a:xfrm>
            <a:custGeom>
              <a:avLst/>
              <a:gdLst>
                <a:gd name="T0" fmla="*/ 931 w 1232"/>
                <a:gd name="T1" fmla="*/ 125 h 1196"/>
                <a:gd name="T2" fmla="*/ 1011 w 1232"/>
                <a:gd name="T3" fmla="*/ 411 h 1196"/>
                <a:gd name="T4" fmla="*/ 887 w 1232"/>
                <a:gd name="T5" fmla="*/ 587 h 1196"/>
                <a:gd name="T6" fmla="*/ 872 w 1232"/>
                <a:gd name="T7" fmla="*/ 660 h 1196"/>
                <a:gd name="T8" fmla="*/ 1107 w 1232"/>
                <a:gd name="T9" fmla="*/ 924 h 1196"/>
                <a:gd name="T10" fmla="*/ 1187 w 1232"/>
                <a:gd name="T11" fmla="*/ 1063 h 1196"/>
                <a:gd name="T12" fmla="*/ 931 w 1232"/>
                <a:gd name="T13" fmla="*/ 1165 h 1196"/>
                <a:gd name="T14" fmla="*/ 703 w 1232"/>
                <a:gd name="T15" fmla="*/ 997 h 1196"/>
                <a:gd name="T16" fmla="*/ 506 w 1232"/>
                <a:gd name="T17" fmla="*/ 1129 h 1196"/>
                <a:gd name="T18" fmla="*/ 381 w 1232"/>
                <a:gd name="T19" fmla="*/ 989 h 1196"/>
                <a:gd name="T20" fmla="*/ 183 w 1232"/>
                <a:gd name="T21" fmla="*/ 953 h 1196"/>
                <a:gd name="T22" fmla="*/ 51 w 1232"/>
                <a:gd name="T23" fmla="*/ 645 h 1196"/>
                <a:gd name="T24" fmla="*/ 110 w 1232"/>
                <a:gd name="T25" fmla="*/ 418 h 1196"/>
                <a:gd name="T26" fmla="*/ 198 w 1232"/>
                <a:gd name="T27" fmla="*/ 557 h 1196"/>
                <a:gd name="T28" fmla="*/ 410 w 1232"/>
                <a:gd name="T29" fmla="*/ 345 h 1196"/>
                <a:gd name="T30" fmla="*/ 616 w 1232"/>
                <a:gd name="T31" fmla="*/ 242 h 1196"/>
                <a:gd name="T32" fmla="*/ 711 w 1232"/>
                <a:gd name="T33" fmla="*/ 169 h 1196"/>
                <a:gd name="T34" fmla="*/ 923 w 1232"/>
                <a:gd name="T35" fmla="*/ 30 h 1196"/>
                <a:gd name="T36" fmla="*/ 923 w 1232"/>
                <a:gd name="T37" fmla="*/ 0 h 1196"/>
                <a:gd name="T38" fmla="*/ 755 w 1232"/>
                <a:gd name="T39" fmla="*/ 81 h 1196"/>
                <a:gd name="T40" fmla="*/ 638 w 1232"/>
                <a:gd name="T41" fmla="*/ 213 h 1196"/>
                <a:gd name="T42" fmla="*/ 557 w 1232"/>
                <a:gd name="T43" fmla="*/ 235 h 1196"/>
                <a:gd name="T44" fmla="*/ 410 w 1232"/>
                <a:gd name="T45" fmla="*/ 315 h 1196"/>
                <a:gd name="T46" fmla="*/ 264 w 1232"/>
                <a:gd name="T47" fmla="*/ 484 h 1196"/>
                <a:gd name="T48" fmla="*/ 191 w 1232"/>
                <a:gd name="T49" fmla="*/ 484 h 1196"/>
                <a:gd name="T50" fmla="*/ 117 w 1232"/>
                <a:gd name="T51" fmla="*/ 381 h 1196"/>
                <a:gd name="T52" fmla="*/ 29 w 1232"/>
                <a:gd name="T53" fmla="*/ 513 h 1196"/>
                <a:gd name="T54" fmla="*/ 29 w 1232"/>
                <a:gd name="T55" fmla="*/ 667 h 1196"/>
                <a:gd name="T56" fmla="*/ 73 w 1232"/>
                <a:gd name="T57" fmla="*/ 689 h 1196"/>
                <a:gd name="T58" fmla="*/ 191 w 1232"/>
                <a:gd name="T59" fmla="*/ 1011 h 1196"/>
                <a:gd name="T60" fmla="*/ 337 w 1232"/>
                <a:gd name="T61" fmla="*/ 1056 h 1196"/>
                <a:gd name="T62" fmla="*/ 381 w 1232"/>
                <a:gd name="T63" fmla="*/ 1041 h 1196"/>
                <a:gd name="T64" fmla="*/ 564 w 1232"/>
                <a:gd name="T65" fmla="*/ 1136 h 1196"/>
                <a:gd name="T66" fmla="*/ 674 w 1232"/>
                <a:gd name="T67" fmla="*/ 1041 h 1196"/>
                <a:gd name="T68" fmla="*/ 733 w 1232"/>
                <a:gd name="T69" fmla="*/ 1056 h 1196"/>
                <a:gd name="T70" fmla="*/ 982 w 1232"/>
                <a:gd name="T71" fmla="*/ 1187 h 1196"/>
                <a:gd name="T72" fmla="*/ 1158 w 1232"/>
                <a:gd name="T73" fmla="*/ 1099 h 1196"/>
                <a:gd name="T74" fmla="*/ 1231 w 1232"/>
                <a:gd name="T75" fmla="*/ 1092 h 1196"/>
                <a:gd name="T76" fmla="*/ 1216 w 1232"/>
                <a:gd name="T77" fmla="*/ 997 h 1196"/>
                <a:gd name="T78" fmla="*/ 1062 w 1232"/>
                <a:gd name="T79" fmla="*/ 843 h 1196"/>
                <a:gd name="T80" fmla="*/ 901 w 1232"/>
                <a:gd name="T81" fmla="*/ 660 h 1196"/>
                <a:gd name="T82" fmla="*/ 974 w 1232"/>
                <a:gd name="T83" fmla="*/ 587 h 1196"/>
                <a:gd name="T84" fmla="*/ 982 w 1232"/>
                <a:gd name="T85" fmla="*/ 535 h 1196"/>
                <a:gd name="T86" fmla="*/ 1033 w 1232"/>
                <a:gd name="T87" fmla="*/ 425 h 1196"/>
                <a:gd name="T88" fmla="*/ 938 w 1232"/>
                <a:gd name="T89" fmla="*/ 293 h 1196"/>
                <a:gd name="T90" fmla="*/ 953 w 1232"/>
                <a:gd name="T91" fmla="*/ 15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32" h="1196">
                  <a:moveTo>
                    <a:pt x="923" y="30"/>
                  </a:moveTo>
                  <a:lnTo>
                    <a:pt x="923" y="30"/>
                  </a:lnTo>
                  <a:cubicBezTo>
                    <a:pt x="923" y="30"/>
                    <a:pt x="967" y="103"/>
                    <a:pt x="931" y="125"/>
                  </a:cubicBezTo>
                  <a:cubicBezTo>
                    <a:pt x="901" y="154"/>
                    <a:pt x="850" y="206"/>
                    <a:pt x="850" y="227"/>
                  </a:cubicBezTo>
                  <a:cubicBezTo>
                    <a:pt x="850" y="257"/>
                    <a:pt x="894" y="308"/>
                    <a:pt x="923" y="323"/>
                  </a:cubicBezTo>
                  <a:cubicBezTo>
                    <a:pt x="960" y="337"/>
                    <a:pt x="1055" y="367"/>
                    <a:pt x="1011" y="411"/>
                  </a:cubicBezTo>
                  <a:cubicBezTo>
                    <a:pt x="967" y="447"/>
                    <a:pt x="967" y="484"/>
                    <a:pt x="953" y="506"/>
                  </a:cubicBezTo>
                  <a:cubicBezTo>
                    <a:pt x="931" y="535"/>
                    <a:pt x="960" y="557"/>
                    <a:pt x="960" y="557"/>
                  </a:cubicBezTo>
                  <a:cubicBezTo>
                    <a:pt x="960" y="557"/>
                    <a:pt x="916" y="587"/>
                    <a:pt x="887" y="587"/>
                  </a:cubicBezTo>
                  <a:cubicBezTo>
                    <a:pt x="879" y="587"/>
                    <a:pt x="879" y="587"/>
                    <a:pt x="872" y="587"/>
                  </a:cubicBezTo>
                  <a:lnTo>
                    <a:pt x="872" y="587"/>
                  </a:lnTo>
                  <a:cubicBezTo>
                    <a:pt x="850" y="587"/>
                    <a:pt x="872" y="660"/>
                    <a:pt x="872" y="660"/>
                  </a:cubicBezTo>
                  <a:cubicBezTo>
                    <a:pt x="872" y="660"/>
                    <a:pt x="879" y="784"/>
                    <a:pt x="931" y="784"/>
                  </a:cubicBezTo>
                  <a:cubicBezTo>
                    <a:pt x="982" y="784"/>
                    <a:pt x="1026" y="814"/>
                    <a:pt x="1033" y="850"/>
                  </a:cubicBezTo>
                  <a:cubicBezTo>
                    <a:pt x="1048" y="887"/>
                    <a:pt x="1070" y="916"/>
                    <a:pt x="1107" y="924"/>
                  </a:cubicBezTo>
                  <a:cubicBezTo>
                    <a:pt x="1136" y="931"/>
                    <a:pt x="1187" y="1011"/>
                    <a:pt x="1187" y="1011"/>
                  </a:cubicBezTo>
                  <a:cubicBezTo>
                    <a:pt x="1194" y="1063"/>
                    <a:pt x="1194" y="1063"/>
                    <a:pt x="1194" y="1063"/>
                  </a:cubicBezTo>
                  <a:cubicBezTo>
                    <a:pt x="1187" y="1063"/>
                    <a:pt x="1187" y="1063"/>
                    <a:pt x="1187" y="1063"/>
                  </a:cubicBezTo>
                  <a:cubicBezTo>
                    <a:pt x="1172" y="1063"/>
                    <a:pt x="1165" y="1070"/>
                    <a:pt x="1158" y="1070"/>
                  </a:cubicBezTo>
                  <a:cubicBezTo>
                    <a:pt x="1107" y="1077"/>
                    <a:pt x="1099" y="1099"/>
                    <a:pt x="1062" y="1129"/>
                  </a:cubicBezTo>
                  <a:cubicBezTo>
                    <a:pt x="1026" y="1165"/>
                    <a:pt x="997" y="1158"/>
                    <a:pt x="931" y="1165"/>
                  </a:cubicBezTo>
                  <a:cubicBezTo>
                    <a:pt x="931" y="1165"/>
                    <a:pt x="931" y="1165"/>
                    <a:pt x="923" y="1165"/>
                  </a:cubicBezTo>
                  <a:cubicBezTo>
                    <a:pt x="865" y="1165"/>
                    <a:pt x="799" y="1077"/>
                    <a:pt x="755" y="1026"/>
                  </a:cubicBezTo>
                  <a:cubicBezTo>
                    <a:pt x="733" y="1004"/>
                    <a:pt x="718" y="997"/>
                    <a:pt x="703" y="997"/>
                  </a:cubicBezTo>
                  <a:cubicBezTo>
                    <a:pt x="689" y="997"/>
                    <a:pt x="674" y="1004"/>
                    <a:pt x="645" y="1019"/>
                  </a:cubicBezTo>
                  <a:cubicBezTo>
                    <a:pt x="593" y="1048"/>
                    <a:pt x="586" y="1077"/>
                    <a:pt x="542" y="1114"/>
                  </a:cubicBezTo>
                  <a:cubicBezTo>
                    <a:pt x="528" y="1121"/>
                    <a:pt x="520" y="1129"/>
                    <a:pt x="506" y="1129"/>
                  </a:cubicBezTo>
                  <a:cubicBezTo>
                    <a:pt x="469" y="1129"/>
                    <a:pt x="432" y="1099"/>
                    <a:pt x="425" y="1077"/>
                  </a:cubicBezTo>
                  <a:cubicBezTo>
                    <a:pt x="410" y="1048"/>
                    <a:pt x="425" y="1004"/>
                    <a:pt x="388" y="997"/>
                  </a:cubicBezTo>
                  <a:cubicBezTo>
                    <a:pt x="388" y="989"/>
                    <a:pt x="381" y="989"/>
                    <a:pt x="381" y="989"/>
                  </a:cubicBezTo>
                  <a:cubicBezTo>
                    <a:pt x="352" y="989"/>
                    <a:pt x="322" y="1026"/>
                    <a:pt x="286" y="1056"/>
                  </a:cubicBezTo>
                  <a:cubicBezTo>
                    <a:pt x="279" y="1056"/>
                    <a:pt x="279" y="1063"/>
                    <a:pt x="271" y="1063"/>
                  </a:cubicBezTo>
                  <a:cubicBezTo>
                    <a:pt x="242" y="1063"/>
                    <a:pt x="212" y="982"/>
                    <a:pt x="183" y="953"/>
                  </a:cubicBezTo>
                  <a:cubicBezTo>
                    <a:pt x="154" y="916"/>
                    <a:pt x="161" y="843"/>
                    <a:pt x="169" y="792"/>
                  </a:cubicBezTo>
                  <a:cubicBezTo>
                    <a:pt x="176" y="740"/>
                    <a:pt x="132" y="696"/>
                    <a:pt x="95" y="660"/>
                  </a:cubicBezTo>
                  <a:cubicBezTo>
                    <a:pt x="81" y="652"/>
                    <a:pt x="81" y="652"/>
                    <a:pt x="51" y="645"/>
                  </a:cubicBezTo>
                  <a:cubicBezTo>
                    <a:pt x="51" y="638"/>
                    <a:pt x="51" y="638"/>
                    <a:pt x="51" y="638"/>
                  </a:cubicBezTo>
                  <a:cubicBezTo>
                    <a:pt x="51" y="638"/>
                    <a:pt x="29" y="572"/>
                    <a:pt x="59" y="528"/>
                  </a:cubicBezTo>
                  <a:cubicBezTo>
                    <a:pt x="81" y="484"/>
                    <a:pt x="95" y="440"/>
                    <a:pt x="110" y="418"/>
                  </a:cubicBezTo>
                  <a:cubicBezTo>
                    <a:pt x="110" y="411"/>
                    <a:pt x="117" y="411"/>
                    <a:pt x="117" y="411"/>
                  </a:cubicBezTo>
                  <a:cubicBezTo>
                    <a:pt x="132" y="411"/>
                    <a:pt x="154" y="447"/>
                    <a:pt x="161" y="484"/>
                  </a:cubicBezTo>
                  <a:cubicBezTo>
                    <a:pt x="169" y="513"/>
                    <a:pt x="176" y="557"/>
                    <a:pt x="198" y="557"/>
                  </a:cubicBezTo>
                  <a:cubicBezTo>
                    <a:pt x="205" y="557"/>
                    <a:pt x="212" y="550"/>
                    <a:pt x="227" y="542"/>
                  </a:cubicBezTo>
                  <a:cubicBezTo>
                    <a:pt x="279" y="499"/>
                    <a:pt x="308" y="520"/>
                    <a:pt x="330" y="447"/>
                  </a:cubicBezTo>
                  <a:cubicBezTo>
                    <a:pt x="359" y="381"/>
                    <a:pt x="366" y="345"/>
                    <a:pt x="410" y="345"/>
                  </a:cubicBezTo>
                  <a:cubicBezTo>
                    <a:pt x="447" y="345"/>
                    <a:pt x="491" y="345"/>
                    <a:pt x="528" y="323"/>
                  </a:cubicBezTo>
                  <a:cubicBezTo>
                    <a:pt x="557" y="293"/>
                    <a:pt x="550" y="279"/>
                    <a:pt x="579" y="257"/>
                  </a:cubicBezTo>
                  <a:cubicBezTo>
                    <a:pt x="586" y="242"/>
                    <a:pt x="601" y="242"/>
                    <a:pt x="616" y="242"/>
                  </a:cubicBezTo>
                  <a:cubicBezTo>
                    <a:pt x="623" y="242"/>
                    <a:pt x="630" y="242"/>
                    <a:pt x="638" y="242"/>
                  </a:cubicBezTo>
                  <a:cubicBezTo>
                    <a:pt x="645" y="242"/>
                    <a:pt x="652" y="242"/>
                    <a:pt x="660" y="235"/>
                  </a:cubicBezTo>
                  <a:cubicBezTo>
                    <a:pt x="696" y="227"/>
                    <a:pt x="703" y="206"/>
                    <a:pt x="711" y="169"/>
                  </a:cubicBezTo>
                  <a:cubicBezTo>
                    <a:pt x="718" y="132"/>
                    <a:pt x="733" y="118"/>
                    <a:pt x="762" y="110"/>
                  </a:cubicBezTo>
                  <a:cubicBezTo>
                    <a:pt x="799" y="103"/>
                    <a:pt x="813" y="110"/>
                    <a:pt x="850" y="74"/>
                  </a:cubicBezTo>
                  <a:cubicBezTo>
                    <a:pt x="879" y="44"/>
                    <a:pt x="923" y="30"/>
                    <a:pt x="923" y="30"/>
                  </a:cubicBezTo>
                  <a:lnTo>
                    <a:pt x="938" y="0"/>
                  </a:lnTo>
                  <a:lnTo>
                    <a:pt x="938" y="0"/>
                  </a:lnTo>
                  <a:cubicBezTo>
                    <a:pt x="923" y="0"/>
                    <a:pt x="923" y="0"/>
                    <a:pt x="923" y="0"/>
                  </a:cubicBezTo>
                  <a:cubicBezTo>
                    <a:pt x="916" y="0"/>
                    <a:pt x="865" y="15"/>
                    <a:pt x="828" y="51"/>
                  </a:cubicBezTo>
                  <a:cubicBezTo>
                    <a:pt x="813" y="74"/>
                    <a:pt x="806" y="74"/>
                    <a:pt x="784" y="74"/>
                  </a:cubicBezTo>
                  <a:cubicBezTo>
                    <a:pt x="777" y="74"/>
                    <a:pt x="769" y="81"/>
                    <a:pt x="755" y="81"/>
                  </a:cubicBezTo>
                  <a:cubicBezTo>
                    <a:pt x="703" y="96"/>
                    <a:pt x="689" y="125"/>
                    <a:pt x="681" y="161"/>
                  </a:cubicBezTo>
                  <a:cubicBezTo>
                    <a:pt x="674" y="198"/>
                    <a:pt x="667" y="206"/>
                    <a:pt x="652" y="206"/>
                  </a:cubicBezTo>
                  <a:cubicBezTo>
                    <a:pt x="652" y="206"/>
                    <a:pt x="645" y="213"/>
                    <a:pt x="638" y="213"/>
                  </a:cubicBezTo>
                  <a:lnTo>
                    <a:pt x="630" y="213"/>
                  </a:lnTo>
                  <a:cubicBezTo>
                    <a:pt x="623" y="206"/>
                    <a:pt x="623" y="206"/>
                    <a:pt x="616" y="206"/>
                  </a:cubicBezTo>
                  <a:cubicBezTo>
                    <a:pt x="601" y="206"/>
                    <a:pt x="579" y="213"/>
                    <a:pt x="557" y="235"/>
                  </a:cubicBezTo>
                  <a:cubicBezTo>
                    <a:pt x="542" y="249"/>
                    <a:pt x="535" y="257"/>
                    <a:pt x="528" y="271"/>
                  </a:cubicBezTo>
                  <a:cubicBezTo>
                    <a:pt x="528" y="279"/>
                    <a:pt x="520" y="286"/>
                    <a:pt x="506" y="301"/>
                  </a:cubicBezTo>
                  <a:cubicBezTo>
                    <a:pt x="484" y="315"/>
                    <a:pt x="447" y="315"/>
                    <a:pt x="410" y="315"/>
                  </a:cubicBezTo>
                  <a:cubicBezTo>
                    <a:pt x="344" y="315"/>
                    <a:pt x="330" y="367"/>
                    <a:pt x="308" y="425"/>
                  </a:cubicBezTo>
                  <a:cubicBezTo>
                    <a:pt x="300" y="440"/>
                    <a:pt x="300" y="440"/>
                    <a:pt x="300" y="440"/>
                  </a:cubicBezTo>
                  <a:cubicBezTo>
                    <a:pt x="293" y="469"/>
                    <a:pt x="279" y="477"/>
                    <a:pt x="264" y="484"/>
                  </a:cubicBezTo>
                  <a:cubicBezTo>
                    <a:pt x="249" y="491"/>
                    <a:pt x="227" y="506"/>
                    <a:pt x="212" y="520"/>
                  </a:cubicBezTo>
                  <a:cubicBezTo>
                    <a:pt x="205" y="520"/>
                    <a:pt x="205" y="520"/>
                    <a:pt x="205" y="528"/>
                  </a:cubicBezTo>
                  <a:cubicBezTo>
                    <a:pt x="198" y="513"/>
                    <a:pt x="191" y="499"/>
                    <a:pt x="191" y="484"/>
                  </a:cubicBezTo>
                  <a:cubicBezTo>
                    <a:pt x="191" y="477"/>
                    <a:pt x="191" y="477"/>
                    <a:pt x="191" y="477"/>
                  </a:cubicBezTo>
                  <a:cubicBezTo>
                    <a:pt x="191" y="462"/>
                    <a:pt x="169" y="381"/>
                    <a:pt x="117" y="381"/>
                  </a:cubicBezTo>
                  <a:lnTo>
                    <a:pt x="117" y="381"/>
                  </a:lnTo>
                  <a:cubicBezTo>
                    <a:pt x="110" y="381"/>
                    <a:pt x="95" y="381"/>
                    <a:pt x="81" y="396"/>
                  </a:cubicBezTo>
                  <a:cubicBezTo>
                    <a:pt x="73" y="411"/>
                    <a:pt x="66" y="432"/>
                    <a:pt x="59" y="447"/>
                  </a:cubicBezTo>
                  <a:cubicBezTo>
                    <a:pt x="51" y="469"/>
                    <a:pt x="44" y="491"/>
                    <a:pt x="29" y="513"/>
                  </a:cubicBezTo>
                  <a:cubicBezTo>
                    <a:pt x="0" y="565"/>
                    <a:pt x="15" y="638"/>
                    <a:pt x="22" y="645"/>
                  </a:cubicBezTo>
                  <a:cubicBezTo>
                    <a:pt x="22" y="652"/>
                    <a:pt x="22" y="652"/>
                    <a:pt x="22" y="652"/>
                  </a:cubicBezTo>
                  <a:cubicBezTo>
                    <a:pt x="29" y="667"/>
                    <a:pt x="29" y="667"/>
                    <a:pt x="29" y="667"/>
                  </a:cubicBezTo>
                  <a:cubicBezTo>
                    <a:pt x="44" y="674"/>
                    <a:pt x="44" y="674"/>
                    <a:pt x="44" y="674"/>
                  </a:cubicBezTo>
                  <a:cubicBezTo>
                    <a:pt x="51" y="674"/>
                    <a:pt x="59" y="682"/>
                    <a:pt x="66" y="682"/>
                  </a:cubicBezTo>
                  <a:cubicBezTo>
                    <a:pt x="66" y="682"/>
                    <a:pt x="66" y="682"/>
                    <a:pt x="73" y="689"/>
                  </a:cubicBezTo>
                  <a:cubicBezTo>
                    <a:pt x="125" y="726"/>
                    <a:pt x="147" y="755"/>
                    <a:pt x="139" y="784"/>
                  </a:cubicBezTo>
                  <a:cubicBezTo>
                    <a:pt x="132" y="843"/>
                    <a:pt x="117" y="931"/>
                    <a:pt x="161" y="975"/>
                  </a:cubicBezTo>
                  <a:cubicBezTo>
                    <a:pt x="176" y="982"/>
                    <a:pt x="183" y="997"/>
                    <a:pt x="191" y="1011"/>
                  </a:cubicBezTo>
                  <a:cubicBezTo>
                    <a:pt x="212" y="1056"/>
                    <a:pt x="234" y="1092"/>
                    <a:pt x="271" y="1092"/>
                  </a:cubicBezTo>
                  <a:cubicBezTo>
                    <a:pt x="286" y="1092"/>
                    <a:pt x="293" y="1085"/>
                    <a:pt x="308" y="1077"/>
                  </a:cubicBezTo>
                  <a:cubicBezTo>
                    <a:pt x="315" y="1070"/>
                    <a:pt x="330" y="1063"/>
                    <a:pt x="337" y="1056"/>
                  </a:cubicBezTo>
                  <a:cubicBezTo>
                    <a:pt x="352" y="1041"/>
                    <a:pt x="366" y="1026"/>
                    <a:pt x="381" y="1026"/>
                  </a:cubicBezTo>
                  <a:lnTo>
                    <a:pt x="381" y="1026"/>
                  </a:lnTo>
                  <a:cubicBezTo>
                    <a:pt x="381" y="1026"/>
                    <a:pt x="381" y="1033"/>
                    <a:pt x="381" y="1041"/>
                  </a:cubicBezTo>
                  <a:cubicBezTo>
                    <a:pt x="388" y="1056"/>
                    <a:pt x="388" y="1077"/>
                    <a:pt x="396" y="1092"/>
                  </a:cubicBezTo>
                  <a:cubicBezTo>
                    <a:pt x="410" y="1121"/>
                    <a:pt x="454" y="1158"/>
                    <a:pt x="506" y="1158"/>
                  </a:cubicBezTo>
                  <a:cubicBezTo>
                    <a:pt x="528" y="1158"/>
                    <a:pt x="542" y="1151"/>
                    <a:pt x="564" y="1136"/>
                  </a:cubicBezTo>
                  <a:cubicBezTo>
                    <a:pt x="579" y="1121"/>
                    <a:pt x="593" y="1107"/>
                    <a:pt x="608" y="1092"/>
                  </a:cubicBezTo>
                  <a:cubicBezTo>
                    <a:pt x="623" y="1070"/>
                    <a:pt x="638" y="1056"/>
                    <a:pt x="660" y="1048"/>
                  </a:cubicBezTo>
                  <a:cubicBezTo>
                    <a:pt x="674" y="1041"/>
                    <a:pt x="674" y="1041"/>
                    <a:pt x="674" y="1041"/>
                  </a:cubicBezTo>
                  <a:cubicBezTo>
                    <a:pt x="689" y="1033"/>
                    <a:pt x="703" y="1026"/>
                    <a:pt x="703" y="1026"/>
                  </a:cubicBezTo>
                  <a:cubicBezTo>
                    <a:pt x="711" y="1026"/>
                    <a:pt x="718" y="1026"/>
                    <a:pt x="733" y="1048"/>
                  </a:cubicBezTo>
                  <a:cubicBezTo>
                    <a:pt x="733" y="1056"/>
                    <a:pt x="733" y="1056"/>
                    <a:pt x="733" y="1056"/>
                  </a:cubicBezTo>
                  <a:cubicBezTo>
                    <a:pt x="784" y="1107"/>
                    <a:pt x="857" y="1195"/>
                    <a:pt x="923" y="1195"/>
                  </a:cubicBezTo>
                  <a:cubicBezTo>
                    <a:pt x="931" y="1195"/>
                    <a:pt x="931" y="1195"/>
                    <a:pt x="938" y="1195"/>
                  </a:cubicBezTo>
                  <a:cubicBezTo>
                    <a:pt x="953" y="1195"/>
                    <a:pt x="967" y="1187"/>
                    <a:pt x="982" y="1187"/>
                  </a:cubicBezTo>
                  <a:cubicBezTo>
                    <a:pt x="1019" y="1187"/>
                    <a:pt x="1048" y="1187"/>
                    <a:pt x="1084" y="1151"/>
                  </a:cubicBezTo>
                  <a:cubicBezTo>
                    <a:pt x="1092" y="1143"/>
                    <a:pt x="1092" y="1143"/>
                    <a:pt x="1099" y="1136"/>
                  </a:cubicBezTo>
                  <a:cubicBezTo>
                    <a:pt x="1121" y="1114"/>
                    <a:pt x="1129" y="1107"/>
                    <a:pt x="1158" y="1099"/>
                  </a:cubicBezTo>
                  <a:cubicBezTo>
                    <a:pt x="1172" y="1099"/>
                    <a:pt x="1180" y="1099"/>
                    <a:pt x="1187" y="1092"/>
                  </a:cubicBezTo>
                  <a:cubicBezTo>
                    <a:pt x="1202" y="1092"/>
                    <a:pt x="1202" y="1092"/>
                    <a:pt x="1202" y="1092"/>
                  </a:cubicBezTo>
                  <a:cubicBezTo>
                    <a:pt x="1231" y="1092"/>
                    <a:pt x="1231" y="1092"/>
                    <a:pt x="1231" y="1092"/>
                  </a:cubicBezTo>
                  <a:cubicBezTo>
                    <a:pt x="1231" y="1056"/>
                    <a:pt x="1231" y="1056"/>
                    <a:pt x="1231" y="1056"/>
                  </a:cubicBezTo>
                  <a:cubicBezTo>
                    <a:pt x="1216" y="1004"/>
                    <a:pt x="1216" y="1004"/>
                    <a:pt x="1216" y="1004"/>
                  </a:cubicBezTo>
                  <a:cubicBezTo>
                    <a:pt x="1216" y="997"/>
                    <a:pt x="1216" y="997"/>
                    <a:pt x="1216" y="997"/>
                  </a:cubicBezTo>
                  <a:lnTo>
                    <a:pt x="1216" y="997"/>
                  </a:lnTo>
                  <a:cubicBezTo>
                    <a:pt x="1202" y="975"/>
                    <a:pt x="1150" y="909"/>
                    <a:pt x="1114" y="894"/>
                  </a:cubicBezTo>
                  <a:cubicBezTo>
                    <a:pt x="1092" y="894"/>
                    <a:pt x="1070" y="865"/>
                    <a:pt x="1062" y="843"/>
                  </a:cubicBezTo>
                  <a:cubicBezTo>
                    <a:pt x="1055" y="792"/>
                    <a:pt x="997" y="748"/>
                    <a:pt x="931" y="748"/>
                  </a:cubicBezTo>
                  <a:cubicBezTo>
                    <a:pt x="923" y="748"/>
                    <a:pt x="909" y="704"/>
                    <a:pt x="901" y="660"/>
                  </a:cubicBezTo>
                  <a:lnTo>
                    <a:pt x="901" y="660"/>
                  </a:lnTo>
                  <a:cubicBezTo>
                    <a:pt x="901" y="652"/>
                    <a:pt x="901" y="652"/>
                    <a:pt x="901" y="652"/>
                  </a:cubicBezTo>
                  <a:cubicBezTo>
                    <a:pt x="901" y="645"/>
                    <a:pt x="894" y="630"/>
                    <a:pt x="894" y="616"/>
                  </a:cubicBezTo>
                  <a:cubicBezTo>
                    <a:pt x="931" y="616"/>
                    <a:pt x="967" y="594"/>
                    <a:pt x="974" y="587"/>
                  </a:cubicBezTo>
                  <a:cubicBezTo>
                    <a:pt x="1011" y="565"/>
                    <a:pt x="1011" y="565"/>
                    <a:pt x="1011" y="565"/>
                  </a:cubicBezTo>
                  <a:cubicBezTo>
                    <a:pt x="982" y="535"/>
                    <a:pt x="982" y="535"/>
                    <a:pt x="982" y="535"/>
                  </a:cubicBezTo>
                  <a:lnTo>
                    <a:pt x="982" y="535"/>
                  </a:lnTo>
                  <a:lnTo>
                    <a:pt x="974" y="528"/>
                  </a:lnTo>
                  <a:cubicBezTo>
                    <a:pt x="982" y="513"/>
                    <a:pt x="989" y="506"/>
                    <a:pt x="997" y="491"/>
                  </a:cubicBezTo>
                  <a:cubicBezTo>
                    <a:pt x="1004" y="469"/>
                    <a:pt x="1011" y="455"/>
                    <a:pt x="1033" y="425"/>
                  </a:cubicBezTo>
                  <a:cubicBezTo>
                    <a:pt x="1055" y="411"/>
                    <a:pt x="1055" y="389"/>
                    <a:pt x="1048" y="374"/>
                  </a:cubicBezTo>
                  <a:cubicBezTo>
                    <a:pt x="1041" y="337"/>
                    <a:pt x="997" y="323"/>
                    <a:pt x="960" y="301"/>
                  </a:cubicBezTo>
                  <a:cubicBezTo>
                    <a:pt x="953" y="301"/>
                    <a:pt x="945" y="301"/>
                    <a:pt x="938" y="293"/>
                  </a:cubicBezTo>
                  <a:cubicBezTo>
                    <a:pt x="909" y="279"/>
                    <a:pt x="879" y="242"/>
                    <a:pt x="879" y="227"/>
                  </a:cubicBezTo>
                  <a:cubicBezTo>
                    <a:pt x="879" y="220"/>
                    <a:pt x="916" y="176"/>
                    <a:pt x="953" y="154"/>
                  </a:cubicBezTo>
                  <a:cubicBezTo>
                    <a:pt x="997" y="118"/>
                    <a:pt x="974" y="59"/>
                    <a:pt x="953" y="15"/>
                  </a:cubicBezTo>
                  <a:cubicBezTo>
                    <a:pt x="938" y="0"/>
                    <a:pt x="938" y="0"/>
                    <a:pt x="938" y="0"/>
                  </a:cubicBezTo>
                  <a:lnTo>
                    <a:pt x="923" y="30"/>
                  </a:lnTo>
                </a:path>
              </a:pathLst>
            </a:custGeom>
            <a:grpFill/>
            <a:ln w="6350" cap="flat" cmpd="sng">
              <a:solidFill>
                <a:schemeClr val="bg1"/>
              </a:solidFill>
              <a:bevel/>
              <a:headEnd/>
              <a:tailEnd/>
            </a:ln>
            <a:effectLst/>
            <a:extLst>
              <a:ext uri="{AF507438-7753-43e0-B8FC-AC1667EBCBE1}"/>
            </a:extLst>
          </p:spPr>
          <p:txBody>
            <a:bodyPr wrap="none" anchor="ctr"/>
            <a:lstStyle/>
            <a:p>
              <a:pPr defTabSz="685663">
                <a:defRPr/>
              </a:pPr>
              <a:endParaRPr lang="en-US" sz="675">
                <a:latin typeface="Montserrat" charset="0"/>
              </a:endParaRPr>
            </a:p>
          </p:txBody>
        </p:sp>
      </p:grpSp>
      <p:sp>
        <p:nvSpPr>
          <p:cNvPr id="2" name="Text Placeholder 5">
            <a:extLst>
              <a:ext uri="{FF2B5EF4-FFF2-40B4-BE49-F238E27FC236}">
                <a16:creationId xmlns:a16="http://schemas.microsoft.com/office/drawing/2014/main" id="{5CE21D2F-D9D9-9E75-F8BA-24901F106064}"/>
              </a:ext>
            </a:extLst>
          </p:cNvPr>
          <p:cNvSpPr txBox="1">
            <a:spLocks/>
          </p:cNvSpPr>
          <p:nvPr/>
        </p:nvSpPr>
        <p:spPr>
          <a:xfrm>
            <a:off x="465138" y="438150"/>
            <a:ext cx="8221662" cy="368300"/>
          </a:xfrm>
          <a:prstGeom prst="rect">
            <a:avLst/>
          </a:prstGeom>
        </p:spPr>
        <p:txBody>
          <a:bodyPr/>
          <a:lstStyle>
            <a:lvl1pPr marL="173038" indent="-173038"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200" kern="1200" spc="0" baseline="0" dirty="0" smtClean="0">
                <a:solidFill>
                  <a:schemeClr val="accent4"/>
                </a:solidFill>
                <a:latin typeface="Arial" panose="020B0604020202020204" pitchFamily="34" charset="0"/>
                <a:ea typeface="+mn-ea"/>
                <a:cs typeface="Arial" panose="020B0604020202020204" pitchFamily="34" charset="0"/>
              </a:defRPr>
            </a:lvl1pPr>
            <a:lvl2pPr marL="323850" indent="-150813"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100" kern="1200" spc="0" baseline="0" dirty="0" smtClean="0">
                <a:solidFill>
                  <a:schemeClr val="accent4"/>
                </a:solidFill>
                <a:latin typeface="Arial" panose="020B0604020202020204" pitchFamily="34" charset="0"/>
                <a:ea typeface="+mn-ea"/>
                <a:cs typeface="Arial" panose="020B0604020202020204" pitchFamily="34" charset="0"/>
              </a:defRPr>
            </a:lvl2pPr>
            <a:lvl3pPr marL="45720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50" kern="1200" spc="0" baseline="0" dirty="0" smtClean="0">
                <a:solidFill>
                  <a:schemeClr val="accent4"/>
                </a:solidFill>
                <a:latin typeface="Arial" panose="020B0604020202020204" pitchFamily="34" charset="0"/>
                <a:ea typeface="+mn-ea"/>
                <a:cs typeface="Arial" panose="020B0604020202020204" pitchFamily="34" charset="0"/>
              </a:defRPr>
            </a:lvl3pPr>
            <a:lvl4pPr marL="590550" indent="-133350"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smtClean="0">
                <a:solidFill>
                  <a:schemeClr val="accent4"/>
                </a:solidFill>
                <a:latin typeface="Arial" panose="020B0604020202020204" pitchFamily="34" charset="0"/>
                <a:ea typeface="+mn-ea"/>
                <a:cs typeface="Arial" panose="020B0604020202020204" pitchFamily="34" charset="0"/>
              </a:defRPr>
            </a:lvl4pPr>
            <a:lvl5pPr marL="704850" indent="-111125" algn="l" defTabSz="914400" rtl="0" eaLnBrk="1" latinLnBrk="0" hangingPunct="1">
              <a:lnSpc>
                <a:spcPct val="100000"/>
              </a:lnSpc>
              <a:spcBef>
                <a:spcPts val="750"/>
              </a:spcBef>
              <a:buClr>
                <a:schemeClr val="accent2"/>
              </a:buClr>
              <a:buSzPct val="110000"/>
              <a:buFont typeface="Arial" panose="020B0604020202020204" pitchFamily="34" charset="0"/>
              <a:buChar char="•"/>
              <a:defRPr lang="en-US" sz="1000" kern="1200" spc="0" baseline="0" dirty="0">
                <a:solidFill>
                  <a:schemeClr val="accent4"/>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800" b="1" dirty="0">
                <a:solidFill>
                  <a:schemeClr val="accent1"/>
                </a:solidFill>
              </a:rPr>
              <a:t>Germany </a:t>
            </a:r>
            <a:r>
              <a:rPr lang="en-US" sz="2800" b="1" dirty="0">
                <a:solidFill>
                  <a:srgbClr val="2B6FAB"/>
                </a:solidFill>
              </a:rPr>
              <a:t>Editable</a:t>
            </a:r>
            <a:r>
              <a:rPr lang="en-US" sz="2800" b="1" dirty="0">
                <a:solidFill>
                  <a:schemeClr val="accent1"/>
                </a:solidFill>
              </a:rPr>
              <a:t> Map</a:t>
            </a:r>
          </a:p>
        </p:txBody>
      </p:sp>
      <p:grpSp>
        <p:nvGrpSpPr>
          <p:cNvPr id="3" name="Group 2">
            <a:extLst>
              <a:ext uri="{FF2B5EF4-FFF2-40B4-BE49-F238E27FC236}">
                <a16:creationId xmlns:a16="http://schemas.microsoft.com/office/drawing/2014/main" id="{417F17A8-2DCA-7BE5-D77A-EC9F3D3230B3}"/>
              </a:ext>
            </a:extLst>
          </p:cNvPr>
          <p:cNvGrpSpPr/>
          <p:nvPr/>
        </p:nvGrpSpPr>
        <p:grpSpPr>
          <a:xfrm>
            <a:off x="667288" y="2111744"/>
            <a:ext cx="3242410" cy="1826659"/>
            <a:chOff x="5363008" y="2111744"/>
            <a:chExt cx="3242410" cy="1826659"/>
          </a:xfrm>
        </p:grpSpPr>
        <p:sp>
          <p:nvSpPr>
            <p:cNvPr id="4" name="Oval 3">
              <a:extLst>
                <a:ext uri="{FF2B5EF4-FFF2-40B4-BE49-F238E27FC236}">
                  <a16:creationId xmlns:a16="http://schemas.microsoft.com/office/drawing/2014/main" id="{8C79E8C4-00A7-A83E-8005-68A52CD5A818}"/>
                </a:ext>
              </a:extLst>
            </p:cNvPr>
            <p:cNvSpPr/>
            <p:nvPr/>
          </p:nvSpPr>
          <p:spPr>
            <a:xfrm>
              <a:off x="5363008" y="2129877"/>
              <a:ext cx="611272" cy="611272"/>
            </a:xfrm>
            <a:prstGeom prst="ellipse">
              <a:avLst/>
            </a:prstGeom>
            <a:solidFill>
              <a:srgbClr val="2B6FA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grpSp>
          <p:nvGrpSpPr>
            <p:cNvPr id="5" name="Group 4">
              <a:extLst>
                <a:ext uri="{FF2B5EF4-FFF2-40B4-BE49-F238E27FC236}">
                  <a16:creationId xmlns:a16="http://schemas.microsoft.com/office/drawing/2014/main" id="{6AB560EB-A1AD-D4BD-72EF-B24E15A09C50}"/>
                </a:ext>
              </a:extLst>
            </p:cNvPr>
            <p:cNvGrpSpPr/>
            <p:nvPr/>
          </p:nvGrpSpPr>
          <p:grpSpPr>
            <a:xfrm>
              <a:off x="6059773" y="2111744"/>
              <a:ext cx="2545645" cy="657077"/>
              <a:chOff x="1739385" y="6662633"/>
              <a:chExt cx="6788387" cy="1752204"/>
            </a:xfrm>
          </p:grpSpPr>
          <p:sp>
            <p:nvSpPr>
              <p:cNvPr id="12" name="Subtitle 2">
                <a:extLst>
                  <a:ext uri="{FF2B5EF4-FFF2-40B4-BE49-F238E27FC236}">
                    <a16:creationId xmlns:a16="http://schemas.microsoft.com/office/drawing/2014/main" id="{8E3506AC-9F55-0D74-2B9A-B7227196C250}"/>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3" name="Rectangle 12">
                <a:extLst>
                  <a:ext uri="{FF2B5EF4-FFF2-40B4-BE49-F238E27FC236}">
                    <a16:creationId xmlns:a16="http://schemas.microsoft.com/office/drawing/2014/main" id="{4F66458D-DF2C-9ADF-CBA5-C61380E1B2CE}"/>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sp>
          <p:nvSpPr>
            <p:cNvPr id="6" name="Oval 5">
              <a:extLst>
                <a:ext uri="{FF2B5EF4-FFF2-40B4-BE49-F238E27FC236}">
                  <a16:creationId xmlns:a16="http://schemas.microsoft.com/office/drawing/2014/main" id="{C0492354-4897-48FA-F04B-B27C6A37DFE7}"/>
                </a:ext>
              </a:extLst>
            </p:cNvPr>
            <p:cNvSpPr/>
            <p:nvPr/>
          </p:nvSpPr>
          <p:spPr>
            <a:xfrm>
              <a:off x="5363008" y="3291171"/>
              <a:ext cx="611272" cy="61127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a:p>
          </p:txBody>
        </p:sp>
        <p:sp>
          <p:nvSpPr>
            <p:cNvPr id="7" name="Shape 2808">
              <a:extLst>
                <a:ext uri="{FF2B5EF4-FFF2-40B4-BE49-F238E27FC236}">
                  <a16:creationId xmlns:a16="http://schemas.microsoft.com/office/drawing/2014/main" id="{71372558-A32E-18A1-4BBF-BD5F703DC055}"/>
                </a:ext>
              </a:extLst>
            </p:cNvPr>
            <p:cNvSpPr/>
            <p:nvPr/>
          </p:nvSpPr>
          <p:spPr>
            <a:xfrm>
              <a:off x="5506546" y="2269207"/>
              <a:ext cx="330923" cy="330923"/>
            </a:xfrm>
            <a:custGeom>
              <a:avLst/>
              <a:gdLst/>
              <a:ahLst/>
              <a:cxnLst>
                <a:cxn ang="0">
                  <a:pos x="wd2" y="hd2"/>
                </a:cxn>
                <a:cxn ang="5400000">
                  <a:pos x="wd2" y="hd2"/>
                </a:cxn>
                <a:cxn ang="10800000">
                  <a:pos x="wd2" y="hd2"/>
                </a:cxn>
                <a:cxn ang="16200000">
                  <a:pos x="wd2" y="hd2"/>
                </a:cxn>
              </a:cxnLst>
              <a:rect l="0" t="0" r="r" b="b"/>
              <a:pathLst>
                <a:path w="21600" h="21600" extrusionOk="0">
                  <a:moveTo>
                    <a:pt x="17075" y="14727"/>
                  </a:moveTo>
                  <a:lnTo>
                    <a:pt x="17294" y="12764"/>
                  </a:lnTo>
                  <a:lnTo>
                    <a:pt x="19843" y="12764"/>
                  </a:lnTo>
                  <a:lnTo>
                    <a:pt x="19406" y="14727"/>
                  </a:lnTo>
                  <a:cubicBezTo>
                    <a:pt x="19406" y="14727"/>
                    <a:pt x="17075" y="14727"/>
                    <a:pt x="17075" y="14727"/>
                  </a:cubicBezTo>
                  <a:close/>
                  <a:moveTo>
                    <a:pt x="18752" y="17673"/>
                  </a:moveTo>
                  <a:lnTo>
                    <a:pt x="16748" y="17673"/>
                  </a:lnTo>
                  <a:lnTo>
                    <a:pt x="16967" y="15709"/>
                  </a:lnTo>
                  <a:lnTo>
                    <a:pt x="19188" y="15709"/>
                  </a:lnTo>
                  <a:cubicBezTo>
                    <a:pt x="19188" y="15709"/>
                    <a:pt x="18752" y="17673"/>
                    <a:pt x="18752" y="17673"/>
                  </a:cubicBezTo>
                  <a:close/>
                  <a:moveTo>
                    <a:pt x="17673" y="20618"/>
                  </a:moveTo>
                  <a:cubicBezTo>
                    <a:pt x="17131" y="20618"/>
                    <a:pt x="16691" y="20179"/>
                    <a:pt x="16691" y="19636"/>
                  </a:cubicBezTo>
                  <a:cubicBezTo>
                    <a:pt x="16691" y="19095"/>
                    <a:pt x="17131" y="18655"/>
                    <a:pt x="17673" y="18655"/>
                  </a:cubicBezTo>
                  <a:cubicBezTo>
                    <a:pt x="18215" y="18655"/>
                    <a:pt x="18655" y="19095"/>
                    <a:pt x="18655" y="19636"/>
                  </a:cubicBezTo>
                  <a:cubicBezTo>
                    <a:pt x="18655" y="20179"/>
                    <a:pt x="18215" y="20618"/>
                    <a:pt x="17673" y="20618"/>
                  </a:cubicBezTo>
                  <a:moveTo>
                    <a:pt x="16415" y="11782"/>
                  </a:moveTo>
                  <a:lnTo>
                    <a:pt x="13745" y="11782"/>
                  </a:lnTo>
                  <a:lnTo>
                    <a:pt x="13745" y="9818"/>
                  </a:lnTo>
                  <a:lnTo>
                    <a:pt x="16633" y="9818"/>
                  </a:lnTo>
                  <a:cubicBezTo>
                    <a:pt x="16633" y="9818"/>
                    <a:pt x="16415" y="11782"/>
                    <a:pt x="16415" y="11782"/>
                  </a:cubicBezTo>
                  <a:close/>
                  <a:moveTo>
                    <a:pt x="16088" y="14727"/>
                  </a:moveTo>
                  <a:lnTo>
                    <a:pt x="13745" y="14727"/>
                  </a:lnTo>
                  <a:lnTo>
                    <a:pt x="13745" y="12764"/>
                  </a:lnTo>
                  <a:lnTo>
                    <a:pt x="16306" y="12764"/>
                  </a:lnTo>
                  <a:cubicBezTo>
                    <a:pt x="16306" y="12764"/>
                    <a:pt x="16088" y="14727"/>
                    <a:pt x="16088" y="14727"/>
                  </a:cubicBezTo>
                  <a:close/>
                  <a:moveTo>
                    <a:pt x="15761" y="17673"/>
                  </a:moveTo>
                  <a:lnTo>
                    <a:pt x="13745" y="17673"/>
                  </a:lnTo>
                  <a:lnTo>
                    <a:pt x="13745" y="15709"/>
                  </a:lnTo>
                  <a:lnTo>
                    <a:pt x="15979" y="15709"/>
                  </a:lnTo>
                  <a:cubicBezTo>
                    <a:pt x="15979" y="15709"/>
                    <a:pt x="15761" y="17673"/>
                    <a:pt x="15761" y="17673"/>
                  </a:cubicBezTo>
                  <a:close/>
                  <a:moveTo>
                    <a:pt x="12764" y="11782"/>
                  </a:moveTo>
                  <a:lnTo>
                    <a:pt x="10094" y="11782"/>
                  </a:lnTo>
                  <a:lnTo>
                    <a:pt x="9876" y="9818"/>
                  </a:lnTo>
                  <a:lnTo>
                    <a:pt x="12764" y="9818"/>
                  </a:lnTo>
                  <a:cubicBezTo>
                    <a:pt x="12764" y="9818"/>
                    <a:pt x="12764" y="11782"/>
                    <a:pt x="12764" y="11782"/>
                  </a:cubicBezTo>
                  <a:close/>
                  <a:moveTo>
                    <a:pt x="12764" y="14727"/>
                  </a:moveTo>
                  <a:lnTo>
                    <a:pt x="10421" y="14727"/>
                  </a:lnTo>
                  <a:lnTo>
                    <a:pt x="10203" y="12764"/>
                  </a:lnTo>
                  <a:lnTo>
                    <a:pt x="12764" y="12764"/>
                  </a:lnTo>
                  <a:cubicBezTo>
                    <a:pt x="12764" y="12764"/>
                    <a:pt x="12764" y="14727"/>
                    <a:pt x="12764" y="14727"/>
                  </a:cubicBezTo>
                  <a:close/>
                  <a:moveTo>
                    <a:pt x="12764" y="17673"/>
                  </a:moveTo>
                  <a:lnTo>
                    <a:pt x="10748" y="17673"/>
                  </a:lnTo>
                  <a:lnTo>
                    <a:pt x="10531" y="15709"/>
                  </a:lnTo>
                  <a:lnTo>
                    <a:pt x="12764" y="15709"/>
                  </a:lnTo>
                  <a:cubicBezTo>
                    <a:pt x="12764" y="15709"/>
                    <a:pt x="12764" y="17673"/>
                    <a:pt x="12764" y="17673"/>
                  </a:cubicBezTo>
                  <a:close/>
                  <a:moveTo>
                    <a:pt x="8836" y="20618"/>
                  </a:moveTo>
                  <a:cubicBezTo>
                    <a:pt x="8294" y="20618"/>
                    <a:pt x="7855" y="20179"/>
                    <a:pt x="7855" y="19636"/>
                  </a:cubicBezTo>
                  <a:cubicBezTo>
                    <a:pt x="7855" y="19095"/>
                    <a:pt x="8294" y="18655"/>
                    <a:pt x="8836" y="18655"/>
                  </a:cubicBezTo>
                  <a:cubicBezTo>
                    <a:pt x="9379" y="18655"/>
                    <a:pt x="9818" y="19095"/>
                    <a:pt x="9818" y="19636"/>
                  </a:cubicBezTo>
                  <a:cubicBezTo>
                    <a:pt x="9818" y="20179"/>
                    <a:pt x="9379" y="20618"/>
                    <a:pt x="8836" y="20618"/>
                  </a:cubicBezTo>
                  <a:moveTo>
                    <a:pt x="7213" y="15709"/>
                  </a:moveTo>
                  <a:lnTo>
                    <a:pt x="9543" y="15709"/>
                  </a:lnTo>
                  <a:lnTo>
                    <a:pt x="9761" y="17673"/>
                  </a:lnTo>
                  <a:lnTo>
                    <a:pt x="7740" y="17673"/>
                  </a:lnTo>
                  <a:cubicBezTo>
                    <a:pt x="7740" y="17673"/>
                    <a:pt x="7213" y="15709"/>
                    <a:pt x="7213" y="15709"/>
                  </a:cubicBezTo>
                  <a:close/>
                  <a:moveTo>
                    <a:pt x="6950" y="14727"/>
                  </a:moveTo>
                  <a:lnTo>
                    <a:pt x="6423" y="12764"/>
                  </a:lnTo>
                  <a:lnTo>
                    <a:pt x="9215" y="12764"/>
                  </a:lnTo>
                  <a:lnTo>
                    <a:pt x="9434" y="14727"/>
                  </a:lnTo>
                  <a:cubicBezTo>
                    <a:pt x="9434" y="14727"/>
                    <a:pt x="6950" y="14727"/>
                    <a:pt x="6950" y="14727"/>
                  </a:cubicBezTo>
                  <a:close/>
                  <a:moveTo>
                    <a:pt x="5633" y="9818"/>
                  </a:moveTo>
                  <a:lnTo>
                    <a:pt x="8888" y="9818"/>
                  </a:lnTo>
                  <a:lnTo>
                    <a:pt x="9106" y="11782"/>
                  </a:lnTo>
                  <a:lnTo>
                    <a:pt x="6160" y="11782"/>
                  </a:lnTo>
                  <a:cubicBezTo>
                    <a:pt x="6160" y="11782"/>
                    <a:pt x="5633" y="9818"/>
                    <a:pt x="5633" y="9818"/>
                  </a:cubicBezTo>
                  <a:close/>
                  <a:moveTo>
                    <a:pt x="17621" y="9818"/>
                  </a:moveTo>
                  <a:lnTo>
                    <a:pt x="20497" y="9818"/>
                  </a:lnTo>
                  <a:lnTo>
                    <a:pt x="20061" y="11782"/>
                  </a:lnTo>
                  <a:lnTo>
                    <a:pt x="17403" y="11782"/>
                  </a:lnTo>
                  <a:cubicBezTo>
                    <a:pt x="17403" y="11782"/>
                    <a:pt x="17621" y="9818"/>
                    <a:pt x="17621" y="9818"/>
                  </a:cubicBezTo>
                  <a:close/>
                  <a:moveTo>
                    <a:pt x="19619" y="18282"/>
                  </a:moveTo>
                  <a:lnTo>
                    <a:pt x="19622" y="18283"/>
                  </a:lnTo>
                  <a:lnTo>
                    <a:pt x="21586" y="9447"/>
                  </a:lnTo>
                  <a:lnTo>
                    <a:pt x="21577" y="9444"/>
                  </a:lnTo>
                  <a:cubicBezTo>
                    <a:pt x="21586" y="9406"/>
                    <a:pt x="21600" y="9369"/>
                    <a:pt x="21600" y="9327"/>
                  </a:cubicBezTo>
                  <a:cubicBezTo>
                    <a:pt x="21600" y="9056"/>
                    <a:pt x="21380" y="8836"/>
                    <a:pt x="21109" y="8836"/>
                  </a:cubicBezTo>
                  <a:lnTo>
                    <a:pt x="5370" y="8836"/>
                  </a:lnTo>
                  <a:lnTo>
                    <a:pt x="4674" y="6241"/>
                  </a:lnTo>
                  <a:lnTo>
                    <a:pt x="4667" y="6243"/>
                  </a:lnTo>
                  <a:cubicBezTo>
                    <a:pt x="4606" y="6041"/>
                    <a:pt x="4425" y="5891"/>
                    <a:pt x="4203" y="5891"/>
                  </a:cubicBezTo>
                  <a:lnTo>
                    <a:pt x="491" y="5891"/>
                  </a:lnTo>
                  <a:cubicBezTo>
                    <a:pt x="220" y="5891"/>
                    <a:pt x="0" y="6110"/>
                    <a:pt x="0" y="6382"/>
                  </a:cubicBezTo>
                  <a:cubicBezTo>
                    <a:pt x="0" y="6653"/>
                    <a:pt x="220" y="6873"/>
                    <a:pt x="491" y="6873"/>
                  </a:cubicBezTo>
                  <a:lnTo>
                    <a:pt x="3827" y="6873"/>
                  </a:lnTo>
                  <a:lnTo>
                    <a:pt x="6893" y="18305"/>
                  </a:lnTo>
                  <a:lnTo>
                    <a:pt x="6894" y="18305"/>
                  </a:lnTo>
                  <a:cubicBezTo>
                    <a:pt x="6936" y="18443"/>
                    <a:pt x="7037" y="18555"/>
                    <a:pt x="7168" y="18613"/>
                  </a:cubicBezTo>
                  <a:cubicBezTo>
                    <a:pt x="6984" y="18912"/>
                    <a:pt x="6873" y="19260"/>
                    <a:pt x="6873" y="19636"/>
                  </a:cubicBezTo>
                  <a:cubicBezTo>
                    <a:pt x="6873" y="20721"/>
                    <a:pt x="7752" y="21600"/>
                    <a:pt x="8836" y="21600"/>
                  </a:cubicBezTo>
                  <a:cubicBezTo>
                    <a:pt x="9921" y="21600"/>
                    <a:pt x="10800" y="20721"/>
                    <a:pt x="10800" y="19636"/>
                  </a:cubicBezTo>
                  <a:cubicBezTo>
                    <a:pt x="10800" y="19277"/>
                    <a:pt x="10696" y="18945"/>
                    <a:pt x="10528" y="18655"/>
                  </a:cubicBezTo>
                  <a:lnTo>
                    <a:pt x="15981" y="18655"/>
                  </a:lnTo>
                  <a:cubicBezTo>
                    <a:pt x="15813" y="18945"/>
                    <a:pt x="15709" y="19277"/>
                    <a:pt x="15709" y="19636"/>
                  </a:cubicBezTo>
                  <a:cubicBezTo>
                    <a:pt x="15709" y="20721"/>
                    <a:pt x="16588" y="21600"/>
                    <a:pt x="17673" y="21600"/>
                  </a:cubicBezTo>
                  <a:cubicBezTo>
                    <a:pt x="18757" y="21600"/>
                    <a:pt x="19636" y="20721"/>
                    <a:pt x="19636" y="19636"/>
                  </a:cubicBezTo>
                  <a:cubicBezTo>
                    <a:pt x="19636" y="19260"/>
                    <a:pt x="19525" y="18912"/>
                    <a:pt x="19341" y="18613"/>
                  </a:cubicBezTo>
                  <a:cubicBezTo>
                    <a:pt x="19479" y="18552"/>
                    <a:pt x="19581" y="18430"/>
                    <a:pt x="19619" y="18282"/>
                  </a:cubicBezTo>
                  <a:moveTo>
                    <a:pt x="12907" y="7711"/>
                  </a:moveTo>
                  <a:cubicBezTo>
                    <a:pt x="12996" y="7800"/>
                    <a:pt x="13119" y="7855"/>
                    <a:pt x="13255" y="7855"/>
                  </a:cubicBezTo>
                  <a:cubicBezTo>
                    <a:pt x="13390" y="7855"/>
                    <a:pt x="13513" y="7800"/>
                    <a:pt x="13602" y="7711"/>
                  </a:cubicBezTo>
                  <a:lnTo>
                    <a:pt x="15565" y="5747"/>
                  </a:lnTo>
                  <a:cubicBezTo>
                    <a:pt x="15654" y="5658"/>
                    <a:pt x="15709" y="5536"/>
                    <a:pt x="15709" y="5400"/>
                  </a:cubicBezTo>
                  <a:cubicBezTo>
                    <a:pt x="15709" y="5129"/>
                    <a:pt x="15490" y="4910"/>
                    <a:pt x="15218" y="4910"/>
                  </a:cubicBezTo>
                  <a:cubicBezTo>
                    <a:pt x="15083" y="4910"/>
                    <a:pt x="14960" y="4964"/>
                    <a:pt x="14871" y="5053"/>
                  </a:cubicBezTo>
                  <a:lnTo>
                    <a:pt x="13745" y="6179"/>
                  </a:lnTo>
                  <a:lnTo>
                    <a:pt x="13745" y="491"/>
                  </a:lnTo>
                  <a:lnTo>
                    <a:pt x="13745" y="491"/>
                  </a:lnTo>
                  <a:cubicBezTo>
                    <a:pt x="13745" y="220"/>
                    <a:pt x="13526" y="0"/>
                    <a:pt x="13255" y="0"/>
                  </a:cubicBezTo>
                  <a:cubicBezTo>
                    <a:pt x="12983" y="0"/>
                    <a:pt x="12764" y="220"/>
                    <a:pt x="12764" y="491"/>
                  </a:cubicBezTo>
                  <a:lnTo>
                    <a:pt x="12764" y="6179"/>
                  </a:lnTo>
                  <a:lnTo>
                    <a:pt x="11638" y="5053"/>
                  </a:lnTo>
                  <a:cubicBezTo>
                    <a:pt x="11549" y="4964"/>
                    <a:pt x="11427" y="4910"/>
                    <a:pt x="11291" y="4910"/>
                  </a:cubicBezTo>
                  <a:cubicBezTo>
                    <a:pt x="11020" y="4910"/>
                    <a:pt x="10800" y="5129"/>
                    <a:pt x="10800" y="5400"/>
                  </a:cubicBezTo>
                  <a:cubicBezTo>
                    <a:pt x="10800" y="5536"/>
                    <a:pt x="10855" y="5658"/>
                    <a:pt x="10944" y="5747"/>
                  </a:cubicBezTo>
                  <a:cubicBezTo>
                    <a:pt x="10944" y="5747"/>
                    <a:pt x="12907" y="7711"/>
                    <a:pt x="12907" y="7711"/>
                  </a:cubicBezTo>
                  <a:close/>
                </a:path>
              </a:pathLst>
            </a:custGeom>
            <a:solidFill>
              <a:schemeClr val="bg1"/>
            </a:solidFill>
            <a:ln w="12700">
              <a:miter lim="400000"/>
            </a:ln>
          </p:spPr>
          <p:txBody>
            <a:bodyPr lIns="14284" tIns="14284" rIns="14284" bIns="14284" anchor="ctr"/>
            <a:lstStyle/>
            <a:p>
              <a:pPr defTabSz="171405">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solidFill>
                  <a:schemeClr val="tx2"/>
                </a:solidFill>
              </a:endParaRPr>
            </a:p>
          </p:txBody>
        </p:sp>
        <p:sp>
          <p:nvSpPr>
            <p:cNvPr id="8" name="Shape 2944">
              <a:extLst>
                <a:ext uri="{FF2B5EF4-FFF2-40B4-BE49-F238E27FC236}">
                  <a16:creationId xmlns:a16="http://schemas.microsoft.com/office/drawing/2014/main" id="{14148248-D99D-06F4-26A3-E5A5CF3BA3C0}"/>
                </a:ext>
              </a:extLst>
            </p:cNvPr>
            <p:cNvSpPr/>
            <p:nvPr/>
          </p:nvSpPr>
          <p:spPr>
            <a:xfrm>
              <a:off x="5503183" y="3431345"/>
              <a:ext cx="330923" cy="33092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14284" tIns="14284" rIns="14284" bIns="14284" anchor="ctr"/>
            <a:lstStyle/>
            <a:p>
              <a:pPr algn="ctr" defTabSz="171399">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125">
                <a:latin typeface="Montserrat" pitchFamily="2" charset="77"/>
              </a:endParaRPr>
            </a:p>
          </p:txBody>
        </p:sp>
        <p:grpSp>
          <p:nvGrpSpPr>
            <p:cNvPr id="9" name="Group 8">
              <a:extLst>
                <a:ext uri="{FF2B5EF4-FFF2-40B4-BE49-F238E27FC236}">
                  <a16:creationId xmlns:a16="http://schemas.microsoft.com/office/drawing/2014/main" id="{074A3EA6-1D6C-5AC1-69F5-C578AE3FB82D}"/>
                </a:ext>
              </a:extLst>
            </p:cNvPr>
            <p:cNvGrpSpPr/>
            <p:nvPr/>
          </p:nvGrpSpPr>
          <p:grpSpPr>
            <a:xfrm>
              <a:off x="6059773" y="3281326"/>
              <a:ext cx="2545645" cy="657077"/>
              <a:chOff x="1739385" y="6662633"/>
              <a:chExt cx="6788387" cy="1752204"/>
            </a:xfrm>
          </p:grpSpPr>
          <p:sp>
            <p:nvSpPr>
              <p:cNvPr id="10" name="Subtitle 2">
                <a:extLst>
                  <a:ext uri="{FF2B5EF4-FFF2-40B4-BE49-F238E27FC236}">
                    <a16:creationId xmlns:a16="http://schemas.microsoft.com/office/drawing/2014/main" id="{892AAADA-6F6A-3580-DC7E-BE43FF67071D}"/>
                  </a:ext>
                </a:extLst>
              </p:cNvPr>
              <p:cNvSpPr txBox="1">
                <a:spLocks/>
              </p:cNvSpPr>
              <p:nvPr/>
            </p:nvSpPr>
            <p:spPr>
              <a:xfrm>
                <a:off x="1739385" y="7156022"/>
                <a:ext cx="6788387" cy="1258815"/>
              </a:xfrm>
              <a:prstGeom prst="rect">
                <a:avLst/>
              </a:prstGeom>
            </p:spPr>
            <p:txBody>
              <a:bodyPr vert="horz" wrap="square" lIns="81537" tIns="40769" rIns="81537" bIns="4076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612"/>
                  </a:lnSpc>
                </a:pP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Lorem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ispum</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ola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site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amet</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consecturer</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a:t>
                </a:r>
                <a:r>
                  <a:rPr lang="en-US" sz="1050" dirty="0" err="1">
                    <a:solidFill>
                      <a:schemeClr val="tx1"/>
                    </a:solidFill>
                    <a:latin typeface="Arial" panose="020B0604020202020204" pitchFamily="34" charset="0"/>
                    <a:ea typeface="Roboto Light" panose="02000000000000000000" pitchFamily="2" charset="0"/>
                    <a:cs typeface="Arial" panose="020B0604020202020204" pitchFamily="34" charset="0"/>
                  </a:rPr>
                  <a:t>dinso</a:t>
                </a:r>
                <a:r>
                  <a:rPr lang="en-US" sz="1050" dirty="0">
                    <a:solidFill>
                      <a:schemeClr val="tx1"/>
                    </a:solidFill>
                    <a:latin typeface="Arial" panose="020B0604020202020204" pitchFamily="34" charset="0"/>
                    <a:ea typeface="Roboto Light" panose="02000000000000000000" pitchFamily="2" charset="0"/>
                    <a:cs typeface="Arial" panose="020B0604020202020204" pitchFamily="34" charset="0"/>
                  </a:rPr>
                  <a:t> hem lich.</a:t>
                </a:r>
              </a:p>
            </p:txBody>
          </p:sp>
          <p:sp>
            <p:nvSpPr>
              <p:cNvPr id="11" name="Rectangle 10">
                <a:extLst>
                  <a:ext uri="{FF2B5EF4-FFF2-40B4-BE49-F238E27FC236}">
                    <a16:creationId xmlns:a16="http://schemas.microsoft.com/office/drawing/2014/main" id="{45986922-EE4D-FD63-8ED2-937B32907220}"/>
                  </a:ext>
                </a:extLst>
              </p:cNvPr>
              <p:cNvSpPr/>
              <p:nvPr/>
            </p:nvSpPr>
            <p:spPr>
              <a:xfrm>
                <a:off x="1868998" y="6662633"/>
                <a:ext cx="5182683" cy="523221"/>
              </a:xfrm>
              <a:prstGeom prst="rect">
                <a:avLst/>
              </a:prstGeom>
            </p:spPr>
            <p:txBody>
              <a:bodyPr wrap="square">
                <a:spAutoFit/>
              </a:bodyPr>
              <a:lstStyle/>
              <a:p>
                <a:r>
                  <a:rPr lang="en-US" sz="675" dirty="0">
                    <a:solidFill>
                      <a:schemeClr val="tx2"/>
                    </a:solidFill>
                    <a:latin typeface="Arial" panose="020B0604020202020204" pitchFamily="34" charset="0"/>
                    <a:ea typeface="Roboto" panose="02000000000000000000" pitchFamily="2" charset="0"/>
                    <a:cs typeface="Arial" panose="020B0604020202020204" pitchFamily="34" charset="0"/>
                  </a:rPr>
                  <a:t>Subhead</a:t>
                </a:r>
              </a:p>
            </p:txBody>
          </p:sp>
        </p:grpSp>
      </p:grpSp>
    </p:spTree>
    <p:extLst>
      <p:ext uri="{BB962C8B-B14F-4D97-AF65-F5344CB8AC3E}">
        <p14:creationId xmlns:p14="http://schemas.microsoft.com/office/powerpoint/2010/main" val="4252532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p:cNvSpPr>
            <a:spLocks noGrp="1"/>
          </p:cNvSpPr>
          <p:nvPr>
            <p:ph type="title"/>
          </p:nvPr>
        </p:nvSpPr>
        <p:spPr>
          <a:xfrm>
            <a:off x="327515" y="403316"/>
            <a:ext cx="3225038" cy="2312253"/>
          </a:xfrm>
        </p:spPr>
        <p:txBody>
          <a:bodyPr/>
          <a:lstStyle/>
          <a:p>
            <a:r>
              <a:rPr lang="en-US" spc="0" dirty="0">
                <a:solidFill>
                  <a:schemeClr val="accent1"/>
                </a:solidFill>
              </a:rPr>
              <a:t>Today’s </a:t>
            </a:r>
            <a:br>
              <a:rPr lang="en-US" spc="0" dirty="0">
                <a:solidFill>
                  <a:schemeClr val="accent1"/>
                </a:solidFill>
              </a:rPr>
            </a:br>
            <a:r>
              <a:rPr lang="en-US" spc="0" dirty="0">
                <a:solidFill>
                  <a:schemeClr val="accent1"/>
                </a:solidFill>
              </a:rPr>
              <a:t>Agenda</a:t>
            </a:r>
          </a:p>
        </p:txBody>
      </p:sp>
      <p:sp>
        <p:nvSpPr>
          <p:cNvPr id="12" name="Text Placeholder 11"/>
          <p:cNvSpPr>
            <a:spLocks noGrp="1"/>
          </p:cNvSpPr>
          <p:nvPr>
            <p:ph type="body" sz="quarter" idx="13"/>
          </p:nvPr>
        </p:nvSpPr>
        <p:spPr>
          <a:xfrm>
            <a:off x="4586747" y="518433"/>
            <a:ext cx="3493627" cy="2506435"/>
          </a:xfrm>
        </p:spPr>
        <p:txBody>
          <a:bodyPr/>
          <a:lstStyle/>
          <a:p>
            <a:pPr marL="285750" indent="-285750">
              <a:buClr>
                <a:schemeClr val="accent1"/>
              </a:buClr>
              <a:buFont typeface="Arial" panose="020B0604020202020204" pitchFamily="34" charset="0"/>
              <a:buChar char="•"/>
            </a:pPr>
            <a:r>
              <a:rPr lang="en-US" dirty="0"/>
              <a:t>First agenda point</a:t>
            </a:r>
          </a:p>
          <a:p>
            <a:pPr marL="285750" indent="-285750">
              <a:buClr>
                <a:schemeClr val="accent1"/>
              </a:buClr>
              <a:buFont typeface="Arial" panose="020B0604020202020204" pitchFamily="34" charset="0"/>
              <a:buChar char="•"/>
            </a:pPr>
            <a:r>
              <a:rPr lang="en-US" dirty="0"/>
              <a:t>Click enter to go to the next bullet</a:t>
            </a:r>
          </a:p>
          <a:p>
            <a:pPr marL="285750" indent="-285750">
              <a:buClr>
                <a:schemeClr val="accent1"/>
              </a:buClr>
              <a:buFont typeface="Arial" panose="020B0604020202020204" pitchFamily="34" charset="0"/>
              <a:buChar char="•"/>
            </a:pPr>
            <a:r>
              <a:rPr lang="en-US" dirty="0"/>
              <a:t>Here’s another bullet</a:t>
            </a:r>
          </a:p>
          <a:p>
            <a:pPr marL="285750" indent="-285750">
              <a:buClr>
                <a:schemeClr val="accent1"/>
              </a:buClr>
              <a:buFont typeface="Arial" panose="020B0604020202020204" pitchFamily="34" charset="0"/>
              <a:buChar char="•"/>
            </a:pPr>
            <a:r>
              <a:rPr lang="en-US" dirty="0"/>
              <a:t>This is a great list</a:t>
            </a:r>
          </a:p>
          <a:p>
            <a:pPr marL="285750" indent="-285750">
              <a:buClr>
                <a:schemeClr val="accent1"/>
              </a:buClr>
              <a:buFont typeface="Arial" panose="020B0604020202020204" pitchFamily="34" charset="0"/>
              <a:buChar char="•"/>
            </a:pPr>
            <a:r>
              <a:rPr lang="en-US" dirty="0"/>
              <a:t>Keep adding bullets</a:t>
            </a:r>
          </a:p>
          <a:p>
            <a:pPr marL="285750" indent="-285750">
              <a:buClr>
                <a:schemeClr val="accent1"/>
              </a:buClr>
              <a:buFont typeface="Arial" panose="020B0604020202020204" pitchFamily="34" charset="0"/>
              <a:buChar char="•"/>
            </a:pPr>
            <a:r>
              <a:rPr lang="en-US" dirty="0"/>
              <a:t>Just keep going</a:t>
            </a:r>
          </a:p>
          <a:p>
            <a:pPr marL="285750" indent="-285750">
              <a:buClr>
                <a:schemeClr val="accent1"/>
              </a:buClr>
              <a:buFont typeface="Arial" panose="020B0604020202020204" pitchFamily="34" charset="0"/>
              <a:buChar char="•"/>
            </a:pPr>
            <a:r>
              <a:rPr lang="en-US" dirty="0"/>
              <a:t>As many as you want</a:t>
            </a:r>
          </a:p>
        </p:txBody>
      </p:sp>
    </p:spTree>
    <p:extLst>
      <p:ext uri="{BB962C8B-B14F-4D97-AF65-F5344CB8AC3E}">
        <p14:creationId xmlns:p14="http://schemas.microsoft.com/office/powerpoint/2010/main" val="2642957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0" y="-104775"/>
            <a:ext cx="640080" cy="5248275"/>
          </a:xfrm>
          <a:prstGeom prst="rect">
            <a:avLst/>
          </a:prstGeom>
          <a:solidFill>
            <a:schemeClr val="bg2">
              <a:lumMod val="50000"/>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chorCtr="0"/>
          <a:lstStyle/>
          <a:p>
            <a:pPr algn="ctr"/>
            <a:endParaRPr lang="en-US" dirty="0" err="1">
              <a:gradFill>
                <a:gsLst>
                  <a:gs pos="0">
                    <a:schemeClr val="bg1"/>
                  </a:gs>
                  <a:gs pos="98000">
                    <a:schemeClr val="bg1"/>
                  </a:gs>
                </a:gsLst>
                <a:lin ang="5400000" scaled="0"/>
              </a:gradFill>
              <a:ea typeface="Segoe UI Black" panose="020B0A02040204020203" pitchFamily="34" charset="0"/>
              <a:cs typeface="Segoe UI Black" panose="020B0A02040204020203" pitchFamily="34" charset="0"/>
            </a:endParaRPr>
          </a:p>
        </p:txBody>
      </p:sp>
      <p:cxnSp>
        <p:nvCxnSpPr>
          <p:cNvPr id="3" name="Straight Connector 2"/>
          <p:cNvCxnSpPr/>
          <p:nvPr/>
        </p:nvCxnSpPr>
        <p:spPr>
          <a:xfrm>
            <a:off x="4569229" y="569881"/>
            <a:ext cx="0" cy="2073307"/>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a:xfrm>
            <a:off x="466851" y="438150"/>
            <a:ext cx="3652300" cy="2312253"/>
          </a:xfrm>
        </p:spPr>
        <p:txBody>
          <a:bodyPr/>
          <a:lstStyle/>
          <a:p>
            <a:r>
              <a:rPr lang="en-US" spc="0" dirty="0"/>
              <a:t>Summarize your agenda. Keep it focused.</a:t>
            </a:r>
          </a:p>
        </p:txBody>
      </p:sp>
      <p:sp>
        <p:nvSpPr>
          <p:cNvPr id="33" name="Text Placeholder 32"/>
          <p:cNvSpPr>
            <a:spLocks noGrp="1"/>
          </p:cNvSpPr>
          <p:nvPr>
            <p:ph type="body" sz="quarter" idx="10"/>
          </p:nvPr>
        </p:nvSpPr>
        <p:spPr>
          <a:xfrm>
            <a:off x="4849148" y="518433"/>
            <a:ext cx="2698965" cy="2381521"/>
          </a:xfrm>
        </p:spPr>
        <p:txBody>
          <a:bodyPr/>
          <a:lstStyle/>
          <a:p>
            <a:r>
              <a:rPr lang="en-US" dirty="0"/>
              <a:t>Not all agendas are bullet lists. Sometimes a couple short paragraphs do the trick.</a:t>
            </a:r>
          </a:p>
          <a:p>
            <a:r>
              <a:rPr lang="en-US" dirty="0"/>
              <a:t>You might summarize your main goal for the meeting. </a:t>
            </a:r>
          </a:p>
          <a:p>
            <a:r>
              <a:rPr lang="en-US" dirty="0"/>
              <a:t>There’s also an orange line for a pop of color. Drag it to the end of your text like so.</a:t>
            </a:r>
            <a:endParaRPr lang="en-GB" dirty="0"/>
          </a:p>
        </p:txBody>
      </p:sp>
    </p:spTree>
    <p:extLst>
      <p:ext uri="{BB962C8B-B14F-4D97-AF65-F5344CB8AC3E}">
        <p14:creationId xmlns:p14="http://schemas.microsoft.com/office/powerpoint/2010/main" val="12380369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66851" y="1938770"/>
            <a:ext cx="7004213" cy="1265959"/>
          </a:xfrm>
        </p:spPr>
        <p:txBody>
          <a:bodyPr/>
          <a:lstStyle/>
          <a:p>
            <a:r>
              <a:rPr lang="en-US" spc="0" dirty="0">
                <a:solidFill>
                  <a:schemeClr val="accent1"/>
                </a:solidFill>
              </a:rPr>
              <a:t>Agenda slide that doubles as a divider slide</a:t>
            </a:r>
            <a:endParaRPr lang="en-GB" spc="0" dirty="0">
              <a:solidFill>
                <a:schemeClr val="accent1"/>
              </a:solidFill>
            </a:endParaRPr>
          </a:p>
        </p:txBody>
      </p:sp>
      <p:sp>
        <p:nvSpPr>
          <p:cNvPr id="5" name="Text Placeholder 4"/>
          <p:cNvSpPr>
            <a:spLocks noGrp="1"/>
          </p:cNvSpPr>
          <p:nvPr>
            <p:ph type="body" sz="quarter" idx="10"/>
          </p:nvPr>
        </p:nvSpPr>
        <p:spPr/>
        <p:txBody>
          <a:bodyPr/>
          <a:lstStyle/>
          <a:p>
            <a:pPr>
              <a:buClr>
                <a:schemeClr val="tx2"/>
              </a:buClr>
            </a:pPr>
            <a:r>
              <a:rPr lang="en-US" dirty="0">
                <a:solidFill>
                  <a:schemeClr val="tx1"/>
                </a:solidFill>
              </a:rPr>
              <a:t>Agenda item</a:t>
            </a:r>
          </a:p>
          <a:p>
            <a:pPr>
              <a:buClr>
                <a:schemeClr val="tx2"/>
              </a:buClr>
            </a:pPr>
            <a:r>
              <a:rPr lang="en-US" dirty="0">
                <a:solidFill>
                  <a:schemeClr val="tx1"/>
                </a:solidFill>
              </a:rPr>
              <a:t>This is the second item</a:t>
            </a:r>
          </a:p>
          <a:p>
            <a:pPr>
              <a:buClr>
                <a:schemeClr val="tx2"/>
              </a:buClr>
            </a:pPr>
            <a:r>
              <a:rPr lang="en-US" dirty="0">
                <a:solidFill>
                  <a:schemeClr val="tx1"/>
                </a:solidFill>
              </a:rPr>
              <a:t>Check layout dropdown for other colors</a:t>
            </a:r>
            <a:endParaRPr lang="en-GB" dirty="0">
              <a:solidFill>
                <a:schemeClr val="tx1"/>
              </a:solidFill>
            </a:endParaRPr>
          </a:p>
        </p:txBody>
      </p:sp>
    </p:spTree>
    <p:extLst>
      <p:ext uri="{BB962C8B-B14F-4D97-AF65-F5344CB8AC3E}">
        <p14:creationId xmlns:p14="http://schemas.microsoft.com/office/powerpoint/2010/main" val="11046524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heme/theme1.xml><?xml version="1.0" encoding="utf-8"?>
<a:theme xmlns:a="http://schemas.openxmlformats.org/drawingml/2006/main" name="INCOSE Template 2022">
  <a:themeElements>
    <a:clrScheme name="INCOSE 3">
      <a:dk1>
        <a:srgbClr val="000000"/>
      </a:dk1>
      <a:lt1>
        <a:srgbClr val="FFFFFF"/>
      </a:lt1>
      <a:dk2>
        <a:srgbClr val="44546A"/>
      </a:dk2>
      <a:lt2>
        <a:srgbClr val="E7E6E6"/>
      </a:lt2>
      <a:accent1>
        <a:srgbClr val="2B6FAB"/>
      </a:accent1>
      <a:accent2>
        <a:srgbClr val="EE5B20"/>
      </a:accent2>
      <a:accent3>
        <a:srgbClr val="A5A5A5"/>
      </a:accent3>
      <a:accent4>
        <a:srgbClr val="FFC90E"/>
      </a:accent4>
      <a:accent5>
        <a:srgbClr val="61A1D7"/>
      </a:accent5>
      <a:accent6>
        <a:srgbClr val="417F65"/>
      </a:accent6>
      <a:hlink>
        <a:srgbClr val="2B6FAB"/>
      </a:hlink>
      <a:folHlink>
        <a:srgbClr val="EE5B2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91440" tIns="91440" rIns="91440" bIns="91440" rtlCol="0" anchor="ctr" anchorCtr="0"/>
      <a:lstStyle>
        <a:defPPr algn="ctr">
          <a:defRPr sz="1400" dirty="0" smtClean="0">
            <a:solidFill>
              <a:schemeClr val="bg1"/>
            </a:solidFill>
            <a:ea typeface="Segoe UI Black" panose="020B0A02040204020203" pitchFamily="34" charset="0"/>
            <a:cs typeface="Segoe UI Black" panose="020B0A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spcBef>
            <a:spcPts val="750"/>
          </a:spcBef>
          <a:buClr>
            <a:schemeClr val="accent2"/>
          </a:buClr>
          <a:buSzPct val="100000"/>
          <a:defRPr sz="1400" dirty="0" err="1" smtClean="0">
            <a:solidFill>
              <a:schemeClr val="accent4"/>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TALENT" id="{42DDE431-62AA-4CFE-9B81-CB19337157E0}" vid="{4B43CFC9-863A-4E99-B289-EA56B68882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51e6ca0b-c4b6-442a-8136-0810ddef1ea5" xsi:nil="true"/>
    <lcf76f155ced4ddcb4097134ff3c332f xmlns="c326c758-1c37-4ea1-8e3f-2b47b57f4e8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3331E02EE2E30438AB3DBB24381C83E" ma:contentTypeVersion="12" ma:contentTypeDescription="Create a new document." ma:contentTypeScope="" ma:versionID="5e0865879534a2f709c279e237e298af">
  <xsd:schema xmlns:xsd="http://www.w3.org/2001/XMLSchema" xmlns:xs="http://www.w3.org/2001/XMLSchema" xmlns:p="http://schemas.microsoft.com/office/2006/metadata/properties" xmlns:ns2="c326c758-1c37-4ea1-8e3f-2b47b57f4e88" xmlns:ns3="51e6ca0b-c4b6-442a-8136-0810ddef1ea5" targetNamespace="http://schemas.microsoft.com/office/2006/metadata/properties" ma:root="true" ma:fieldsID="b1fef6eb457f3d5e3cda38b9de086999" ns2:_="" ns3:_="">
    <xsd:import namespace="c326c758-1c37-4ea1-8e3f-2b47b57f4e88"/>
    <xsd:import namespace="51e6ca0b-c4b6-442a-8136-0810ddef1ea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26c758-1c37-4ea1-8e3f-2b47b57f4e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a05bfa5e-0804-4ef2-ba09-c663ae3aebb6"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e6ca0b-c4b6-442a-8136-0810ddef1ea5"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d782e5b1-03da-4738-90c0-987e16353cec}" ma:internalName="TaxCatchAll" ma:showField="CatchAllData" ma:web="51e6ca0b-c4b6-442a-8136-0810ddef1ea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974DEA9-D70C-4D76-8253-0021E052568A}">
  <ds:schemaRefs>
    <ds:schemaRef ds:uri="http://schemas.microsoft.com/sharepoint/v3/contenttype/forms"/>
  </ds:schemaRefs>
</ds:datastoreItem>
</file>

<file path=customXml/itemProps2.xml><?xml version="1.0" encoding="utf-8"?>
<ds:datastoreItem xmlns:ds="http://schemas.openxmlformats.org/officeDocument/2006/customXml" ds:itemID="{2651A2D2-DAB1-42F6-BF0C-260AF2394DD4}">
  <ds:schemaRefs>
    <ds:schemaRef ds:uri="http://purl.org/dc/terms/"/>
    <ds:schemaRef ds:uri="d5af53bb-e110-43cf-8049-d487564dbc2b"/>
    <ds:schemaRef ds:uri="aaaccabe-6d42-4209-98f1-04bcf6d6713d"/>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F5A00194-983C-4EB2-BFFA-25292B171AFE}"/>
</file>

<file path=docProps/app.xml><?xml version="1.0" encoding="utf-8"?>
<Properties xmlns="http://schemas.openxmlformats.org/officeDocument/2006/extended-properties" xmlns:vt="http://schemas.openxmlformats.org/officeDocument/2006/docPropsVTypes">
  <Template/>
  <TotalTime>0</TotalTime>
  <Words>3058</Words>
  <Application>Microsoft Office PowerPoint</Application>
  <PresentationFormat>On-screen Show (16:9)</PresentationFormat>
  <Paragraphs>573</Paragraphs>
  <Slides>65</Slides>
  <Notes>18</Notes>
  <HiddenSlides>0</HiddenSlides>
  <MMClips>0</MMClips>
  <ScaleCrop>false</ScaleCrop>
  <HeadingPairs>
    <vt:vector size="4" baseType="variant">
      <vt:variant>
        <vt:lpstr>Theme</vt:lpstr>
      </vt:variant>
      <vt:variant>
        <vt:i4>1</vt:i4>
      </vt:variant>
      <vt:variant>
        <vt:lpstr>Slide Titles</vt:lpstr>
      </vt:variant>
      <vt:variant>
        <vt:i4>65</vt:i4>
      </vt:variant>
    </vt:vector>
  </HeadingPairs>
  <TitlesOfParts>
    <vt:vector size="66" baseType="lpstr">
      <vt:lpstr>INCOSE Template 2022</vt:lpstr>
      <vt:lpstr>INCOSE PPT Template and Toolkit</vt:lpstr>
      <vt:lpstr>Welcome to the toolkit</vt:lpstr>
      <vt:lpstr>Here’s a  section divider</vt:lpstr>
      <vt:lpstr>Here’s  another color</vt:lpstr>
      <vt:lpstr>This could  be a section divider</vt:lpstr>
      <vt:lpstr>This could  be a section divider</vt:lpstr>
      <vt:lpstr>Today’s  Agenda</vt:lpstr>
      <vt:lpstr>Summarize your agenda. Keep it focused.</vt:lpstr>
      <vt:lpstr>Agenda slide that doubles as a divider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PowerPoint Presentation</vt:lpstr>
      <vt:lpstr>PowerPoint Presentation</vt:lpstr>
      <vt:lpstr>Quick brand fac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2</cp:revision>
  <cp:lastPrinted>2022-11-04T21:20:16Z</cp:lastPrinted>
  <dcterms:created xsi:type="dcterms:W3CDTF">2016-02-04T17:41:01Z</dcterms:created>
  <dcterms:modified xsi:type="dcterms:W3CDTF">2025-06-11T16:2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331E02EE2E30438AB3DBB24381C83E</vt:lpwstr>
  </property>
  <property fmtid="{D5CDD505-2E9C-101B-9397-08002B2CF9AE}" pid="3" name="MediaServiceImageTags">
    <vt:lpwstr/>
  </property>
  <property fmtid="{D5CDD505-2E9C-101B-9397-08002B2CF9AE}" pid="4" name="xd_ProgID">
    <vt:lpwstr/>
  </property>
  <property fmtid="{D5CDD505-2E9C-101B-9397-08002B2CF9AE}" pid="5" name="_SourceUrl">
    <vt:lpwstr/>
  </property>
  <property fmtid="{D5CDD505-2E9C-101B-9397-08002B2CF9AE}" pid="6" name="_SharedFileIndex">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y fmtid="{D5CDD505-2E9C-101B-9397-08002B2CF9AE}" pid="10" name="TriggerFlowInfo">
    <vt:lpwstr/>
  </property>
  <property fmtid="{D5CDD505-2E9C-101B-9397-08002B2CF9AE}" pid="11" name="xd_Signature">
    <vt:lpwstr/>
  </property>
  <property fmtid="{D5CDD505-2E9C-101B-9397-08002B2CF9AE}" pid="12" name="SharedWithUsers">
    <vt:lpwstr>19;#Kelly Henseler;#46;#Renee Steinwand</vt:lpwstr>
  </property>
</Properties>
</file>